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png" ContentType="image/png"/>
  <Default Extension="rels" ContentType="application/vnd.openxmlformats-package.relationships+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0.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theme/theme2.xml" ContentType="application/vnd.openxmlformats-officedocument.theme+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theme/theme3.xml" ContentType="application/vnd.openxmlformats-officedocument.theme+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theme/theme4.xml" ContentType="application/vnd.openxmlformats-officedocument.theme+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theme/theme5.xml" ContentType="application/vnd.openxmlformats-officedocument.theme+xml"/>
  <Override PartName="/ppt/tags/tag6.xml" ContentType="application/vnd.openxmlformats-officedocument.presentationml.tags+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theme/theme6.xml" ContentType="application/vnd.openxmlformats-officedocument.theme+xml"/>
  <Override PartName="/ppt/tags/tag7.xml" ContentType="application/vnd.openxmlformats-officedocument.presentationml.tags+xml"/>
  <Override PartName="/ppt/theme/theme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notesSlides/notesSlide77.xml" ContentType="application/vnd.openxmlformats-officedocument.presentationml.notesSlide+xml"/>
  <Override PartName="/ppt/notesSlides/notesSlide78.xml" ContentType="application/vnd.openxmlformats-officedocument.presentationml.notesSlide+xml"/>
  <Override PartName="/ppt/notesSlides/notesSlide79.xml" ContentType="application/vnd.openxmlformats-officedocument.presentationml.notesSlide+xml"/>
  <Override PartName="/ppt/notesSlides/notesSlide80.xml" ContentType="application/vnd.openxmlformats-officedocument.presentationml.notesSlide+xml"/>
  <Override PartName="/ppt/notesSlides/notesSlide81.xml" ContentType="application/vnd.openxmlformats-officedocument.presentationml.notesSlide+xml"/>
  <Override PartName="/ppt/notesSlides/notesSlide82.xml" ContentType="application/vnd.openxmlformats-officedocument.presentationml.notesSlide+xml"/>
  <Override PartName="/ppt/notesSlides/notesSlide83.xml" ContentType="application/vnd.openxmlformats-officedocument.presentationml.notesSlide+xml"/>
  <Override PartName="/ppt/notesSlides/notesSlide84.xml" ContentType="application/vnd.openxmlformats-officedocument.presentationml.notesSlide+xml"/>
  <Override PartName="/ppt/notesSlides/notesSlide85.xml" ContentType="application/vnd.openxmlformats-officedocument.presentationml.notesSlide+xml"/>
  <Override PartName="/ppt/notesSlides/notesSlide86.xml" ContentType="application/vnd.openxmlformats-officedocument.presentationml.notesSlide+xml"/>
  <Override PartName="/ppt/notesSlides/notesSlide87.xml" ContentType="application/vnd.openxmlformats-officedocument.presentationml.notesSlide+xml"/>
  <Override PartName="/ppt/notesSlides/notesSlide88.xml" ContentType="application/vnd.openxmlformats-officedocument.presentationml.notesSlide+xml"/>
  <Override PartName="/ppt/notesSlides/notesSlide89.xml" ContentType="application/vnd.openxmlformats-officedocument.presentationml.notesSlide+xml"/>
  <Override PartName="/ppt/notesSlides/notesSlide90.xml" ContentType="application/vnd.openxmlformats-officedocument.presentationml.notesSlide+xml"/>
  <Override PartName="/ppt/notesSlides/notesSlide91.xml" ContentType="application/vnd.openxmlformats-officedocument.presentationml.notesSlide+xml"/>
  <Override PartName="/ppt/notesSlides/notesSlide92.xml" ContentType="application/vnd.openxmlformats-officedocument.presentationml.notesSlide+xml"/>
  <Override PartName="/ppt/notesSlides/notesSlide93.xml" ContentType="application/vnd.openxmlformats-officedocument.presentationml.notesSlide+xml"/>
  <Override PartName="/ppt/notesSlides/notesSlide94.xml" ContentType="application/vnd.openxmlformats-officedocument.presentationml.notesSlide+xml"/>
  <Override PartName="/ppt/notesSlides/notesSlide95.xml" ContentType="application/vnd.openxmlformats-officedocument.presentationml.notesSlide+xml"/>
  <Override PartName="/ppt/notesSlides/notesSlide96.xml" ContentType="application/vnd.openxmlformats-officedocument.presentationml.notesSlide+xml"/>
  <Override PartName="/ppt/notesSlides/notesSlide97.xml" ContentType="application/vnd.openxmlformats-officedocument.presentationml.notesSlide+xml"/>
  <Override PartName="/ppt/notesSlides/notesSlide98.xml" ContentType="application/vnd.openxmlformats-officedocument.presentationml.notesSlide+xml"/>
  <Override PartName="/ppt/notesSlides/notesSlide99.xml" ContentType="application/vnd.openxmlformats-officedocument.presentationml.notesSlide+xml"/>
  <Override PartName="/ppt/notesSlides/notesSlide100.xml" ContentType="application/vnd.openxmlformats-officedocument.presentationml.notesSlide+xml"/>
  <Override PartName="/ppt/notesSlides/notesSlide101.xml" ContentType="application/vnd.openxmlformats-officedocument.presentationml.notesSlide+xml"/>
  <Override PartName="/ppt/notesSlides/notesSlide102.xml" ContentType="application/vnd.openxmlformats-officedocument.presentationml.notesSlide+xml"/>
  <Override PartName="/ppt/notesSlides/notesSlide103.xml" ContentType="application/vnd.openxmlformats-officedocument.presentationml.notesSlide+xml"/>
  <Override PartName="/ppt/notesSlides/notesSlide104.xml" ContentType="application/vnd.openxmlformats-officedocument.presentationml.notesSlide+xml"/>
  <Override PartName="/ppt/notesSlides/notesSlide105.xml" ContentType="application/vnd.openxmlformats-officedocument.presentationml.notesSlide+xml"/>
  <Override PartName="/ppt/notesSlides/notesSlide106.xml" ContentType="application/vnd.openxmlformats-officedocument.presentationml.notesSlide+xml"/>
  <Override PartName="/ppt/notesSlides/notesSlide107.xml" ContentType="application/vnd.openxmlformats-officedocument.presentationml.notesSlide+xml"/>
  <Override PartName="/ppt/notesSlides/notesSlide108.xml" ContentType="application/vnd.openxmlformats-officedocument.presentationml.notesSlide+xml"/>
  <Override PartName="/ppt/notesSlides/notesSlide109.xml" ContentType="application/vnd.openxmlformats-officedocument.presentationml.notesSlide+xml"/>
  <Override PartName="/ppt/notesSlides/notesSlide110.xml" ContentType="application/vnd.openxmlformats-officedocument.presentationml.notesSlide+xml"/>
  <Override PartName="/ppt/notesSlides/notesSlide111.xml" ContentType="application/vnd.openxmlformats-officedocument.presentationml.notesSlide+xml"/>
  <Override PartName="/ppt/notesSlides/notesSlide112.xml" ContentType="application/vnd.openxmlformats-officedocument.presentationml.notesSlide+xml"/>
  <Override PartName="/ppt/notesSlides/notesSlide113.xml" ContentType="application/vnd.openxmlformats-officedocument.presentationml.notesSlide+xml"/>
  <Override PartName="/ppt/notesSlides/notesSlide114.xml" ContentType="application/vnd.openxmlformats-officedocument.presentationml.notesSlide+xml"/>
  <Override PartName="/ppt/notesSlides/notesSlide115.xml" ContentType="application/vnd.openxmlformats-officedocument.presentationml.notesSlide+xml"/>
  <Override PartName="/ppt/notesSlides/notesSlide116.xml" ContentType="application/vnd.openxmlformats-officedocument.presentationml.notesSlide+xml"/>
  <Override PartName="/ppt/notesSlides/notesSlide117.xml" ContentType="application/vnd.openxmlformats-officedocument.presentationml.notesSlide+xml"/>
  <Override PartName="/ppt/notesSlides/notesSlide118.xml" ContentType="application/vnd.openxmlformats-officedocument.presentationml.notesSlide+xml"/>
  <Override PartName="/ppt/notesSlides/notesSlide119.xml" ContentType="application/vnd.openxmlformats-officedocument.presentationml.notesSlide+xml"/>
  <Override PartName="/ppt/notesSlides/notesSlide120.xml" ContentType="application/vnd.openxmlformats-officedocument.presentationml.notesSlide+xml"/>
  <Override PartName="/ppt/notesSlides/notesSlide121.xml" ContentType="application/vnd.openxmlformats-officedocument.presentationml.notesSlide+xml"/>
  <Override PartName="/ppt/notesSlides/notesSlide122.xml" ContentType="application/vnd.openxmlformats-officedocument.presentationml.notesSlide+xml"/>
  <Override PartName="/ppt/notesSlides/notesSlide123.xml" ContentType="application/vnd.openxmlformats-officedocument.presentationml.notesSlide+xml"/>
  <Override PartName="/ppt/notesSlides/notesSlide124.xml" ContentType="application/vnd.openxmlformats-officedocument.presentationml.notesSlide+xml"/>
  <Override PartName="/ppt/notesSlides/notesSlide125.xml" ContentType="application/vnd.openxmlformats-officedocument.presentationml.notesSlide+xml"/>
  <Override PartName="/ppt/notesSlides/notesSlide126.xml" ContentType="application/vnd.openxmlformats-officedocument.presentationml.notesSlide+xml"/>
  <Override PartName="/ppt/notesSlides/notesSlide127.xml" ContentType="application/vnd.openxmlformats-officedocument.presentationml.notesSlide+xml"/>
  <Override PartName="/ppt/notesSlides/notesSlide128.xml" ContentType="application/vnd.openxmlformats-officedocument.presentationml.notesSlide+xml"/>
  <Override PartName="/ppt/notesSlides/notesSlide129.xml" ContentType="application/vnd.openxmlformats-officedocument.presentationml.notesSlide+xml"/>
  <Override PartName="/ppt/notesSlides/notesSlide130.xml" ContentType="application/vnd.openxmlformats-officedocument.presentationml.notesSlide+xml"/>
  <Override PartName="/ppt/notesSlides/notesSlide131.xml" ContentType="application/vnd.openxmlformats-officedocument.presentationml.notesSlide+xml"/>
  <Override PartName="/ppt/notesSlides/notesSlide132.xml" ContentType="application/vnd.openxmlformats-officedocument.presentationml.notesSlide+xml"/>
  <Override PartName="/ppt/notesSlides/notesSlide133.xml" ContentType="application/vnd.openxmlformats-officedocument.presentationml.notesSlide+xml"/>
  <Override PartName="/ppt/notesSlides/notesSlide134.xml" ContentType="application/vnd.openxmlformats-officedocument.presentationml.notesSlide+xml"/>
  <Override PartName="/ppt/notesSlides/notesSlide135.xml" ContentType="application/vnd.openxmlformats-officedocument.presentationml.notesSlide+xml"/>
  <Override PartName="/ppt/notesSlides/notesSlide136.xml" ContentType="application/vnd.openxmlformats-officedocument.presentationml.notesSlide+xml"/>
  <Override PartName="/ppt/notesSlides/notesSlide137.xml" ContentType="application/vnd.openxmlformats-officedocument.presentationml.notesSlide+xml"/>
  <Override PartName="/ppt/notesSlides/notesSlide138.xml" ContentType="application/vnd.openxmlformats-officedocument.presentationml.notesSlide+xml"/>
  <Override PartName="/ppt/notesSlides/notesSlide139.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660" r:id="rId6"/>
    <p:sldMasterId id="2147483670" r:id="rId7"/>
    <p:sldMasterId id="2147483704" r:id="rId8"/>
    <p:sldMasterId id="2147483716" r:id="rId9"/>
    <p:sldMasterId id="2147483732" r:id="rId10"/>
    <p:sldMasterId id="2147483757" r:id="rId11"/>
  </p:sldMasterIdLst>
  <p:notesMasterIdLst>
    <p:notesMasterId r:id="rId152"/>
  </p:notesMasterIdLst>
  <p:sldIdLst>
    <p:sldId id="331" r:id="rId12"/>
    <p:sldId id="292" r:id="rId13"/>
    <p:sldId id="259" r:id="rId14"/>
    <p:sldId id="327" r:id="rId15"/>
    <p:sldId id="328" r:id="rId16"/>
    <p:sldId id="311" r:id="rId17"/>
    <p:sldId id="272" r:id="rId18"/>
    <p:sldId id="294" r:id="rId19"/>
    <p:sldId id="299" r:id="rId20"/>
    <p:sldId id="296" r:id="rId21"/>
    <p:sldId id="298" r:id="rId22"/>
    <p:sldId id="297" r:id="rId23"/>
    <p:sldId id="305" r:id="rId24"/>
    <p:sldId id="295" r:id="rId25"/>
    <p:sldId id="301" r:id="rId26"/>
    <p:sldId id="302" r:id="rId27"/>
    <p:sldId id="306" r:id="rId28"/>
    <p:sldId id="318" r:id="rId29"/>
    <p:sldId id="303" r:id="rId30"/>
    <p:sldId id="357" r:id="rId31"/>
    <p:sldId id="358" r:id="rId32"/>
    <p:sldId id="359" r:id="rId33"/>
    <p:sldId id="360" r:id="rId34"/>
    <p:sldId id="361" r:id="rId35"/>
    <p:sldId id="362" r:id="rId36"/>
    <p:sldId id="363" r:id="rId37"/>
    <p:sldId id="364" r:id="rId38"/>
    <p:sldId id="365" r:id="rId39"/>
    <p:sldId id="366" r:id="rId40"/>
    <p:sldId id="367" r:id="rId41"/>
    <p:sldId id="368" r:id="rId42"/>
    <p:sldId id="369" r:id="rId43"/>
    <p:sldId id="370" r:id="rId44"/>
    <p:sldId id="371" r:id="rId45"/>
    <p:sldId id="372" r:id="rId46"/>
    <p:sldId id="373" r:id="rId47"/>
    <p:sldId id="374" r:id="rId48"/>
    <p:sldId id="375" r:id="rId49"/>
    <p:sldId id="376" r:id="rId50"/>
    <p:sldId id="377" r:id="rId51"/>
    <p:sldId id="378" r:id="rId52"/>
    <p:sldId id="379" r:id="rId53"/>
    <p:sldId id="380" r:id="rId54"/>
    <p:sldId id="381" r:id="rId55"/>
    <p:sldId id="382" r:id="rId56"/>
    <p:sldId id="383" r:id="rId57"/>
    <p:sldId id="384" r:id="rId58"/>
    <p:sldId id="385" r:id="rId59"/>
    <p:sldId id="386" r:id="rId60"/>
    <p:sldId id="387" r:id="rId61"/>
    <p:sldId id="388" r:id="rId62"/>
    <p:sldId id="389" r:id="rId63"/>
    <p:sldId id="390" r:id="rId64"/>
    <p:sldId id="391" r:id="rId65"/>
    <p:sldId id="392" r:id="rId66"/>
    <p:sldId id="393" r:id="rId67"/>
    <p:sldId id="394" r:id="rId68"/>
    <p:sldId id="395" r:id="rId69"/>
    <p:sldId id="396" r:id="rId70"/>
    <p:sldId id="397" r:id="rId71"/>
    <p:sldId id="398" r:id="rId72"/>
    <p:sldId id="399" r:id="rId73"/>
    <p:sldId id="400" r:id="rId74"/>
    <p:sldId id="401" r:id="rId75"/>
    <p:sldId id="402" r:id="rId76"/>
    <p:sldId id="403" r:id="rId77"/>
    <p:sldId id="404" r:id="rId78"/>
    <p:sldId id="405" r:id="rId79"/>
    <p:sldId id="406" r:id="rId80"/>
    <p:sldId id="407" r:id="rId81"/>
    <p:sldId id="408" r:id="rId82"/>
    <p:sldId id="409" r:id="rId83"/>
    <p:sldId id="410" r:id="rId84"/>
    <p:sldId id="411" r:id="rId85"/>
    <p:sldId id="412" r:id="rId86"/>
    <p:sldId id="413" r:id="rId87"/>
    <p:sldId id="414" r:id="rId88"/>
    <p:sldId id="415" r:id="rId89"/>
    <p:sldId id="416" r:id="rId90"/>
    <p:sldId id="417" r:id="rId91"/>
    <p:sldId id="418" r:id="rId92"/>
    <p:sldId id="419" r:id="rId93"/>
    <p:sldId id="420" r:id="rId94"/>
    <p:sldId id="421" r:id="rId95"/>
    <p:sldId id="422" r:id="rId96"/>
    <p:sldId id="423" r:id="rId97"/>
    <p:sldId id="424" r:id="rId98"/>
    <p:sldId id="425" r:id="rId99"/>
    <p:sldId id="426" r:id="rId100"/>
    <p:sldId id="427" r:id="rId101"/>
    <p:sldId id="428" r:id="rId102"/>
    <p:sldId id="429" r:id="rId103"/>
    <p:sldId id="430" r:id="rId104"/>
    <p:sldId id="431" r:id="rId105"/>
    <p:sldId id="432" r:id="rId106"/>
    <p:sldId id="433" r:id="rId107"/>
    <p:sldId id="489" r:id="rId108"/>
    <p:sldId id="434" r:id="rId109"/>
    <p:sldId id="435" r:id="rId110"/>
    <p:sldId id="436" r:id="rId111"/>
    <p:sldId id="437" r:id="rId112"/>
    <p:sldId id="438" r:id="rId113"/>
    <p:sldId id="439" r:id="rId114"/>
    <p:sldId id="440" r:id="rId115"/>
    <p:sldId id="441" r:id="rId116"/>
    <p:sldId id="442" r:id="rId117"/>
    <p:sldId id="443" r:id="rId118"/>
    <p:sldId id="444" r:id="rId119"/>
    <p:sldId id="445" r:id="rId120"/>
    <p:sldId id="446" r:id="rId121"/>
    <p:sldId id="447" r:id="rId122"/>
    <p:sldId id="448" r:id="rId123"/>
    <p:sldId id="449" r:id="rId124"/>
    <p:sldId id="450" r:id="rId125"/>
    <p:sldId id="451" r:id="rId126"/>
    <p:sldId id="452" r:id="rId127"/>
    <p:sldId id="453" r:id="rId128"/>
    <p:sldId id="454" r:id="rId129"/>
    <p:sldId id="455" r:id="rId130"/>
    <p:sldId id="456" r:id="rId131"/>
    <p:sldId id="457" r:id="rId132"/>
    <p:sldId id="458" r:id="rId133"/>
    <p:sldId id="459" r:id="rId134"/>
    <p:sldId id="460" r:id="rId135"/>
    <p:sldId id="461" r:id="rId136"/>
    <p:sldId id="462" r:id="rId137"/>
    <p:sldId id="463" r:id="rId138"/>
    <p:sldId id="464" r:id="rId139"/>
    <p:sldId id="465" r:id="rId140"/>
    <p:sldId id="466" r:id="rId141"/>
    <p:sldId id="467" r:id="rId142"/>
    <p:sldId id="468" r:id="rId143"/>
    <p:sldId id="469" r:id="rId144"/>
    <p:sldId id="470" r:id="rId145"/>
    <p:sldId id="471" r:id="rId146"/>
    <p:sldId id="472" r:id="rId147"/>
    <p:sldId id="473" r:id="rId148"/>
    <p:sldId id="474" r:id="rId149"/>
    <p:sldId id="481" r:id="rId150"/>
    <p:sldId id="482" r:id="rId151"/>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Overview" id="{B84597E1-9689-4F8B-BD75-27C846A049AE}">
          <p14:sldIdLst>
            <p14:sldId id="331"/>
            <p14:sldId id="292"/>
            <p14:sldId id="259"/>
            <p14:sldId id="327"/>
            <p14:sldId id="328"/>
          </p14:sldIdLst>
        </p14:section>
        <p14:section name="Why Power BI" id="{E58A275B-5E31-4E54-9055-79002F0EA477}">
          <p14:sldIdLst>
            <p14:sldId id="311"/>
            <p14:sldId id="272"/>
            <p14:sldId id="294"/>
            <p14:sldId id="299"/>
            <p14:sldId id="296"/>
            <p14:sldId id="298"/>
            <p14:sldId id="297"/>
            <p14:sldId id="305"/>
            <p14:sldId id="295"/>
            <p14:sldId id="301"/>
            <p14:sldId id="302"/>
            <p14:sldId id="306"/>
            <p14:sldId id="318"/>
            <p14:sldId id="303"/>
          </p14:sldIdLst>
        </p14:section>
        <p14:section name="Connecting to Data" id="{73B93C75-2547-467F-9D17-44D11D446217}">
          <p14:sldIdLst>
            <p14:sldId id="357"/>
            <p14:sldId id="358"/>
            <p14:sldId id="359"/>
            <p14:sldId id="360"/>
          </p14:sldIdLst>
        </p14:section>
        <p14:section name="Shaping Data" id="{366AEF38-12C6-42FF-9B17-BE46C70B0F33}">
          <p14:sldIdLst>
            <p14:sldId id="361"/>
            <p14:sldId id="362"/>
            <p14:sldId id="363"/>
            <p14:sldId id="364"/>
            <p14:sldId id="365"/>
            <p14:sldId id="366"/>
            <p14:sldId id="367"/>
          </p14:sldIdLst>
        </p14:section>
        <p14:section name="Data Models" id="{1E123566-E982-4CE9-B20C-52D218A347E0}">
          <p14:sldIdLst>
            <p14:sldId id="368"/>
            <p14:sldId id="369"/>
            <p14:sldId id="370"/>
            <p14:sldId id="371"/>
            <p14:sldId id="372"/>
            <p14:sldId id="373"/>
            <p14:sldId id="374"/>
            <p14:sldId id="375"/>
            <p14:sldId id="376"/>
            <p14:sldId id="377"/>
            <p14:sldId id="378"/>
          </p14:sldIdLst>
        </p14:section>
        <p14:section name="Calculations" id="{047B259F-3CC3-4FA4-9E81-7E8B62D3DCF8}">
          <p14:sldIdLst>
            <p14:sldId id="379"/>
            <p14:sldId id="380"/>
            <p14:sldId id="381"/>
            <p14:sldId id="382"/>
            <p14:sldId id="383"/>
            <p14:sldId id="384"/>
            <p14:sldId id="385"/>
            <p14:sldId id="386"/>
            <p14:sldId id="387"/>
          </p14:sldIdLst>
        </p14:section>
        <p14:section name="Building a Report" id="{B64232A9-71B9-4216-A362-5FDC82A7100B}">
          <p14:sldIdLst>
            <p14:sldId id="388"/>
            <p14:sldId id="389"/>
            <p14:sldId id="390"/>
            <p14:sldId id="391"/>
            <p14:sldId id="392"/>
            <p14:sldId id="393"/>
            <p14:sldId id="394"/>
            <p14:sldId id="395"/>
            <p14:sldId id="396"/>
            <p14:sldId id="397"/>
            <p14:sldId id="398"/>
            <p14:sldId id="399"/>
            <p14:sldId id="400"/>
            <p14:sldId id="401"/>
            <p14:sldId id="402"/>
            <p14:sldId id="403"/>
            <p14:sldId id="404"/>
            <p14:sldId id="405"/>
            <p14:sldId id="406"/>
            <p14:sldId id="407"/>
            <p14:sldId id="408"/>
            <p14:sldId id="409"/>
            <p14:sldId id="410"/>
            <p14:sldId id="411"/>
            <p14:sldId id="412"/>
            <p14:sldId id="413"/>
            <p14:sldId id="414"/>
            <p14:sldId id="415"/>
            <p14:sldId id="416"/>
            <p14:sldId id="417"/>
            <p14:sldId id="418"/>
            <p14:sldId id="419"/>
            <p14:sldId id="420"/>
            <p14:sldId id="421"/>
            <p14:sldId id="422"/>
            <p14:sldId id="423"/>
            <p14:sldId id="424"/>
            <p14:sldId id="425"/>
            <p14:sldId id="426"/>
            <p14:sldId id="427"/>
            <p14:sldId id="428"/>
            <p14:sldId id="429"/>
          </p14:sldIdLst>
        </p14:section>
        <p14:section name="Get Data" id="{60E10863-1CF1-4B50-A958-CBF0B90C57E9}">
          <p14:sldIdLst>
            <p14:sldId id="430"/>
            <p14:sldId id="431"/>
            <p14:sldId id="432"/>
            <p14:sldId id="433"/>
            <p14:sldId id="489"/>
            <p14:sldId id="434"/>
            <p14:sldId id="435"/>
            <p14:sldId id="436"/>
          </p14:sldIdLst>
        </p14:section>
        <p14:section name="Pinning and Navigation" id="{5646BCC5-0BAB-484E-BB79-E2C2873F4515}">
          <p14:sldIdLst>
            <p14:sldId id="437"/>
            <p14:sldId id="438"/>
            <p14:sldId id="439"/>
            <p14:sldId id="440"/>
            <p14:sldId id="441"/>
            <p14:sldId id="442"/>
            <p14:sldId id="443"/>
            <p14:sldId id="444"/>
            <p14:sldId id="445"/>
            <p14:sldId id="446"/>
            <p14:sldId id="447"/>
            <p14:sldId id="448"/>
            <p14:sldId id="449"/>
            <p14:sldId id="450"/>
            <p14:sldId id="451"/>
            <p14:sldId id="452"/>
            <p14:sldId id="453"/>
            <p14:sldId id="454"/>
            <p14:sldId id="455"/>
            <p14:sldId id="456"/>
            <p14:sldId id="457"/>
          </p14:sldIdLst>
        </p14:section>
        <p14:section name="Sharing" id="{D368EFC7-125C-4C3F-907B-4438D7700CFC}">
          <p14:sldIdLst>
            <p14:sldId id="458"/>
            <p14:sldId id="459"/>
            <p14:sldId id="460"/>
            <p14:sldId id="461"/>
            <p14:sldId id="462"/>
            <p14:sldId id="463"/>
            <p14:sldId id="464"/>
            <p14:sldId id="465"/>
            <p14:sldId id="466"/>
            <p14:sldId id="467"/>
            <p14:sldId id="468"/>
            <p14:sldId id="469"/>
            <p14:sldId id="470"/>
            <p14:sldId id="471"/>
          </p14:sldIdLst>
        </p14:section>
        <p14:section name="Mobile Reports" id="{67447760-B0D2-45BE-889B-93618194DA7B}">
          <p14:sldIdLst>
            <p14:sldId id="472"/>
            <p14:sldId id="473"/>
            <p14:sldId id="474"/>
          </p14:sldIdLst>
        </p14:section>
        <p14:section name="Keeping Data Current" id="{F63D79E6-CEF2-47D8-940F-B341AD2FFA99}">
          <p14:sldIdLst>
            <p14:sldId id="481"/>
            <p14:sldId id="482"/>
          </p14:sldIdLst>
        </p14:section>
      </p14:sectionLst>
    </p:ex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9" name="Author" initials="A" lastIdx="0" clrIdx="8"/>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2C812"/>
    <a:srgbClr val="339933"/>
    <a:srgbClr val="FFCC00"/>
    <a:srgbClr val="EAEAE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AEAE7853-FF18-4942-9CF2-41BA2A36051A}" v="1" dt="2020-11-20T18:11:31.456"/>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5563" autoAdjust="0"/>
  </p:normalViewPr>
  <p:slideViewPr>
    <p:cSldViewPr snapToGrid="0">
      <p:cViewPr varScale="1">
        <p:scale>
          <a:sx n="96" d="100"/>
          <a:sy n="96" d="100"/>
        </p:scale>
        <p:origin x="68" y="404"/>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17" Type="http://schemas.openxmlformats.org/officeDocument/2006/relationships/slide" Target="slides/slide106.xml"/><Relationship Id="rId21" Type="http://schemas.openxmlformats.org/officeDocument/2006/relationships/slide" Target="slides/slide10.xml"/><Relationship Id="rId42" Type="http://schemas.openxmlformats.org/officeDocument/2006/relationships/slide" Target="slides/slide31.xml"/><Relationship Id="rId63" Type="http://schemas.openxmlformats.org/officeDocument/2006/relationships/slide" Target="slides/slide52.xml"/><Relationship Id="rId84" Type="http://schemas.openxmlformats.org/officeDocument/2006/relationships/slide" Target="slides/slide73.xml"/><Relationship Id="rId138" Type="http://schemas.openxmlformats.org/officeDocument/2006/relationships/slide" Target="slides/slide127.xml"/><Relationship Id="rId107" Type="http://schemas.openxmlformats.org/officeDocument/2006/relationships/slide" Target="slides/slide96.xml"/><Relationship Id="rId11" Type="http://schemas.openxmlformats.org/officeDocument/2006/relationships/slideMaster" Target="slideMasters/slideMaster6.xml"/><Relationship Id="rId32" Type="http://schemas.openxmlformats.org/officeDocument/2006/relationships/slide" Target="slides/slide21.xml"/><Relationship Id="rId53" Type="http://schemas.openxmlformats.org/officeDocument/2006/relationships/slide" Target="slides/slide42.xml"/><Relationship Id="rId74" Type="http://schemas.openxmlformats.org/officeDocument/2006/relationships/slide" Target="slides/slide63.xml"/><Relationship Id="rId128" Type="http://schemas.openxmlformats.org/officeDocument/2006/relationships/slide" Target="slides/slide117.xml"/><Relationship Id="rId149" Type="http://schemas.openxmlformats.org/officeDocument/2006/relationships/slide" Target="slides/slide138.xml"/><Relationship Id="rId5" Type="http://schemas.openxmlformats.org/officeDocument/2006/relationships/customXml" Target="../customXml/item5.xml"/><Relationship Id="rId95" Type="http://schemas.openxmlformats.org/officeDocument/2006/relationships/slide" Target="slides/slide84.xml"/><Relationship Id="rId22" Type="http://schemas.openxmlformats.org/officeDocument/2006/relationships/slide" Target="slides/slide11.xml"/><Relationship Id="rId43" Type="http://schemas.openxmlformats.org/officeDocument/2006/relationships/slide" Target="slides/slide32.xml"/><Relationship Id="rId64" Type="http://schemas.openxmlformats.org/officeDocument/2006/relationships/slide" Target="slides/slide53.xml"/><Relationship Id="rId118" Type="http://schemas.openxmlformats.org/officeDocument/2006/relationships/slide" Target="slides/slide107.xml"/><Relationship Id="rId139" Type="http://schemas.openxmlformats.org/officeDocument/2006/relationships/slide" Target="slides/slide128.xml"/><Relationship Id="rId80" Type="http://schemas.openxmlformats.org/officeDocument/2006/relationships/slide" Target="slides/slide69.xml"/><Relationship Id="rId85" Type="http://schemas.openxmlformats.org/officeDocument/2006/relationships/slide" Target="slides/slide74.xml"/><Relationship Id="rId150" Type="http://schemas.openxmlformats.org/officeDocument/2006/relationships/slide" Target="slides/slide139.xml"/><Relationship Id="rId155" Type="http://schemas.openxmlformats.org/officeDocument/2006/relationships/viewProps" Target="viewProps.xml"/><Relationship Id="rId12" Type="http://schemas.openxmlformats.org/officeDocument/2006/relationships/slide" Target="slides/slide1.xml"/><Relationship Id="rId17" Type="http://schemas.openxmlformats.org/officeDocument/2006/relationships/slide" Target="slides/slide6.xml"/><Relationship Id="rId33" Type="http://schemas.openxmlformats.org/officeDocument/2006/relationships/slide" Target="slides/slide22.xml"/><Relationship Id="rId38" Type="http://schemas.openxmlformats.org/officeDocument/2006/relationships/slide" Target="slides/slide27.xml"/><Relationship Id="rId59" Type="http://schemas.openxmlformats.org/officeDocument/2006/relationships/slide" Target="slides/slide48.xml"/><Relationship Id="rId103" Type="http://schemas.openxmlformats.org/officeDocument/2006/relationships/slide" Target="slides/slide92.xml"/><Relationship Id="rId108" Type="http://schemas.openxmlformats.org/officeDocument/2006/relationships/slide" Target="slides/slide97.xml"/><Relationship Id="rId124" Type="http://schemas.openxmlformats.org/officeDocument/2006/relationships/slide" Target="slides/slide113.xml"/><Relationship Id="rId129" Type="http://schemas.openxmlformats.org/officeDocument/2006/relationships/slide" Target="slides/slide118.xml"/><Relationship Id="rId54" Type="http://schemas.openxmlformats.org/officeDocument/2006/relationships/slide" Target="slides/slide43.xml"/><Relationship Id="rId70" Type="http://schemas.openxmlformats.org/officeDocument/2006/relationships/slide" Target="slides/slide59.xml"/><Relationship Id="rId75" Type="http://schemas.openxmlformats.org/officeDocument/2006/relationships/slide" Target="slides/slide64.xml"/><Relationship Id="rId91" Type="http://schemas.openxmlformats.org/officeDocument/2006/relationships/slide" Target="slides/slide80.xml"/><Relationship Id="rId96" Type="http://schemas.openxmlformats.org/officeDocument/2006/relationships/slide" Target="slides/slide85.xml"/><Relationship Id="rId140" Type="http://schemas.openxmlformats.org/officeDocument/2006/relationships/slide" Target="slides/slide129.xml"/><Relationship Id="rId145" Type="http://schemas.openxmlformats.org/officeDocument/2006/relationships/slide" Target="slides/slide134.xml"/><Relationship Id="rId1" Type="http://schemas.openxmlformats.org/officeDocument/2006/relationships/customXml" Target="../customXml/item1.xml"/><Relationship Id="rId6" Type="http://schemas.openxmlformats.org/officeDocument/2006/relationships/slideMaster" Target="slideMasters/slideMaster1.xml"/><Relationship Id="rId23" Type="http://schemas.openxmlformats.org/officeDocument/2006/relationships/slide" Target="slides/slide12.xml"/><Relationship Id="rId28" Type="http://schemas.openxmlformats.org/officeDocument/2006/relationships/slide" Target="slides/slide17.xml"/><Relationship Id="rId49" Type="http://schemas.openxmlformats.org/officeDocument/2006/relationships/slide" Target="slides/slide38.xml"/><Relationship Id="rId114" Type="http://schemas.openxmlformats.org/officeDocument/2006/relationships/slide" Target="slides/slide103.xml"/><Relationship Id="rId119" Type="http://schemas.openxmlformats.org/officeDocument/2006/relationships/slide" Target="slides/slide108.xml"/><Relationship Id="rId44" Type="http://schemas.openxmlformats.org/officeDocument/2006/relationships/slide" Target="slides/slide33.xml"/><Relationship Id="rId60" Type="http://schemas.openxmlformats.org/officeDocument/2006/relationships/slide" Target="slides/slide49.xml"/><Relationship Id="rId65" Type="http://schemas.openxmlformats.org/officeDocument/2006/relationships/slide" Target="slides/slide54.xml"/><Relationship Id="rId81" Type="http://schemas.openxmlformats.org/officeDocument/2006/relationships/slide" Target="slides/slide70.xml"/><Relationship Id="rId86" Type="http://schemas.openxmlformats.org/officeDocument/2006/relationships/slide" Target="slides/slide75.xml"/><Relationship Id="rId130" Type="http://schemas.openxmlformats.org/officeDocument/2006/relationships/slide" Target="slides/slide119.xml"/><Relationship Id="rId135" Type="http://schemas.openxmlformats.org/officeDocument/2006/relationships/slide" Target="slides/slide124.xml"/><Relationship Id="rId151" Type="http://schemas.openxmlformats.org/officeDocument/2006/relationships/slide" Target="slides/slide140.xml"/><Relationship Id="rId156" Type="http://schemas.openxmlformats.org/officeDocument/2006/relationships/theme" Target="theme/theme1.xml"/><Relationship Id="rId13" Type="http://schemas.openxmlformats.org/officeDocument/2006/relationships/slide" Target="slides/slide2.xml"/><Relationship Id="rId18" Type="http://schemas.openxmlformats.org/officeDocument/2006/relationships/slide" Target="slides/slide7.xml"/><Relationship Id="rId39" Type="http://schemas.openxmlformats.org/officeDocument/2006/relationships/slide" Target="slides/slide28.xml"/><Relationship Id="rId109" Type="http://schemas.openxmlformats.org/officeDocument/2006/relationships/slide" Target="slides/slide98.xml"/><Relationship Id="rId34" Type="http://schemas.openxmlformats.org/officeDocument/2006/relationships/slide" Target="slides/slide23.xml"/><Relationship Id="rId50" Type="http://schemas.openxmlformats.org/officeDocument/2006/relationships/slide" Target="slides/slide39.xml"/><Relationship Id="rId55" Type="http://schemas.openxmlformats.org/officeDocument/2006/relationships/slide" Target="slides/slide44.xml"/><Relationship Id="rId76" Type="http://schemas.openxmlformats.org/officeDocument/2006/relationships/slide" Target="slides/slide65.xml"/><Relationship Id="rId97" Type="http://schemas.openxmlformats.org/officeDocument/2006/relationships/slide" Target="slides/slide86.xml"/><Relationship Id="rId104" Type="http://schemas.openxmlformats.org/officeDocument/2006/relationships/slide" Target="slides/slide93.xml"/><Relationship Id="rId120" Type="http://schemas.openxmlformats.org/officeDocument/2006/relationships/slide" Target="slides/slide109.xml"/><Relationship Id="rId125" Type="http://schemas.openxmlformats.org/officeDocument/2006/relationships/slide" Target="slides/slide114.xml"/><Relationship Id="rId141" Type="http://schemas.openxmlformats.org/officeDocument/2006/relationships/slide" Target="slides/slide130.xml"/><Relationship Id="rId146" Type="http://schemas.openxmlformats.org/officeDocument/2006/relationships/slide" Target="slides/slide135.xml"/><Relationship Id="rId7" Type="http://schemas.openxmlformats.org/officeDocument/2006/relationships/slideMaster" Target="slideMasters/slideMaster2.xml"/><Relationship Id="rId71" Type="http://schemas.openxmlformats.org/officeDocument/2006/relationships/slide" Target="slides/slide60.xml"/><Relationship Id="rId92" Type="http://schemas.openxmlformats.org/officeDocument/2006/relationships/slide" Target="slides/slide81.xml"/><Relationship Id="rId2" Type="http://schemas.openxmlformats.org/officeDocument/2006/relationships/customXml" Target="../customXml/item2.xml"/><Relationship Id="rId29" Type="http://schemas.openxmlformats.org/officeDocument/2006/relationships/slide" Target="slides/slide18.xml"/><Relationship Id="rId24" Type="http://schemas.openxmlformats.org/officeDocument/2006/relationships/slide" Target="slides/slide13.xml"/><Relationship Id="rId40" Type="http://schemas.openxmlformats.org/officeDocument/2006/relationships/slide" Target="slides/slide29.xml"/><Relationship Id="rId45" Type="http://schemas.openxmlformats.org/officeDocument/2006/relationships/slide" Target="slides/slide34.xml"/><Relationship Id="rId66" Type="http://schemas.openxmlformats.org/officeDocument/2006/relationships/slide" Target="slides/slide55.xml"/><Relationship Id="rId87" Type="http://schemas.openxmlformats.org/officeDocument/2006/relationships/slide" Target="slides/slide76.xml"/><Relationship Id="rId110" Type="http://schemas.openxmlformats.org/officeDocument/2006/relationships/slide" Target="slides/slide99.xml"/><Relationship Id="rId115" Type="http://schemas.openxmlformats.org/officeDocument/2006/relationships/slide" Target="slides/slide104.xml"/><Relationship Id="rId131" Type="http://schemas.openxmlformats.org/officeDocument/2006/relationships/slide" Target="slides/slide120.xml"/><Relationship Id="rId136" Type="http://schemas.openxmlformats.org/officeDocument/2006/relationships/slide" Target="slides/slide125.xml"/><Relationship Id="rId157" Type="http://schemas.openxmlformats.org/officeDocument/2006/relationships/tableStyles" Target="tableStyles.xml"/><Relationship Id="rId61" Type="http://schemas.openxmlformats.org/officeDocument/2006/relationships/slide" Target="slides/slide50.xml"/><Relationship Id="rId82" Type="http://schemas.openxmlformats.org/officeDocument/2006/relationships/slide" Target="slides/slide71.xml"/><Relationship Id="rId152" Type="http://schemas.openxmlformats.org/officeDocument/2006/relationships/notesMaster" Target="notesMasters/notesMaster1.xml"/><Relationship Id="rId19" Type="http://schemas.openxmlformats.org/officeDocument/2006/relationships/slide" Target="slides/slide8.xml"/><Relationship Id="rId14" Type="http://schemas.openxmlformats.org/officeDocument/2006/relationships/slide" Target="slides/slide3.xml"/><Relationship Id="rId30" Type="http://schemas.openxmlformats.org/officeDocument/2006/relationships/slide" Target="slides/slide19.xml"/><Relationship Id="rId35" Type="http://schemas.openxmlformats.org/officeDocument/2006/relationships/slide" Target="slides/slide24.xml"/><Relationship Id="rId56" Type="http://schemas.openxmlformats.org/officeDocument/2006/relationships/slide" Target="slides/slide45.xml"/><Relationship Id="rId77" Type="http://schemas.openxmlformats.org/officeDocument/2006/relationships/slide" Target="slides/slide66.xml"/><Relationship Id="rId100" Type="http://schemas.openxmlformats.org/officeDocument/2006/relationships/slide" Target="slides/slide89.xml"/><Relationship Id="rId105" Type="http://schemas.openxmlformats.org/officeDocument/2006/relationships/slide" Target="slides/slide94.xml"/><Relationship Id="rId126" Type="http://schemas.openxmlformats.org/officeDocument/2006/relationships/slide" Target="slides/slide115.xml"/><Relationship Id="rId147" Type="http://schemas.openxmlformats.org/officeDocument/2006/relationships/slide" Target="slides/slide136.xml"/><Relationship Id="rId8" Type="http://schemas.openxmlformats.org/officeDocument/2006/relationships/slideMaster" Target="slideMasters/slideMaster3.xml"/><Relationship Id="rId51" Type="http://schemas.openxmlformats.org/officeDocument/2006/relationships/slide" Target="slides/slide40.xml"/><Relationship Id="rId72" Type="http://schemas.openxmlformats.org/officeDocument/2006/relationships/slide" Target="slides/slide61.xml"/><Relationship Id="rId93" Type="http://schemas.openxmlformats.org/officeDocument/2006/relationships/slide" Target="slides/slide82.xml"/><Relationship Id="rId98" Type="http://schemas.openxmlformats.org/officeDocument/2006/relationships/slide" Target="slides/slide87.xml"/><Relationship Id="rId121" Type="http://schemas.openxmlformats.org/officeDocument/2006/relationships/slide" Target="slides/slide110.xml"/><Relationship Id="rId142" Type="http://schemas.openxmlformats.org/officeDocument/2006/relationships/slide" Target="slides/slide131.xml"/><Relationship Id="rId3" Type="http://schemas.openxmlformats.org/officeDocument/2006/relationships/customXml" Target="../customXml/item3.xml"/><Relationship Id="rId25" Type="http://schemas.openxmlformats.org/officeDocument/2006/relationships/slide" Target="slides/slide14.xml"/><Relationship Id="rId46" Type="http://schemas.openxmlformats.org/officeDocument/2006/relationships/slide" Target="slides/slide35.xml"/><Relationship Id="rId67" Type="http://schemas.openxmlformats.org/officeDocument/2006/relationships/slide" Target="slides/slide56.xml"/><Relationship Id="rId116" Type="http://schemas.openxmlformats.org/officeDocument/2006/relationships/slide" Target="slides/slide105.xml"/><Relationship Id="rId137" Type="http://schemas.openxmlformats.org/officeDocument/2006/relationships/slide" Target="slides/slide126.xml"/><Relationship Id="rId158" Type="http://schemas.microsoft.com/office/2015/10/relationships/revisionInfo" Target="revisionInfo.xml"/><Relationship Id="rId20" Type="http://schemas.openxmlformats.org/officeDocument/2006/relationships/slide" Target="slides/slide9.xml"/><Relationship Id="rId41" Type="http://schemas.openxmlformats.org/officeDocument/2006/relationships/slide" Target="slides/slide30.xml"/><Relationship Id="rId62" Type="http://schemas.openxmlformats.org/officeDocument/2006/relationships/slide" Target="slides/slide51.xml"/><Relationship Id="rId83" Type="http://schemas.openxmlformats.org/officeDocument/2006/relationships/slide" Target="slides/slide72.xml"/><Relationship Id="rId88" Type="http://schemas.openxmlformats.org/officeDocument/2006/relationships/slide" Target="slides/slide77.xml"/><Relationship Id="rId111" Type="http://schemas.openxmlformats.org/officeDocument/2006/relationships/slide" Target="slides/slide100.xml"/><Relationship Id="rId132" Type="http://schemas.openxmlformats.org/officeDocument/2006/relationships/slide" Target="slides/slide121.xml"/><Relationship Id="rId153" Type="http://schemas.openxmlformats.org/officeDocument/2006/relationships/commentAuthors" Target="commentAuthors.xml"/><Relationship Id="rId15" Type="http://schemas.openxmlformats.org/officeDocument/2006/relationships/slide" Target="slides/slide4.xml"/><Relationship Id="rId36" Type="http://schemas.openxmlformats.org/officeDocument/2006/relationships/slide" Target="slides/slide25.xml"/><Relationship Id="rId57" Type="http://schemas.openxmlformats.org/officeDocument/2006/relationships/slide" Target="slides/slide46.xml"/><Relationship Id="rId106" Type="http://schemas.openxmlformats.org/officeDocument/2006/relationships/slide" Target="slides/slide95.xml"/><Relationship Id="rId127" Type="http://schemas.openxmlformats.org/officeDocument/2006/relationships/slide" Target="slides/slide116.xml"/><Relationship Id="rId10" Type="http://schemas.openxmlformats.org/officeDocument/2006/relationships/slideMaster" Target="slideMasters/slideMaster5.xml"/><Relationship Id="rId31" Type="http://schemas.openxmlformats.org/officeDocument/2006/relationships/slide" Target="slides/slide20.xml"/><Relationship Id="rId52" Type="http://schemas.openxmlformats.org/officeDocument/2006/relationships/slide" Target="slides/slide41.xml"/><Relationship Id="rId73" Type="http://schemas.openxmlformats.org/officeDocument/2006/relationships/slide" Target="slides/slide62.xml"/><Relationship Id="rId78" Type="http://schemas.openxmlformats.org/officeDocument/2006/relationships/slide" Target="slides/slide67.xml"/><Relationship Id="rId94" Type="http://schemas.openxmlformats.org/officeDocument/2006/relationships/slide" Target="slides/slide83.xml"/><Relationship Id="rId99" Type="http://schemas.openxmlformats.org/officeDocument/2006/relationships/slide" Target="slides/slide88.xml"/><Relationship Id="rId101" Type="http://schemas.openxmlformats.org/officeDocument/2006/relationships/slide" Target="slides/slide90.xml"/><Relationship Id="rId122" Type="http://schemas.openxmlformats.org/officeDocument/2006/relationships/slide" Target="slides/slide111.xml"/><Relationship Id="rId143" Type="http://schemas.openxmlformats.org/officeDocument/2006/relationships/slide" Target="slides/slide132.xml"/><Relationship Id="rId148" Type="http://schemas.openxmlformats.org/officeDocument/2006/relationships/slide" Target="slides/slide137.xml"/><Relationship Id="rId4" Type="http://schemas.openxmlformats.org/officeDocument/2006/relationships/customXml" Target="../customXml/item4.xml"/><Relationship Id="rId9" Type="http://schemas.openxmlformats.org/officeDocument/2006/relationships/slideMaster" Target="slideMasters/slideMaster4.xml"/><Relationship Id="rId26" Type="http://schemas.openxmlformats.org/officeDocument/2006/relationships/slide" Target="slides/slide15.xml"/><Relationship Id="rId47" Type="http://schemas.openxmlformats.org/officeDocument/2006/relationships/slide" Target="slides/slide36.xml"/><Relationship Id="rId68" Type="http://schemas.openxmlformats.org/officeDocument/2006/relationships/slide" Target="slides/slide57.xml"/><Relationship Id="rId89" Type="http://schemas.openxmlformats.org/officeDocument/2006/relationships/slide" Target="slides/slide78.xml"/><Relationship Id="rId112" Type="http://schemas.openxmlformats.org/officeDocument/2006/relationships/slide" Target="slides/slide101.xml"/><Relationship Id="rId133" Type="http://schemas.openxmlformats.org/officeDocument/2006/relationships/slide" Target="slides/slide122.xml"/><Relationship Id="rId154" Type="http://schemas.openxmlformats.org/officeDocument/2006/relationships/presProps" Target="presProps.xml"/><Relationship Id="rId16" Type="http://schemas.openxmlformats.org/officeDocument/2006/relationships/slide" Target="slides/slide5.xml"/><Relationship Id="rId37" Type="http://schemas.openxmlformats.org/officeDocument/2006/relationships/slide" Target="slides/slide26.xml"/><Relationship Id="rId58" Type="http://schemas.openxmlformats.org/officeDocument/2006/relationships/slide" Target="slides/slide47.xml"/><Relationship Id="rId79" Type="http://schemas.openxmlformats.org/officeDocument/2006/relationships/slide" Target="slides/slide68.xml"/><Relationship Id="rId102" Type="http://schemas.openxmlformats.org/officeDocument/2006/relationships/slide" Target="slides/slide91.xml"/><Relationship Id="rId123" Type="http://schemas.openxmlformats.org/officeDocument/2006/relationships/slide" Target="slides/slide112.xml"/><Relationship Id="rId144" Type="http://schemas.openxmlformats.org/officeDocument/2006/relationships/slide" Target="slides/slide133.xml"/><Relationship Id="rId90" Type="http://schemas.openxmlformats.org/officeDocument/2006/relationships/slide" Target="slides/slide79.xml"/><Relationship Id="rId27" Type="http://schemas.openxmlformats.org/officeDocument/2006/relationships/slide" Target="slides/slide16.xml"/><Relationship Id="rId48" Type="http://schemas.openxmlformats.org/officeDocument/2006/relationships/slide" Target="slides/slide37.xml"/><Relationship Id="rId69" Type="http://schemas.openxmlformats.org/officeDocument/2006/relationships/slide" Target="slides/slide58.xml"/><Relationship Id="rId113" Type="http://schemas.openxmlformats.org/officeDocument/2006/relationships/slide" Target="slides/slide102.xml"/><Relationship Id="rId134" Type="http://schemas.openxmlformats.org/officeDocument/2006/relationships/slide" Target="slides/slide123.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D56A1C0-0B3F-46C8-937E-0F5886A87B7C}" type="datetimeFigureOut">
              <a:rPr lang="en-US" smtClean="0"/>
              <a:t>11/24/2020</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B20C58C-FFDB-469E-965A-A16F30368694}" type="slidenum">
              <a:rPr lang="en-US" smtClean="0"/>
              <a:t>‹#›</a:t>
            </a:fld>
            <a:endParaRPr lang="en-US"/>
          </a:p>
        </p:txBody>
      </p:sp>
    </p:spTree>
    <p:extLst>
      <p:ext uri="{BB962C8B-B14F-4D97-AF65-F5344CB8AC3E}">
        <p14:creationId xmlns:p14="http://schemas.microsoft.com/office/powerpoint/2010/main" val="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00.xml.rels><?xml version="1.0" encoding="UTF-8" standalone="yes"?>
<Relationships xmlns="http://schemas.openxmlformats.org/package/2006/relationships"><Relationship Id="rId2" Type="http://schemas.openxmlformats.org/officeDocument/2006/relationships/slide" Target="../slides/slide101.xml"/><Relationship Id="rId1" Type="http://schemas.openxmlformats.org/officeDocument/2006/relationships/notesMaster" Target="../notesMasters/notesMaster1.xml"/></Relationships>
</file>

<file path=ppt/notesSlides/_rels/notesSlide101.xml.rels><?xml version="1.0" encoding="UTF-8" standalone="yes"?>
<Relationships xmlns="http://schemas.openxmlformats.org/package/2006/relationships"><Relationship Id="rId2" Type="http://schemas.openxmlformats.org/officeDocument/2006/relationships/slide" Target="../slides/slide102.xml"/><Relationship Id="rId1" Type="http://schemas.openxmlformats.org/officeDocument/2006/relationships/notesMaster" Target="../notesMasters/notesMaster1.xml"/></Relationships>
</file>

<file path=ppt/notesSlides/_rels/notesSlide102.xml.rels><?xml version="1.0" encoding="UTF-8" standalone="yes"?>
<Relationships xmlns="http://schemas.openxmlformats.org/package/2006/relationships"><Relationship Id="rId2" Type="http://schemas.openxmlformats.org/officeDocument/2006/relationships/slide" Target="../slides/slide103.xml"/><Relationship Id="rId1" Type="http://schemas.openxmlformats.org/officeDocument/2006/relationships/notesMaster" Target="../notesMasters/notesMaster1.xml"/></Relationships>
</file>

<file path=ppt/notesSlides/_rels/notesSlide103.xml.rels><?xml version="1.0" encoding="UTF-8" standalone="yes"?>
<Relationships xmlns="http://schemas.openxmlformats.org/package/2006/relationships"><Relationship Id="rId2" Type="http://schemas.openxmlformats.org/officeDocument/2006/relationships/slide" Target="../slides/slide104.xml"/><Relationship Id="rId1" Type="http://schemas.openxmlformats.org/officeDocument/2006/relationships/notesMaster" Target="../notesMasters/notesMaster1.xml"/></Relationships>
</file>

<file path=ppt/notesSlides/_rels/notesSlide104.xml.rels><?xml version="1.0" encoding="UTF-8" standalone="yes"?>
<Relationships xmlns="http://schemas.openxmlformats.org/package/2006/relationships"><Relationship Id="rId2" Type="http://schemas.openxmlformats.org/officeDocument/2006/relationships/slide" Target="../slides/slide105.xml"/><Relationship Id="rId1" Type="http://schemas.openxmlformats.org/officeDocument/2006/relationships/notesMaster" Target="../notesMasters/notesMaster1.xml"/></Relationships>
</file>

<file path=ppt/notesSlides/_rels/notesSlide105.xml.rels><?xml version="1.0" encoding="UTF-8" standalone="yes"?>
<Relationships xmlns="http://schemas.openxmlformats.org/package/2006/relationships"><Relationship Id="rId2" Type="http://schemas.openxmlformats.org/officeDocument/2006/relationships/slide" Target="../slides/slide106.xml"/><Relationship Id="rId1" Type="http://schemas.openxmlformats.org/officeDocument/2006/relationships/notesMaster" Target="../notesMasters/notesMaster1.xml"/></Relationships>
</file>

<file path=ppt/notesSlides/_rels/notesSlide106.xml.rels><?xml version="1.0" encoding="UTF-8" standalone="yes"?>
<Relationships xmlns="http://schemas.openxmlformats.org/package/2006/relationships"><Relationship Id="rId2" Type="http://schemas.openxmlformats.org/officeDocument/2006/relationships/slide" Target="../slides/slide107.xml"/><Relationship Id="rId1" Type="http://schemas.openxmlformats.org/officeDocument/2006/relationships/notesMaster" Target="../notesMasters/notesMaster1.xml"/></Relationships>
</file>

<file path=ppt/notesSlides/_rels/notesSlide107.xml.rels><?xml version="1.0" encoding="UTF-8" standalone="yes"?>
<Relationships xmlns="http://schemas.openxmlformats.org/package/2006/relationships"><Relationship Id="rId2" Type="http://schemas.openxmlformats.org/officeDocument/2006/relationships/slide" Target="../slides/slide108.xml"/><Relationship Id="rId1" Type="http://schemas.openxmlformats.org/officeDocument/2006/relationships/notesMaster" Target="../notesMasters/notesMaster1.xml"/></Relationships>
</file>

<file path=ppt/notesSlides/_rels/notesSlide108.xml.rels><?xml version="1.0" encoding="UTF-8" standalone="yes"?>
<Relationships xmlns="http://schemas.openxmlformats.org/package/2006/relationships"><Relationship Id="rId2" Type="http://schemas.openxmlformats.org/officeDocument/2006/relationships/slide" Target="../slides/slide109.xml"/><Relationship Id="rId1" Type="http://schemas.openxmlformats.org/officeDocument/2006/relationships/notesMaster" Target="../notesMasters/notesMaster1.xml"/></Relationships>
</file>

<file path=ppt/notesSlides/_rels/notesSlide109.xml.rels><?xml version="1.0" encoding="UTF-8" standalone="yes"?>
<Relationships xmlns="http://schemas.openxmlformats.org/package/2006/relationships"><Relationship Id="rId2" Type="http://schemas.openxmlformats.org/officeDocument/2006/relationships/slide" Target="../slides/slide1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0.xml.rels><?xml version="1.0" encoding="UTF-8" standalone="yes"?>
<Relationships xmlns="http://schemas.openxmlformats.org/package/2006/relationships"><Relationship Id="rId2" Type="http://schemas.openxmlformats.org/officeDocument/2006/relationships/slide" Target="../slides/slide111.xml"/><Relationship Id="rId1" Type="http://schemas.openxmlformats.org/officeDocument/2006/relationships/notesMaster" Target="../notesMasters/notesMaster1.xml"/></Relationships>
</file>

<file path=ppt/notesSlides/_rels/notesSlide111.xml.rels><?xml version="1.0" encoding="UTF-8" standalone="yes"?>
<Relationships xmlns="http://schemas.openxmlformats.org/package/2006/relationships"><Relationship Id="rId2" Type="http://schemas.openxmlformats.org/officeDocument/2006/relationships/slide" Target="../slides/slide112.xml"/><Relationship Id="rId1" Type="http://schemas.openxmlformats.org/officeDocument/2006/relationships/notesMaster" Target="../notesMasters/notesMaster1.xml"/></Relationships>
</file>

<file path=ppt/notesSlides/_rels/notesSlide112.xml.rels><?xml version="1.0" encoding="UTF-8" standalone="yes"?>
<Relationships xmlns="http://schemas.openxmlformats.org/package/2006/relationships"><Relationship Id="rId2" Type="http://schemas.openxmlformats.org/officeDocument/2006/relationships/slide" Target="../slides/slide113.xml"/><Relationship Id="rId1" Type="http://schemas.openxmlformats.org/officeDocument/2006/relationships/notesMaster" Target="../notesMasters/notesMaster1.xml"/></Relationships>
</file>

<file path=ppt/notesSlides/_rels/notesSlide113.xml.rels><?xml version="1.0" encoding="UTF-8" standalone="yes"?>
<Relationships xmlns="http://schemas.openxmlformats.org/package/2006/relationships"><Relationship Id="rId2" Type="http://schemas.openxmlformats.org/officeDocument/2006/relationships/slide" Target="../slides/slide114.xml"/><Relationship Id="rId1" Type="http://schemas.openxmlformats.org/officeDocument/2006/relationships/notesMaster" Target="../notesMasters/notesMaster1.xml"/></Relationships>
</file>

<file path=ppt/notesSlides/_rels/notesSlide114.xml.rels><?xml version="1.0" encoding="UTF-8" standalone="yes"?>
<Relationships xmlns="http://schemas.openxmlformats.org/package/2006/relationships"><Relationship Id="rId2" Type="http://schemas.openxmlformats.org/officeDocument/2006/relationships/slide" Target="../slides/slide115.xml"/><Relationship Id="rId1" Type="http://schemas.openxmlformats.org/officeDocument/2006/relationships/notesMaster" Target="../notesMasters/notesMaster1.xml"/></Relationships>
</file>

<file path=ppt/notesSlides/_rels/notesSlide115.xml.rels><?xml version="1.0" encoding="UTF-8" standalone="yes"?>
<Relationships xmlns="http://schemas.openxmlformats.org/package/2006/relationships"><Relationship Id="rId2" Type="http://schemas.openxmlformats.org/officeDocument/2006/relationships/slide" Target="../slides/slide116.xml"/><Relationship Id="rId1" Type="http://schemas.openxmlformats.org/officeDocument/2006/relationships/notesMaster" Target="../notesMasters/notesMaster1.xml"/></Relationships>
</file>

<file path=ppt/notesSlides/_rels/notesSlide116.xml.rels><?xml version="1.0" encoding="UTF-8" standalone="yes"?>
<Relationships xmlns="http://schemas.openxmlformats.org/package/2006/relationships"><Relationship Id="rId2" Type="http://schemas.openxmlformats.org/officeDocument/2006/relationships/slide" Target="../slides/slide117.xml"/><Relationship Id="rId1" Type="http://schemas.openxmlformats.org/officeDocument/2006/relationships/notesMaster" Target="../notesMasters/notesMaster1.xml"/></Relationships>
</file>

<file path=ppt/notesSlides/_rels/notesSlide117.xml.rels><?xml version="1.0" encoding="UTF-8" standalone="yes"?>
<Relationships xmlns="http://schemas.openxmlformats.org/package/2006/relationships"><Relationship Id="rId2" Type="http://schemas.openxmlformats.org/officeDocument/2006/relationships/slide" Target="../slides/slide118.xml"/><Relationship Id="rId1" Type="http://schemas.openxmlformats.org/officeDocument/2006/relationships/notesMaster" Target="../notesMasters/notesMaster1.xml"/></Relationships>
</file>

<file path=ppt/notesSlides/_rels/notesSlide118.xml.rels><?xml version="1.0" encoding="UTF-8" standalone="yes"?>
<Relationships xmlns="http://schemas.openxmlformats.org/package/2006/relationships"><Relationship Id="rId2" Type="http://schemas.openxmlformats.org/officeDocument/2006/relationships/slide" Target="../slides/slide119.xml"/><Relationship Id="rId1" Type="http://schemas.openxmlformats.org/officeDocument/2006/relationships/notesMaster" Target="../notesMasters/notesMaster1.xml"/></Relationships>
</file>

<file path=ppt/notesSlides/_rels/notesSlide119.xml.rels><?xml version="1.0" encoding="UTF-8" standalone="yes"?>
<Relationships xmlns="http://schemas.openxmlformats.org/package/2006/relationships"><Relationship Id="rId2" Type="http://schemas.openxmlformats.org/officeDocument/2006/relationships/slide" Target="../slides/slide120.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0.xml.rels><?xml version="1.0" encoding="UTF-8" standalone="yes"?>
<Relationships xmlns="http://schemas.openxmlformats.org/package/2006/relationships"><Relationship Id="rId2" Type="http://schemas.openxmlformats.org/officeDocument/2006/relationships/slide" Target="../slides/slide121.xml"/><Relationship Id="rId1" Type="http://schemas.openxmlformats.org/officeDocument/2006/relationships/notesMaster" Target="../notesMasters/notesMaster1.xml"/></Relationships>
</file>

<file path=ppt/notesSlides/_rels/notesSlide121.xml.rels><?xml version="1.0" encoding="UTF-8" standalone="yes"?>
<Relationships xmlns="http://schemas.openxmlformats.org/package/2006/relationships"><Relationship Id="rId2" Type="http://schemas.openxmlformats.org/officeDocument/2006/relationships/slide" Target="../slides/slide122.xml"/><Relationship Id="rId1" Type="http://schemas.openxmlformats.org/officeDocument/2006/relationships/notesMaster" Target="../notesMasters/notesMaster1.xml"/></Relationships>
</file>

<file path=ppt/notesSlides/_rels/notesSlide122.xml.rels><?xml version="1.0" encoding="UTF-8" standalone="yes"?>
<Relationships xmlns="http://schemas.openxmlformats.org/package/2006/relationships"><Relationship Id="rId2" Type="http://schemas.openxmlformats.org/officeDocument/2006/relationships/slide" Target="../slides/slide123.xml"/><Relationship Id="rId1" Type="http://schemas.openxmlformats.org/officeDocument/2006/relationships/notesMaster" Target="../notesMasters/notesMaster1.xml"/></Relationships>
</file>

<file path=ppt/notesSlides/_rels/notesSlide123.xml.rels><?xml version="1.0" encoding="UTF-8" standalone="yes"?>
<Relationships xmlns="http://schemas.openxmlformats.org/package/2006/relationships"><Relationship Id="rId2" Type="http://schemas.openxmlformats.org/officeDocument/2006/relationships/slide" Target="../slides/slide124.xml"/><Relationship Id="rId1" Type="http://schemas.openxmlformats.org/officeDocument/2006/relationships/notesMaster" Target="../notesMasters/notesMaster1.xml"/></Relationships>
</file>

<file path=ppt/notesSlides/_rels/notesSlide124.xml.rels><?xml version="1.0" encoding="UTF-8" standalone="yes"?>
<Relationships xmlns="http://schemas.openxmlformats.org/package/2006/relationships"><Relationship Id="rId2" Type="http://schemas.openxmlformats.org/officeDocument/2006/relationships/slide" Target="../slides/slide125.xml"/><Relationship Id="rId1" Type="http://schemas.openxmlformats.org/officeDocument/2006/relationships/notesMaster" Target="../notesMasters/notesMaster1.xml"/></Relationships>
</file>

<file path=ppt/notesSlides/_rels/notesSlide125.xml.rels><?xml version="1.0" encoding="UTF-8" standalone="yes"?>
<Relationships xmlns="http://schemas.openxmlformats.org/package/2006/relationships"><Relationship Id="rId2" Type="http://schemas.openxmlformats.org/officeDocument/2006/relationships/slide" Target="../slides/slide126.xml"/><Relationship Id="rId1" Type="http://schemas.openxmlformats.org/officeDocument/2006/relationships/notesMaster" Target="../notesMasters/notesMaster1.xml"/></Relationships>
</file>

<file path=ppt/notesSlides/_rels/notesSlide126.xml.rels><?xml version="1.0" encoding="UTF-8" standalone="yes"?>
<Relationships xmlns="http://schemas.openxmlformats.org/package/2006/relationships"><Relationship Id="rId2" Type="http://schemas.openxmlformats.org/officeDocument/2006/relationships/slide" Target="../slides/slide127.xml"/><Relationship Id="rId1" Type="http://schemas.openxmlformats.org/officeDocument/2006/relationships/notesMaster" Target="../notesMasters/notesMaster1.xml"/></Relationships>
</file>

<file path=ppt/notesSlides/_rels/notesSlide127.xml.rels><?xml version="1.0" encoding="UTF-8" standalone="yes"?>
<Relationships xmlns="http://schemas.openxmlformats.org/package/2006/relationships"><Relationship Id="rId2" Type="http://schemas.openxmlformats.org/officeDocument/2006/relationships/slide" Target="../slides/slide128.xml"/><Relationship Id="rId1" Type="http://schemas.openxmlformats.org/officeDocument/2006/relationships/notesMaster" Target="../notesMasters/notesMaster1.xml"/></Relationships>
</file>

<file path=ppt/notesSlides/_rels/notesSlide128.xml.rels><?xml version="1.0" encoding="UTF-8" standalone="yes"?>
<Relationships xmlns="http://schemas.openxmlformats.org/package/2006/relationships"><Relationship Id="rId2" Type="http://schemas.openxmlformats.org/officeDocument/2006/relationships/slide" Target="../slides/slide129.xml"/><Relationship Id="rId1" Type="http://schemas.openxmlformats.org/officeDocument/2006/relationships/notesMaster" Target="../notesMasters/notesMaster1.xml"/></Relationships>
</file>

<file path=ppt/notesSlides/_rels/notesSlide129.xml.rels><?xml version="1.0" encoding="UTF-8" standalone="yes"?>
<Relationships xmlns="http://schemas.openxmlformats.org/package/2006/relationships"><Relationship Id="rId2" Type="http://schemas.openxmlformats.org/officeDocument/2006/relationships/slide" Target="../slides/slide130.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0.xml.rels><?xml version="1.0" encoding="UTF-8" standalone="yes"?>
<Relationships xmlns="http://schemas.openxmlformats.org/package/2006/relationships"><Relationship Id="rId3" Type="http://schemas.openxmlformats.org/officeDocument/2006/relationships/hyperlink" Target="https://powerbi.microsoft.com/en-us/documentation/powerbi-service-groups/" TargetMode="External"/><Relationship Id="rId2" Type="http://schemas.openxmlformats.org/officeDocument/2006/relationships/slide" Target="../slides/slide131.xml"/><Relationship Id="rId1" Type="http://schemas.openxmlformats.org/officeDocument/2006/relationships/notesMaster" Target="../notesMasters/notesMaster1.xml"/></Relationships>
</file>

<file path=ppt/notesSlides/_rels/notesSlide131.xml.rels><?xml version="1.0" encoding="UTF-8" standalone="yes"?>
<Relationships xmlns="http://schemas.openxmlformats.org/package/2006/relationships"><Relationship Id="rId2" Type="http://schemas.openxmlformats.org/officeDocument/2006/relationships/slide" Target="../slides/slide132.xml"/><Relationship Id="rId1" Type="http://schemas.openxmlformats.org/officeDocument/2006/relationships/notesMaster" Target="../notesMasters/notesMaster1.xml"/></Relationships>
</file>

<file path=ppt/notesSlides/_rels/notesSlide132.xml.rels><?xml version="1.0" encoding="UTF-8" standalone="yes"?>
<Relationships xmlns="http://schemas.openxmlformats.org/package/2006/relationships"><Relationship Id="rId2" Type="http://schemas.openxmlformats.org/officeDocument/2006/relationships/slide" Target="../slides/slide133.xml"/><Relationship Id="rId1" Type="http://schemas.openxmlformats.org/officeDocument/2006/relationships/notesMaster" Target="../notesMasters/notesMaster1.xml"/></Relationships>
</file>

<file path=ppt/notesSlides/_rels/notesSlide133.xml.rels><?xml version="1.0" encoding="UTF-8" standalone="yes"?>
<Relationships xmlns="http://schemas.openxmlformats.org/package/2006/relationships"><Relationship Id="rId2" Type="http://schemas.openxmlformats.org/officeDocument/2006/relationships/slide" Target="../slides/slide134.xml"/><Relationship Id="rId1" Type="http://schemas.openxmlformats.org/officeDocument/2006/relationships/notesMaster" Target="../notesMasters/notesMaster1.xml"/></Relationships>
</file>

<file path=ppt/notesSlides/_rels/notesSlide134.xml.rels><?xml version="1.0" encoding="UTF-8" standalone="yes"?>
<Relationships xmlns="http://schemas.openxmlformats.org/package/2006/relationships"><Relationship Id="rId2" Type="http://schemas.openxmlformats.org/officeDocument/2006/relationships/slide" Target="../slides/slide135.xml"/><Relationship Id="rId1" Type="http://schemas.openxmlformats.org/officeDocument/2006/relationships/notesMaster" Target="../notesMasters/notesMaster1.xml"/></Relationships>
</file>

<file path=ppt/notesSlides/_rels/notesSlide135.xml.rels><?xml version="1.0" encoding="UTF-8" standalone="yes"?>
<Relationships xmlns="http://schemas.openxmlformats.org/package/2006/relationships"><Relationship Id="rId2" Type="http://schemas.openxmlformats.org/officeDocument/2006/relationships/slide" Target="../slides/slide136.xml"/><Relationship Id="rId1" Type="http://schemas.openxmlformats.org/officeDocument/2006/relationships/notesMaster" Target="../notesMasters/notesMaster1.xml"/></Relationships>
</file>

<file path=ppt/notesSlides/_rels/notesSlide136.xml.rels><?xml version="1.0" encoding="UTF-8" standalone="yes"?>
<Relationships xmlns="http://schemas.openxmlformats.org/package/2006/relationships"><Relationship Id="rId2" Type="http://schemas.openxmlformats.org/officeDocument/2006/relationships/slide" Target="../slides/slide137.xml"/><Relationship Id="rId1" Type="http://schemas.openxmlformats.org/officeDocument/2006/relationships/notesMaster" Target="../notesMasters/notesMaster1.xml"/></Relationships>
</file>

<file path=ppt/notesSlides/_rels/notesSlide137.xml.rels><?xml version="1.0" encoding="UTF-8" standalone="yes"?>
<Relationships xmlns="http://schemas.openxmlformats.org/package/2006/relationships"><Relationship Id="rId2" Type="http://schemas.openxmlformats.org/officeDocument/2006/relationships/slide" Target="../slides/slide138.xml"/><Relationship Id="rId1" Type="http://schemas.openxmlformats.org/officeDocument/2006/relationships/notesMaster" Target="../notesMasters/notesMaster1.xml"/></Relationships>
</file>

<file path=ppt/notesSlides/_rels/notesSlide138.xml.rels><?xml version="1.0" encoding="UTF-8" standalone="yes"?>
<Relationships xmlns="http://schemas.openxmlformats.org/package/2006/relationships"><Relationship Id="rId2" Type="http://schemas.openxmlformats.org/officeDocument/2006/relationships/slide" Target="../slides/slide139.xml"/><Relationship Id="rId1" Type="http://schemas.openxmlformats.org/officeDocument/2006/relationships/notesMaster" Target="../notesMasters/notesMaster1.xml"/></Relationships>
</file>

<file path=ppt/notesSlides/_rels/notesSlide139.xml.rels><?xml version="1.0" encoding="UTF-8" standalone="yes"?>
<Relationships xmlns="http://schemas.openxmlformats.org/package/2006/relationships"><Relationship Id="rId2" Type="http://schemas.openxmlformats.org/officeDocument/2006/relationships/slide" Target="../slides/slide140.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3" Type="http://schemas.openxmlformats.org/officeDocument/2006/relationships/hyperlink" Target="https://azure.microsoft.com/en-us/documentation/services/service-bus/" TargetMode="External"/><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3" Type="http://schemas.openxmlformats.org/officeDocument/2006/relationships/hyperlink" Target="http://www.stratigent.com/sites/default/files/images/Top%20Visualization.png" TargetMode="External"/><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88.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89.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0.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91.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92.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93.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94.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95.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96.xml.rels><?xml version="1.0" encoding="UTF-8" standalone="yes"?>
<Relationships xmlns="http://schemas.openxmlformats.org/package/2006/relationships"><Relationship Id="rId3" Type="http://schemas.openxmlformats.org/officeDocument/2006/relationships/hyperlink" Target="https://powerbi.microsoft.com/en-us/documentation/powerbi-reduce-the-size-of-an-excel-workbook/" TargetMode="External"/><Relationship Id="rId2" Type="http://schemas.openxmlformats.org/officeDocument/2006/relationships/slide" Target="../slides/slide96.xml"/><Relationship Id="rId1" Type="http://schemas.openxmlformats.org/officeDocument/2006/relationships/notesMaster" Target="../notesMasters/notesMaster1.xml"/><Relationship Id="rId4" Type="http://schemas.openxmlformats.org/officeDocument/2006/relationships/hyperlink" Target="https://support.office.com/article/Upgrade-Power-Pivot-Data-Models-to-Excel-2013-c66578cb-74d5-43ae-a474-5a01be5db439" TargetMode="External"/></Relationships>
</file>

<file path=ppt/notesSlides/_rels/notesSlide97.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98.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_rels/notesSlide99.xml.rels><?xml version="1.0" encoding="UTF-8" standalone="yes"?>
<Relationships xmlns="http://schemas.openxmlformats.org/package/2006/relationships"><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a:p>
        </p:txBody>
      </p:sp>
      <p:sp>
        <p:nvSpPr>
          <p:cNvPr id="4" name="Plassholder for lysbildenummer 3"/>
          <p:cNvSpPr>
            <a:spLocks noGrp="1"/>
          </p:cNvSpPr>
          <p:nvPr>
            <p:ph type="sldNum" sz="quarter" idx="10"/>
          </p:nvPr>
        </p:nvSpPr>
        <p:spPr/>
        <p:txBody>
          <a:bodyPr/>
          <a:lstStyle/>
          <a:p>
            <a:fld id="{EB20C58C-FFDB-469E-965A-A16F30368694}" type="slidenum">
              <a:rPr lang="en-US" smtClean="0"/>
              <a:t>1</a:t>
            </a:fld>
            <a:endParaRPr lang="en-US"/>
          </a:p>
        </p:txBody>
      </p:sp>
    </p:spTree>
    <p:extLst>
      <p:ext uri="{BB962C8B-B14F-4D97-AF65-F5344CB8AC3E}">
        <p14:creationId xmlns:p14="http://schemas.microsoft.com/office/powerpoint/2010/main" val="340660854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1" indent="0" algn="l" defTabSz="932742" rtl="0" eaLnBrk="1" fontAlgn="auto" latinLnBrk="0" hangingPunct="1">
              <a:lnSpc>
                <a:spcPct val="90000"/>
              </a:lnSpc>
              <a:spcBef>
                <a:spcPts val="0"/>
              </a:spcBef>
              <a:spcAft>
                <a:spcPts val="340"/>
              </a:spcAft>
              <a:buClrTx/>
              <a:buSzTx/>
              <a:buFontTx/>
              <a:buNone/>
              <a:tabLst/>
              <a:defRPr/>
            </a:pPr>
            <a:r>
              <a:rPr lang="en-US" b="1"/>
              <a:t>Key message:</a:t>
            </a:r>
          </a:p>
          <a:p>
            <a:pPr marL="0" marR="0" lvl="1" indent="0" algn="l" defTabSz="932742" rtl="0" eaLnBrk="1" fontAlgn="auto" latinLnBrk="0" hangingPunct="1">
              <a:lnSpc>
                <a:spcPct val="90000"/>
              </a:lnSpc>
              <a:spcBef>
                <a:spcPts val="0"/>
              </a:spcBef>
              <a:spcAft>
                <a:spcPts val="340"/>
              </a:spcAft>
              <a:buClrTx/>
              <a:buSzTx/>
              <a:buFontTx/>
              <a:buNone/>
              <a:tabLst/>
              <a:defRPr/>
            </a:pPr>
            <a:r>
              <a:rPr lang="en-US" b="0"/>
              <a:t>Power BI comes with content packs for the</a:t>
            </a:r>
            <a:r>
              <a:rPr lang="en-US" b="0" baseline="0"/>
              <a:t> SaaS solutions that you already use</a:t>
            </a:r>
            <a:endParaRPr lang="en-US" b="0"/>
          </a:p>
          <a:p>
            <a:pPr marL="0" marR="0" lvl="1" indent="0" algn="l" defTabSz="932742" rtl="0" eaLnBrk="1" fontAlgn="auto" latinLnBrk="0" hangingPunct="1">
              <a:lnSpc>
                <a:spcPct val="90000"/>
              </a:lnSpc>
              <a:spcBef>
                <a:spcPts val="0"/>
              </a:spcBef>
              <a:spcAft>
                <a:spcPts val="340"/>
              </a:spcAft>
              <a:buClrTx/>
              <a:buSzTx/>
              <a:buFontTx/>
              <a:buNone/>
              <a:tabLst/>
              <a:defRPr/>
            </a:pPr>
            <a:endParaRPr lang="en-US" b="1"/>
          </a:p>
          <a:p>
            <a:pPr marL="0" marR="0" lvl="1" indent="0" algn="l" defTabSz="932742" rtl="0" eaLnBrk="1" fontAlgn="auto" latinLnBrk="0" hangingPunct="1">
              <a:lnSpc>
                <a:spcPct val="90000"/>
              </a:lnSpc>
              <a:spcBef>
                <a:spcPts val="0"/>
              </a:spcBef>
              <a:spcAft>
                <a:spcPts val="340"/>
              </a:spcAft>
              <a:buClrTx/>
              <a:buSzTx/>
              <a:buFontTx/>
              <a:buNone/>
              <a:tabLst/>
              <a:defRPr/>
            </a:pPr>
            <a:r>
              <a:rPr lang="en-US" b="1"/>
              <a:t>Talking points:</a:t>
            </a:r>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a:gradFill>
                  <a:gsLst>
                    <a:gs pos="0">
                      <a:srgbClr val="FFFFFF"/>
                    </a:gs>
                    <a:gs pos="100000">
                      <a:srgbClr val="FFFFFF"/>
                    </a:gs>
                  </a:gsLst>
                  <a:lin ang="5400000" scaled="0"/>
                </a:gradFill>
                <a:ea typeface="Segoe UI" pitchFamily="34" charset="0"/>
                <a:cs typeface="Segoe UI" pitchFamily="34" charset="0"/>
              </a:rPr>
              <a:t>It’s easy to discover business insights</a:t>
            </a:r>
            <a:r>
              <a:rPr lang="en-US" baseline="0">
                <a:gradFill>
                  <a:gsLst>
                    <a:gs pos="0">
                      <a:srgbClr val="FFFFFF"/>
                    </a:gs>
                    <a:gs pos="100000">
                      <a:srgbClr val="FFFFFF"/>
                    </a:gs>
                  </a:gsLst>
                  <a:lin ang="5400000" scaled="0"/>
                </a:gradFill>
                <a:ea typeface="Segoe UI" pitchFamily="34" charset="0"/>
                <a:cs typeface="Segoe UI" pitchFamily="34" charset="0"/>
              </a:rPr>
              <a:t> quickly by connecting all of the SaaS data sources you already use to Power BI </a:t>
            </a:r>
            <a:endParaRPr lang="en-US">
              <a:gradFill>
                <a:gsLst>
                  <a:gs pos="0">
                    <a:srgbClr val="FFFFFF"/>
                  </a:gs>
                  <a:gs pos="100000">
                    <a:srgbClr val="FFFFFF"/>
                  </a:gs>
                </a:gsLst>
                <a:lin ang="5400000" scaled="0"/>
              </a:gradFill>
              <a:ea typeface="Segoe UI" pitchFamily="34" charset="0"/>
              <a:cs typeface="Segoe UI" pitchFamily="34" charset="0"/>
            </a:endParaRPr>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a:gradFill>
                  <a:gsLst>
                    <a:gs pos="0">
                      <a:srgbClr val="FFFFFF"/>
                    </a:gs>
                    <a:gs pos="100000">
                      <a:srgbClr val="FFFFFF"/>
                    </a:gs>
                  </a:gsLst>
                  <a:lin ang="5400000" scaled="0"/>
                </a:gradFill>
                <a:ea typeface="Segoe UI" pitchFamily="34" charset="0"/>
                <a:cs typeface="Segoe UI" pitchFamily="34" charset="0"/>
              </a:rPr>
              <a:t>Power BI has “connector” functionality that establishes a direct connection to a variety of popular SaaS solutions</a:t>
            </a:r>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sz="900" baseline="0">
                <a:gradFill>
                  <a:gsLst>
                    <a:gs pos="0">
                      <a:srgbClr val="FFFFFF"/>
                    </a:gs>
                    <a:gs pos="100000">
                      <a:srgbClr val="FFFFFF"/>
                    </a:gs>
                  </a:gsLst>
                  <a:lin ang="5400000" scaled="0"/>
                </a:gradFill>
                <a:ea typeface="Segoe UI" pitchFamily="34" charset="0"/>
                <a:cs typeface="Segoe UI" pitchFamily="34" charset="0"/>
              </a:rPr>
              <a:t>It’s more than just a connection though – Power BI has a “content pack” for each SaaS solution </a:t>
            </a:r>
          </a:p>
          <a:p>
            <a:pPr marL="628650" marR="0" lvl="1"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sz="900" baseline="0">
                <a:gradFill>
                  <a:gsLst>
                    <a:gs pos="0">
                      <a:srgbClr val="FFFFFF"/>
                    </a:gs>
                    <a:gs pos="100000">
                      <a:srgbClr val="FFFFFF"/>
                    </a:gs>
                  </a:gsLst>
                  <a:lin ang="5400000" scaled="0"/>
                </a:gradFill>
                <a:ea typeface="Segoe UI" pitchFamily="34" charset="0"/>
                <a:cs typeface="Segoe UI" pitchFamily="34" charset="0"/>
              </a:rPr>
              <a:t>These “content packs” consist of </a:t>
            </a:r>
            <a:r>
              <a:rPr lang="en-US" sz="900">
                <a:gradFill>
                  <a:gsLst>
                    <a:gs pos="1250">
                      <a:schemeClr val="tx2"/>
                    </a:gs>
                    <a:gs pos="99000">
                      <a:schemeClr val="tx2"/>
                    </a:gs>
                  </a:gsLst>
                  <a:lin ang="5400000" scaled="0"/>
                </a:gradFill>
              </a:rPr>
              <a:t>pre-configured dashboards, reports, data models, embedded queries and metadata</a:t>
            </a:r>
          </a:p>
          <a:p>
            <a:pPr marL="628650" marR="0" lvl="1"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sz="900" baseline="0">
                <a:gradFill>
                  <a:gsLst>
                    <a:gs pos="1250">
                      <a:schemeClr val="tx2"/>
                    </a:gs>
                    <a:gs pos="99000">
                      <a:schemeClr val="tx2"/>
                    </a:gs>
                  </a:gsLst>
                  <a:lin ang="5400000" scaled="0"/>
                </a:gradFill>
                <a:ea typeface="Segoe UI" pitchFamily="34" charset="0"/>
                <a:cs typeface="Segoe UI" pitchFamily="34" charset="0"/>
              </a:rPr>
              <a:t>That means users don’t have to set anything up from scratch – you connect your data and instantly have a beautiful dashboard ready for you to customize to your needs</a:t>
            </a:r>
            <a:endParaRPr lang="en-US" sz="900" baseline="0">
              <a:gradFill>
                <a:gsLst>
                  <a:gs pos="0">
                    <a:srgbClr val="FFFFFF"/>
                  </a:gs>
                  <a:gs pos="100000">
                    <a:srgbClr val="FFFFFF"/>
                  </a:gs>
                </a:gsLst>
                <a:lin ang="5400000" scaled="0"/>
              </a:gradFill>
              <a:ea typeface="Segoe UI" pitchFamily="34" charset="0"/>
              <a:cs typeface="Segoe UI" pitchFamily="34" charset="0"/>
            </a:endParaRPr>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a:gradFill>
                  <a:gsLst>
                    <a:gs pos="0">
                      <a:srgbClr val="FFFFFF"/>
                    </a:gs>
                    <a:gs pos="100000">
                      <a:srgbClr val="FFFFFF"/>
                    </a:gs>
                  </a:gsLst>
                  <a:lin ang="5400000" scaled="0"/>
                </a:gradFill>
                <a:ea typeface="Segoe UI" pitchFamily="34" charset="0"/>
                <a:cs typeface="Segoe UI" pitchFamily="34" charset="0"/>
              </a:rPr>
              <a:t>Thanks to the direct</a:t>
            </a:r>
            <a:r>
              <a:rPr lang="en-US" baseline="0">
                <a:gradFill>
                  <a:gsLst>
                    <a:gs pos="0">
                      <a:srgbClr val="FFFFFF"/>
                    </a:gs>
                    <a:gs pos="100000">
                      <a:srgbClr val="FFFFFF"/>
                    </a:gs>
                  </a:gsLst>
                  <a:lin ang="5400000" scaled="0"/>
                </a:gradFill>
                <a:ea typeface="Segoe UI" pitchFamily="34" charset="0"/>
                <a:cs typeface="Segoe UI" pitchFamily="34" charset="0"/>
              </a:rPr>
              <a:t> connection from Power BI, data processing is optimized, so you can explore at a rapid pace</a:t>
            </a:r>
            <a:endParaRPr lang="en-US">
              <a:gradFill>
                <a:gsLst>
                  <a:gs pos="0">
                    <a:srgbClr val="FFFFFF"/>
                  </a:gs>
                  <a:gs pos="100000">
                    <a:srgbClr val="FFFFFF"/>
                  </a:gs>
                </a:gsLst>
                <a:lin ang="5400000" scaled="0"/>
              </a:gradFill>
              <a:ea typeface="Segoe UI" pitchFamily="34" charset="0"/>
              <a:cs typeface="Segoe UI" pitchFamily="34" charset="0"/>
            </a:endParaRPr>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a:gradFill>
                  <a:gsLst>
                    <a:gs pos="0">
                      <a:srgbClr val="FFFFFF"/>
                    </a:gs>
                    <a:gs pos="100000">
                      <a:srgbClr val="FFFFFF"/>
                    </a:gs>
                  </a:gsLst>
                  <a:lin ang="5400000" scaled="0"/>
                </a:gradFill>
                <a:ea typeface="Segoe UI" pitchFamily="34" charset="0"/>
                <a:cs typeface="Segoe UI" pitchFamily="34" charset="0"/>
              </a:rPr>
              <a:t>And data is updated automatically</a:t>
            </a:r>
            <a:r>
              <a:rPr lang="en-US" baseline="0">
                <a:gradFill>
                  <a:gsLst>
                    <a:gs pos="0">
                      <a:srgbClr val="FFFFFF"/>
                    </a:gs>
                    <a:gs pos="100000">
                      <a:srgbClr val="FFFFFF"/>
                    </a:gs>
                  </a:gsLst>
                  <a:lin ang="5400000" scaled="0"/>
                </a:gradFill>
                <a:ea typeface="Segoe UI" pitchFamily="34" charset="0"/>
                <a:cs typeface="Segoe UI" pitchFamily="34" charset="0"/>
              </a:rPr>
              <a:t> each day (or on-demand if you need it) – no need for special refresh configuration</a:t>
            </a:r>
            <a:endParaRPr lang="en-US" sz="900">
              <a:gradFill>
                <a:gsLst>
                  <a:gs pos="0">
                    <a:srgbClr val="FFFFFF"/>
                  </a:gs>
                  <a:gs pos="100000">
                    <a:srgbClr val="FFFFFF"/>
                  </a:gs>
                </a:gsLst>
                <a:lin ang="5400000" scaled="0"/>
              </a:gradFill>
              <a:ea typeface="Segoe UI" pitchFamily="34" charset="0"/>
              <a:cs typeface="Segoe UI" pitchFamily="34" charset="0"/>
            </a:endParaRPr>
          </a:p>
          <a:p>
            <a:pPr marL="0" marR="0" lvl="1" indent="0" algn="l" defTabSz="932742" rtl="0" eaLnBrk="1" fontAlgn="auto" latinLnBrk="0" hangingPunct="1">
              <a:lnSpc>
                <a:spcPct val="90000"/>
              </a:lnSpc>
              <a:spcBef>
                <a:spcPts val="0"/>
              </a:spcBef>
              <a:spcAft>
                <a:spcPts val="340"/>
              </a:spcAft>
              <a:buClrTx/>
              <a:buSzTx/>
              <a:buFontTx/>
              <a:buNone/>
              <a:tabLst/>
              <a:defRPr/>
            </a:pPr>
            <a:endParaRPr lang="en-US" b="1"/>
          </a:p>
        </p:txBody>
      </p:sp>
      <p:sp>
        <p:nvSpPr>
          <p:cNvPr id="4" name="Header Placeholder 3"/>
          <p:cNvSpPr>
            <a:spLocks noGrp="1"/>
          </p:cNvSpPr>
          <p:nvPr>
            <p:ph type="hdr" sz="quarter" idx="10"/>
          </p:nvPr>
        </p:nvSpPr>
        <p:spPr/>
        <p:txBody>
          <a:bodyPr/>
          <a:lstStyle/>
          <a:p>
            <a:endParaRPr lang="en-US">
              <a:solidFill>
                <a:prstClr val="black"/>
              </a:solidFill>
            </a:endParaRPr>
          </a:p>
        </p:txBody>
      </p:sp>
      <p:sp>
        <p:nvSpPr>
          <p:cNvPr id="5" name="Footer Placeholder 4"/>
          <p:cNvSpPr>
            <a:spLocks noGrp="1"/>
          </p:cNvSpPr>
          <p:nvPr>
            <p:ph type="ftr" sz="quarter" idx="11"/>
          </p:nvPr>
        </p:nvSpPr>
        <p:spPr/>
        <p:txBody>
          <a:bodyPr/>
          <a:lstStyle/>
          <a:p>
            <a:pPr defTabSz="922783"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22783"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9F34A55B-0232-4B2A-8DB0-D59B999B87D7}" type="datetime1">
              <a:rPr lang="en-US" smtClean="0">
                <a:solidFill>
                  <a:prstClr val="black"/>
                </a:solidFill>
              </a:rPr>
              <a:pPr/>
              <a:t>11/24/2020</a:t>
            </a:fld>
            <a:endParaRPr lang="en-US">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0</a:t>
            </a:fld>
            <a:endParaRPr lang="en-US">
              <a:solidFill>
                <a:prstClr val="black"/>
              </a:solidFill>
            </a:endParaRPr>
          </a:p>
        </p:txBody>
      </p:sp>
    </p:spTree>
    <p:extLst>
      <p:ext uri="{BB962C8B-B14F-4D97-AF65-F5344CB8AC3E}">
        <p14:creationId xmlns:p14="http://schemas.microsoft.com/office/powerpoint/2010/main" val="1973268166"/>
      </p:ext>
    </p:extLst>
  </p:cSld>
  <p:clrMapOvr>
    <a:masterClrMapping/>
  </p:clrMapOvr>
</p:notes>
</file>

<file path=ppt/notesSlides/notesSlide1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a:p>
        </p:txBody>
      </p:sp>
      <p:sp>
        <p:nvSpPr>
          <p:cNvPr id="4" name="Plassholder for lysbildenummer 3"/>
          <p:cNvSpPr>
            <a:spLocks noGrp="1"/>
          </p:cNvSpPr>
          <p:nvPr>
            <p:ph type="sldNum" sz="quarter" idx="10"/>
          </p:nvPr>
        </p:nvSpPr>
        <p:spPr/>
        <p:txBody>
          <a:bodyPr/>
          <a:lstStyle/>
          <a:p>
            <a:fld id="{EB20C58C-FFDB-469E-965A-A16F30368694}" type="slidenum">
              <a:rPr lang="en-US" smtClean="0"/>
              <a:t>101</a:t>
            </a:fld>
            <a:endParaRPr lang="en-US"/>
          </a:p>
        </p:txBody>
      </p:sp>
    </p:spTree>
    <p:extLst>
      <p:ext uri="{BB962C8B-B14F-4D97-AF65-F5344CB8AC3E}">
        <p14:creationId xmlns:p14="http://schemas.microsoft.com/office/powerpoint/2010/main" val="2666443167"/>
      </p:ext>
    </p:extLst>
  </p:cSld>
  <p:clrMapOvr>
    <a:masterClrMapping/>
  </p:clrMapOvr>
</p:notes>
</file>

<file path=ppt/notesSlides/notesSlide1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1" indent="0" algn="l" defTabSz="932742" rtl="0" eaLnBrk="1" fontAlgn="auto" latinLnBrk="0" hangingPunct="1">
              <a:lnSpc>
                <a:spcPct val="90000"/>
              </a:lnSpc>
              <a:spcBef>
                <a:spcPts val="0"/>
              </a:spcBef>
              <a:spcAft>
                <a:spcPts val="340"/>
              </a:spcAft>
              <a:buClrTx/>
              <a:buSzTx/>
              <a:buFontTx/>
              <a:buNone/>
              <a:tabLst/>
              <a:defRPr/>
            </a:pPr>
            <a:endParaRPr lang="en-US"/>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22783"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0" marR="0" lvl="0" indent="0" algn="l" defTabSz="922783"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F34A55B-0232-4B2A-8DB0-D59B999B87D7}" type="datetime1">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24/20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62948438"/>
      </p:ext>
    </p:extLst>
  </p:cSld>
  <p:clrMapOvr>
    <a:masterClrMapping/>
  </p:clrMapOvr>
</p:notes>
</file>

<file path=ppt/notesSlides/notesSlide1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1" indent="0" algn="l" defTabSz="932742" rtl="0" eaLnBrk="1" fontAlgn="auto" latinLnBrk="0" hangingPunct="1">
              <a:lnSpc>
                <a:spcPct val="90000"/>
              </a:lnSpc>
              <a:spcBef>
                <a:spcPts val="0"/>
              </a:spcBef>
              <a:spcAft>
                <a:spcPts val="340"/>
              </a:spcAft>
              <a:buClrTx/>
              <a:buSzTx/>
              <a:buFontTx/>
              <a:buNone/>
              <a:tabLst/>
              <a:defRPr/>
            </a:pPr>
            <a:endParaRPr lang="en-US"/>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22783"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0" marR="0" lvl="0" indent="0" algn="l" defTabSz="922783"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F34A55B-0232-4B2A-8DB0-D59B999B87D7}" type="datetime1">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24/20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03434365"/>
      </p:ext>
    </p:extLst>
  </p:cSld>
  <p:clrMapOvr>
    <a:masterClrMapping/>
  </p:clrMapOvr>
</p:notes>
</file>

<file path=ppt/notesSlides/notesSlide1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1" indent="0" algn="l" defTabSz="932742" rtl="0" eaLnBrk="1" fontAlgn="auto" latinLnBrk="0" hangingPunct="1">
              <a:lnSpc>
                <a:spcPct val="90000"/>
              </a:lnSpc>
              <a:spcBef>
                <a:spcPts val="0"/>
              </a:spcBef>
              <a:spcAft>
                <a:spcPts val="340"/>
              </a:spcAft>
              <a:buClrTx/>
              <a:buSzTx/>
              <a:buFontTx/>
              <a:buNone/>
              <a:tabLst/>
              <a:defRPr/>
            </a:pPr>
            <a:endParaRPr lang="en-US"/>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22783"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0" marR="0" lvl="0" indent="0" algn="l" defTabSz="922783"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F34A55B-0232-4B2A-8DB0-D59B999B87D7}" type="datetime1">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24/20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63730158"/>
      </p:ext>
    </p:extLst>
  </p:cSld>
  <p:clrMapOvr>
    <a:masterClrMapping/>
  </p:clrMapOvr>
</p:notes>
</file>

<file path=ppt/notesSlides/notesSlide1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1" indent="0" algn="l" defTabSz="932742" rtl="0" eaLnBrk="1" fontAlgn="auto" latinLnBrk="0" hangingPunct="1">
              <a:lnSpc>
                <a:spcPct val="90000"/>
              </a:lnSpc>
              <a:spcBef>
                <a:spcPts val="0"/>
              </a:spcBef>
              <a:spcAft>
                <a:spcPts val="340"/>
              </a:spcAft>
              <a:buClrTx/>
              <a:buSzTx/>
              <a:buFontTx/>
              <a:buNone/>
              <a:tabLst/>
              <a:defRPr/>
            </a:pPr>
            <a:r>
              <a:rPr lang="en-US"/>
              <a:t>Explain the options</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22783"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0" marR="0" lvl="0" indent="0" algn="l" defTabSz="922783"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F34A55B-0232-4B2A-8DB0-D59B999B87D7}" type="datetime1">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24/20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76766233"/>
      </p:ext>
    </p:extLst>
  </p:cSld>
  <p:clrMapOvr>
    <a:masterClrMapping/>
  </p:clrMapOvr>
</p:notes>
</file>

<file path=ppt/notesSlides/notesSlide1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1" indent="0" algn="l" defTabSz="932742" rtl="0" eaLnBrk="1" fontAlgn="auto" latinLnBrk="0" hangingPunct="1">
              <a:lnSpc>
                <a:spcPct val="90000"/>
              </a:lnSpc>
              <a:spcBef>
                <a:spcPts val="0"/>
              </a:spcBef>
              <a:spcAft>
                <a:spcPts val="340"/>
              </a:spcAft>
              <a:buClrTx/>
              <a:buSzTx/>
              <a:buFontTx/>
              <a:buNone/>
              <a:tabLst/>
              <a:defRPr/>
            </a:pPr>
            <a:r>
              <a:rPr lang="en-US"/>
              <a:t>Any filters that were defined</a:t>
            </a:r>
            <a:r>
              <a:rPr lang="en-US" baseline="0"/>
              <a:t> at design time, either at Report, Page or Visual level will be available here.</a:t>
            </a:r>
            <a:endParaRPr lang="en-US"/>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22783"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0" marR="0" lvl="0" indent="0" algn="l" defTabSz="922783"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F34A55B-0232-4B2A-8DB0-D59B999B87D7}" type="datetime1">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24/20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95251809"/>
      </p:ext>
    </p:extLst>
  </p:cSld>
  <p:clrMapOvr>
    <a:masterClrMapping/>
  </p:clrMapOvr>
</p:notes>
</file>

<file path=ppt/notesSlides/notesSlide1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1" indent="0" algn="l" defTabSz="932742" rtl="0" eaLnBrk="1" fontAlgn="auto" latinLnBrk="0" hangingPunct="1">
              <a:lnSpc>
                <a:spcPct val="90000"/>
              </a:lnSpc>
              <a:spcBef>
                <a:spcPts val="0"/>
              </a:spcBef>
              <a:spcAft>
                <a:spcPts val="340"/>
              </a:spcAft>
              <a:buClrTx/>
              <a:buSzTx/>
              <a:buFontTx/>
              <a:buNone/>
              <a:tabLst/>
              <a:defRPr/>
            </a:pPr>
            <a:endParaRPr lang="en-US"/>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22783"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0" marR="0" lvl="0" indent="0" algn="l" defTabSz="922783"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F34A55B-0232-4B2A-8DB0-D59B999B87D7}" type="datetime1">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24/20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38099997"/>
      </p:ext>
    </p:extLst>
  </p:cSld>
  <p:clrMapOvr>
    <a:masterClrMapping/>
  </p:clrMapOvr>
</p:notes>
</file>

<file path=ppt/notesSlides/notesSlide1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1" indent="0" algn="l" defTabSz="932742" rtl="0" eaLnBrk="1" fontAlgn="auto" latinLnBrk="0" hangingPunct="1">
              <a:lnSpc>
                <a:spcPct val="90000"/>
              </a:lnSpc>
              <a:spcBef>
                <a:spcPts val="0"/>
              </a:spcBef>
              <a:spcAft>
                <a:spcPts val="340"/>
              </a:spcAft>
              <a:buClrTx/>
              <a:buSzTx/>
              <a:buFontTx/>
              <a:buNone/>
              <a:tabLst/>
              <a:defRPr/>
            </a:pPr>
            <a:endParaRPr lang="en-US"/>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22783"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0" marR="0" lvl="0" indent="0" algn="l" defTabSz="922783"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F34A55B-0232-4B2A-8DB0-D59B999B87D7}" type="datetime1">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24/20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25010155"/>
      </p:ext>
    </p:extLst>
  </p:cSld>
  <p:clrMapOvr>
    <a:masterClrMapping/>
  </p:clrMapOvr>
</p:notes>
</file>

<file path=ppt/notesSlides/notesSlide1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1" indent="0" algn="l" defTabSz="932742" rtl="0" eaLnBrk="1" fontAlgn="auto" latinLnBrk="0" hangingPunct="1">
              <a:lnSpc>
                <a:spcPct val="90000"/>
              </a:lnSpc>
              <a:spcBef>
                <a:spcPts val="0"/>
              </a:spcBef>
              <a:spcAft>
                <a:spcPts val="340"/>
              </a:spcAft>
              <a:buClrTx/>
              <a:buSzTx/>
              <a:buFontTx/>
              <a:buNone/>
              <a:tabLst/>
              <a:defRPr/>
            </a:pPr>
            <a:r>
              <a:rPr lang="en-US"/>
              <a:t>Watch</a:t>
            </a:r>
            <a:r>
              <a:rPr lang="en-US" baseline="0"/>
              <a:t> out for republishing via Desktop File. From a governance perspective, all report development should be made via Desktop and published to the service.</a:t>
            </a:r>
            <a:endParaRPr lang="en-US"/>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22783"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0" marR="0" lvl="0" indent="0" algn="l" defTabSz="922783"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F34A55B-0232-4B2A-8DB0-D59B999B87D7}" type="datetime1">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24/20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38491"/>
      </p:ext>
    </p:extLst>
  </p:cSld>
  <p:clrMapOvr>
    <a:masterClrMapping/>
  </p:clrMapOvr>
</p:notes>
</file>

<file path=ppt/notesSlides/notesSlide1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1" indent="0" algn="l" defTabSz="932742" rtl="0" eaLnBrk="1" fontAlgn="auto" latinLnBrk="0" hangingPunct="1">
              <a:lnSpc>
                <a:spcPct val="90000"/>
              </a:lnSpc>
              <a:spcBef>
                <a:spcPts val="0"/>
              </a:spcBef>
              <a:spcAft>
                <a:spcPts val="340"/>
              </a:spcAft>
              <a:buClrTx/>
              <a:buSzTx/>
              <a:buFontTx/>
              <a:buNone/>
              <a:tabLst/>
              <a:defRPr/>
            </a:pPr>
            <a:endParaRPr lang="en-US"/>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22783"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0" marR="0" lvl="0" indent="0" algn="l" defTabSz="922783"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F34A55B-0232-4B2A-8DB0-D59B999B87D7}" type="datetime1">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24/20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4424662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1" indent="0" algn="l" defTabSz="932742" rtl="0" eaLnBrk="1" fontAlgn="auto" latinLnBrk="0" hangingPunct="1">
              <a:lnSpc>
                <a:spcPct val="90000"/>
              </a:lnSpc>
              <a:spcBef>
                <a:spcPts val="0"/>
              </a:spcBef>
              <a:spcAft>
                <a:spcPts val="340"/>
              </a:spcAft>
              <a:buClrTx/>
              <a:buSzTx/>
              <a:buFontTx/>
              <a:buNone/>
              <a:tabLst/>
              <a:defRPr/>
            </a:pPr>
            <a:r>
              <a:rPr lang="en-US" b="1"/>
              <a:t>Key message:</a:t>
            </a:r>
          </a:p>
          <a:p>
            <a:pPr marL="0" marR="0" lvl="1" indent="0" algn="l" defTabSz="932742" rtl="0" eaLnBrk="1" fontAlgn="auto" latinLnBrk="0" hangingPunct="1">
              <a:lnSpc>
                <a:spcPct val="90000"/>
              </a:lnSpc>
              <a:spcBef>
                <a:spcPts val="0"/>
              </a:spcBef>
              <a:spcAft>
                <a:spcPts val="340"/>
              </a:spcAft>
              <a:buClrTx/>
              <a:buSzTx/>
              <a:buFontTx/>
              <a:buNone/>
              <a:tabLst/>
              <a:defRPr/>
            </a:pPr>
            <a:r>
              <a:rPr lang="en-US" b="0"/>
              <a:t>Power BI works directly and</a:t>
            </a:r>
            <a:r>
              <a:rPr lang="en-US" b="0" baseline="0"/>
              <a:t> seamlessly with other Azure Data Services</a:t>
            </a:r>
            <a:endParaRPr lang="en-US" b="0"/>
          </a:p>
          <a:p>
            <a:pPr marL="0" marR="0" lvl="1" indent="0" algn="l" defTabSz="932742" rtl="0" eaLnBrk="1" fontAlgn="auto" latinLnBrk="0" hangingPunct="1">
              <a:lnSpc>
                <a:spcPct val="90000"/>
              </a:lnSpc>
              <a:spcBef>
                <a:spcPts val="0"/>
              </a:spcBef>
              <a:spcAft>
                <a:spcPts val="340"/>
              </a:spcAft>
              <a:buClrTx/>
              <a:buSzTx/>
              <a:buFontTx/>
              <a:buNone/>
              <a:tabLst/>
              <a:defRPr/>
            </a:pPr>
            <a:endParaRPr lang="en-US" b="1"/>
          </a:p>
          <a:p>
            <a:pPr marL="0" marR="0" lvl="1" indent="0" algn="l" defTabSz="932742" rtl="0" eaLnBrk="1" fontAlgn="auto" latinLnBrk="0" hangingPunct="1">
              <a:lnSpc>
                <a:spcPct val="90000"/>
              </a:lnSpc>
              <a:spcBef>
                <a:spcPts val="0"/>
              </a:spcBef>
              <a:spcAft>
                <a:spcPts val="340"/>
              </a:spcAft>
              <a:buClrTx/>
              <a:buSzTx/>
              <a:buFontTx/>
              <a:buNone/>
              <a:tabLst/>
              <a:defRPr/>
            </a:pPr>
            <a:r>
              <a:rPr lang="en-US" b="1"/>
              <a:t>Talking points:</a:t>
            </a:r>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a:solidFill>
                  <a:srgbClr val="000000"/>
                </a:solidFill>
                <a:ea typeface="Segoe UI" pitchFamily="34" charset="0"/>
                <a:cs typeface="Segoe UI" pitchFamily="34" charset="0"/>
              </a:rPr>
              <a:t>For example, Power BI</a:t>
            </a:r>
            <a:r>
              <a:rPr lang="en-US" baseline="0">
                <a:solidFill>
                  <a:srgbClr val="000000"/>
                </a:solidFill>
                <a:ea typeface="Segoe UI" pitchFamily="34" charset="0"/>
                <a:cs typeface="Segoe UI" pitchFamily="34" charset="0"/>
              </a:rPr>
              <a:t> integrates with SQL Database and SQL Data Warehouse, making it easier to query large data sets in real-time</a:t>
            </a:r>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baseline="0">
                <a:solidFill>
                  <a:srgbClr val="000000"/>
                </a:solidFill>
                <a:ea typeface="Segoe UI" pitchFamily="34" charset="0"/>
                <a:cs typeface="Segoe UI" pitchFamily="34" charset="0"/>
              </a:rPr>
              <a:t>Power BI also directly integrates with Azure Stream Analytics -  real-time data from Stream Analytics can be pushed directly into Power BI for real-time visibility via dashboards</a:t>
            </a:r>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baseline="0">
                <a:solidFill>
                  <a:srgbClr val="000000"/>
                </a:solidFill>
                <a:ea typeface="Segoe UI" pitchFamily="34" charset="0"/>
                <a:cs typeface="Segoe UI" pitchFamily="34" charset="0"/>
              </a:rPr>
              <a:t>For example, if you have </a:t>
            </a:r>
            <a:r>
              <a:rPr lang="en-US" baseline="0" err="1">
                <a:solidFill>
                  <a:srgbClr val="000000"/>
                </a:solidFill>
                <a:ea typeface="Segoe UI" pitchFamily="34" charset="0"/>
                <a:cs typeface="Segoe UI" pitchFamily="34" charset="0"/>
              </a:rPr>
              <a:t>IoT</a:t>
            </a:r>
            <a:r>
              <a:rPr lang="en-US" baseline="0">
                <a:solidFill>
                  <a:srgbClr val="000000"/>
                </a:solidFill>
                <a:ea typeface="Segoe UI" pitchFamily="34" charset="0"/>
                <a:cs typeface="Segoe UI" pitchFamily="34" charset="0"/>
              </a:rPr>
              <a:t> devices like sensors and factory-floor machines connected to Stream Analytics, that data can be surfaced live to Power BI dashboards, so operations managers can get real-time information on the status of plant operations</a:t>
            </a:r>
          </a:p>
          <a:p>
            <a:pPr marL="0" marR="0" lvl="1" indent="0" algn="l" defTabSz="932742" rtl="0" eaLnBrk="1" fontAlgn="auto" latinLnBrk="0" hangingPunct="1">
              <a:lnSpc>
                <a:spcPct val="90000"/>
              </a:lnSpc>
              <a:spcBef>
                <a:spcPts val="0"/>
              </a:spcBef>
              <a:spcAft>
                <a:spcPts val="340"/>
              </a:spcAft>
              <a:buClrTx/>
              <a:buSzTx/>
              <a:buFontTx/>
              <a:buNone/>
              <a:tabLst/>
              <a:defRPr/>
            </a:pPr>
            <a:endParaRPr lang="en-US" b="1"/>
          </a:p>
        </p:txBody>
      </p:sp>
      <p:sp>
        <p:nvSpPr>
          <p:cNvPr id="4" name="Header Placeholder 3"/>
          <p:cNvSpPr>
            <a:spLocks noGrp="1"/>
          </p:cNvSpPr>
          <p:nvPr>
            <p:ph type="hdr" sz="quarter" idx="10"/>
          </p:nvPr>
        </p:nvSpPr>
        <p:spPr/>
        <p:txBody>
          <a:bodyPr/>
          <a:lstStyle/>
          <a:p>
            <a:endParaRPr lang="en-US">
              <a:solidFill>
                <a:prstClr val="black"/>
              </a:solidFill>
            </a:endParaRPr>
          </a:p>
        </p:txBody>
      </p:sp>
      <p:sp>
        <p:nvSpPr>
          <p:cNvPr id="5" name="Footer Placeholder 4"/>
          <p:cNvSpPr>
            <a:spLocks noGrp="1"/>
          </p:cNvSpPr>
          <p:nvPr>
            <p:ph type="ftr" sz="quarter" idx="11"/>
          </p:nvPr>
        </p:nvSpPr>
        <p:spPr/>
        <p:txBody>
          <a:bodyPr/>
          <a:lstStyle/>
          <a:p>
            <a:pPr defTabSz="922783"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22783"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9F34A55B-0232-4B2A-8DB0-D59B999B87D7}" type="datetime1">
              <a:rPr lang="en-US" smtClean="0">
                <a:solidFill>
                  <a:prstClr val="black"/>
                </a:solidFill>
              </a:rPr>
              <a:pPr/>
              <a:t>11/24/2020</a:t>
            </a:fld>
            <a:endParaRPr lang="en-US">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1</a:t>
            </a:fld>
            <a:endParaRPr lang="en-US">
              <a:solidFill>
                <a:prstClr val="black"/>
              </a:solidFill>
            </a:endParaRPr>
          </a:p>
        </p:txBody>
      </p:sp>
    </p:spTree>
    <p:extLst>
      <p:ext uri="{BB962C8B-B14F-4D97-AF65-F5344CB8AC3E}">
        <p14:creationId xmlns:p14="http://schemas.microsoft.com/office/powerpoint/2010/main" val="1874479427"/>
      </p:ext>
    </p:extLst>
  </p:cSld>
  <p:clrMapOvr>
    <a:masterClrMapping/>
  </p:clrMapOvr>
</p:notes>
</file>

<file path=ppt/notesSlides/notesSlide1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1" indent="0" algn="l" defTabSz="932742" rtl="0" eaLnBrk="1" fontAlgn="auto" latinLnBrk="0" hangingPunct="1">
              <a:lnSpc>
                <a:spcPct val="90000"/>
              </a:lnSpc>
              <a:spcBef>
                <a:spcPts val="0"/>
              </a:spcBef>
              <a:spcAft>
                <a:spcPts val="340"/>
              </a:spcAft>
              <a:buClrTx/>
              <a:buSzTx/>
              <a:buFontTx/>
              <a:buNone/>
              <a:tabLst/>
              <a:defRPr/>
            </a:pPr>
            <a:endParaRPr lang="en-US"/>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22783"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0" marR="0" lvl="0" indent="0" algn="l" defTabSz="922783"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F34A55B-0232-4B2A-8DB0-D59B999B87D7}" type="datetime1">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24/20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91819073"/>
      </p:ext>
    </p:extLst>
  </p:cSld>
  <p:clrMapOvr>
    <a:masterClrMapping/>
  </p:clrMapOvr>
</p:notes>
</file>

<file path=ppt/notesSlides/notesSlide1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1" indent="0" algn="l" defTabSz="932742" rtl="0" eaLnBrk="1" fontAlgn="auto" latinLnBrk="0" hangingPunct="1">
              <a:lnSpc>
                <a:spcPct val="90000"/>
              </a:lnSpc>
              <a:spcBef>
                <a:spcPts val="0"/>
              </a:spcBef>
              <a:spcAft>
                <a:spcPts val="340"/>
              </a:spcAft>
              <a:buClrTx/>
              <a:buSzTx/>
              <a:buFontTx/>
              <a:buNone/>
              <a:tabLst/>
              <a:defRPr/>
            </a:pPr>
            <a:r>
              <a:rPr lang="en-US"/>
              <a:t>Widget can be web content, video, image, text box.</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22783"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0" marR="0" lvl="0" indent="0" algn="l" defTabSz="922783"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F34A55B-0232-4B2A-8DB0-D59B999B87D7}" type="datetime1">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24/20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88192607"/>
      </p:ext>
    </p:extLst>
  </p:cSld>
  <p:clrMapOvr>
    <a:masterClrMapping/>
  </p:clrMapOvr>
</p:notes>
</file>

<file path=ppt/notesSlides/notesSlide1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1" indent="0" algn="l" defTabSz="932742" rtl="0" eaLnBrk="1" fontAlgn="auto" latinLnBrk="0" hangingPunct="1">
              <a:lnSpc>
                <a:spcPct val="90000"/>
              </a:lnSpc>
              <a:spcBef>
                <a:spcPts val="0"/>
              </a:spcBef>
              <a:spcAft>
                <a:spcPts val="340"/>
              </a:spcAft>
              <a:buClrTx/>
              <a:buSzTx/>
              <a:buFontTx/>
              <a:buNone/>
              <a:tabLst/>
              <a:defRPr/>
            </a:pPr>
            <a:endParaRPr lang="en-US"/>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22783"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0" marR="0" lvl="0" indent="0" algn="l" defTabSz="922783"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F34A55B-0232-4B2A-8DB0-D59B999B87D7}" type="datetime1">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24/20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46330780"/>
      </p:ext>
    </p:extLst>
  </p:cSld>
  <p:clrMapOvr>
    <a:masterClrMapping/>
  </p:clrMapOvr>
</p:notes>
</file>

<file path=ppt/notesSlides/notesSlide1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1" indent="0" algn="l" defTabSz="932742" rtl="0" eaLnBrk="1" fontAlgn="auto" latinLnBrk="0" hangingPunct="1">
              <a:lnSpc>
                <a:spcPct val="90000"/>
              </a:lnSpc>
              <a:spcBef>
                <a:spcPts val="0"/>
              </a:spcBef>
              <a:spcAft>
                <a:spcPts val="340"/>
              </a:spcAft>
              <a:buClrTx/>
              <a:buSzTx/>
              <a:buFontTx/>
              <a:buNone/>
              <a:tabLst/>
              <a:defRPr/>
            </a:pPr>
            <a:endParaRPr lang="en-US"/>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22783"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0" marR="0" lvl="0" indent="0" algn="l" defTabSz="922783"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F34A55B-0232-4B2A-8DB0-D59B999B87D7}" type="datetime1">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24/20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64516351"/>
      </p:ext>
    </p:extLst>
  </p:cSld>
  <p:clrMapOvr>
    <a:masterClrMapping/>
  </p:clrMapOvr>
</p:notes>
</file>

<file path=ppt/notesSlides/notesSlide1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1" indent="0" algn="l" defTabSz="932742" rtl="0" eaLnBrk="1" fontAlgn="auto" latinLnBrk="0" hangingPunct="1">
              <a:lnSpc>
                <a:spcPct val="90000"/>
              </a:lnSpc>
              <a:spcBef>
                <a:spcPts val="0"/>
              </a:spcBef>
              <a:spcAft>
                <a:spcPts val="340"/>
              </a:spcAft>
              <a:buClrTx/>
              <a:buSzTx/>
              <a:buFontTx/>
              <a:buNone/>
              <a:tabLst/>
              <a:defRPr/>
            </a:pPr>
            <a:r>
              <a:rPr lang="en-US"/>
              <a:t>Elaborate on the different</a:t>
            </a:r>
            <a:r>
              <a:rPr lang="en-US" baseline="0"/>
              <a:t> options</a:t>
            </a:r>
            <a:endParaRPr lang="en-US"/>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22783"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0" marR="0" lvl="0" indent="0" algn="l" defTabSz="922783"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F34A55B-0232-4B2A-8DB0-D59B999B87D7}" type="datetime1">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24/20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97798126"/>
      </p:ext>
    </p:extLst>
  </p:cSld>
  <p:clrMapOvr>
    <a:masterClrMapping/>
  </p:clrMapOvr>
</p:notes>
</file>

<file path=ppt/notesSlides/notesSlide1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1" indent="0" algn="l" defTabSz="932742" rtl="0" eaLnBrk="1" fontAlgn="auto" latinLnBrk="0" hangingPunct="1">
              <a:lnSpc>
                <a:spcPct val="90000"/>
              </a:lnSpc>
              <a:spcBef>
                <a:spcPts val="0"/>
              </a:spcBef>
              <a:spcAft>
                <a:spcPts val="340"/>
              </a:spcAft>
              <a:buClrTx/>
              <a:buSzTx/>
              <a:buFontTx/>
              <a:buNone/>
              <a:tabLst/>
              <a:defRPr/>
            </a:pPr>
            <a:endParaRPr lang="en-US"/>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22783"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0" marR="0" lvl="0" indent="0" algn="l" defTabSz="922783"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F34A55B-0232-4B2A-8DB0-D59B999B87D7}" type="datetime1">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24/20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36484582"/>
      </p:ext>
    </p:extLst>
  </p:cSld>
  <p:clrMapOvr>
    <a:masterClrMapping/>
  </p:clrMapOvr>
</p:notes>
</file>

<file path=ppt/notesSlides/notesSlide1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1" indent="0" algn="l" defTabSz="932742" rtl="0" eaLnBrk="1" fontAlgn="auto" latinLnBrk="0" hangingPunct="1">
              <a:lnSpc>
                <a:spcPct val="90000"/>
              </a:lnSpc>
              <a:spcBef>
                <a:spcPts val="0"/>
              </a:spcBef>
              <a:spcAft>
                <a:spcPts val="340"/>
              </a:spcAft>
              <a:buClrTx/>
              <a:buSzTx/>
              <a:buFontTx/>
              <a:buNone/>
              <a:tabLst/>
              <a:defRPr/>
            </a:pPr>
            <a:r>
              <a:rPr lang="en-US"/>
              <a:t>https://powerbi.microsoft.com/en-us/documentation/powerbi-service-create-dashboard-phone-view/</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22783"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0" marR="0" lvl="0" indent="0" algn="l" defTabSz="922783"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F34A55B-0232-4B2A-8DB0-D59B999B87D7}" type="datetime1">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24/20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75848056"/>
      </p:ext>
    </p:extLst>
  </p:cSld>
  <p:clrMapOvr>
    <a:masterClrMapping/>
  </p:clrMapOvr>
</p:notes>
</file>

<file path=ppt/notesSlides/notesSlide1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1" indent="0" algn="l" defTabSz="932742" rtl="0" eaLnBrk="1" fontAlgn="auto" latinLnBrk="0" hangingPunct="1">
              <a:lnSpc>
                <a:spcPct val="90000"/>
              </a:lnSpc>
              <a:spcBef>
                <a:spcPts val="0"/>
              </a:spcBef>
              <a:spcAft>
                <a:spcPts val="340"/>
              </a:spcAft>
              <a:buClrTx/>
              <a:buSzTx/>
              <a:buFontTx/>
              <a:buNone/>
              <a:tabLst/>
              <a:defRPr/>
            </a:pPr>
            <a:r>
              <a:rPr lang="en-US" dirty="0"/>
              <a:t>https://powerbi.microsoft.com/en-us/documentation/powerbi-service-data-classification/</a:t>
            </a:r>
          </a:p>
          <a:p>
            <a:pPr marL="0" marR="0" lvl="1" indent="0" algn="l" defTabSz="932742" rtl="0" eaLnBrk="1" fontAlgn="auto" latinLnBrk="0" hangingPunct="1">
              <a:lnSpc>
                <a:spcPct val="90000"/>
              </a:lnSpc>
              <a:spcBef>
                <a:spcPts val="0"/>
              </a:spcBef>
              <a:spcAft>
                <a:spcPts val="340"/>
              </a:spcAft>
              <a:buClrTx/>
              <a:buSzTx/>
              <a:buFontTx/>
              <a:buNone/>
              <a:tabLst/>
              <a:defRPr/>
            </a:pPr>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22783"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0" marR="0" lvl="0" indent="0" algn="l" defTabSz="922783"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F34A55B-0232-4B2A-8DB0-D59B999B87D7}" type="datetime1">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24/20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75403657"/>
      </p:ext>
    </p:extLst>
  </p:cSld>
  <p:clrMapOvr>
    <a:masterClrMapping/>
  </p:clrMapOvr>
</p:notes>
</file>

<file path=ppt/notesSlides/notesSlide1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1" indent="0" algn="l" defTabSz="932742" rtl="0" eaLnBrk="1" fontAlgn="auto" latinLnBrk="0" hangingPunct="1">
              <a:lnSpc>
                <a:spcPct val="90000"/>
              </a:lnSpc>
              <a:spcBef>
                <a:spcPts val="0"/>
              </a:spcBef>
              <a:spcAft>
                <a:spcPts val="340"/>
              </a:spcAft>
              <a:buClrTx/>
              <a:buSzTx/>
              <a:buFontTx/>
              <a:buNone/>
              <a:tabLst/>
              <a:defRPr/>
            </a:pPr>
            <a:r>
              <a:rPr lang="en-US"/>
              <a:t>https://powerbi.microsoft.com/en-us/documentation/powerbi-service-data-classification/</a:t>
            </a:r>
          </a:p>
          <a:p>
            <a:pPr marL="0" marR="0" lvl="1" indent="0" algn="l" defTabSz="932742" rtl="0" eaLnBrk="1" fontAlgn="auto" latinLnBrk="0" hangingPunct="1">
              <a:lnSpc>
                <a:spcPct val="90000"/>
              </a:lnSpc>
              <a:spcBef>
                <a:spcPts val="0"/>
              </a:spcBef>
              <a:spcAft>
                <a:spcPts val="340"/>
              </a:spcAft>
              <a:buClrTx/>
              <a:buSzTx/>
              <a:buFontTx/>
              <a:buNone/>
              <a:tabLst/>
              <a:defRPr/>
            </a:pPr>
            <a:endParaRPr lang="en-US"/>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22783"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0" marR="0" lvl="0" indent="0" algn="l" defTabSz="922783"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F34A55B-0232-4B2A-8DB0-D59B999B87D7}" type="datetime1">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24/20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73183512"/>
      </p:ext>
    </p:extLst>
  </p:cSld>
  <p:clrMapOvr>
    <a:masterClrMapping/>
  </p:clrMapOvr>
</p:notes>
</file>

<file path=ppt/notesSlides/notesSlide1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1" indent="0" algn="l" defTabSz="932742" rtl="0" eaLnBrk="1" fontAlgn="auto" latinLnBrk="0" hangingPunct="1">
              <a:lnSpc>
                <a:spcPct val="90000"/>
              </a:lnSpc>
              <a:spcBef>
                <a:spcPts val="0"/>
              </a:spcBef>
              <a:spcAft>
                <a:spcPts val="340"/>
              </a:spcAft>
              <a:buClrTx/>
              <a:buSzTx/>
              <a:buFontTx/>
              <a:buNone/>
              <a:tabLst/>
              <a:defRPr/>
            </a:pPr>
            <a:r>
              <a:rPr lang="en-US" sz="1200">
                <a:solidFill>
                  <a:schemeClr val="tx1"/>
                </a:solidFill>
                <a:cs typeface="Times New Roman" panose="02020603050405020304" pitchFamily="18" charset="0"/>
              </a:rPr>
              <a:t>Note - only the person who set up the alerts can see them. Alerts are NOT shared when you share dashboards.</a:t>
            </a:r>
          </a:p>
          <a:p>
            <a:pPr marL="0" marR="0" lvl="1" indent="0" algn="l" defTabSz="932742" rtl="0" eaLnBrk="1" fontAlgn="auto" latinLnBrk="0" hangingPunct="1">
              <a:lnSpc>
                <a:spcPct val="90000"/>
              </a:lnSpc>
              <a:spcBef>
                <a:spcPts val="0"/>
              </a:spcBef>
              <a:spcAft>
                <a:spcPts val="340"/>
              </a:spcAft>
              <a:buClrTx/>
              <a:buSzTx/>
              <a:buFontTx/>
              <a:buNone/>
              <a:tabLst/>
              <a:defRPr/>
            </a:pPr>
            <a:endParaRPr lang="en-US"/>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22783"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0" marR="0" lvl="0" indent="0" algn="l" defTabSz="922783"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F34A55B-0232-4B2A-8DB0-D59B999B87D7}" type="datetime1">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24/20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0506610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1" indent="0" algn="l" defTabSz="932742" rtl="0" eaLnBrk="1" fontAlgn="auto" latinLnBrk="0" hangingPunct="1">
              <a:lnSpc>
                <a:spcPct val="90000"/>
              </a:lnSpc>
              <a:spcBef>
                <a:spcPts val="0"/>
              </a:spcBef>
              <a:spcAft>
                <a:spcPts val="340"/>
              </a:spcAft>
              <a:buClrTx/>
              <a:buSzTx/>
              <a:buFontTx/>
              <a:buNone/>
              <a:tabLst/>
              <a:defRPr/>
            </a:pPr>
            <a:r>
              <a:rPr lang="en-US" b="1" dirty="0"/>
              <a:t>Key message:</a:t>
            </a:r>
          </a:p>
          <a:p>
            <a:pPr marL="0" marR="0" lvl="1" indent="0" algn="l" defTabSz="932742" rtl="0" eaLnBrk="1" fontAlgn="auto" latinLnBrk="0" hangingPunct="1">
              <a:lnSpc>
                <a:spcPct val="90000"/>
              </a:lnSpc>
              <a:spcBef>
                <a:spcPts val="0"/>
              </a:spcBef>
              <a:spcAft>
                <a:spcPts val="340"/>
              </a:spcAft>
              <a:buClrTx/>
              <a:buSzTx/>
              <a:buFontTx/>
              <a:buNone/>
              <a:tabLst/>
              <a:defRPr/>
            </a:pPr>
            <a:r>
              <a:rPr lang="en-US" sz="1200" kern="1200" dirty="0">
                <a:solidFill>
                  <a:schemeClr val="tx1"/>
                </a:solidFill>
                <a:effectLst/>
                <a:latin typeface="+mn-lt"/>
                <a:ea typeface="Calibri" panose="020F0502020204030204" pitchFamily="34" charset="0"/>
                <a:cs typeface="Times New Roman" panose="02020603050405020304" pitchFamily="18" charset="0"/>
              </a:rPr>
              <a:t>Connect live to your existing on-premises data, such as </a:t>
            </a:r>
            <a:r>
              <a:rPr lang="en-US" sz="1200" kern="1200" dirty="0">
                <a:solidFill>
                  <a:schemeClr val="tx1"/>
                </a:solidFill>
                <a:latin typeface="+mn-lt"/>
                <a:ea typeface="Calibri" panose="020F0502020204030204" pitchFamily="34" charset="0"/>
                <a:cs typeface="Times New Roman" panose="02020603050405020304" pitchFamily="18" charset="0"/>
              </a:rPr>
              <a:t>SQL Server Analysis Services. No need to move your data to the cloud</a:t>
            </a:r>
            <a:endParaRPr lang="en-US" sz="1200" kern="1200" dirty="0">
              <a:solidFill>
                <a:schemeClr val="tx1"/>
              </a:solidFill>
              <a:effectLst/>
              <a:latin typeface="+mn-lt"/>
              <a:ea typeface="Calibri" panose="020F0502020204030204" pitchFamily="34" charset="0"/>
              <a:cs typeface="Times New Roman" panose="02020603050405020304" pitchFamily="18" charset="0"/>
            </a:endParaRPr>
          </a:p>
          <a:p>
            <a:pPr marL="0" marR="0" lvl="1" indent="0" algn="l" defTabSz="932742" rtl="0" eaLnBrk="1" fontAlgn="auto" latinLnBrk="0" hangingPunct="1">
              <a:lnSpc>
                <a:spcPct val="90000"/>
              </a:lnSpc>
              <a:spcBef>
                <a:spcPts val="0"/>
              </a:spcBef>
              <a:spcAft>
                <a:spcPts val="340"/>
              </a:spcAft>
              <a:buClrTx/>
              <a:buSzTx/>
              <a:buFontTx/>
              <a:buNone/>
              <a:tabLst/>
              <a:defRPr/>
            </a:pPr>
            <a:endParaRPr lang="en-US" b="1" dirty="0"/>
          </a:p>
          <a:p>
            <a:pPr marL="0" marR="0" lvl="1" indent="0" algn="l" defTabSz="932742" rtl="0" eaLnBrk="1" fontAlgn="auto" latinLnBrk="0" hangingPunct="1">
              <a:lnSpc>
                <a:spcPct val="90000"/>
              </a:lnSpc>
              <a:spcBef>
                <a:spcPts val="0"/>
              </a:spcBef>
              <a:spcAft>
                <a:spcPts val="340"/>
              </a:spcAft>
              <a:buClrTx/>
              <a:buSzTx/>
              <a:buFontTx/>
              <a:buNone/>
              <a:tabLst/>
              <a:defRPr/>
            </a:pPr>
            <a:r>
              <a:rPr lang="en-US" b="1" dirty="0"/>
              <a:t>Talking points:</a:t>
            </a:r>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dirty="0">
                <a:solidFill>
                  <a:srgbClr val="000000"/>
                </a:solidFill>
                <a:ea typeface="Segoe UI" pitchFamily="34" charset="0"/>
                <a:cs typeface="Segoe UI" pitchFamily="34" charset="0"/>
              </a:rPr>
              <a:t>Power BI lets you establish live connectivity with on-premises SQL Server Analysis Services tabular and</a:t>
            </a:r>
            <a:r>
              <a:rPr lang="en-US" baseline="0" dirty="0">
                <a:solidFill>
                  <a:srgbClr val="000000"/>
                </a:solidFill>
                <a:ea typeface="Segoe UI" pitchFamily="34" charset="0"/>
                <a:cs typeface="Segoe UI" pitchFamily="34" charset="0"/>
              </a:rPr>
              <a:t> multi-dimensional </a:t>
            </a:r>
            <a:r>
              <a:rPr lang="en-US" dirty="0">
                <a:solidFill>
                  <a:srgbClr val="000000"/>
                </a:solidFill>
                <a:ea typeface="Segoe UI" pitchFamily="34" charset="0"/>
                <a:cs typeface="Segoe UI" pitchFamily="34" charset="0"/>
              </a:rPr>
              <a:t>models</a:t>
            </a:r>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dirty="0">
                <a:solidFill>
                  <a:srgbClr val="000000"/>
                </a:solidFill>
                <a:ea typeface="Segoe UI" pitchFamily="34" charset="0"/>
                <a:cs typeface="Segoe UI" pitchFamily="34" charset="0"/>
              </a:rPr>
              <a:t>Use On-Premises Data Gateway to configure the connection</a:t>
            </a:r>
            <a:r>
              <a:rPr lang="en-US" baseline="0" dirty="0">
                <a:solidFill>
                  <a:srgbClr val="000000"/>
                </a:solidFill>
                <a:ea typeface="Segoe UI" pitchFamily="34" charset="0"/>
                <a:cs typeface="Segoe UI" pitchFamily="34" charset="0"/>
              </a:rPr>
              <a:t> with</a:t>
            </a:r>
            <a:r>
              <a:rPr lang="en-US" dirty="0">
                <a:solidFill>
                  <a:srgbClr val="000000"/>
                </a:solidFill>
                <a:ea typeface="Segoe UI" pitchFamily="34" charset="0"/>
                <a:cs typeface="Segoe UI" pitchFamily="34" charset="0"/>
              </a:rPr>
              <a:t> your existing SSAS</a:t>
            </a:r>
            <a:r>
              <a:rPr lang="en-US" baseline="0" dirty="0">
                <a:solidFill>
                  <a:srgbClr val="000000"/>
                </a:solidFill>
                <a:ea typeface="Segoe UI" pitchFamily="34" charset="0"/>
                <a:cs typeface="Segoe UI" pitchFamily="34" charset="0"/>
              </a:rPr>
              <a:t> solution (replaces the Analysis Services Connector).</a:t>
            </a:r>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dirty="0">
                <a:solidFill>
                  <a:srgbClr val="000000"/>
                </a:solidFill>
                <a:ea typeface="Segoe UI" pitchFamily="34" charset="0"/>
                <a:cs typeface="Segoe UI" pitchFamily="34" charset="0"/>
              </a:rPr>
              <a:t>The connection is live</a:t>
            </a:r>
            <a:r>
              <a:rPr lang="en-US" baseline="0" dirty="0">
                <a:solidFill>
                  <a:srgbClr val="000000"/>
                </a:solidFill>
                <a:ea typeface="Segoe UI" pitchFamily="34" charset="0"/>
                <a:cs typeface="Segoe UI" pitchFamily="34" charset="0"/>
              </a:rPr>
              <a:t> – meaning that </a:t>
            </a:r>
            <a:r>
              <a:rPr lang="en-US" dirty="0">
                <a:solidFill>
                  <a:srgbClr val="000000"/>
                </a:solidFill>
                <a:ea typeface="Segoe UI" pitchFamily="34" charset="0"/>
                <a:cs typeface="Segoe UI" pitchFamily="34" charset="0"/>
              </a:rPr>
              <a:t>when users view and explore dashboards, Power BI interactively queries the on-premises cube to fetch the data</a:t>
            </a:r>
            <a:r>
              <a:rPr lang="en-US" baseline="0" dirty="0">
                <a:solidFill>
                  <a:srgbClr val="000000"/>
                </a:solidFill>
                <a:ea typeface="Segoe UI" pitchFamily="34" charset="0"/>
                <a:cs typeface="Segoe UI" pitchFamily="34" charset="0"/>
              </a:rPr>
              <a:t> right then</a:t>
            </a:r>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baseline="0" dirty="0">
                <a:solidFill>
                  <a:srgbClr val="000000"/>
                </a:solidFill>
                <a:ea typeface="Segoe UI" pitchFamily="34" charset="0"/>
                <a:cs typeface="Segoe UI" pitchFamily="34" charset="0"/>
              </a:rPr>
              <a:t>This enables </a:t>
            </a:r>
            <a:r>
              <a:rPr lang="en-US" dirty="0">
                <a:solidFill>
                  <a:srgbClr val="000000"/>
                </a:solidFill>
              </a:rPr>
              <a:t>efficient data exploration thanks to</a:t>
            </a:r>
            <a:r>
              <a:rPr lang="en-US" baseline="0" dirty="0">
                <a:solidFill>
                  <a:srgbClr val="000000"/>
                </a:solidFill>
              </a:rPr>
              <a:t> </a:t>
            </a:r>
            <a:r>
              <a:rPr lang="en-US" dirty="0">
                <a:solidFill>
                  <a:srgbClr val="000000"/>
                </a:solidFill>
              </a:rPr>
              <a:t>optimized query performance</a:t>
            </a:r>
            <a:endParaRPr lang="en-US" dirty="0">
              <a:solidFill>
                <a:srgbClr val="000000"/>
              </a:solidFill>
              <a:ea typeface="Segoe UI" pitchFamily="34" charset="0"/>
              <a:cs typeface="Segoe UI" pitchFamily="34" charset="0"/>
            </a:endParaRPr>
          </a:p>
          <a:p>
            <a:pPr marL="171450" marR="0" lvl="1"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dirty="0">
                <a:solidFill>
                  <a:srgbClr val="000000"/>
                </a:solidFill>
                <a:ea typeface="Segoe UI" pitchFamily="34" charset="0"/>
                <a:cs typeface="Segoe UI" pitchFamily="34" charset="0"/>
              </a:rPr>
              <a:t>You</a:t>
            </a:r>
            <a:r>
              <a:rPr lang="en-US" baseline="0" dirty="0">
                <a:solidFill>
                  <a:srgbClr val="000000"/>
                </a:solidFill>
                <a:ea typeface="Segoe UI" pitchFamily="34" charset="0"/>
                <a:cs typeface="Segoe UI" pitchFamily="34" charset="0"/>
              </a:rPr>
              <a:t> can </a:t>
            </a:r>
            <a:r>
              <a:rPr lang="en-US" baseline="0" dirty="0">
                <a:solidFill>
                  <a:srgbClr val="000000"/>
                </a:solidFill>
              </a:rPr>
              <a:t>c</a:t>
            </a:r>
            <a:r>
              <a:rPr lang="en-US" dirty="0">
                <a:solidFill>
                  <a:srgbClr val="000000"/>
                </a:solidFill>
              </a:rPr>
              <a:t>reate reports with SSAS data on powerbi.com,</a:t>
            </a:r>
            <a:r>
              <a:rPr lang="en-US" baseline="0" dirty="0">
                <a:solidFill>
                  <a:srgbClr val="000000"/>
                </a:solidFill>
              </a:rPr>
              <a:t> even </a:t>
            </a:r>
            <a:r>
              <a:rPr lang="en-US" dirty="0">
                <a:solidFill>
                  <a:srgbClr val="000000"/>
                </a:solidFill>
              </a:rPr>
              <a:t>while data remains on-premises</a:t>
            </a:r>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dirty="0">
                <a:solidFill>
                  <a:srgbClr val="000000"/>
                </a:solidFill>
                <a:ea typeface="Segoe UI" pitchFamily="34" charset="0"/>
                <a:cs typeface="Segoe UI" pitchFamily="34" charset="0"/>
              </a:rPr>
              <a:t>Your existing, role-based SSAS permissions still apply – user access to SSAS data via Power BI is controlled the same way</a:t>
            </a:r>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dirty="0">
                <a:gradFill>
                  <a:gsLst>
                    <a:gs pos="0">
                      <a:srgbClr val="FFFFFF"/>
                    </a:gs>
                    <a:gs pos="100000">
                      <a:srgbClr val="FFFFFF"/>
                    </a:gs>
                  </a:gsLst>
                  <a:lin ang="5400000" scaled="0"/>
                </a:gradFill>
                <a:ea typeface="Segoe UI" pitchFamily="34" charset="0"/>
                <a:cs typeface="Segoe UI" pitchFamily="34" charset="0"/>
              </a:rPr>
              <a:t>The connection to SSAS is secured via</a:t>
            </a:r>
            <a:r>
              <a:rPr lang="en-US" baseline="0" dirty="0">
                <a:gradFill>
                  <a:gsLst>
                    <a:gs pos="0">
                      <a:srgbClr val="FFFFFF"/>
                    </a:gs>
                    <a:gs pos="100000">
                      <a:srgbClr val="FFFFFF"/>
                    </a:gs>
                  </a:gsLst>
                  <a:lin ang="5400000" scaled="0"/>
                </a:gradFill>
                <a:ea typeface="Segoe UI" pitchFamily="34" charset="0"/>
                <a:cs typeface="Segoe UI" pitchFamily="34" charset="0"/>
              </a:rPr>
              <a:t> </a:t>
            </a:r>
            <a:r>
              <a:rPr lang="en-US" dirty="0">
                <a:gradFill>
                  <a:gsLst>
                    <a:gs pos="0">
                      <a:srgbClr val="FFFFFF"/>
                    </a:gs>
                    <a:gs pos="100000">
                      <a:srgbClr val="FFFFFF"/>
                    </a:gs>
                  </a:gsLst>
                  <a:lin ang="5400000" scaled="0"/>
                </a:gradFill>
                <a:ea typeface="Segoe UI" pitchFamily="34" charset="0"/>
                <a:cs typeface="Segoe UI" pitchFamily="34" charset="0"/>
              </a:rPr>
              <a:t>Azure Service Bus SSL encryption</a:t>
            </a:r>
            <a:endParaRPr lang="en-US" b="1" dirty="0"/>
          </a:p>
        </p:txBody>
      </p:sp>
      <p:sp>
        <p:nvSpPr>
          <p:cNvPr id="4" name="Header Placeholder 3"/>
          <p:cNvSpPr>
            <a:spLocks noGrp="1"/>
          </p:cNvSpPr>
          <p:nvPr>
            <p:ph type="hdr" sz="quarter" idx="10"/>
          </p:nvPr>
        </p:nvSpPr>
        <p:spPr/>
        <p:txBody>
          <a:bodyPr/>
          <a:lstStyle/>
          <a:p>
            <a:endParaRPr lang="en-US">
              <a:solidFill>
                <a:prstClr val="black"/>
              </a:solidFill>
            </a:endParaRPr>
          </a:p>
        </p:txBody>
      </p:sp>
      <p:sp>
        <p:nvSpPr>
          <p:cNvPr id="5" name="Footer Placeholder 4"/>
          <p:cNvSpPr>
            <a:spLocks noGrp="1"/>
          </p:cNvSpPr>
          <p:nvPr>
            <p:ph type="ftr" sz="quarter" idx="11"/>
          </p:nvPr>
        </p:nvSpPr>
        <p:spPr/>
        <p:txBody>
          <a:bodyPr/>
          <a:lstStyle/>
          <a:p>
            <a:pPr defTabSz="922783"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22783"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9F34A55B-0232-4B2A-8DB0-D59B999B87D7}" type="datetime1">
              <a:rPr lang="en-US" smtClean="0">
                <a:solidFill>
                  <a:prstClr val="black"/>
                </a:solidFill>
              </a:rPr>
              <a:pPr/>
              <a:t>11/24/2020</a:t>
            </a:fld>
            <a:endParaRPr lang="en-US">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2</a:t>
            </a:fld>
            <a:endParaRPr lang="en-US">
              <a:solidFill>
                <a:prstClr val="black"/>
              </a:solidFill>
            </a:endParaRPr>
          </a:p>
        </p:txBody>
      </p:sp>
    </p:spTree>
    <p:extLst>
      <p:ext uri="{BB962C8B-B14F-4D97-AF65-F5344CB8AC3E}">
        <p14:creationId xmlns:p14="http://schemas.microsoft.com/office/powerpoint/2010/main" val="3563784653"/>
      </p:ext>
    </p:extLst>
  </p:cSld>
  <p:clrMapOvr>
    <a:masterClrMapping/>
  </p:clrMapOvr>
</p:notes>
</file>

<file path=ppt/notesSlides/notesSlide1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1" indent="0" algn="l" defTabSz="932742" rtl="0" eaLnBrk="1" fontAlgn="auto" latinLnBrk="0" hangingPunct="1">
              <a:lnSpc>
                <a:spcPct val="90000"/>
              </a:lnSpc>
              <a:spcBef>
                <a:spcPts val="0"/>
              </a:spcBef>
              <a:spcAft>
                <a:spcPts val="340"/>
              </a:spcAft>
              <a:buClrTx/>
              <a:buSzTx/>
              <a:buFontTx/>
              <a:buNone/>
              <a:tabLst/>
              <a:defRPr/>
            </a:pPr>
            <a:r>
              <a:rPr lang="en-US"/>
              <a:t>The Unified Notification Center is a sequential feed of information related to your Power BI experience. </a:t>
            </a:r>
          </a:p>
          <a:p>
            <a:pPr marL="0" marR="0" lvl="1" indent="0" algn="l" defTabSz="932742" rtl="0" eaLnBrk="1" fontAlgn="auto" latinLnBrk="0" hangingPunct="1">
              <a:lnSpc>
                <a:spcPct val="90000"/>
              </a:lnSpc>
              <a:spcBef>
                <a:spcPts val="0"/>
              </a:spcBef>
              <a:spcAft>
                <a:spcPts val="340"/>
              </a:spcAft>
              <a:buClrTx/>
              <a:buSzTx/>
              <a:buFontTx/>
              <a:buNone/>
              <a:tabLst/>
              <a:defRPr/>
            </a:pPr>
            <a:r>
              <a:rPr lang="en-US"/>
              <a:t>Open it to see messages about new dashboards that have been shared with you, changes to your Group space, information about Power BI events and meetings, alerts you've set, and more.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22783"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0" marR="0" lvl="0" indent="0" algn="l" defTabSz="922783"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F34A55B-0232-4B2A-8DB0-D59B999B87D7}" type="datetime1">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24/20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24268607"/>
      </p:ext>
    </p:extLst>
  </p:cSld>
  <p:clrMapOvr>
    <a:masterClrMapping/>
  </p:clrMapOvr>
</p:notes>
</file>

<file path=ppt/notesSlides/notesSlide1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a:p>
        </p:txBody>
      </p:sp>
      <p:sp>
        <p:nvSpPr>
          <p:cNvPr id="4" name="Plassholder for lysbildenummer 3"/>
          <p:cNvSpPr>
            <a:spLocks noGrp="1"/>
          </p:cNvSpPr>
          <p:nvPr>
            <p:ph type="sldNum" sz="quarter" idx="10"/>
          </p:nvPr>
        </p:nvSpPr>
        <p:spPr/>
        <p:txBody>
          <a:bodyPr/>
          <a:lstStyle/>
          <a:p>
            <a:fld id="{EB20C58C-FFDB-469E-965A-A16F30368694}" type="slidenum">
              <a:rPr lang="en-US" smtClean="0"/>
              <a:t>122</a:t>
            </a:fld>
            <a:endParaRPr lang="en-US"/>
          </a:p>
        </p:txBody>
      </p:sp>
    </p:spTree>
    <p:extLst>
      <p:ext uri="{BB962C8B-B14F-4D97-AF65-F5344CB8AC3E}">
        <p14:creationId xmlns:p14="http://schemas.microsoft.com/office/powerpoint/2010/main" val="786338594"/>
      </p:ext>
    </p:extLst>
  </p:cSld>
  <p:clrMapOvr>
    <a:masterClrMapping/>
  </p:clrMapOvr>
</p:notes>
</file>

<file path=ppt/notesSlides/notesSlide1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1" indent="0" algn="l" defTabSz="932742" rtl="0" eaLnBrk="1" fontAlgn="auto" latinLnBrk="0" hangingPunct="1">
              <a:lnSpc>
                <a:spcPct val="90000"/>
              </a:lnSpc>
              <a:spcBef>
                <a:spcPts val="0"/>
              </a:spcBef>
              <a:spcAft>
                <a:spcPts val="340"/>
              </a:spcAft>
              <a:buClrTx/>
              <a:buSzTx/>
              <a:buFontTx/>
              <a:buNone/>
              <a:tabLst/>
              <a:defRPr/>
            </a:pPr>
            <a:r>
              <a:rPr lang="en-US"/>
              <a:t>https://powerbi.microsoft.com/en-us/documentation/powerbi-service-share-unshare-dashboard/</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22783"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0" marR="0" lvl="0" indent="0" algn="l" defTabSz="922783"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F34A55B-0232-4B2A-8DB0-D59B999B87D7}" type="datetime1">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24/20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07371273"/>
      </p:ext>
    </p:extLst>
  </p:cSld>
  <p:clrMapOvr>
    <a:masterClrMapping/>
  </p:clrMapOvr>
</p:notes>
</file>

<file path=ppt/notesSlides/notesSlide1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1" indent="0" algn="l" defTabSz="932742" rtl="0" eaLnBrk="1" fontAlgn="auto" latinLnBrk="0" hangingPunct="1">
              <a:lnSpc>
                <a:spcPct val="90000"/>
              </a:lnSpc>
              <a:spcBef>
                <a:spcPts val="0"/>
              </a:spcBef>
              <a:spcAft>
                <a:spcPts val="340"/>
              </a:spcAft>
              <a:buClrTx/>
              <a:buSzTx/>
              <a:buFontTx/>
              <a:buNone/>
              <a:tabLst/>
              <a:defRPr/>
            </a:pPr>
            <a:r>
              <a:rPr lang="en-US"/>
              <a:t>Group</a:t>
            </a:r>
            <a:r>
              <a:rPr lang="en-US" baseline="0"/>
              <a:t> can be no larger than 500 members</a:t>
            </a:r>
            <a:endParaRPr lang="en-US"/>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22783"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0" marR="0" lvl="0" indent="0" algn="l" defTabSz="922783"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F34A55B-0232-4B2A-8DB0-D59B999B87D7}" type="datetime1">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24/20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29462100"/>
      </p:ext>
    </p:extLst>
  </p:cSld>
  <p:clrMapOvr>
    <a:masterClrMapping/>
  </p:clrMapOvr>
</p:notes>
</file>

<file path=ppt/notesSlides/notesSlide1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1" indent="0" algn="l" defTabSz="932742" rtl="0" eaLnBrk="1" fontAlgn="auto" latinLnBrk="0" hangingPunct="1">
              <a:lnSpc>
                <a:spcPct val="90000"/>
              </a:lnSpc>
              <a:spcBef>
                <a:spcPts val="0"/>
              </a:spcBef>
              <a:spcAft>
                <a:spcPts val="340"/>
              </a:spcAft>
              <a:buClrTx/>
              <a:buSzTx/>
              <a:buFontTx/>
              <a:buNone/>
              <a:tabLst/>
              <a:defRPr/>
            </a:pPr>
            <a:endParaRPr lang="en-US"/>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22783"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0" marR="0" lvl="0" indent="0" algn="l" defTabSz="922783"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F34A55B-0232-4B2A-8DB0-D59B999B87D7}" type="datetime1">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24/20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98994499"/>
      </p:ext>
    </p:extLst>
  </p:cSld>
  <p:clrMapOvr>
    <a:masterClrMapping/>
  </p:clrMapOvr>
</p:notes>
</file>

<file path=ppt/notesSlides/notesSlide1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1" indent="0" algn="l" defTabSz="932742" rtl="0" eaLnBrk="1" fontAlgn="auto" latinLnBrk="0" hangingPunct="1">
              <a:lnSpc>
                <a:spcPct val="90000"/>
              </a:lnSpc>
              <a:spcBef>
                <a:spcPts val="0"/>
              </a:spcBef>
              <a:spcAft>
                <a:spcPts val="340"/>
              </a:spcAft>
              <a:buClrTx/>
              <a:buSzTx/>
              <a:buFontTx/>
              <a:buNone/>
              <a:tabLst/>
              <a:defRPr/>
            </a:pPr>
            <a:r>
              <a:rPr lang="en-US"/>
              <a:t>Group</a:t>
            </a:r>
            <a:r>
              <a:rPr lang="en-US" baseline="0"/>
              <a:t> can be no larger than 500 members</a:t>
            </a:r>
          </a:p>
          <a:p>
            <a:pPr marL="0" marR="0" lvl="1" indent="0" algn="l" defTabSz="932742" rtl="0" eaLnBrk="1" fontAlgn="auto" latinLnBrk="0" hangingPunct="1">
              <a:lnSpc>
                <a:spcPct val="90000"/>
              </a:lnSpc>
              <a:spcBef>
                <a:spcPts val="0"/>
              </a:spcBef>
              <a:spcAft>
                <a:spcPts val="340"/>
              </a:spcAft>
              <a:buClrTx/>
              <a:buSzTx/>
              <a:buFontTx/>
              <a:buNone/>
              <a:tabLst/>
              <a:defRPr/>
            </a:pPr>
            <a:r>
              <a:rPr lang="en-US" baseline="0"/>
              <a:t>Invitation expires after one month</a:t>
            </a:r>
            <a:endParaRPr lang="en-US"/>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22783"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0" marR="0" lvl="0" indent="0" algn="l" defTabSz="922783"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F34A55B-0232-4B2A-8DB0-D59B999B87D7}" type="datetime1">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24/20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51538758"/>
      </p:ext>
    </p:extLst>
  </p:cSld>
  <p:clrMapOvr>
    <a:masterClrMapping/>
  </p:clrMapOvr>
</p:notes>
</file>

<file path=ppt/notesSlides/notesSlide1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1" indent="0" algn="l" defTabSz="932742" rtl="0" eaLnBrk="1" fontAlgn="auto" latinLnBrk="0" hangingPunct="1">
              <a:lnSpc>
                <a:spcPct val="90000"/>
              </a:lnSpc>
              <a:spcBef>
                <a:spcPts val="0"/>
              </a:spcBef>
              <a:spcAft>
                <a:spcPts val="340"/>
              </a:spcAft>
              <a:buClrTx/>
              <a:buSzTx/>
              <a:buFontTx/>
              <a:buNone/>
              <a:tabLst/>
              <a:defRPr/>
            </a:pPr>
            <a:endParaRPr lang="en-US"/>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22783"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0" marR="0" lvl="0" indent="0" algn="l" defTabSz="922783"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F34A55B-0232-4B2A-8DB0-D59B999B87D7}" type="datetime1">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24/20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3698110"/>
      </p:ext>
    </p:extLst>
  </p:cSld>
  <p:clrMapOvr>
    <a:masterClrMapping/>
  </p:clrMapOvr>
</p:notes>
</file>

<file path=ppt/notesSlides/notesSlide1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1" indent="0" algn="l" defTabSz="932742" rtl="0" eaLnBrk="1" fontAlgn="auto" latinLnBrk="0" hangingPunct="1">
              <a:lnSpc>
                <a:spcPct val="90000"/>
              </a:lnSpc>
              <a:spcBef>
                <a:spcPts val="0"/>
              </a:spcBef>
              <a:spcAft>
                <a:spcPts val="340"/>
              </a:spcAft>
              <a:buClrTx/>
              <a:buSzTx/>
              <a:buFontTx/>
              <a:buNone/>
              <a:tabLst/>
              <a:defRPr/>
            </a:pPr>
            <a:endParaRPr lang="en-US"/>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22783"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0" marR="0" lvl="0" indent="0" algn="l" defTabSz="922783"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F34A55B-0232-4B2A-8DB0-D59B999B87D7}" type="datetime1">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24/20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02792598"/>
      </p:ext>
    </p:extLst>
  </p:cSld>
  <p:clrMapOvr>
    <a:masterClrMapping/>
  </p:clrMapOvr>
</p:notes>
</file>

<file path=ppt/notesSlides/notesSlide1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1" indent="0" algn="l" defTabSz="932742" rtl="0" eaLnBrk="1" fontAlgn="auto" latinLnBrk="0" hangingPunct="1">
              <a:lnSpc>
                <a:spcPct val="90000"/>
              </a:lnSpc>
              <a:spcBef>
                <a:spcPts val="0"/>
              </a:spcBef>
              <a:spcAft>
                <a:spcPts val="340"/>
              </a:spcAft>
              <a:buClrTx/>
              <a:buSzTx/>
              <a:buFontTx/>
              <a:buNone/>
              <a:tabLst/>
              <a:defRPr/>
            </a:pPr>
            <a:endParaRPr lang="en-US"/>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22783"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0" marR="0" lvl="0" indent="0" algn="l" defTabSz="922783"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F34A55B-0232-4B2A-8DB0-D59B999B87D7}" type="datetime1">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24/20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76346148"/>
      </p:ext>
    </p:extLst>
  </p:cSld>
  <p:clrMapOvr>
    <a:masterClrMapping/>
  </p:clrMapOvr>
</p:notes>
</file>

<file path=ppt/notesSlides/notesSlide1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1" indent="0" algn="l" defTabSz="932742" rtl="0" eaLnBrk="1" fontAlgn="auto" latinLnBrk="0" hangingPunct="1">
              <a:lnSpc>
                <a:spcPct val="90000"/>
              </a:lnSpc>
              <a:spcBef>
                <a:spcPts val="0"/>
              </a:spcBef>
              <a:spcAft>
                <a:spcPts val="340"/>
              </a:spcAft>
              <a:buClrTx/>
              <a:buSzTx/>
              <a:buFontTx/>
              <a:buNone/>
              <a:tabLst/>
              <a:defRPr/>
            </a:pPr>
            <a:r>
              <a:rPr lang="en-US"/>
              <a:t>https://powerbi.microsoft.com/en-us/documentation/powerbi-service-organizational-content-packs-introduction/</a:t>
            </a:r>
          </a:p>
          <a:p>
            <a:pPr marL="0" marR="0" lvl="1" indent="0" algn="l" defTabSz="932742" rtl="0" eaLnBrk="1" fontAlgn="auto" latinLnBrk="0" hangingPunct="1">
              <a:lnSpc>
                <a:spcPct val="90000"/>
              </a:lnSpc>
              <a:spcBef>
                <a:spcPts val="0"/>
              </a:spcBef>
              <a:spcAft>
                <a:spcPts val="340"/>
              </a:spcAft>
              <a:buClrTx/>
              <a:buSzTx/>
              <a:buFontTx/>
              <a:buNone/>
              <a:tabLst/>
              <a:defRPr/>
            </a:pPr>
            <a:r>
              <a:rPr lang="en-US"/>
              <a:t>https://powerbi.microsoft.com/en-us/documentation/powerbi-service-organizational-content-packs-use-and-work-with/</a:t>
            </a:r>
          </a:p>
          <a:p>
            <a:pPr marL="0" marR="0" lvl="1" indent="0" algn="l" defTabSz="932742" rtl="0" eaLnBrk="1" fontAlgn="auto" latinLnBrk="0" hangingPunct="1">
              <a:lnSpc>
                <a:spcPct val="90000"/>
              </a:lnSpc>
              <a:spcBef>
                <a:spcPts val="0"/>
              </a:spcBef>
              <a:spcAft>
                <a:spcPts val="340"/>
              </a:spcAft>
              <a:buClrTx/>
              <a:buSzTx/>
              <a:buFontTx/>
              <a:buNone/>
              <a:tabLst/>
              <a:defRPr/>
            </a:pPr>
            <a:endParaRPr lang="en-US"/>
          </a:p>
          <a:p>
            <a:pPr marL="0" marR="0" lvl="1" indent="0" algn="l" defTabSz="932742" rtl="0" eaLnBrk="1" fontAlgn="auto" latinLnBrk="0" hangingPunct="1">
              <a:lnSpc>
                <a:spcPct val="90000"/>
              </a:lnSpc>
              <a:spcBef>
                <a:spcPts val="0"/>
              </a:spcBef>
              <a:spcAft>
                <a:spcPts val="340"/>
              </a:spcAft>
              <a:buClrTx/>
              <a:buSzTx/>
              <a:buFontTx/>
              <a:buNone/>
              <a:tabLst/>
              <a:defRPr/>
            </a:pPr>
            <a:r>
              <a:rPr lang="en-US"/>
              <a:t>When an update</a:t>
            </a:r>
            <a:r>
              <a:rPr lang="en-US" baseline="0"/>
              <a:t> happens, the personal copy is maintained but the user is noticed of the update</a:t>
            </a:r>
            <a:endParaRPr lang="en-US"/>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22783"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0" marR="0" lvl="0" indent="0" algn="l" defTabSz="922783"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F34A55B-0232-4B2A-8DB0-D59B999B87D7}" type="datetime1">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24/20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1597100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1" indent="0" algn="l" defTabSz="932742" rtl="0" eaLnBrk="1" fontAlgn="auto" latinLnBrk="0" hangingPunct="1">
              <a:lnSpc>
                <a:spcPct val="90000"/>
              </a:lnSpc>
              <a:spcBef>
                <a:spcPts val="0"/>
              </a:spcBef>
              <a:spcAft>
                <a:spcPts val="340"/>
              </a:spcAft>
              <a:buClrTx/>
              <a:buSzTx/>
              <a:buFontTx/>
              <a:buNone/>
              <a:tabLst/>
              <a:defRPr/>
            </a:pPr>
            <a:r>
              <a:rPr lang="en-US" b="1"/>
              <a:t>Key message:</a:t>
            </a:r>
          </a:p>
          <a:p>
            <a:pPr marL="0" marR="0" lvl="1" indent="0" algn="l" defTabSz="932742" rtl="0" eaLnBrk="1" fontAlgn="auto" latinLnBrk="0" hangingPunct="1">
              <a:lnSpc>
                <a:spcPct val="90000"/>
              </a:lnSpc>
              <a:spcBef>
                <a:spcPts val="0"/>
              </a:spcBef>
              <a:spcAft>
                <a:spcPts val="340"/>
              </a:spcAft>
              <a:buClrTx/>
              <a:buSzTx/>
              <a:buFontTx/>
              <a:buNone/>
              <a:tabLst/>
              <a:defRPr/>
            </a:pPr>
            <a:r>
              <a:rPr lang="en-US" sz="1200" kern="1200">
                <a:solidFill>
                  <a:schemeClr val="tx1"/>
                </a:solidFill>
                <a:effectLst/>
                <a:latin typeface="+mn-lt"/>
                <a:ea typeface="+mn-ea"/>
                <a:cs typeface="+mn-cs"/>
              </a:rPr>
              <a:t>You can upload Excel, CSV and Power BI Desktop files from your computer, or connect to them on OneDrive for Business, OneDrive Personal or SharePoint</a:t>
            </a:r>
            <a:r>
              <a:rPr lang="en-US" sz="1200" kern="1200" baseline="0">
                <a:solidFill>
                  <a:schemeClr val="tx1"/>
                </a:solidFill>
                <a:effectLst/>
                <a:latin typeface="+mn-lt"/>
                <a:ea typeface="+mn-ea"/>
                <a:cs typeface="+mn-cs"/>
              </a:rPr>
              <a:t> Team Sites</a:t>
            </a:r>
            <a:endParaRPr lang="en-US" b="1"/>
          </a:p>
          <a:p>
            <a:pPr marL="0" marR="0" lvl="1" indent="0" algn="l" defTabSz="932742" rtl="0" eaLnBrk="1" fontAlgn="auto" latinLnBrk="0" hangingPunct="1">
              <a:lnSpc>
                <a:spcPct val="90000"/>
              </a:lnSpc>
              <a:spcBef>
                <a:spcPts val="0"/>
              </a:spcBef>
              <a:spcAft>
                <a:spcPts val="340"/>
              </a:spcAft>
              <a:buClrTx/>
              <a:buSzTx/>
              <a:buFontTx/>
              <a:buNone/>
              <a:tabLst/>
              <a:defRPr/>
            </a:pPr>
            <a:endParaRPr lang="en-US" b="1"/>
          </a:p>
          <a:p>
            <a:pPr marL="0" marR="0" lvl="1" indent="0" algn="l" defTabSz="932742" rtl="0" eaLnBrk="1" fontAlgn="auto" latinLnBrk="0" hangingPunct="1">
              <a:lnSpc>
                <a:spcPct val="90000"/>
              </a:lnSpc>
              <a:spcBef>
                <a:spcPts val="0"/>
              </a:spcBef>
              <a:spcAft>
                <a:spcPts val="340"/>
              </a:spcAft>
              <a:buClrTx/>
              <a:buSzTx/>
              <a:buFontTx/>
              <a:buNone/>
              <a:tabLst/>
              <a:defRPr/>
            </a:pPr>
            <a:r>
              <a:rPr lang="en-US" b="1"/>
              <a:t>Talking points:</a:t>
            </a:r>
          </a:p>
          <a:p>
            <a:r>
              <a:rPr lang="en-US" sz="1200" b="0" i="0" kern="1200">
                <a:solidFill>
                  <a:schemeClr val="tx1"/>
                </a:solidFill>
                <a:effectLst/>
                <a:latin typeface="+mn-lt"/>
                <a:ea typeface="+mn-ea"/>
                <a:cs typeface="+mn-cs"/>
              </a:rPr>
              <a:t>Where your file is saved makes a difference</a:t>
            </a:r>
          </a:p>
          <a:p>
            <a:r>
              <a:rPr lang="en-US" sz="1200" b="1" i="0" kern="1200">
                <a:solidFill>
                  <a:schemeClr val="tx1"/>
                </a:solidFill>
                <a:effectLst/>
                <a:latin typeface="+mn-lt"/>
                <a:ea typeface="+mn-ea"/>
                <a:cs typeface="+mn-cs"/>
              </a:rPr>
              <a:t>Local</a:t>
            </a:r>
            <a:r>
              <a:rPr lang="en-US" sz="1200" b="0" i="0" kern="1200">
                <a:solidFill>
                  <a:schemeClr val="tx1"/>
                </a:solidFill>
                <a:effectLst/>
                <a:latin typeface="+mn-lt"/>
                <a:ea typeface="+mn-ea"/>
                <a:cs typeface="+mn-cs"/>
              </a:rPr>
              <a:t> - If you save your file to a local drive on your computer or another location in your organization, from Power BI, you can </a:t>
            </a:r>
            <a:r>
              <a:rPr lang="en-US" sz="1200" b="0" i="1" kern="1200">
                <a:solidFill>
                  <a:schemeClr val="tx1"/>
                </a:solidFill>
                <a:effectLst/>
                <a:latin typeface="+mn-lt"/>
                <a:ea typeface="+mn-ea"/>
                <a:cs typeface="+mn-cs"/>
              </a:rPr>
              <a:t>import</a:t>
            </a:r>
            <a:r>
              <a:rPr lang="en-US" sz="1200" b="0" i="0" kern="1200">
                <a:solidFill>
                  <a:schemeClr val="tx1"/>
                </a:solidFill>
                <a:effectLst/>
                <a:latin typeface="+mn-lt"/>
                <a:ea typeface="+mn-ea"/>
                <a:cs typeface="+mn-cs"/>
              </a:rPr>
              <a:t> your file into Power BI. Your file will actually remain on your local drive, so the whole file isn’t really imported into Power BI. What really happens is a new dataset is created in your Power BI site and data, and in some cases the data model, are loaded into the dataset. If your file has any reports, those will appear in your Power BI site under Reports.</a:t>
            </a:r>
          </a:p>
          <a:p>
            <a:r>
              <a:rPr lang="en-US" sz="1200" b="1" i="0" kern="1200">
                <a:solidFill>
                  <a:schemeClr val="tx1"/>
                </a:solidFill>
                <a:effectLst/>
                <a:latin typeface="+mn-lt"/>
                <a:ea typeface="+mn-ea"/>
                <a:cs typeface="+mn-cs"/>
              </a:rPr>
              <a:t>OneDrive - Business</a:t>
            </a:r>
            <a:r>
              <a:rPr lang="en-US" sz="1200" b="0" i="0" kern="1200">
                <a:solidFill>
                  <a:schemeClr val="tx1"/>
                </a:solidFill>
                <a:effectLst/>
                <a:latin typeface="+mn-lt"/>
                <a:ea typeface="+mn-ea"/>
                <a:cs typeface="+mn-cs"/>
              </a:rPr>
              <a:t> – If you have OneDrive for Business and you sign into it with the same account you sign into Power BI with, this is by-far the most effective way to keep your work in Excel Power BI Desktop, or a .CSV file and your dataset, reports, and dashboards in Power BI in-sync. Because both Power BI and OneDrive are in the cloud, Power BI connects to your file on OneDrive about every hour. If any changes are found, your dataset, reports, and dashboards are automatically updated in Power BI.</a:t>
            </a:r>
          </a:p>
          <a:p>
            <a:r>
              <a:rPr lang="en-US" sz="1200" b="1" i="0" kern="1200">
                <a:solidFill>
                  <a:schemeClr val="tx1"/>
                </a:solidFill>
                <a:effectLst/>
                <a:latin typeface="+mn-lt"/>
                <a:ea typeface="+mn-ea"/>
                <a:cs typeface="+mn-cs"/>
              </a:rPr>
              <a:t>OneDrive - Personal</a:t>
            </a:r>
            <a:r>
              <a:rPr lang="en-US" sz="1200" b="0" i="0" kern="1200">
                <a:solidFill>
                  <a:schemeClr val="tx1"/>
                </a:solidFill>
                <a:effectLst/>
                <a:latin typeface="+mn-lt"/>
                <a:ea typeface="+mn-ea"/>
                <a:cs typeface="+mn-cs"/>
              </a:rPr>
              <a:t> – If you save your files to your own OneDrive account, you’ll get many of the same benefits as you would with OneDrive for Business. The biggest difference is when you first connect to your file (using Get Data &gt; Files &gt; OneDrive – Personal) you’ll need to sign in to your OneDrive with your Microsoft account, which is usually different from what you use to sign in to Power BI. When signing in with your OneDrive with your Microsoft account, be sure to select the Keep me signed in option. This way, Power BI will be able to connect to your file about every hour and make sure your dataset in Power BI is in-sync.</a:t>
            </a:r>
          </a:p>
          <a:p>
            <a:r>
              <a:rPr lang="en-US" sz="1200" b="1" i="0" kern="1200">
                <a:solidFill>
                  <a:schemeClr val="tx1"/>
                </a:solidFill>
                <a:effectLst/>
                <a:latin typeface="+mn-lt"/>
                <a:ea typeface="+mn-ea"/>
                <a:cs typeface="+mn-cs"/>
              </a:rPr>
              <a:t>SharePoint Team-Sites</a:t>
            </a:r>
            <a:r>
              <a:rPr lang="en-US" sz="1200" b="0" i="0" kern="1200">
                <a:solidFill>
                  <a:schemeClr val="tx1"/>
                </a:solidFill>
                <a:effectLst/>
                <a:latin typeface="+mn-lt"/>
                <a:ea typeface="+mn-ea"/>
                <a:cs typeface="+mn-cs"/>
              </a:rPr>
              <a:t> – Saving your Power BI Desktop files to SharePoint – Team Sites is much the same as saving to OneDrive for Business. The biggest difference is how you connect to the file from Power BI. You can specify a URL or connect to the root folder.</a:t>
            </a:r>
          </a:p>
          <a:p>
            <a:pPr marL="0" marR="0" indent="0" algn="l" defTabSz="914400" rtl="0" eaLnBrk="1" fontAlgn="auto" latinLnBrk="0" hangingPunct="1">
              <a:lnSpc>
                <a:spcPct val="100000"/>
              </a:lnSpc>
              <a:spcBef>
                <a:spcPts val="0"/>
              </a:spcBef>
              <a:spcAft>
                <a:spcPts val="0"/>
              </a:spcAft>
              <a:buClrTx/>
              <a:buSzTx/>
              <a:buFontTx/>
              <a:buNone/>
              <a:tabLst/>
              <a:defRPr/>
            </a:pPr>
            <a:r>
              <a:rPr lang="en-US" sz="1200" kern="1200">
                <a:solidFill>
                  <a:schemeClr val="tx1"/>
                </a:solidFill>
                <a:latin typeface="+mn-lt"/>
                <a:ea typeface="Calibri" panose="020F0502020204030204" pitchFamily="34" charset="0"/>
                <a:cs typeface="Times New Roman" panose="02020603050405020304" pitchFamily="18" charset="0"/>
              </a:rPr>
              <a:t>Get data and reports from Power BI Desktop files.</a:t>
            </a:r>
          </a:p>
          <a:p>
            <a:endParaRPr lang="en-US" sz="1200" b="0" i="0" kern="1200">
              <a:solidFill>
                <a:schemeClr val="tx1"/>
              </a:solidFill>
              <a:effectLst/>
              <a:latin typeface="+mn-lt"/>
              <a:ea typeface="+mn-ea"/>
              <a:cs typeface="+mn-cs"/>
            </a:endParaRPr>
          </a:p>
        </p:txBody>
      </p:sp>
      <p:sp>
        <p:nvSpPr>
          <p:cNvPr id="4" name="Header Placeholder 3"/>
          <p:cNvSpPr>
            <a:spLocks noGrp="1"/>
          </p:cNvSpPr>
          <p:nvPr>
            <p:ph type="hdr" sz="quarter" idx="10"/>
          </p:nvPr>
        </p:nvSpPr>
        <p:spPr/>
        <p:txBody>
          <a:bodyPr/>
          <a:lstStyle/>
          <a:p>
            <a:endParaRPr lang="en-US">
              <a:solidFill>
                <a:prstClr val="black"/>
              </a:solidFill>
            </a:endParaRPr>
          </a:p>
        </p:txBody>
      </p:sp>
      <p:sp>
        <p:nvSpPr>
          <p:cNvPr id="5" name="Footer Placeholder 4"/>
          <p:cNvSpPr>
            <a:spLocks noGrp="1"/>
          </p:cNvSpPr>
          <p:nvPr>
            <p:ph type="ftr" sz="quarter" idx="11"/>
          </p:nvPr>
        </p:nvSpPr>
        <p:spPr/>
        <p:txBody>
          <a:bodyPr/>
          <a:lstStyle/>
          <a:p>
            <a:pPr defTabSz="922783"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22783"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9F34A55B-0232-4B2A-8DB0-D59B999B87D7}" type="datetime1">
              <a:rPr lang="en-US" smtClean="0">
                <a:solidFill>
                  <a:prstClr val="black"/>
                </a:solidFill>
              </a:rPr>
              <a:pPr/>
              <a:t>11/24/2020</a:t>
            </a:fld>
            <a:endParaRPr lang="en-US">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3</a:t>
            </a:fld>
            <a:endParaRPr lang="en-US">
              <a:solidFill>
                <a:prstClr val="black"/>
              </a:solidFill>
            </a:endParaRPr>
          </a:p>
        </p:txBody>
      </p:sp>
    </p:spTree>
    <p:extLst>
      <p:ext uri="{BB962C8B-B14F-4D97-AF65-F5344CB8AC3E}">
        <p14:creationId xmlns:p14="http://schemas.microsoft.com/office/powerpoint/2010/main" val="3927973999"/>
      </p:ext>
    </p:extLst>
  </p:cSld>
  <p:clrMapOvr>
    <a:masterClrMapping/>
  </p:clrMapOvr>
</p:notes>
</file>

<file path=ppt/notesSlides/notesSlide1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1" indent="0" algn="l" defTabSz="932742" rtl="0" eaLnBrk="1" fontAlgn="auto" latinLnBrk="0" hangingPunct="1">
              <a:lnSpc>
                <a:spcPct val="90000"/>
              </a:lnSpc>
              <a:spcBef>
                <a:spcPts val="0"/>
              </a:spcBef>
              <a:spcAft>
                <a:spcPts val="340"/>
              </a:spcAft>
              <a:buClrTx/>
              <a:buSzTx/>
              <a:buFontTx/>
              <a:buNone/>
              <a:tabLst/>
              <a:defRPr/>
            </a:pPr>
            <a:r>
              <a:rPr lang="en-US" dirty="0"/>
              <a:t>https://powerbi.microsoft.com/en-us/documentation/powerbi-service-organizational-content-pack-tutorial-create-and-publish/</a:t>
            </a:r>
          </a:p>
          <a:p>
            <a:pPr marL="0" marR="0" lvl="1" indent="0" algn="l" defTabSz="932742" rtl="0" eaLnBrk="1" fontAlgn="auto" latinLnBrk="0" hangingPunct="1">
              <a:lnSpc>
                <a:spcPct val="90000"/>
              </a:lnSpc>
              <a:spcBef>
                <a:spcPts val="0"/>
              </a:spcBef>
              <a:spcAft>
                <a:spcPts val="340"/>
              </a:spcAft>
              <a:buClrTx/>
              <a:buSzTx/>
              <a:buFontTx/>
              <a:buNone/>
              <a:tabLst/>
              <a:defRPr/>
            </a:pPr>
            <a:endParaRPr lang="en-US" dirty="0"/>
          </a:p>
          <a:p>
            <a:r>
              <a:rPr lang="en-US" dirty="0"/>
              <a:t>a. Select </a:t>
            </a:r>
            <a:r>
              <a:rPr lang="en-US" b="1" dirty="0"/>
              <a:t>Specific Groups</a:t>
            </a:r>
            <a:r>
              <a:rPr lang="en-US" dirty="0"/>
              <a:t> and enter the full email addresses for individuals, </a:t>
            </a:r>
            <a:r>
              <a:rPr lang="en-US" dirty="0">
                <a:hlinkClick r:id="rId3"/>
              </a:rPr>
              <a:t>Office 365 groups</a:t>
            </a:r>
            <a:r>
              <a:rPr lang="en-US" dirty="0"/>
              <a:t>, distribution groups, or security groups. For example:</a:t>
            </a:r>
          </a:p>
          <a:p>
            <a:r>
              <a:rPr lang="en-US" dirty="0"/>
              <a:t>salesmgrs@contoso.com; sales@contoso.com</a:t>
            </a:r>
          </a:p>
          <a:p>
            <a:pPr marL="0" marR="0" lvl="1" indent="0" algn="l" defTabSz="932742" rtl="0" eaLnBrk="1" fontAlgn="auto" latinLnBrk="0" hangingPunct="1">
              <a:lnSpc>
                <a:spcPct val="90000"/>
              </a:lnSpc>
              <a:spcBef>
                <a:spcPts val="0"/>
              </a:spcBef>
              <a:spcAft>
                <a:spcPts val="340"/>
              </a:spcAft>
              <a:buClrTx/>
              <a:buSzTx/>
              <a:buFontTx/>
              <a:buNone/>
              <a:tabLst/>
              <a:defRPr/>
            </a:pPr>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22783"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0" marR="0" lvl="0" indent="0" algn="l" defTabSz="922783"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F34A55B-0232-4B2A-8DB0-D59B999B87D7}" type="datetime1">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24/20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6451653"/>
      </p:ext>
    </p:extLst>
  </p:cSld>
  <p:clrMapOvr>
    <a:masterClrMapping/>
  </p:clrMapOvr>
</p:notes>
</file>

<file path=ppt/notesSlides/notesSlide1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1" indent="0" algn="l" defTabSz="932742" rtl="0" eaLnBrk="1" fontAlgn="auto" latinLnBrk="0" hangingPunct="1">
              <a:lnSpc>
                <a:spcPct val="90000"/>
              </a:lnSpc>
              <a:spcBef>
                <a:spcPts val="0"/>
              </a:spcBef>
              <a:spcAft>
                <a:spcPts val="340"/>
              </a:spcAft>
              <a:buClrTx/>
              <a:buSzTx/>
              <a:buFontTx/>
              <a:buNone/>
              <a:tabLst/>
              <a:defRPr/>
            </a:pPr>
            <a:r>
              <a:rPr lang="en-US"/>
              <a:t>https://powerbi.microsoft.com/en-us/documentation/powerbi-service-publish-to-web/</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22783"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0" marR="0" lvl="0" indent="0" algn="l" defTabSz="922783"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F34A55B-0232-4B2A-8DB0-D59B999B87D7}" type="datetime1">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24/20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19787288"/>
      </p:ext>
    </p:extLst>
  </p:cSld>
  <p:clrMapOvr>
    <a:masterClrMapping/>
  </p:clrMapOvr>
</p:notes>
</file>

<file path=ppt/notesSlides/notesSlide1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1" indent="0" algn="l" defTabSz="932742" rtl="0" eaLnBrk="1" fontAlgn="auto" latinLnBrk="0" hangingPunct="1">
              <a:lnSpc>
                <a:spcPct val="90000"/>
              </a:lnSpc>
              <a:spcBef>
                <a:spcPts val="0"/>
              </a:spcBef>
              <a:spcAft>
                <a:spcPts val="340"/>
              </a:spcAft>
              <a:buClrTx/>
              <a:buSzTx/>
              <a:buFontTx/>
              <a:buNone/>
              <a:tabLst/>
              <a:defRPr/>
            </a:pPr>
            <a:endParaRPr lang="en-US"/>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22783"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0" marR="0" lvl="0" indent="0" algn="l" defTabSz="922783"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F34A55B-0232-4B2A-8DB0-D59B999B87D7}" type="datetime1">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24/20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4263989"/>
      </p:ext>
    </p:extLst>
  </p:cSld>
  <p:clrMapOvr>
    <a:masterClrMapping/>
  </p:clrMapOvr>
</p:notes>
</file>

<file path=ppt/notesSlides/notesSlide1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1" indent="0" algn="l" defTabSz="932742" rtl="0" eaLnBrk="1" fontAlgn="auto" latinLnBrk="0" hangingPunct="1">
              <a:lnSpc>
                <a:spcPct val="90000"/>
              </a:lnSpc>
              <a:spcBef>
                <a:spcPts val="0"/>
              </a:spcBef>
              <a:spcAft>
                <a:spcPts val="340"/>
              </a:spcAft>
              <a:buClrTx/>
              <a:buSzTx/>
              <a:buFontTx/>
              <a:buNone/>
              <a:tabLst/>
              <a:defRPr/>
            </a:pPr>
            <a:r>
              <a:rPr lang="en-US"/>
              <a:t>Details are out of scope for</a:t>
            </a:r>
            <a:r>
              <a:rPr lang="en-US" baseline="0"/>
              <a:t> this workshop but included here for completion sake.</a:t>
            </a:r>
            <a:endParaRPr lang="en-US"/>
          </a:p>
          <a:p>
            <a:pPr marL="0" marR="0" lvl="1" indent="0" algn="l" defTabSz="932742" rtl="0" eaLnBrk="1" fontAlgn="auto" latinLnBrk="0" hangingPunct="1">
              <a:lnSpc>
                <a:spcPct val="90000"/>
              </a:lnSpc>
              <a:spcBef>
                <a:spcPts val="0"/>
              </a:spcBef>
              <a:spcAft>
                <a:spcPts val="340"/>
              </a:spcAft>
              <a:buClrTx/>
              <a:buSzTx/>
              <a:buFontTx/>
              <a:buNone/>
              <a:tabLst/>
              <a:defRPr/>
            </a:pPr>
            <a:endParaRPr lang="en-US"/>
          </a:p>
          <a:p>
            <a:pPr marL="0" marR="0" lvl="1" indent="0" algn="l" defTabSz="932742" rtl="0" eaLnBrk="1" fontAlgn="auto" latinLnBrk="0" hangingPunct="1">
              <a:lnSpc>
                <a:spcPct val="90000"/>
              </a:lnSpc>
              <a:spcBef>
                <a:spcPts val="0"/>
              </a:spcBef>
              <a:spcAft>
                <a:spcPts val="340"/>
              </a:spcAft>
              <a:buClrTx/>
              <a:buSzTx/>
              <a:buFontTx/>
              <a:buNone/>
              <a:tabLst/>
              <a:defRPr/>
            </a:pPr>
            <a:r>
              <a:rPr lang="en-US"/>
              <a:t>https://azure.microsoft.com/en-us/updates/public-preview-microsoft-power-bi-embedded/</a:t>
            </a:r>
          </a:p>
          <a:p>
            <a:pPr marL="0" marR="0" lvl="1" indent="0" algn="l" defTabSz="932742" rtl="0" eaLnBrk="1" fontAlgn="auto" latinLnBrk="0" hangingPunct="1">
              <a:lnSpc>
                <a:spcPct val="90000"/>
              </a:lnSpc>
              <a:spcBef>
                <a:spcPts val="0"/>
              </a:spcBef>
              <a:spcAft>
                <a:spcPts val="340"/>
              </a:spcAft>
              <a:buClrTx/>
              <a:buSzTx/>
              <a:buFontTx/>
              <a:buNone/>
              <a:tabLst/>
              <a:defRPr/>
            </a:pPr>
            <a:r>
              <a:rPr lang="en-US"/>
              <a:t>https://azure.microsoft.com/en-us/documentation/articles/power-bi-embedded-get-started/</a:t>
            </a:r>
          </a:p>
          <a:p>
            <a:pPr marL="0" marR="0" lvl="1" indent="0" algn="l" defTabSz="932742" rtl="0" eaLnBrk="1" fontAlgn="auto" latinLnBrk="0" hangingPunct="1">
              <a:lnSpc>
                <a:spcPct val="90000"/>
              </a:lnSpc>
              <a:spcBef>
                <a:spcPts val="0"/>
              </a:spcBef>
              <a:spcAft>
                <a:spcPts val="340"/>
              </a:spcAft>
              <a:buClrTx/>
              <a:buSzTx/>
              <a:buFontTx/>
              <a:buNone/>
              <a:tabLst/>
              <a:defRPr/>
            </a:pPr>
            <a:r>
              <a:rPr lang="en-US"/>
              <a:t>https://azure.microsoft.com/en-us/pricing/details/power-bi-embedded/</a:t>
            </a:r>
          </a:p>
          <a:p>
            <a:pPr marL="0" marR="0" lvl="1" indent="0" algn="l" defTabSz="932742" rtl="0" eaLnBrk="1" fontAlgn="auto" latinLnBrk="0" hangingPunct="1">
              <a:lnSpc>
                <a:spcPct val="90000"/>
              </a:lnSpc>
              <a:spcBef>
                <a:spcPts val="0"/>
              </a:spcBef>
              <a:spcAft>
                <a:spcPts val="340"/>
              </a:spcAft>
              <a:buClrTx/>
              <a:buSzTx/>
              <a:buFontTx/>
              <a:buNone/>
              <a:tabLst/>
              <a:defRPr/>
            </a:pPr>
            <a:r>
              <a:rPr lang="en-US"/>
              <a:t>https://azure.microsoft.com/en-us/documentation/articles/power-bi-embedded-what-is-power-bi-embedded/U</a:t>
            </a:r>
          </a:p>
          <a:p>
            <a:pPr marL="0" marR="0" lvl="1" indent="0" algn="l" defTabSz="932742" rtl="0" eaLnBrk="1" fontAlgn="auto" latinLnBrk="0" hangingPunct="1">
              <a:lnSpc>
                <a:spcPct val="90000"/>
              </a:lnSpc>
              <a:spcBef>
                <a:spcPts val="0"/>
              </a:spcBef>
              <a:spcAft>
                <a:spcPts val="340"/>
              </a:spcAft>
              <a:buClrTx/>
              <a:buSzTx/>
              <a:buFontTx/>
              <a:buNone/>
              <a:tabLst/>
              <a:defRPr/>
            </a:pPr>
            <a:r>
              <a:rPr lang="en-US"/>
              <a:t>https://powerbi.microsoft.com/en-us/documentation/powerbi-developer-integrate-a-power-bi-tile-or-report/</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22783"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0" marR="0" lvl="0" indent="0" algn="l" defTabSz="922783"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F34A55B-0232-4B2A-8DB0-D59B999B87D7}" type="datetime1">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24/20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05063608"/>
      </p:ext>
    </p:extLst>
  </p:cSld>
  <p:clrMapOvr>
    <a:masterClrMapping/>
  </p:clrMapOvr>
</p:notes>
</file>

<file path=ppt/notesSlides/notesSlide1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1" indent="0" algn="l" defTabSz="932742" rtl="0" eaLnBrk="1" fontAlgn="auto" latinLnBrk="0" hangingPunct="1">
              <a:lnSpc>
                <a:spcPct val="90000"/>
              </a:lnSpc>
              <a:spcBef>
                <a:spcPts val="0"/>
              </a:spcBef>
              <a:spcAft>
                <a:spcPts val="340"/>
              </a:spcAft>
              <a:buClrTx/>
              <a:buSzTx/>
              <a:buFontTx/>
              <a:buNone/>
              <a:tabLst/>
              <a:defRPr/>
            </a:pPr>
            <a:endParaRPr lang="en-US"/>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22783"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0" marR="0" lvl="0" indent="0" algn="l" defTabSz="922783"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F34A55B-0232-4B2A-8DB0-D59B999B87D7}" type="datetime1">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24/20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2370157"/>
      </p:ext>
    </p:extLst>
  </p:cSld>
  <p:clrMapOvr>
    <a:masterClrMapping/>
  </p:clrMapOvr>
</p:notes>
</file>

<file path=ppt/notesSlides/notesSlide1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a:p>
        </p:txBody>
      </p:sp>
      <p:sp>
        <p:nvSpPr>
          <p:cNvPr id="4" name="Plassholder for lysbildenummer 3"/>
          <p:cNvSpPr>
            <a:spLocks noGrp="1"/>
          </p:cNvSpPr>
          <p:nvPr>
            <p:ph type="sldNum" sz="quarter" idx="10"/>
          </p:nvPr>
        </p:nvSpPr>
        <p:spPr/>
        <p:txBody>
          <a:bodyPr/>
          <a:lstStyle/>
          <a:p>
            <a:fld id="{EB20C58C-FFDB-469E-965A-A16F30368694}" type="slidenum">
              <a:rPr lang="en-US" smtClean="0"/>
              <a:t>136</a:t>
            </a:fld>
            <a:endParaRPr lang="en-US"/>
          </a:p>
        </p:txBody>
      </p:sp>
    </p:spTree>
    <p:extLst>
      <p:ext uri="{BB962C8B-B14F-4D97-AF65-F5344CB8AC3E}">
        <p14:creationId xmlns:p14="http://schemas.microsoft.com/office/powerpoint/2010/main" val="3210388606"/>
      </p:ext>
    </p:extLst>
  </p:cSld>
  <p:clrMapOvr>
    <a:masterClrMapping/>
  </p:clrMapOvr>
</p:notes>
</file>

<file path=ppt/notesSlides/notesSlide1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1" indent="0" algn="l" defTabSz="932742" rtl="0" eaLnBrk="1" fontAlgn="auto" latinLnBrk="0" hangingPunct="1">
              <a:lnSpc>
                <a:spcPct val="90000"/>
              </a:lnSpc>
              <a:spcBef>
                <a:spcPts val="0"/>
              </a:spcBef>
              <a:spcAft>
                <a:spcPts val="340"/>
              </a:spcAft>
              <a:buClrTx/>
              <a:buSzTx/>
              <a:buFontTx/>
              <a:buNone/>
              <a:tabLst/>
              <a:defRPr/>
            </a:pPr>
            <a:endParaRPr lang="en-US"/>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22783"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0" marR="0" lvl="0" indent="0" algn="l" defTabSz="922783"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F34A55B-0232-4B2A-8DB0-D59B999B87D7}" type="datetime1">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24/20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6013603"/>
      </p:ext>
    </p:extLst>
  </p:cSld>
  <p:clrMapOvr>
    <a:masterClrMapping/>
  </p:clrMapOvr>
</p:notes>
</file>

<file path=ppt/notesSlides/notesSlide1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1" indent="0" algn="l" defTabSz="932742" rtl="0" eaLnBrk="1" fontAlgn="auto" latinLnBrk="0" hangingPunct="1">
              <a:lnSpc>
                <a:spcPct val="90000"/>
              </a:lnSpc>
              <a:spcBef>
                <a:spcPts val="0"/>
              </a:spcBef>
              <a:spcAft>
                <a:spcPts val="340"/>
              </a:spcAft>
              <a:buClrTx/>
              <a:buSzTx/>
              <a:buFontTx/>
              <a:buNone/>
              <a:tabLst/>
              <a:defRPr/>
            </a:pPr>
            <a:endParaRPr lang="en-US"/>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22783"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0" marR="0" lvl="0" indent="0" algn="l" defTabSz="922783"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F34A55B-0232-4B2A-8DB0-D59B999B87D7}" type="datetime1">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24/20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20083256"/>
      </p:ext>
    </p:extLst>
  </p:cSld>
  <p:clrMapOvr>
    <a:masterClrMapping/>
  </p:clrMapOvr>
</p:notes>
</file>

<file path=ppt/notesSlides/notesSlide1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a:p>
        </p:txBody>
      </p:sp>
      <p:sp>
        <p:nvSpPr>
          <p:cNvPr id="4" name="Plassholder for lysbildenummer 3"/>
          <p:cNvSpPr>
            <a:spLocks noGrp="1"/>
          </p:cNvSpPr>
          <p:nvPr>
            <p:ph type="sldNum" sz="quarter" idx="10"/>
          </p:nvPr>
        </p:nvSpPr>
        <p:spPr/>
        <p:txBody>
          <a:bodyPr/>
          <a:lstStyle/>
          <a:p>
            <a:fld id="{EB20C58C-FFDB-469E-965A-A16F30368694}" type="slidenum">
              <a:rPr lang="en-US" smtClean="0"/>
              <a:t>139</a:t>
            </a:fld>
            <a:endParaRPr lang="en-US"/>
          </a:p>
        </p:txBody>
      </p:sp>
    </p:spTree>
    <p:extLst>
      <p:ext uri="{BB962C8B-B14F-4D97-AF65-F5344CB8AC3E}">
        <p14:creationId xmlns:p14="http://schemas.microsoft.com/office/powerpoint/2010/main" val="862716728"/>
      </p:ext>
    </p:extLst>
  </p:cSld>
  <p:clrMapOvr>
    <a:masterClrMapping/>
  </p:clrMapOvr>
</p:notes>
</file>

<file path=ppt/notesSlides/notesSlide1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1" indent="0" algn="l" defTabSz="932742" rtl="0" eaLnBrk="1" fontAlgn="auto" latinLnBrk="0" hangingPunct="1">
              <a:lnSpc>
                <a:spcPct val="90000"/>
              </a:lnSpc>
              <a:spcBef>
                <a:spcPts val="0"/>
              </a:spcBef>
              <a:spcAft>
                <a:spcPts val="340"/>
              </a:spcAft>
              <a:buClrTx/>
              <a:buSzTx/>
              <a:buFontTx/>
              <a:buNone/>
              <a:tabLst/>
              <a:defRPr/>
            </a:pPr>
            <a:r>
              <a:rPr lang="en-US"/>
              <a:t>https://powerbi.microsoft.com/en-us/documentation/powerbi-refresh-data/</a:t>
            </a:r>
          </a:p>
          <a:p>
            <a:pPr marL="0" marR="0" lvl="1" indent="0" algn="l" defTabSz="932742" rtl="0" eaLnBrk="1" fontAlgn="auto" latinLnBrk="0" hangingPunct="1">
              <a:lnSpc>
                <a:spcPct val="90000"/>
              </a:lnSpc>
              <a:spcBef>
                <a:spcPts val="0"/>
              </a:spcBef>
              <a:spcAft>
                <a:spcPts val="340"/>
              </a:spcAft>
              <a:buClrTx/>
              <a:buSzTx/>
              <a:buFontTx/>
              <a:buNone/>
              <a:tabLst/>
              <a:defRPr/>
            </a:pPr>
            <a:endParaRPr lang="en-US"/>
          </a:p>
          <a:p>
            <a:r>
              <a:rPr lang="en-US"/>
              <a:t>A dataset can get data from one or more data sources. For example, you can use Power BI Desktop to get data from a SQL Database in your organization, and get other data from an OData feed online. Then, when you publish the file to Power BI, a single dataset is created, but it will have data sources for both the SQL Database and the OData feed.</a:t>
            </a:r>
          </a:p>
          <a:p>
            <a:r>
              <a:rPr lang="en-US"/>
              <a:t>A dataset contains information about the data sources, data source credentials, and in most cases, a sub-set of data copied from the data source. When you create visualizations in reports and dashboards, you’re looking at data in the dataset, or in the case of a live connection like Azure SQL Database or  Analysis Services, the dataset defines the data you see right from the data source.</a:t>
            </a:r>
          </a:p>
          <a:p>
            <a:pPr marL="0" marR="0" lvl="1" indent="0" algn="l" defTabSz="932742" rtl="0" eaLnBrk="1" fontAlgn="auto" latinLnBrk="0" hangingPunct="1">
              <a:lnSpc>
                <a:spcPct val="90000"/>
              </a:lnSpc>
              <a:spcBef>
                <a:spcPts val="0"/>
              </a:spcBef>
              <a:spcAft>
                <a:spcPts val="340"/>
              </a:spcAft>
              <a:buClrTx/>
              <a:buSzTx/>
              <a:buFontTx/>
              <a:buNone/>
              <a:tabLst/>
              <a:defRPr/>
            </a:pPr>
            <a:endParaRPr lang="en-US"/>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22783"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0" marR="0" lvl="0" indent="0" algn="l" defTabSz="922783"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F34A55B-0232-4B2A-8DB0-D59B999B87D7}" type="datetime1">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24/20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5666027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1" indent="0" algn="l" defTabSz="932742" rtl="0" eaLnBrk="1" fontAlgn="auto" latinLnBrk="0" hangingPunct="1">
              <a:lnSpc>
                <a:spcPct val="90000"/>
              </a:lnSpc>
              <a:spcBef>
                <a:spcPts val="0"/>
              </a:spcBef>
              <a:spcAft>
                <a:spcPts val="340"/>
              </a:spcAft>
              <a:buClrTx/>
              <a:buSzTx/>
              <a:buFontTx/>
              <a:buNone/>
              <a:tabLst/>
              <a:defRPr/>
            </a:pPr>
            <a:r>
              <a:rPr lang="en-US" b="1"/>
              <a:t>Key message:</a:t>
            </a:r>
          </a:p>
          <a:p>
            <a:pPr marL="0" marR="0" lvl="1" indent="0" algn="l" defTabSz="932742" rtl="0" eaLnBrk="1" fontAlgn="auto" latinLnBrk="0" hangingPunct="1">
              <a:lnSpc>
                <a:spcPct val="90000"/>
              </a:lnSpc>
              <a:spcBef>
                <a:spcPts val="0"/>
              </a:spcBef>
              <a:spcAft>
                <a:spcPts val="340"/>
              </a:spcAft>
              <a:buClrTx/>
              <a:buSzTx/>
              <a:buFontTx/>
              <a:buNone/>
              <a:tabLst/>
              <a:defRPr/>
            </a:pPr>
            <a:r>
              <a:rPr lang="en-US" b="0"/>
              <a:t>You can</a:t>
            </a:r>
            <a:r>
              <a:rPr lang="en-US" b="0" baseline="0"/>
              <a:t> k</a:t>
            </a:r>
            <a:r>
              <a:rPr lang="en-US" b="0"/>
              <a:t>eep your data where it is</a:t>
            </a:r>
          </a:p>
          <a:p>
            <a:pPr marL="0" marR="0" lvl="1" indent="0" algn="l" defTabSz="932742" rtl="0" eaLnBrk="1" fontAlgn="auto" latinLnBrk="0" hangingPunct="1">
              <a:lnSpc>
                <a:spcPct val="90000"/>
              </a:lnSpc>
              <a:spcBef>
                <a:spcPts val="0"/>
              </a:spcBef>
              <a:spcAft>
                <a:spcPts val="340"/>
              </a:spcAft>
              <a:buClrTx/>
              <a:buSzTx/>
              <a:buFontTx/>
              <a:buNone/>
              <a:tabLst/>
              <a:defRPr/>
            </a:pPr>
            <a:endParaRPr lang="en-US" b="1"/>
          </a:p>
          <a:p>
            <a:pPr marL="0" marR="0" lvl="1" indent="0" algn="l" defTabSz="932742" rtl="0" eaLnBrk="1" fontAlgn="auto" latinLnBrk="0" hangingPunct="1">
              <a:lnSpc>
                <a:spcPct val="90000"/>
              </a:lnSpc>
              <a:spcBef>
                <a:spcPts val="0"/>
              </a:spcBef>
              <a:spcAft>
                <a:spcPts val="340"/>
              </a:spcAft>
              <a:buClrTx/>
              <a:buSzTx/>
              <a:buFontTx/>
              <a:buNone/>
              <a:tabLst/>
              <a:defRPr/>
            </a:pPr>
            <a:r>
              <a:rPr lang="en-US" b="1"/>
              <a:t>Talking points:</a:t>
            </a:r>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sz="1200" kern="1200">
                <a:solidFill>
                  <a:schemeClr val="tx1"/>
                </a:solidFill>
                <a:effectLst/>
                <a:latin typeface="+mn-lt"/>
                <a:ea typeface="+mn-ea"/>
                <a:cs typeface="+mn-cs"/>
              </a:rPr>
              <a:t>﻿﻿﻿﻿﻿﻿Power BI connects to data sources on your behalf. The connections require valid accounts that meet the requirements of the specific data source. </a:t>
            </a:r>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sz="1200" kern="1200">
                <a:solidFill>
                  <a:schemeClr val="tx1"/>
                </a:solidFill>
                <a:effectLst/>
                <a:latin typeface="+mn-lt"/>
                <a:ea typeface="+mn-ea"/>
                <a:cs typeface="+mn-cs"/>
              </a:rPr>
              <a:t>In order for Power BI to refresh your dataset, you will need to provide credentials for that particular data source. The type of credentials required depend on the data source your dataset is connecting to. You will be required to enter credentials the first time you use Schedule Refresh or Refresh Now. Once entered, those credentials will be retained as part of refresh settings for that dataset. If you get data from another workbook that uses the same data source in a dataset you've already configured authentication credentials for, you won't need to configure credentials again for your new dataset</a:t>
            </a:r>
            <a:r>
              <a:rPr lang="en-US" sz="1200" b="1" kern="1200">
                <a:solidFill>
                  <a:schemeClr val="tx1"/>
                </a:solidFill>
                <a:effectLst/>
                <a:latin typeface="+mn-lt"/>
                <a:ea typeface="+mn-ea"/>
                <a:cs typeface="+mn-cs"/>
              </a:rPr>
              <a:t>﻿</a:t>
            </a:r>
            <a:r>
              <a:rPr lang="en-US" sz="1200" kern="1200">
                <a:solidFill>
                  <a:schemeClr val="tx1"/>
                </a:solidFill>
                <a:effectLst/>
                <a:latin typeface="+mn-lt"/>
                <a:ea typeface="+mn-ea"/>
                <a:cs typeface="+mn-cs"/>
              </a:rPr>
              <a:t>﻿.</a:t>
            </a:r>
            <a:br>
              <a:rPr lang="en-US">
                <a:gradFill>
                  <a:gsLst>
                    <a:gs pos="0">
                      <a:srgbClr val="FFFFFF"/>
                    </a:gs>
                    <a:gs pos="100000">
                      <a:srgbClr val="FFFFFF"/>
                    </a:gs>
                  </a:gsLst>
                  <a:lin ang="5400000" scaled="0"/>
                </a:gradFill>
                <a:ea typeface="Segoe UI" pitchFamily="34" charset="0"/>
                <a:cs typeface="Segoe UI" pitchFamily="34" charset="0"/>
              </a:rPr>
            </a:br>
            <a:endParaRPr lang="en-US" sz="900" baseline="0">
              <a:gradFill>
                <a:gsLst>
                  <a:gs pos="0">
                    <a:srgbClr val="FFFFFF"/>
                  </a:gs>
                  <a:gs pos="100000">
                    <a:srgbClr val="FFFFFF"/>
                  </a:gs>
                </a:gsLst>
                <a:lin ang="5400000" scaled="0"/>
              </a:gradFill>
              <a:ea typeface="Segoe UI" pitchFamily="34" charset="0"/>
              <a:cs typeface="Segoe UI" pitchFamily="34" charset="0"/>
            </a:endParaRPr>
          </a:p>
          <a:p>
            <a:pPr marL="0" marR="0" lvl="1" indent="0" algn="l" defTabSz="932742" rtl="0" eaLnBrk="1" fontAlgn="auto" latinLnBrk="0" hangingPunct="1">
              <a:lnSpc>
                <a:spcPct val="90000"/>
              </a:lnSpc>
              <a:spcBef>
                <a:spcPts val="0"/>
              </a:spcBef>
              <a:spcAft>
                <a:spcPts val="340"/>
              </a:spcAft>
              <a:buClrTx/>
              <a:buSzTx/>
              <a:buFontTx/>
              <a:buNone/>
              <a:tabLst/>
              <a:defRPr/>
            </a:pPr>
            <a:endParaRPr lang="en-US" sz="1000" kern="1200">
              <a:solidFill>
                <a:schemeClr val="tx1"/>
              </a:solidFill>
              <a:latin typeface="+mn-lt"/>
              <a:ea typeface="Calibri" panose="020F0502020204030204" pitchFamily="34" charset="0"/>
              <a:cs typeface="Times New Roman" panose="02020603050405020304" pitchFamily="18" charset="0"/>
            </a:endParaRPr>
          </a:p>
          <a:p>
            <a:pPr marL="0" marR="0" lvl="1" indent="0" algn="l" defTabSz="932742" rtl="0" eaLnBrk="1" fontAlgn="auto" latinLnBrk="0" hangingPunct="1">
              <a:lnSpc>
                <a:spcPct val="90000"/>
              </a:lnSpc>
              <a:spcBef>
                <a:spcPts val="0"/>
              </a:spcBef>
              <a:spcAft>
                <a:spcPts val="340"/>
              </a:spcAft>
              <a:buClrTx/>
              <a:buSzTx/>
              <a:buFontTx/>
              <a:buNone/>
              <a:tabLst/>
              <a:defRPr/>
            </a:pPr>
            <a:endParaRPr lang="en-US" b="1"/>
          </a:p>
        </p:txBody>
      </p:sp>
      <p:sp>
        <p:nvSpPr>
          <p:cNvPr id="4" name="Header Placeholder 3"/>
          <p:cNvSpPr>
            <a:spLocks noGrp="1"/>
          </p:cNvSpPr>
          <p:nvPr>
            <p:ph type="hdr" sz="quarter" idx="10"/>
          </p:nvPr>
        </p:nvSpPr>
        <p:spPr/>
        <p:txBody>
          <a:bodyPr/>
          <a:lstStyle/>
          <a:p>
            <a:endParaRPr lang="en-US">
              <a:solidFill>
                <a:prstClr val="black"/>
              </a:solidFill>
            </a:endParaRPr>
          </a:p>
        </p:txBody>
      </p:sp>
      <p:sp>
        <p:nvSpPr>
          <p:cNvPr id="5" name="Footer Placeholder 4"/>
          <p:cNvSpPr>
            <a:spLocks noGrp="1"/>
          </p:cNvSpPr>
          <p:nvPr>
            <p:ph type="ftr" sz="quarter" idx="11"/>
          </p:nvPr>
        </p:nvSpPr>
        <p:spPr/>
        <p:txBody>
          <a:bodyPr/>
          <a:lstStyle/>
          <a:p>
            <a:pPr defTabSz="922783"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22783"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9F34A55B-0232-4B2A-8DB0-D59B999B87D7}" type="datetime1">
              <a:rPr lang="en-US" smtClean="0">
                <a:solidFill>
                  <a:prstClr val="black"/>
                </a:solidFill>
              </a:rPr>
              <a:pPr/>
              <a:t>11/24/2020</a:t>
            </a:fld>
            <a:endParaRPr lang="en-US">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4</a:t>
            </a:fld>
            <a:endParaRPr lang="en-US">
              <a:solidFill>
                <a:prstClr val="black"/>
              </a:solidFill>
            </a:endParaRPr>
          </a:p>
        </p:txBody>
      </p:sp>
    </p:spTree>
    <p:extLst>
      <p:ext uri="{BB962C8B-B14F-4D97-AF65-F5344CB8AC3E}">
        <p14:creationId xmlns:p14="http://schemas.microsoft.com/office/powerpoint/2010/main" val="122327351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b="1">
                <a:gradFill>
                  <a:gsLst>
                    <a:gs pos="2917">
                      <a:schemeClr val="tx1"/>
                    </a:gs>
                    <a:gs pos="30000">
                      <a:schemeClr val="tx1"/>
                    </a:gs>
                  </a:gsLst>
                  <a:lin ang="5400000" scaled="0"/>
                </a:gradFill>
              </a:rPr>
              <a:t>Key message:</a:t>
            </a:r>
          </a:p>
          <a:p>
            <a:pPr marL="0" marR="0" indent="0" algn="l" defTabSz="914400" rtl="0" eaLnBrk="1" fontAlgn="auto" latinLnBrk="0" hangingPunct="1">
              <a:lnSpc>
                <a:spcPct val="100000"/>
              </a:lnSpc>
              <a:spcBef>
                <a:spcPts val="0"/>
              </a:spcBef>
              <a:spcAft>
                <a:spcPts val="0"/>
              </a:spcAft>
              <a:buClrTx/>
              <a:buSzTx/>
              <a:buFontTx/>
              <a:buNone/>
              <a:tabLst/>
              <a:defRPr/>
            </a:pPr>
            <a:r>
              <a:rPr lang="en-US" sz="1200">
                <a:gradFill>
                  <a:gsLst>
                    <a:gs pos="2917">
                      <a:schemeClr val="tx1"/>
                    </a:gs>
                    <a:gs pos="30000">
                      <a:schemeClr val="tx1"/>
                    </a:gs>
                  </a:gsLst>
                  <a:lin ang="5400000" scaled="0"/>
                </a:gradFill>
              </a:rPr>
              <a:t>Power</a:t>
            </a:r>
            <a:r>
              <a:rPr lang="en-US" sz="1200" baseline="0">
                <a:gradFill>
                  <a:gsLst>
                    <a:gs pos="2917">
                      <a:schemeClr val="tx1"/>
                    </a:gs>
                    <a:gs pos="30000">
                      <a:schemeClr val="tx1"/>
                    </a:gs>
                  </a:gsLst>
                  <a:lin ang="5400000" scaled="0"/>
                </a:gradFill>
              </a:rPr>
              <a:t> BI provides developers with a platform to embed, extend and integrate Power BI into other applications</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baseline="0">
              <a:gradFill>
                <a:gsLst>
                  <a:gs pos="2917">
                    <a:schemeClr val="tx1"/>
                  </a:gs>
                  <a:gs pos="30000">
                    <a:schemeClr val="tx1"/>
                  </a:gs>
                </a:gsLst>
                <a:lin ang="5400000" scaled="0"/>
              </a:gradFill>
            </a:endParaRPr>
          </a:p>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1" baseline="0">
                <a:gradFill>
                  <a:gsLst>
                    <a:gs pos="2917">
                      <a:schemeClr val="tx1"/>
                    </a:gs>
                    <a:gs pos="30000">
                      <a:schemeClr val="tx1"/>
                    </a:gs>
                  </a:gsLst>
                  <a:lin ang="5400000" scaled="0"/>
                </a:gradFill>
              </a:rPr>
              <a:t>Talking points:</a:t>
            </a:r>
          </a:p>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1" baseline="0">
                <a:gradFill>
                  <a:gsLst>
                    <a:gs pos="2917">
                      <a:schemeClr val="tx1"/>
                    </a:gs>
                    <a:gs pos="30000">
                      <a:schemeClr val="tx1"/>
                    </a:gs>
                  </a:gsLst>
                  <a:lin ang="5400000" scaled="0"/>
                </a:gradFill>
              </a:rPr>
              <a:t>Embed</a:t>
            </a:r>
          </a:p>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0">
                <a:gradFill>
                  <a:gsLst>
                    <a:gs pos="2917">
                      <a:schemeClr val="tx1"/>
                    </a:gs>
                    <a:gs pos="30000">
                      <a:schemeClr val="tx1"/>
                    </a:gs>
                  </a:gsLst>
                  <a:lin ang="5400000" scaled="0"/>
                </a:gradFill>
              </a:rPr>
              <a:t>Power</a:t>
            </a:r>
            <a:r>
              <a:rPr lang="en-US" sz="1200" b="0" baseline="0">
                <a:gradFill>
                  <a:gsLst>
                    <a:gs pos="2917">
                      <a:schemeClr val="tx1"/>
                    </a:gs>
                    <a:gs pos="30000">
                      <a:schemeClr val="tx1"/>
                    </a:gs>
                  </a:gsLst>
                  <a:lin ang="5400000" scaled="0"/>
                </a:gradFill>
              </a:rPr>
              <a:t> BI reports and tiles can be embedded into existing applications.</a:t>
            </a:r>
            <a:endParaRPr lang="en-US" sz="1200" b="0">
              <a:gradFill>
                <a:gsLst>
                  <a:gs pos="2917">
                    <a:schemeClr val="tx1"/>
                  </a:gs>
                  <a:gs pos="30000">
                    <a:schemeClr val="tx1"/>
                  </a:gs>
                </a:gsLst>
                <a:lin ang="5400000" scaled="0"/>
              </a:gradFill>
            </a:endParaRPr>
          </a:p>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200" b="1" baseline="0">
              <a:gradFill>
                <a:gsLst>
                  <a:gs pos="2917">
                    <a:schemeClr val="tx1"/>
                  </a:gs>
                  <a:gs pos="30000">
                    <a:schemeClr val="tx1"/>
                  </a:gs>
                </a:gsLst>
                <a:lin ang="5400000" scaled="0"/>
              </a:gradFill>
            </a:endParaRPr>
          </a:p>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1" baseline="0">
                <a:gradFill>
                  <a:gsLst>
                    <a:gs pos="2917">
                      <a:schemeClr val="tx1"/>
                    </a:gs>
                    <a:gs pos="30000">
                      <a:schemeClr val="tx1"/>
                    </a:gs>
                  </a:gsLst>
                  <a:lin ang="5400000" scaled="0"/>
                </a:gradFill>
              </a:rPr>
              <a:t>Extend</a:t>
            </a:r>
          </a:p>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a:t>You can create a custom visual using the Power BI Developer Tools (Preview). In the Power BI </a:t>
            </a:r>
            <a:r>
              <a:rPr lang="en-US" b="1"/>
              <a:t>Developer Tools</a:t>
            </a:r>
            <a:r>
              <a:rPr lang="en-US"/>
              <a:t>, design and test a custom visual by writing custom visual </a:t>
            </a:r>
            <a:r>
              <a:rPr lang="en-US" b="1" err="1"/>
              <a:t>TypeScript</a:t>
            </a:r>
            <a:r>
              <a:rPr lang="en-US"/>
              <a:t> code, and creating CSS. Once you've tested your custom visual, you can export it to Power BI, or submit it to the </a:t>
            </a:r>
            <a:r>
              <a:rPr lang="en-US" b="1"/>
              <a:t>Power BI visuals</a:t>
            </a:r>
            <a:r>
              <a:rPr lang="en-US"/>
              <a:t> gallery.</a:t>
            </a:r>
            <a:endParaRPr lang="en-US" sz="1200" b="1" baseline="0">
              <a:gradFill>
                <a:gsLst>
                  <a:gs pos="2917">
                    <a:schemeClr val="tx1"/>
                  </a:gs>
                  <a:gs pos="30000">
                    <a:schemeClr val="tx1"/>
                  </a:gs>
                </a:gsLst>
                <a:lin ang="5400000" scaled="0"/>
              </a:gradFill>
            </a:endParaRPr>
          </a:p>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200" b="1" baseline="0">
              <a:gradFill>
                <a:gsLst>
                  <a:gs pos="2917">
                    <a:schemeClr val="tx1"/>
                  </a:gs>
                  <a:gs pos="30000">
                    <a:schemeClr val="tx1"/>
                  </a:gs>
                </a:gsLst>
                <a:lin ang="5400000" scaled="0"/>
              </a:gradFill>
            </a:endParaRPr>
          </a:p>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1" baseline="0">
                <a:gradFill>
                  <a:gsLst>
                    <a:gs pos="2917">
                      <a:schemeClr val="tx1"/>
                    </a:gs>
                    <a:gs pos="30000">
                      <a:schemeClr val="tx1"/>
                    </a:gs>
                  </a:gsLst>
                  <a:lin ang="5400000" scaled="0"/>
                </a:gradFill>
              </a:rPr>
              <a:t>Integrate</a:t>
            </a:r>
          </a:p>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aseline="0">
                <a:gradFill>
                  <a:gsLst>
                    <a:gs pos="2917">
                      <a:schemeClr val="tx1"/>
                    </a:gs>
                    <a:gs pos="30000">
                      <a:schemeClr val="tx1"/>
                    </a:gs>
                  </a:gsLst>
                  <a:lin ang="5400000" scaled="0"/>
                </a:gradFill>
              </a:rPr>
              <a:t>Here are some of the important uses of APIs: </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aseline="0">
                <a:gradFill>
                  <a:gsLst>
                    <a:gs pos="2917">
                      <a:schemeClr val="tx1"/>
                    </a:gs>
                    <a:gs pos="30000">
                      <a:schemeClr val="tx1"/>
                    </a:gs>
                  </a:gsLst>
                  <a:lin ang="5400000" scaled="0"/>
                </a:gradFill>
              </a:rPr>
              <a:t>Push data directly from another application into Power BI </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aseline="0">
                <a:gradFill>
                  <a:gsLst>
                    <a:gs pos="2917">
                      <a:schemeClr val="tx1"/>
                    </a:gs>
                    <a:gs pos="30000">
                      <a:schemeClr val="tx1"/>
                    </a:gs>
                  </a:gsLst>
                  <a:lin ang="5400000" scaled="0"/>
                </a:gradFill>
              </a:rPr>
              <a:t>Push not only static data, but also real-time data, into Power BI </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aseline="0">
                <a:gradFill>
                  <a:gsLst>
                    <a:gs pos="2917">
                      <a:schemeClr val="tx1"/>
                    </a:gs>
                    <a:gs pos="30000">
                      <a:schemeClr val="tx1"/>
                    </a:gs>
                  </a:gsLst>
                  <a:lin ang="5400000" scaled="0"/>
                </a:gradFill>
              </a:rPr>
              <a:t>Just as Azure Stream Analytics can push data directly into Power BI, you can enable other applications to do the same thing for real time visibility</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aseline="0">
                <a:gradFill>
                  <a:gsLst>
                    <a:gs pos="2917">
                      <a:schemeClr val="tx1"/>
                    </a:gs>
                    <a:gs pos="30000">
                      <a:schemeClr val="tx1"/>
                    </a:gs>
                  </a:gsLst>
                  <a:lin ang="5400000" scaled="0"/>
                </a:gradFill>
              </a:rPr>
              <a:t>This enables users to manage and monitor real-time content</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aseline="0">
                <a:gradFill>
                  <a:gsLst>
                    <a:gs pos="2917">
                      <a:schemeClr val="tx1"/>
                    </a:gs>
                    <a:gs pos="30000">
                      <a:schemeClr val="tx1"/>
                    </a:gs>
                  </a:gsLst>
                  <a:lin ang="5400000" scaled="0"/>
                </a:gradFill>
              </a:rPr>
              <a:t>As discussed earlier, you can create custom connectors and content packs for unique data sources that Power BI doesn’t support as a default</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aseline="0">
                <a:gradFill>
                  <a:gsLst>
                    <a:gs pos="2917">
                      <a:schemeClr val="tx1"/>
                    </a:gs>
                    <a:gs pos="30000">
                      <a:schemeClr val="tx1"/>
                    </a:gs>
                  </a:gsLst>
                  <a:lin ang="5400000" scaled="0"/>
                </a:gradFill>
              </a:rPr>
              <a:t>Manage authentication using Azure Active Directory integration</a:t>
            </a:r>
            <a:endParaRPr lang="en-US" sz="1200">
              <a:gradFill>
                <a:gsLst>
                  <a:gs pos="2917">
                    <a:schemeClr val="tx1"/>
                  </a:gs>
                  <a:gs pos="30000">
                    <a:schemeClr val="tx1"/>
                  </a:gs>
                </a:gsLst>
                <a:lin ang="5400000" scaled="0"/>
              </a:gradFill>
            </a:endParaRPr>
          </a:p>
        </p:txBody>
      </p:sp>
      <p:sp>
        <p:nvSpPr>
          <p:cNvPr id="4" name="Header Placeholder 3"/>
          <p:cNvSpPr>
            <a:spLocks noGrp="1"/>
          </p:cNvSpPr>
          <p:nvPr>
            <p:ph type="hdr" sz="quarter" idx="10"/>
          </p:nvPr>
        </p:nvSpPr>
        <p:spPr/>
        <p:txBody>
          <a:bodyPr/>
          <a:lstStyle/>
          <a:p>
            <a:endParaRPr lang="en-US">
              <a:solidFill>
                <a:prstClr val="black"/>
              </a:solidFill>
            </a:endParaRPr>
          </a:p>
        </p:txBody>
      </p:sp>
      <p:sp>
        <p:nvSpPr>
          <p:cNvPr id="5" name="Footer Placeholder 4"/>
          <p:cNvSpPr>
            <a:spLocks noGrp="1"/>
          </p:cNvSpPr>
          <p:nvPr>
            <p:ph type="ftr" sz="quarter" idx="11"/>
          </p:nvPr>
        </p:nvSpPr>
        <p:spPr/>
        <p:txBody>
          <a:bodyPr/>
          <a:lstStyle/>
          <a:p>
            <a:pPr defTabSz="922783"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22783"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9F34A55B-0232-4B2A-8DB0-D59B999B87D7}" type="datetime1">
              <a:rPr lang="en-US" smtClean="0">
                <a:solidFill>
                  <a:prstClr val="black"/>
                </a:solidFill>
              </a:rPr>
              <a:pPr/>
              <a:t>11/24/2020</a:t>
            </a:fld>
            <a:endParaRPr lang="en-US">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5</a:t>
            </a:fld>
            <a:endParaRPr lang="en-US">
              <a:solidFill>
                <a:prstClr val="black"/>
              </a:solidFill>
            </a:endParaRPr>
          </a:p>
        </p:txBody>
      </p:sp>
    </p:spTree>
    <p:extLst>
      <p:ext uri="{BB962C8B-B14F-4D97-AF65-F5344CB8AC3E}">
        <p14:creationId xmlns:p14="http://schemas.microsoft.com/office/powerpoint/2010/main" val="194647813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b="1" i="0" dirty="0">
                <a:solidFill>
                  <a:srgbClr val="000000"/>
                </a:solidFill>
              </a:rPr>
              <a:t>Key message:</a:t>
            </a:r>
          </a:p>
          <a:p>
            <a:pPr marL="0" marR="0" indent="0" algn="l" defTabSz="914400" rtl="0" eaLnBrk="1" fontAlgn="auto" latinLnBrk="0" hangingPunct="1">
              <a:lnSpc>
                <a:spcPct val="100000"/>
              </a:lnSpc>
              <a:spcBef>
                <a:spcPts val="0"/>
              </a:spcBef>
              <a:spcAft>
                <a:spcPts val="0"/>
              </a:spcAft>
              <a:buClrTx/>
              <a:buSzTx/>
              <a:buFontTx/>
              <a:buNone/>
              <a:tabLst/>
              <a:defRPr/>
            </a:pPr>
            <a:r>
              <a:rPr lang="en-US" sz="1200" b="0" i="0" dirty="0">
                <a:solidFill>
                  <a:srgbClr val="000000"/>
                </a:solidFill>
              </a:rPr>
              <a:t>Power BI makes it possible to keep all</a:t>
            </a:r>
            <a:r>
              <a:rPr lang="en-US" sz="1200" b="0" i="0" baseline="0" dirty="0">
                <a:solidFill>
                  <a:srgbClr val="000000"/>
                </a:solidFill>
              </a:rPr>
              <a:t> your data current – and visualizations automatically recalibrate when data changes</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b="0" i="0" baseline="0" dirty="0">
              <a:solidFill>
                <a:srgbClr val="000000"/>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200" b="1" i="0" baseline="0" dirty="0">
                <a:solidFill>
                  <a:srgbClr val="000000"/>
                </a:solidFill>
              </a:rPr>
              <a:t>Talking point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solidFill>
                  <a:srgbClr val="000000"/>
                </a:solidFill>
              </a:rPr>
              <a:t>Refresh your Azure SQL Server, Azure SQL Data Warehouse, Spark on HDInsight data using </a:t>
            </a:r>
            <a:r>
              <a:rPr lang="en-US" sz="1200" dirty="0" err="1">
                <a:solidFill>
                  <a:srgbClr val="000000"/>
                </a:solidFill>
              </a:rPr>
              <a:t>DirectQuery</a:t>
            </a:r>
            <a:r>
              <a:rPr lang="en-US" sz="1200" dirty="0">
                <a:solidFill>
                  <a:srgbClr val="000000"/>
                </a:solidFill>
              </a:rPr>
              <a:t>. </a:t>
            </a:r>
            <a:r>
              <a:rPr lang="en-US" dirty="0"/>
              <a:t>With </a:t>
            </a:r>
            <a:r>
              <a:rPr lang="en-US" dirty="0" err="1"/>
              <a:t>DirectQuery</a:t>
            </a:r>
            <a:r>
              <a:rPr lang="en-US" dirty="0"/>
              <a:t>, queries are sent back to your Azure data store in real time as you explore the data. This, combined with the scale of Azure enables users to create dynamic reports in minutes against terabytes of data.</a:t>
            </a:r>
            <a:r>
              <a:rPr lang="en-US" sz="1200" dirty="0">
                <a:solidFill>
                  <a:srgbClr val="000000"/>
                </a:solidFill>
              </a:rPr>
              <a:t> </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i="0" baseline="0" dirty="0">
                <a:solidFill>
                  <a:srgbClr val="000000"/>
                </a:solidFill>
              </a:rPr>
              <a:t>With SaaS solutions, data is refreshed automatically, typically on a daily basis</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i="0" baseline="0" dirty="0">
                <a:solidFill>
                  <a:srgbClr val="000000"/>
                </a:solidFill>
              </a:rPr>
              <a:t>Data may also be refreshed on demand</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solidFill>
                  <a:srgbClr val="000000"/>
                </a:solidFill>
              </a:rPr>
              <a:t>And even without user intervention, data is queried every 10 minutes to keep the dashboard up-to-dat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i="0" baseline="0" dirty="0">
                <a:solidFill>
                  <a:srgbClr val="000000"/>
                </a:solidFill>
              </a:rPr>
              <a:t>Use </a:t>
            </a:r>
            <a:r>
              <a:rPr lang="en-US" sz="1200" b="1" i="0" baseline="0" dirty="0">
                <a:solidFill>
                  <a:srgbClr val="000000"/>
                </a:solidFill>
              </a:rPr>
              <a:t>live</a:t>
            </a:r>
            <a:r>
              <a:rPr lang="en-US" sz="1200" b="0" i="0" baseline="0" dirty="0">
                <a:solidFill>
                  <a:srgbClr val="000000"/>
                </a:solidFill>
              </a:rPr>
              <a:t> connectivity to </a:t>
            </a:r>
            <a:r>
              <a:rPr lang="en-US" sz="1200" dirty="0">
                <a:solidFill>
                  <a:srgbClr val="000000"/>
                </a:solidFill>
              </a:rPr>
              <a:t>SQL Server Analysis Services (SSAS) to see updates in</a:t>
            </a:r>
            <a:r>
              <a:rPr lang="en-US" sz="1200" baseline="0" dirty="0">
                <a:solidFill>
                  <a:srgbClr val="000000"/>
                </a:solidFill>
              </a:rPr>
              <a:t> your </a:t>
            </a:r>
            <a:r>
              <a:rPr lang="en-US" sz="1200" dirty="0">
                <a:solidFill>
                  <a:srgbClr val="000000"/>
                </a:solidFill>
              </a:rPr>
              <a:t>Power BI dashboard/report as the user</a:t>
            </a:r>
            <a:r>
              <a:rPr lang="en-US" sz="1200" baseline="0" dirty="0">
                <a:solidFill>
                  <a:srgbClr val="000000"/>
                </a:solidFill>
              </a:rPr>
              <a:t> interacts with it</a:t>
            </a:r>
            <a:endParaRPr lang="en-US" sz="1200" dirty="0">
              <a:solidFill>
                <a:srgbClr val="000000"/>
              </a:solidFill>
            </a:endParaRPr>
          </a:p>
          <a:p>
            <a:pPr marL="171450" indent="-171450">
              <a:buFont typeface="Arial" panose="020B0604020202020204" pitchFamily="34" charset="0"/>
              <a:buChar char="•"/>
            </a:pPr>
            <a:r>
              <a:rPr lang="en-US" sz="1200" dirty="0">
                <a:solidFill>
                  <a:srgbClr val="000000"/>
                </a:solidFill>
              </a:rPr>
              <a:t>Get </a:t>
            </a:r>
            <a:r>
              <a:rPr lang="en-US" sz="1200" b="1" dirty="0">
                <a:solidFill>
                  <a:srgbClr val="000000"/>
                </a:solidFill>
              </a:rPr>
              <a:t>real-time</a:t>
            </a:r>
            <a:r>
              <a:rPr lang="en-US" sz="1200" dirty="0">
                <a:solidFill>
                  <a:srgbClr val="000000"/>
                </a:solidFill>
              </a:rPr>
              <a:t> visibility via integration with Azure Stream Analytics, or by pushing data into Power BI using REST API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i="0" baseline="0" dirty="0">
                <a:solidFill>
                  <a:srgbClr val="000000"/>
                </a:solidFill>
              </a:rPr>
              <a:t>With the Power BI Gateway, you can schedule refreshes for your on-premises databases</a:t>
            </a:r>
          </a:p>
          <a:p>
            <a:pPr marL="171450" marR="0" indent="-171450" algn="l" defTabSz="914400" rtl="0" eaLnBrk="1" fontAlgn="t" latinLnBrk="0" hangingPunct="1">
              <a:lnSpc>
                <a:spcPct val="100000"/>
              </a:lnSpc>
              <a:spcBef>
                <a:spcPts val="0"/>
              </a:spcBef>
              <a:spcAft>
                <a:spcPts val="0"/>
              </a:spcAft>
              <a:buClrTx/>
              <a:buSzTx/>
              <a:buFont typeface="Arial" panose="020B0604020202020204" pitchFamily="34" charset="0"/>
              <a:buChar char="•"/>
              <a:tabLst/>
              <a:defRPr/>
            </a:pPr>
            <a:r>
              <a:rPr lang="en-US" sz="1200" b="1" i="0" u="none" strike="noStrike" kern="1200" dirty="0">
                <a:solidFill>
                  <a:schemeClr val="tx1"/>
                </a:solidFill>
                <a:effectLst/>
                <a:latin typeface="+mn-lt"/>
                <a:ea typeface="+mn-ea"/>
                <a:cs typeface="+mn-cs"/>
              </a:rPr>
              <a:t>Row</a:t>
            </a:r>
            <a:r>
              <a:rPr lang="en-US" sz="1200" b="1" i="0" u="none" strike="noStrike" kern="1200" baseline="0" dirty="0">
                <a:solidFill>
                  <a:schemeClr val="tx1"/>
                </a:solidFill>
                <a:effectLst/>
                <a:latin typeface="+mn-lt"/>
                <a:ea typeface="+mn-ea"/>
                <a:cs typeface="+mn-cs"/>
              </a:rPr>
              <a:t> level security: </a:t>
            </a:r>
            <a:r>
              <a:rPr lang="en-US" sz="1200" b="0" i="0" u="none" strike="noStrike" kern="1200" dirty="0">
                <a:solidFill>
                  <a:schemeClr val="tx1"/>
                </a:solidFill>
                <a:effectLst/>
                <a:latin typeface="+mn-lt"/>
                <a:ea typeface="+mn-ea"/>
                <a:cs typeface="+mn-cs"/>
              </a:rPr>
              <a:t>Re-use</a:t>
            </a:r>
            <a:r>
              <a:rPr lang="en-US" sz="1200" b="0" i="0" u="none" strike="noStrike" kern="1200" baseline="0" dirty="0">
                <a:solidFill>
                  <a:schemeClr val="tx1"/>
                </a:solidFill>
                <a:effectLst/>
                <a:latin typeface="+mn-lt"/>
                <a:ea typeface="+mn-ea"/>
                <a:cs typeface="+mn-cs"/>
              </a:rPr>
              <a:t> on-prem role based row level security for Analysis Services</a:t>
            </a:r>
            <a:endParaRPr lang="en-US" sz="1200" b="0" i="0" u="none" strike="noStrike" kern="1200" dirty="0">
              <a:solidFill>
                <a:schemeClr val="tx1"/>
              </a:solidFill>
              <a:effectLst/>
              <a:latin typeface="+mn-lt"/>
              <a:ea typeface="+mn-ea"/>
              <a:cs typeface="+mn-cs"/>
            </a:endParaRPr>
          </a:p>
          <a:p>
            <a:pPr marL="171450" indent="-171450" rtl="0" eaLnBrk="1" fontAlgn="t" latinLnBrk="0" hangingPunct="1">
              <a:buFont typeface="Arial" panose="020B0604020202020204" pitchFamily="34" charset="0"/>
              <a:buChar char="•"/>
            </a:pPr>
            <a:endParaRPr lang="en-US" sz="1200" b="0" i="0" u="none" strike="noStrike" kern="1200" dirty="0">
              <a:solidFill>
                <a:schemeClr val="tx1"/>
              </a:solidFill>
              <a:effectLst/>
              <a:latin typeface="+mn-lt"/>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200" b="0" i="0" baseline="0" dirty="0">
              <a:solidFill>
                <a:srgbClr val="000000"/>
              </a:solidFill>
            </a:endParaRPr>
          </a:p>
        </p:txBody>
      </p:sp>
      <p:sp>
        <p:nvSpPr>
          <p:cNvPr id="4" name="Header Placeholder 3"/>
          <p:cNvSpPr>
            <a:spLocks noGrp="1"/>
          </p:cNvSpPr>
          <p:nvPr>
            <p:ph type="hdr" sz="quarter" idx="10"/>
          </p:nvPr>
        </p:nvSpPr>
        <p:spPr/>
        <p:txBody>
          <a:bodyPr/>
          <a:lstStyle/>
          <a:p>
            <a:endParaRPr lang="en-US">
              <a:solidFill>
                <a:prstClr val="black"/>
              </a:solidFill>
            </a:endParaRPr>
          </a:p>
        </p:txBody>
      </p:sp>
      <p:sp>
        <p:nvSpPr>
          <p:cNvPr id="5" name="Footer Placeholder 4"/>
          <p:cNvSpPr>
            <a:spLocks noGrp="1"/>
          </p:cNvSpPr>
          <p:nvPr>
            <p:ph type="ftr" sz="quarter" idx="11"/>
          </p:nvPr>
        </p:nvSpPr>
        <p:spPr/>
        <p:txBody>
          <a:bodyPr/>
          <a:lstStyle/>
          <a:p>
            <a:pPr defTabSz="922783"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22783"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9F34A55B-0232-4B2A-8DB0-D59B999B87D7}" type="datetime1">
              <a:rPr lang="en-US" smtClean="0">
                <a:solidFill>
                  <a:prstClr val="black"/>
                </a:solidFill>
              </a:rPr>
              <a:pPr/>
              <a:t>11/24/2020</a:t>
            </a:fld>
            <a:endParaRPr lang="en-US">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6</a:t>
            </a:fld>
            <a:endParaRPr lang="en-US">
              <a:solidFill>
                <a:prstClr val="black"/>
              </a:solidFill>
            </a:endParaRPr>
          </a:p>
        </p:txBody>
      </p:sp>
    </p:spTree>
    <p:extLst>
      <p:ext uri="{BB962C8B-B14F-4D97-AF65-F5344CB8AC3E}">
        <p14:creationId xmlns:p14="http://schemas.microsoft.com/office/powerpoint/2010/main" val="144971337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b="1" i="0">
                <a:solidFill>
                  <a:srgbClr val="000000"/>
                </a:solidFill>
              </a:rPr>
              <a:t>Key message:</a:t>
            </a:r>
          </a:p>
          <a:p>
            <a:pPr marL="0" marR="0" indent="0" algn="l" defTabSz="941603" rtl="0" eaLnBrk="1" fontAlgn="auto" latinLnBrk="0" hangingPunct="1">
              <a:lnSpc>
                <a:spcPct val="100000"/>
              </a:lnSpc>
              <a:spcBef>
                <a:spcPts val="0"/>
              </a:spcBef>
              <a:spcAft>
                <a:spcPts val="343"/>
              </a:spcAft>
              <a:buClrTx/>
              <a:buSzTx/>
              <a:buFontTx/>
              <a:buNone/>
              <a:tabLst/>
              <a:defRPr/>
            </a:pPr>
            <a:r>
              <a:rPr lang="en-US" sz="1200">
                <a:solidFill>
                  <a:srgbClr val="000000"/>
                </a:solidFill>
              </a:rPr>
              <a:t>Personal</a:t>
            </a:r>
            <a:r>
              <a:rPr lang="en-US" sz="1200" baseline="0">
                <a:solidFill>
                  <a:srgbClr val="000000"/>
                </a:solidFill>
              </a:rPr>
              <a:t> Gateway is required to refresh datasets from a supported on-premised data source in your organization. </a:t>
            </a:r>
            <a:endParaRPr lang="en-US" sz="1200">
              <a:solidFill>
                <a:srgbClr val="000000"/>
              </a:solidFill>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b="0" i="0" baseline="0">
              <a:solidFill>
                <a:srgbClr val="000000"/>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200" b="1" i="0" baseline="0">
                <a:solidFill>
                  <a:srgbClr val="000000"/>
                </a:solidFill>
              </a:rPr>
              <a:t>Talking points:</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aseline="0">
                <a:solidFill>
                  <a:srgbClr val="000000"/>
                </a:solidFill>
              </a:rPr>
              <a:t>Personal Gateway is available with Power BI Pro.</a:t>
            </a:r>
            <a:endParaRPr lang="en-US" sz="1200">
              <a:solidFill>
                <a:srgbClr val="000000"/>
              </a:solidFill>
            </a:endParaRPr>
          </a:p>
          <a:p>
            <a:pPr marL="171450" indent="-171450">
              <a:spcAft>
                <a:spcPts val="600"/>
              </a:spcAft>
              <a:buFont typeface="Arial" panose="020B0604020202020204" pitchFamily="34" charset="0"/>
              <a:buChar char="•"/>
            </a:pPr>
            <a:r>
              <a:rPr lang="en-US" sz="1200" b="1">
                <a:solidFill>
                  <a:srgbClr val="000000"/>
                </a:solidFill>
              </a:rPr>
              <a:t>Anyone can refresh</a:t>
            </a:r>
            <a:br>
              <a:rPr lang="en-US" sz="1200" b="1">
                <a:solidFill>
                  <a:srgbClr val="000000"/>
                </a:solidFill>
              </a:rPr>
            </a:br>
            <a:r>
              <a:rPr lang="en-US" sz="1200">
                <a:solidFill>
                  <a:srgbClr val="000000"/>
                </a:solidFill>
              </a:rPr>
              <a:t>With Personal gateway, everyone can keep their data in Power BI in sync with their on-premises sources. </a:t>
            </a:r>
            <a:br>
              <a:rPr lang="en-US" sz="1200">
                <a:solidFill>
                  <a:srgbClr val="000000"/>
                </a:solidFill>
              </a:rPr>
            </a:br>
            <a:r>
              <a:rPr lang="en-US" sz="1200">
                <a:solidFill>
                  <a:srgbClr val="000000"/>
                </a:solidFill>
              </a:rPr>
              <a:t>No IT Dependency</a:t>
            </a:r>
          </a:p>
          <a:p>
            <a:pPr marL="171450" indent="-171450">
              <a:spcAft>
                <a:spcPts val="600"/>
              </a:spcAft>
              <a:buFont typeface="Arial" panose="020B0604020202020204" pitchFamily="34" charset="0"/>
              <a:buChar char="•"/>
            </a:pPr>
            <a:r>
              <a:rPr lang="en-US" sz="1200" b="1">
                <a:solidFill>
                  <a:srgbClr val="000000"/>
                </a:solidFill>
              </a:rPr>
              <a:t>Easy &amp; simple to use </a:t>
            </a:r>
            <a:r>
              <a:rPr lang="en-US" sz="1200">
                <a:solidFill>
                  <a:srgbClr val="000000"/>
                </a:solidFill>
              </a:rPr>
              <a:t> </a:t>
            </a:r>
            <a:br>
              <a:rPr lang="en-US" sz="1200">
                <a:solidFill>
                  <a:srgbClr val="000000"/>
                </a:solidFill>
              </a:rPr>
            </a:br>
            <a:r>
              <a:rPr lang="en-US" sz="1200">
                <a:solidFill>
                  <a:srgbClr val="000000"/>
                </a:solidFill>
              </a:rPr>
              <a:t>Personal Gateway is a lightweight one-click installer and once it is up and running on your computer, data refresh is seamless</a:t>
            </a:r>
          </a:p>
          <a:p>
            <a:pPr marL="171450" indent="-171450">
              <a:buFont typeface="Arial" panose="020B0604020202020204" pitchFamily="34" charset="0"/>
              <a:buChar char="•"/>
            </a:pPr>
            <a:r>
              <a:rPr lang="en-US" sz="1200" baseline="0">
                <a:solidFill>
                  <a:srgbClr val="000000"/>
                </a:solidFill>
              </a:rPr>
              <a:t>The Gateway supports REFRESH NOW and a SCHEDULE REFRESH. The data is cached</a:t>
            </a:r>
          </a:p>
          <a:p>
            <a:pPr marL="171450" indent="-171450">
              <a:buFont typeface="Arial" panose="020B0604020202020204" pitchFamily="34" charset="0"/>
              <a:buChar char="•"/>
            </a:pPr>
            <a:r>
              <a:rPr lang="en-US" sz="1200" b="1" baseline="0">
                <a:solidFill>
                  <a:srgbClr val="000000"/>
                </a:solidFill>
              </a:rPr>
              <a:t>Data transfer is secure</a:t>
            </a:r>
            <a:r>
              <a:rPr lang="en-US" sz="1200" baseline="0">
                <a:solidFill>
                  <a:srgbClr val="000000"/>
                </a:solidFill>
              </a:rPr>
              <a:t>. Data transfer between Power BI and the gateway is secured through Azure Service Bus. The Service Bus creates a secure channel between the Power BI service and your computer. Because the gateway provides this secure connection, there’s usually no need to open a port in your firewall.</a:t>
            </a:r>
          </a:p>
          <a:p>
            <a:pPr marL="285750" indent="-285750">
              <a:buFont typeface="Arial" panose="020B0604020202020204" pitchFamily="34" charset="0"/>
              <a:buChar char="•"/>
            </a:pPr>
            <a:endParaRPr lang="en-US" sz="1200" b="1">
              <a:solidFill>
                <a:srgbClr val="000000"/>
              </a:solidFill>
            </a:endParaRPr>
          </a:p>
        </p:txBody>
      </p:sp>
      <p:sp>
        <p:nvSpPr>
          <p:cNvPr id="4" name="Header Placeholder 3"/>
          <p:cNvSpPr>
            <a:spLocks noGrp="1"/>
          </p:cNvSpPr>
          <p:nvPr>
            <p:ph type="hdr" sz="quarter" idx="10"/>
          </p:nvPr>
        </p:nvSpPr>
        <p:spPr/>
        <p:txBody>
          <a:bodyPr/>
          <a:lstStyle/>
          <a:p>
            <a:endParaRPr lang="en-US">
              <a:solidFill>
                <a:prstClr val="black"/>
              </a:solidFill>
            </a:endParaRPr>
          </a:p>
        </p:txBody>
      </p:sp>
      <p:sp>
        <p:nvSpPr>
          <p:cNvPr id="5" name="Footer Placeholder 4"/>
          <p:cNvSpPr>
            <a:spLocks noGrp="1"/>
          </p:cNvSpPr>
          <p:nvPr>
            <p:ph type="ftr" sz="quarter" idx="11"/>
          </p:nvPr>
        </p:nvSpPr>
        <p:spPr/>
        <p:txBody>
          <a:bodyPr/>
          <a:lstStyle/>
          <a:p>
            <a:pPr defTabSz="922783"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22783"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9F34A55B-0232-4B2A-8DB0-D59B999B87D7}" type="datetime1">
              <a:rPr lang="en-US" smtClean="0">
                <a:solidFill>
                  <a:prstClr val="black"/>
                </a:solidFill>
              </a:rPr>
              <a:pPr/>
              <a:t>11/24/2020</a:t>
            </a:fld>
            <a:endParaRPr lang="en-US">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7</a:t>
            </a:fld>
            <a:endParaRPr lang="en-US">
              <a:solidFill>
                <a:prstClr val="black"/>
              </a:solidFill>
            </a:endParaRPr>
          </a:p>
        </p:txBody>
      </p:sp>
    </p:spTree>
    <p:extLst>
      <p:ext uri="{BB962C8B-B14F-4D97-AF65-F5344CB8AC3E}">
        <p14:creationId xmlns:p14="http://schemas.microsoft.com/office/powerpoint/2010/main" val="415249499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b="1" i="0">
                <a:solidFill>
                  <a:srgbClr val="000000"/>
                </a:solidFill>
              </a:rPr>
              <a:t>Key message:</a:t>
            </a:r>
          </a:p>
          <a:p>
            <a:pPr marL="0" marR="0" indent="0" algn="l" defTabSz="914400" rtl="0" eaLnBrk="1" fontAlgn="auto" latinLnBrk="0" hangingPunct="1">
              <a:lnSpc>
                <a:spcPct val="100000"/>
              </a:lnSpc>
              <a:spcBef>
                <a:spcPts val="0"/>
              </a:spcBef>
              <a:spcAft>
                <a:spcPts val="0"/>
              </a:spcAft>
              <a:buClrTx/>
              <a:buSzTx/>
              <a:buFontTx/>
              <a:buNone/>
              <a:tabLst/>
              <a:defRPr/>
            </a:pPr>
            <a:r>
              <a:rPr lang="en-US" sz="1600">
                <a:solidFill>
                  <a:srgbClr val="000000"/>
                </a:solidFill>
              </a:rPr>
              <a:t>Enables IT departments to centrally deploy and manage </a:t>
            </a:r>
            <a:r>
              <a:rPr lang="en-US" sz="1600" err="1">
                <a:solidFill>
                  <a:srgbClr val="000000"/>
                </a:solidFill>
              </a:rPr>
              <a:t>on-premise</a:t>
            </a:r>
            <a:r>
              <a:rPr lang="en-US" sz="1600">
                <a:solidFill>
                  <a:srgbClr val="000000"/>
                </a:solidFill>
              </a:rPr>
              <a:t> data</a:t>
            </a:r>
            <a:r>
              <a:rPr lang="en-US" sz="1600" baseline="0">
                <a:solidFill>
                  <a:srgbClr val="000000"/>
                </a:solidFill>
              </a:rPr>
              <a:t> access</a:t>
            </a:r>
            <a:r>
              <a:rPr lang="en-US" sz="1600">
                <a:solidFill>
                  <a:srgbClr val="000000"/>
                </a:solidFill>
              </a:rPr>
              <a:t>, for a large group of users</a:t>
            </a:r>
            <a:r>
              <a:rPr lang="en-US" sz="1600" baseline="0">
                <a:solidFill>
                  <a:srgbClr val="000000"/>
                </a:solidFill>
              </a:rPr>
              <a:t>. </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600" baseline="0">
              <a:solidFill>
                <a:srgbClr val="000000"/>
              </a:solidFill>
            </a:endParaRPr>
          </a:p>
          <a:p>
            <a:pPr marL="0" lvl="0" indent="0">
              <a:spcBef>
                <a:spcPts val="600"/>
              </a:spcBef>
              <a:buNone/>
            </a:pPr>
            <a:r>
              <a:rPr lang="en-US" sz="1600" b="1" i="0" baseline="0">
                <a:solidFill>
                  <a:srgbClr val="000000"/>
                </a:solidFill>
              </a:rPr>
              <a:t>Talking points:</a:t>
            </a:r>
          </a:p>
          <a:p>
            <a:pPr marL="0" lvl="0" indent="0">
              <a:spcBef>
                <a:spcPts val="600"/>
              </a:spcBef>
              <a:buNone/>
            </a:pPr>
            <a:r>
              <a:rPr lang="en-US" sz="1200" b="1">
                <a:solidFill>
                  <a:srgbClr val="000000"/>
                </a:solidFill>
                <a:cs typeface="Segoe UI Light" panose="020B0502040204020203" pitchFamily="34" charset="0"/>
              </a:rPr>
              <a:t>Centralized way to refresh content in Power BI</a:t>
            </a:r>
            <a:endParaRPr lang="en-US" sz="1200">
              <a:solidFill>
                <a:srgbClr val="000000"/>
              </a:solidFill>
              <a:cs typeface="Segoe UI Light" panose="020B0502040204020203" pitchFamily="34" charset="0"/>
            </a:endParaRPr>
          </a:p>
          <a:p>
            <a:pPr marL="0" lvl="0" indent="0">
              <a:spcBef>
                <a:spcPts val="600"/>
              </a:spcBef>
              <a:buNone/>
            </a:pPr>
            <a:r>
              <a:rPr lang="en-US" sz="1200">
                <a:solidFill>
                  <a:srgbClr val="000000"/>
                </a:solidFill>
                <a:cs typeface="Segoe UI Light" panose="020B0502040204020203" pitchFamily="34" charset="0"/>
              </a:rPr>
              <a:t>Configure, manage and maintain a group of On-Premises</a:t>
            </a:r>
            <a:r>
              <a:rPr lang="en-US" sz="1200" baseline="0">
                <a:solidFill>
                  <a:srgbClr val="000000"/>
                </a:solidFill>
                <a:cs typeface="Segoe UI Light" panose="020B0502040204020203" pitchFamily="34" charset="0"/>
              </a:rPr>
              <a:t> Data Gateways</a:t>
            </a:r>
            <a:r>
              <a:rPr lang="en-US" sz="1200">
                <a:solidFill>
                  <a:srgbClr val="000000"/>
                </a:solidFill>
                <a:cs typeface="Segoe UI Light" panose="020B0502040204020203" pitchFamily="34" charset="0"/>
              </a:rPr>
              <a:t>.</a:t>
            </a:r>
            <a:br>
              <a:rPr lang="en-US" sz="1200">
                <a:solidFill>
                  <a:srgbClr val="000000"/>
                </a:solidFill>
                <a:cs typeface="Segoe UI Light" panose="020B0502040204020203" pitchFamily="34" charset="0"/>
              </a:rPr>
            </a:br>
            <a:r>
              <a:rPr lang="en-US" sz="1200">
                <a:solidFill>
                  <a:srgbClr val="000000"/>
                </a:solidFill>
                <a:cs typeface="Segoe UI Light" panose="020B0502040204020203" pitchFamily="34" charset="0"/>
              </a:rPr>
              <a:t>Transparently refresh data uploaded to Power BI for the business users and analysts. </a:t>
            </a:r>
          </a:p>
          <a:p>
            <a:pPr marL="0" indent="0">
              <a:spcBef>
                <a:spcPts val="1200"/>
              </a:spcBef>
              <a:buNone/>
            </a:pPr>
            <a:r>
              <a:rPr lang="en-US" sz="1200" b="1">
                <a:solidFill>
                  <a:srgbClr val="000000"/>
                </a:solidFill>
                <a:cs typeface="Segoe UI Light" panose="020B0502040204020203" pitchFamily="34" charset="0"/>
              </a:rPr>
              <a:t>Centralized access control</a:t>
            </a:r>
            <a:endParaRPr lang="en-US" sz="1200">
              <a:solidFill>
                <a:srgbClr val="000000"/>
              </a:solidFill>
              <a:cs typeface="Segoe UI Light" panose="020B0502040204020203" pitchFamily="34" charset="0"/>
            </a:endParaRPr>
          </a:p>
          <a:p>
            <a:pPr marL="0" indent="0">
              <a:spcBef>
                <a:spcPts val="600"/>
              </a:spcBef>
              <a:buNone/>
            </a:pPr>
            <a:r>
              <a:rPr lang="en-US" sz="1200">
                <a:solidFill>
                  <a:srgbClr val="000000"/>
                </a:solidFill>
                <a:cs typeface="Segoe UI Light" panose="020B0502040204020203" pitchFamily="34" charset="0"/>
              </a:rPr>
              <a:t>Centrally manage the set of users who can access the underlying data sources.</a:t>
            </a:r>
            <a:br>
              <a:rPr lang="en-US" sz="1200">
                <a:solidFill>
                  <a:srgbClr val="000000"/>
                </a:solidFill>
                <a:cs typeface="Segoe UI Light" panose="020B0502040204020203" pitchFamily="34" charset="0"/>
              </a:rPr>
            </a:br>
            <a:r>
              <a:rPr lang="en-US" sz="1200">
                <a:solidFill>
                  <a:srgbClr val="000000"/>
                </a:solidFill>
                <a:cs typeface="Segoe UI Light" panose="020B0502040204020203" pitchFamily="34" charset="0"/>
              </a:rPr>
              <a:t>Assign user permissions.</a:t>
            </a:r>
          </a:p>
          <a:p>
            <a:pPr marL="0" lvl="0" indent="0">
              <a:spcBef>
                <a:spcPts val="1200"/>
              </a:spcBef>
              <a:buNone/>
            </a:pPr>
            <a:r>
              <a:rPr lang="en-US" sz="1200" b="1">
                <a:solidFill>
                  <a:srgbClr val="000000"/>
                </a:solidFill>
                <a:cs typeface="Segoe UI Light" panose="020B0502040204020203" pitchFamily="34" charset="0"/>
              </a:rPr>
              <a:t>Enables BI governance – empower IT to monitor and audit usage</a:t>
            </a:r>
          </a:p>
          <a:p>
            <a:pPr marL="0" lvl="0" indent="0">
              <a:spcBef>
                <a:spcPts val="600"/>
              </a:spcBef>
              <a:buNone/>
            </a:pPr>
            <a:r>
              <a:rPr lang="en-US" sz="1200">
                <a:solidFill>
                  <a:srgbClr val="000000"/>
                </a:solidFill>
                <a:cs typeface="Segoe UI Light" panose="020B0502040204020203" pitchFamily="34" charset="0"/>
              </a:rPr>
              <a:t>Gain visibility into Data Gateway usage, such as commonly accessed data sources, and the users accessing them. </a:t>
            </a:r>
          </a:p>
          <a:p>
            <a:pPr marL="0" indent="0">
              <a:spcBef>
                <a:spcPts val="1200"/>
              </a:spcBef>
              <a:buNone/>
            </a:pPr>
            <a:r>
              <a:rPr lang="en-US" sz="1200" b="1">
                <a:solidFill>
                  <a:srgbClr val="000000"/>
                </a:solidFill>
                <a:cs typeface="Segoe UI Light" panose="020B0502040204020203" pitchFamily="34" charset="0"/>
              </a:rPr>
              <a:t>Direct access </a:t>
            </a:r>
          </a:p>
          <a:p>
            <a:pPr marL="0" indent="0">
              <a:spcBef>
                <a:spcPts val="600"/>
              </a:spcBef>
              <a:buNone/>
            </a:pPr>
            <a:r>
              <a:rPr lang="en-US" sz="1200">
                <a:solidFill>
                  <a:srgbClr val="000000"/>
                </a:solidFill>
                <a:cs typeface="Segoe UI Light" panose="020B0502040204020203" pitchFamily="34" charset="0"/>
              </a:rPr>
              <a:t>Direct access to a wide range of data sources, like SQL Server, SQL Server Analysis Services.</a:t>
            </a:r>
          </a:p>
          <a:p>
            <a:pPr marL="0" indent="0">
              <a:spcBef>
                <a:spcPts val="600"/>
              </a:spcBef>
              <a:buNone/>
            </a:pPr>
            <a:r>
              <a:rPr lang="en-US" sz="1200" b="1">
                <a:solidFill>
                  <a:srgbClr val="000000"/>
                </a:solidFill>
              </a:rPr>
              <a:t>Secure data</a:t>
            </a:r>
            <a:r>
              <a:rPr lang="en-US" sz="1200" b="1" baseline="0">
                <a:solidFill>
                  <a:srgbClr val="000000"/>
                </a:solidFill>
              </a:rPr>
              <a:t> transfer</a:t>
            </a:r>
          </a:p>
          <a:p>
            <a:pPr marL="0" indent="0">
              <a:spcBef>
                <a:spcPts val="600"/>
              </a:spcBef>
              <a:buNone/>
            </a:pPr>
            <a:r>
              <a:rPr lang="en-US" sz="1200">
                <a:solidFill>
                  <a:srgbClr val="000000"/>
                </a:solidFill>
              </a:rPr>
              <a:t>Data transfer between the Power BI service and the gateway is secured through </a:t>
            </a:r>
            <a:r>
              <a:rPr lang="en-US" sz="1200">
                <a:solidFill>
                  <a:srgbClr val="000000"/>
                </a:solidFill>
                <a:hlinkClick r:id="rId3"/>
              </a:rPr>
              <a:t>Azure Service Bus</a:t>
            </a:r>
            <a:r>
              <a:rPr lang="en-US" sz="1200">
                <a:solidFill>
                  <a:srgbClr val="000000"/>
                </a:solidFill>
              </a:rPr>
              <a:t>. The Service Bus creates a secure channel between the Power BI service and your computer. Because the gateway starts this secure connection, there’s usually no need to open a port in your firewall because it is an outbound connection.</a:t>
            </a:r>
          </a:p>
          <a:p>
            <a:pPr marL="0" marR="0" indent="0" algn="l" defTabSz="914400" rtl="0" eaLnBrk="1" fontAlgn="auto" latinLnBrk="0" hangingPunct="1">
              <a:lnSpc>
                <a:spcPct val="100000"/>
              </a:lnSpc>
              <a:spcBef>
                <a:spcPts val="600"/>
              </a:spcBef>
              <a:spcAft>
                <a:spcPts val="0"/>
              </a:spcAft>
              <a:buClrTx/>
              <a:buSzTx/>
              <a:buFontTx/>
              <a:buNone/>
              <a:tabLst/>
              <a:defRPr/>
            </a:pPr>
            <a:r>
              <a:rPr lang="en-US" sz="1200" b="1">
                <a:solidFill>
                  <a:srgbClr val="000000"/>
                </a:solidFill>
                <a:cs typeface="Segoe UI Light" panose="020B0502040204020203" pitchFamily="34" charset="0"/>
              </a:rPr>
              <a:t>Works with</a:t>
            </a:r>
            <a:r>
              <a:rPr lang="en-US" sz="1200" b="1" baseline="0">
                <a:solidFill>
                  <a:srgbClr val="000000"/>
                </a:solidFill>
                <a:cs typeface="Segoe UI Light" panose="020B0502040204020203" pitchFamily="34" charset="0"/>
              </a:rPr>
              <a:t> multiple</a:t>
            </a:r>
            <a:r>
              <a:rPr lang="en-US" sz="1200" b="1">
                <a:solidFill>
                  <a:srgbClr val="000000"/>
                </a:solidFill>
                <a:cs typeface="Segoe UI Light" panose="020B0502040204020203" pitchFamily="34" charset="0"/>
              </a:rPr>
              <a:t> services: </a:t>
            </a:r>
            <a:r>
              <a:rPr lang="en-US" sz="1200" b="0" baseline="0">
                <a:solidFill>
                  <a:srgbClr val="000000"/>
                </a:solidFill>
                <a:cs typeface="Segoe UI Light" panose="020B0502040204020203" pitchFamily="34" charset="0"/>
              </a:rPr>
              <a:t>Power BI,</a:t>
            </a:r>
            <a:r>
              <a:rPr lang="en-US" sz="1200" kern="1200">
                <a:solidFill>
                  <a:schemeClr val="tx1"/>
                </a:solidFill>
                <a:latin typeface="+mn-lt"/>
                <a:ea typeface="Calibri" panose="020F0502020204030204" pitchFamily="34" charset="0"/>
                <a:cs typeface="Times New Roman" panose="02020603050405020304" pitchFamily="18" charset="0"/>
              </a:rPr>
              <a:t> </a:t>
            </a:r>
            <a:r>
              <a:rPr lang="en-US" sz="1200" kern="1200" err="1">
                <a:solidFill>
                  <a:schemeClr val="tx1"/>
                </a:solidFill>
                <a:latin typeface="+mn-lt"/>
                <a:ea typeface="Calibri" panose="020F0502020204030204" pitchFamily="34" charset="0"/>
                <a:cs typeface="Times New Roman" panose="02020603050405020304" pitchFamily="18" charset="0"/>
              </a:rPr>
              <a:t>PowerApps</a:t>
            </a:r>
            <a:r>
              <a:rPr lang="en-US" sz="1200" kern="1200">
                <a:solidFill>
                  <a:schemeClr val="tx1"/>
                </a:solidFill>
                <a:latin typeface="+mn-lt"/>
                <a:ea typeface="Calibri" panose="020F0502020204030204" pitchFamily="34" charset="0"/>
                <a:cs typeface="Times New Roman" panose="02020603050405020304" pitchFamily="18" charset="0"/>
              </a:rPr>
              <a:t>, Microsoft Flow, Azure Logic Apps</a:t>
            </a:r>
          </a:p>
          <a:p>
            <a:pPr defTabSz="914400">
              <a:lnSpc>
                <a:spcPct val="100000"/>
              </a:lnSpc>
              <a:spcBef>
                <a:spcPts val="0"/>
              </a:spcBef>
              <a:buSzTx/>
              <a:buFont typeface="Arial" panose="020B0604020202020204" pitchFamily="34" charset="0"/>
              <a:buNone/>
              <a:defRPr/>
            </a:pPr>
            <a:r>
              <a:rPr lang="en-US" b="1"/>
              <a:t>Disaster recovery and gateway restore: </a:t>
            </a:r>
            <a:r>
              <a:rPr lang="en-US"/>
              <a:t>Gateway admin can use the recovery key to restore a gateway to a different machine. Once a gateway is restored, all data sources and credentials will continue to work through the new gateway. Restored gateway will have the same name, so no need for re-publish.</a:t>
            </a:r>
          </a:p>
          <a:p>
            <a:pPr marL="0" marR="0" indent="0" algn="l" defTabSz="914400" rtl="0" eaLnBrk="1" fontAlgn="auto" latinLnBrk="0" hangingPunct="1">
              <a:lnSpc>
                <a:spcPct val="100000"/>
              </a:lnSpc>
              <a:spcBef>
                <a:spcPts val="600"/>
              </a:spcBef>
              <a:spcAft>
                <a:spcPts val="0"/>
              </a:spcAft>
              <a:buClrTx/>
              <a:buSzTx/>
              <a:buFontTx/>
              <a:buNone/>
              <a:tabLst/>
              <a:defRPr/>
            </a:pPr>
            <a:endParaRPr lang="en-US" sz="1200" b="1" kern="1200">
              <a:solidFill>
                <a:schemeClr val="tx1"/>
              </a:solidFill>
              <a:latin typeface="+mn-lt"/>
              <a:ea typeface="Calibri" panose="020F0502020204030204" pitchFamily="34" charset="0"/>
              <a:cs typeface="Times New Roman" panose="02020603050405020304" pitchFamily="18" charset="0"/>
            </a:endParaRPr>
          </a:p>
          <a:p>
            <a:pPr marL="0" marR="0" indent="0" algn="l" defTabSz="914400" rtl="0" eaLnBrk="1" fontAlgn="auto" latinLnBrk="0" hangingPunct="1">
              <a:lnSpc>
                <a:spcPct val="100000"/>
              </a:lnSpc>
              <a:spcBef>
                <a:spcPts val="600"/>
              </a:spcBef>
              <a:spcAft>
                <a:spcPts val="0"/>
              </a:spcAft>
              <a:buClrTx/>
              <a:buSzTx/>
              <a:buFontTx/>
              <a:buNone/>
              <a:tabLst/>
              <a:defRPr/>
            </a:pPr>
            <a:endParaRPr lang="en-US" sz="1200" b="1">
              <a:solidFill>
                <a:srgbClr val="000000"/>
              </a:solidFill>
              <a:cs typeface="Segoe UI Light" panose="020B0502040204020203"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b="0" i="0" baseline="0">
              <a:solidFill>
                <a:srgbClr val="000000"/>
              </a:solidFill>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b="1" i="0" baseline="0">
              <a:solidFill>
                <a:srgbClr val="D2D2D2">
                  <a:lumMod val="50000"/>
                </a:srgbClr>
              </a:solidFill>
            </a:endParaRPr>
          </a:p>
        </p:txBody>
      </p:sp>
      <p:sp>
        <p:nvSpPr>
          <p:cNvPr id="4" name="Header Placeholder 3"/>
          <p:cNvSpPr>
            <a:spLocks noGrp="1"/>
          </p:cNvSpPr>
          <p:nvPr>
            <p:ph type="hdr" sz="quarter" idx="10"/>
          </p:nvPr>
        </p:nvSpPr>
        <p:spPr/>
        <p:txBody>
          <a:bodyPr/>
          <a:lstStyle/>
          <a:p>
            <a:endParaRPr lang="en-US">
              <a:solidFill>
                <a:prstClr val="black"/>
              </a:solidFill>
            </a:endParaRPr>
          </a:p>
        </p:txBody>
      </p:sp>
      <p:sp>
        <p:nvSpPr>
          <p:cNvPr id="5" name="Footer Placeholder 4"/>
          <p:cNvSpPr>
            <a:spLocks noGrp="1"/>
          </p:cNvSpPr>
          <p:nvPr>
            <p:ph type="ftr" sz="quarter" idx="11"/>
          </p:nvPr>
        </p:nvSpPr>
        <p:spPr/>
        <p:txBody>
          <a:bodyPr/>
          <a:lstStyle/>
          <a:p>
            <a:pPr defTabSz="922783"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22783"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9F34A55B-0232-4B2A-8DB0-D59B999B87D7}" type="datetime1">
              <a:rPr lang="en-US" smtClean="0">
                <a:solidFill>
                  <a:prstClr val="black"/>
                </a:solidFill>
              </a:rPr>
              <a:pPr/>
              <a:t>11/24/2020</a:t>
            </a:fld>
            <a:endParaRPr lang="en-US">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8</a:t>
            </a:fld>
            <a:endParaRPr lang="en-US">
              <a:solidFill>
                <a:prstClr val="black"/>
              </a:solidFill>
            </a:endParaRPr>
          </a:p>
        </p:txBody>
      </p:sp>
    </p:spTree>
    <p:extLst>
      <p:ext uri="{BB962C8B-B14F-4D97-AF65-F5344CB8AC3E}">
        <p14:creationId xmlns:p14="http://schemas.microsoft.com/office/powerpoint/2010/main" val="344107537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Key message:</a:t>
            </a:r>
          </a:p>
          <a:p>
            <a:r>
              <a:rPr lang="en-US" baseline="0" dirty="0"/>
              <a:t>Power BI helps your organization to drive user adoption with intuitive and familiar tools and collaboration features</a:t>
            </a:r>
          </a:p>
          <a:p>
            <a:endParaRPr lang="en-US" baseline="0" dirty="0"/>
          </a:p>
          <a:p>
            <a:r>
              <a:rPr lang="en-US" b="1" baseline="0" dirty="0"/>
              <a:t>Talking points:</a:t>
            </a:r>
          </a:p>
          <a:p>
            <a:pPr marL="0" marR="0" lvl="1" indent="0" algn="l" defTabSz="914400" rtl="0" eaLnBrk="1" fontAlgn="auto" latinLnBrk="0" hangingPunct="1">
              <a:lnSpc>
                <a:spcPct val="100000"/>
              </a:lnSpc>
              <a:spcBef>
                <a:spcPts val="0"/>
              </a:spcBef>
              <a:spcAft>
                <a:spcPts val="0"/>
              </a:spcAft>
              <a:buClrTx/>
              <a:buSzTx/>
              <a:buFontTx/>
              <a:buNone/>
              <a:tabLst/>
              <a:defRPr/>
            </a:pPr>
            <a:r>
              <a:rPr lang="en-US" b="1" baseline="0" dirty="0"/>
              <a:t>For IT: </a:t>
            </a:r>
            <a:r>
              <a:rPr lang="en-US" b="0" baseline="0" dirty="0"/>
              <a:t>a</a:t>
            </a:r>
            <a:r>
              <a:rPr lang="en-US" sz="1200" kern="1200" dirty="0">
                <a:solidFill>
                  <a:schemeClr val="tx1"/>
                </a:solidFill>
                <a:latin typeface="+mn-lt"/>
                <a:ea typeface="Calibri" panose="020F0502020204030204" pitchFamily="34" charset="0"/>
                <a:cs typeface="Times New Roman" panose="02020603050405020304" pitchFamily="18" charset="0"/>
              </a:rPr>
              <a:t>dministering Power BI tenants, users, and groups is the same as administering them in Office 365</a:t>
            </a:r>
          </a:p>
          <a:p>
            <a:r>
              <a:rPr lang="en-US" b="1" baseline="0" dirty="0"/>
              <a:t>For the analyst: </a:t>
            </a:r>
            <a:r>
              <a:rPr lang="en-US" b="0" baseline="0" dirty="0"/>
              <a:t>familiar tools for data preparation, modeling, and report creation – Power BI Desktop and Excel</a:t>
            </a:r>
            <a:endParaRPr lang="en-US" b="1" baseline="0" dirty="0"/>
          </a:p>
          <a:p>
            <a:pPr fontAlgn="base"/>
            <a:r>
              <a:rPr lang="en-US" sz="1200" b="1" i="0" kern="1200" dirty="0">
                <a:solidFill>
                  <a:schemeClr val="tx1"/>
                </a:solidFill>
                <a:effectLst/>
              </a:rPr>
              <a:t>For</a:t>
            </a:r>
            <a:r>
              <a:rPr lang="en-US" sz="1200" b="1" i="0" kern="1200" baseline="0" dirty="0">
                <a:solidFill>
                  <a:schemeClr val="tx1"/>
                </a:solidFill>
                <a:effectLst/>
              </a:rPr>
              <a:t> the end user:</a:t>
            </a:r>
          </a:p>
          <a:p>
            <a:pPr fontAlgn="base"/>
            <a:r>
              <a:rPr lang="en-US" sz="1200" b="1" i="0" kern="1200" dirty="0">
                <a:solidFill>
                  <a:schemeClr val="tx1"/>
                </a:solidFill>
                <a:effectLst/>
              </a:rPr>
              <a:t>Share a dashboard with colleagues and others</a:t>
            </a:r>
          </a:p>
          <a:p>
            <a:pPr fontAlgn="base"/>
            <a:r>
              <a:rPr lang="en-US" sz="2000" b="0" i="0" kern="1200" dirty="0">
                <a:solidFill>
                  <a:schemeClr val="tx1"/>
                </a:solidFill>
                <a:effectLst/>
                <a:latin typeface="+mn-lt"/>
                <a:ea typeface="+mn-ea"/>
                <a:cs typeface="+mn-cs"/>
              </a:rPr>
              <a:t>When you share a dashboard, those you share it with can view it and interact with it, but can't edit it. They can see the same data that you see in the dashboard and reports. Your colleagues can share the dashboard with other colleagues, if you allow them to. Those outside your organization can view and interact with the dashboard, but can't share it.</a:t>
            </a:r>
            <a:r>
              <a:rPr lang="en-US" sz="1200" b="0" i="0" kern="1200" dirty="0">
                <a:solidFill>
                  <a:schemeClr val="tx1"/>
                </a:solidFill>
                <a:effectLst/>
              </a:rPr>
              <a:t>.</a:t>
            </a:r>
          </a:p>
          <a:p>
            <a:pPr marL="171450" indent="-171450">
              <a:buFont typeface="Arial" panose="020B0604020202020204" pitchFamily="34" charset="0"/>
              <a:buChar char="•"/>
            </a:pPr>
            <a:r>
              <a:rPr lang="en-US" sz="1200" baseline="0" dirty="0"/>
              <a:t>Make changes to dashboard after you’ve sent it out, and it will automatically sync across all users</a:t>
            </a:r>
          </a:p>
          <a:p>
            <a:pPr marL="171450" indent="-171450">
              <a:buFont typeface="Arial" panose="020B0604020202020204" pitchFamily="34" charset="0"/>
              <a:buChar char="•"/>
            </a:pPr>
            <a:r>
              <a:rPr lang="en-US" sz="1200" baseline="0" dirty="0"/>
              <a:t>Share only your </a:t>
            </a:r>
            <a:r>
              <a:rPr lang="en-US" sz="1200" dirty="0"/>
              <a:t>dashboard</a:t>
            </a:r>
            <a:r>
              <a:rPr lang="en-US" sz="1200" baseline="0" dirty="0"/>
              <a:t>, keeping access to the source data and reports secure. </a:t>
            </a:r>
            <a:r>
              <a:rPr lang="en-US" sz="1200" dirty="0"/>
              <a:t>What</a:t>
            </a:r>
            <a:r>
              <a:rPr lang="en-US" sz="1200" baseline="0" dirty="0"/>
              <a:t> this means: </a:t>
            </a:r>
            <a:r>
              <a:rPr lang="en-US" sz="1200" dirty="0"/>
              <a:t>Users who receiving a sharing invitation cannot change filters or drill down into data  - they only see</a:t>
            </a:r>
            <a:r>
              <a:rPr lang="en-US" sz="1200" baseline="0" dirty="0"/>
              <a:t> what’s in the dashboard</a:t>
            </a:r>
          </a:p>
          <a:p>
            <a:pPr marL="171450" indent="-171450">
              <a:buFont typeface="Arial" panose="020B0604020202020204" pitchFamily="34" charset="0"/>
              <a:buChar char="•"/>
            </a:pPr>
            <a:r>
              <a:rPr lang="en-US" sz="1200" baseline="0" dirty="0"/>
              <a:t>Manage who can re-share dashboards with others</a:t>
            </a:r>
          </a:p>
          <a:p>
            <a:pPr marL="171450" indent="-171450">
              <a:buFont typeface="Arial" panose="020B0604020202020204" pitchFamily="34" charset="0"/>
              <a:buChar char="•"/>
            </a:pPr>
            <a:r>
              <a:rPr lang="en-US" sz="1200" dirty="0"/>
              <a:t>Share dashboards b</a:t>
            </a:r>
            <a:r>
              <a:rPr lang="en-US" sz="2800" dirty="0">
                <a:solidFill>
                  <a:schemeClr val="tx1"/>
                </a:solidFill>
                <a:ea typeface="Calibri" panose="020F0502020204030204" pitchFamily="34" charset="0"/>
                <a:cs typeface="Times New Roman" panose="02020603050405020304" pitchFamily="18" charset="0"/>
              </a:rPr>
              <a:t>ased on email or O365 distribution group</a:t>
            </a:r>
          </a:p>
          <a:p>
            <a:pPr marL="171450" indent="-171450">
              <a:buFont typeface="Arial" panose="020B0604020202020204" pitchFamily="34" charset="0"/>
              <a:buChar char="•"/>
            </a:pPr>
            <a:r>
              <a:rPr lang="en-US" sz="1200" dirty="0"/>
              <a:t>Share without email notification, copy and share a link instead, e.g. on another portal</a:t>
            </a:r>
          </a:p>
          <a:p>
            <a:pPr marL="171450" indent="-171450">
              <a:buFont typeface="Arial" panose="020B0604020202020204" pitchFamily="34" charset="0"/>
              <a:buChar char="•"/>
            </a:pPr>
            <a:r>
              <a:rPr lang="en-US" sz="1200" dirty="0"/>
              <a:t>People picker with autocomplete as you start typing the name of recipients</a:t>
            </a:r>
          </a:p>
          <a:p>
            <a:pPr marL="171450" indent="-171450">
              <a:buFont typeface="Arial" panose="020B0604020202020204" pitchFamily="34" charset="0"/>
              <a:buChar char="•"/>
            </a:pPr>
            <a:r>
              <a:rPr lang="en-US" sz="1200" dirty="0"/>
              <a:t>Copy/paste large number of email addresses you want to share with, e.g. copy directly from Outlook</a:t>
            </a:r>
          </a:p>
          <a:p>
            <a:pPr marL="171450" indent="-171450">
              <a:buFont typeface="Arial" panose="020B0604020202020204" pitchFamily="34" charset="0"/>
              <a:buChar char="•"/>
            </a:pPr>
            <a:r>
              <a:rPr lang="en-US" sz="1200" dirty="0"/>
              <a:t>Collapse navigation pane with URL parameter</a:t>
            </a:r>
          </a:p>
          <a:p>
            <a:endParaRPr lang="en-US" sz="1200" b="0" i="0" kern="1200" dirty="0">
              <a:solidFill>
                <a:schemeClr val="tx1"/>
              </a:solidFill>
              <a:effectLst/>
            </a:endParaRPr>
          </a:p>
          <a:p>
            <a:pPr fontAlgn="base"/>
            <a:r>
              <a:rPr lang="en-US" sz="1200" b="1" i="0" kern="1200" dirty="0">
                <a:solidFill>
                  <a:schemeClr val="tx1"/>
                </a:solidFill>
                <a:effectLst/>
              </a:rPr>
              <a:t>Collaborate in a group workspace</a:t>
            </a:r>
          </a:p>
          <a:p>
            <a:pPr marL="171450" indent="-171450">
              <a:buFont typeface="Arial" panose="020B0604020202020204" pitchFamily="34" charset="0"/>
              <a:buChar char="•"/>
            </a:pPr>
            <a:r>
              <a:rPr lang="en-US" sz="2000" b="0" i="0" kern="1200" dirty="0">
                <a:solidFill>
                  <a:schemeClr val="tx1"/>
                </a:solidFill>
                <a:effectLst/>
                <a:latin typeface="+mn-lt"/>
                <a:ea typeface="+mn-ea"/>
                <a:cs typeface="+mn-cs"/>
              </a:rPr>
              <a:t>Groups in Power BI are built on Office 365 groups, so you and your colleagues need a Power BI Pro license. When you're a member of a group, you can create a dashboard in the group workspace. Everyone in the group can view, interact with, and edit the dashboard and its reports. They have the same permission you have</a:t>
            </a:r>
          </a:p>
          <a:p>
            <a:pPr marL="0" indent="0">
              <a:buFont typeface="Arial" panose="020B0604020202020204" pitchFamily="34" charset="0"/>
              <a:buNone/>
            </a:pPr>
            <a:endParaRPr lang="en-US" sz="1200" b="0" i="0" kern="1200" dirty="0">
              <a:solidFill>
                <a:schemeClr val="tx1"/>
              </a:solidFill>
              <a:effectLst/>
            </a:endParaRPr>
          </a:p>
          <a:p>
            <a:pPr fontAlgn="base"/>
            <a:r>
              <a:rPr lang="en-US" sz="1200" b="1" i="0" kern="1200" dirty="0">
                <a:solidFill>
                  <a:schemeClr val="tx1"/>
                </a:solidFill>
                <a:effectLst/>
              </a:rPr>
              <a:t>Create a content pack and publish it</a:t>
            </a:r>
          </a:p>
          <a:p>
            <a:pPr marL="171450" indent="-171450">
              <a:buFont typeface="Arial" panose="020B0604020202020204" pitchFamily="34" charset="0"/>
              <a:buChar char="•"/>
            </a:pPr>
            <a:r>
              <a:rPr lang="en-US" sz="1200" b="0" i="0" kern="1200" dirty="0">
                <a:solidFill>
                  <a:schemeClr val="tx1"/>
                </a:solidFill>
                <a:effectLst/>
              </a:rPr>
              <a:t>Content packs are a great way to share your Power BI insights with your colleagues. </a:t>
            </a:r>
          </a:p>
          <a:p>
            <a:pPr marL="171450" indent="-171450">
              <a:buFont typeface="Arial" panose="020B0604020202020204" pitchFamily="34" charset="0"/>
              <a:buChar char="•"/>
            </a:pPr>
            <a:r>
              <a:rPr lang="en-US" sz="1200" b="0" i="0" kern="1200" dirty="0">
                <a:solidFill>
                  <a:schemeClr val="tx1"/>
                </a:solidFill>
                <a:effectLst/>
              </a:rPr>
              <a:t>You create a dashboard with its reports and datasets, and then publish them all together as a content pack -- either for your whole organization or for those in a specific security group or distribution list. When those colleagues go to the Content Pack Library for their organization, they see your content pack along with any others they have permission to see</a:t>
            </a:r>
          </a:p>
          <a:p>
            <a:endParaRPr lang="en-US" dirty="0"/>
          </a:p>
          <a:p>
            <a:endParaRPr lang="en-US" dirty="0"/>
          </a:p>
        </p:txBody>
      </p:sp>
      <p:sp>
        <p:nvSpPr>
          <p:cNvPr id="4" name="Header Placeholder 3"/>
          <p:cNvSpPr>
            <a:spLocks noGrp="1"/>
          </p:cNvSpPr>
          <p:nvPr>
            <p:ph type="hdr" sz="quarter" idx="10"/>
          </p:nvPr>
        </p:nvSpPr>
        <p:spPr/>
        <p:txBody>
          <a:bodyPr/>
          <a:lstStyle/>
          <a:p>
            <a:endParaRPr lang="en-US">
              <a:solidFill>
                <a:prstClr val="black"/>
              </a:solidFill>
            </a:endParaRPr>
          </a:p>
        </p:txBody>
      </p:sp>
      <p:sp>
        <p:nvSpPr>
          <p:cNvPr id="5" name="Footer Placeholder 4"/>
          <p:cNvSpPr>
            <a:spLocks noGrp="1"/>
          </p:cNvSpPr>
          <p:nvPr>
            <p:ph type="ftr" sz="quarter" idx="11"/>
          </p:nvPr>
        </p:nvSpPr>
        <p:spPr/>
        <p:txBody>
          <a:bodyPr/>
          <a:lstStyle/>
          <a:p>
            <a:pPr defTabSz="922783"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22783"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9F34A55B-0232-4B2A-8DB0-D59B999B87D7}" type="datetime1">
              <a:rPr lang="en-US" smtClean="0">
                <a:solidFill>
                  <a:prstClr val="black"/>
                </a:solidFill>
              </a:rPr>
              <a:pPr/>
              <a:t>11/24/2020</a:t>
            </a:fld>
            <a:endParaRPr lang="en-US">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9</a:t>
            </a:fld>
            <a:endParaRPr lang="en-US">
              <a:solidFill>
                <a:prstClr val="black"/>
              </a:solidFill>
            </a:endParaRPr>
          </a:p>
        </p:txBody>
      </p:sp>
    </p:spTree>
    <p:extLst>
      <p:ext uri="{BB962C8B-B14F-4D97-AF65-F5344CB8AC3E}">
        <p14:creationId xmlns:p14="http://schemas.microsoft.com/office/powerpoint/2010/main" val="379462641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Key message:</a:t>
            </a:r>
          </a:p>
          <a:p>
            <a:r>
              <a:rPr lang="en-US" b="0" dirty="0"/>
              <a:t>There are common challenges that IT professionals are faced with when implementing a new BI solution</a:t>
            </a:r>
            <a:endParaRPr lang="en-US" b="0" dirty="0">
              <a:cs typeface="Calibri"/>
            </a:endParaRPr>
          </a:p>
          <a:p>
            <a:endParaRPr lang="en-US" sz="1200" kern="1200">
              <a:solidFill>
                <a:schemeClr val="tx1">
                  <a:lumMod val="75000"/>
                  <a:lumOff val="25000"/>
                </a:schemeClr>
              </a:solidFill>
              <a:latin typeface="+mn-lt"/>
              <a:ea typeface="Segoe UI" pitchFamily="34" charset="0"/>
              <a:cs typeface="Segoe UI" pitchFamily="34" charset="0"/>
            </a:endParaRPr>
          </a:p>
          <a:p>
            <a:r>
              <a:rPr lang="en-US" sz="1200" b="1" kern="1200" dirty="0">
                <a:solidFill>
                  <a:schemeClr val="tx1">
                    <a:lumMod val="75000"/>
                    <a:lumOff val="25000"/>
                  </a:schemeClr>
                </a:solidFill>
                <a:latin typeface="+mn-lt"/>
                <a:ea typeface="Segoe UI" pitchFamily="34" charset="0"/>
                <a:cs typeface="Calibri"/>
              </a:rPr>
              <a:t>Talking points:</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solidFill>
                  <a:srgbClr val="EDC30D"/>
                </a:solidFill>
                <a:latin typeface="Segoe UI Light"/>
                <a:ea typeface="Segoe UI" pitchFamily="34" charset="0"/>
                <a:cs typeface="Segoe UI Light"/>
              </a:rPr>
              <a:t>Management of BI systems</a:t>
            </a:r>
            <a:endParaRPr lang="en-US" sz="1200">
              <a:solidFill>
                <a:srgbClr val="EDC30D"/>
              </a:solidFill>
              <a:latin typeface="Segoe UI Light"/>
              <a:ea typeface="Segoe UI" pitchFamily="34" charset="0"/>
              <a:cs typeface="Segoe UI Light"/>
            </a:endParaRP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solidFill>
                  <a:srgbClr val="EDC30D"/>
                </a:solidFill>
                <a:latin typeface="Segoe UI Light"/>
                <a:ea typeface="Segoe UI" pitchFamily="34" charset="0"/>
                <a:cs typeface="Segoe UI Light"/>
              </a:rPr>
              <a:t>Variety of data sources</a:t>
            </a:r>
            <a:endParaRPr lang="en-US" sz="1200">
              <a:solidFill>
                <a:srgbClr val="EDC30D"/>
              </a:solidFill>
              <a:latin typeface="Segoe UI Light"/>
              <a:ea typeface="Segoe UI" pitchFamily="34" charset="0"/>
              <a:cs typeface="Segoe UI Light"/>
            </a:endParaRP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solidFill>
                  <a:srgbClr val="EDC30D"/>
                </a:solidFill>
                <a:latin typeface="Segoe UI Light"/>
                <a:ea typeface="Segoe UI" pitchFamily="34" charset="0"/>
                <a:cs typeface="Segoe UI Light"/>
              </a:rPr>
              <a:t>Managing data in the cloud</a:t>
            </a:r>
            <a:endParaRPr lang="en-US" sz="1200">
              <a:solidFill>
                <a:srgbClr val="EDC30D"/>
              </a:solidFill>
              <a:latin typeface="Segoe UI Light"/>
              <a:ea typeface="Segoe UI" pitchFamily="34" charset="0"/>
              <a:cs typeface="Segoe UI Light"/>
            </a:endParaRP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solidFill>
                  <a:srgbClr val="EDC30D"/>
                </a:solidFill>
                <a:latin typeface="Segoe UI Light"/>
                <a:ea typeface="Segoe UI" pitchFamily="34" charset="0"/>
                <a:cs typeface="Segoe UI Light"/>
              </a:rPr>
              <a:t>Integration with existing environment</a:t>
            </a:r>
            <a:endParaRPr lang="en-US" sz="1200">
              <a:solidFill>
                <a:srgbClr val="EDC30D"/>
              </a:solidFill>
              <a:latin typeface="Segoe UI Light"/>
              <a:ea typeface="Segoe UI" pitchFamily="34" charset="0"/>
              <a:cs typeface="Segoe UI Light"/>
            </a:endParaRP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solidFill>
                  <a:srgbClr val="EDC30D"/>
                </a:solidFill>
                <a:latin typeface="Segoe UI Light"/>
                <a:ea typeface="Segoe UI" pitchFamily="34" charset="0"/>
                <a:cs typeface="Segoe UI Light"/>
              </a:rPr>
              <a:t>Keeping data current</a:t>
            </a:r>
            <a:endParaRPr lang="en-US" sz="1200">
              <a:solidFill>
                <a:srgbClr val="EDC30D"/>
              </a:solidFill>
              <a:latin typeface="Segoe UI Light"/>
              <a:ea typeface="Segoe UI" pitchFamily="34" charset="0"/>
              <a:cs typeface="Segoe UI Light"/>
            </a:endParaRP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solidFill>
                  <a:srgbClr val="EDC30D"/>
                </a:solidFill>
                <a:latin typeface="Segoe UI Light"/>
                <a:ea typeface="Segoe UI" pitchFamily="34" charset="0"/>
                <a:cs typeface="Segoe UI Light"/>
              </a:rPr>
              <a:t>Ease of use and adoption</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a:solidFill>
                <a:srgbClr val="EDC30D"/>
              </a:solidFill>
              <a:latin typeface="Segoe UI Light"/>
              <a:ea typeface="Segoe UI" pitchFamily="34" charset="0"/>
              <a:cs typeface="Segoe UI"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a:solidFill>
                <a:srgbClr val="EDC30D"/>
              </a:solidFill>
              <a:latin typeface="Segoe UI Light"/>
              <a:ea typeface="Segoe UI" pitchFamily="34" charset="0"/>
              <a:cs typeface="Segoe UI"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a:solidFill>
                <a:srgbClr val="EDC30D"/>
              </a:solidFill>
              <a:latin typeface="Segoe UI Light"/>
              <a:ea typeface="Segoe UI" pitchFamily="34" charset="0"/>
              <a:cs typeface="Segoe UI"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a:solidFill>
                <a:srgbClr val="EDC30D"/>
              </a:solidFill>
              <a:latin typeface="Segoe UI Light"/>
              <a:ea typeface="Segoe UI" pitchFamily="34" charset="0"/>
              <a:cs typeface="Segoe UI" pitchFamily="34" charset="0"/>
            </a:endParaRPr>
          </a:p>
          <a:p>
            <a:endParaRPr lang="en-US"/>
          </a:p>
        </p:txBody>
      </p:sp>
      <p:sp>
        <p:nvSpPr>
          <p:cNvPr id="4" name="Slide Number Placeholder 3"/>
          <p:cNvSpPr>
            <a:spLocks noGrp="1"/>
          </p:cNvSpPr>
          <p:nvPr>
            <p:ph type="sldNum" sz="quarter" idx="10"/>
          </p:nvPr>
        </p:nvSpPr>
        <p:spPr/>
        <p:txBody>
          <a:bodyPr/>
          <a:lstStyle/>
          <a:p>
            <a:fld id="{13329DEA-6433-4493-B9C4-3E0AC755FE5D}" type="slidenum">
              <a:rPr lang="en-US" smtClean="0">
                <a:solidFill>
                  <a:prstClr val="black"/>
                </a:solidFill>
              </a:rPr>
              <a:pPr/>
              <a:t>2</a:t>
            </a:fld>
            <a:endParaRPr lang="en-US">
              <a:solidFill>
                <a:prstClr val="black"/>
              </a:solidFill>
            </a:endParaRPr>
          </a:p>
        </p:txBody>
      </p:sp>
    </p:spTree>
    <p:extLst>
      <p:ext uri="{BB962C8B-B14F-4D97-AF65-F5344CB8AC3E}">
        <p14:creationId xmlns:p14="http://schemas.microsoft.com/office/powerpoint/2010/main" val="331346114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81A89D-8738-4ED5-BF6E-F438F4965D3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6571815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1"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b="1"/>
              <a:t>Key message:</a:t>
            </a:r>
          </a:p>
          <a:p>
            <a:pPr marL="0" marR="0" lvl="1"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a:t>Power BI Desktop allows you to connect to </a:t>
            </a:r>
            <a:r>
              <a:rPr lang="en-US" baseline="0"/>
              <a:t>data sources beyond what powerbi.com supports – </a:t>
            </a:r>
            <a:r>
              <a:rPr lang="en-US" i="1" u="sng" baseline="0"/>
              <a:t>constantly working and adding new data sources</a:t>
            </a:r>
          </a:p>
          <a:p>
            <a:pPr marL="0" marR="0" lvl="1"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b="1"/>
          </a:p>
          <a:p>
            <a:pPr marL="0" indent="0">
              <a:buFont typeface="Arial" panose="020B0604020202020204" pitchFamily="34" charset="0"/>
              <a:buNone/>
            </a:pPr>
            <a:endParaRPr lang="en-US"/>
          </a:p>
          <a:p>
            <a:pPr marL="0" indent="0">
              <a:buFont typeface="Arial" panose="020B0604020202020204" pitchFamily="34" charset="0"/>
              <a:buNone/>
            </a:pPr>
            <a:r>
              <a:rPr lang="en-US" b="1"/>
              <a:t>Talking points:</a:t>
            </a:r>
          </a:p>
          <a:p>
            <a:pPr marL="171450" lvl="0" indent="-171450">
              <a:buFont typeface="Arial" panose="020B0604020202020204" pitchFamily="34" charset="0"/>
              <a:buChar char="•"/>
            </a:pPr>
            <a:r>
              <a:rPr lang="en-US" baseline="0"/>
              <a:t>The four major categories of data source are files, databases, Azure services and other (SaaS category was removed)</a:t>
            </a:r>
          </a:p>
          <a:p>
            <a:pPr marL="171450" lvl="0" indent="-171450">
              <a:buFont typeface="Arial" panose="020B0604020202020204" pitchFamily="34" charset="0"/>
              <a:buChar char="•"/>
            </a:pPr>
            <a:r>
              <a:rPr lang="en-US" sz="1200" baseline="0"/>
              <a:t>Power BI Desktop supports a number of data sources that other competing services do not</a:t>
            </a:r>
            <a:endParaRPr lang="en-US" baseline="0"/>
          </a:p>
          <a:p>
            <a:pPr marL="171450" indent="-171450">
              <a:buFont typeface="Arial" panose="020B0604020202020204" pitchFamily="34" charset="0"/>
              <a:buChar char="•"/>
            </a:pPr>
            <a:r>
              <a:rPr lang="en-GB" sz="1200"/>
              <a:t>Navigate data quickly with in-memory processing that optimizes performance or use live query for</a:t>
            </a:r>
            <a:r>
              <a:rPr lang="en-GB" sz="1200" baseline="0"/>
              <a:t> direct access to the data sources</a:t>
            </a:r>
          </a:p>
          <a:p>
            <a:pPr marL="171450" indent="-171450">
              <a:buFont typeface="Arial" panose="020B0604020202020204" pitchFamily="34" charset="0"/>
              <a:buChar char="•"/>
            </a:pPr>
            <a:r>
              <a:rPr lang="en-GB" sz="1200"/>
              <a:t>Pare down datasets to only what’s needed by editing queries before data </a:t>
            </a:r>
            <a:r>
              <a:rPr lang="en-US" sz="1200"/>
              <a:t>is loaded to Power BI Desktop</a:t>
            </a:r>
          </a:p>
          <a:p>
            <a:pPr marL="171450" indent="-171450">
              <a:buFont typeface="Arial" panose="020B0604020202020204" pitchFamily="34" charset="0"/>
              <a:buChar char="•"/>
            </a:pPr>
            <a:endParaRPr lang="en-US" sz="1200"/>
          </a:p>
          <a:p>
            <a:pPr marL="0" indent="0">
              <a:buFont typeface="Arial" panose="020B0604020202020204" pitchFamily="34" charset="0"/>
              <a:buNone/>
            </a:pPr>
            <a:r>
              <a:rPr lang="en-US" sz="1200"/>
              <a:t>https://powerbi.microsoft.com/en-us/documentation/powerbi-desktop-data-sources/</a:t>
            </a:r>
          </a:p>
          <a:p>
            <a:pPr marL="0" indent="0">
              <a:buFont typeface="Arial" panose="020B0604020202020204" pitchFamily="34" charset="0"/>
              <a:buNone/>
            </a:pPr>
            <a:endParaRPr lang="en-US" sz="1200"/>
          </a:p>
          <a:p>
            <a:pPr marL="0" indent="0">
              <a:buFont typeface="Arial" panose="020B0604020202020204" pitchFamily="34" charset="0"/>
              <a:buNone/>
            </a:pPr>
            <a:r>
              <a:rPr lang="en-US" sz="1200"/>
              <a:t>This is different</a:t>
            </a:r>
            <a:r>
              <a:rPr lang="en-US" sz="1200" baseline="0"/>
              <a:t> from Excel, a single place to get the data.</a:t>
            </a:r>
            <a:endParaRPr lang="en-US" sz="120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75C3270-D5B6-4AE0-BFEC-3BB548CBAE0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2741731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Give relevance</a:t>
            </a:r>
            <a:r>
              <a:rPr lang="en-US" baseline="0"/>
              <a:t> to the access to SSAS which can be to both tabular and multidimensional models</a:t>
            </a:r>
          </a:p>
          <a:p>
            <a:endParaRPr lang="en-US" baseline="0"/>
          </a:p>
          <a:p>
            <a:r>
              <a:rPr lang="en-US" baseline="0"/>
              <a:t>More about directquery on the following slide.</a:t>
            </a:r>
          </a:p>
          <a:p>
            <a:endParaRPr lang="en-US" baseline="0"/>
          </a:p>
          <a:p>
            <a:r>
              <a:rPr lang="en-US"/>
              <a:t>https://powerbi.microsoft.com/en-us/documentation/powerbi-desktop-data-sources/</a:t>
            </a:r>
          </a:p>
          <a:p>
            <a:r>
              <a:rPr lang="en-US"/>
              <a:t>https://powerbi.microsoft.com/en-us/documentation/powerbi-refresh-data/#live-connections-and-directquery-to-on-premises-data-sources</a:t>
            </a:r>
          </a:p>
          <a:p>
            <a:endParaRPr lang="en-US"/>
          </a:p>
          <a:p>
            <a:r>
              <a:rPr lang="en-US"/>
              <a:t>Some drivers are automatically installed with Power BI Desktop, like IBM DB2.</a:t>
            </a:r>
          </a:p>
          <a:p>
            <a:endParaRPr lang="en-US"/>
          </a:p>
          <a:p>
            <a:r>
              <a:rPr lang="en-US"/>
              <a:t>Access from web allows URL parametrization</a:t>
            </a:r>
            <a:r>
              <a:rPr lang="en-US" baseline="0"/>
              <a:t> which means parts of the URL can come from parameters.</a:t>
            </a:r>
            <a:endParaRPr lang="en-US"/>
          </a:p>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75C3270-D5B6-4AE0-BFEC-3BB548CBAE0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4942193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75C3270-D5B6-4AE0-BFEC-3BB548CBAE0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9169091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a:p>
        </p:txBody>
      </p:sp>
      <p:sp>
        <p:nvSpPr>
          <p:cNvPr id="4" name="Plassholder for lysbildenummer 3"/>
          <p:cNvSpPr>
            <a:spLocks noGrp="1"/>
          </p:cNvSpPr>
          <p:nvPr>
            <p:ph type="sldNum" sz="quarter" idx="10"/>
          </p:nvPr>
        </p:nvSpPr>
        <p:spPr/>
        <p:txBody>
          <a:bodyPr/>
          <a:lstStyle/>
          <a:p>
            <a:fld id="{EB20C58C-FFDB-469E-965A-A16F30368694}" type="slidenum">
              <a:rPr lang="en-US" smtClean="0"/>
              <a:t>24</a:t>
            </a:fld>
            <a:endParaRPr lang="en-US"/>
          </a:p>
        </p:txBody>
      </p:sp>
    </p:spTree>
    <p:extLst>
      <p:ext uri="{BB962C8B-B14F-4D97-AF65-F5344CB8AC3E}">
        <p14:creationId xmlns:p14="http://schemas.microsoft.com/office/powerpoint/2010/main" val="118282426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a:t>Prepare</a:t>
            </a:r>
            <a:r>
              <a:rPr lang="en-US" baseline="0"/>
              <a:t> and explore data intuitively, using functionality similar to that of Power Query for Excel</a:t>
            </a:r>
          </a:p>
          <a:p>
            <a:pPr marL="171450" indent="-171450">
              <a:buFont typeface="Arial" panose="020B0604020202020204" pitchFamily="34" charset="0"/>
              <a:buChar char="•"/>
            </a:pPr>
            <a:r>
              <a:rPr lang="en-GB" sz="1200"/>
              <a:t>Adjust, or shape, </a:t>
            </a:r>
            <a:r>
              <a:rPr lang="en-US" sz="1200"/>
              <a:t>data into the form and format that fits your needs</a:t>
            </a:r>
            <a:endParaRPr lang="en-US" sz="1200" baseline="0"/>
          </a:p>
          <a:p>
            <a:pPr marL="628650" lvl="1" indent="-171450">
              <a:buFont typeface="Arial" panose="020B0604020202020204" pitchFamily="34" charset="0"/>
              <a:buChar char="•"/>
            </a:pPr>
            <a:r>
              <a:rPr lang="en-US" sz="2000" baseline="0"/>
              <a:t>A few examples – you can </a:t>
            </a:r>
            <a:r>
              <a:rPr lang="en-GB" sz="2000"/>
              <a:t>adjust data type, remove columns, change table names </a:t>
            </a:r>
            <a:r>
              <a:rPr lang="en-GB" sz="2000" b="0" i="1" u="sng">
                <a:solidFill>
                  <a:srgbClr val="FF0000"/>
                </a:solidFill>
              </a:rPr>
              <a:t>and delete relationships</a:t>
            </a:r>
          </a:p>
          <a:p>
            <a:pPr marL="628650" lvl="1" indent="-171450">
              <a:buFont typeface="Arial" panose="020B0604020202020204" pitchFamily="34" charset="0"/>
              <a:buChar char="•"/>
            </a:pPr>
            <a:r>
              <a:rPr lang="en-GB" sz="1279"/>
              <a:t>Use the Applied Steps view in Query Settings to precisely tune how the data is shaped</a:t>
            </a:r>
            <a:r>
              <a:rPr lang="en-GB" sz="1279" baseline="0"/>
              <a:t> - e.g. </a:t>
            </a:r>
            <a:r>
              <a:rPr lang="en-GB" sz="1279"/>
              <a:t>adjust the order of data-shaping steps, or remove steps if needed</a:t>
            </a:r>
            <a:endParaRPr lang="en-US" baseline="0"/>
          </a:p>
          <a:p>
            <a:pPr marL="1085850" lvl="2" indent="-171450">
              <a:buFont typeface="Arial" panose="020B0604020202020204" pitchFamily="34" charset="0"/>
              <a:buChar char="•"/>
            </a:pPr>
            <a:r>
              <a:rPr lang="en-US" baseline="0"/>
              <a:t>Power Query records your sequence of data exploration activities, making it easy to re-apply them to additional sets of data</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a:gradFill>
                  <a:gsLst>
                    <a:gs pos="1250">
                      <a:schemeClr val="tx2"/>
                    </a:gs>
                    <a:gs pos="99000">
                      <a:schemeClr val="tx2"/>
                    </a:gs>
                  </a:gsLst>
                  <a:lin ang="5400000" scaled="0"/>
                </a:gradFill>
              </a:rPr>
              <a:t>Modify data types to support specific calculation requirements – some calculations require data</a:t>
            </a:r>
            <a:r>
              <a:rPr lang="en-US" sz="1200" baseline="0">
                <a:gradFill>
                  <a:gsLst>
                    <a:gs pos="1250">
                      <a:schemeClr val="tx2"/>
                    </a:gs>
                    <a:gs pos="99000">
                      <a:schemeClr val="tx2"/>
                    </a:gs>
                  </a:gsLst>
                  <a:lin ang="5400000" scaled="0"/>
                </a:gradFill>
              </a:rPr>
              <a:t> in a specific format</a:t>
            </a:r>
            <a:endParaRPr lang="en-US" baseline="0"/>
          </a:p>
          <a:p>
            <a:pPr marL="171450" indent="-171450">
              <a:buFont typeface="Arial" panose="020B0604020202020204" pitchFamily="34" charset="0"/>
              <a:buChar char="•"/>
            </a:pPr>
            <a:r>
              <a:rPr lang="en-US" baseline="0"/>
              <a:t>Combine data from different types of data sources to ensure consistent query semantics</a:t>
            </a:r>
          </a:p>
          <a:p>
            <a:pPr marL="171450" indent="-171450">
              <a:buFont typeface="Arial" panose="020B0604020202020204" pitchFamily="34" charset="0"/>
              <a:buChar char="•"/>
            </a:pPr>
            <a:r>
              <a:rPr lang="en-US" baseline="0"/>
              <a:t>Mashup data across multiple data sources into a single table to support advanced analysis and reporting</a:t>
            </a:r>
          </a:p>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75C3270-D5B6-4AE0-BFEC-3BB548CBAE0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10264026"/>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75C3270-D5B6-4AE0-BFEC-3BB548CBAE0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40032729"/>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75C3270-D5B6-4AE0-BFEC-3BB548CBAE0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3864618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75C3270-D5B6-4AE0-BFEC-3BB548CBAE0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6605903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75C3270-D5B6-4AE0-BFEC-3BB548CBAE0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7698279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kern="1200" dirty="0">
                <a:solidFill>
                  <a:schemeClr val="tx1"/>
                </a:solidFill>
                <a:latin typeface="+mn-lt"/>
                <a:ea typeface="+mn-ea"/>
                <a:cs typeface="+mn-cs"/>
              </a:rPr>
              <a:t>Key message:</a:t>
            </a:r>
          </a:p>
          <a:p>
            <a:r>
              <a:rPr lang="en-US" sz="1200" b="0" kern="1200" dirty="0">
                <a:solidFill>
                  <a:schemeClr val="tx1"/>
                </a:solidFill>
                <a:latin typeface="+mn-lt"/>
                <a:ea typeface="+mn-ea"/>
                <a:cs typeface="+mn-cs"/>
              </a:rPr>
              <a:t>There are several capabilities</a:t>
            </a:r>
            <a:r>
              <a:rPr lang="en-US" sz="1200" b="0" kern="1200" baseline="0" dirty="0">
                <a:solidFill>
                  <a:schemeClr val="tx1"/>
                </a:solidFill>
                <a:latin typeface="+mn-lt"/>
                <a:ea typeface="+mn-ea"/>
                <a:cs typeface="+mn-cs"/>
              </a:rPr>
              <a:t> that differentiate Power BI from other offerings in the market.</a:t>
            </a:r>
          </a:p>
          <a:p>
            <a:endParaRPr lang="en-US" sz="1200" b="0" kern="1200" baseline="0" dirty="0">
              <a:solidFill>
                <a:schemeClr val="tx1"/>
              </a:solidFill>
              <a:latin typeface="+mn-lt"/>
              <a:ea typeface="+mn-ea"/>
              <a:cs typeface="+mn-cs"/>
            </a:endParaRPr>
          </a:p>
          <a:p>
            <a:r>
              <a:rPr lang="en-US" sz="1200" b="1" kern="1200" baseline="0" dirty="0">
                <a:solidFill>
                  <a:schemeClr val="tx1"/>
                </a:solidFill>
                <a:latin typeface="+mn-lt"/>
                <a:ea typeface="+mn-ea"/>
                <a:cs typeface="+mn-cs"/>
              </a:rPr>
              <a:t>Talking points:</a:t>
            </a:r>
          </a:p>
          <a:p>
            <a:pPr defTabSz="914367"/>
            <a:r>
              <a:rPr lang="en-US" sz="1200" kern="1200" dirty="0">
                <a:gradFill>
                  <a:gsLst>
                    <a:gs pos="1250">
                      <a:srgbClr val="000000"/>
                    </a:gs>
                    <a:gs pos="99000">
                      <a:srgbClr val="000000"/>
                    </a:gs>
                  </a:gsLst>
                  <a:lin ang="5400000" scaled="0"/>
                </a:gradFill>
                <a:latin typeface="+mn-lt"/>
                <a:ea typeface="+mn-ea"/>
                <a:cs typeface="+mn-cs"/>
              </a:rPr>
              <a:t>What that means for the IT Pro – key benefits:</a:t>
            </a:r>
          </a:p>
          <a:p>
            <a:r>
              <a:rPr lang="en-US" sz="1200" b="0" kern="1200" dirty="0">
                <a:solidFill>
                  <a:schemeClr val="tx1"/>
                </a:solidFill>
                <a:effectLst/>
                <a:latin typeface="+mn-lt"/>
                <a:ea typeface="+mn-ea"/>
                <a:cs typeface="+mn-cs"/>
              </a:rPr>
              <a:t>-  Power BI is a cloud service which</a:t>
            </a:r>
            <a:r>
              <a:rPr lang="en-US" sz="1200" b="0" kern="1200" baseline="0" dirty="0">
                <a:solidFill>
                  <a:schemeClr val="tx1"/>
                </a:solidFill>
                <a:effectLst/>
                <a:latin typeface="+mn-lt"/>
                <a:ea typeface="+mn-ea"/>
                <a:cs typeface="+mn-cs"/>
              </a:rPr>
              <a:t> allows for f</a:t>
            </a:r>
            <a:r>
              <a:rPr lang="en-US" sz="1200" b="0" kern="1200" dirty="0">
                <a:solidFill>
                  <a:schemeClr val="tx1"/>
                </a:solidFill>
                <a:effectLst/>
                <a:latin typeface="+mn-lt"/>
                <a:ea typeface="+mn-ea"/>
                <a:cs typeface="+mn-cs"/>
              </a:rPr>
              <a:t>aster time to solution and ease of management.</a:t>
            </a:r>
          </a:p>
          <a:p>
            <a:r>
              <a:rPr lang="en-US" sz="1200" b="0" kern="1200" dirty="0">
                <a:solidFill>
                  <a:schemeClr val="tx1"/>
                </a:solidFill>
                <a:effectLst/>
                <a:latin typeface="+mn-lt"/>
                <a:ea typeface="+mn-ea"/>
                <a:cs typeface="+mn-cs"/>
              </a:rPr>
              <a:t>-  Connect live to your on-premises data (e.g. SSAS),</a:t>
            </a:r>
            <a:r>
              <a:rPr lang="en-US" sz="1200" b="0" kern="1200" baseline="0" dirty="0">
                <a:solidFill>
                  <a:schemeClr val="tx1"/>
                </a:solidFill>
                <a:effectLst/>
                <a:latin typeface="+mn-lt"/>
                <a:ea typeface="+mn-ea"/>
                <a:cs typeface="+mn-cs"/>
              </a:rPr>
              <a:t> no need to </a:t>
            </a:r>
            <a:r>
              <a:rPr lang="en-US" sz="1200" kern="1200" dirty="0">
                <a:solidFill>
                  <a:schemeClr val="tx1"/>
                </a:solidFill>
                <a:effectLst/>
                <a:latin typeface="+mn-lt"/>
                <a:ea typeface="+mn-ea"/>
                <a:cs typeface="+mn-cs"/>
              </a:rPr>
              <a:t>move your data to the cloud. </a:t>
            </a:r>
          </a:p>
          <a:p>
            <a:pPr marL="0" lvl="0" indent="0">
              <a:buFontTx/>
              <a:buNone/>
            </a:pPr>
            <a:r>
              <a:rPr lang="en-US" sz="1200" kern="1200" baseline="0" dirty="0">
                <a:solidFill>
                  <a:schemeClr val="tx1"/>
                </a:solidFill>
                <a:effectLst/>
                <a:latin typeface="+mn-lt"/>
                <a:ea typeface="+mn-ea"/>
                <a:cs typeface="+mn-cs"/>
              </a:rPr>
              <a:t>-  Schedule </a:t>
            </a:r>
            <a:r>
              <a:rPr lang="en-US" sz="1200" kern="1200" dirty="0">
                <a:solidFill>
                  <a:schemeClr val="tx1"/>
                </a:solidFill>
                <a:effectLst/>
                <a:latin typeface="+mn-lt"/>
                <a:ea typeface="+mn-ea"/>
                <a:cs typeface="+mn-cs"/>
              </a:rPr>
              <a:t>data refresh for on-premises data sources </a:t>
            </a:r>
          </a:p>
          <a:p>
            <a:r>
              <a:rPr lang="en-US" sz="1200" kern="1200" dirty="0">
                <a:solidFill>
                  <a:schemeClr val="tx1"/>
                </a:solidFill>
                <a:effectLst/>
                <a:latin typeface="+mn-lt"/>
                <a:ea typeface="+mn-ea"/>
                <a:cs typeface="+mn-cs"/>
              </a:rPr>
              <a:t>-  </a:t>
            </a:r>
            <a:r>
              <a:rPr lang="en-US" sz="1200" b="0" kern="1200" dirty="0">
                <a:solidFill>
                  <a:schemeClr val="tx1"/>
                </a:solidFill>
                <a:effectLst/>
                <a:latin typeface="+mn-lt"/>
                <a:ea typeface="+mn-ea"/>
                <a:cs typeface="+mn-cs"/>
              </a:rPr>
              <a:t>Connect live to your cloud-based data,</a:t>
            </a:r>
            <a:r>
              <a:rPr lang="en-US" sz="1200" b="0" kern="1200" baseline="0" dirty="0">
                <a:solidFill>
                  <a:schemeClr val="tx1"/>
                </a:solidFill>
                <a:effectLst/>
                <a:latin typeface="+mn-lt"/>
                <a:ea typeface="+mn-ea"/>
                <a:cs typeface="+mn-cs"/>
              </a:rPr>
              <a:t> e.g. Azure based data services, Dynamics CRM or other SaaS applications</a:t>
            </a:r>
            <a:endParaRPr lang="en-US" sz="1200" b="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  </a:t>
            </a:r>
            <a:r>
              <a:rPr lang="en-US" sz="1200" b="0" kern="1200" dirty="0">
                <a:solidFill>
                  <a:schemeClr val="tx1"/>
                </a:solidFill>
                <a:effectLst/>
                <a:latin typeface="+mn-lt"/>
                <a:ea typeface="+mn-ea"/>
                <a:cs typeface="+mn-cs"/>
              </a:rPr>
              <a:t>Secure your data and manage permissions</a:t>
            </a:r>
          </a:p>
          <a:p>
            <a:pPr marL="0" indent="0">
              <a:buFontTx/>
              <a:buNone/>
            </a:pPr>
            <a:r>
              <a:rPr lang="en-US" sz="1200" b="0" kern="1200" dirty="0">
                <a:solidFill>
                  <a:schemeClr val="tx1"/>
                </a:solidFill>
                <a:effectLst/>
                <a:latin typeface="+mn-lt"/>
                <a:ea typeface="+mn-ea"/>
                <a:cs typeface="+mn-cs"/>
              </a:rPr>
              <a:t>-  Open APIs for custom development</a:t>
            </a:r>
          </a:p>
          <a:p>
            <a:pPr marL="0" marR="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  Create and publish customized content packs of packaged data models, reports and dashboards for users to easily consume</a:t>
            </a:r>
          </a:p>
          <a:p>
            <a:pPr marL="171450" indent="-171450">
              <a:buFontTx/>
              <a:buChar char="-"/>
            </a:pPr>
            <a:endParaRPr lang="en-US" sz="1200" b="0" kern="1200" dirty="0">
              <a:solidFill>
                <a:schemeClr val="tx1"/>
              </a:solidFill>
              <a:effectLst/>
              <a:latin typeface="+mn-lt"/>
              <a:ea typeface="+mn-ea"/>
              <a:cs typeface="+mn-cs"/>
            </a:endParaRPr>
          </a:p>
          <a:p>
            <a:pPr lvl="0"/>
            <a:endParaRPr lang="en-US" sz="1200" kern="1200" dirty="0">
              <a:solidFill>
                <a:schemeClr val="tx1"/>
              </a:solidFill>
              <a:effectLst/>
              <a:latin typeface="+mn-lt"/>
              <a:ea typeface="+mn-ea"/>
              <a:cs typeface="+mn-cs"/>
            </a:endParaRPr>
          </a:p>
          <a:p>
            <a:endParaRPr lang="en-US" sz="1200" b="1" kern="1200" dirty="0">
              <a:solidFill>
                <a:schemeClr val="tx1"/>
              </a:solidFill>
              <a:latin typeface="+mn-lt"/>
              <a:ea typeface="+mn-ea"/>
              <a:cs typeface="+mn-cs"/>
            </a:endParaRPr>
          </a:p>
        </p:txBody>
      </p:sp>
      <p:sp>
        <p:nvSpPr>
          <p:cNvPr id="4" name="Slide Number Placeholder 3"/>
          <p:cNvSpPr>
            <a:spLocks noGrp="1"/>
          </p:cNvSpPr>
          <p:nvPr>
            <p:ph type="sldNum" sz="quarter" idx="10"/>
          </p:nvPr>
        </p:nvSpPr>
        <p:spPr/>
        <p:txBody>
          <a:bodyPr/>
          <a:lstStyle/>
          <a:p>
            <a:fld id="{13329DEA-6433-4493-B9C4-3E0AC755FE5D}" type="slidenum">
              <a:rPr lang="en-US" smtClean="0"/>
              <a:t>3</a:t>
            </a:fld>
            <a:endParaRPr lang="en-US"/>
          </a:p>
        </p:txBody>
      </p:sp>
    </p:spTree>
    <p:extLst>
      <p:ext uri="{BB962C8B-B14F-4D97-AF65-F5344CB8AC3E}">
        <p14:creationId xmlns:p14="http://schemas.microsoft.com/office/powerpoint/2010/main" val="2556487642"/>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75C3270-D5B6-4AE0-BFEC-3BB548CBAE0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40966968"/>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a:p>
        </p:txBody>
      </p:sp>
      <p:sp>
        <p:nvSpPr>
          <p:cNvPr id="4" name="Plassholder for lysbildenummer 3"/>
          <p:cNvSpPr>
            <a:spLocks noGrp="1"/>
          </p:cNvSpPr>
          <p:nvPr>
            <p:ph type="sldNum" sz="quarter" idx="10"/>
          </p:nvPr>
        </p:nvSpPr>
        <p:spPr/>
        <p:txBody>
          <a:bodyPr/>
          <a:lstStyle/>
          <a:p>
            <a:fld id="{EB20C58C-FFDB-469E-965A-A16F30368694}" type="slidenum">
              <a:rPr lang="en-US" smtClean="0"/>
              <a:t>31</a:t>
            </a:fld>
            <a:endParaRPr lang="en-US"/>
          </a:p>
        </p:txBody>
      </p:sp>
    </p:spTree>
    <p:extLst>
      <p:ext uri="{BB962C8B-B14F-4D97-AF65-F5344CB8AC3E}">
        <p14:creationId xmlns:p14="http://schemas.microsoft.com/office/powerpoint/2010/main" val="2360430536"/>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pt-PT"/>
              <a:t>Categorization</a:t>
            </a:r>
            <a:r>
              <a:rPr lang="pt-PT" baseline="0"/>
              <a:t> allows the client tool to understand what type of data lies in a column. Relevant for geographical content.</a:t>
            </a:r>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75C3270-D5B6-4AE0-BFEC-3BB548CBAE0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66239301"/>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When you’re modeling your data, sometimes you want to see what’s actually in a table or column without creating a visual on the report canvas, often right down to the row level. This is especially true when you’re creating measures and calculated columns, or you need to identify a data type or data category.</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75C3270-D5B6-4AE0-BFEC-3BB548CBAE0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50289174"/>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pt-PT"/>
              <a:t>Zoom in the</a:t>
            </a:r>
            <a:r>
              <a:rPr lang="pt-PT" baseline="0"/>
              <a:t> diagram to better illustrate the relationship between Sales and Stores</a:t>
            </a:r>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75C3270-D5B6-4AE0-BFEC-3BB548CBAE0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91194145"/>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75C3270-D5B6-4AE0-BFEC-3BB548CBAE0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81284350"/>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a:t>Wrong active relationship</a:t>
            </a:r>
          </a:p>
          <a:p>
            <a:r>
              <a:rPr lang="en-US"/>
              <a:t>When Power BI Desktop automatically creates relationships, it sometimes encounters more than one relationship between two tables.  When this happens only one of the relationships is set to be active.  The active relationship serves as the default relationship so that when you choose fields from two different tables, Power BI Desktop can automatically create a visualization for you.  However, in some cases the automatically selected relationship can be wrong.  You can use the Manage Relationships dialog to set a relationship as active or inactive, or you can set the active relationship in the Edit relationship dialog. </a:t>
            </a:r>
          </a:p>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75C3270-D5B6-4AE0-BFEC-3BB548CBAE0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56424027"/>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75C3270-D5B6-4AE0-BFEC-3BB548CBAE0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50182405"/>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pt-PT"/>
              <a:t>For </a:t>
            </a:r>
            <a:r>
              <a:rPr lang="pt-PT" dirty="0" err="1"/>
              <a:t>instance</a:t>
            </a:r>
            <a:r>
              <a:rPr lang="pt-PT"/>
              <a:t>, </a:t>
            </a:r>
            <a:r>
              <a:rPr lang="pt-PT" dirty="0" err="1"/>
              <a:t>if</a:t>
            </a:r>
            <a:r>
              <a:rPr lang="pt-PT"/>
              <a:t> a </a:t>
            </a:r>
            <a:r>
              <a:rPr lang="pt-PT" dirty="0" err="1"/>
              <a:t>field</a:t>
            </a:r>
            <a:r>
              <a:rPr lang="pt-PT" baseline="0"/>
              <a:t> </a:t>
            </a:r>
            <a:r>
              <a:rPr lang="pt-PT" baseline="0" dirty="0" err="1"/>
              <a:t>has</a:t>
            </a:r>
            <a:r>
              <a:rPr lang="pt-PT" baseline="0"/>
              <a:t> </a:t>
            </a:r>
            <a:r>
              <a:rPr lang="pt-PT" baseline="0" dirty="0" err="1"/>
              <a:t>only</a:t>
            </a:r>
            <a:r>
              <a:rPr lang="pt-PT" baseline="0"/>
              <a:t> </a:t>
            </a:r>
            <a:r>
              <a:rPr lang="pt-PT" baseline="0" dirty="0" err="1"/>
              <a:t>integer</a:t>
            </a:r>
            <a:r>
              <a:rPr lang="pt-PT" baseline="0"/>
              <a:t> </a:t>
            </a:r>
            <a:r>
              <a:rPr lang="pt-PT" baseline="0" dirty="0" err="1"/>
              <a:t>numbers</a:t>
            </a:r>
            <a:r>
              <a:rPr lang="pt-PT" baseline="0"/>
              <a:t> </a:t>
            </a:r>
            <a:r>
              <a:rPr lang="pt-PT" baseline="0" dirty="0" err="1"/>
              <a:t>it</a:t>
            </a:r>
            <a:r>
              <a:rPr lang="pt-PT" baseline="0"/>
              <a:t> </a:t>
            </a:r>
            <a:r>
              <a:rPr lang="pt-PT" baseline="0" dirty="0" err="1"/>
              <a:t>will</a:t>
            </a:r>
            <a:r>
              <a:rPr lang="pt-PT" baseline="0"/>
              <a:t> </a:t>
            </a:r>
            <a:r>
              <a:rPr lang="pt-PT" baseline="0" dirty="0" err="1"/>
              <a:t>convert</a:t>
            </a:r>
            <a:r>
              <a:rPr lang="pt-PT" baseline="0"/>
              <a:t> </a:t>
            </a:r>
            <a:r>
              <a:rPr lang="pt-PT" baseline="0" dirty="0" err="1"/>
              <a:t>it</a:t>
            </a:r>
            <a:r>
              <a:rPr lang="pt-PT" baseline="0"/>
              <a:t> to a </a:t>
            </a:r>
            <a:r>
              <a:rPr lang="pt-PT" baseline="0" dirty="0" err="1"/>
              <a:t>whole</a:t>
            </a:r>
            <a:r>
              <a:rPr lang="pt-PT" baseline="0"/>
              <a:t> </a:t>
            </a:r>
            <a:r>
              <a:rPr lang="pt-PT" baseline="0" dirty="0" err="1"/>
              <a:t>number</a:t>
            </a:r>
            <a:r>
              <a:rPr lang="pt-PT" baseline="0"/>
              <a:t> </a:t>
            </a:r>
            <a:r>
              <a:rPr lang="pt-PT" baseline="0" dirty="0" err="1"/>
              <a:t>automatically</a:t>
            </a:r>
            <a:r>
              <a:rPr lang="pt-PT" baseline="0"/>
              <a:t>. </a:t>
            </a:r>
            <a:r>
              <a:rPr lang="pt-PT" baseline="0" dirty="0" err="1"/>
              <a:t>An</a:t>
            </a:r>
            <a:r>
              <a:rPr lang="pt-PT" baseline="0"/>
              <a:t> </a:t>
            </a:r>
            <a:r>
              <a:rPr lang="pt-PT" baseline="0" dirty="0" err="1"/>
              <a:t>example</a:t>
            </a:r>
            <a:r>
              <a:rPr lang="pt-PT" baseline="0"/>
              <a:t> for Data </a:t>
            </a:r>
            <a:r>
              <a:rPr lang="pt-PT" baseline="0" dirty="0" err="1"/>
              <a:t>Visualization</a:t>
            </a:r>
            <a:r>
              <a:rPr lang="pt-PT" baseline="0"/>
              <a:t>: </a:t>
            </a:r>
            <a:r>
              <a:rPr lang="pt-PT" baseline="0" dirty="0" err="1"/>
              <a:t>if</a:t>
            </a:r>
            <a:r>
              <a:rPr lang="pt-PT" baseline="0"/>
              <a:t> a </a:t>
            </a:r>
            <a:r>
              <a:rPr lang="pt-PT" baseline="0" dirty="0" err="1"/>
              <a:t>value</a:t>
            </a:r>
            <a:r>
              <a:rPr lang="pt-PT" baseline="0"/>
              <a:t> </a:t>
            </a:r>
            <a:r>
              <a:rPr lang="pt-PT" baseline="0" dirty="0" err="1"/>
              <a:t>has</a:t>
            </a:r>
            <a:r>
              <a:rPr lang="pt-PT" baseline="0"/>
              <a:t> no decimal </a:t>
            </a:r>
            <a:r>
              <a:rPr lang="pt-PT" baseline="0" dirty="0" err="1"/>
              <a:t>places</a:t>
            </a:r>
            <a:r>
              <a:rPr lang="pt-PT" baseline="0"/>
              <a:t>, </a:t>
            </a:r>
            <a:r>
              <a:rPr lang="pt-PT" baseline="0" dirty="0" err="1"/>
              <a:t>there</a:t>
            </a:r>
            <a:r>
              <a:rPr lang="pt-PT" baseline="0"/>
              <a:t> </a:t>
            </a:r>
            <a:r>
              <a:rPr lang="pt-PT" baseline="0" dirty="0" err="1"/>
              <a:t>is</a:t>
            </a:r>
            <a:r>
              <a:rPr lang="pt-PT" baseline="0"/>
              <a:t> no </a:t>
            </a:r>
            <a:r>
              <a:rPr lang="pt-PT" baseline="0" dirty="0" err="1"/>
              <a:t>point</a:t>
            </a:r>
            <a:r>
              <a:rPr lang="pt-PT" baseline="0"/>
              <a:t> in </a:t>
            </a:r>
            <a:r>
              <a:rPr lang="pt-PT" baseline="0" dirty="0" err="1"/>
              <a:t>showing</a:t>
            </a:r>
            <a:r>
              <a:rPr lang="pt-PT" baseline="0"/>
              <a:t> </a:t>
            </a:r>
            <a:r>
              <a:rPr lang="pt-PT" baseline="0" dirty="0" err="1"/>
              <a:t>it</a:t>
            </a:r>
            <a:r>
              <a:rPr lang="pt-PT" baseline="0"/>
              <a:t>. For </a:t>
            </a:r>
            <a:r>
              <a:rPr lang="pt-PT" baseline="0" dirty="0" err="1"/>
              <a:t>instance</a:t>
            </a:r>
            <a:r>
              <a:rPr lang="pt-PT" baseline="0"/>
              <a:t>, </a:t>
            </a:r>
            <a:r>
              <a:rPr lang="pt-PT" baseline="0" dirty="0" err="1"/>
              <a:t>there</a:t>
            </a:r>
            <a:r>
              <a:rPr lang="pt-PT" baseline="0"/>
              <a:t> </a:t>
            </a:r>
            <a:r>
              <a:rPr lang="pt-PT" baseline="0" dirty="0" err="1"/>
              <a:t>is</a:t>
            </a:r>
            <a:r>
              <a:rPr lang="pt-PT" baseline="0"/>
              <a:t> no </a:t>
            </a:r>
            <a:r>
              <a:rPr lang="pt-PT" baseline="0" dirty="0" err="1"/>
              <a:t>half</a:t>
            </a:r>
            <a:r>
              <a:rPr lang="pt-PT" baseline="0"/>
              <a:t> </a:t>
            </a:r>
            <a:r>
              <a:rPr lang="pt-PT" baseline="0" dirty="0" err="1"/>
              <a:t>product</a:t>
            </a:r>
            <a:r>
              <a:rPr lang="pt-PT" baseline="0"/>
              <a:t> in </a:t>
            </a:r>
            <a:r>
              <a:rPr lang="pt-PT" baseline="0" dirty="0" err="1"/>
              <a:t>inventory</a:t>
            </a:r>
            <a:r>
              <a:rPr lang="pt-PT" baseline="0"/>
              <a:t>.</a:t>
            </a:r>
          </a:p>
          <a:p>
            <a:endParaRPr lang="pt-PT" baseline="0"/>
          </a:p>
          <a:p>
            <a:r>
              <a:rPr lang="en-US"/>
              <a:t>The Data Type drop down in Query Editor has two data types not currently present in Data or Report View: </a:t>
            </a:r>
            <a:r>
              <a:rPr lang="en-US" b="1"/>
              <a:t>Date/Time/</a:t>
            </a:r>
            <a:r>
              <a:rPr lang="en-US" b="1" dirty="0" err="1"/>
              <a:t>Timezone</a:t>
            </a:r>
            <a:r>
              <a:rPr lang="en-US"/>
              <a:t> and </a:t>
            </a:r>
            <a:r>
              <a:rPr lang="en-US" b="1"/>
              <a:t>Duration</a:t>
            </a:r>
            <a:r>
              <a:rPr lang="en-US"/>
              <a:t>. When a column with these data types are loaded into the model and viewed in Data or Report view, a column with a Date/Time/</a:t>
            </a:r>
            <a:r>
              <a:rPr lang="en-US" dirty="0" err="1"/>
              <a:t>Timezone</a:t>
            </a:r>
            <a:r>
              <a:rPr lang="en-US"/>
              <a:t> data type will be converted into a Date/Time, and a column with a Duration data type is converted into a Decimal Number.</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75C3270-D5B6-4AE0-BFEC-3BB548CBAE0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25606605"/>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75C3270-D5B6-4AE0-BFEC-3BB548CBAE0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4844682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000" baseline="0"/>
              <a:t>Let’s walk through an overview of what Power BI is.  </a:t>
            </a:r>
          </a:p>
          <a:p>
            <a:pPr marL="228600" indent="-228600">
              <a:buFont typeface="+mj-lt"/>
              <a:buAutoNum type="arabicPeriod"/>
            </a:pPr>
            <a:endParaRPr lang="en-US" sz="1000" b="1" baseline="0"/>
          </a:p>
          <a:p>
            <a:r>
              <a:rPr lang="en-US" sz="1000" b="1"/>
              <a:t>1. The</a:t>
            </a:r>
            <a:r>
              <a:rPr lang="en-US" sz="1000" b="1" baseline="0"/>
              <a:t> Power BI Service, sometimes referred to as </a:t>
            </a:r>
            <a:r>
              <a:rPr lang="en-US" sz="1000" b="1"/>
              <a:t>powerbi.com,</a:t>
            </a:r>
            <a:r>
              <a:rPr lang="en-US" sz="1000" b="1" baseline="0"/>
              <a:t> </a:t>
            </a:r>
            <a:r>
              <a:rPr lang="en-US" sz="1000"/>
              <a:t>is what allows</a:t>
            </a:r>
            <a:r>
              <a:rPr lang="en-US" sz="1000" baseline="0"/>
              <a:t> you to</a:t>
            </a:r>
            <a:r>
              <a:rPr lang="en-US" sz="1000"/>
              <a:t>: </a:t>
            </a:r>
          </a:p>
          <a:p>
            <a:pPr marL="628650" lvl="1" indent="-171450">
              <a:buFont typeface="Arial" panose="020B0604020202020204" pitchFamily="34" charset="0"/>
              <a:buChar char="•"/>
            </a:pPr>
            <a:r>
              <a:rPr lang="en-US" sz="1000" baseline="0"/>
              <a:t>Create beautiful visualizations to tell compelling data stories. </a:t>
            </a:r>
          </a:p>
          <a:p>
            <a:pPr marL="628650" lvl="1" indent="-171450">
              <a:buFont typeface="Arial" panose="020B0604020202020204" pitchFamily="34" charset="0"/>
              <a:buChar char="•"/>
            </a:pPr>
            <a:r>
              <a:rPr lang="en-US" sz="1000" baseline="0"/>
              <a:t>Build rich, live dashboards that turn BI into business insights.</a:t>
            </a:r>
          </a:p>
          <a:p>
            <a:pPr marL="628650" lvl="1" indent="-171450">
              <a:buFont typeface="Arial" panose="020B0604020202020204" pitchFamily="34" charset="0"/>
              <a:buChar char="•"/>
            </a:pPr>
            <a:r>
              <a:rPr lang="en-US" sz="1000"/>
              <a:t>Create reports</a:t>
            </a:r>
            <a:r>
              <a:rPr lang="en-US" sz="1000" baseline="0"/>
              <a:t> &amp; datasets from which you can create visualizations and dashboards.</a:t>
            </a:r>
          </a:p>
          <a:p>
            <a:pPr marL="628650" lvl="1" indent="-171450">
              <a:buFont typeface="Arial" panose="020B0604020202020204" pitchFamily="34" charset="0"/>
              <a:buChar char="•"/>
            </a:pPr>
            <a:r>
              <a:rPr lang="en-US" sz="1000" baseline="0"/>
              <a:t>Enjoy the benefits of up-to-date data with real-time, automatic and scheduled refreshes.</a:t>
            </a:r>
          </a:p>
          <a:p>
            <a:pPr marL="628650" lvl="1" indent="-171450">
              <a:buFont typeface="Arial" panose="020B0604020202020204" pitchFamily="34" charset="0"/>
              <a:buChar char="•"/>
            </a:pPr>
            <a:r>
              <a:rPr lang="en-US" sz="1000" baseline="0"/>
              <a:t>Share dashboards easily with other people in your organization.</a:t>
            </a:r>
          </a:p>
          <a:p>
            <a:pPr marL="628650" lvl="1" indent="-171450">
              <a:buFont typeface="Arial" panose="020B0604020202020204" pitchFamily="34" charset="0"/>
              <a:buChar char="•"/>
            </a:pPr>
            <a:r>
              <a:rPr lang="en-US" sz="1000" baseline="0"/>
              <a:t>Ask questions of data in plain English with Natural Language Query.</a:t>
            </a:r>
          </a:p>
          <a:p>
            <a:pPr marL="628650" lvl="1" indent="-171450">
              <a:buFont typeface="Arial" panose="020B0604020202020204" pitchFamily="34" charset="0"/>
              <a:buChar char="•"/>
            </a:pPr>
            <a:r>
              <a:rPr lang="en-US" sz="1000" baseline="0"/>
              <a:t>Stay connected to data all the time with mobile applications.</a:t>
            </a:r>
          </a:p>
          <a:p>
            <a:pPr marL="457200" lvl="1" indent="0">
              <a:buFont typeface="Arial" panose="020B0604020202020204" pitchFamily="34" charset="0"/>
              <a:buNone/>
            </a:pPr>
            <a:endParaRPr lang="en-US" sz="1000" baseline="0"/>
          </a:p>
          <a:p>
            <a:pPr marL="0" indent="0">
              <a:buFont typeface="+mj-lt"/>
              <a:buNone/>
            </a:pPr>
            <a:r>
              <a:rPr lang="en-US" sz="1000" b="1" baseline="0"/>
              <a:t>2. </a:t>
            </a:r>
            <a:r>
              <a:rPr lang="en-US" sz="1000" b="0" baseline="0"/>
              <a:t>Power BI </a:t>
            </a:r>
            <a:r>
              <a:rPr lang="en-US" sz="1000" b="1" baseline="0"/>
              <a:t>connects to a variety of data sources. </a:t>
            </a:r>
            <a:r>
              <a:rPr lang="en-US" sz="1000" baseline="0"/>
              <a:t>These range across both cloud and on-premises sources, and include:</a:t>
            </a:r>
          </a:p>
          <a:p>
            <a:pPr marL="628650" lvl="1" indent="-171450">
              <a:buFont typeface="Arial" panose="020B0604020202020204" pitchFamily="34" charset="0"/>
              <a:buChar char="•"/>
            </a:pPr>
            <a:r>
              <a:rPr lang="en-US" sz="1000" baseline="0"/>
              <a:t>A variety of </a:t>
            </a:r>
            <a:r>
              <a:rPr lang="en-US" sz="1000" b="1" baseline="0"/>
              <a:t>popular SaaS solutions</a:t>
            </a:r>
            <a:r>
              <a:rPr lang="en-US" sz="1000" baseline="0"/>
              <a:t>, such as </a:t>
            </a:r>
            <a:r>
              <a:rPr lang="en-US" sz="1000" baseline="0" err="1"/>
              <a:t>Marketo</a:t>
            </a:r>
            <a:r>
              <a:rPr lang="en-US" sz="1000" baseline="0"/>
              <a:t>, Salesforce, GitHub, Dynamics CRM, </a:t>
            </a:r>
            <a:r>
              <a:rPr lang="en-US" sz="1000" baseline="0" err="1"/>
              <a:t>Zendesk</a:t>
            </a:r>
            <a:r>
              <a:rPr lang="en-US" sz="1000" baseline="0"/>
              <a:t>, and several others.</a:t>
            </a:r>
            <a:endParaRPr lang="en-US" sz="1000" b="0" baseline="0"/>
          </a:p>
          <a:p>
            <a:pPr marL="628650" lvl="1" indent="-171450">
              <a:buFont typeface="Arial" panose="020B0604020202020204" pitchFamily="34" charset="0"/>
              <a:buChar char="•"/>
            </a:pPr>
            <a:r>
              <a:rPr lang="en-US" sz="1000" b="1" baseline="0"/>
              <a:t>On-premises databases </a:t>
            </a:r>
            <a:r>
              <a:rPr lang="en-US" sz="1000" baseline="0"/>
              <a:t>– Power BI offers live connectivity to SQL Server Analysis Services and others, which we’ll cover in more detail later. And using a gateway solution, Power BI can connect to other database solutions. </a:t>
            </a:r>
          </a:p>
          <a:p>
            <a:pPr marL="628650" lvl="1" indent="-171450">
              <a:buFont typeface="Arial" panose="020B0604020202020204" pitchFamily="34" charset="0"/>
              <a:buChar char="•"/>
            </a:pPr>
            <a:r>
              <a:rPr lang="en-US" sz="1000" b="1" baseline="0"/>
              <a:t>Custom data sources </a:t>
            </a:r>
            <a:r>
              <a:rPr lang="en-US" sz="1000" baseline="0"/>
              <a:t>– </a:t>
            </a:r>
            <a:r>
              <a:rPr lang="en-US" sz="1000" b="0" baseline="0"/>
              <a:t>Power BI can connect to any data source you need it to thanks to its extensibility via REST APIs. This includes both proprietary corporate data sources, as well as external data services. For example, if you are a SaaS solution provider, you can work with Microsoft to connect your solution to Power BI.</a:t>
            </a:r>
            <a:endParaRPr lang="en-US" sz="1000" baseline="0"/>
          </a:p>
          <a:p>
            <a:pPr marL="628650" lvl="1" indent="-171450">
              <a:buFont typeface="Arial" panose="020B0604020202020204" pitchFamily="34" charset="0"/>
              <a:buChar char="•"/>
            </a:pPr>
            <a:r>
              <a:rPr lang="en-US" sz="1000" b="1" baseline="0"/>
              <a:t>Other Azure services</a:t>
            </a:r>
            <a:r>
              <a:rPr lang="en-US" sz="1000" baseline="0"/>
              <a:t> – Power BI integrates tightly with SQL Azure and Stream Analytics, and will be integrating closely with more Azure services over time.</a:t>
            </a:r>
          </a:p>
          <a:p>
            <a:pPr marL="628650" lvl="1" indent="-171450">
              <a:buFont typeface="Arial" panose="020B0604020202020204" pitchFamily="34" charset="0"/>
              <a:buChar char="•"/>
            </a:pPr>
            <a:r>
              <a:rPr lang="en-US" sz="1000" b="1" baseline="0"/>
              <a:t>Power BI Desktop, Excel and CSV files </a:t>
            </a:r>
            <a:r>
              <a:rPr lang="en-US" sz="1000" baseline="0"/>
              <a:t>– Excel workbooks can be directly connected to Power BI.com, or may be used with Power BI Desktop. Power BI Desktop is the companion application to the Power BI service – it is a desktop tool that supports data analysis and reporting. Like Excel files, or CSV files, Power BI Desktop files can be uploaded to the Power BI service. </a:t>
            </a:r>
          </a:p>
          <a:p>
            <a:pPr marL="0" lvl="0" indent="0">
              <a:buFont typeface="Arial" panose="020B0604020202020204" pitchFamily="34" charset="0"/>
              <a:buNone/>
            </a:pPr>
            <a:endParaRPr lang="en-US"/>
          </a:p>
        </p:txBody>
      </p:sp>
      <p:sp>
        <p:nvSpPr>
          <p:cNvPr id="4" name="Slide Number Placeholder 3"/>
          <p:cNvSpPr>
            <a:spLocks noGrp="1"/>
          </p:cNvSpPr>
          <p:nvPr>
            <p:ph type="sldNum" sz="quarter" idx="10"/>
          </p:nvPr>
        </p:nvSpPr>
        <p:spPr/>
        <p:txBody>
          <a:bodyPr/>
          <a:lstStyle/>
          <a:p>
            <a:fld id="{13329DEA-6433-4493-B9C4-3E0AC755FE5D}" type="slidenum">
              <a:rPr lang="en-US" smtClean="0">
                <a:solidFill>
                  <a:prstClr val="black"/>
                </a:solidFill>
              </a:rPr>
              <a:pPr/>
              <a:t>4</a:t>
            </a:fld>
            <a:endParaRPr lang="en-US">
              <a:solidFill>
                <a:prstClr val="black"/>
              </a:solidFill>
            </a:endParaRPr>
          </a:p>
        </p:txBody>
      </p:sp>
    </p:spTree>
    <p:extLst>
      <p:ext uri="{BB962C8B-B14F-4D97-AF65-F5344CB8AC3E}">
        <p14:creationId xmlns:p14="http://schemas.microsoft.com/office/powerpoint/2010/main" val="1753552412"/>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pt-PT"/>
              <a:t>The sorting option is</a:t>
            </a:r>
            <a:r>
              <a:rPr lang="pt-PT" baseline="0"/>
              <a:t> available in the modeling tab.</a:t>
            </a:r>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75C3270-D5B6-4AE0-BFEC-3BB548CBAE0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11331069"/>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75C3270-D5B6-4AE0-BFEC-3BB548CBAE0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59177288"/>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a:p>
        </p:txBody>
      </p:sp>
      <p:sp>
        <p:nvSpPr>
          <p:cNvPr id="4" name="Plassholder for lysbildenummer 3"/>
          <p:cNvSpPr>
            <a:spLocks noGrp="1"/>
          </p:cNvSpPr>
          <p:nvPr>
            <p:ph type="sldNum" sz="quarter" idx="10"/>
          </p:nvPr>
        </p:nvSpPr>
        <p:spPr/>
        <p:txBody>
          <a:bodyPr/>
          <a:lstStyle/>
          <a:p>
            <a:fld id="{EB20C58C-FFDB-469E-965A-A16F30368694}" type="slidenum">
              <a:rPr lang="en-US" smtClean="0"/>
              <a:t>42</a:t>
            </a:fld>
            <a:endParaRPr lang="en-US"/>
          </a:p>
        </p:txBody>
      </p:sp>
    </p:spTree>
    <p:extLst>
      <p:ext uri="{BB962C8B-B14F-4D97-AF65-F5344CB8AC3E}">
        <p14:creationId xmlns:p14="http://schemas.microsoft.com/office/powerpoint/2010/main" val="4283961450"/>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pt-PT"/>
              <a:t>DAX stands for Data Analysis</a:t>
            </a:r>
            <a:r>
              <a:rPr lang="pt-PT" baseline="0"/>
              <a:t> Expressions</a:t>
            </a:r>
          </a:p>
          <a:p>
            <a:r>
              <a:rPr lang="pt-PT">
                <a:solidFill>
                  <a:schemeClr val="tx1"/>
                </a:solidFill>
                <a:ea typeface="Calibri" panose="020F0502020204030204" pitchFamily="34" charset="0"/>
                <a:cs typeface="Times New Roman" panose="02020603050405020304" pitchFamily="18" charset="0"/>
              </a:rPr>
              <a:t>time calculations (</a:t>
            </a:r>
            <a:r>
              <a:rPr lang="pt-PT" i="1">
                <a:solidFill>
                  <a:schemeClr val="tx1"/>
                </a:solidFill>
                <a:ea typeface="Calibri" panose="020F0502020204030204" pitchFamily="34" charset="0"/>
                <a:cs typeface="Times New Roman" panose="02020603050405020304" pitchFamily="18" charset="0"/>
              </a:rPr>
              <a:t>periods to date, comparison between periods)</a:t>
            </a:r>
          </a:p>
          <a:p>
            <a:r>
              <a:rPr lang="pt-PT" i="1">
                <a:solidFill>
                  <a:schemeClr val="tx1"/>
                </a:solidFill>
                <a:cs typeface="Times New Roman" panose="02020603050405020304" pitchFamily="18" charset="0"/>
              </a:rPr>
              <a:t>Overlap</a:t>
            </a:r>
            <a:r>
              <a:rPr lang="pt-PT" i="1" baseline="0">
                <a:solidFill>
                  <a:schemeClr val="tx1"/>
                </a:solidFill>
                <a:cs typeface="Times New Roman" panose="02020603050405020304" pitchFamily="18" charset="0"/>
              </a:rPr>
              <a:t> with Formula Language – the decision here would be, for instance, if a calculation could be more performant in Power Query if we can leverage query folding. Some operations might also be easier in one than the other, or the user might be more familiar with one or the other. But indeed, calculated columns can also, for the most part, be done in Formula Language.</a:t>
            </a:r>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75C3270-D5B6-4AE0-BFEC-3BB548CBAE0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73462670"/>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When trying to understand a DAX formula, it is often helpful to break down each of the elements into a language you think and speak every day. For example, you can read this formula as:&gt; </a:t>
            </a:r>
            <a:r>
              <a:rPr lang="en-US" i="1"/>
              <a:t>For the measure named Total Sales, calculate (=) the SUM of values in the [SalesAmount ] column in the Sales table.</a:t>
            </a:r>
          </a:p>
          <a:p>
            <a:endParaRPr lang="pt-PT" i="1"/>
          </a:p>
          <a:p>
            <a:r>
              <a:rPr lang="en-US"/>
              <a:t>You also see the column [SalesAmount] was preceded by the table Sales in which the column belongs. This is known as a fully qualified column name in that it includes the column name preceded by the table name. Columns referenced in the same table do not require the table name be included in the formula. This can make long formulas that reference many columns shorter and easier to read. However, it's good practice to  include the table name in your measure formulas, even when in the same table.&gt; </a:t>
            </a:r>
            <a:r>
              <a:rPr lang="en-US" b="1"/>
              <a:t>Note:</a:t>
            </a:r>
            <a:r>
              <a:rPr lang="en-US"/>
              <a:t> If a table name contains spaces, reserved keywords, or disallowed characters, you’ll need to  enclose the table name in single quotation marks. You’ll also need to enclose table names in quotation marks if the name contains any characters outside the ANSI alphanumeric character range, regardless of whether your locale supports the character set or not.</a:t>
            </a:r>
            <a:endParaRPr lang="pt-PT"/>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75C3270-D5B6-4AE0-BFEC-3BB548CBAE0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882699"/>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pt-PT"/>
              <a:t>Notice that semi-colon is</a:t>
            </a:r>
            <a:r>
              <a:rPr lang="pt-PT" baseline="0"/>
              <a:t> the split</a:t>
            </a:r>
          </a:p>
          <a:p>
            <a:r>
              <a:rPr lang="pt-PT" baseline="0"/>
              <a:t>Functions can call other functions (CALCULATE calls a FILTER)</a:t>
            </a:r>
          </a:p>
          <a:p>
            <a:r>
              <a:rPr lang="pt-PT" baseline="0"/>
              <a:t>A FILTER returns a table which is then used to filter the calculation</a:t>
            </a:r>
          </a:p>
          <a:p>
            <a:r>
              <a:rPr lang="pt-PT" baseline="0"/>
              <a:t>Calculations can refer to other calculations</a:t>
            </a:r>
          </a:p>
          <a:p>
            <a:pPr marL="0" marR="0" indent="0" algn="l" defTabSz="914400" rtl="0" eaLnBrk="1" fontAlgn="auto" latinLnBrk="0" hangingPunct="1">
              <a:lnSpc>
                <a:spcPct val="100000"/>
              </a:lnSpc>
              <a:spcBef>
                <a:spcPts val="0"/>
              </a:spcBef>
              <a:spcAft>
                <a:spcPts val="0"/>
              </a:spcAft>
              <a:buClrTx/>
              <a:buSzTx/>
              <a:buFontTx/>
              <a:buNone/>
              <a:tabLst/>
              <a:defRPr/>
            </a:pPr>
            <a:r>
              <a:rPr lang="pt-PT" baseline="0"/>
              <a:t>More about the CALCULATE later</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75C3270-D5B6-4AE0-BFEC-3BB548CBAE0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31594900"/>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pt-PT"/>
              <a:t>Leverage intellisense</a:t>
            </a:r>
            <a:r>
              <a:rPr lang="pt-PT" baseline="0"/>
              <a:t> while building the formula</a:t>
            </a:r>
          </a:p>
          <a:p>
            <a:endParaRPr lang="pt-PT" baseline="0"/>
          </a:p>
          <a:p>
            <a:r>
              <a:rPr lang="pt-PT" baseline="0"/>
              <a:t>The contextual menu for the table also allows the build of a calculation</a:t>
            </a:r>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75C3270-D5B6-4AE0-BFEC-3BB548CBAE0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04711475"/>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75C3270-D5B6-4AE0-BFEC-3BB548CBAE0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21829185"/>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pt-PT"/>
              <a:t>Promote</a:t>
            </a:r>
            <a:r>
              <a:rPr lang="pt-PT" baseline="0"/>
              <a:t> code reuse by referencing measures from other measures. This simplifies maintenaince and also makes the code cleaner.</a:t>
            </a:r>
          </a:p>
          <a:p>
            <a:endParaRPr lang="pt-PT" baseline="0"/>
          </a:p>
          <a:p>
            <a:r>
              <a:rPr lang="pt-PT" baseline="0"/>
              <a:t>How Measures are evaluated:</a:t>
            </a:r>
          </a:p>
          <a:p>
            <a:endParaRPr lang="pt-PT" baseline="0"/>
          </a:p>
          <a:p>
            <a:pPr marL="228600" indent="-228600">
              <a:buAutoNum type="arabicParenR"/>
            </a:pPr>
            <a:r>
              <a:rPr lang="pt-PT" baseline="0"/>
              <a:t>The coordinates for a particular cell are detected (they are the conjunction of all implicit (slicers, filters on report/page/view) and explicit (fields on visualization))</a:t>
            </a:r>
          </a:p>
          <a:p>
            <a:pPr marL="228600" indent="-228600">
              <a:buAutoNum type="arabicParenR"/>
            </a:pPr>
            <a:r>
              <a:rPr lang="pt-PT" baseline="0"/>
              <a:t>A CALCULATE statement, if used, will alter the detected filter context</a:t>
            </a:r>
          </a:p>
          <a:p>
            <a:pPr marL="228600" indent="-228600">
              <a:buAutoNum type="arabicParenR"/>
            </a:pPr>
            <a:r>
              <a:rPr lang="pt-PT" baseline="0"/>
              <a:t>The filter context that results from 1 and 2 is applied to the underlying table</a:t>
            </a:r>
          </a:p>
          <a:p>
            <a:pPr marL="228600" indent="-228600">
              <a:buAutoNum type="arabicParenR"/>
            </a:pPr>
            <a:r>
              <a:rPr lang="pt-PT" baseline="0"/>
              <a:t>Filters follow the relationships and will only follow if the direction allows the intented filtering. Otherwise, wrong results will be returned</a:t>
            </a:r>
          </a:p>
          <a:p>
            <a:pPr marL="228600" indent="-228600">
              <a:buAutoNum type="arabicParenR"/>
            </a:pPr>
            <a:r>
              <a:rPr lang="pt-PT" baseline="0"/>
              <a:t>The formula is calculated </a:t>
            </a:r>
          </a:p>
          <a:p>
            <a:pPr marL="228600" indent="-228600">
              <a:buAutoNum type="arabicParenR"/>
            </a:pPr>
            <a:r>
              <a:rPr lang="pt-PT" baseline="0"/>
              <a:t>The result is returned</a:t>
            </a:r>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75C3270-D5B6-4AE0-BFEC-3BB548CBAE0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78577605"/>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June 2016</a:t>
            </a:r>
            <a:r>
              <a:rPr lang="en-US" baseline="0"/>
              <a:t> – only Percent of grand total was available – if on a matrix it is indeed the percentage of grand total and not of subtotals.</a:t>
            </a:r>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75C3270-D5B6-4AE0-BFEC-3BB548CBAE0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3222771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a:t>There is more….</a:t>
            </a:r>
          </a:p>
          <a:p>
            <a:pPr marL="228600" indent="-228600">
              <a:buFont typeface="+mj-lt"/>
              <a:buAutoNum type="arabicPeriod"/>
            </a:pPr>
            <a:endParaRPr lang="en-US" b="1" baseline="0"/>
          </a:p>
          <a:p>
            <a:pPr marL="0" lvl="0" indent="0">
              <a:buFont typeface="Arial" panose="020B0604020202020204" pitchFamily="34" charset="0"/>
              <a:buNone/>
            </a:pPr>
            <a:r>
              <a:rPr lang="en-US" b="1" baseline="0"/>
              <a:t>3. Power BI Desktop </a:t>
            </a:r>
            <a:r>
              <a:rPr lang="en-US" baseline="0"/>
              <a:t>is a visual data exploration tool that enables you to analyze data and create stunning reports. With Power BI Desktop, you are able to:</a:t>
            </a:r>
          </a:p>
          <a:p>
            <a:pPr marL="628650" lvl="1" indent="-171450">
              <a:buFont typeface="Arial" panose="020B0604020202020204" pitchFamily="34" charset="0"/>
              <a:buChar char="•"/>
            </a:pPr>
            <a:r>
              <a:rPr lang="en-GB" sz="1200">
                <a:solidFill>
                  <a:srgbClr val="000000"/>
                </a:solidFill>
              </a:rPr>
              <a:t>Acquire and </a:t>
            </a:r>
            <a:r>
              <a:rPr lang="en-GB" sz="1200" i="1">
                <a:solidFill>
                  <a:srgbClr val="000000"/>
                </a:solidFill>
              </a:rPr>
              <a:t>prepare</a:t>
            </a:r>
            <a:r>
              <a:rPr lang="en-GB" sz="1200">
                <a:solidFill>
                  <a:srgbClr val="000000"/>
                </a:solidFill>
              </a:rPr>
              <a:t> data using extensive query capabilities.</a:t>
            </a:r>
          </a:p>
          <a:p>
            <a:pPr marL="628650" lvl="1" indent="-171450">
              <a:buFont typeface="Arial" panose="020B0604020202020204" pitchFamily="34" charset="0"/>
              <a:buChar char="•"/>
            </a:pPr>
            <a:r>
              <a:rPr lang="en-GB" sz="1200">
                <a:solidFill>
                  <a:srgbClr val="000000"/>
                </a:solidFill>
              </a:rPr>
              <a:t>Manipulation</a:t>
            </a:r>
            <a:r>
              <a:rPr lang="en-GB" sz="1200" baseline="0">
                <a:solidFill>
                  <a:srgbClr val="000000"/>
                </a:solidFill>
              </a:rPr>
              <a:t> and consolidation of m</a:t>
            </a:r>
            <a:r>
              <a:rPr lang="en-GB" sz="1200">
                <a:solidFill>
                  <a:srgbClr val="000000"/>
                </a:solidFill>
              </a:rPr>
              <a:t>ultiple</a:t>
            </a:r>
            <a:r>
              <a:rPr lang="en-GB" sz="1200" baseline="0">
                <a:solidFill>
                  <a:srgbClr val="000000"/>
                </a:solidFill>
              </a:rPr>
              <a:t> data sources is performed in Power BI Desktop – this enables Power BI service users to use data from multiple sources in a single report.</a:t>
            </a:r>
            <a:endParaRPr lang="en-GB" sz="1200">
              <a:solidFill>
                <a:srgbClr val="000000"/>
              </a:solidFill>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a:solidFill>
                  <a:srgbClr val="000000"/>
                </a:solidFill>
              </a:rPr>
              <a:t>Establish data structure, then transform and analyze data.</a:t>
            </a:r>
            <a:endParaRPr lang="en-GB" sz="1200">
              <a:solidFill>
                <a:srgbClr val="000000"/>
              </a:solidFill>
            </a:endParaRPr>
          </a:p>
          <a:p>
            <a:pPr marL="628650" lvl="1" indent="-171450">
              <a:buFont typeface="Arial" panose="020B0604020202020204" pitchFamily="34" charset="0"/>
              <a:buChar char="•"/>
            </a:pPr>
            <a:r>
              <a:rPr lang="en-GB" sz="1200">
                <a:solidFill>
                  <a:srgbClr val="000000"/>
                </a:solidFill>
              </a:rPr>
              <a:t>Visualize and </a:t>
            </a:r>
            <a:r>
              <a:rPr lang="en-GB" sz="1200" i="1">
                <a:solidFill>
                  <a:srgbClr val="000000"/>
                </a:solidFill>
              </a:rPr>
              <a:t>explore</a:t>
            </a:r>
            <a:r>
              <a:rPr lang="en-GB" sz="1200">
                <a:solidFill>
                  <a:srgbClr val="000000"/>
                </a:solidFill>
              </a:rPr>
              <a:t> your data in new ways </a:t>
            </a:r>
            <a:r>
              <a:rPr lang="en-US" sz="1200">
                <a:solidFill>
                  <a:srgbClr val="000000"/>
                </a:solidFill>
              </a:rPr>
              <a:t>through a freeform drag-and-drop canvas.</a:t>
            </a:r>
            <a:endParaRPr lang="en-GB" sz="1200">
              <a:solidFill>
                <a:srgbClr val="000000"/>
              </a:solidFill>
            </a:endParaRPr>
          </a:p>
          <a:p>
            <a:pPr marL="628650" lvl="1" indent="-171450">
              <a:buFont typeface="Arial" panose="020B0604020202020204" pitchFamily="34" charset="0"/>
              <a:buChar char="•"/>
            </a:pPr>
            <a:r>
              <a:rPr lang="en-US" sz="1200">
                <a:solidFill>
                  <a:srgbClr val="000000"/>
                </a:solidFill>
              </a:rPr>
              <a:t>Author </a:t>
            </a:r>
            <a:r>
              <a:rPr lang="en-US" sz="1200" i="1">
                <a:solidFill>
                  <a:srgbClr val="000000"/>
                </a:solidFill>
              </a:rPr>
              <a:t>reports</a:t>
            </a:r>
            <a:r>
              <a:rPr lang="en-US" sz="1200">
                <a:solidFill>
                  <a:srgbClr val="000000"/>
                </a:solidFill>
              </a:rPr>
              <a:t> with a broad range of modern data visualizations.</a:t>
            </a:r>
          </a:p>
          <a:p>
            <a:pPr marL="628650" lvl="1" indent="-171450">
              <a:buFont typeface="Arial" panose="020B0604020202020204" pitchFamily="34" charset="0"/>
              <a:buChar char="•"/>
            </a:pPr>
            <a:r>
              <a:rPr lang="en-US" sz="1200">
                <a:solidFill>
                  <a:srgbClr val="000000"/>
                </a:solidFill>
              </a:rPr>
              <a:t>Publish beautiful, interactive reports directly to powerbi.com.</a:t>
            </a:r>
            <a:endParaRPr lang="en-US" sz="1400">
              <a:solidFill>
                <a:srgbClr val="000000"/>
              </a:solidFill>
            </a:endParaRPr>
          </a:p>
          <a:p>
            <a:pPr marL="628650" lvl="1" indent="-171450">
              <a:buFont typeface="Arial" panose="020B0604020202020204" pitchFamily="34" charset="0"/>
              <a:buChar char="•"/>
            </a:pPr>
            <a:r>
              <a:rPr lang="en-US" sz="1200">
                <a:solidFill>
                  <a:srgbClr val="000000"/>
                </a:solidFill>
              </a:rPr>
              <a:t>Securely </a:t>
            </a:r>
            <a:r>
              <a:rPr lang="en-US" sz="1200" i="1">
                <a:solidFill>
                  <a:srgbClr val="000000"/>
                </a:solidFill>
              </a:rPr>
              <a:t>share</a:t>
            </a:r>
            <a:r>
              <a:rPr lang="en-US" sz="1200">
                <a:solidFill>
                  <a:srgbClr val="000000"/>
                </a:solidFill>
              </a:rPr>
              <a:t> reports through unique, curated content library approach.</a:t>
            </a:r>
            <a:endParaRPr lang="en-US" sz="1400">
              <a:solidFill>
                <a:srgbClr val="000000"/>
              </a:solidFill>
            </a:endParaRPr>
          </a:p>
          <a:p>
            <a:endParaRPr lang="en-US"/>
          </a:p>
          <a:p>
            <a:pPr marL="0" indent="0">
              <a:buFont typeface="Arial" panose="020B0604020202020204" pitchFamily="34" charset="0"/>
              <a:buNone/>
            </a:pPr>
            <a:endParaRPr lang="en-US"/>
          </a:p>
          <a:p>
            <a:pPr marL="0" indent="0">
              <a:buFont typeface="Arial" panose="020B0604020202020204" pitchFamily="34" charset="0"/>
              <a:buNone/>
            </a:pPr>
            <a:r>
              <a:rPr lang="en-US" b="1"/>
              <a:t>4. Finally, the Power BI Platform </a:t>
            </a:r>
            <a:r>
              <a:rPr lang="en-US"/>
              <a:t>allows you to embed, extend,</a:t>
            </a:r>
            <a:r>
              <a:rPr lang="en-US" baseline="0"/>
              <a:t> and integrate Power BI into other applications and environments.</a:t>
            </a:r>
            <a:endParaRPr lang="en-US"/>
          </a:p>
        </p:txBody>
      </p:sp>
      <p:sp>
        <p:nvSpPr>
          <p:cNvPr id="4" name="Slide Number Placeholder 3"/>
          <p:cNvSpPr>
            <a:spLocks noGrp="1"/>
          </p:cNvSpPr>
          <p:nvPr>
            <p:ph type="sldNum" sz="quarter" idx="10"/>
          </p:nvPr>
        </p:nvSpPr>
        <p:spPr/>
        <p:txBody>
          <a:bodyPr/>
          <a:lstStyle/>
          <a:p>
            <a:fld id="{E98C02C0-98AB-4661-8FF3-2C79CAD8CBF9}" type="slidenum">
              <a:rPr lang="en-US">
                <a:solidFill>
                  <a:prstClr val="black"/>
                </a:solidFill>
              </a:rPr>
              <a:pPr/>
              <a:t>5</a:t>
            </a:fld>
            <a:endParaRPr lang="en-US">
              <a:solidFill>
                <a:prstClr val="black"/>
              </a:solidFill>
            </a:endParaRPr>
          </a:p>
        </p:txBody>
      </p:sp>
    </p:spTree>
    <p:extLst>
      <p:ext uri="{BB962C8B-B14F-4D97-AF65-F5344CB8AC3E}">
        <p14:creationId xmlns:p14="http://schemas.microsoft.com/office/powerpoint/2010/main" val="3540216203"/>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he first</a:t>
            </a:r>
            <a:r>
              <a:rPr lang="en-US" baseline="0"/>
              <a:t> argument has to be an expression. </a:t>
            </a:r>
            <a:endParaRPr lang="en-US"/>
          </a:p>
          <a:p>
            <a:r>
              <a:rPr lang="en-US"/>
              <a:t>Notice that we are forcing the EnglishPromotionCategory</a:t>
            </a:r>
            <a:r>
              <a:rPr lang="en-US" baseline="0"/>
              <a:t> selection, so it only returns values for that particular selection, because the filter in calculate overrides fields in the analysis if they are the same.</a:t>
            </a:r>
          </a:p>
          <a:p>
            <a:endParaRPr lang="en-US" baseline="0"/>
          </a:p>
          <a:p>
            <a:r>
              <a:rPr lang="en-US" sz="1200" b="1" i="0" u="none" strike="noStrike" kern="1200" baseline="0">
                <a:solidFill>
                  <a:schemeClr val="tx1"/>
                </a:solidFill>
                <a:latin typeface="+mn-lt"/>
                <a:ea typeface="+mn-ea"/>
                <a:cs typeface="+mn-cs"/>
              </a:rPr>
              <a:t>In a &lt;filter&gt; argument to CALCULATE(), you are not limited to the “=”</a:t>
            </a:r>
          </a:p>
          <a:p>
            <a:r>
              <a:rPr lang="en-US" sz="1200" b="1" i="0" u="none" strike="noStrike" kern="1200" baseline="0">
                <a:solidFill>
                  <a:schemeClr val="tx1"/>
                </a:solidFill>
                <a:latin typeface="+mn-lt"/>
                <a:ea typeface="+mn-ea"/>
                <a:cs typeface="+mn-cs"/>
              </a:rPr>
              <a:t>operator. You can also use:</a:t>
            </a:r>
          </a:p>
          <a:p>
            <a:r>
              <a:rPr lang="en-US" sz="1200" b="0" i="0" u="none" strike="noStrike" kern="1200" baseline="0">
                <a:solidFill>
                  <a:schemeClr val="tx1"/>
                </a:solidFill>
                <a:latin typeface="+mn-lt"/>
                <a:ea typeface="+mn-ea"/>
                <a:cs typeface="+mn-cs"/>
              </a:rPr>
              <a:t>&lt; (Less than)</a:t>
            </a:r>
          </a:p>
          <a:p>
            <a:r>
              <a:rPr lang="en-US" sz="1200" b="0" i="0" u="none" strike="noStrike" kern="1200" baseline="0">
                <a:solidFill>
                  <a:schemeClr val="tx1"/>
                </a:solidFill>
                <a:latin typeface="+mn-lt"/>
                <a:ea typeface="+mn-ea"/>
                <a:cs typeface="+mn-cs"/>
              </a:rPr>
              <a:t>&gt; (Greater than)</a:t>
            </a:r>
          </a:p>
          <a:p>
            <a:r>
              <a:rPr lang="en-US" sz="1200" b="0" i="0" u="none" strike="noStrike" kern="1200" baseline="0">
                <a:solidFill>
                  <a:schemeClr val="tx1"/>
                </a:solidFill>
                <a:latin typeface="+mn-lt"/>
                <a:ea typeface="+mn-ea"/>
                <a:cs typeface="+mn-cs"/>
              </a:rPr>
              <a:t>&lt;= (Less than or equal to)</a:t>
            </a:r>
          </a:p>
          <a:p>
            <a:r>
              <a:rPr lang="en-US" sz="1200" b="0" i="0" u="none" strike="noStrike" kern="1200" baseline="0">
                <a:solidFill>
                  <a:schemeClr val="tx1"/>
                </a:solidFill>
                <a:latin typeface="+mn-lt"/>
                <a:ea typeface="+mn-ea"/>
                <a:cs typeface="+mn-cs"/>
              </a:rPr>
              <a:t>&gt;= (Greater than or equal to)</a:t>
            </a:r>
          </a:p>
          <a:p>
            <a:pPr marL="0" indent="0">
              <a:buFont typeface="Symbol" panose="05050102010706020507" pitchFamily="18" charset="2"/>
              <a:buNone/>
            </a:pPr>
            <a:r>
              <a:rPr lang="en-US" sz="1200" b="0" i="0" u="none" strike="noStrike" kern="1200" baseline="0">
                <a:solidFill>
                  <a:schemeClr val="tx1"/>
                </a:solidFill>
                <a:latin typeface="+mn-lt"/>
                <a:ea typeface="+mn-ea"/>
                <a:cs typeface="+mn-cs"/>
              </a:rPr>
              <a:t>&lt;&gt;(Not equal to)</a:t>
            </a:r>
          </a:p>
          <a:p>
            <a:pPr marL="171450" indent="-171450">
              <a:buFont typeface="Symbol" panose="05050102010706020507" pitchFamily="18" charset="2"/>
              <a:buChar char="¨"/>
            </a:pPr>
            <a:endParaRPr lang="en-US" sz="1200" b="0" i="0" u="none" strike="noStrike" kern="1200" baseline="0">
              <a:solidFill>
                <a:schemeClr val="tx1"/>
              </a:solidFill>
              <a:latin typeface="+mn-lt"/>
              <a:ea typeface="+mn-ea"/>
              <a:cs typeface="+mn-cs"/>
            </a:endParaRPr>
          </a:p>
          <a:p>
            <a:r>
              <a:rPr lang="en-US" sz="1200" b="1" i="0" u="none" strike="noStrike" kern="1200" baseline="0">
                <a:solidFill>
                  <a:schemeClr val="tx1"/>
                </a:solidFill>
                <a:latin typeface="+mn-lt"/>
                <a:ea typeface="+mn-ea"/>
                <a:cs typeface="+mn-cs"/>
              </a:rPr>
              <a:t>All of the &lt;filter&gt; arguments in a single CALCULATE() behave as if they are</a:t>
            </a:r>
          </a:p>
          <a:p>
            <a:r>
              <a:rPr lang="en-US" sz="1200" b="1" i="0" u="none" strike="noStrike" kern="1200" baseline="0">
                <a:solidFill>
                  <a:schemeClr val="tx1"/>
                </a:solidFill>
                <a:latin typeface="+mn-lt"/>
                <a:ea typeface="+mn-ea"/>
                <a:cs typeface="+mn-cs"/>
              </a:rPr>
              <a:t>wrapped in an AND() function. </a:t>
            </a:r>
            <a:r>
              <a:rPr lang="en-US" sz="1200" b="0" i="0" u="none" strike="noStrike" kern="1200" baseline="0">
                <a:solidFill>
                  <a:schemeClr val="tx1"/>
                </a:solidFill>
                <a:latin typeface="+mn-lt"/>
                <a:ea typeface="+mn-ea"/>
                <a:cs typeface="+mn-cs"/>
              </a:rPr>
              <a:t>In other words, a row must match every &lt;filter&gt;</a:t>
            </a:r>
          </a:p>
          <a:p>
            <a:r>
              <a:rPr lang="en-US" sz="1200" b="0" i="0" u="none" strike="noStrike" kern="1200" baseline="0">
                <a:solidFill>
                  <a:schemeClr val="tx1"/>
                </a:solidFill>
                <a:latin typeface="+mn-lt"/>
                <a:ea typeface="+mn-ea"/>
                <a:cs typeface="+mn-cs"/>
              </a:rPr>
              <a:t>argument in order to be included in the calculation.</a:t>
            </a:r>
          </a:p>
          <a:p>
            <a:r>
              <a:rPr lang="en-US" sz="1200" b="0" i="0" u="none" strike="noStrike" kern="1200" baseline="0">
                <a:solidFill>
                  <a:schemeClr val="tx1"/>
                </a:solidFill>
                <a:latin typeface="+mn-lt"/>
                <a:ea typeface="+mn-ea"/>
                <a:cs typeface="+mn-cs"/>
              </a:rPr>
              <a:t>If you need an “OR()” style of operation, you can use the “||” operator.</a:t>
            </a:r>
          </a:p>
          <a:p>
            <a:pPr marL="171450" indent="-171450">
              <a:buFont typeface="Symbol" panose="05050102010706020507" pitchFamily="18" charset="2"/>
              <a:buChar char="¨"/>
            </a:pPr>
            <a:endParaRPr lang="en-US" baseline="0"/>
          </a:p>
          <a:p>
            <a:r>
              <a:rPr lang="en-US" sz="1200" b="0" i="0" u="none" strike="noStrike" kern="1200" baseline="0">
                <a:solidFill>
                  <a:schemeClr val="tx1"/>
                </a:solidFill>
                <a:latin typeface="+mn-lt"/>
                <a:ea typeface="+mn-ea"/>
                <a:cs typeface="+mn-cs"/>
              </a:rPr>
              <a:t>When you use the || operator within one of the Calculate filter arguments, it can</a:t>
            </a:r>
          </a:p>
          <a:p>
            <a:r>
              <a:rPr lang="en-US" sz="1200" b="0" i="0" u="none" strike="noStrike" kern="1200" baseline="0">
                <a:solidFill>
                  <a:schemeClr val="tx1"/>
                </a:solidFill>
                <a:latin typeface="+mn-lt"/>
                <a:ea typeface="+mn-ea"/>
                <a:cs typeface="+mn-cs"/>
              </a:rPr>
              <a:t>only be used between comparisons on a single column – TransType in this case. You</a:t>
            </a:r>
          </a:p>
          <a:p>
            <a:r>
              <a:rPr lang="en-US" sz="1200" b="0" i="0" u="none" strike="noStrike" kern="1200" baseline="0">
                <a:solidFill>
                  <a:schemeClr val="tx1"/>
                </a:solidFill>
                <a:latin typeface="+mn-lt"/>
                <a:ea typeface="+mn-ea"/>
                <a:cs typeface="+mn-cs"/>
              </a:rPr>
              <a:t>cannot use || between comparisons that operate on different columns, such as</a:t>
            </a:r>
          </a:p>
          <a:p>
            <a:r>
              <a:rPr lang="en-US" sz="1200" b="0" i="0" u="none" strike="noStrike" kern="1200" baseline="0">
                <a:solidFill>
                  <a:schemeClr val="tx1"/>
                </a:solidFill>
                <a:latin typeface="+mn-lt"/>
                <a:ea typeface="+mn-ea"/>
                <a:cs typeface="+mn-cs"/>
              </a:rPr>
              <a:t>TransType and Year.</a:t>
            </a:r>
            <a:endParaRPr lang="en-US" baseline="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75C3270-D5B6-4AE0-BFEC-3BB548CBAE0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54227852"/>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Demo heavy??</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81A89D-8738-4ED5-BF6E-F438F4965D3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88431187"/>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GB" sz="1600">
                <a:gradFill>
                  <a:gsLst>
                    <a:gs pos="1250">
                      <a:schemeClr val="tx2"/>
                    </a:gs>
                    <a:gs pos="99000">
                      <a:schemeClr val="tx2"/>
                    </a:gs>
                  </a:gsLst>
                  <a:lin ang="5400000" scaled="0"/>
                </a:gradFill>
              </a:rPr>
              <a:t>Use</a:t>
            </a:r>
            <a:r>
              <a:rPr lang="en-GB" sz="1600" baseline="0">
                <a:gradFill>
                  <a:gsLst>
                    <a:gs pos="1250">
                      <a:schemeClr val="tx2"/>
                    </a:gs>
                    <a:gs pos="99000">
                      <a:schemeClr val="tx2"/>
                    </a:gs>
                  </a:gsLst>
                  <a:lin ang="5400000" scaled="0"/>
                </a:gradFill>
              </a:rPr>
              <a:t> PowerPoint zoom to circulate through the UI</a:t>
            </a:r>
            <a:endParaRPr lang="en-GB" sz="1600">
              <a:gradFill>
                <a:gsLst>
                  <a:gs pos="1250">
                    <a:schemeClr val="tx2"/>
                  </a:gs>
                  <a:gs pos="99000">
                    <a:schemeClr val="tx2"/>
                  </a:gs>
                </a:gsLst>
                <a:lin ang="5400000" scaled="0"/>
              </a:gradFill>
            </a:endParaRPr>
          </a:p>
          <a:p>
            <a:pPr marL="0" indent="0">
              <a:buFont typeface="Arial" panose="020B0604020202020204" pitchFamily="34" charset="0"/>
              <a:buNone/>
            </a:pPr>
            <a:r>
              <a:rPr lang="en-GB" sz="1600">
                <a:gradFill>
                  <a:gsLst>
                    <a:gs pos="1250">
                      <a:schemeClr val="tx2"/>
                    </a:gs>
                    <a:gs pos="99000">
                      <a:schemeClr val="tx2"/>
                    </a:gs>
                  </a:gsLst>
                  <a:lin ang="5400000" scaled="0"/>
                </a:gradFill>
              </a:rPr>
              <a:t>Report</a:t>
            </a:r>
            <a:r>
              <a:rPr lang="en-GB" sz="1600" baseline="0">
                <a:gradFill>
                  <a:gsLst>
                    <a:gs pos="1250">
                      <a:schemeClr val="tx2"/>
                    </a:gs>
                    <a:gs pos="99000">
                      <a:schemeClr val="tx2"/>
                    </a:gs>
                  </a:gsLst>
                  <a:lin ang="5400000" scaled="0"/>
                </a:gradFill>
              </a:rPr>
              <a:t> related ribbon options – </a:t>
            </a:r>
          </a:p>
          <a:p>
            <a:pPr marL="0" indent="0">
              <a:buFont typeface="Arial" panose="020B0604020202020204" pitchFamily="34" charset="0"/>
              <a:buNone/>
            </a:pPr>
            <a:r>
              <a:rPr lang="en-GB" sz="1600" baseline="0">
                <a:gradFill>
                  <a:gsLst>
                    <a:gs pos="1250">
                      <a:schemeClr val="tx2"/>
                    </a:gs>
                    <a:gs pos="99000">
                      <a:schemeClr val="tx2"/>
                    </a:gs>
                  </a:gsLst>
                  <a:lin ang="5400000" scaled="0"/>
                </a:gradFill>
              </a:rPr>
              <a:t>	Add new page or duplicate/Add a new blank visual/Add textbox or image or shape</a:t>
            </a:r>
          </a:p>
          <a:p>
            <a:pPr marL="0" indent="0">
              <a:buFont typeface="Arial" panose="020B0604020202020204" pitchFamily="34" charset="0"/>
              <a:buNone/>
            </a:pPr>
            <a:r>
              <a:rPr lang="en-GB" sz="1600">
                <a:gradFill>
                  <a:gsLst>
                    <a:gs pos="1250">
                      <a:schemeClr val="tx2"/>
                    </a:gs>
                    <a:gs pos="99000">
                      <a:schemeClr val="tx2"/>
                    </a:gs>
                  </a:gsLst>
                  <a:lin ang="5400000" scaled="0"/>
                </a:gradFill>
              </a:rPr>
              <a:t>	Configure the page view to fit page/width</a:t>
            </a:r>
            <a:r>
              <a:rPr lang="en-GB" sz="1600" baseline="0">
                <a:gradFill>
                  <a:gsLst>
                    <a:gs pos="1250">
                      <a:schemeClr val="tx2"/>
                    </a:gs>
                    <a:gs pos="99000">
                      <a:schemeClr val="tx2"/>
                    </a:gs>
                  </a:gsLst>
                  <a:lin ang="5400000" scaled="0"/>
                </a:gradFill>
              </a:rPr>
              <a:t> or actual size</a:t>
            </a:r>
            <a:endParaRPr lang="en-GB" sz="1600">
              <a:gradFill>
                <a:gsLst>
                  <a:gs pos="1250">
                    <a:schemeClr val="tx2"/>
                  </a:gs>
                  <a:gs pos="99000">
                    <a:schemeClr val="tx2"/>
                  </a:gs>
                </a:gsLst>
                <a:lin ang="5400000" scaled="0"/>
              </a:gradFill>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75C3270-D5B6-4AE0-BFEC-3BB548CBAE0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46977867"/>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GB" sz="1600">
                <a:gradFill>
                  <a:gsLst>
                    <a:gs pos="1250">
                      <a:schemeClr val="tx2"/>
                    </a:gs>
                    <a:gs pos="99000">
                      <a:schemeClr val="tx2"/>
                    </a:gs>
                  </a:gsLst>
                  <a:lin ang="5400000" scaled="0"/>
                </a:gradFill>
              </a:rPr>
              <a:t>Use zoomit (ctrl+1) to pause the visualization when it is showing the view configuration – the available fields</a:t>
            </a:r>
            <a:r>
              <a:rPr lang="en-GB" sz="1600" baseline="0">
                <a:gradFill>
                  <a:gsLst>
                    <a:gs pos="1250">
                      <a:schemeClr val="tx2"/>
                    </a:gs>
                    <a:gs pos="99000">
                      <a:schemeClr val="tx2"/>
                    </a:gs>
                  </a:gsLst>
                  <a:lin ang="5400000" scaled="0"/>
                </a:gradFill>
              </a:rPr>
              <a:t> will depend on the visualization (more or less options)</a:t>
            </a:r>
            <a:endParaRPr lang="en-GB" sz="1600">
              <a:gradFill>
                <a:gsLst>
                  <a:gs pos="1250">
                    <a:schemeClr val="tx2"/>
                  </a:gs>
                  <a:gs pos="99000">
                    <a:schemeClr val="tx2"/>
                  </a:gs>
                </a:gsLst>
                <a:lin ang="5400000" scaled="0"/>
              </a:gradFill>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75C3270-D5B6-4AE0-BFEC-3BB548CBAE0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64180499"/>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GB" sz="1600">
                <a:gradFill>
                  <a:gsLst>
                    <a:gs pos="1250">
                      <a:schemeClr val="tx2"/>
                    </a:gs>
                    <a:gs pos="99000">
                      <a:schemeClr val="tx2"/>
                    </a:gs>
                  </a:gsLst>
                  <a:lin ang="5400000" scaled="0"/>
                </a:gradFill>
              </a:rPr>
              <a:t>Look into</a:t>
            </a:r>
            <a:r>
              <a:rPr lang="en-GB" sz="1600" baseline="0">
                <a:gradFill>
                  <a:gsLst>
                    <a:gs pos="1250">
                      <a:schemeClr val="tx2"/>
                    </a:gs>
                    <a:gs pos="99000">
                      <a:schemeClr val="tx2"/>
                    </a:gs>
                  </a:gsLst>
                  <a:lin ang="5400000" scaled="0"/>
                </a:gradFill>
              </a:rPr>
              <a:t> Edward Tufte or Stephen Few for guidelines</a:t>
            </a:r>
          </a:p>
          <a:p>
            <a:pPr marL="0" indent="0">
              <a:buFont typeface="Arial" panose="020B0604020202020204" pitchFamily="34" charset="0"/>
              <a:buNone/>
            </a:pPr>
            <a:r>
              <a:rPr lang="en-GB" sz="1600" baseline="0">
                <a:gradFill>
                  <a:gsLst>
                    <a:gs pos="1250">
                      <a:schemeClr val="tx2"/>
                    </a:gs>
                    <a:gs pos="99000">
                      <a:schemeClr val="tx2"/>
                    </a:gs>
                  </a:gsLst>
                  <a:lin ang="5400000" scaled="0"/>
                </a:gradFill>
              </a:rPr>
              <a:t>Great control which is a significant step forward when comparing to power view or performance point</a:t>
            </a:r>
            <a:endParaRPr lang="en-GB" sz="1600">
              <a:gradFill>
                <a:gsLst>
                  <a:gs pos="1250">
                    <a:schemeClr val="tx2"/>
                  </a:gs>
                  <a:gs pos="99000">
                    <a:schemeClr val="tx2"/>
                  </a:gs>
                </a:gsLst>
                <a:lin ang="5400000" scaled="0"/>
              </a:gradFill>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75C3270-D5B6-4AE0-BFEC-3BB548CBAE0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59389517"/>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GB" sz="1600">
                <a:gradFill>
                  <a:gsLst>
                    <a:gs pos="1250">
                      <a:schemeClr val="tx2"/>
                    </a:gs>
                    <a:gs pos="99000">
                      <a:schemeClr val="tx2"/>
                    </a:gs>
                  </a:gsLst>
                  <a:lin ang="5400000" scaled="0"/>
                </a:gradFill>
              </a:rPr>
              <a:t>Use zoomit (ctrl+1) to pause the visualization when it is showing the view configuration – the available fields</a:t>
            </a:r>
            <a:r>
              <a:rPr lang="en-GB" sz="1600" baseline="0">
                <a:gradFill>
                  <a:gsLst>
                    <a:gs pos="1250">
                      <a:schemeClr val="tx2"/>
                    </a:gs>
                    <a:gs pos="99000">
                      <a:schemeClr val="tx2"/>
                    </a:gs>
                  </a:gsLst>
                  <a:lin ang="5400000" scaled="0"/>
                </a:gradFill>
              </a:rPr>
              <a:t> will depend on the visualization (more or less options)</a:t>
            </a:r>
            <a:endParaRPr lang="en-GB" sz="1600">
              <a:gradFill>
                <a:gsLst>
                  <a:gs pos="1250">
                    <a:schemeClr val="tx2"/>
                  </a:gs>
                  <a:gs pos="99000">
                    <a:schemeClr val="tx2"/>
                  </a:gs>
                </a:gsLst>
                <a:lin ang="5400000" scaled="0"/>
              </a:gradFill>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75C3270-D5B6-4AE0-BFEC-3BB548CBAE0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14286878"/>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GB" sz="1600">
                <a:gradFill>
                  <a:gsLst>
                    <a:gs pos="1250">
                      <a:schemeClr val="tx2"/>
                    </a:gs>
                    <a:gs pos="99000">
                      <a:schemeClr val="tx2"/>
                    </a:gs>
                  </a:gsLst>
                  <a:lin ang="5400000" scaled="0"/>
                </a:gradFill>
              </a:rPr>
              <a:t>Lock aspect appears to have no visible effect – March</a:t>
            </a:r>
            <a:r>
              <a:rPr lang="en-GB" sz="1600" baseline="0">
                <a:gradFill>
                  <a:gsLst>
                    <a:gs pos="1250">
                      <a:schemeClr val="tx2"/>
                    </a:gs>
                    <a:gs pos="99000">
                      <a:schemeClr val="tx2"/>
                    </a:gs>
                  </a:gsLst>
                  <a:lin ang="5400000" scaled="0"/>
                </a:gradFill>
              </a:rPr>
              <a:t> 2016</a:t>
            </a:r>
          </a:p>
          <a:p>
            <a:pPr marL="0" indent="0">
              <a:buFont typeface="Arial" panose="020B0604020202020204" pitchFamily="34" charset="0"/>
              <a:buNone/>
            </a:pPr>
            <a:r>
              <a:rPr lang="en-GB" sz="1600" baseline="0">
                <a:gradFill>
                  <a:gsLst>
                    <a:gs pos="1250">
                      <a:schemeClr val="tx2"/>
                    </a:gs>
                    <a:gs pos="99000">
                      <a:schemeClr val="tx2"/>
                    </a:gs>
                  </a:gsLst>
                  <a:lin ang="5400000" scaled="0"/>
                </a:gradFill>
              </a:rPr>
              <a:t>Trend line available for some visualizations – only linear until May 2016 and for charts like scatter</a:t>
            </a:r>
            <a:endParaRPr lang="en-GB" sz="1600">
              <a:gradFill>
                <a:gsLst>
                  <a:gs pos="1250">
                    <a:schemeClr val="tx2"/>
                  </a:gs>
                  <a:gs pos="99000">
                    <a:schemeClr val="tx2"/>
                  </a:gs>
                </a:gsLst>
                <a:lin ang="5400000" scaled="0"/>
              </a:gradFill>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75C3270-D5B6-4AE0-BFEC-3BB548CBAE0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660365"/>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1600">
                <a:gradFill>
                  <a:gsLst>
                    <a:gs pos="1250">
                      <a:schemeClr val="tx2"/>
                    </a:gs>
                    <a:gs pos="99000">
                      <a:schemeClr val="tx2"/>
                    </a:gs>
                  </a:gsLst>
                  <a:lin ang="5400000" scaled="0"/>
                </a:gradFill>
              </a:rPr>
              <a:t>Reference to visualization tips: </a:t>
            </a:r>
            <a:r>
              <a:rPr lang="en-US" sz="1200" u="sng" kern="1200">
                <a:solidFill>
                  <a:schemeClr val="tx1"/>
                </a:solidFill>
                <a:effectLst/>
                <a:latin typeface="+mn-lt"/>
                <a:ea typeface="+mn-ea"/>
                <a:cs typeface="+mn-cs"/>
                <a:hlinkClick r:id="rId3"/>
              </a:rPr>
              <a:t>http://www.stratigent.com/sites/default/files/images/Top%20Visualization.png</a:t>
            </a:r>
            <a:r>
              <a:rPr lang="en-US" sz="1200" kern="1200">
                <a:solidFill>
                  <a:schemeClr val="tx1"/>
                </a:solidFill>
                <a:effectLst/>
                <a:latin typeface="+mn-lt"/>
                <a:ea typeface="+mn-ea"/>
                <a:cs typeface="+mn-cs"/>
              </a:rPr>
              <a:t> </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75C3270-D5B6-4AE0-BFEC-3BB548CBAE0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05407077"/>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GB" sz="1600">
              <a:gradFill>
                <a:gsLst>
                  <a:gs pos="1250">
                    <a:schemeClr val="tx2"/>
                  </a:gs>
                  <a:gs pos="99000">
                    <a:schemeClr val="tx2"/>
                  </a:gs>
                </a:gsLst>
                <a:lin ang="5400000" scaled="0"/>
              </a:gradFill>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75C3270-D5B6-4AE0-BFEC-3BB548CBAE0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74425165"/>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GB" sz="1600">
              <a:gradFill>
                <a:gsLst>
                  <a:gs pos="1250">
                    <a:schemeClr val="tx2"/>
                  </a:gs>
                  <a:gs pos="99000">
                    <a:schemeClr val="tx2"/>
                  </a:gs>
                </a:gsLst>
                <a:lin ang="5400000" scaled="0"/>
              </a:gradFill>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75C3270-D5B6-4AE0-BFEC-3BB548CBAE0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7496954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a:p>
        </p:txBody>
      </p:sp>
      <p:sp>
        <p:nvSpPr>
          <p:cNvPr id="4" name="Plassholder for lysbildenummer 3"/>
          <p:cNvSpPr>
            <a:spLocks noGrp="1"/>
          </p:cNvSpPr>
          <p:nvPr>
            <p:ph type="sldNum" sz="quarter" idx="10"/>
          </p:nvPr>
        </p:nvSpPr>
        <p:spPr/>
        <p:txBody>
          <a:bodyPr/>
          <a:lstStyle/>
          <a:p>
            <a:fld id="{EB20C58C-FFDB-469E-965A-A16F30368694}" type="slidenum">
              <a:rPr lang="en-US" smtClean="0"/>
              <a:t>6</a:t>
            </a:fld>
            <a:endParaRPr lang="en-US"/>
          </a:p>
        </p:txBody>
      </p:sp>
    </p:spTree>
    <p:extLst>
      <p:ext uri="{BB962C8B-B14F-4D97-AF65-F5344CB8AC3E}">
        <p14:creationId xmlns:p14="http://schemas.microsoft.com/office/powerpoint/2010/main" val="2419043346"/>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GB" sz="1600">
              <a:gradFill>
                <a:gsLst>
                  <a:gs pos="1250">
                    <a:schemeClr val="tx2"/>
                  </a:gs>
                  <a:gs pos="99000">
                    <a:schemeClr val="tx2"/>
                  </a:gs>
                </a:gsLst>
                <a:lin ang="5400000" scaled="0"/>
              </a:gradFill>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75C3270-D5B6-4AE0-BFEC-3BB548CBAE0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81456365"/>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GB" sz="1600">
              <a:gradFill>
                <a:gsLst>
                  <a:gs pos="1250">
                    <a:schemeClr val="tx2"/>
                  </a:gs>
                  <a:gs pos="99000">
                    <a:schemeClr val="tx2"/>
                  </a:gs>
                </a:gsLst>
                <a:lin ang="5400000" scaled="0"/>
              </a:gradFill>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75C3270-D5B6-4AE0-BFEC-3BB548CBAE0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06419483"/>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GB" sz="1600">
              <a:gradFill>
                <a:gsLst>
                  <a:gs pos="1250">
                    <a:schemeClr val="tx2"/>
                  </a:gs>
                  <a:gs pos="99000">
                    <a:schemeClr val="tx2"/>
                  </a:gs>
                </a:gsLst>
                <a:lin ang="5400000" scaled="0"/>
              </a:gradFill>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75C3270-D5B6-4AE0-BFEC-3BB548CBAE0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23446479"/>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GB" sz="1600">
              <a:gradFill>
                <a:gsLst>
                  <a:gs pos="1250">
                    <a:schemeClr val="tx2"/>
                  </a:gs>
                  <a:gs pos="99000">
                    <a:schemeClr val="tx2"/>
                  </a:gs>
                </a:gsLst>
                <a:lin ang="5400000" scaled="0"/>
              </a:gradFill>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75C3270-D5B6-4AE0-BFEC-3BB548CBAE0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48248718"/>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GB" sz="1600">
              <a:gradFill>
                <a:gsLst>
                  <a:gs pos="1250">
                    <a:schemeClr val="tx2"/>
                  </a:gs>
                  <a:gs pos="99000">
                    <a:schemeClr val="tx2"/>
                  </a:gs>
                </a:gsLst>
                <a:lin ang="5400000" scaled="0"/>
              </a:gradFill>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75C3270-D5B6-4AE0-BFEC-3BB548CBAE0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74583465"/>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US" sz="1600"/>
              <a:t>A waterfall chart shows a running total as values are added or subtracted. It's useful for understanding how an initial value (for example, net income) is affected by a series of positive and negative changes.</a:t>
            </a:r>
            <a:endParaRPr lang="en-GB" sz="1600">
              <a:gradFill>
                <a:gsLst>
                  <a:gs pos="1250">
                    <a:schemeClr val="tx2"/>
                  </a:gs>
                  <a:gs pos="99000">
                    <a:schemeClr val="tx2"/>
                  </a:gs>
                </a:gsLst>
                <a:lin ang="5400000" scaled="0"/>
              </a:gradFill>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75C3270-D5B6-4AE0-BFEC-3BB548CBAE0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37985323"/>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GB" sz="1600">
                <a:gradFill>
                  <a:gsLst>
                    <a:gs pos="1250">
                      <a:schemeClr val="tx2"/>
                    </a:gs>
                    <a:gs pos="99000">
                      <a:schemeClr val="tx2"/>
                    </a:gs>
                  </a:gsLst>
                  <a:lin ang="5400000" scaled="0"/>
                </a:gradFill>
              </a:rPr>
              <a:t>The weight</a:t>
            </a:r>
            <a:r>
              <a:rPr lang="en-GB" sz="1600" baseline="0">
                <a:gradFill>
                  <a:gsLst>
                    <a:gs pos="1250">
                      <a:schemeClr val="tx2"/>
                    </a:gs>
                    <a:gs pos="99000">
                      <a:schemeClr val="tx2"/>
                    </a:gs>
                  </a:gsLst>
                  <a:lin ang="5400000" scaled="0"/>
                </a:gradFill>
              </a:rPr>
              <a:t> of the top 10 products in sales is the size of the bubble. It is possible to see the evolution across time.</a:t>
            </a:r>
            <a:endParaRPr lang="en-GB" sz="1600">
              <a:gradFill>
                <a:gsLst>
                  <a:gs pos="1250">
                    <a:schemeClr val="tx2"/>
                  </a:gs>
                  <a:gs pos="99000">
                    <a:schemeClr val="tx2"/>
                  </a:gs>
                </a:gsLst>
                <a:lin ang="5400000" scaled="0"/>
              </a:gradFill>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75C3270-D5B6-4AE0-BFEC-3BB548CBAE0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15267365"/>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GB" sz="1600">
              <a:gradFill>
                <a:gsLst>
                  <a:gs pos="1250">
                    <a:schemeClr val="tx2"/>
                  </a:gs>
                  <a:gs pos="99000">
                    <a:schemeClr val="tx2"/>
                  </a:gs>
                </a:gsLst>
                <a:lin ang="5400000" scaled="0"/>
              </a:gradFill>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75C3270-D5B6-4AE0-BFEC-3BB548CBAE0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90534484"/>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GB" sz="1600">
                <a:gradFill>
                  <a:gsLst>
                    <a:gs pos="1250">
                      <a:schemeClr val="tx2"/>
                    </a:gs>
                    <a:gs pos="99000">
                      <a:schemeClr val="tx2"/>
                    </a:gs>
                  </a:gsLst>
                  <a:lin ang="5400000" scaled="0"/>
                </a:gradFill>
              </a:rPr>
              <a:t>Also allows the</a:t>
            </a:r>
            <a:r>
              <a:rPr lang="en-GB" sz="1600" baseline="0">
                <a:gradFill>
                  <a:gsLst>
                    <a:gs pos="1250">
                      <a:schemeClr val="tx2"/>
                    </a:gs>
                    <a:gs pos="99000">
                      <a:schemeClr val="tx2"/>
                    </a:gs>
                  </a:gsLst>
                  <a:lin ang="5400000" scaled="0"/>
                </a:gradFill>
              </a:rPr>
              <a:t> contribution of parts to the whole.</a:t>
            </a:r>
            <a:endParaRPr lang="en-GB" sz="1600">
              <a:gradFill>
                <a:gsLst>
                  <a:gs pos="1250">
                    <a:schemeClr val="tx2"/>
                  </a:gs>
                  <a:gs pos="99000">
                    <a:schemeClr val="tx2"/>
                  </a:gs>
                </a:gsLst>
                <a:lin ang="5400000" scaled="0"/>
              </a:gradFill>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75C3270-D5B6-4AE0-BFEC-3BB548CBAE0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4034649"/>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GB" sz="1600">
              <a:gradFill>
                <a:gsLst>
                  <a:gs pos="1250">
                    <a:schemeClr val="tx2"/>
                  </a:gs>
                  <a:gs pos="99000">
                    <a:schemeClr val="tx2"/>
                  </a:gs>
                </a:gsLst>
                <a:lin ang="5400000" scaled="0"/>
              </a:gradFill>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75C3270-D5B6-4AE0-BFEC-3BB548CBAE0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0934330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1" indent="0" algn="l" defTabSz="932742" rtl="0" eaLnBrk="1" fontAlgn="auto" latinLnBrk="0" hangingPunct="1">
              <a:lnSpc>
                <a:spcPct val="90000"/>
              </a:lnSpc>
              <a:spcBef>
                <a:spcPts val="0"/>
              </a:spcBef>
              <a:spcAft>
                <a:spcPts val="340"/>
              </a:spcAft>
              <a:buClrTx/>
              <a:buSzTx/>
              <a:buFontTx/>
              <a:buNone/>
              <a:tabLst/>
              <a:defRPr/>
            </a:pPr>
            <a:r>
              <a:rPr lang="en-US" b="1" dirty="0"/>
              <a:t>Key message:</a:t>
            </a:r>
          </a:p>
          <a:p>
            <a:pPr marL="0" marR="0" lvl="1" indent="0" algn="l" defTabSz="932742" rtl="0" eaLnBrk="1" fontAlgn="auto" latinLnBrk="0" hangingPunct="1">
              <a:lnSpc>
                <a:spcPct val="90000"/>
              </a:lnSpc>
              <a:spcBef>
                <a:spcPts val="0"/>
              </a:spcBef>
              <a:spcAft>
                <a:spcPts val="340"/>
              </a:spcAft>
              <a:buClrTx/>
              <a:buSzTx/>
              <a:buFontTx/>
              <a:buNone/>
              <a:tabLst/>
              <a:defRPr/>
            </a:pPr>
            <a:r>
              <a:rPr lang="en-US" sz="1200" kern="1200" dirty="0">
                <a:solidFill>
                  <a:schemeClr val="tx1"/>
                </a:solidFill>
                <a:latin typeface="+mn-lt"/>
                <a:ea typeface="Calibri" panose="020F0502020204030204" pitchFamily="34" charset="0"/>
                <a:cs typeface="Times New Roman" panose="02020603050405020304" pitchFamily="18" charset="0"/>
              </a:rPr>
              <a:t>Power BI is a Software as a Service (SaaS) BI solution</a:t>
            </a:r>
          </a:p>
          <a:p>
            <a:pPr marL="0" marR="0" lvl="1" indent="0" algn="l" defTabSz="932742" rtl="0" eaLnBrk="1" fontAlgn="auto" latinLnBrk="0" hangingPunct="1">
              <a:lnSpc>
                <a:spcPct val="90000"/>
              </a:lnSpc>
              <a:spcBef>
                <a:spcPts val="0"/>
              </a:spcBef>
              <a:spcAft>
                <a:spcPts val="340"/>
              </a:spcAft>
              <a:buClrTx/>
              <a:buSzTx/>
              <a:buFontTx/>
              <a:buNone/>
              <a:tabLst/>
              <a:defRPr/>
            </a:pPr>
            <a:endParaRPr lang="en-US" sz="1200" kern="1200" dirty="0">
              <a:solidFill>
                <a:schemeClr val="tx1"/>
              </a:solidFill>
              <a:latin typeface="+mn-lt"/>
              <a:ea typeface="Calibri" panose="020F0502020204030204" pitchFamily="34" charset="0"/>
              <a:cs typeface="Times New Roman" panose="02020603050405020304" pitchFamily="18" charset="0"/>
            </a:endParaRPr>
          </a:p>
          <a:p>
            <a:pPr marL="0" marR="0" lvl="1" indent="0" algn="l" defTabSz="932742" rtl="0" eaLnBrk="1" fontAlgn="auto" latinLnBrk="0" hangingPunct="1">
              <a:lnSpc>
                <a:spcPct val="90000"/>
              </a:lnSpc>
              <a:spcBef>
                <a:spcPts val="0"/>
              </a:spcBef>
              <a:spcAft>
                <a:spcPts val="340"/>
              </a:spcAft>
              <a:buClrTx/>
              <a:buSzTx/>
              <a:buFontTx/>
              <a:buNone/>
              <a:tabLst/>
              <a:defRPr/>
            </a:pPr>
            <a:r>
              <a:rPr lang="en-US" sz="1200" b="1" kern="1200" dirty="0">
                <a:solidFill>
                  <a:schemeClr val="tx1"/>
                </a:solidFill>
                <a:latin typeface="+mn-lt"/>
                <a:ea typeface="Calibri" panose="020F0502020204030204" pitchFamily="34" charset="0"/>
                <a:cs typeface="Times New Roman" panose="02020603050405020304" pitchFamily="18" charset="0"/>
              </a:rPr>
              <a:t>Talking points:</a:t>
            </a:r>
            <a:br>
              <a:rPr lang="en-US" sz="1200" b="1" kern="1200" dirty="0">
                <a:solidFill>
                  <a:schemeClr val="tx1"/>
                </a:solidFill>
                <a:latin typeface="+mn-lt"/>
                <a:ea typeface="Calibri" panose="020F0502020204030204" pitchFamily="34" charset="0"/>
                <a:cs typeface="Times New Roman" panose="02020603050405020304" pitchFamily="18" charset="0"/>
              </a:rPr>
            </a:br>
            <a:r>
              <a:rPr lang="en-US" sz="1200" b="0" kern="1200" dirty="0">
                <a:solidFill>
                  <a:schemeClr val="tx1"/>
                </a:solidFill>
                <a:latin typeface="+mn-lt"/>
                <a:ea typeface="Calibri" panose="020F0502020204030204" pitchFamily="34" charset="0"/>
                <a:cs typeface="Times New Roman" panose="02020603050405020304" pitchFamily="18" charset="0"/>
              </a:rPr>
              <a:t>Power BI</a:t>
            </a:r>
            <a:r>
              <a:rPr lang="en-US" sz="1200" kern="1200" dirty="0">
                <a:solidFill>
                  <a:schemeClr val="tx1"/>
                </a:solidFill>
                <a:latin typeface="+mn-lt"/>
                <a:ea typeface="Calibri" panose="020F0502020204030204" pitchFamily="34" charset="0"/>
                <a:cs typeface="Times New Roman" panose="02020603050405020304" pitchFamily="18" charset="0"/>
              </a:rPr>
              <a:t> enables fast deployment with</a:t>
            </a:r>
            <a:r>
              <a:rPr lang="en-US" sz="1200" kern="1200" baseline="0" dirty="0">
                <a:solidFill>
                  <a:schemeClr val="tx1"/>
                </a:solidFill>
                <a:latin typeface="+mn-lt"/>
                <a:ea typeface="Calibri" panose="020F0502020204030204" pitchFamily="34" charset="0"/>
                <a:cs typeface="Times New Roman" panose="02020603050405020304" pitchFamily="18" charset="0"/>
              </a:rPr>
              <a:t> guaranteed SLAs for uptime</a:t>
            </a:r>
          </a:p>
          <a:p>
            <a:pPr marL="0" marR="0" lvl="1" indent="0" algn="l" defTabSz="932742" rtl="0" eaLnBrk="1" fontAlgn="auto" latinLnBrk="0" hangingPunct="1">
              <a:lnSpc>
                <a:spcPct val="90000"/>
              </a:lnSpc>
              <a:spcBef>
                <a:spcPts val="0"/>
              </a:spcBef>
              <a:spcAft>
                <a:spcPts val="340"/>
              </a:spcAft>
              <a:buClrTx/>
              <a:buSzTx/>
              <a:buFontTx/>
              <a:buNone/>
              <a:tabLst/>
              <a:defRPr/>
            </a:pPr>
            <a:r>
              <a:rPr lang="en-US" sz="1200" kern="1200" baseline="0" dirty="0">
                <a:solidFill>
                  <a:schemeClr val="tx1"/>
                </a:solidFill>
                <a:latin typeface="+mn-lt"/>
                <a:ea typeface="Calibri" panose="020F0502020204030204" pitchFamily="34" charset="0"/>
                <a:cs typeface="Times New Roman" panose="02020603050405020304" pitchFamily="18" charset="0"/>
              </a:rPr>
              <a:t>Power BI scales to your demands, without having to worry about new hardware acquisitions and maintenance</a:t>
            </a:r>
          </a:p>
          <a:p>
            <a:pPr marL="0" marR="0" lvl="1" indent="0" algn="l" defTabSz="932742" rtl="0" eaLnBrk="1" fontAlgn="auto" latinLnBrk="0" hangingPunct="1">
              <a:lnSpc>
                <a:spcPct val="90000"/>
              </a:lnSpc>
              <a:spcBef>
                <a:spcPts val="0"/>
              </a:spcBef>
              <a:spcAft>
                <a:spcPts val="340"/>
              </a:spcAft>
              <a:buClrTx/>
              <a:buSzTx/>
              <a:buFontTx/>
              <a:buNone/>
              <a:tabLst/>
              <a:defRPr/>
            </a:pPr>
            <a:r>
              <a:rPr lang="en-US" sz="1200" kern="1200" dirty="0">
                <a:solidFill>
                  <a:schemeClr val="tx1"/>
                </a:solidFill>
                <a:latin typeface="+mn-lt"/>
                <a:ea typeface="Calibri" panose="020F0502020204030204" pitchFamily="34" charset="0"/>
                <a:cs typeface="Times New Roman" panose="02020603050405020304" pitchFamily="18" charset="0"/>
              </a:rPr>
              <a:t>The service is updated for you</a:t>
            </a:r>
          </a:p>
          <a:p>
            <a:pPr marL="0" marR="0" lvl="1" indent="0" algn="l" defTabSz="932742" rtl="0" eaLnBrk="1" fontAlgn="auto" latinLnBrk="0" hangingPunct="1">
              <a:lnSpc>
                <a:spcPct val="90000"/>
              </a:lnSpc>
              <a:spcBef>
                <a:spcPts val="0"/>
              </a:spcBef>
              <a:spcAft>
                <a:spcPts val="340"/>
              </a:spcAft>
              <a:buClrTx/>
              <a:buSzTx/>
              <a:buFontTx/>
              <a:buNone/>
              <a:tabLst/>
              <a:defRPr/>
            </a:pPr>
            <a:r>
              <a:rPr lang="en-US" sz="1200" b="0" i="0" kern="1200" dirty="0">
                <a:solidFill>
                  <a:schemeClr val="tx1"/>
                </a:solidFill>
                <a:effectLst/>
                <a:latin typeface="+mn-lt"/>
                <a:ea typeface="+mn-ea"/>
                <a:cs typeface="+mn-cs"/>
              </a:rPr>
              <a:t>Tenant management and usage logs for Power BI for your company is done through the Power BI admin portal.</a:t>
            </a:r>
          </a:p>
          <a:p>
            <a:pPr marL="0" marR="0" lvl="1" indent="0" algn="l" defTabSz="932742" rtl="0" eaLnBrk="1" fontAlgn="auto" latinLnBrk="0" hangingPunct="1">
              <a:lnSpc>
                <a:spcPct val="90000"/>
              </a:lnSpc>
              <a:spcBef>
                <a:spcPts val="0"/>
              </a:spcBef>
              <a:spcAft>
                <a:spcPts val="340"/>
              </a:spcAft>
              <a:buClrTx/>
              <a:buSzTx/>
              <a:buFontTx/>
              <a:buNone/>
              <a:tabLst/>
              <a:defRPr/>
            </a:pPr>
            <a:r>
              <a:rPr lang="en-US" sz="1200" b="0" i="0" kern="1200" baseline="0" dirty="0">
                <a:solidFill>
                  <a:schemeClr val="tx1"/>
                </a:solidFill>
                <a:effectLst/>
                <a:latin typeface="+mn-lt"/>
                <a:ea typeface="+mn-ea"/>
                <a:cs typeface="+mn-cs"/>
              </a:rPr>
              <a:t>Security and auditing are managed in the Office 365 Admin Portal.</a:t>
            </a:r>
            <a:r>
              <a:rPr lang="en-US" sz="1200" b="0" i="0" kern="1200" dirty="0">
                <a:solidFill>
                  <a:schemeClr val="tx1"/>
                </a:solidFill>
                <a:effectLst/>
                <a:latin typeface="+mn-lt"/>
                <a:ea typeface="+mn-ea"/>
                <a:cs typeface="+mn-cs"/>
              </a:rPr>
              <a:t> Access to the O365 admin portal can be</a:t>
            </a:r>
            <a:r>
              <a:rPr lang="en-US" sz="1200" b="0" i="0" kern="1200" baseline="0" dirty="0">
                <a:solidFill>
                  <a:schemeClr val="tx1"/>
                </a:solidFill>
                <a:effectLst/>
                <a:latin typeface="+mn-lt"/>
                <a:ea typeface="+mn-ea"/>
                <a:cs typeface="+mn-cs"/>
              </a:rPr>
              <a:t> secured with the Power BI Admin role.</a:t>
            </a:r>
            <a:endParaRPr lang="en-US" sz="1200" kern="1200" dirty="0">
              <a:solidFill>
                <a:schemeClr val="tx1"/>
              </a:solidFill>
              <a:latin typeface="+mn-lt"/>
              <a:ea typeface="Calibri" panose="020F0502020204030204" pitchFamily="34" charset="0"/>
              <a:cs typeface="Times New Roman" panose="02020603050405020304" pitchFamily="18" charset="0"/>
            </a:endParaRPr>
          </a:p>
          <a:p>
            <a:pPr marL="0" marR="0" lvl="1" indent="0" algn="l" defTabSz="932742" rtl="0" eaLnBrk="1" fontAlgn="auto" latinLnBrk="0" hangingPunct="1">
              <a:lnSpc>
                <a:spcPct val="90000"/>
              </a:lnSpc>
              <a:spcBef>
                <a:spcPts val="0"/>
              </a:spcBef>
              <a:spcAft>
                <a:spcPts val="340"/>
              </a:spcAft>
              <a:buClrTx/>
              <a:buSzTx/>
              <a:buFontTx/>
              <a:buNone/>
              <a:tabLst/>
              <a:defRPr/>
            </a:pPr>
            <a:r>
              <a:rPr lang="en-US" sz="1200" kern="1200" dirty="0">
                <a:solidFill>
                  <a:schemeClr val="tx1"/>
                </a:solidFill>
                <a:latin typeface="+mn-lt"/>
                <a:ea typeface="Calibri" panose="020F0502020204030204" pitchFamily="34" charset="0"/>
                <a:cs typeface="Times New Roman" panose="02020603050405020304" pitchFamily="18" charset="0"/>
              </a:rPr>
              <a:t>Power BI supports Azure AD Conditional Access to provide more control for how users access Power BI. </a:t>
            </a:r>
          </a:p>
          <a:p>
            <a:pPr marL="0" marR="0" lvl="1" indent="0" algn="l" defTabSz="932742" rtl="0" eaLnBrk="1" fontAlgn="auto" latinLnBrk="0" hangingPunct="1">
              <a:lnSpc>
                <a:spcPct val="90000"/>
              </a:lnSpc>
              <a:spcBef>
                <a:spcPts val="0"/>
              </a:spcBef>
              <a:spcAft>
                <a:spcPts val="340"/>
              </a:spcAft>
              <a:buClrTx/>
              <a:buSzTx/>
              <a:buFontTx/>
              <a:buNone/>
              <a:tabLst/>
              <a:defRPr/>
            </a:pPr>
            <a:r>
              <a:rPr lang="en-US" sz="1200" kern="1200" dirty="0">
                <a:solidFill>
                  <a:schemeClr val="tx1"/>
                </a:solidFill>
                <a:latin typeface="+mn-lt"/>
                <a:ea typeface="Calibri" panose="020F0502020204030204" pitchFamily="34" charset="0"/>
                <a:cs typeface="Times New Roman" panose="02020603050405020304" pitchFamily="18" charset="0"/>
              </a:rPr>
              <a:t>Power BI Auditing allows administrators to monitor important user activities. </a:t>
            </a:r>
          </a:p>
        </p:txBody>
      </p:sp>
      <p:sp>
        <p:nvSpPr>
          <p:cNvPr id="4" name="Header Placeholder 3"/>
          <p:cNvSpPr>
            <a:spLocks noGrp="1"/>
          </p:cNvSpPr>
          <p:nvPr>
            <p:ph type="hdr" sz="quarter" idx="10"/>
          </p:nvPr>
        </p:nvSpPr>
        <p:spPr/>
        <p:txBody>
          <a:bodyPr/>
          <a:lstStyle/>
          <a:p>
            <a:endParaRPr lang="en-US">
              <a:solidFill>
                <a:prstClr val="black"/>
              </a:solidFill>
            </a:endParaRPr>
          </a:p>
        </p:txBody>
      </p:sp>
      <p:sp>
        <p:nvSpPr>
          <p:cNvPr id="5" name="Footer Placeholder 4"/>
          <p:cNvSpPr>
            <a:spLocks noGrp="1"/>
          </p:cNvSpPr>
          <p:nvPr>
            <p:ph type="ftr" sz="quarter" idx="11"/>
          </p:nvPr>
        </p:nvSpPr>
        <p:spPr/>
        <p:txBody>
          <a:bodyPr/>
          <a:lstStyle/>
          <a:p>
            <a:pPr defTabSz="922783"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22783"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9F34A55B-0232-4B2A-8DB0-D59B999B87D7}" type="datetime1">
              <a:rPr lang="en-US" smtClean="0">
                <a:solidFill>
                  <a:prstClr val="black"/>
                </a:solidFill>
              </a:rPr>
              <a:pPr/>
              <a:t>11/24/2020</a:t>
            </a:fld>
            <a:endParaRPr lang="en-US">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7</a:t>
            </a:fld>
            <a:endParaRPr lang="en-US">
              <a:solidFill>
                <a:prstClr val="black"/>
              </a:solidFill>
            </a:endParaRPr>
          </a:p>
        </p:txBody>
      </p:sp>
    </p:spTree>
    <p:extLst>
      <p:ext uri="{BB962C8B-B14F-4D97-AF65-F5344CB8AC3E}">
        <p14:creationId xmlns:p14="http://schemas.microsoft.com/office/powerpoint/2010/main" val="4252283938"/>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600" b="1"/>
              <a:t>When to use a Filled Map</a:t>
            </a:r>
          </a:p>
          <a:p>
            <a:r>
              <a:rPr lang="en-US" sz="1600"/>
              <a:t>Filled Maps are a great choice:</a:t>
            </a:r>
          </a:p>
          <a:p>
            <a:r>
              <a:rPr lang="en-US" sz="1600"/>
              <a:t>to display quantitative information on a map.</a:t>
            </a:r>
          </a:p>
          <a:p>
            <a:r>
              <a:rPr lang="en-US" sz="1600"/>
              <a:t>to show spatial patterns and relationships.</a:t>
            </a:r>
          </a:p>
          <a:p>
            <a:r>
              <a:rPr lang="en-US" sz="1600"/>
              <a:t>when your data is standardized.</a:t>
            </a:r>
          </a:p>
          <a:p>
            <a:r>
              <a:rPr lang="en-US" sz="1600"/>
              <a:t>when working with socioeconomic data.</a:t>
            </a:r>
          </a:p>
          <a:p>
            <a:r>
              <a:rPr lang="en-US" sz="1600"/>
              <a:t>when defined regions are important.</a:t>
            </a:r>
          </a:p>
          <a:p>
            <a:r>
              <a:rPr lang="en-US" sz="1600"/>
              <a:t>to get an overview of the distribution across the geographic locations.</a:t>
            </a:r>
          </a:p>
          <a:p>
            <a:pPr marL="0" indent="0">
              <a:buFont typeface="Arial" panose="020B0604020202020204" pitchFamily="34" charset="0"/>
              <a:buNone/>
            </a:pPr>
            <a:endParaRPr lang="en-GB" sz="1600">
              <a:gradFill>
                <a:gsLst>
                  <a:gs pos="1250">
                    <a:schemeClr val="tx2"/>
                  </a:gs>
                  <a:gs pos="99000">
                    <a:schemeClr val="tx2"/>
                  </a:gs>
                </a:gsLst>
                <a:lin ang="5400000" scaled="0"/>
              </a:gradFill>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75C3270-D5B6-4AE0-BFEC-3BB548CBAE0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90823070"/>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GB" sz="1600">
                <a:gradFill>
                  <a:gsLst>
                    <a:gs pos="1250">
                      <a:schemeClr val="tx2"/>
                    </a:gs>
                    <a:gs pos="99000">
                      <a:schemeClr val="tx2"/>
                    </a:gs>
                  </a:gsLst>
                  <a:lin ang="5400000" scaled="0"/>
                </a:gradFill>
              </a:rPr>
              <a:t>This is a PREVIEW feature as of November 2016</a:t>
            </a:r>
          </a:p>
          <a:p>
            <a:pPr marL="0" indent="0">
              <a:buFont typeface="Arial" panose="020B0604020202020204" pitchFamily="34" charset="0"/>
              <a:buNone/>
            </a:pPr>
            <a:endParaRPr lang="en-GB" sz="1600">
              <a:gradFill>
                <a:gsLst>
                  <a:gs pos="1250">
                    <a:schemeClr val="tx2"/>
                  </a:gs>
                  <a:gs pos="99000">
                    <a:schemeClr val="tx2"/>
                  </a:gs>
                </a:gsLst>
                <a:lin ang="5400000" scaled="0"/>
              </a:gradFill>
            </a:endParaRPr>
          </a:p>
          <a:p>
            <a:pPr marL="0" indent="0">
              <a:buFont typeface="Arial" panose="020B0604020202020204" pitchFamily="34" charset="0"/>
              <a:buNone/>
            </a:pPr>
            <a:r>
              <a:rPr lang="en-GB" sz="1600">
                <a:gradFill>
                  <a:gsLst>
                    <a:gs pos="1250">
                      <a:schemeClr val="tx2"/>
                    </a:gs>
                    <a:gs pos="99000">
                      <a:schemeClr val="tx2"/>
                    </a:gs>
                  </a:gsLst>
                  <a:lin ang="5400000" scaled="0"/>
                </a:gradFill>
              </a:rPr>
              <a:t>http://www.esri.com/software/arcgis/arcgis-maps-for-power-bi</a:t>
            </a:r>
          </a:p>
          <a:p>
            <a:pPr marL="0" indent="0">
              <a:buFont typeface="Arial" panose="020B0604020202020204" pitchFamily="34" charset="0"/>
              <a:buNone/>
            </a:pPr>
            <a:r>
              <a:rPr lang="en-GB" sz="1600">
                <a:gradFill>
                  <a:gsLst>
                    <a:gs pos="1250">
                      <a:schemeClr val="tx2"/>
                    </a:gs>
                    <a:gs pos="99000">
                      <a:schemeClr val="tx2"/>
                    </a:gs>
                  </a:gsLst>
                  <a:lin ang="5400000" scaled="0"/>
                </a:gradFill>
              </a:rPr>
              <a:t>https://powerbi.microsoft.com/en-us/documentation/powerbi-service-tutorial-arcgis/</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75C3270-D5B6-4AE0-BFEC-3BB548CBAE0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42213622"/>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GB" sz="1600">
                <a:gradFill>
                  <a:gsLst>
                    <a:gs pos="1250">
                      <a:schemeClr val="tx2"/>
                    </a:gs>
                    <a:gs pos="99000">
                      <a:schemeClr val="tx2"/>
                    </a:gs>
                  </a:gsLst>
                  <a:lin ang="5400000" scaled="0"/>
                </a:gradFill>
              </a:rPr>
              <a:t>This is a PREVIEW feature as of November 2016</a:t>
            </a:r>
          </a:p>
          <a:p>
            <a:pPr marL="0" indent="0">
              <a:buFont typeface="Arial" panose="020B0604020202020204" pitchFamily="34" charset="0"/>
              <a:buNone/>
            </a:pPr>
            <a:endParaRPr lang="en-GB" sz="1600">
              <a:gradFill>
                <a:gsLst>
                  <a:gs pos="1250">
                    <a:schemeClr val="tx2"/>
                  </a:gs>
                  <a:gs pos="99000">
                    <a:schemeClr val="tx2"/>
                  </a:gs>
                </a:gsLst>
                <a:lin ang="5400000" scaled="0"/>
              </a:gradFill>
            </a:endParaRPr>
          </a:p>
          <a:p>
            <a:pPr marL="0" indent="0">
              <a:buFont typeface="Arial" panose="020B0604020202020204" pitchFamily="34" charset="0"/>
              <a:buNone/>
            </a:pPr>
            <a:r>
              <a:rPr lang="en-GB" sz="1600">
                <a:gradFill>
                  <a:gsLst>
                    <a:gs pos="1250">
                      <a:schemeClr val="tx2"/>
                    </a:gs>
                    <a:gs pos="99000">
                      <a:schemeClr val="tx2"/>
                    </a:gs>
                  </a:gsLst>
                  <a:lin ang="5400000" scaled="0"/>
                </a:gradFill>
              </a:rPr>
              <a:t>https://powerbi.microsoft.com/en-us/docu</a:t>
            </a:r>
          </a:p>
          <a:p>
            <a:pPr marL="0" indent="0">
              <a:buFont typeface="Arial" panose="020B0604020202020204" pitchFamily="34" charset="0"/>
              <a:buNone/>
            </a:pPr>
            <a:endParaRPr lang="en-GB" sz="1600">
              <a:gradFill>
                <a:gsLst>
                  <a:gs pos="1250">
                    <a:schemeClr val="tx2"/>
                  </a:gs>
                  <a:gs pos="99000">
                    <a:schemeClr val="tx2"/>
                  </a:gs>
                </a:gsLst>
                <a:lin ang="5400000" scaled="0"/>
              </a:gradFill>
            </a:endParaRPr>
          </a:p>
          <a:p>
            <a:pPr marL="0" indent="0">
              <a:buFont typeface="Arial" panose="020B0604020202020204" pitchFamily="34" charset="0"/>
              <a:buNone/>
            </a:pPr>
            <a:r>
              <a:rPr lang="en-US" sz="1600"/>
              <a:t>Custom maps can be geographical, seating arrangements, floor plans, and other types of maps</a:t>
            </a:r>
            <a:endParaRPr lang="en-GB" sz="1600">
              <a:gradFill>
                <a:gsLst>
                  <a:gs pos="1250">
                    <a:schemeClr val="tx2"/>
                  </a:gs>
                  <a:gs pos="99000">
                    <a:schemeClr val="tx2"/>
                  </a:gs>
                </a:gsLst>
                <a:lin ang="5400000" scaled="0"/>
              </a:gradFill>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75C3270-D5B6-4AE0-BFEC-3BB548CBAE0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63338725"/>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GB" sz="1600">
              <a:gradFill>
                <a:gsLst>
                  <a:gs pos="1250">
                    <a:schemeClr val="tx2"/>
                  </a:gs>
                  <a:gs pos="99000">
                    <a:schemeClr val="tx2"/>
                  </a:gs>
                </a:gsLst>
                <a:lin ang="5400000" scaled="0"/>
              </a:gradFill>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75C3270-D5B6-4AE0-BFEC-3BB548CBAE0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9608507"/>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GB" sz="1600">
                <a:gradFill>
                  <a:gsLst>
                    <a:gs pos="1250">
                      <a:schemeClr val="tx2"/>
                    </a:gs>
                    <a:gs pos="99000">
                      <a:schemeClr val="tx2"/>
                    </a:gs>
                  </a:gsLst>
                  <a:lin ang="5400000" scaled="0"/>
                </a:gradFill>
              </a:rPr>
              <a:t>Multi-row</a:t>
            </a:r>
            <a:r>
              <a:rPr lang="en-GB" sz="1600" baseline="0">
                <a:gradFill>
                  <a:gsLst>
                    <a:gs pos="1250">
                      <a:schemeClr val="tx2"/>
                    </a:gs>
                    <a:gs pos="99000">
                      <a:schemeClr val="tx2"/>
                    </a:gs>
                  </a:gsLst>
                  <a:lin ang="5400000" scaled="0"/>
                </a:gradFill>
              </a:rPr>
              <a:t> card can be formatted.</a:t>
            </a:r>
            <a:endParaRPr lang="en-GB" sz="1600">
              <a:gradFill>
                <a:gsLst>
                  <a:gs pos="1250">
                    <a:schemeClr val="tx2"/>
                  </a:gs>
                  <a:gs pos="99000">
                    <a:schemeClr val="tx2"/>
                  </a:gs>
                </a:gsLst>
                <a:lin ang="5400000" scaled="0"/>
              </a:gradFill>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75C3270-D5B6-4AE0-BFEC-3BB548CBAE0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44375230"/>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GB" sz="1600">
                <a:gradFill>
                  <a:gsLst>
                    <a:gs pos="1250">
                      <a:schemeClr val="tx2"/>
                    </a:gs>
                    <a:gs pos="99000">
                      <a:schemeClr val="tx2"/>
                    </a:gs>
                  </a:gsLst>
                  <a:lin ang="5400000" scaled="0"/>
                </a:gradFill>
              </a:rPr>
              <a:t>In KPI can also control direction (high is good, low is bad)</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75C3270-D5B6-4AE0-BFEC-3BB548CBAE0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99696208"/>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GB" sz="1600">
                <a:gradFill>
                  <a:gsLst>
                    <a:gs pos="1250">
                      <a:schemeClr val="tx2"/>
                    </a:gs>
                    <a:gs pos="99000">
                      <a:schemeClr val="tx2"/>
                    </a:gs>
                  </a:gsLst>
                  <a:lin ang="5400000" scaled="0"/>
                </a:gradFill>
              </a:rPr>
              <a:t>Tables and matrixes</a:t>
            </a:r>
            <a:r>
              <a:rPr lang="en-GB" sz="1600" baseline="0">
                <a:gradFill>
                  <a:gsLst>
                    <a:gs pos="1250">
                      <a:schemeClr val="tx2"/>
                    </a:gs>
                    <a:gs pos="99000">
                      <a:schemeClr val="tx2"/>
                    </a:gs>
                  </a:gsLst>
                  <a:lin ang="5400000" scaled="0"/>
                </a:gradFill>
              </a:rPr>
              <a:t> can be formatted - https://powerbi.microsoft.com/en-us/blog/power-bi-desktop-april-update-feature-summary/</a:t>
            </a:r>
          </a:p>
          <a:p>
            <a:pPr marL="0" indent="0">
              <a:buFont typeface="Arial" panose="020B0604020202020204" pitchFamily="34" charset="0"/>
              <a:buNone/>
            </a:pPr>
            <a:r>
              <a:rPr lang="en-GB" sz="1600" baseline="0">
                <a:gradFill>
                  <a:gsLst>
                    <a:gs pos="1250">
                      <a:schemeClr val="tx2"/>
                    </a:gs>
                    <a:gs pos="99000">
                      <a:schemeClr val="tx2"/>
                    </a:gs>
                  </a:gsLst>
                  <a:lin ang="5400000" scaled="0"/>
                </a:gradFill>
              </a:rPr>
              <a:t>Conditional formatting can also be applied to tables only</a:t>
            </a:r>
            <a:endParaRPr lang="en-GB" sz="1600">
              <a:gradFill>
                <a:gsLst>
                  <a:gs pos="1250">
                    <a:schemeClr val="tx2"/>
                  </a:gs>
                  <a:gs pos="99000">
                    <a:schemeClr val="tx2"/>
                  </a:gs>
                </a:gsLst>
                <a:lin ang="5400000" scaled="0"/>
              </a:gradFill>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75C3270-D5B6-4AE0-BFEC-3BB548CBAE0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76445987"/>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GB" sz="1600">
                <a:gradFill>
                  <a:gsLst>
                    <a:gs pos="1250">
                      <a:schemeClr val="tx2"/>
                    </a:gs>
                    <a:gs pos="99000">
                      <a:schemeClr val="tx2"/>
                    </a:gs>
                  </a:gsLst>
                  <a:lin ang="5400000" scaled="0"/>
                </a:gradFill>
              </a:rPr>
              <a:t>Tables and matrixes</a:t>
            </a:r>
            <a:r>
              <a:rPr lang="en-GB" sz="1600" baseline="0">
                <a:gradFill>
                  <a:gsLst>
                    <a:gs pos="1250">
                      <a:schemeClr val="tx2"/>
                    </a:gs>
                    <a:gs pos="99000">
                      <a:schemeClr val="tx2"/>
                    </a:gs>
                  </a:gsLst>
                  <a:lin ang="5400000" scaled="0"/>
                </a:gradFill>
              </a:rPr>
              <a:t> can be formatted - https://powerbi.microsoft.com/en-us/blog/power-bi-desktop-april-update-feature-summary/</a:t>
            </a:r>
          </a:p>
          <a:p>
            <a:pPr marL="0" indent="0">
              <a:buFont typeface="Arial" panose="020B0604020202020204" pitchFamily="34" charset="0"/>
              <a:buNone/>
            </a:pPr>
            <a:r>
              <a:rPr lang="en-GB" sz="1600" baseline="0">
                <a:gradFill>
                  <a:gsLst>
                    <a:gs pos="1250">
                      <a:schemeClr val="tx2"/>
                    </a:gs>
                    <a:gs pos="99000">
                      <a:schemeClr val="tx2"/>
                    </a:gs>
                  </a:gsLst>
                  <a:lin ang="5400000" scaled="0"/>
                </a:gradFill>
              </a:rPr>
              <a:t>Conditional formatting can also be applied to tables only</a:t>
            </a:r>
            <a:endParaRPr lang="en-GB" sz="1600">
              <a:gradFill>
                <a:gsLst>
                  <a:gs pos="1250">
                    <a:schemeClr val="tx2"/>
                  </a:gs>
                  <a:gs pos="99000">
                    <a:schemeClr val="tx2"/>
                  </a:gs>
                </a:gsLst>
                <a:lin ang="5400000" scaled="0"/>
              </a:gradFill>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75C3270-D5B6-4AE0-BFEC-3BB548CBAE0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27334612"/>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GB" sz="1600">
              <a:gradFill>
                <a:gsLst>
                  <a:gs pos="1250">
                    <a:schemeClr val="tx2"/>
                  </a:gs>
                  <a:gs pos="99000">
                    <a:schemeClr val="tx2"/>
                  </a:gs>
                </a:gsLst>
                <a:lin ang="5400000" scaled="0"/>
              </a:gradFill>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75C3270-D5B6-4AE0-BFEC-3BB548CBAE0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74396959"/>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GB" sz="1600">
              <a:gradFill>
                <a:gsLst>
                  <a:gs pos="1250">
                    <a:schemeClr val="tx2"/>
                  </a:gs>
                  <a:gs pos="99000">
                    <a:schemeClr val="tx2"/>
                  </a:gs>
                </a:gsLst>
                <a:lin ang="5400000" scaled="0"/>
              </a:gradFill>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75C3270-D5B6-4AE0-BFEC-3BB548CBAE0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348671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1" indent="0" algn="l" defTabSz="932742" rtl="0" eaLnBrk="1" fontAlgn="auto" latinLnBrk="0" hangingPunct="1">
              <a:lnSpc>
                <a:spcPct val="90000"/>
              </a:lnSpc>
              <a:spcBef>
                <a:spcPts val="0"/>
              </a:spcBef>
              <a:spcAft>
                <a:spcPts val="340"/>
              </a:spcAft>
              <a:buClrTx/>
              <a:buSzTx/>
              <a:buFontTx/>
              <a:buNone/>
              <a:tabLst/>
              <a:defRPr/>
            </a:pPr>
            <a:r>
              <a:rPr lang="en-US" b="1">
                <a:solidFill>
                  <a:srgbClr val="000000"/>
                </a:solidFill>
              </a:rPr>
              <a:t>Key message:</a:t>
            </a:r>
          </a:p>
          <a:p>
            <a:pPr marL="0" marR="0" lvl="1" indent="0" algn="l" defTabSz="932742" rtl="0" eaLnBrk="1" fontAlgn="auto" latinLnBrk="0" hangingPunct="1">
              <a:lnSpc>
                <a:spcPct val="90000"/>
              </a:lnSpc>
              <a:spcBef>
                <a:spcPts val="0"/>
              </a:spcBef>
              <a:spcAft>
                <a:spcPts val="340"/>
              </a:spcAft>
              <a:buClrTx/>
              <a:buSzTx/>
              <a:buFontTx/>
              <a:buNone/>
              <a:tabLst/>
              <a:defRPr/>
            </a:pPr>
            <a:r>
              <a:rPr lang="en-US">
                <a:solidFill>
                  <a:srgbClr val="000000"/>
                </a:solidFill>
              </a:rPr>
              <a:t>Power BI connects to a variety of data sources, enabling you to</a:t>
            </a:r>
            <a:r>
              <a:rPr lang="en-US" baseline="0">
                <a:solidFill>
                  <a:srgbClr val="000000"/>
                </a:solidFill>
              </a:rPr>
              <a:t> </a:t>
            </a:r>
            <a:r>
              <a:rPr lang="en-US">
                <a:solidFill>
                  <a:srgbClr val="000000"/>
                </a:solidFill>
              </a:rPr>
              <a:t>view and explore data from hybrid sources in</a:t>
            </a:r>
            <a:r>
              <a:rPr lang="en-US" baseline="0">
                <a:solidFill>
                  <a:srgbClr val="000000"/>
                </a:solidFill>
              </a:rPr>
              <a:t> a single location. </a:t>
            </a:r>
          </a:p>
          <a:p>
            <a:pPr marL="0" marR="0" lvl="1" indent="0" algn="l" defTabSz="932742" rtl="0" eaLnBrk="1" fontAlgn="auto" latinLnBrk="0" hangingPunct="1">
              <a:lnSpc>
                <a:spcPct val="90000"/>
              </a:lnSpc>
              <a:spcBef>
                <a:spcPts val="0"/>
              </a:spcBef>
              <a:spcAft>
                <a:spcPts val="340"/>
              </a:spcAft>
              <a:buClrTx/>
              <a:buSzTx/>
              <a:buFontTx/>
              <a:buNone/>
              <a:tabLst/>
              <a:defRPr/>
            </a:pPr>
            <a:endParaRPr lang="en-US" baseline="0">
              <a:solidFill>
                <a:srgbClr val="000000"/>
              </a:solidFill>
            </a:endParaRPr>
          </a:p>
          <a:p>
            <a:pPr marL="0" marR="0" lvl="1" indent="0" algn="l" defTabSz="932742" rtl="0" eaLnBrk="1" fontAlgn="auto" latinLnBrk="0" hangingPunct="1">
              <a:lnSpc>
                <a:spcPct val="90000"/>
              </a:lnSpc>
              <a:spcBef>
                <a:spcPts val="0"/>
              </a:spcBef>
              <a:spcAft>
                <a:spcPts val="340"/>
              </a:spcAft>
              <a:buClrTx/>
              <a:buSzTx/>
              <a:buFontTx/>
              <a:buNone/>
              <a:tabLst/>
              <a:defRPr/>
            </a:pPr>
            <a:r>
              <a:rPr lang="en-US" b="1" baseline="0">
                <a:solidFill>
                  <a:srgbClr val="000000"/>
                </a:solidFill>
              </a:rPr>
              <a:t>Talking points:</a:t>
            </a:r>
          </a:p>
          <a:p>
            <a:pPr marL="171450" marR="0" lvl="1"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a:solidFill>
                  <a:srgbClr val="000000"/>
                </a:solidFill>
              </a:rPr>
              <a:t>The Power BI</a:t>
            </a:r>
            <a:r>
              <a:rPr lang="en-US" baseline="0">
                <a:solidFill>
                  <a:srgbClr val="000000"/>
                </a:solidFill>
              </a:rPr>
              <a:t> Get Data feature lets you q</a:t>
            </a:r>
            <a:r>
              <a:rPr lang="en-US">
                <a:solidFill>
                  <a:srgbClr val="000000"/>
                </a:solidFill>
              </a:rPr>
              <a:t>uickly and easily connect to all of your dat</a:t>
            </a:r>
            <a:r>
              <a:rPr lang="en-US"/>
              <a:t>a</a:t>
            </a:r>
            <a:endParaRPr lang="en-US">
              <a:solidFill>
                <a:schemeClr val="bg1"/>
              </a:solidFill>
            </a:endParaRPr>
          </a:p>
          <a:p>
            <a:pPr marL="171450" lvl="1" indent="-171450" defTabSz="932742">
              <a:lnSpc>
                <a:spcPct val="90000"/>
              </a:lnSpc>
              <a:spcAft>
                <a:spcPts val="340"/>
              </a:spcAft>
              <a:buFont typeface="Arial" panose="020B0604020202020204" pitchFamily="34" charset="0"/>
              <a:buChar char="•"/>
              <a:defRPr/>
            </a:pPr>
            <a:r>
              <a:rPr lang="en-US">
                <a:solidFill>
                  <a:srgbClr val="000000"/>
                </a:solidFill>
              </a:rPr>
              <a:t>This includes a</a:t>
            </a:r>
            <a:r>
              <a:rPr lang="en-US" baseline="0">
                <a:solidFill>
                  <a:srgbClr val="000000"/>
                </a:solidFill>
              </a:rPr>
              <a:t> range of both cloud sources, on premises sources and specific data files </a:t>
            </a:r>
            <a:r>
              <a:rPr lang="en-US">
                <a:solidFill>
                  <a:srgbClr val="000000"/>
                </a:solidFill>
              </a:rPr>
              <a:t>—from the SaaS solutions you already use to your organization’s on-premises data</a:t>
            </a:r>
          </a:p>
          <a:p>
            <a:pPr marL="171450" indent="-171450">
              <a:buFont typeface="Arial" panose="020B0604020202020204" pitchFamily="34" charset="0"/>
              <a:buChar char="•"/>
            </a:pPr>
            <a:r>
              <a:rPr lang="en-US"/>
              <a:t>Many</a:t>
            </a:r>
            <a:r>
              <a:rPr lang="en-US" baseline="0"/>
              <a:t> sources have been integrated with Power BI, connecting in minutes with pre-built dashboards and reports </a:t>
            </a:r>
          </a:p>
          <a:p>
            <a:pPr marL="171450" indent="-171450">
              <a:buFont typeface="Arial" panose="020B0604020202020204" pitchFamily="34" charset="0"/>
              <a:buChar char="•"/>
            </a:pPr>
            <a:r>
              <a:rPr lang="en-US" baseline="0"/>
              <a:t>For the first time, you can easily get a consolidated view of your data, no matter where the data actually lives</a:t>
            </a:r>
          </a:p>
          <a:p>
            <a:pPr marL="171450" indent="-171450">
              <a:buFont typeface="Arial" panose="020B0604020202020204" pitchFamily="34" charset="0"/>
              <a:buChar char="•"/>
            </a:pPr>
            <a:r>
              <a:rPr lang="en-US"/>
              <a:t>Data from files</a:t>
            </a:r>
          </a:p>
          <a:p>
            <a:pPr marL="171450" indent="-171450">
              <a:buFont typeface="Arial" panose="020B0604020202020204" pitchFamily="34" charset="0"/>
              <a:buChar char="•"/>
            </a:pPr>
            <a:r>
              <a:rPr lang="en-US" sz="1200" b="0" i="0" kern="1200">
                <a:solidFill>
                  <a:schemeClr val="tx1"/>
                </a:solidFill>
                <a:effectLst/>
                <a:latin typeface="+mn-lt"/>
                <a:ea typeface="+mn-ea"/>
                <a:cs typeface="+mn-cs"/>
              </a:rPr>
              <a:t>Solution templates: you don’t need to start from scratch. Start with a working end-to-end enterprise-ready Power BI solution that incorporates top technical and business practices</a:t>
            </a:r>
            <a:endParaRPr lang="en-US"/>
          </a:p>
        </p:txBody>
      </p:sp>
      <p:sp>
        <p:nvSpPr>
          <p:cNvPr id="4" name="Header Placeholder 3"/>
          <p:cNvSpPr>
            <a:spLocks noGrp="1"/>
          </p:cNvSpPr>
          <p:nvPr>
            <p:ph type="hdr" sz="quarter" idx="10"/>
          </p:nvPr>
        </p:nvSpPr>
        <p:spPr/>
        <p:txBody>
          <a:bodyPr/>
          <a:lstStyle/>
          <a:p>
            <a:endParaRPr lang="en-US">
              <a:solidFill>
                <a:prstClr val="black"/>
              </a:solidFill>
            </a:endParaRPr>
          </a:p>
        </p:txBody>
      </p:sp>
      <p:sp>
        <p:nvSpPr>
          <p:cNvPr id="5" name="Footer Placeholder 4"/>
          <p:cNvSpPr>
            <a:spLocks noGrp="1"/>
          </p:cNvSpPr>
          <p:nvPr>
            <p:ph type="ftr" sz="quarter" idx="11"/>
          </p:nvPr>
        </p:nvSpPr>
        <p:spPr/>
        <p:txBody>
          <a:bodyPr/>
          <a:lstStyle/>
          <a:p>
            <a:pPr defTabSz="922783"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22783"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9F34A55B-0232-4B2A-8DB0-D59B999B87D7}" type="datetime1">
              <a:rPr lang="en-US" smtClean="0">
                <a:solidFill>
                  <a:prstClr val="black"/>
                </a:solidFill>
              </a:rPr>
              <a:pPr/>
              <a:t>11/24/2020</a:t>
            </a:fld>
            <a:endParaRPr lang="en-US">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8</a:t>
            </a:fld>
            <a:endParaRPr lang="en-US">
              <a:solidFill>
                <a:prstClr val="black"/>
              </a:solidFill>
            </a:endParaRPr>
          </a:p>
        </p:txBody>
      </p:sp>
    </p:spTree>
    <p:extLst>
      <p:ext uri="{BB962C8B-B14F-4D97-AF65-F5344CB8AC3E}">
        <p14:creationId xmlns:p14="http://schemas.microsoft.com/office/powerpoint/2010/main" val="120327254"/>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GB" sz="1600">
              <a:gradFill>
                <a:gsLst>
                  <a:gs pos="1250">
                    <a:schemeClr val="tx2"/>
                  </a:gs>
                  <a:gs pos="99000">
                    <a:schemeClr val="tx2"/>
                  </a:gs>
                </a:gsLst>
                <a:lin ang="5400000" scaled="0"/>
              </a:gradFill>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75C3270-D5B6-4AE0-BFEC-3BB548CBAE0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80175547"/>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GB" sz="1600">
                <a:gradFill>
                  <a:gsLst>
                    <a:gs pos="1250">
                      <a:schemeClr val="tx2"/>
                    </a:gs>
                    <a:gs pos="99000">
                      <a:schemeClr val="tx2"/>
                    </a:gs>
                  </a:gsLst>
                  <a:lin ang="5400000" scaled="0"/>
                </a:gradFill>
              </a:rPr>
              <a:t>This is a PREVIEW feature as of November 2016</a:t>
            </a:r>
          </a:p>
          <a:p>
            <a:pPr marL="0" indent="0">
              <a:buFont typeface="Arial" panose="020B0604020202020204" pitchFamily="34" charset="0"/>
              <a:buNone/>
            </a:pPr>
            <a:endParaRPr lang="en-GB" sz="1600">
              <a:gradFill>
                <a:gsLst>
                  <a:gs pos="1250">
                    <a:schemeClr val="tx2"/>
                  </a:gs>
                  <a:gs pos="99000">
                    <a:schemeClr val="tx2"/>
                  </a:gs>
                </a:gsLst>
                <a:lin ang="5400000" scaled="0"/>
              </a:gradFill>
            </a:endParaRPr>
          </a:p>
          <a:p>
            <a:pPr marL="0" indent="0">
              <a:buFont typeface="Arial" panose="020B0604020202020204" pitchFamily="34" charset="0"/>
              <a:buNone/>
            </a:pPr>
            <a:r>
              <a:rPr lang="en-US" sz="1600"/>
              <a:t>To enable the preview feature, navigate to File &gt; Options &amp; Settings &gt; Options &gt; Preview Features. Check the “Gridlines and Snap to Grid” box and restart the Desktop</a:t>
            </a:r>
            <a:endParaRPr lang="en-GB" sz="1600">
              <a:gradFill>
                <a:gsLst>
                  <a:gs pos="1250">
                    <a:schemeClr val="tx2"/>
                  </a:gs>
                  <a:gs pos="99000">
                    <a:schemeClr val="tx2"/>
                  </a:gs>
                </a:gsLst>
                <a:lin ang="5400000" scaled="0"/>
              </a:gradFill>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75C3270-D5B6-4AE0-BFEC-3BB548CBAE0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9494675"/>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GB" sz="1600">
              <a:gradFill>
                <a:gsLst>
                  <a:gs pos="1250">
                    <a:schemeClr val="tx2"/>
                  </a:gs>
                  <a:gs pos="99000">
                    <a:schemeClr val="tx2"/>
                  </a:gs>
                </a:gsLst>
                <a:lin ang="5400000" scaled="0"/>
              </a:gradFill>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75C3270-D5B6-4AE0-BFEC-3BB548CBAE0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8626628"/>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GB" sz="1600">
                <a:gradFill>
                  <a:gsLst>
                    <a:gs pos="1250">
                      <a:schemeClr val="tx2"/>
                    </a:gs>
                    <a:gs pos="99000">
                      <a:schemeClr val="tx2"/>
                    </a:gs>
                  </a:gsLst>
                  <a:lin ang="5400000" scaled="0"/>
                </a:gradFill>
              </a:rPr>
              <a:t>The</a:t>
            </a:r>
            <a:r>
              <a:rPr lang="en-GB" sz="1600" baseline="0">
                <a:gradFill>
                  <a:gsLst>
                    <a:gs pos="1250">
                      <a:schemeClr val="tx2"/>
                    </a:gs>
                    <a:gs pos="99000">
                      <a:schemeClr val="tx2"/>
                    </a:gs>
                  </a:gsLst>
                  <a:lin ang="5400000" scaled="0"/>
                </a:gradFill>
              </a:rPr>
              <a:t> aggregation can be changed for numeric fields displayed on the tooltip or Quick Calcs.</a:t>
            </a:r>
            <a:endParaRPr lang="en-GB" sz="1600">
              <a:gradFill>
                <a:gsLst>
                  <a:gs pos="1250">
                    <a:schemeClr val="tx2"/>
                  </a:gs>
                  <a:gs pos="99000">
                    <a:schemeClr val="tx2"/>
                  </a:gs>
                </a:gsLst>
                <a:lin ang="5400000" scaled="0"/>
              </a:gradFill>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75C3270-D5B6-4AE0-BFEC-3BB548CBAE0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56396796"/>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GB" sz="1600">
              <a:gradFill>
                <a:gsLst>
                  <a:gs pos="1250">
                    <a:schemeClr val="tx2"/>
                  </a:gs>
                  <a:gs pos="99000">
                    <a:schemeClr val="tx2"/>
                  </a:gs>
                </a:gsLst>
                <a:lin ang="5400000" scaled="0"/>
              </a:gradFill>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75C3270-D5B6-4AE0-BFEC-3BB548CBAE0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272547"/>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GB" sz="1600">
                <a:gradFill>
                  <a:gsLst>
                    <a:gs pos="1250">
                      <a:schemeClr val="tx2"/>
                    </a:gs>
                    <a:gs pos="99000">
                      <a:schemeClr val="tx2"/>
                    </a:gs>
                  </a:gsLst>
                  <a:lin ang="5400000" scaled="0"/>
                </a:gradFill>
              </a:rPr>
              <a:t>Use powerpoint</a:t>
            </a:r>
            <a:r>
              <a:rPr lang="en-GB" sz="1600" baseline="0">
                <a:gradFill>
                  <a:gsLst>
                    <a:gs pos="1250">
                      <a:schemeClr val="tx2"/>
                    </a:gs>
                    <a:gs pos="99000">
                      <a:schemeClr val="tx2"/>
                    </a:gs>
                  </a:gsLst>
                  <a:lin ang="5400000" scaled="0"/>
                </a:gradFill>
              </a:rPr>
              <a:t> zoom to show graph in detail</a:t>
            </a:r>
            <a:endParaRPr lang="en-GB" sz="1600">
              <a:gradFill>
                <a:gsLst>
                  <a:gs pos="1250">
                    <a:schemeClr val="tx2"/>
                  </a:gs>
                  <a:gs pos="99000">
                    <a:schemeClr val="tx2"/>
                  </a:gs>
                </a:gsLst>
                <a:lin ang="5400000" scaled="0"/>
              </a:gradFill>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75C3270-D5B6-4AE0-BFEC-3BB548CBAE0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77256280"/>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GB" sz="1600">
              <a:gradFill>
                <a:gsLst>
                  <a:gs pos="1250">
                    <a:schemeClr val="tx2"/>
                  </a:gs>
                  <a:gs pos="99000">
                    <a:schemeClr val="tx2"/>
                  </a:gs>
                </a:gsLst>
                <a:lin ang="5400000" scaled="0"/>
              </a:gradFill>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75C3270-D5B6-4AE0-BFEC-3BB548CBAE0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21540338"/>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GB" sz="1600">
              <a:gradFill>
                <a:gsLst>
                  <a:gs pos="1250">
                    <a:schemeClr val="tx2"/>
                  </a:gs>
                  <a:gs pos="99000">
                    <a:schemeClr val="tx2"/>
                  </a:gs>
                </a:gsLst>
                <a:lin ang="5400000" scaled="0"/>
              </a:gradFill>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75C3270-D5B6-4AE0-BFEC-3BB548CBAE0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79976239"/>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GB" sz="1600">
                <a:gradFill>
                  <a:gsLst>
                    <a:gs pos="1250">
                      <a:schemeClr val="tx2"/>
                    </a:gs>
                    <a:gs pos="99000">
                      <a:schemeClr val="tx2"/>
                    </a:gs>
                  </a:gsLst>
                  <a:lin ang="5400000" scaled="0"/>
                </a:gradFill>
              </a:rPr>
              <a:t>This is a PREVIEW feature as of November 2016 </a:t>
            </a:r>
          </a:p>
          <a:p>
            <a:pPr marL="0" indent="0">
              <a:buFont typeface="Arial" panose="020B0604020202020204" pitchFamily="34" charset="0"/>
              <a:buNone/>
            </a:pPr>
            <a:endParaRPr lang="en-GB" sz="1600">
              <a:gradFill>
                <a:gsLst>
                  <a:gs pos="1250">
                    <a:schemeClr val="tx2"/>
                  </a:gs>
                  <a:gs pos="99000">
                    <a:schemeClr val="tx2"/>
                  </a:gs>
                </a:gsLst>
                <a:lin ang="5400000" scaled="0"/>
              </a:gradFill>
            </a:endParaRPr>
          </a:p>
          <a:p>
            <a:pPr marL="0" indent="0">
              <a:buFont typeface="Arial" panose="020B0604020202020204" pitchFamily="34" charset="0"/>
              <a:buNone/>
            </a:pPr>
            <a:r>
              <a:rPr lang="en-GB" sz="1600">
                <a:gradFill>
                  <a:gsLst>
                    <a:gs pos="1250">
                      <a:schemeClr val="tx2"/>
                    </a:gs>
                    <a:gs pos="99000">
                      <a:schemeClr val="tx2"/>
                    </a:gs>
                  </a:gsLst>
                  <a:lin ang="5400000" scaled="0"/>
                </a:gradFill>
              </a:rPr>
              <a:t>This preview feature should be enabled in “Options” to use in Power BI Desktop</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75C3270-D5B6-4AE0-BFEC-3BB548CBAE0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79990601"/>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GB" sz="1600">
                <a:gradFill>
                  <a:gsLst>
                    <a:gs pos="1250">
                      <a:schemeClr val="tx2"/>
                    </a:gs>
                    <a:gs pos="99000">
                      <a:schemeClr val="tx2"/>
                    </a:gs>
                  </a:gsLst>
                  <a:lin ang="5400000" scaled="0"/>
                </a:gradFill>
              </a:rPr>
              <a:t>The Drill ribbon also</a:t>
            </a:r>
            <a:r>
              <a:rPr lang="en-GB" sz="1600" baseline="0">
                <a:gradFill>
                  <a:gsLst>
                    <a:gs pos="1250">
                      <a:schemeClr val="tx2"/>
                    </a:gs>
                    <a:gs pos="99000">
                      <a:schemeClr val="tx2"/>
                    </a:gs>
                  </a:gsLst>
                  <a:lin ang="5400000" scaled="0"/>
                </a:gradFill>
              </a:rPr>
              <a:t> allows drilling as well as right-clicking on a element on a visualization.</a:t>
            </a:r>
          </a:p>
          <a:p>
            <a:pPr marL="0" indent="0">
              <a:buFont typeface="Arial" panose="020B0604020202020204" pitchFamily="34" charset="0"/>
              <a:buNone/>
            </a:pPr>
            <a:endParaRPr lang="en-GB" sz="1600" baseline="0">
              <a:gradFill>
                <a:gsLst>
                  <a:gs pos="1250">
                    <a:schemeClr val="tx2"/>
                  </a:gs>
                  <a:gs pos="99000">
                    <a:schemeClr val="tx2"/>
                  </a:gs>
                </a:gsLst>
                <a:lin ang="5400000" scaled="0"/>
              </a:gradFill>
            </a:endParaRPr>
          </a:p>
          <a:p>
            <a:pPr marL="0" indent="0">
              <a:buFont typeface="Arial" panose="020B0604020202020204" pitchFamily="34" charset="0"/>
              <a:buNone/>
            </a:pPr>
            <a:r>
              <a:rPr lang="en-GB" sz="1600" baseline="0">
                <a:gradFill>
                  <a:gsLst>
                    <a:gs pos="1250">
                      <a:schemeClr val="tx2"/>
                    </a:gs>
                    <a:gs pos="99000">
                      <a:schemeClr val="tx2"/>
                    </a:gs>
                  </a:gsLst>
                  <a:lin ang="5400000" scaled="0"/>
                </a:gradFill>
              </a:rPr>
              <a:t>Expand All will maintain the context of the parent (in-line hierarchies)</a:t>
            </a:r>
          </a:p>
          <a:p>
            <a:pPr marL="0" indent="0">
              <a:buFont typeface="Arial" panose="020B0604020202020204" pitchFamily="34" charset="0"/>
              <a:buNone/>
            </a:pPr>
            <a:endParaRPr lang="en-GB" sz="1600" baseline="0">
              <a:gradFill>
                <a:gsLst>
                  <a:gs pos="1250">
                    <a:schemeClr val="tx2"/>
                  </a:gs>
                  <a:gs pos="99000">
                    <a:schemeClr val="tx2"/>
                  </a:gs>
                </a:gsLst>
                <a:lin ang="5400000" scaled="0"/>
              </a:gradFill>
            </a:endParaRPr>
          </a:p>
          <a:p>
            <a:pPr marL="0" indent="0">
              <a:buFont typeface="Arial" panose="020B0604020202020204" pitchFamily="34" charset="0"/>
              <a:buNone/>
            </a:pPr>
            <a:endParaRPr lang="en-GB" sz="1600">
              <a:gradFill>
                <a:gsLst>
                  <a:gs pos="1250">
                    <a:schemeClr val="tx2"/>
                  </a:gs>
                  <a:gs pos="99000">
                    <a:schemeClr val="tx2"/>
                  </a:gs>
                </a:gsLst>
                <a:lin ang="5400000" scaled="0"/>
              </a:gradFill>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75C3270-D5B6-4AE0-BFEC-3BB548CBAE0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1944182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1" indent="0" algn="l" defTabSz="932742" rtl="0" eaLnBrk="1" fontAlgn="auto" latinLnBrk="0" hangingPunct="1">
              <a:lnSpc>
                <a:spcPct val="90000"/>
              </a:lnSpc>
              <a:spcBef>
                <a:spcPts val="0"/>
              </a:spcBef>
              <a:spcAft>
                <a:spcPts val="340"/>
              </a:spcAft>
              <a:buClrTx/>
              <a:buSzTx/>
              <a:buFontTx/>
              <a:buNone/>
              <a:tabLst/>
              <a:defRPr/>
            </a:pPr>
            <a:r>
              <a:rPr lang="en-US" b="1"/>
              <a:t>Key message:</a:t>
            </a:r>
          </a:p>
          <a:p>
            <a:pPr marL="0" marR="0" lvl="1" indent="0" algn="l" defTabSz="932742" rtl="0" eaLnBrk="1" fontAlgn="auto" latinLnBrk="0" hangingPunct="1">
              <a:lnSpc>
                <a:spcPct val="90000"/>
              </a:lnSpc>
              <a:spcBef>
                <a:spcPts val="0"/>
              </a:spcBef>
              <a:spcAft>
                <a:spcPts val="340"/>
              </a:spcAft>
              <a:buClrTx/>
              <a:buSzTx/>
              <a:buFontTx/>
              <a:buNone/>
              <a:tabLst/>
              <a:defRPr/>
            </a:pPr>
            <a:r>
              <a:rPr lang="en-US" b="0"/>
              <a:t>With Power</a:t>
            </a:r>
            <a:r>
              <a:rPr lang="en-US" b="0" baseline="0"/>
              <a:t> BI you can create organizational content packs for your organization</a:t>
            </a:r>
          </a:p>
          <a:p>
            <a:pPr marL="0" marR="0" lvl="1" indent="0" algn="l" defTabSz="932742" rtl="0" eaLnBrk="1" fontAlgn="auto" latinLnBrk="0" hangingPunct="1">
              <a:lnSpc>
                <a:spcPct val="90000"/>
              </a:lnSpc>
              <a:spcBef>
                <a:spcPts val="0"/>
              </a:spcBef>
              <a:spcAft>
                <a:spcPts val="340"/>
              </a:spcAft>
              <a:buClrTx/>
              <a:buSzTx/>
              <a:buFontTx/>
              <a:buNone/>
              <a:tabLst/>
              <a:defRPr/>
            </a:pPr>
            <a:endParaRPr lang="en-US" b="1"/>
          </a:p>
          <a:p>
            <a:pPr marL="0" marR="0" lvl="1" indent="0" algn="l" defTabSz="932742" rtl="0" eaLnBrk="1" fontAlgn="auto" latinLnBrk="0" hangingPunct="1">
              <a:lnSpc>
                <a:spcPct val="90000"/>
              </a:lnSpc>
              <a:spcBef>
                <a:spcPts val="0"/>
              </a:spcBef>
              <a:spcAft>
                <a:spcPts val="340"/>
              </a:spcAft>
              <a:buClrTx/>
              <a:buSzTx/>
              <a:buFontTx/>
              <a:buNone/>
              <a:tabLst/>
              <a:defRPr/>
            </a:pPr>
            <a:r>
              <a:rPr lang="en-US" b="1"/>
              <a:t>Talking points:</a:t>
            </a:r>
          </a:p>
          <a:p>
            <a:pPr marL="171450" marR="0" lvl="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baseline="0">
                <a:gradFill>
                  <a:gsLst>
                    <a:gs pos="0">
                      <a:srgbClr val="FFFFFF"/>
                    </a:gs>
                    <a:gs pos="100000">
                      <a:srgbClr val="FFFFFF"/>
                    </a:gs>
                  </a:gsLst>
                  <a:lin ang="5400000" scaled="0"/>
                </a:gradFill>
                <a:ea typeface="Segoe UI" pitchFamily="34" charset="0"/>
                <a:cs typeface="Segoe UI" pitchFamily="34" charset="0"/>
              </a:rPr>
              <a:t>If you need to make data available across your organization, a custom connector can do just that in an efficient way. For example, your finance team can provide access to financial data to the appropriate users across the organization.  </a:t>
            </a:r>
            <a:endParaRPr lang="en-US">
              <a:gradFill>
                <a:gsLst>
                  <a:gs pos="0">
                    <a:srgbClr val="FFFFFF"/>
                  </a:gs>
                  <a:gs pos="100000">
                    <a:srgbClr val="FFFFFF"/>
                  </a:gs>
                </a:gsLst>
                <a:lin ang="5400000" scaled="0"/>
              </a:gradFill>
              <a:ea typeface="Segoe UI" pitchFamily="34" charset="0"/>
              <a:cs typeface="Segoe UI" pitchFamily="34" charset="0"/>
            </a:endParaRPr>
          </a:p>
          <a:p>
            <a:pPr marL="171450" marR="0" lvl="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a:gradFill>
                  <a:gsLst>
                    <a:gs pos="0">
                      <a:srgbClr val="FFFFFF"/>
                    </a:gs>
                    <a:gs pos="100000">
                      <a:srgbClr val="FFFFFF"/>
                    </a:gs>
                  </a:gsLst>
                  <a:lin ang="5400000" scaled="0"/>
                </a:gradFill>
                <a:cs typeface="Segoe UI" pitchFamily="34" charset="0"/>
              </a:rPr>
              <a:t>Create</a:t>
            </a:r>
            <a:r>
              <a:rPr lang="en-US" baseline="0">
                <a:gradFill>
                  <a:gsLst>
                    <a:gs pos="0">
                      <a:srgbClr val="FFFFFF"/>
                    </a:gs>
                    <a:gs pos="100000">
                      <a:srgbClr val="FFFFFF"/>
                    </a:gs>
                  </a:gsLst>
                  <a:lin ang="5400000" scaled="0"/>
                </a:gradFill>
                <a:cs typeface="Segoe UI" pitchFamily="34" charset="0"/>
              </a:rPr>
              <a:t> c</a:t>
            </a:r>
            <a:r>
              <a:rPr lang="en-US">
                <a:gradFill>
                  <a:gsLst>
                    <a:gs pos="0">
                      <a:srgbClr val="FFFFFF"/>
                    </a:gs>
                    <a:gs pos="100000">
                      <a:srgbClr val="FFFFFF"/>
                    </a:gs>
                  </a:gsLst>
                  <a:lin ang="5400000" scaled="0"/>
                </a:gradFill>
                <a:cs typeface="Segoe UI" pitchFamily="34" charset="0"/>
              </a:rPr>
              <a:t>ontent packs which make it easier and faster for users to explore</a:t>
            </a:r>
            <a:r>
              <a:rPr lang="en-US" baseline="0">
                <a:gradFill>
                  <a:gsLst>
                    <a:gs pos="0">
                      <a:srgbClr val="FFFFFF"/>
                    </a:gs>
                    <a:gs pos="100000">
                      <a:srgbClr val="FFFFFF"/>
                    </a:gs>
                  </a:gsLst>
                  <a:lin ang="5400000" scaled="0"/>
                </a:gradFill>
                <a:cs typeface="Segoe UI" pitchFamily="34" charset="0"/>
              </a:rPr>
              <a:t> the data you’re providing – they get dashboards and reports that they can use immediately to drive insights</a:t>
            </a:r>
          </a:p>
          <a:p>
            <a:pPr marL="0" marR="0" lvl="1" indent="0" algn="l" defTabSz="932742" rtl="0" eaLnBrk="1" fontAlgn="auto" latinLnBrk="0" hangingPunct="1">
              <a:lnSpc>
                <a:spcPct val="90000"/>
              </a:lnSpc>
              <a:spcBef>
                <a:spcPts val="0"/>
              </a:spcBef>
              <a:spcAft>
                <a:spcPts val="340"/>
              </a:spcAft>
              <a:buClrTx/>
              <a:buSzTx/>
              <a:buFontTx/>
              <a:buNone/>
              <a:tabLst/>
              <a:defRPr/>
            </a:pPr>
            <a:endParaRPr lang="en-US" b="0"/>
          </a:p>
        </p:txBody>
      </p:sp>
      <p:sp>
        <p:nvSpPr>
          <p:cNvPr id="4" name="Header Placeholder 3"/>
          <p:cNvSpPr>
            <a:spLocks noGrp="1"/>
          </p:cNvSpPr>
          <p:nvPr>
            <p:ph type="hdr" sz="quarter" idx="10"/>
          </p:nvPr>
        </p:nvSpPr>
        <p:spPr/>
        <p:txBody>
          <a:bodyPr/>
          <a:lstStyle/>
          <a:p>
            <a:endParaRPr lang="en-US">
              <a:solidFill>
                <a:prstClr val="black"/>
              </a:solidFill>
            </a:endParaRPr>
          </a:p>
        </p:txBody>
      </p:sp>
      <p:sp>
        <p:nvSpPr>
          <p:cNvPr id="5" name="Footer Placeholder 4"/>
          <p:cNvSpPr>
            <a:spLocks noGrp="1"/>
          </p:cNvSpPr>
          <p:nvPr>
            <p:ph type="ftr" sz="quarter" idx="11"/>
          </p:nvPr>
        </p:nvSpPr>
        <p:spPr/>
        <p:txBody>
          <a:bodyPr/>
          <a:lstStyle/>
          <a:p>
            <a:pPr defTabSz="922783"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22783"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9F34A55B-0232-4B2A-8DB0-D59B999B87D7}" type="datetime1">
              <a:rPr lang="en-US" smtClean="0">
                <a:solidFill>
                  <a:prstClr val="black"/>
                </a:solidFill>
              </a:rPr>
              <a:pPr/>
              <a:t>11/24/2020</a:t>
            </a:fld>
            <a:endParaRPr lang="en-US">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9</a:t>
            </a:fld>
            <a:endParaRPr lang="en-US">
              <a:solidFill>
                <a:prstClr val="black"/>
              </a:solidFill>
            </a:endParaRPr>
          </a:p>
        </p:txBody>
      </p:sp>
    </p:spTree>
    <p:extLst>
      <p:ext uri="{BB962C8B-B14F-4D97-AF65-F5344CB8AC3E}">
        <p14:creationId xmlns:p14="http://schemas.microsoft.com/office/powerpoint/2010/main" val="3303501750"/>
      </p:ext>
    </p:extLst>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GB" sz="1600">
                <a:gradFill>
                  <a:gsLst>
                    <a:gs pos="1250">
                      <a:schemeClr val="tx2"/>
                    </a:gs>
                    <a:gs pos="99000">
                      <a:schemeClr val="tx2"/>
                    </a:gs>
                  </a:gsLst>
                  <a:lin ang="5400000" scaled="0"/>
                </a:gradFill>
              </a:rPr>
              <a:t>Can only see records if there</a:t>
            </a:r>
            <a:r>
              <a:rPr lang="en-GB" sz="1600" baseline="0">
                <a:gradFill>
                  <a:gsLst>
                    <a:gs pos="1250">
                      <a:schemeClr val="tx2"/>
                    </a:gs>
                    <a:gs pos="99000">
                      <a:schemeClr val="tx2"/>
                    </a:gs>
                  </a:gsLst>
                  <a:lin ang="5400000" scaled="0"/>
                </a:gradFill>
              </a:rPr>
              <a:t> is no Measure in the visualization.</a:t>
            </a:r>
          </a:p>
          <a:p>
            <a:pPr marL="0" indent="0">
              <a:buFont typeface="Arial" panose="020B0604020202020204" pitchFamily="34" charset="0"/>
              <a:buNone/>
            </a:pPr>
            <a:endParaRPr lang="en-GB" sz="1600" baseline="0">
              <a:gradFill>
                <a:gsLst>
                  <a:gs pos="1250">
                    <a:schemeClr val="tx2"/>
                  </a:gs>
                  <a:gs pos="99000">
                    <a:schemeClr val="tx2"/>
                  </a:gs>
                </a:gsLst>
                <a:lin ang="5400000" scaled="0"/>
              </a:gradFill>
            </a:endParaRPr>
          </a:p>
          <a:p>
            <a:pPr marL="0" indent="0">
              <a:buFont typeface="Arial" panose="020B0604020202020204" pitchFamily="34" charset="0"/>
              <a:buNone/>
            </a:pPr>
            <a:r>
              <a:rPr lang="en-GB" sz="1600" baseline="0">
                <a:gradFill>
                  <a:gsLst>
                    <a:gs pos="1250">
                      <a:schemeClr val="tx2"/>
                    </a:gs>
                    <a:gs pos="99000">
                      <a:schemeClr val="tx2"/>
                    </a:gs>
                  </a:gsLst>
                  <a:lin ang="5400000" scaled="0"/>
                </a:gradFill>
              </a:rPr>
              <a:t>In the bottom-caption we see a See records.</a:t>
            </a:r>
            <a:endParaRPr lang="en-GB" sz="1600">
              <a:gradFill>
                <a:gsLst>
                  <a:gs pos="1250">
                    <a:schemeClr val="tx2"/>
                  </a:gs>
                  <a:gs pos="99000">
                    <a:schemeClr val="tx2"/>
                  </a:gs>
                </a:gsLst>
                <a:lin ang="5400000" scaled="0"/>
              </a:gradFill>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75C3270-D5B6-4AE0-BFEC-3BB548CBAE0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78607327"/>
      </p:ext>
    </p:extLst>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GB" sz="1600">
              <a:gradFill>
                <a:gsLst>
                  <a:gs pos="1250">
                    <a:schemeClr val="tx2"/>
                  </a:gs>
                  <a:gs pos="99000">
                    <a:schemeClr val="tx2"/>
                  </a:gs>
                </a:gsLst>
                <a:lin ang="5400000" scaled="0"/>
              </a:gradFill>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75C3270-D5B6-4AE0-BFEC-3BB548CBAE0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46738876"/>
      </p:ext>
    </p:extLst>
  </p:cSld>
  <p:clrMapOvr>
    <a:masterClrMapping/>
  </p:clrMapOvr>
</p:notes>
</file>

<file path=ppt/notesSlides/notesSlide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GB" sz="1600">
              <a:gradFill>
                <a:gsLst>
                  <a:gs pos="1250">
                    <a:schemeClr val="tx2"/>
                  </a:gs>
                  <a:gs pos="99000">
                    <a:schemeClr val="tx2"/>
                  </a:gs>
                </a:gsLst>
                <a:lin ang="5400000" scaled="0"/>
              </a:gradFill>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75C3270-D5B6-4AE0-BFEC-3BB548CBAE0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28296216"/>
      </p:ext>
    </p:extLst>
  </p:cSld>
  <p:clrMapOvr>
    <a:masterClrMapping/>
  </p:clrMapOvr>
</p:notes>
</file>

<file path=ppt/notesSlides/notesSlide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a:p>
        </p:txBody>
      </p:sp>
      <p:sp>
        <p:nvSpPr>
          <p:cNvPr id="4" name="Plassholder for lysbildenummer 3"/>
          <p:cNvSpPr>
            <a:spLocks noGrp="1"/>
          </p:cNvSpPr>
          <p:nvPr>
            <p:ph type="sldNum" sz="quarter" idx="10"/>
          </p:nvPr>
        </p:nvSpPr>
        <p:spPr/>
        <p:txBody>
          <a:bodyPr/>
          <a:lstStyle/>
          <a:p>
            <a:fld id="{EB20C58C-FFDB-469E-965A-A16F30368694}" type="slidenum">
              <a:rPr lang="en-US" smtClean="0"/>
              <a:t>93</a:t>
            </a:fld>
            <a:endParaRPr lang="en-US"/>
          </a:p>
        </p:txBody>
      </p:sp>
    </p:spTree>
    <p:extLst>
      <p:ext uri="{BB962C8B-B14F-4D97-AF65-F5344CB8AC3E}">
        <p14:creationId xmlns:p14="http://schemas.microsoft.com/office/powerpoint/2010/main" val="3695152122"/>
      </p:ext>
    </p:extLst>
  </p:cSld>
  <p:clrMapOvr>
    <a:masterClrMapping/>
  </p:clrMapOvr>
</p:notes>
</file>

<file path=ppt/notesSlides/notesSlide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1" indent="0" algn="l" defTabSz="932742" rtl="0" eaLnBrk="1" fontAlgn="auto" latinLnBrk="0" hangingPunct="1">
              <a:lnSpc>
                <a:spcPct val="90000"/>
              </a:lnSpc>
              <a:spcBef>
                <a:spcPts val="0"/>
              </a:spcBef>
              <a:spcAft>
                <a:spcPts val="340"/>
              </a:spcAft>
              <a:buClrTx/>
              <a:buSzTx/>
              <a:buFontTx/>
              <a:buNone/>
              <a:tabLst/>
              <a:defRPr/>
            </a:pPr>
            <a:r>
              <a:rPr lang="en-US" sz="2040" b="1">
                <a:solidFill>
                  <a:schemeClr val="bg1"/>
                </a:solidFill>
              </a:rPr>
              <a:t>Key message:</a:t>
            </a:r>
          </a:p>
          <a:p>
            <a:pPr marL="0" marR="0" lvl="1" indent="0" algn="l" defTabSz="932742" rtl="0" eaLnBrk="1" fontAlgn="auto" latinLnBrk="0" hangingPunct="1">
              <a:lnSpc>
                <a:spcPct val="90000"/>
              </a:lnSpc>
              <a:spcBef>
                <a:spcPts val="0"/>
              </a:spcBef>
              <a:spcAft>
                <a:spcPts val="340"/>
              </a:spcAft>
              <a:buClrTx/>
              <a:buSzTx/>
              <a:buFontTx/>
              <a:buNone/>
              <a:tabLst/>
              <a:defRPr/>
            </a:pPr>
            <a:r>
              <a:rPr lang="en-US" sz="2040">
                <a:solidFill>
                  <a:schemeClr val="bg1"/>
                </a:solidFill>
              </a:rPr>
              <a:t>Power BI connects to a variety of data sources, enabling you to</a:t>
            </a:r>
            <a:r>
              <a:rPr lang="en-US" sz="2040" baseline="0">
                <a:solidFill>
                  <a:schemeClr val="bg1"/>
                </a:solidFill>
              </a:rPr>
              <a:t> </a:t>
            </a:r>
            <a:r>
              <a:rPr lang="en-US" sz="2040">
                <a:solidFill>
                  <a:schemeClr val="bg1"/>
                </a:solidFill>
              </a:rPr>
              <a:t>view and explore data from hybrid sources in</a:t>
            </a:r>
            <a:r>
              <a:rPr lang="en-US" sz="2040" baseline="0">
                <a:solidFill>
                  <a:schemeClr val="bg1"/>
                </a:solidFill>
              </a:rPr>
              <a:t> a single location. </a:t>
            </a:r>
          </a:p>
          <a:p>
            <a:pPr marL="0" marR="0" lvl="1" indent="0" algn="l" defTabSz="932742" rtl="0" eaLnBrk="1" fontAlgn="auto" latinLnBrk="0" hangingPunct="1">
              <a:lnSpc>
                <a:spcPct val="90000"/>
              </a:lnSpc>
              <a:spcBef>
                <a:spcPts val="0"/>
              </a:spcBef>
              <a:spcAft>
                <a:spcPts val="340"/>
              </a:spcAft>
              <a:buClrTx/>
              <a:buSzTx/>
              <a:buFontTx/>
              <a:buNone/>
              <a:tabLst/>
              <a:defRPr/>
            </a:pPr>
            <a:endParaRPr lang="en-US" sz="2040" baseline="0">
              <a:solidFill>
                <a:schemeClr val="bg1"/>
              </a:solidFill>
            </a:endParaRPr>
          </a:p>
          <a:p>
            <a:pPr marL="0" marR="0" lvl="1" indent="0" algn="l" defTabSz="932742" rtl="0" eaLnBrk="1" fontAlgn="auto" latinLnBrk="0" hangingPunct="1">
              <a:lnSpc>
                <a:spcPct val="90000"/>
              </a:lnSpc>
              <a:spcBef>
                <a:spcPts val="0"/>
              </a:spcBef>
              <a:spcAft>
                <a:spcPts val="340"/>
              </a:spcAft>
              <a:buClrTx/>
              <a:buSzTx/>
              <a:buFontTx/>
              <a:buNone/>
              <a:tabLst/>
              <a:defRPr/>
            </a:pPr>
            <a:r>
              <a:rPr lang="en-US" sz="2040" b="1" baseline="0">
                <a:solidFill>
                  <a:schemeClr val="bg1"/>
                </a:solidFill>
              </a:rPr>
              <a:t>Talking points:</a:t>
            </a:r>
          </a:p>
          <a:p>
            <a:pPr marL="171450" marR="0" lvl="1"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sz="1200"/>
              <a:t>The Power BI</a:t>
            </a:r>
            <a:r>
              <a:rPr lang="en-US" sz="1200" baseline="0"/>
              <a:t> Get Data feature lets you q</a:t>
            </a:r>
            <a:r>
              <a:rPr lang="en-US" sz="1200"/>
              <a:t>uickly and easily connect to all of your data</a:t>
            </a:r>
            <a:endParaRPr lang="en-US">
              <a:solidFill>
                <a:schemeClr val="bg1"/>
              </a:solidFill>
            </a:endParaRPr>
          </a:p>
          <a:p>
            <a:pPr marL="171450" lvl="1" indent="-171450" defTabSz="932742">
              <a:lnSpc>
                <a:spcPct val="90000"/>
              </a:lnSpc>
              <a:spcAft>
                <a:spcPts val="340"/>
              </a:spcAft>
              <a:buFont typeface="Arial" panose="020B0604020202020204" pitchFamily="34" charset="0"/>
              <a:buChar char="•"/>
              <a:defRPr/>
            </a:pPr>
            <a:r>
              <a:rPr lang="en-US">
                <a:solidFill>
                  <a:schemeClr val="bg1"/>
                </a:solidFill>
              </a:rPr>
              <a:t>This includes a</a:t>
            </a:r>
            <a:r>
              <a:rPr lang="en-US" baseline="0">
                <a:solidFill>
                  <a:schemeClr val="bg1"/>
                </a:solidFill>
              </a:rPr>
              <a:t> range of both cloud sources, on premises sources and specific data files </a:t>
            </a:r>
            <a:r>
              <a:rPr lang="en-US">
                <a:solidFill>
                  <a:schemeClr val="bg1"/>
                </a:solidFill>
              </a:rPr>
              <a:t>—from the SaaS solutions you already use to your organization’s on-premises data</a:t>
            </a:r>
          </a:p>
          <a:p>
            <a:pPr marL="171450" indent="-171450">
              <a:buFont typeface="Arial" panose="020B0604020202020204" pitchFamily="34" charset="0"/>
              <a:buChar char="•"/>
            </a:pPr>
            <a:r>
              <a:rPr lang="en-US"/>
              <a:t>Many</a:t>
            </a:r>
            <a:r>
              <a:rPr lang="en-US" baseline="0"/>
              <a:t> sources have been integrated with Power BI, connecting in minutes with pre-built dashboards and reports </a:t>
            </a:r>
          </a:p>
          <a:p>
            <a:pPr marL="171450" indent="-171450">
              <a:buFont typeface="Arial" panose="020B0604020202020204" pitchFamily="34" charset="0"/>
              <a:buChar char="•"/>
            </a:pPr>
            <a:r>
              <a:rPr lang="en-US" baseline="0"/>
              <a:t>For the first time, you can easily get a consolidated view of your data, no matter where the data actually lives</a:t>
            </a:r>
            <a:endParaRPr lang="en-US"/>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22783"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0" marR="0" lvl="0" indent="0" algn="l" defTabSz="922783"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F34A55B-0232-4B2A-8DB0-D59B999B87D7}" type="datetime1">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24/20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26558937"/>
      </p:ext>
    </p:extLst>
  </p:cSld>
  <p:clrMapOvr>
    <a:masterClrMapping/>
  </p:clrMapOvr>
</p:notes>
</file>

<file path=ppt/notesSlides/notesSlide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1" indent="0" algn="l" defTabSz="932742" rtl="0" eaLnBrk="1" fontAlgn="auto" latinLnBrk="0" hangingPunct="1">
              <a:lnSpc>
                <a:spcPct val="90000"/>
              </a:lnSpc>
              <a:spcBef>
                <a:spcPts val="0"/>
              </a:spcBef>
              <a:spcAft>
                <a:spcPts val="340"/>
              </a:spcAft>
              <a:buClrTx/>
              <a:buSzTx/>
              <a:buFontTx/>
              <a:buNone/>
              <a:tabLst/>
              <a:defRPr/>
            </a:pPr>
            <a:r>
              <a:rPr lang="en-US"/>
              <a:t>Other sources that need treatment,</a:t>
            </a:r>
            <a:r>
              <a:rPr lang="en-US" baseline="0"/>
              <a:t> such as an XML file, should be treated first with Desktop or with PowerQuery in Excel.</a:t>
            </a:r>
          </a:p>
          <a:p>
            <a:pPr marL="0" marR="0" lvl="1" indent="0" algn="l" defTabSz="932742" rtl="0" eaLnBrk="1" fontAlgn="auto" latinLnBrk="0" hangingPunct="1">
              <a:lnSpc>
                <a:spcPct val="90000"/>
              </a:lnSpc>
              <a:spcBef>
                <a:spcPts val="0"/>
              </a:spcBef>
              <a:spcAft>
                <a:spcPts val="340"/>
              </a:spcAft>
              <a:buClrTx/>
              <a:buSzTx/>
              <a:buFontTx/>
              <a:buNone/>
              <a:tabLst/>
              <a:defRPr/>
            </a:pPr>
            <a:endParaRPr lang="en-US" baseline="0"/>
          </a:p>
          <a:p>
            <a:pPr marL="0" marR="0" lvl="1" indent="0" algn="l" defTabSz="932742" rtl="0" eaLnBrk="1" fontAlgn="auto" latinLnBrk="0" hangingPunct="1">
              <a:lnSpc>
                <a:spcPct val="90000"/>
              </a:lnSpc>
              <a:spcBef>
                <a:spcPts val="0"/>
              </a:spcBef>
              <a:spcAft>
                <a:spcPts val="340"/>
              </a:spcAft>
              <a:buClrTx/>
              <a:buSzTx/>
              <a:buFontTx/>
              <a:buNone/>
              <a:tabLst/>
              <a:defRPr/>
            </a:pPr>
            <a:r>
              <a:rPr lang="en-US" baseline="0"/>
              <a:t>If a PBI desktop file is stored in OD or Sharepoint Online, metadata is automatically synced (~every hour) and data is also synced if the file is refreshed manually.</a:t>
            </a:r>
          </a:p>
          <a:p>
            <a:pPr marL="0" marR="0" lvl="1" indent="0" algn="l" defTabSz="932742" rtl="0" eaLnBrk="1" fontAlgn="auto" latinLnBrk="0" hangingPunct="1">
              <a:lnSpc>
                <a:spcPct val="90000"/>
              </a:lnSpc>
              <a:spcBef>
                <a:spcPts val="0"/>
              </a:spcBef>
              <a:spcAft>
                <a:spcPts val="340"/>
              </a:spcAft>
              <a:buClrTx/>
              <a:buSzTx/>
              <a:buFontTx/>
              <a:buNone/>
              <a:tabLst/>
              <a:defRPr/>
            </a:pPr>
            <a:r>
              <a:rPr lang="en-US" baseline="0"/>
              <a:t>https://powerbi.microsoft.com/en-us/documentation/powerbi-refresh-desktop-file-onedrive/</a:t>
            </a:r>
          </a:p>
          <a:p>
            <a:pPr marL="0" marR="0" lvl="1" indent="0" algn="l" defTabSz="932742" rtl="0" eaLnBrk="1" fontAlgn="auto" latinLnBrk="0" hangingPunct="1">
              <a:lnSpc>
                <a:spcPct val="90000"/>
              </a:lnSpc>
              <a:spcBef>
                <a:spcPts val="0"/>
              </a:spcBef>
              <a:spcAft>
                <a:spcPts val="340"/>
              </a:spcAft>
              <a:buClrTx/>
              <a:buSzTx/>
              <a:buFontTx/>
              <a:buNone/>
              <a:tabLst/>
              <a:defRPr/>
            </a:pPr>
            <a:endParaRPr lang="en-US" baseline="0"/>
          </a:p>
          <a:p>
            <a:pPr marL="0" marR="0" lvl="1" indent="0" algn="l" defTabSz="932742" rtl="0" eaLnBrk="1" fontAlgn="auto" latinLnBrk="0" hangingPunct="1">
              <a:lnSpc>
                <a:spcPct val="90000"/>
              </a:lnSpc>
              <a:spcBef>
                <a:spcPts val="0"/>
              </a:spcBef>
              <a:spcAft>
                <a:spcPts val="340"/>
              </a:spcAft>
              <a:buClrTx/>
              <a:buSzTx/>
              <a:buFontTx/>
              <a:buNone/>
              <a:tabLst/>
              <a:defRPr/>
            </a:pPr>
            <a:r>
              <a:rPr lang="en-US" baseline="0"/>
              <a:t>Power BI Desktop Files and Excel Files are limited to 1GB.</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22783"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0" marR="0" lvl="0" indent="0" algn="l" defTabSz="922783"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F34A55B-0232-4B2A-8DB0-D59B999B87D7}" type="datetime1">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24/20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734534"/>
      </p:ext>
    </p:extLst>
  </p:cSld>
  <p:clrMapOvr>
    <a:masterClrMapping/>
  </p:clrMapOvr>
</p:notes>
</file>

<file path=ppt/notesSlides/notesSlide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https://powerbi.microsoft.com/en-us/documentation/powerbi-bring-in-whole-excel-files/</a:t>
            </a:r>
          </a:p>
          <a:p>
            <a:endParaRPr lang="en-US"/>
          </a:p>
          <a:p>
            <a:r>
              <a:rPr lang="en-US"/>
              <a:t>Excel workbooks in Power BI display the same elements as workbooks in Excel Online:</a:t>
            </a:r>
          </a:p>
          <a:p>
            <a:r>
              <a:rPr lang="en-US"/>
              <a:t>PivotTables</a:t>
            </a:r>
          </a:p>
          <a:p>
            <a:r>
              <a:rPr lang="en-US"/>
              <a:t>Pivot Charts and charts</a:t>
            </a:r>
          </a:p>
          <a:p>
            <a:r>
              <a:rPr lang="en-US"/>
              <a:t>Slicers</a:t>
            </a:r>
          </a:p>
          <a:p>
            <a:r>
              <a:rPr lang="en-US"/>
              <a:t>Data in tables and worksheets  </a:t>
            </a:r>
          </a:p>
          <a:p>
            <a:r>
              <a:rPr lang="en-US"/>
              <a:t>Power View sheets</a:t>
            </a:r>
          </a:p>
          <a:p>
            <a:r>
              <a:rPr lang="en-US" b="1"/>
              <a:t>Some important things to know</a:t>
            </a:r>
          </a:p>
          <a:p>
            <a:r>
              <a:rPr lang="en-US"/>
              <a:t>Read more about </a:t>
            </a:r>
            <a:r>
              <a:rPr lang="en-US">
                <a:hlinkClick r:id="rId3"/>
              </a:rPr>
              <a:t>Excel workbook size</a:t>
            </a:r>
            <a:r>
              <a:rPr lang="en-US"/>
              <a:t>.</a:t>
            </a:r>
          </a:p>
          <a:p>
            <a:r>
              <a:rPr lang="en-US"/>
              <a:t>The file can't be encrypted -- protected with a password or information or digital rights management (IRM or DRM).</a:t>
            </a:r>
          </a:p>
          <a:p>
            <a:r>
              <a:rPr lang="en-US"/>
              <a:t>You can't connect to a whole Excel file again if you're already connected to it. But you can connect to a single file both as a whole Excel workbook and as a dataset. The whole Excel file appears under Reports in the left navigation pane, and the workbook-as-dataset appears under Datasets.</a:t>
            </a:r>
          </a:p>
          <a:p>
            <a:r>
              <a:rPr lang="en-US"/>
              <a:t>If you have an Excel 2010 workbook with a PowerPivot 2010 data model, you need to </a:t>
            </a:r>
            <a:r>
              <a:rPr lang="en-US">
                <a:hlinkClick r:id="rId4"/>
              </a:rPr>
              <a:t>upgrade the workbook to Excel 2013</a:t>
            </a:r>
            <a:r>
              <a:rPr lang="en-US"/>
              <a:t>.</a:t>
            </a:r>
          </a:p>
          <a:p>
            <a:endParaRPr lang="en-US"/>
          </a:p>
          <a:p>
            <a:r>
              <a:rPr lang="en-US"/>
              <a:t>Note: Getting data from</a:t>
            </a:r>
            <a:r>
              <a:rPr lang="en-US" baseline="0"/>
              <a:t> an Excel source stored in OD does not mean automatic sync.</a:t>
            </a:r>
          </a:p>
          <a:p>
            <a:endParaRPr lang="en-US" baseline="0"/>
          </a:p>
          <a:p>
            <a:r>
              <a:rPr lang="en-US" baseline="0"/>
              <a:t>Excel files can come from local storage: https://powerbi.microsoft.com/en-us/blog/powerbi-upload-excel-reports-from-local-files/</a:t>
            </a:r>
            <a:endParaRPr lang="en-US"/>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22783"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0" marR="0" lvl="0" indent="0" algn="l" defTabSz="922783"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F34A55B-0232-4B2A-8DB0-D59B999B87D7}" type="datetime1">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24/20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44608820"/>
      </p:ext>
    </p:extLst>
  </p:cSld>
  <p:clrMapOvr>
    <a:masterClrMapping/>
  </p:clrMapOvr>
</p:notes>
</file>

<file path=ppt/notesSlides/notesSlide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1" indent="0" algn="l" defTabSz="932742" rtl="0" eaLnBrk="1" fontAlgn="auto" latinLnBrk="0" hangingPunct="1">
              <a:lnSpc>
                <a:spcPct val="90000"/>
              </a:lnSpc>
              <a:spcBef>
                <a:spcPts val="0"/>
              </a:spcBef>
              <a:spcAft>
                <a:spcPts val="340"/>
              </a:spcAft>
              <a:buClrTx/>
              <a:buSzTx/>
              <a:buFontTx/>
              <a:buNone/>
              <a:tabLst/>
              <a:defRPr/>
            </a:pPr>
            <a:endParaRPr lang="en-US"/>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22783"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0" marR="0" lvl="0" indent="0" algn="l" defTabSz="922783"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F34A55B-0232-4B2A-8DB0-D59B999B87D7}" type="datetime1">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24/20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27753959"/>
      </p:ext>
    </p:extLst>
  </p:cSld>
  <p:clrMapOvr>
    <a:masterClrMapping/>
  </p:clrMapOvr>
</p:notes>
</file>

<file path=ppt/notesSlides/notesSlide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1" indent="0" algn="l" defTabSz="932742" rtl="0" eaLnBrk="1" fontAlgn="auto" latinLnBrk="0" hangingPunct="1">
              <a:lnSpc>
                <a:spcPct val="90000"/>
              </a:lnSpc>
              <a:spcBef>
                <a:spcPts val="0"/>
              </a:spcBef>
              <a:spcAft>
                <a:spcPts val="340"/>
              </a:spcAft>
              <a:buClrTx/>
              <a:buSzTx/>
              <a:buFontTx/>
              <a:buNone/>
              <a:tabLst/>
              <a:defRPr/>
            </a:pPr>
            <a:endParaRPr lang="en-US"/>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22783"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0" marR="0" lvl="0" indent="0" algn="l" defTabSz="922783"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F34A55B-0232-4B2A-8DB0-D59B999B87D7}" type="datetime1">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24/20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64181318"/>
      </p:ext>
    </p:extLst>
  </p:cSld>
  <p:clrMapOvr>
    <a:masterClrMapping/>
  </p:clrMapOvr>
</p:notes>
</file>

<file path=ppt/notesSlides/notesSlide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1" indent="0" algn="l" defTabSz="932742" rtl="0" eaLnBrk="1" fontAlgn="auto" latinLnBrk="0" hangingPunct="1">
              <a:lnSpc>
                <a:spcPct val="90000"/>
              </a:lnSpc>
              <a:spcBef>
                <a:spcPts val="0"/>
              </a:spcBef>
              <a:spcAft>
                <a:spcPts val="340"/>
              </a:spcAft>
              <a:buClrTx/>
              <a:buSzTx/>
              <a:buFontTx/>
              <a:buNone/>
              <a:tabLst/>
              <a:defRPr/>
            </a:pPr>
            <a:endParaRPr lang="en-US"/>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22783"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0" marR="0" lvl="0" indent="0" algn="l" defTabSz="922783"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F34A55B-0232-4B2A-8DB0-D59B999B87D7}" type="datetime1">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24/20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8819024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image" Target="../media/image2.jpe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7.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7.xml"/><Relationship Id="rId1" Type="http://schemas.openxmlformats.org/officeDocument/2006/relationships/vmlDrawing" Target="../drawings/vmlDrawing7.vml"/><Relationship Id="rId6" Type="http://schemas.openxmlformats.org/officeDocument/2006/relationships/image" Target="../media/image20.png"/><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3.jpeg"/><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5.v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16.emf"/><Relationship Id="rId2" Type="http://schemas.openxmlformats.org/officeDocument/2006/relationships/image" Target="../media/image15.jpeg"/><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17.emf"/><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19.emf"/><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17.emf"/><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5.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6.xml"/><Relationship Id="rId1" Type="http://schemas.openxmlformats.org/officeDocument/2006/relationships/vmlDrawing" Target="../drawings/vmlDrawing6.vml"/><Relationship Id="rId6" Type="http://schemas.openxmlformats.org/officeDocument/2006/relationships/image" Target="../media/image20.png"/><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6.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6.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2.xml"/><Relationship Id="rId4" Type="http://schemas.openxmlformats.org/officeDocument/2006/relationships/image" Target="../media/image8.png"/></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6.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5_Red Tile Title">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4" cstate="print">
            <a:extLst>
              <a:ext uri="{28A0092B-C50C-407E-A947-70E740481C1C}">
                <a14:useLocalDpi xmlns:a14="http://schemas.microsoft.com/office/drawing/2010/main" val="0"/>
              </a:ext>
            </a:extLst>
          </a:blip>
          <a:srcRect/>
          <a:stretch/>
        </p:blipFill>
        <p:spPr>
          <a:xfrm>
            <a:off x="0" y="-1"/>
            <a:ext cx="12192000" cy="6833937"/>
          </a:xfrm>
          <a:prstGeom prst="rect">
            <a:avLst/>
          </a:prstGeom>
        </p:spPr>
      </p:pic>
      <p:graphicFrame>
        <p:nvGraphicFramePr>
          <p:cNvPr id="4" name="Object 3" hidden="1"/>
          <p:cNvGraphicFramePr>
            <a:graphicFrameLocks noChangeAspect="1"/>
          </p:cNvGraphicFramePr>
          <p:nvPr userDrawn="1">
            <p:custDataLst>
              <p:tags r:id="rId2"/>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049" name="think-cell Slide" r:id="rId5" imgW="270" imgH="270" progId="TCLayout.ActiveDocument.1">
                  <p:embed/>
                </p:oleObj>
              </mc:Choice>
              <mc:Fallback>
                <p:oleObj name="think-cell Slide" r:id="rId5" imgW="270" imgH="270" progId="TCLayout.ActiveDocument.1">
                  <p:embed/>
                  <p:pic>
                    <p:nvPicPr>
                      <p:cNvPr id="4" name="Object 3" hidden="1"/>
                      <p:cNvPicPr/>
                      <p:nvPr/>
                    </p:nvPicPr>
                    <p:blipFill>
                      <a:blip r:embed="rId6"/>
                      <a:stretch>
                        <a:fillRect/>
                      </a:stretch>
                    </p:blipFill>
                    <p:spPr>
                      <a:xfrm>
                        <a:off x="1557" y="1558"/>
                        <a:ext cx="1556" cy="1556"/>
                      </a:xfrm>
                      <a:prstGeom prst="rect">
                        <a:avLst/>
                      </a:prstGeom>
                    </p:spPr>
                  </p:pic>
                </p:oleObj>
              </mc:Fallback>
            </mc:AlternateContent>
          </a:graphicData>
        </a:graphic>
      </p:graphicFrame>
      <p:sp>
        <p:nvSpPr>
          <p:cNvPr id="11" name="Rectangle 10"/>
          <p:cNvSpPr/>
          <p:nvPr/>
        </p:nvSpPr>
        <p:spPr>
          <a:xfrm>
            <a:off x="223347" y="230444"/>
            <a:ext cx="6233021" cy="4148709"/>
          </a:xfrm>
          <a:prstGeom prst="rect">
            <a:avLst/>
          </a:prstGeom>
          <a:solidFill>
            <a:srgbClr val="F2C812">
              <a:alpha val="83000"/>
            </a:srgbClr>
          </a:solidFill>
          <a:ln w="25400" cap="flat" cmpd="sng" algn="ctr">
            <a:noFill/>
            <a:prstDash val="solid"/>
          </a:ln>
          <a:effectLst/>
        </p:spPr>
        <p:txBody>
          <a:bodyPr rtlCol="0" anchor="ctr"/>
          <a:lstStyle/>
          <a:p>
            <a:pPr algn="ctr">
              <a:defRPr/>
            </a:pPr>
            <a:endParaRPr lang="en-US" kern="0">
              <a:gradFill>
                <a:gsLst>
                  <a:gs pos="93162">
                    <a:srgbClr val="505050">
                      <a:lumMod val="50000"/>
                    </a:srgbClr>
                  </a:gs>
                  <a:gs pos="68000">
                    <a:srgbClr val="505050">
                      <a:lumMod val="50000"/>
                    </a:srgbClr>
                  </a:gs>
                </a:gsLst>
                <a:lin ang="5400000" scaled="0"/>
              </a:gradFill>
            </a:endParaRPr>
          </a:p>
        </p:txBody>
      </p:sp>
      <p:sp>
        <p:nvSpPr>
          <p:cNvPr id="12" name="TextBox 11"/>
          <p:cNvSpPr txBox="1"/>
          <p:nvPr/>
        </p:nvSpPr>
        <p:spPr>
          <a:xfrm>
            <a:off x="223347" y="599489"/>
            <a:ext cx="6053269" cy="1071062"/>
          </a:xfrm>
          <a:prstGeom prst="rect">
            <a:avLst/>
          </a:prstGeom>
          <a:noFill/>
        </p:spPr>
        <p:txBody>
          <a:bodyPr wrap="square" lIns="228600" tIns="91440" rIns="228600" bIns="91440" rtlCol="0">
            <a:spAutoFit/>
          </a:bodyPr>
          <a:lstStyle/>
          <a:p>
            <a:pPr defTabSz="914099" fontAlgn="base">
              <a:lnSpc>
                <a:spcPct val="90000"/>
              </a:lnSpc>
              <a:spcAft>
                <a:spcPts val="1200"/>
              </a:spcAft>
            </a:pPr>
            <a:r>
              <a:rPr lang="en-US" sz="3200">
                <a:gradFill>
                  <a:gsLst>
                    <a:gs pos="93162">
                      <a:srgbClr val="505050">
                        <a:lumMod val="50000"/>
                      </a:srgbClr>
                    </a:gs>
                    <a:gs pos="68000">
                      <a:srgbClr val="505050">
                        <a:lumMod val="50000"/>
                      </a:srgbClr>
                    </a:gs>
                  </a:gsLst>
                  <a:lin ang="5400000" scaled="0"/>
                </a:gradFill>
                <a:latin typeface="Segoe UI Semibold" panose="020B0702040204020203" pitchFamily="34" charset="0"/>
                <a:cs typeface="Segoe UI Semibold" panose="020B0702040204020203" pitchFamily="34" charset="0"/>
              </a:rPr>
              <a:t>Microsoft Power BI Overview for IT Professionals</a:t>
            </a:r>
          </a:p>
        </p:txBody>
      </p:sp>
      <p:sp>
        <p:nvSpPr>
          <p:cNvPr id="3" name="Subtitle 2"/>
          <p:cNvSpPr>
            <a:spLocks noGrp="1"/>
          </p:cNvSpPr>
          <p:nvPr userDrawn="1">
            <p:ph type="subTitle" idx="1" hasCustomPrompt="1"/>
          </p:nvPr>
        </p:nvSpPr>
        <p:spPr>
          <a:xfrm>
            <a:off x="464020" y="2908517"/>
            <a:ext cx="5199207" cy="994420"/>
          </a:xfrm>
          <a:prstGeom prst="rect">
            <a:avLst/>
          </a:prstGeom>
        </p:spPr>
        <p:txBody>
          <a:bodyPr lIns="182880" tIns="146304" rIns="182880" bIns="146304"/>
          <a:lstStyle>
            <a:lvl1pPr marL="0" indent="0" algn="l">
              <a:lnSpc>
                <a:spcPct val="90000"/>
              </a:lnSpc>
              <a:buNone/>
              <a:defRPr sz="2157">
                <a:solidFill>
                  <a:schemeClr val="tx1"/>
                </a:solidFill>
                <a:latin typeface="+mn-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en-US"/>
              <a:t>Speaker Name</a:t>
            </a:r>
            <a:br>
              <a:rPr lang="en-US"/>
            </a:br>
            <a:r>
              <a:rPr lang="en-US"/>
              <a:t>Date</a:t>
            </a:r>
          </a:p>
        </p:txBody>
      </p:sp>
    </p:spTree>
    <p:extLst>
      <p:ext uri="{BB962C8B-B14F-4D97-AF65-F5344CB8AC3E}">
        <p14:creationId xmlns:p14="http://schemas.microsoft.com/office/powerpoint/2010/main" val="12768546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Slide - Color">
    <p:bg>
      <p:bgRef idx="1001">
        <a:schemeClr val="bg2"/>
      </p:bgRef>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765" y="1069"/>
            <a:ext cx="12185847" cy="6855512"/>
          </a:xfrm>
          <a:prstGeom prst="rect">
            <a:avLst/>
          </a:prstGeom>
        </p:spPr>
      </p:pic>
      <p:sp>
        <p:nvSpPr>
          <p:cNvPr id="9" name="Title 1"/>
          <p:cNvSpPr>
            <a:spLocks noGrp="1"/>
          </p:cNvSpPr>
          <p:nvPr>
            <p:ph type="title" hasCustomPrompt="1"/>
          </p:nvPr>
        </p:nvSpPr>
        <p:spPr>
          <a:xfrm>
            <a:off x="269302" y="2084186"/>
            <a:ext cx="8964185" cy="1793090"/>
          </a:xfrm>
          <a:noFill/>
        </p:spPr>
        <p:txBody>
          <a:bodyPr lIns="146304" tIns="91440" rIns="146304" bIns="91440" anchor="t" anchorCtr="0"/>
          <a:lstStyle>
            <a:lvl1pPr>
              <a:defRPr sz="5293" spc="-98" baseline="0">
                <a:gradFill>
                  <a:gsLst>
                    <a:gs pos="99115">
                      <a:schemeClr val="tx1"/>
                    </a:gs>
                    <a:gs pos="79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2" y="3878573"/>
            <a:ext cx="7171337" cy="1792326"/>
          </a:xfrm>
          <a:noFill/>
        </p:spPr>
        <p:txBody>
          <a:bodyPr lIns="146304" tIns="109728" rIns="146304" bIns="109728">
            <a:noAutofit/>
          </a:bodyPr>
          <a:lstStyle>
            <a:lvl1pPr marL="0" indent="0">
              <a:spcBef>
                <a:spcPts val="0"/>
              </a:spcBef>
              <a:buNone/>
              <a:defRPr sz="3137" spc="0" baseline="0">
                <a:gradFill>
                  <a:gsLst>
                    <a:gs pos="99115">
                      <a:schemeClr val="tx1"/>
                    </a:gs>
                    <a:gs pos="79000">
                      <a:schemeClr val="tx1"/>
                    </a:gs>
                  </a:gsLst>
                  <a:lin ang="5400000" scaled="0"/>
                </a:gradFill>
                <a:latin typeface="+mj-lt"/>
              </a:defRPr>
            </a:lvl1pPr>
          </a:lstStyle>
          <a:p>
            <a:pPr lvl="0"/>
            <a:r>
              <a:rPr lang="en-US"/>
              <a:t>Speaker Name</a:t>
            </a:r>
          </a:p>
        </p:txBody>
      </p:sp>
      <p:sp>
        <p:nvSpPr>
          <p:cNvPr id="7" name="Rectangle 6"/>
          <p:cNvSpPr/>
          <p:nvPr userDrawn="1"/>
        </p:nvSpPr>
        <p:spPr bwMode="gray">
          <a:xfrm>
            <a:off x="0" y="6409724"/>
            <a:ext cx="12191377" cy="44827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30"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pic>
        <p:nvPicPr>
          <p:cNvPr id="11" name="Picture 10"/>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62254" y="6547867"/>
            <a:ext cx="806774" cy="171991"/>
          </a:xfrm>
          <a:prstGeom prst="rect">
            <a:avLst/>
          </a:prstGeom>
        </p:spPr>
      </p:pic>
    </p:spTree>
    <p:extLst>
      <p:ext uri="{BB962C8B-B14F-4D97-AF65-F5344CB8AC3E}">
        <p14:creationId xmlns:p14="http://schemas.microsoft.com/office/powerpoint/2010/main" val="152259785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Key Takeaways">
    <p:bg>
      <p:bgPr>
        <a:solidFill>
          <a:srgbClr val="EDC30D"/>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119141" y="360000"/>
            <a:ext cx="10805938" cy="720000"/>
          </a:xfrm>
        </p:spPr>
        <p:txBody>
          <a:bodyPr/>
          <a:lstStyle>
            <a:lvl1pPr>
              <a:defRPr/>
            </a:lvl1pPr>
          </a:lstStyle>
          <a:p>
            <a:r>
              <a:rPr lang="en-US"/>
              <a:t>Slide title</a:t>
            </a:r>
          </a:p>
        </p:txBody>
      </p:sp>
      <p:cxnSp>
        <p:nvCxnSpPr>
          <p:cNvPr id="4" name="Straight Connector 3"/>
          <p:cNvCxnSpPr/>
          <p:nvPr userDrawn="1"/>
        </p:nvCxnSpPr>
        <p:spPr>
          <a:xfrm>
            <a:off x="467833" y="1068634"/>
            <a:ext cx="11227981"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6" name="Content Placeholder 5"/>
          <p:cNvSpPr>
            <a:spLocks noGrp="1"/>
          </p:cNvSpPr>
          <p:nvPr>
            <p:ph sz="quarter" idx="10" hasCustomPrompt="1"/>
          </p:nvPr>
        </p:nvSpPr>
        <p:spPr>
          <a:xfrm>
            <a:off x="269875" y="1169988"/>
            <a:ext cx="11655425" cy="334962"/>
          </a:xfrm>
        </p:spPr>
        <p:txBody>
          <a:bodyPr anchor="ctr">
            <a:noAutofit/>
          </a:bodyPr>
          <a:lstStyle>
            <a:lvl1pPr>
              <a:defRPr sz="2400"/>
            </a:lvl1pPr>
          </a:lstStyle>
          <a:p>
            <a:pPr lvl="0"/>
            <a:r>
              <a:rPr lang="en-US"/>
              <a:t>Slide subtitle</a:t>
            </a:r>
          </a:p>
        </p:txBody>
      </p:sp>
      <p:sp>
        <p:nvSpPr>
          <p:cNvPr id="8" name="Text Placeholder 7"/>
          <p:cNvSpPr>
            <a:spLocks noGrp="1"/>
          </p:cNvSpPr>
          <p:nvPr>
            <p:ph type="body" sz="quarter" idx="11" hasCustomPrompt="1"/>
          </p:nvPr>
        </p:nvSpPr>
        <p:spPr>
          <a:xfrm>
            <a:off x="269875" y="1749425"/>
            <a:ext cx="11655425" cy="5108575"/>
          </a:xfrm>
        </p:spPr>
        <p:txBody>
          <a:bodyPr/>
          <a:lstStyle>
            <a:lvl1pPr>
              <a:defRPr/>
            </a:lvl1pPr>
            <a:lvl2pPr marL="237600">
              <a:defRPr sz="2800"/>
            </a:lvl2pPr>
          </a:lstStyle>
          <a:p>
            <a:pPr lvl="1"/>
            <a:r>
              <a:rPr lang="en-US"/>
              <a:t>Second level</a:t>
            </a:r>
          </a:p>
          <a:p>
            <a:pPr lvl="2"/>
            <a:r>
              <a:rPr lang="en-US"/>
              <a:t>Third level</a:t>
            </a:r>
          </a:p>
          <a:p>
            <a:pPr lvl="3"/>
            <a:r>
              <a:rPr lang="en-US"/>
              <a:t>Fourth level</a:t>
            </a:r>
          </a:p>
          <a:p>
            <a:pPr lvl="4"/>
            <a:r>
              <a:rPr lang="en-US"/>
              <a:t>Fifth level</a:t>
            </a:r>
          </a:p>
        </p:txBody>
      </p:sp>
      <p:sp>
        <p:nvSpPr>
          <p:cNvPr id="9" name="Freeform 88"/>
          <p:cNvSpPr>
            <a:spLocks noEditPoints="1"/>
          </p:cNvSpPr>
          <p:nvPr userDrawn="1"/>
        </p:nvSpPr>
        <p:spPr bwMode="auto">
          <a:xfrm>
            <a:off x="467833" y="360000"/>
            <a:ext cx="651308" cy="651308"/>
          </a:xfrm>
          <a:custGeom>
            <a:avLst/>
            <a:gdLst>
              <a:gd name="T0" fmla="*/ 207 w 414"/>
              <a:gd name="T1" fmla="*/ 0 h 414"/>
              <a:gd name="T2" fmla="*/ 0 w 414"/>
              <a:gd name="T3" fmla="*/ 207 h 414"/>
              <a:gd name="T4" fmla="*/ 207 w 414"/>
              <a:gd name="T5" fmla="*/ 414 h 414"/>
              <a:gd name="T6" fmla="*/ 414 w 414"/>
              <a:gd name="T7" fmla="*/ 207 h 414"/>
              <a:gd name="T8" fmla="*/ 207 w 414"/>
              <a:gd name="T9" fmla="*/ 0 h 414"/>
              <a:gd name="T10" fmla="*/ 207 w 414"/>
              <a:gd name="T11" fmla="*/ 399 h 414"/>
              <a:gd name="T12" fmla="*/ 15 w 414"/>
              <a:gd name="T13" fmla="*/ 207 h 414"/>
              <a:gd name="T14" fmla="*/ 207 w 414"/>
              <a:gd name="T15" fmla="*/ 15 h 414"/>
              <a:gd name="T16" fmla="*/ 399 w 414"/>
              <a:gd name="T17" fmla="*/ 207 h 414"/>
              <a:gd name="T18" fmla="*/ 207 w 414"/>
              <a:gd name="T19" fmla="*/ 399 h 414"/>
              <a:gd name="T20" fmla="*/ 299 w 414"/>
              <a:gd name="T21" fmla="*/ 174 h 414"/>
              <a:gd name="T22" fmla="*/ 314 w 414"/>
              <a:gd name="T23" fmla="*/ 174 h 414"/>
              <a:gd name="T24" fmla="*/ 314 w 414"/>
              <a:gd name="T25" fmla="*/ 307 h 414"/>
              <a:gd name="T26" fmla="*/ 306 w 414"/>
              <a:gd name="T27" fmla="*/ 314 h 414"/>
              <a:gd name="T28" fmla="*/ 173 w 414"/>
              <a:gd name="T29" fmla="*/ 314 h 414"/>
              <a:gd name="T30" fmla="*/ 173 w 414"/>
              <a:gd name="T31" fmla="*/ 300 h 414"/>
              <a:gd name="T32" fmla="*/ 288 w 414"/>
              <a:gd name="T33" fmla="*/ 300 h 414"/>
              <a:gd name="T34" fmla="*/ 108 w 414"/>
              <a:gd name="T35" fmla="*/ 120 h 414"/>
              <a:gd name="T36" fmla="*/ 119 w 414"/>
              <a:gd name="T37" fmla="*/ 109 h 414"/>
              <a:gd name="T38" fmla="*/ 299 w 414"/>
              <a:gd name="T39" fmla="*/ 289 h 414"/>
              <a:gd name="T40" fmla="*/ 299 w 414"/>
              <a:gd name="T41" fmla="*/ 174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14" h="414">
                <a:moveTo>
                  <a:pt x="207" y="0"/>
                </a:moveTo>
                <a:cubicBezTo>
                  <a:pt x="93" y="0"/>
                  <a:pt x="0" y="93"/>
                  <a:pt x="0" y="207"/>
                </a:cubicBezTo>
                <a:cubicBezTo>
                  <a:pt x="0" y="321"/>
                  <a:pt x="93" y="414"/>
                  <a:pt x="207" y="414"/>
                </a:cubicBezTo>
                <a:cubicBezTo>
                  <a:pt x="321" y="414"/>
                  <a:pt x="414" y="321"/>
                  <a:pt x="414" y="207"/>
                </a:cubicBezTo>
                <a:cubicBezTo>
                  <a:pt x="414" y="93"/>
                  <a:pt x="321" y="0"/>
                  <a:pt x="207" y="0"/>
                </a:cubicBezTo>
                <a:close/>
                <a:moveTo>
                  <a:pt x="207" y="399"/>
                </a:moveTo>
                <a:cubicBezTo>
                  <a:pt x="101" y="399"/>
                  <a:pt x="15" y="313"/>
                  <a:pt x="15" y="207"/>
                </a:cubicBezTo>
                <a:cubicBezTo>
                  <a:pt x="15" y="101"/>
                  <a:pt x="101" y="15"/>
                  <a:pt x="207" y="15"/>
                </a:cubicBezTo>
                <a:cubicBezTo>
                  <a:pt x="313" y="15"/>
                  <a:pt x="399" y="101"/>
                  <a:pt x="399" y="207"/>
                </a:cubicBezTo>
                <a:cubicBezTo>
                  <a:pt x="399" y="313"/>
                  <a:pt x="313" y="399"/>
                  <a:pt x="207" y="399"/>
                </a:cubicBezTo>
                <a:close/>
                <a:moveTo>
                  <a:pt x="299" y="174"/>
                </a:moveTo>
                <a:cubicBezTo>
                  <a:pt x="314" y="174"/>
                  <a:pt x="314" y="174"/>
                  <a:pt x="314" y="174"/>
                </a:cubicBezTo>
                <a:cubicBezTo>
                  <a:pt x="314" y="307"/>
                  <a:pt x="314" y="307"/>
                  <a:pt x="314" y="307"/>
                </a:cubicBezTo>
                <a:cubicBezTo>
                  <a:pt x="314" y="311"/>
                  <a:pt x="310" y="314"/>
                  <a:pt x="306" y="314"/>
                </a:cubicBezTo>
                <a:cubicBezTo>
                  <a:pt x="173" y="314"/>
                  <a:pt x="173" y="314"/>
                  <a:pt x="173" y="314"/>
                </a:cubicBezTo>
                <a:cubicBezTo>
                  <a:pt x="173" y="300"/>
                  <a:pt x="173" y="300"/>
                  <a:pt x="173" y="300"/>
                </a:cubicBezTo>
                <a:cubicBezTo>
                  <a:pt x="288" y="300"/>
                  <a:pt x="288" y="300"/>
                  <a:pt x="288" y="300"/>
                </a:cubicBezTo>
                <a:cubicBezTo>
                  <a:pt x="108" y="120"/>
                  <a:pt x="108" y="120"/>
                  <a:pt x="108" y="120"/>
                </a:cubicBezTo>
                <a:cubicBezTo>
                  <a:pt x="119" y="109"/>
                  <a:pt x="119" y="109"/>
                  <a:pt x="119" y="109"/>
                </a:cubicBezTo>
                <a:cubicBezTo>
                  <a:pt x="299" y="289"/>
                  <a:pt x="299" y="289"/>
                  <a:pt x="299" y="289"/>
                </a:cubicBezTo>
                <a:lnTo>
                  <a:pt x="299" y="174"/>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22666071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Opportunities">
    <p:bg>
      <p:bgPr>
        <a:solidFill>
          <a:srgbClr val="EDC30D"/>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43897" y="360000"/>
            <a:ext cx="10981182" cy="720000"/>
          </a:xfrm>
        </p:spPr>
        <p:txBody>
          <a:bodyPr/>
          <a:lstStyle>
            <a:lvl1pPr>
              <a:defRPr/>
            </a:lvl1pPr>
          </a:lstStyle>
          <a:p>
            <a:r>
              <a:rPr lang="en-US"/>
              <a:t>Slide title</a:t>
            </a:r>
          </a:p>
        </p:txBody>
      </p:sp>
      <p:cxnSp>
        <p:nvCxnSpPr>
          <p:cNvPr id="4" name="Straight Connector 3"/>
          <p:cNvCxnSpPr/>
          <p:nvPr userDrawn="1"/>
        </p:nvCxnSpPr>
        <p:spPr>
          <a:xfrm>
            <a:off x="467833" y="1068634"/>
            <a:ext cx="11227981"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6" name="Content Placeholder 5"/>
          <p:cNvSpPr>
            <a:spLocks noGrp="1"/>
          </p:cNvSpPr>
          <p:nvPr>
            <p:ph sz="quarter" idx="10" hasCustomPrompt="1"/>
          </p:nvPr>
        </p:nvSpPr>
        <p:spPr>
          <a:xfrm>
            <a:off x="269875" y="1169988"/>
            <a:ext cx="11655425" cy="334962"/>
          </a:xfrm>
        </p:spPr>
        <p:txBody>
          <a:bodyPr anchor="ctr">
            <a:noAutofit/>
          </a:bodyPr>
          <a:lstStyle>
            <a:lvl1pPr>
              <a:defRPr sz="2400"/>
            </a:lvl1pPr>
          </a:lstStyle>
          <a:p>
            <a:pPr lvl="0"/>
            <a:r>
              <a:rPr lang="en-US"/>
              <a:t>Slide subtitle</a:t>
            </a:r>
          </a:p>
        </p:txBody>
      </p:sp>
      <p:sp>
        <p:nvSpPr>
          <p:cNvPr id="8" name="Text Placeholder 7"/>
          <p:cNvSpPr>
            <a:spLocks noGrp="1"/>
          </p:cNvSpPr>
          <p:nvPr>
            <p:ph type="body" sz="quarter" idx="11" hasCustomPrompt="1"/>
          </p:nvPr>
        </p:nvSpPr>
        <p:spPr>
          <a:xfrm>
            <a:off x="269875" y="1749425"/>
            <a:ext cx="11655425" cy="5108575"/>
          </a:xfrm>
        </p:spPr>
        <p:txBody>
          <a:bodyPr/>
          <a:lstStyle>
            <a:lvl1pPr>
              <a:defRPr/>
            </a:lvl1pPr>
            <a:lvl2pPr marL="237600">
              <a:defRPr sz="2800"/>
            </a:lvl2pPr>
          </a:lstStyle>
          <a:p>
            <a:pPr lvl="1"/>
            <a:r>
              <a:rPr lang="en-US"/>
              <a:t>Second level</a:t>
            </a:r>
          </a:p>
          <a:p>
            <a:pPr lvl="2"/>
            <a:r>
              <a:rPr lang="en-US"/>
              <a:t>Third level</a:t>
            </a:r>
          </a:p>
          <a:p>
            <a:pPr lvl="3"/>
            <a:r>
              <a:rPr lang="en-US"/>
              <a:t>Fourth level</a:t>
            </a:r>
          </a:p>
          <a:p>
            <a:pPr lvl="4"/>
            <a:r>
              <a:rPr lang="en-US"/>
              <a:t>Fifth level</a:t>
            </a:r>
          </a:p>
        </p:txBody>
      </p:sp>
      <p:sp>
        <p:nvSpPr>
          <p:cNvPr id="7" name="Freeform 13"/>
          <p:cNvSpPr>
            <a:spLocks noEditPoints="1"/>
          </p:cNvSpPr>
          <p:nvPr userDrawn="1"/>
        </p:nvSpPr>
        <p:spPr bwMode="auto">
          <a:xfrm>
            <a:off x="455749" y="365275"/>
            <a:ext cx="350279" cy="645825"/>
          </a:xfrm>
          <a:custGeom>
            <a:avLst/>
            <a:gdLst>
              <a:gd name="T0" fmla="*/ 2 w 122"/>
              <a:gd name="T1" fmla="*/ 65 h 225"/>
              <a:gd name="T2" fmla="*/ 14 w 122"/>
              <a:gd name="T3" fmla="*/ 77 h 225"/>
              <a:gd name="T4" fmla="*/ 17 w 122"/>
              <a:gd name="T5" fmla="*/ 76 h 225"/>
              <a:gd name="T6" fmla="*/ 119 w 122"/>
              <a:gd name="T7" fmla="*/ 42 h 225"/>
              <a:gd name="T8" fmla="*/ 119 w 122"/>
              <a:gd name="T9" fmla="*/ 30 h 225"/>
              <a:gd name="T10" fmla="*/ 105 w 122"/>
              <a:gd name="T11" fmla="*/ 23 h 225"/>
              <a:gd name="T12" fmla="*/ 3 w 122"/>
              <a:gd name="T13" fmla="*/ 57 h 225"/>
              <a:gd name="T14" fmla="*/ 108 w 122"/>
              <a:gd name="T15" fmla="*/ 28 h 225"/>
              <a:gd name="T16" fmla="*/ 114 w 122"/>
              <a:gd name="T17" fmla="*/ 35 h 225"/>
              <a:gd name="T18" fmla="*/ 111 w 122"/>
              <a:gd name="T19" fmla="*/ 42 h 225"/>
              <a:gd name="T20" fmla="*/ 14 w 122"/>
              <a:gd name="T21" fmla="*/ 71 h 225"/>
              <a:gd name="T22" fmla="*/ 9 w 122"/>
              <a:gd name="T23" fmla="*/ 67 h 225"/>
              <a:gd name="T24" fmla="*/ 8 w 122"/>
              <a:gd name="T25" fmla="*/ 59 h 225"/>
              <a:gd name="T26" fmla="*/ 106 w 122"/>
              <a:gd name="T27" fmla="*/ 28 h 225"/>
              <a:gd name="T28" fmla="*/ 14 w 122"/>
              <a:gd name="T29" fmla="*/ 43 h 225"/>
              <a:gd name="T30" fmla="*/ 66 w 122"/>
              <a:gd name="T31" fmla="*/ 28 h 225"/>
              <a:gd name="T32" fmla="*/ 73 w 122"/>
              <a:gd name="T33" fmla="*/ 10 h 225"/>
              <a:gd name="T34" fmla="*/ 9 w 122"/>
              <a:gd name="T35" fmla="*/ 17 h 225"/>
              <a:gd name="T36" fmla="*/ 3 w 122"/>
              <a:gd name="T37" fmla="*/ 35 h 225"/>
              <a:gd name="T38" fmla="*/ 61 w 122"/>
              <a:gd name="T39" fmla="*/ 8 h 225"/>
              <a:gd name="T40" fmla="*/ 67 w 122"/>
              <a:gd name="T41" fmla="*/ 12 h 225"/>
              <a:gd name="T42" fmla="*/ 65 w 122"/>
              <a:gd name="T43" fmla="*/ 22 h 225"/>
              <a:gd name="T44" fmla="*/ 14 w 122"/>
              <a:gd name="T45" fmla="*/ 37 h 225"/>
              <a:gd name="T46" fmla="*/ 8 w 122"/>
              <a:gd name="T47" fmla="*/ 30 h 225"/>
              <a:gd name="T48" fmla="*/ 120 w 122"/>
              <a:gd name="T49" fmla="*/ 101 h 225"/>
              <a:gd name="T50" fmla="*/ 105 w 122"/>
              <a:gd name="T51" fmla="*/ 90 h 225"/>
              <a:gd name="T52" fmla="*/ 72 w 122"/>
              <a:gd name="T53" fmla="*/ 110 h 225"/>
              <a:gd name="T54" fmla="*/ 55 w 122"/>
              <a:gd name="T55" fmla="*/ 138 h 225"/>
              <a:gd name="T56" fmla="*/ 53 w 122"/>
              <a:gd name="T57" fmla="*/ 99 h 225"/>
              <a:gd name="T58" fmla="*/ 119 w 122"/>
              <a:gd name="T59" fmla="*/ 76 h 225"/>
              <a:gd name="T60" fmla="*/ 119 w 122"/>
              <a:gd name="T61" fmla="*/ 64 h 225"/>
              <a:gd name="T62" fmla="*/ 9 w 122"/>
              <a:gd name="T63" fmla="*/ 85 h 225"/>
              <a:gd name="T64" fmla="*/ 1 w 122"/>
              <a:gd name="T65" fmla="*/ 97 h 225"/>
              <a:gd name="T66" fmla="*/ 3 w 122"/>
              <a:gd name="T67" fmla="*/ 102 h 225"/>
              <a:gd name="T68" fmla="*/ 11 w 122"/>
              <a:gd name="T69" fmla="*/ 110 h 225"/>
              <a:gd name="T70" fmla="*/ 28 w 122"/>
              <a:gd name="T71" fmla="*/ 121 h 225"/>
              <a:gd name="T72" fmla="*/ 17 w 122"/>
              <a:gd name="T73" fmla="*/ 138 h 225"/>
              <a:gd name="T74" fmla="*/ 40 w 122"/>
              <a:gd name="T75" fmla="*/ 209 h 225"/>
              <a:gd name="T76" fmla="*/ 53 w 122"/>
              <a:gd name="T77" fmla="*/ 225 h 225"/>
              <a:gd name="T78" fmla="*/ 87 w 122"/>
              <a:gd name="T79" fmla="*/ 214 h 225"/>
              <a:gd name="T80" fmla="*/ 110 w 122"/>
              <a:gd name="T81" fmla="*/ 187 h 225"/>
              <a:gd name="T82" fmla="*/ 99 w 122"/>
              <a:gd name="T83" fmla="*/ 138 h 225"/>
              <a:gd name="T84" fmla="*/ 104 w 122"/>
              <a:gd name="T85" fmla="*/ 117 h 225"/>
              <a:gd name="T86" fmla="*/ 120 w 122"/>
              <a:gd name="T87" fmla="*/ 101 h 225"/>
              <a:gd name="T88" fmla="*/ 47 w 122"/>
              <a:gd name="T89" fmla="*/ 101 h 225"/>
              <a:gd name="T90" fmla="*/ 49 w 122"/>
              <a:gd name="T91" fmla="*/ 138 h 225"/>
              <a:gd name="T92" fmla="*/ 35 w 122"/>
              <a:gd name="T93" fmla="*/ 121 h 225"/>
              <a:gd name="T94" fmla="*/ 24 w 122"/>
              <a:gd name="T95" fmla="*/ 108 h 225"/>
              <a:gd name="T96" fmla="*/ 12 w 122"/>
              <a:gd name="T97" fmla="*/ 104 h 225"/>
              <a:gd name="T98" fmla="*/ 8 w 122"/>
              <a:gd name="T99" fmla="*/ 97 h 225"/>
              <a:gd name="T100" fmla="*/ 8 w 122"/>
              <a:gd name="T101" fmla="*/ 93 h 225"/>
              <a:gd name="T102" fmla="*/ 12 w 122"/>
              <a:gd name="T103" fmla="*/ 90 h 225"/>
              <a:gd name="T104" fmla="*/ 24 w 122"/>
              <a:gd name="T105" fmla="*/ 86 h 225"/>
              <a:gd name="T106" fmla="*/ 108 w 122"/>
              <a:gd name="T107" fmla="*/ 62 h 225"/>
              <a:gd name="T108" fmla="*/ 114 w 122"/>
              <a:gd name="T109" fmla="*/ 69 h 225"/>
              <a:gd name="T110" fmla="*/ 111 w 122"/>
              <a:gd name="T111" fmla="*/ 76 h 225"/>
              <a:gd name="T112" fmla="*/ 43 w 122"/>
              <a:gd name="T113" fmla="*/ 98 h 225"/>
              <a:gd name="T114" fmla="*/ 103 w 122"/>
              <a:gd name="T115" fmla="*/ 111 h 225"/>
              <a:gd name="T116" fmla="*/ 92 w 122"/>
              <a:gd name="T117" fmla="*/ 138 h 225"/>
              <a:gd name="T118" fmla="*/ 78 w 122"/>
              <a:gd name="T119" fmla="*/ 110 h 225"/>
              <a:gd name="T120" fmla="*/ 106 w 122"/>
              <a:gd name="T121" fmla="*/ 96 h 225"/>
              <a:gd name="T122" fmla="*/ 114 w 122"/>
              <a:gd name="T123" fmla="*/ 103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22" h="225">
                <a:moveTo>
                  <a:pt x="3" y="57"/>
                </a:moveTo>
                <a:cubicBezTo>
                  <a:pt x="1" y="59"/>
                  <a:pt x="1" y="62"/>
                  <a:pt x="2" y="65"/>
                </a:cubicBezTo>
                <a:cubicBezTo>
                  <a:pt x="3" y="69"/>
                  <a:pt x="3" y="69"/>
                  <a:pt x="3" y="69"/>
                </a:cubicBezTo>
                <a:cubicBezTo>
                  <a:pt x="4" y="74"/>
                  <a:pt x="9" y="77"/>
                  <a:pt x="14" y="77"/>
                </a:cubicBezTo>
                <a:cubicBezTo>
                  <a:pt x="14" y="77"/>
                  <a:pt x="14" y="77"/>
                  <a:pt x="14" y="77"/>
                </a:cubicBezTo>
                <a:cubicBezTo>
                  <a:pt x="15" y="77"/>
                  <a:pt x="16" y="77"/>
                  <a:pt x="17" y="76"/>
                </a:cubicBezTo>
                <a:cubicBezTo>
                  <a:pt x="112" y="48"/>
                  <a:pt x="112" y="48"/>
                  <a:pt x="112" y="48"/>
                </a:cubicBezTo>
                <a:cubicBezTo>
                  <a:pt x="115" y="47"/>
                  <a:pt x="118" y="45"/>
                  <a:pt x="119" y="42"/>
                </a:cubicBezTo>
                <a:cubicBezTo>
                  <a:pt x="120" y="40"/>
                  <a:pt x="121" y="37"/>
                  <a:pt x="120" y="34"/>
                </a:cubicBezTo>
                <a:cubicBezTo>
                  <a:pt x="119" y="30"/>
                  <a:pt x="119" y="30"/>
                  <a:pt x="119" y="30"/>
                </a:cubicBezTo>
                <a:cubicBezTo>
                  <a:pt x="117" y="25"/>
                  <a:pt x="113" y="22"/>
                  <a:pt x="108" y="22"/>
                </a:cubicBezTo>
                <a:cubicBezTo>
                  <a:pt x="107" y="22"/>
                  <a:pt x="106" y="22"/>
                  <a:pt x="105" y="23"/>
                </a:cubicBezTo>
                <a:cubicBezTo>
                  <a:pt x="9" y="51"/>
                  <a:pt x="9" y="51"/>
                  <a:pt x="9" y="51"/>
                </a:cubicBezTo>
                <a:cubicBezTo>
                  <a:pt x="6" y="52"/>
                  <a:pt x="4" y="54"/>
                  <a:pt x="3" y="57"/>
                </a:cubicBezTo>
                <a:close/>
                <a:moveTo>
                  <a:pt x="106" y="28"/>
                </a:moveTo>
                <a:cubicBezTo>
                  <a:pt x="107" y="28"/>
                  <a:pt x="107" y="28"/>
                  <a:pt x="108" y="28"/>
                </a:cubicBezTo>
                <a:cubicBezTo>
                  <a:pt x="110" y="28"/>
                  <a:pt x="112" y="30"/>
                  <a:pt x="113" y="32"/>
                </a:cubicBezTo>
                <a:cubicBezTo>
                  <a:pt x="114" y="35"/>
                  <a:pt x="114" y="35"/>
                  <a:pt x="114" y="35"/>
                </a:cubicBezTo>
                <a:cubicBezTo>
                  <a:pt x="115" y="37"/>
                  <a:pt x="114" y="38"/>
                  <a:pt x="114" y="40"/>
                </a:cubicBezTo>
                <a:cubicBezTo>
                  <a:pt x="113" y="41"/>
                  <a:pt x="112" y="42"/>
                  <a:pt x="111" y="42"/>
                </a:cubicBezTo>
                <a:cubicBezTo>
                  <a:pt x="15" y="71"/>
                  <a:pt x="15" y="71"/>
                  <a:pt x="15" y="71"/>
                </a:cubicBezTo>
                <a:cubicBezTo>
                  <a:pt x="15" y="71"/>
                  <a:pt x="14" y="71"/>
                  <a:pt x="14" y="71"/>
                </a:cubicBezTo>
                <a:cubicBezTo>
                  <a:pt x="14" y="71"/>
                  <a:pt x="14" y="71"/>
                  <a:pt x="14" y="71"/>
                </a:cubicBezTo>
                <a:cubicBezTo>
                  <a:pt x="11" y="71"/>
                  <a:pt x="9" y="69"/>
                  <a:pt x="9" y="67"/>
                </a:cubicBezTo>
                <a:cubicBezTo>
                  <a:pt x="8" y="63"/>
                  <a:pt x="8" y="63"/>
                  <a:pt x="8" y="63"/>
                </a:cubicBezTo>
                <a:cubicBezTo>
                  <a:pt x="7" y="62"/>
                  <a:pt x="7" y="61"/>
                  <a:pt x="8" y="59"/>
                </a:cubicBezTo>
                <a:cubicBezTo>
                  <a:pt x="9" y="58"/>
                  <a:pt x="10" y="57"/>
                  <a:pt x="11" y="57"/>
                </a:cubicBezTo>
                <a:lnTo>
                  <a:pt x="106" y="28"/>
                </a:lnTo>
                <a:close/>
                <a:moveTo>
                  <a:pt x="3" y="35"/>
                </a:moveTo>
                <a:cubicBezTo>
                  <a:pt x="4" y="40"/>
                  <a:pt x="9" y="43"/>
                  <a:pt x="14" y="43"/>
                </a:cubicBezTo>
                <a:cubicBezTo>
                  <a:pt x="15" y="43"/>
                  <a:pt x="16" y="43"/>
                  <a:pt x="17" y="43"/>
                </a:cubicBezTo>
                <a:cubicBezTo>
                  <a:pt x="66" y="28"/>
                  <a:pt x="66" y="28"/>
                  <a:pt x="66" y="28"/>
                </a:cubicBezTo>
                <a:cubicBezTo>
                  <a:pt x="72" y="26"/>
                  <a:pt x="76" y="19"/>
                  <a:pt x="74" y="13"/>
                </a:cubicBezTo>
                <a:cubicBezTo>
                  <a:pt x="73" y="10"/>
                  <a:pt x="73" y="10"/>
                  <a:pt x="73" y="10"/>
                </a:cubicBezTo>
                <a:cubicBezTo>
                  <a:pt x="71" y="4"/>
                  <a:pt x="65" y="0"/>
                  <a:pt x="59" y="2"/>
                </a:cubicBezTo>
                <a:cubicBezTo>
                  <a:pt x="9" y="17"/>
                  <a:pt x="9" y="17"/>
                  <a:pt x="9" y="17"/>
                </a:cubicBezTo>
                <a:cubicBezTo>
                  <a:pt x="3" y="19"/>
                  <a:pt x="0" y="25"/>
                  <a:pt x="2" y="31"/>
                </a:cubicBezTo>
                <a:lnTo>
                  <a:pt x="3" y="35"/>
                </a:lnTo>
                <a:close/>
                <a:moveTo>
                  <a:pt x="11" y="23"/>
                </a:moveTo>
                <a:cubicBezTo>
                  <a:pt x="61" y="8"/>
                  <a:pt x="61" y="8"/>
                  <a:pt x="61" y="8"/>
                </a:cubicBezTo>
                <a:cubicBezTo>
                  <a:pt x="61" y="8"/>
                  <a:pt x="62" y="8"/>
                  <a:pt x="62" y="8"/>
                </a:cubicBezTo>
                <a:cubicBezTo>
                  <a:pt x="64" y="8"/>
                  <a:pt x="67" y="9"/>
                  <a:pt x="67" y="12"/>
                </a:cubicBezTo>
                <a:cubicBezTo>
                  <a:pt x="68" y="15"/>
                  <a:pt x="68" y="15"/>
                  <a:pt x="68" y="15"/>
                </a:cubicBezTo>
                <a:cubicBezTo>
                  <a:pt x="69" y="18"/>
                  <a:pt x="68" y="21"/>
                  <a:pt x="65" y="22"/>
                </a:cubicBezTo>
                <a:cubicBezTo>
                  <a:pt x="15" y="37"/>
                  <a:pt x="15" y="37"/>
                  <a:pt x="15" y="37"/>
                </a:cubicBezTo>
                <a:cubicBezTo>
                  <a:pt x="15" y="37"/>
                  <a:pt x="14" y="37"/>
                  <a:pt x="14" y="37"/>
                </a:cubicBezTo>
                <a:cubicBezTo>
                  <a:pt x="11" y="37"/>
                  <a:pt x="9" y="36"/>
                  <a:pt x="9" y="33"/>
                </a:cubicBezTo>
                <a:cubicBezTo>
                  <a:pt x="8" y="30"/>
                  <a:pt x="8" y="30"/>
                  <a:pt x="8" y="30"/>
                </a:cubicBezTo>
                <a:cubicBezTo>
                  <a:pt x="7" y="27"/>
                  <a:pt x="8" y="24"/>
                  <a:pt x="11" y="23"/>
                </a:cubicBezTo>
                <a:close/>
                <a:moveTo>
                  <a:pt x="120" y="101"/>
                </a:moveTo>
                <a:cubicBezTo>
                  <a:pt x="119" y="97"/>
                  <a:pt x="119" y="97"/>
                  <a:pt x="119" y="97"/>
                </a:cubicBezTo>
                <a:cubicBezTo>
                  <a:pt x="117" y="92"/>
                  <a:pt x="110" y="88"/>
                  <a:pt x="105" y="90"/>
                </a:cubicBezTo>
                <a:cubicBezTo>
                  <a:pt x="82" y="96"/>
                  <a:pt x="82" y="96"/>
                  <a:pt x="82" y="96"/>
                </a:cubicBezTo>
                <a:cubicBezTo>
                  <a:pt x="76" y="98"/>
                  <a:pt x="72" y="104"/>
                  <a:pt x="72" y="110"/>
                </a:cubicBezTo>
                <a:cubicBezTo>
                  <a:pt x="72" y="138"/>
                  <a:pt x="72" y="138"/>
                  <a:pt x="72" y="138"/>
                </a:cubicBezTo>
                <a:cubicBezTo>
                  <a:pt x="55" y="138"/>
                  <a:pt x="55" y="138"/>
                  <a:pt x="55" y="138"/>
                </a:cubicBezTo>
                <a:cubicBezTo>
                  <a:pt x="55" y="106"/>
                  <a:pt x="55" y="106"/>
                  <a:pt x="55" y="106"/>
                </a:cubicBezTo>
                <a:cubicBezTo>
                  <a:pt x="55" y="104"/>
                  <a:pt x="54" y="101"/>
                  <a:pt x="53" y="99"/>
                </a:cubicBezTo>
                <a:cubicBezTo>
                  <a:pt x="112" y="82"/>
                  <a:pt x="112" y="82"/>
                  <a:pt x="112" y="82"/>
                </a:cubicBezTo>
                <a:cubicBezTo>
                  <a:pt x="115" y="81"/>
                  <a:pt x="118" y="79"/>
                  <a:pt x="119" y="76"/>
                </a:cubicBezTo>
                <a:cubicBezTo>
                  <a:pt x="120" y="73"/>
                  <a:pt x="121" y="70"/>
                  <a:pt x="120" y="67"/>
                </a:cubicBezTo>
                <a:cubicBezTo>
                  <a:pt x="119" y="64"/>
                  <a:pt x="119" y="64"/>
                  <a:pt x="119" y="64"/>
                </a:cubicBezTo>
                <a:cubicBezTo>
                  <a:pt x="117" y="58"/>
                  <a:pt x="110" y="54"/>
                  <a:pt x="105" y="56"/>
                </a:cubicBezTo>
                <a:cubicBezTo>
                  <a:pt x="9" y="85"/>
                  <a:pt x="9" y="85"/>
                  <a:pt x="9" y="85"/>
                </a:cubicBezTo>
                <a:cubicBezTo>
                  <a:pt x="6" y="86"/>
                  <a:pt x="4" y="88"/>
                  <a:pt x="3" y="90"/>
                </a:cubicBezTo>
                <a:cubicBezTo>
                  <a:pt x="1" y="92"/>
                  <a:pt x="1" y="95"/>
                  <a:pt x="1" y="97"/>
                </a:cubicBezTo>
                <a:cubicBezTo>
                  <a:pt x="2" y="98"/>
                  <a:pt x="2" y="98"/>
                  <a:pt x="2" y="99"/>
                </a:cubicBezTo>
                <a:cubicBezTo>
                  <a:pt x="3" y="102"/>
                  <a:pt x="3" y="102"/>
                  <a:pt x="3" y="102"/>
                </a:cubicBezTo>
                <a:cubicBezTo>
                  <a:pt x="4" y="106"/>
                  <a:pt x="7" y="109"/>
                  <a:pt x="10" y="110"/>
                </a:cubicBezTo>
                <a:cubicBezTo>
                  <a:pt x="11" y="110"/>
                  <a:pt x="11" y="110"/>
                  <a:pt x="11" y="110"/>
                </a:cubicBezTo>
                <a:cubicBezTo>
                  <a:pt x="23" y="113"/>
                  <a:pt x="23" y="113"/>
                  <a:pt x="23" y="113"/>
                </a:cubicBezTo>
                <a:cubicBezTo>
                  <a:pt x="26" y="114"/>
                  <a:pt x="28" y="118"/>
                  <a:pt x="28" y="121"/>
                </a:cubicBezTo>
                <a:cubicBezTo>
                  <a:pt x="28" y="138"/>
                  <a:pt x="28" y="138"/>
                  <a:pt x="28" y="138"/>
                </a:cubicBezTo>
                <a:cubicBezTo>
                  <a:pt x="17" y="138"/>
                  <a:pt x="17" y="138"/>
                  <a:pt x="17" y="138"/>
                </a:cubicBezTo>
                <a:cubicBezTo>
                  <a:pt x="17" y="187"/>
                  <a:pt x="17" y="187"/>
                  <a:pt x="17" y="187"/>
                </a:cubicBezTo>
                <a:cubicBezTo>
                  <a:pt x="17" y="199"/>
                  <a:pt x="28" y="208"/>
                  <a:pt x="40" y="209"/>
                </a:cubicBezTo>
                <a:cubicBezTo>
                  <a:pt x="40" y="214"/>
                  <a:pt x="40" y="214"/>
                  <a:pt x="40" y="214"/>
                </a:cubicBezTo>
                <a:cubicBezTo>
                  <a:pt x="40" y="220"/>
                  <a:pt x="46" y="225"/>
                  <a:pt x="53" y="225"/>
                </a:cubicBezTo>
                <a:cubicBezTo>
                  <a:pt x="74" y="225"/>
                  <a:pt x="74" y="225"/>
                  <a:pt x="74" y="225"/>
                </a:cubicBezTo>
                <a:cubicBezTo>
                  <a:pt x="81" y="225"/>
                  <a:pt x="87" y="220"/>
                  <a:pt x="87" y="214"/>
                </a:cubicBezTo>
                <a:cubicBezTo>
                  <a:pt x="87" y="209"/>
                  <a:pt x="87" y="209"/>
                  <a:pt x="87" y="209"/>
                </a:cubicBezTo>
                <a:cubicBezTo>
                  <a:pt x="99" y="208"/>
                  <a:pt x="110" y="199"/>
                  <a:pt x="110" y="187"/>
                </a:cubicBezTo>
                <a:cubicBezTo>
                  <a:pt x="110" y="138"/>
                  <a:pt x="110" y="138"/>
                  <a:pt x="110" y="138"/>
                </a:cubicBezTo>
                <a:cubicBezTo>
                  <a:pt x="99" y="138"/>
                  <a:pt x="99" y="138"/>
                  <a:pt x="99" y="138"/>
                </a:cubicBezTo>
                <a:cubicBezTo>
                  <a:pt x="99" y="125"/>
                  <a:pt x="99" y="125"/>
                  <a:pt x="99" y="125"/>
                </a:cubicBezTo>
                <a:cubicBezTo>
                  <a:pt x="99" y="122"/>
                  <a:pt x="101" y="118"/>
                  <a:pt x="104" y="117"/>
                </a:cubicBezTo>
                <a:cubicBezTo>
                  <a:pt x="112" y="115"/>
                  <a:pt x="112" y="115"/>
                  <a:pt x="112" y="115"/>
                </a:cubicBezTo>
                <a:cubicBezTo>
                  <a:pt x="118" y="113"/>
                  <a:pt x="122" y="107"/>
                  <a:pt x="120" y="101"/>
                </a:cubicBezTo>
                <a:close/>
                <a:moveTo>
                  <a:pt x="43" y="98"/>
                </a:moveTo>
                <a:cubicBezTo>
                  <a:pt x="45" y="99"/>
                  <a:pt x="46" y="100"/>
                  <a:pt x="47" y="101"/>
                </a:cubicBezTo>
                <a:cubicBezTo>
                  <a:pt x="48" y="103"/>
                  <a:pt x="49" y="104"/>
                  <a:pt x="49" y="106"/>
                </a:cubicBezTo>
                <a:cubicBezTo>
                  <a:pt x="49" y="138"/>
                  <a:pt x="49" y="138"/>
                  <a:pt x="49" y="138"/>
                </a:cubicBezTo>
                <a:cubicBezTo>
                  <a:pt x="35" y="138"/>
                  <a:pt x="35" y="138"/>
                  <a:pt x="35" y="138"/>
                </a:cubicBezTo>
                <a:cubicBezTo>
                  <a:pt x="35" y="121"/>
                  <a:pt x="35" y="121"/>
                  <a:pt x="35" y="121"/>
                </a:cubicBezTo>
                <a:cubicBezTo>
                  <a:pt x="35" y="116"/>
                  <a:pt x="30" y="110"/>
                  <a:pt x="25" y="108"/>
                </a:cubicBezTo>
                <a:cubicBezTo>
                  <a:pt x="25" y="108"/>
                  <a:pt x="24" y="108"/>
                  <a:pt x="24" y="108"/>
                </a:cubicBezTo>
                <a:cubicBezTo>
                  <a:pt x="13" y="104"/>
                  <a:pt x="13" y="104"/>
                  <a:pt x="13" y="104"/>
                </a:cubicBezTo>
                <a:cubicBezTo>
                  <a:pt x="12" y="104"/>
                  <a:pt x="12" y="104"/>
                  <a:pt x="12" y="104"/>
                </a:cubicBezTo>
                <a:cubicBezTo>
                  <a:pt x="10" y="104"/>
                  <a:pt x="9" y="102"/>
                  <a:pt x="9" y="101"/>
                </a:cubicBezTo>
                <a:cubicBezTo>
                  <a:pt x="8" y="97"/>
                  <a:pt x="8" y="97"/>
                  <a:pt x="8" y="97"/>
                </a:cubicBezTo>
                <a:cubicBezTo>
                  <a:pt x="8" y="97"/>
                  <a:pt x="8" y="97"/>
                  <a:pt x="8" y="97"/>
                </a:cubicBezTo>
                <a:cubicBezTo>
                  <a:pt x="7" y="96"/>
                  <a:pt x="7" y="94"/>
                  <a:pt x="8" y="93"/>
                </a:cubicBezTo>
                <a:cubicBezTo>
                  <a:pt x="9" y="92"/>
                  <a:pt x="10" y="91"/>
                  <a:pt x="11" y="90"/>
                </a:cubicBezTo>
                <a:cubicBezTo>
                  <a:pt x="12" y="90"/>
                  <a:pt x="12" y="90"/>
                  <a:pt x="12" y="90"/>
                </a:cubicBezTo>
                <a:cubicBezTo>
                  <a:pt x="13" y="90"/>
                  <a:pt x="13" y="90"/>
                  <a:pt x="13" y="90"/>
                </a:cubicBezTo>
                <a:cubicBezTo>
                  <a:pt x="24" y="86"/>
                  <a:pt x="24" y="86"/>
                  <a:pt x="24" y="86"/>
                </a:cubicBezTo>
                <a:cubicBezTo>
                  <a:pt x="106" y="62"/>
                  <a:pt x="106" y="62"/>
                  <a:pt x="106" y="62"/>
                </a:cubicBezTo>
                <a:cubicBezTo>
                  <a:pt x="107" y="62"/>
                  <a:pt x="107" y="62"/>
                  <a:pt x="108" y="62"/>
                </a:cubicBezTo>
                <a:cubicBezTo>
                  <a:pt x="110" y="62"/>
                  <a:pt x="112" y="63"/>
                  <a:pt x="113" y="66"/>
                </a:cubicBezTo>
                <a:cubicBezTo>
                  <a:pt x="114" y="69"/>
                  <a:pt x="114" y="69"/>
                  <a:pt x="114" y="69"/>
                </a:cubicBezTo>
                <a:cubicBezTo>
                  <a:pt x="115" y="71"/>
                  <a:pt x="114" y="72"/>
                  <a:pt x="114" y="73"/>
                </a:cubicBezTo>
                <a:cubicBezTo>
                  <a:pt x="113" y="74"/>
                  <a:pt x="112" y="75"/>
                  <a:pt x="111" y="76"/>
                </a:cubicBezTo>
                <a:cubicBezTo>
                  <a:pt x="49" y="94"/>
                  <a:pt x="49" y="94"/>
                  <a:pt x="49" y="94"/>
                </a:cubicBezTo>
                <a:cubicBezTo>
                  <a:pt x="39" y="97"/>
                  <a:pt x="43" y="98"/>
                  <a:pt x="43" y="98"/>
                </a:cubicBezTo>
                <a:close/>
                <a:moveTo>
                  <a:pt x="111" y="109"/>
                </a:moveTo>
                <a:cubicBezTo>
                  <a:pt x="103" y="111"/>
                  <a:pt x="103" y="111"/>
                  <a:pt x="103" y="111"/>
                </a:cubicBezTo>
                <a:cubicBezTo>
                  <a:pt x="97" y="113"/>
                  <a:pt x="92" y="119"/>
                  <a:pt x="92" y="125"/>
                </a:cubicBezTo>
                <a:cubicBezTo>
                  <a:pt x="92" y="138"/>
                  <a:pt x="92" y="138"/>
                  <a:pt x="92" y="138"/>
                </a:cubicBezTo>
                <a:cubicBezTo>
                  <a:pt x="78" y="138"/>
                  <a:pt x="78" y="138"/>
                  <a:pt x="78" y="138"/>
                </a:cubicBezTo>
                <a:cubicBezTo>
                  <a:pt x="78" y="110"/>
                  <a:pt x="78" y="110"/>
                  <a:pt x="78" y="110"/>
                </a:cubicBezTo>
                <a:cubicBezTo>
                  <a:pt x="78" y="107"/>
                  <a:pt x="81" y="103"/>
                  <a:pt x="84" y="102"/>
                </a:cubicBezTo>
                <a:cubicBezTo>
                  <a:pt x="106" y="96"/>
                  <a:pt x="106" y="96"/>
                  <a:pt x="106" y="96"/>
                </a:cubicBezTo>
                <a:cubicBezTo>
                  <a:pt x="109" y="95"/>
                  <a:pt x="112" y="96"/>
                  <a:pt x="113" y="99"/>
                </a:cubicBezTo>
                <a:cubicBezTo>
                  <a:pt x="114" y="103"/>
                  <a:pt x="114" y="103"/>
                  <a:pt x="114" y="103"/>
                </a:cubicBezTo>
                <a:cubicBezTo>
                  <a:pt x="115" y="106"/>
                  <a:pt x="113" y="109"/>
                  <a:pt x="111" y="109"/>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solidFill>
                <a:sysClr val="windowText" lastClr="000000"/>
              </a:solidFill>
            </a:endParaRPr>
          </a:p>
        </p:txBody>
      </p:sp>
    </p:spTree>
    <p:extLst>
      <p:ext uri="{BB962C8B-B14F-4D97-AF65-F5344CB8AC3E}">
        <p14:creationId xmlns:p14="http://schemas.microsoft.com/office/powerpoint/2010/main" val="13472597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Resources">
    <p:bg>
      <p:bgPr>
        <a:solidFill>
          <a:srgbClr val="EDC30D"/>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114478" y="360000"/>
            <a:ext cx="10810601" cy="720000"/>
          </a:xfrm>
        </p:spPr>
        <p:txBody>
          <a:bodyPr/>
          <a:lstStyle>
            <a:lvl1pPr>
              <a:defRPr/>
            </a:lvl1pPr>
          </a:lstStyle>
          <a:p>
            <a:r>
              <a:rPr lang="en-US"/>
              <a:t>Slide title</a:t>
            </a:r>
          </a:p>
        </p:txBody>
      </p:sp>
      <p:cxnSp>
        <p:nvCxnSpPr>
          <p:cNvPr id="4" name="Straight Connector 3"/>
          <p:cNvCxnSpPr/>
          <p:nvPr userDrawn="1"/>
        </p:nvCxnSpPr>
        <p:spPr>
          <a:xfrm>
            <a:off x="467833" y="1068634"/>
            <a:ext cx="11227981"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6" name="Content Placeholder 5"/>
          <p:cNvSpPr>
            <a:spLocks noGrp="1"/>
          </p:cNvSpPr>
          <p:nvPr>
            <p:ph sz="quarter" idx="10" hasCustomPrompt="1"/>
          </p:nvPr>
        </p:nvSpPr>
        <p:spPr>
          <a:xfrm>
            <a:off x="269875" y="1169988"/>
            <a:ext cx="11655425" cy="334962"/>
          </a:xfrm>
        </p:spPr>
        <p:txBody>
          <a:bodyPr anchor="ctr">
            <a:noAutofit/>
          </a:bodyPr>
          <a:lstStyle>
            <a:lvl1pPr>
              <a:defRPr sz="2400"/>
            </a:lvl1pPr>
          </a:lstStyle>
          <a:p>
            <a:pPr lvl="0"/>
            <a:r>
              <a:rPr lang="en-US"/>
              <a:t>Slide subtitle</a:t>
            </a:r>
          </a:p>
        </p:txBody>
      </p:sp>
      <p:sp>
        <p:nvSpPr>
          <p:cNvPr id="8" name="Text Placeholder 7"/>
          <p:cNvSpPr>
            <a:spLocks noGrp="1"/>
          </p:cNvSpPr>
          <p:nvPr>
            <p:ph type="body" sz="quarter" idx="11" hasCustomPrompt="1"/>
          </p:nvPr>
        </p:nvSpPr>
        <p:spPr>
          <a:xfrm>
            <a:off x="269875" y="1749425"/>
            <a:ext cx="11655425" cy="5108575"/>
          </a:xfrm>
        </p:spPr>
        <p:txBody>
          <a:bodyPr/>
          <a:lstStyle>
            <a:lvl1pPr>
              <a:defRPr/>
            </a:lvl1pPr>
            <a:lvl2pPr marL="237600">
              <a:defRPr/>
            </a:lvl2pPr>
          </a:lstStyle>
          <a:p>
            <a:pPr lvl="0"/>
            <a:r>
              <a:rPr lang="en-US"/>
              <a:t>Slide content</a:t>
            </a:r>
          </a:p>
          <a:p>
            <a:pPr lvl="1"/>
            <a:r>
              <a:rPr lang="en-US"/>
              <a:t>Second level</a:t>
            </a:r>
          </a:p>
          <a:p>
            <a:pPr lvl="2"/>
            <a:r>
              <a:rPr lang="en-US"/>
              <a:t>Third level</a:t>
            </a:r>
          </a:p>
          <a:p>
            <a:pPr lvl="3"/>
            <a:r>
              <a:rPr lang="en-US"/>
              <a:t>Fourth level</a:t>
            </a:r>
          </a:p>
          <a:p>
            <a:pPr lvl="4"/>
            <a:r>
              <a:rPr lang="en-US"/>
              <a:t>Fifth level</a:t>
            </a:r>
          </a:p>
        </p:txBody>
      </p:sp>
      <p:sp>
        <p:nvSpPr>
          <p:cNvPr id="9" name="Freeform 72"/>
          <p:cNvSpPr>
            <a:spLocks noEditPoints="1"/>
          </p:cNvSpPr>
          <p:nvPr userDrawn="1"/>
        </p:nvSpPr>
        <p:spPr bwMode="auto">
          <a:xfrm>
            <a:off x="467833" y="360000"/>
            <a:ext cx="646645" cy="647978"/>
          </a:xfrm>
          <a:custGeom>
            <a:avLst/>
            <a:gdLst>
              <a:gd name="T0" fmla="*/ 337 w 411"/>
              <a:gd name="T1" fmla="*/ 198 h 412"/>
              <a:gd name="T2" fmla="*/ 284 w 411"/>
              <a:gd name="T3" fmla="*/ 220 h 412"/>
              <a:gd name="T4" fmla="*/ 249 w 411"/>
              <a:gd name="T5" fmla="*/ 185 h 412"/>
              <a:gd name="T6" fmla="*/ 283 w 411"/>
              <a:gd name="T7" fmla="*/ 107 h 412"/>
              <a:gd name="T8" fmla="*/ 176 w 411"/>
              <a:gd name="T9" fmla="*/ 0 h 412"/>
              <a:gd name="T10" fmla="*/ 68 w 411"/>
              <a:gd name="T11" fmla="*/ 107 h 412"/>
              <a:gd name="T12" fmla="*/ 116 w 411"/>
              <a:gd name="T13" fmla="*/ 196 h 412"/>
              <a:gd name="T14" fmla="*/ 96 w 411"/>
              <a:gd name="T15" fmla="*/ 266 h 412"/>
              <a:gd name="T16" fmla="*/ 74 w 411"/>
              <a:gd name="T17" fmla="*/ 263 h 412"/>
              <a:gd name="T18" fmla="*/ 0 w 411"/>
              <a:gd name="T19" fmla="*/ 337 h 412"/>
              <a:gd name="T20" fmla="*/ 74 w 411"/>
              <a:gd name="T21" fmla="*/ 412 h 412"/>
              <a:gd name="T22" fmla="*/ 149 w 411"/>
              <a:gd name="T23" fmla="*/ 337 h 412"/>
              <a:gd name="T24" fmla="*/ 110 w 411"/>
              <a:gd name="T25" fmla="*/ 272 h 412"/>
              <a:gd name="T26" fmla="*/ 130 w 411"/>
              <a:gd name="T27" fmla="*/ 204 h 412"/>
              <a:gd name="T28" fmla="*/ 176 w 411"/>
              <a:gd name="T29" fmla="*/ 214 h 412"/>
              <a:gd name="T30" fmla="*/ 238 w 411"/>
              <a:gd name="T31" fmla="*/ 195 h 412"/>
              <a:gd name="T32" fmla="*/ 275 w 411"/>
              <a:gd name="T33" fmla="*/ 232 h 412"/>
              <a:gd name="T34" fmla="*/ 262 w 411"/>
              <a:gd name="T35" fmla="*/ 273 h 412"/>
              <a:gd name="T36" fmla="*/ 337 w 411"/>
              <a:gd name="T37" fmla="*/ 347 h 412"/>
              <a:gd name="T38" fmla="*/ 411 w 411"/>
              <a:gd name="T39" fmla="*/ 273 h 412"/>
              <a:gd name="T40" fmla="*/ 337 w 411"/>
              <a:gd name="T41" fmla="*/ 198 h 412"/>
              <a:gd name="T42" fmla="*/ 134 w 411"/>
              <a:gd name="T43" fmla="*/ 337 h 412"/>
              <a:gd name="T44" fmla="*/ 74 w 411"/>
              <a:gd name="T45" fmla="*/ 397 h 412"/>
              <a:gd name="T46" fmla="*/ 14 w 411"/>
              <a:gd name="T47" fmla="*/ 337 h 412"/>
              <a:gd name="T48" fmla="*/ 74 w 411"/>
              <a:gd name="T49" fmla="*/ 278 h 412"/>
              <a:gd name="T50" fmla="*/ 134 w 411"/>
              <a:gd name="T51" fmla="*/ 337 h 412"/>
              <a:gd name="T52" fmla="*/ 83 w 411"/>
              <a:gd name="T53" fmla="*/ 107 h 412"/>
              <a:gd name="T54" fmla="*/ 176 w 411"/>
              <a:gd name="T55" fmla="*/ 14 h 412"/>
              <a:gd name="T56" fmla="*/ 268 w 411"/>
              <a:gd name="T57" fmla="*/ 107 h 412"/>
              <a:gd name="T58" fmla="*/ 176 w 411"/>
              <a:gd name="T59" fmla="*/ 200 h 412"/>
              <a:gd name="T60" fmla="*/ 83 w 411"/>
              <a:gd name="T61" fmla="*/ 107 h 412"/>
              <a:gd name="T62" fmla="*/ 337 w 411"/>
              <a:gd name="T63" fmla="*/ 332 h 412"/>
              <a:gd name="T64" fmla="*/ 277 w 411"/>
              <a:gd name="T65" fmla="*/ 273 h 412"/>
              <a:gd name="T66" fmla="*/ 337 w 411"/>
              <a:gd name="T67" fmla="*/ 213 h 412"/>
              <a:gd name="T68" fmla="*/ 397 w 411"/>
              <a:gd name="T69" fmla="*/ 273 h 412"/>
              <a:gd name="T70" fmla="*/ 337 w 411"/>
              <a:gd name="T71" fmla="*/ 332 h 4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11" h="412">
                <a:moveTo>
                  <a:pt x="337" y="198"/>
                </a:moveTo>
                <a:cubicBezTo>
                  <a:pt x="316" y="198"/>
                  <a:pt x="298" y="206"/>
                  <a:pt x="284" y="220"/>
                </a:cubicBezTo>
                <a:cubicBezTo>
                  <a:pt x="249" y="185"/>
                  <a:pt x="249" y="185"/>
                  <a:pt x="249" y="185"/>
                </a:cubicBezTo>
                <a:cubicBezTo>
                  <a:pt x="270" y="166"/>
                  <a:pt x="283" y="138"/>
                  <a:pt x="283" y="107"/>
                </a:cubicBezTo>
                <a:cubicBezTo>
                  <a:pt x="283" y="48"/>
                  <a:pt x="235" y="0"/>
                  <a:pt x="176" y="0"/>
                </a:cubicBezTo>
                <a:cubicBezTo>
                  <a:pt x="117" y="0"/>
                  <a:pt x="68" y="48"/>
                  <a:pt x="68" y="107"/>
                </a:cubicBezTo>
                <a:cubicBezTo>
                  <a:pt x="68" y="144"/>
                  <a:pt x="88" y="177"/>
                  <a:pt x="116" y="196"/>
                </a:cubicBezTo>
                <a:cubicBezTo>
                  <a:pt x="96" y="266"/>
                  <a:pt x="96" y="266"/>
                  <a:pt x="96" y="266"/>
                </a:cubicBezTo>
                <a:cubicBezTo>
                  <a:pt x="89" y="264"/>
                  <a:pt x="82" y="263"/>
                  <a:pt x="74" y="263"/>
                </a:cubicBezTo>
                <a:cubicBezTo>
                  <a:pt x="33" y="263"/>
                  <a:pt x="0" y="296"/>
                  <a:pt x="0" y="337"/>
                </a:cubicBezTo>
                <a:cubicBezTo>
                  <a:pt x="0" y="378"/>
                  <a:pt x="33" y="412"/>
                  <a:pt x="74" y="412"/>
                </a:cubicBezTo>
                <a:cubicBezTo>
                  <a:pt x="115" y="412"/>
                  <a:pt x="149" y="378"/>
                  <a:pt x="149" y="337"/>
                </a:cubicBezTo>
                <a:cubicBezTo>
                  <a:pt x="149" y="309"/>
                  <a:pt x="133" y="284"/>
                  <a:pt x="110" y="272"/>
                </a:cubicBezTo>
                <a:cubicBezTo>
                  <a:pt x="130" y="204"/>
                  <a:pt x="130" y="204"/>
                  <a:pt x="130" y="204"/>
                </a:cubicBezTo>
                <a:cubicBezTo>
                  <a:pt x="144" y="210"/>
                  <a:pt x="159" y="214"/>
                  <a:pt x="176" y="214"/>
                </a:cubicBezTo>
                <a:cubicBezTo>
                  <a:pt x="199" y="214"/>
                  <a:pt x="220" y="207"/>
                  <a:pt x="238" y="195"/>
                </a:cubicBezTo>
                <a:cubicBezTo>
                  <a:pt x="275" y="232"/>
                  <a:pt x="275" y="232"/>
                  <a:pt x="275" y="232"/>
                </a:cubicBezTo>
                <a:cubicBezTo>
                  <a:pt x="267" y="243"/>
                  <a:pt x="262" y="257"/>
                  <a:pt x="262" y="273"/>
                </a:cubicBezTo>
                <a:cubicBezTo>
                  <a:pt x="262" y="314"/>
                  <a:pt x="296" y="347"/>
                  <a:pt x="337" y="347"/>
                </a:cubicBezTo>
                <a:cubicBezTo>
                  <a:pt x="378" y="347"/>
                  <a:pt x="411" y="314"/>
                  <a:pt x="411" y="273"/>
                </a:cubicBezTo>
                <a:cubicBezTo>
                  <a:pt x="411" y="231"/>
                  <a:pt x="378" y="198"/>
                  <a:pt x="337" y="198"/>
                </a:cubicBezTo>
                <a:close/>
                <a:moveTo>
                  <a:pt x="134" y="337"/>
                </a:moveTo>
                <a:cubicBezTo>
                  <a:pt x="134" y="370"/>
                  <a:pt x="107" y="397"/>
                  <a:pt x="74" y="397"/>
                </a:cubicBezTo>
                <a:cubicBezTo>
                  <a:pt x="41" y="397"/>
                  <a:pt x="14" y="370"/>
                  <a:pt x="14" y="337"/>
                </a:cubicBezTo>
                <a:cubicBezTo>
                  <a:pt x="14" y="304"/>
                  <a:pt x="41" y="278"/>
                  <a:pt x="74" y="278"/>
                </a:cubicBezTo>
                <a:cubicBezTo>
                  <a:pt x="107" y="278"/>
                  <a:pt x="134" y="304"/>
                  <a:pt x="134" y="337"/>
                </a:cubicBezTo>
                <a:close/>
                <a:moveTo>
                  <a:pt x="83" y="107"/>
                </a:moveTo>
                <a:cubicBezTo>
                  <a:pt x="83" y="56"/>
                  <a:pt x="125" y="14"/>
                  <a:pt x="176" y="14"/>
                </a:cubicBezTo>
                <a:cubicBezTo>
                  <a:pt x="227" y="14"/>
                  <a:pt x="268" y="56"/>
                  <a:pt x="268" y="107"/>
                </a:cubicBezTo>
                <a:cubicBezTo>
                  <a:pt x="268" y="158"/>
                  <a:pt x="227" y="200"/>
                  <a:pt x="176" y="200"/>
                </a:cubicBezTo>
                <a:cubicBezTo>
                  <a:pt x="125" y="200"/>
                  <a:pt x="83" y="158"/>
                  <a:pt x="83" y="107"/>
                </a:cubicBezTo>
                <a:close/>
                <a:moveTo>
                  <a:pt x="337" y="332"/>
                </a:moveTo>
                <a:cubicBezTo>
                  <a:pt x="304" y="332"/>
                  <a:pt x="277" y="306"/>
                  <a:pt x="277" y="273"/>
                </a:cubicBezTo>
                <a:cubicBezTo>
                  <a:pt x="277" y="240"/>
                  <a:pt x="304" y="213"/>
                  <a:pt x="337" y="213"/>
                </a:cubicBezTo>
                <a:cubicBezTo>
                  <a:pt x="370" y="213"/>
                  <a:pt x="397" y="240"/>
                  <a:pt x="397" y="273"/>
                </a:cubicBezTo>
                <a:cubicBezTo>
                  <a:pt x="397" y="306"/>
                  <a:pt x="370" y="332"/>
                  <a:pt x="337" y="332"/>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20437217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Demo">
    <p:bg bwMode="auto">
      <p:bgPr>
        <a:solidFill>
          <a:srgbClr val="EDC30D"/>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269302" y="1903228"/>
            <a:ext cx="8067761" cy="197404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400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467833" y="1259999"/>
            <a:ext cx="11355572" cy="2160000"/>
          </a:xfrm>
          <a:noFill/>
        </p:spPr>
        <p:txBody>
          <a:bodyPr tIns="91440" bIns="91440" anchor="t" anchorCtr="0"/>
          <a:lstStyle>
            <a:lvl1pPr>
              <a:defRPr sz="6000" spc="-98" baseline="0">
                <a:solidFill>
                  <a:schemeClr val="tx1"/>
                </a:solidFill>
              </a:defRPr>
            </a:lvl1pPr>
          </a:lstStyle>
          <a:p>
            <a:r>
              <a:rPr lang="en-US"/>
              <a:t>Demo title</a:t>
            </a:r>
          </a:p>
        </p:txBody>
      </p:sp>
      <p:sp>
        <p:nvSpPr>
          <p:cNvPr id="3" name="TextBox 2"/>
          <p:cNvSpPr txBox="1"/>
          <p:nvPr userDrawn="1"/>
        </p:nvSpPr>
        <p:spPr>
          <a:xfrm>
            <a:off x="1158875" y="209726"/>
            <a:ext cx="10664530" cy="464882"/>
          </a:xfrm>
          <a:prstGeom prst="rect">
            <a:avLst/>
          </a:prstGeom>
          <a:noFill/>
        </p:spPr>
        <p:txBody>
          <a:bodyPr wrap="square" lIns="183600" tIns="0" rIns="182880" bIns="0" rtlCol="0" anchor="ctr">
            <a:noAutofit/>
          </a:bodyPr>
          <a:lstStyle/>
          <a:p>
            <a:pPr>
              <a:lnSpc>
                <a:spcPct val="90000"/>
              </a:lnSpc>
              <a:spcAft>
                <a:spcPts val="600"/>
              </a:spcAft>
            </a:pPr>
            <a:r>
              <a:rPr lang="en-AU" sz="2400">
                <a:gradFill>
                  <a:gsLst>
                    <a:gs pos="2917">
                      <a:schemeClr val="tx1"/>
                    </a:gs>
                    <a:gs pos="30000">
                      <a:schemeClr val="tx1"/>
                    </a:gs>
                  </a:gsLst>
                  <a:lin ang="5400000" scaled="0"/>
                </a:gradFill>
              </a:rPr>
              <a:t>Demonstration</a:t>
            </a:r>
            <a:endParaRPr lang="en-US" sz="2400">
              <a:gradFill>
                <a:gsLst>
                  <a:gs pos="2917">
                    <a:schemeClr val="tx1"/>
                  </a:gs>
                  <a:gs pos="30000">
                    <a:schemeClr val="tx1"/>
                  </a:gs>
                </a:gsLst>
                <a:lin ang="5400000" scaled="0"/>
              </a:gradFill>
            </a:endParaRPr>
          </a:p>
        </p:txBody>
      </p:sp>
      <p:cxnSp>
        <p:nvCxnSpPr>
          <p:cNvPr id="7" name="Straight Connector 6"/>
          <p:cNvCxnSpPr/>
          <p:nvPr userDrawn="1"/>
        </p:nvCxnSpPr>
        <p:spPr>
          <a:xfrm>
            <a:off x="467833" y="1068634"/>
            <a:ext cx="11227981"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8" name="Text Placeholder 7"/>
          <p:cNvSpPr>
            <a:spLocks noGrp="1"/>
          </p:cNvSpPr>
          <p:nvPr>
            <p:ph type="body" sz="quarter" idx="10" hasCustomPrompt="1"/>
          </p:nvPr>
        </p:nvSpPr>
        <p:spPr>
          <a:xfrm>
            <a:off x="1158875" y="641094"/>
            <a:ext cx="10664529" cy="367648"/>
          </a:xfrm>
        </p:spPr>
        <p:txBody>
          <a:bodyPr tIns="0" rIns="0" bIns="0" anchor="ctr">
            <a:noAutofit/>
          </a:bodyPr>
          <a:lstStyle>
            <a:lvl1pPr marL="0" indent="0">
              <a:buNone/>
              <a:defRPr sz="2000" baseline="0"/>
            </a:lvl1pPr>
          </a:lstStyle>
          <a:p>
            <a:pPr lvl="0"/>
            <a:r>
              <a:rPr lang="en-US"/>
              <a:t>Demo code</a:t>
            </a:r>
          </a:p>
        </p:txBody>
      </p:sp>
      <p:sp>
        <p:nvSpPr>
          <p:cNvPr id="10" name="Text Placeholder 9"/>
          <p:cNvSpPr>
            <a:spLocks noGrp="1"/>
          </p:cNvSpPr>
          <p:nvPr>
            <p:ph type="body" sz="quarter" idx="11" hasCustomPrompt="1"/>
          </p:nvPr>
        </p:nvSpPr>
        <p:spPr>
          <a:xfrm>
            <a:off x="467833" y="3594100"/>
            <a:ext cx="11355571" cy="2966188"/>
          </a:xfrm>
        </p:spPr>
        <p:txBody>
          <a:bodyPr>
            <a:noAutofit/>
          </a:bodyPr>
          <a:lstStyle>
            <a:lvl1pPr marL="0" indent="0">
              <a:buNone/>
              <a:defRPr sz="2800"/>
            </a:lvl1pPr>
            <a:lvl2pPr marL="336145" indent="0">
              <a:buNone/>
              <a:defRPr/>
            </a:lvl2pPr>
            <a:lvl3pPr marL="560241" indent="0">
              <a:buNone/>
              <a:defRPr/>
            </a:lvl3pPr>
            <a:lvl4pPr marL="784338" indent="0">
              <a:buNone/>
              <a:defRPr/>
            </a:lvl4pPr>
            <a:lvl5pPr marL="1008434" indent="0">
              <a:buNone/>
              <a:defRPr/>
            </a:lvl5pPr>
          </a:lstStyle>
          <a:p>
            <a:pPr lvl="0"/>
            <a:r>
              <a:rPr lang="en-US"/>
              <a:t>Demo description</a:t>
            </a:r>
          </a:p>
        </p:txBody>
      </p:sp>
      <p:sp>
        <p:nvSpPr>
          <p:cNvPr id="11" name="Freeform 74"/>
          <p:cNvSpPr>
            <a:spLocks noEditPoints="1"/>
          </p:cNvSpPr>
          <p:nvPr userDrawn="1"/>
        </p:nvSpPr>
        <p:spPr bwMode="auto">
          <a:xfrm>
            <a:off x="467832" y="317061"/>
            <a:ext cx="646645" cy="649310"/>
          </a:xfrm>
          <a:custGeom>
            <a:avLst/>
            <a:gdLst>
              <a:gd name="T0" fmla="*/ 404 w 411"/>
              <a:gd name="T1" fmla="*/ 0 h 413"/>
              <a:gd name="T2" fmla="*/ 7 w 411"/>
              <a:gd name="T3" fmla="*/ 0 h 413"/>
              <a:gd name="T4" fmla="*/ 0 w 411"/>
              <a:gd name="T5" fmla="*/ 7 h 413"/>
              <a:gd name="T6" fmla="*/ 0 w 411"/>
              <a:gd name="T7" fmla="*/ 338 h 413"/>
              <a:gd name="T8" fmla="*/ 7 w 411"/>
              <a:gd name="T9" fmla="*/ 345 h 413"/>
              <a:gd name="T10" fmla="*/ 68 w 411"/>
              <a:gd name="T11" fmla="*/ 345 h 413"/>
              <a:gd name="T12" fmla="*/ 133 w 411"/>
              <a:gd name="T13" fmla="*/ 411 h 413"/>
              <a:gd name="T14" fmla="*/ 138 w 411"/>
              <a:gd name="T15" fmla="*/ 413 h 413"/>
              <a:gd name="T16" fmla="*/ 141 w 411"/>
              <a:gd name="T17" fmla="*/ 413 h 413"/>
              <a:gd name="T18" fmla="*/ 145 w 411"/>
              <a:gd name="T19" fmla="*/ 406 h 413"/>
              <a:gd name="T20" fmla="*/ 145 w 411"/>
              <a:gd name="T21" fmla="*/ 345 h 413"/>
              <a:gd name="T22" fmla="*/ 404 w 411"/>
              <a:gd name="T23" fmla="*/ 345 h 413"/>
              <a:gd name="T24" fmla="*/ 411 w 411"/>
              <a:gd name="T25" fmla="*/ 338 h 413"/>
              <a:gd name="T26" fmla="*/ 411 w 411"/>
              <a:gd name="T27" fmla="*/ 7 h 413"/>
              <a:gd name="T28" fmla="*/ 404 w 411"/>
              <a:gd name="T29" fmla="*/ 0 h 413"/>
              <a:gd name="T30" fmla="*/ 396 w 411"/>
              <a:gd name="T31" fmla="*/ 330 h 413"/>
              <a:gd name="T32" fmla="*/ 138 w 411"/>
              <a:gd name="T33" fmla="*/ 330 h 413"/>
              <a:gd name="T34" fmla="*/ 130 w 411"/>
              <a:gd name="T35" fmla="*/ 338 h 413"/>
              <a:gd name="T36" fmla="*/ 130 w 411"/>
              <a:gd name="T37" fmla="*/ 388 h 413"/>
              <a:gd name="T38" fmla="*/ 77 w 411"/>
              <a:gd name="T39" fmla="*/ 333 h 413"/>
              <a:gd name="T40" fmla="*/ 71 w 411"/>
              <a:gd name="T41" fmla="*/ 330 h 413"/>
              <a:gd name="T42" fmla="*/ 15 w 411"/>
              <a:gd name="T43" fmla="*/ 330 h 413"/>
              <a:gd name="T44" fmla="*/ 15 w 411"/>
              <a:gd name="T45" fmla="*/ 15 h 413"/>
              <a:gd name="T46" fmla="*/ 396 w 411"/>
              <a:gd name="T47" fmla="*/ 15 h 413"/>
              <a:gd name="T48" fmla="*/ 396 w 411"/>
              <a:gd name="T49" fmla="*/ 330 h 4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11" h="413">
                <a:moveTo>
                  <a:pt x="404" y="0"/>
                </a:moveTo>
                <a:cubicBezTo>
                  <a:pt x="7" y="0"/>
                  <a:pt x="7" y="0"/>
                  <a:pt x="7" y="0"/>
                </a:cubicBezTo>
                <a:cubicBezTo>
                  <a:pt x="3" y="0"/>
                  <a:pt x="0" y="3"/>
                  <a:pt x="0" y="7"/>
                </a:cubicBezTo>
                <a:cubicBezTo>
                  <a:pt x="0" y="338"/>
                  <a:pt x="0" y="338"/>
                  <a:pt x="0" y="338"/>
                </a:cubicBezTo>
                <a:cubicBezTo>
                  <a:pt x="0" y="342"/>
                  <a:pt x="3" y="345"/>
                  <a:pt x="7" y="345"/>
                </a:cubicBezTo>
                <a:cubicBezTo>
                  <a:pt x="68" y="345"/>
                  <a:pt x="68" y="345"/>
                  <a:pt x="68" y="345"/>
                </a:cubicBezTo>
                <a:cubicBezTo>
                  <a:pt x="133" y="411"/>
                  <a:pt x="133" y="411"/>
                  <a:pt x="133" y="411"/>
                </a:cubicBezTo>
                <a:cubicBezTo>
                  <a:pt x="134" y="413"/>
                  <a:pt x="136" y="413"/>
                  <a:pt x="138" y="413"/>
                </a:cubicBezTo>
                <a:cubicBezTo>
                  <a:pt x="139" y="413"/>
                  <a:pt x="140" y="413"/>
                  <a:pt x="141" y="413"/>
                </a:cubicBezTo>
                <a:cubicBezTo>
                  <a:pt x="143" y="412"/>
                  <a:pt x="145" y="409"/>
                  <a:pt x="145" y="406"/>
                </a:cubicBezTo>
                <a:cubicBezTo>
                  <a:pt x="145" y="345"/>
                  <a:pt x="145" y="345"/>
                  <a:pt x="145" y="345"/>
                </a:cubicBezTo>
                <a:cubicBezTo>
                  <a:pt x="404" y="345"/>
                  <a:pt x="404" y="345"/>
                  <a:pt x="404" y="345"/>
                </a:cubicBezTo>
                <a:cubicBezTo>
                  <a:pt x="408" y="345"/>
                  <a:pt x="411" y="342"/>
                  <a:pt x="411" y="338"/>
                </a:cubicBezTo>
                <a:cubicBezTo>
                  <a:pt x="411" y="7"/>
                  <a:pt x="411" y="7"/>
                  <a:pt x="411" y="7"/>
                </a:cubicBezTo>
                <a:cubicBezTo>
                  <a:pt x="411" y="3"/>
                  <a:pt x="408" y="0"/>
                  <a:pt x="404" y="0"/>
                </a:cubicBezTo>
                <a:close/>
                <a:moveTo>
                  <a:pt x="396" y="330"/>
                </a:moveTo>
                <a:cubicBezTo>
                  <a:pt x="138" y="330"/>
                  <a:pt x="138" y="330"/>
                  <a:pt x="138" y="330"/>
                </a:cubicBezTo>
                <a:cubicBezTo>
                  <a:pt x="134" y="330"/>
                  <a:pt x="130" y="334"/>
                  <a:pt x="130" y="338"/>
                </a:cubicBezTo>
                <a:cubicBezTo>
                  <a:pt x="130" y="388"/>
                  <a:pt x="130" y="388"/>
                  <a:pt x="130" y="388"/>
                </a:cubicBezTo>
                <a:cubicBezTo>
                  <a:pt x="77" y="333"/>
                  <a:pt x="77" y="333"/>
                  <a:pt x="77" y="333"/>
                </a:cubicBezTo>
                <a:cubicBezTo>
                  <a:pt x="75" y="331"/>
                  <a:pt x="73" y="330"/>
                  <a:pt x="71" y="330"/>
                </a:cubicBezTo>
                <a:cubicBezTo>
                  <a:pt x="15" y="330"/>
                  <a:pt x="15" y="330"/>
                  <a:pt x="15" y="330"/>
                </a:cubicBezTo>
                <a:cubicBezTo>
                  <a:pt x="15" y="15"/>
                  <a:pt x="15" y="15"/>
                  <a:pt x="15" y="15"/>
                </a:cubicBezTo>
                <a:cubicBezTo>
                  <a:pt x="396" y="15"/>
                  <a:pt x="396" y="15"/>
                  <a:pt x="396" y="15"/>
                </a:cubicBezTo>
                <a:lnTo>
                  <a:pt x="396" y="33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38656747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Lab">
    <p:bg bwMode="auto">
      <p:bgPr>
        <a:solidFill>
          <a:srgbClr val="EDC30D"/>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269302" y="1903228"/>
            <a:ext cx="8067761" cy="197404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400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467833" y="1259999"/>
            <a:ext cx="11355572" cy="2160000"/>
          </a:xfrm>
          <a:noFill/>
        </p:spPr>
        <p:txBody>
          <a:bodyPr tIns="91440" bIns="91440" anchor="t" anchorCtr="0"/>
          <a:lstStyle>
            <a:lvl1pPr>
              <a:defRPr sz="6000" spc="-98" baseline="0">
                <a:solidFill>
                  <a:schemeClr val="tx1"/>
                </a:solidFill>
              </a:defRPr>
            </a:lvl1pPr>
          </a:lstStyle>
          <a:p>
            <a:r>
              <a:rPr lang="en-US"/>
              <a:t>Lab title</a:t>
            </a:r>
          </a:p>
        </p:txBody>
      </p:sp>
      <p:sp>
        <p:nvSpPr>
          <p:cNvPr id="3" name="TextBox 2"/>
          <p:cNvSpPr txBox="1"/>
          <p:nvPr userDrawn="1"/>
        </p:nvSpPr>
        <p:spPr>
          <a:xfrm>
            <a:off x="1158875" y="209726"/>
            <a:ext cx="10664530" cy="464882"/>
          </a:xfrm>
          <a:prstGeom prst="rect">
            <a:avLst/>
          </a:prstGeom>
          <a:noFill/>
        </p:spPr>
        <p:txBody>
          <a:bodyPr wrap="square" lIns="183600" tIns="0" rIns="182880" bIns="0" rtlCol="0" anchor="ctr">
            <a:noAutofit/>
          </a:bodyPr>
          <a:lstStyle/>
          <a:p>
            <a:pPr>
              <a:lnSpc>
                <a:spcPct val="90000"/>
              </a:lnSpc>
              <a:spcAft>
                <a:spcPts val="600"/>
              </a:spcAft>
            </a:pPr>
            <a:r>
              <a:rPr lang="en-AU" sz="2400">
                <a:gradFill>
                  <a:gsLst>
                    <a:gs pos="2917">
                      <a:schemeClr val="tx1"/>
                    </a:gs>
                    <a:gs pos="30000">
                      <a:schemeClr val="tx1"/>
                    </a:gs>
                  </a:gsLst>
                  <a:lin ang="5400000" scaled="0"/>
                </a:gradFill>
              </a:rPr>
              <a:t>Hands-on lab</a:t>
            </a:r>
            <a:endParaRPr lang="en-US" sz="2400">
              <a:gradFill>
                <a:gsLst>
                  <a:gs pos="2917">
                    <a:schemeClr val="tx1"/>
                  </a:gs>
                  <a:gs pos="30000">
                    <a:schemeClr val="tx1"/>
                  </a:gs>
                </a:gsLst>
                <a:lin ang="5400000" scaled="0"/>
              </a:gradFill>
            </a:endParaRPr>
          </a:p>
        </p:txBody>
      </p:sp>
      <p:cxnSp>
        <p:nvCxnSpPr>
          <p:cNvPr id="7" name="Straight Connector 6"/>
          <p:cNvCxnSpPr/>
          <p:nvPr userDrawn="1"/>
        </p:nvCxnSpPr>
        <p:spPr>
          <a:xfrm>
            <a:off x="467833" y="1068634"/>
            <a:ext cx="11227981"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8" name="Text Placeholder 7"/>
          <p:cNvSpPr>
            <a:spLocks noGrp="1"/>
          </p:cNvSpPr>
          <p:nvPr>
            <p:ph type="body" sz="quarter" idx="10" hasCustomPrompt="1"/>
          </p:nvPr>
        </p:nvSpPr>
        <p:spPr>
          <a:xfrm>
            <a:off x="1158875" y="641094"/>
            <a:ext cx="10664529" cy="367648"/>
          </a:xfrm>
        </p:spPr>
        <p:txBody>
          <a:bodyPr tIns="0" rIns="0" bIns="0" anchor="ctr">
            <a:noAutofit/>
          </a:bodyPr>
          <a:lstStyle>
            <a:lvl1pPr marL="0" indent="0">
              <a:buNone/>
              <a:defRPr sz="2000" baseline="0"/>
            </a:lvl1pPr>
          </a:lstStyle>
          <a:p>
            <a:pPr lvl="0"/>
            <a:r>
              <a:rPr lang="en-US"/>
              <a:t>Lab code | Minutes</a:t>
            </a:r>
          </a:p>
        </p:txBody>
      </p:sp>
      <p:sp>
        <p:nvSpPr>
          <p:cNvPr id="10" name="Text Placeholder 9"/>
          <p:cNvSpPr>
            <a:spLocks noGrp="1"/>
          </p:cNvSpPr>
          <p:nvPr>
            <p:ph type="body" sz="quarter" idx="11" hasCustomPrompt="1"/>
          </p:nvPr>
        </p:nvSpPr>
        <p:spPr>
          <a:xfrm>
            <a:off x="467833" y="3594100"/>
            <a:ext cx="6018027" cy="2966188"/>
          </a:xfrm>
        </p:spPr>
        <p:txBody>
          <a:bodyPr>
            <a:noAutofit/>
          </a:bodyPr>
          <a:lstStyle>
            <a:lvl1pPr marL="0" indent="0">
              <a:buNone/>
              <a:defRPr sz="2800"/>
            </a:lvl1pPr>
            <a:lvl2pPr marL="336145" indent="0">
              <a:buNone/>
              <a:defRPr/>
            </a:lvl2pPr>
            <a:lvl3pPr marL="560241" indent="0">
              <a:buNone/>
              <a:defRPr/>
            </a:lvl3pPr>
            <a:lvl4pPr marL="784338" indent="0">
              <a:buNone/>
              <a:defRPr/>
            </a:lvl4pPr>
            <a:lvl5pPr marL="1008434" indent="0">
              <a:buNone/>
              <a:defRPr/>
            </a:lvl5pPr>
          </a:lstStyle>
          <a:p>
            <a:pPr lvl="0"/>
            <a:r>
              <a:rPr lang="en-US"/>
              <a:t>Lab description</a:t>
            </a:r>
          </a:p>
        </p:txBody>
      </p:sp>
      <p:sp>
        <p:nvSpPr>
          <p:cNvPr id="9" name="Freeform 88"/>
          <p:cNvSpPr>
            <a:spLocks noEditPoints="1"/>
          </p:cNvSpPr>
          <p:nvPr userDrawn="1"/>
        </p:nvSpPr>
        <p:spPr bwMode="auto">
          <a:xfrm>
            <a:off x="467833" y="288383"/>
            <a:ext cx="651308" cy="651308"/>
          </a:xfrm>
          <a:custGeom>
            <a:avLst/>
            <a:gdLst>
              <a:gd name="T0" fmla="*/ 207 w 414"/>
              <a:gd name="T1" fmla="*/ 0 h 414"/>
              <a:gd name="T2" fmla="*/ 0 w 414"/>
              <a:gd name="T3" fmla="*/ 207 h 414"/>
              <a:gd name="T4" fmla="*/ 207 w 414"/>
              <a:gd name="T5" fmla="*/ 414 h 414"/>
              <a:gd name="T6" fmla="*/ 414 w 414"/>
              <a:gd name="T7" fmla="*/ 207 h 414"/>
              <a:gd name="T8" fmla="*/ 207 w 414"/>
              <a:gd name="T9" fmla="*/ 0 h 414"/>
              <a:gd name="T10" fmla="*/ 207 w 414"/>
              <a:gd name="T11" fmla="*/ 399 h 414"/>
              <a:gd name="T12" fmla="*/ 15 w 414"/>
              <a:gd name="T13" fmla="*/ 207 h 414"/>
              <a:gd name="T14" fmla="*/ 207 w 414"/>
              <a:gd name="T15" fmla="*/ 15 h 414"/>
              <a:gd name="T16" fmla="*/ 399 w 414"/>
              <a:gd name="T17" fmla="*/ 207 h 414"/>
              <a:gd name="T18" fmla="*/ 207 w 414"/>
              <a:gd name="T19" fmla="*/ 399 h 414"/>
              <a:gd name="T20" fmla="*/ 299 w 414"/>
              <a:gd name="T21" fmla="*/ 174 h 414"/>
              <a:gd name="T22" fmla="*/ 314 w 414"/>
              <a:gd name="T23" fmla="*/ 174 h 414"/>
              <a:gd name="T24" fmla="*/ 314 w 414"/>
              <a:gd name="T25" fmla="*/ 307 h 414"/>
              <a:gd name="T26" fmla="*/ 306 w 414"/>
              <a:gd name="T27" fmla="*/ 314 h 414"/>
              <a:gd name="T28" fmla="*/ 173 w 414"/>
              <a:gd name="T29" fmla="*/ 314 h 414"/>
              <a:gd name="T30" fmla="*/ 173 w 414"/>
              <a:gd name="T31" fmla="*/ 300 h 414"/>
              <a:gd name="T32" fmla="*/ 288 w 414"/>
              <a:gd name="T33" fmla="*/ 300 h 414"/>
              <a:gd name="T34" fmla="*/ 108 w 414"/>
              <a:gd name="T35" fmla="*/ 120 h 414"/>
              <a:gd name="T36" fmla="*/ 119 w 414"/>
              <a:gd name="T37" fmla="*/ 109 h 414"/>
              <a:gd name="T38" fmla="*/ 299 w 414"/>
              <a:gd name="T39" fmla="*/ 289 h 414"/>
              <a:gd name="T40" fmla="*/ 299 w 414"/>
              <a:gd name="T41" fmla="*/ 174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14" h="414">
                <a:moveTo>
                  <a:pt x="207" y="0"/>
                </a:moveTo>
                <a:cubicBezTo>
                  <a:pt x="93" y="0"/>
                  <a:pt x="0" y="93"/>
                  <a:pt x="0" y="207"/>
                </a:cubicBezTo>
                <a:cubicBezTo>
                  <a:pt x="0" y="321"/>
                  <a:pt x="93" y="414"/>
                  <a:pt x="207" y="414"/>
                </a:cubicBezTo>
                <a:cubicBezTo>
                  <a:pt x="321" y="414"/>
                  <a:pt x="414" y="321"/>
                  <a:pt x="414" y="207"/>
                </a:cubicBezTo>
                <a:cubicBezTo>
                  <a:pt x="414" y="93"/>
                  <a:pt x="321" y="0"/>
                  <a:pt x="207" y="0"/>
                </a:cubicBezTo>
                <a:close/>
                <a:moveTo>
                  <a:pt x="207" y="399"/>
                </a:moveTo>
                <a:cubicBezTo>
                  <a:pt x="101" y="399"/>
                  <a:pt x="15" y="313"/>
                  <a:pt x="15" y="207"/>
                </a:cubicBezTo>
                <a:cubicBezTo>
                  <a:pt x="15" y="101"/>
                  <a:pt x="101" y="15"/>
                  <a:pt x="207" y="15"/>
                </a:cubicBezTo>
                <a:cubicBezTo>
                  <a:pt x="313" y="15"/>
                  <a:pt x="399" y="101"/>
                  <a:pt x="399" y="207"/>
                </a:cubicBezTo>
                <a:cubicBezTo>
                  <a:pt x="399" y="313"/>
                  <a:pt x="313" y="399"/>
                  <a:pt x="207" y="399"/>
                </a:cubicBezTo>
                <a:close/>
                <a:moveTo>
                  <a:pt x="299" y="174"/>
                </a:moveTo>
                <a:cubicBezTo>
                  <a:pt x="314" y="174"/>
                  <a:pt x="314" y="174"/>
                  <a:pt x="314" y="174"/>
                </a:cubicBezTo>
                <a:cubicBezTo>
                  <a:pt x="314" y="307"/>
                  <a:pt x="314" y="307"/>
                  <a:pt x="314" y="307"/>
                </a:cubicBezTo>
                <a:cubicBezTo>
                  <a:pt x="314" y="311"/>
                  <a:pt x="310" y="314"/>
                  <a:pt x="306" y="314"/>
                </a:cubicBezTo>
                <a:cubicBezTo>
                  <a:pt x="173" y="314"/>
                  <a:pt x="173" y="314"/>
                  <a:pt x="173" y="314"/>
                </a:cubicBezTo>
                <a:cubicBezTo>
                  <a:pt x="173" y="300"/>
                  <a:pt x="173" y="300"/>
                  <a:pt x="173" y="300"/>
                </a:cubicBezTo>
                <a:cubicBezTo>
                  <a:pt x="288" y="300"/>
                  <a:pt x="288" y="300"/>
                  <a:pt x="288" y="300"/>
                </a:cubicBezTo>
                <a:cubicBezTo>
                  <a:pt x="108" y="120"/>
                  <a:pt x="108" y="120"/>
                  <a:pt x="108" y="120"/>
                </a:cubicBezTo>
                <a:cubicBezTo>
                  <a:pt x="119" y="109"/>
                  <a:pt x="119" y="109"/>
                  <a:pt x="119" y="109"/>
                </a:cubicBezTo>
                <a:cubicBezTo>
                  <a:pt x="299" y="289"/>
                  <a:pt x="299" y="289"/>
                  <a:pt x="299" y="289"/>
                </a:cubicBezTo>
                <a:lnTo>
                  <a:pt x="299" y="174"/>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32714709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1_Section Title Accent Color 2">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81862"/>
          </a:xfrm>
          <a:noFill/>
        </p:spPr>
        <p:txBody>
          <a:bodyPr tIns="91440" bIns="91440" anchor="t" anchorCtr="0">
            <a:spAutoFit/>
          </a:bodyPr>
          <a:lstStyle>
            <a:lvl1pPr marL="0" algn="l" defTabSz="914367" rtl="0" eaLnBrk="1" latinLnBrk="0" hangingPunct="1">
              <a:lnSpc>
                <a:spcPct val="90000"/>
              </a:lnSpc>
              <a:spcBef>
                <a:spcPct val="0"/>
              </a:spcBef>
              <a:buNone/>
              <a:defRPr lang="en-US" sz="7200" b="0" kern="1200" cap="none" spc="-98" baseline="0" dirty="0">
                <a:ln w="3175">
                  <a:noFill/>
                </a:ln>
                <a:solidFill>
                  <a:srgbClr val="F2C812"/>
                </a:solidFill>
                <a:effectLst/>
                <a:latin typeface="Segoe UI Light (Headings)"/>
                <a:ea typeface="+mn-ea"/>
                <a:cs typeface="Segoe UI Semibold" panose="020B0702040204020203" pitchFamily="34" charset="0"/>
              </a:defRPr>
            </a:lvl1pPr>
          </a:lstStyle>
          <a:p>
            <a:r>
              <a:rPr lang="en-US"/>
              <a:t>Section title</a:t>
            </a:r>
          </a:p>
        </p:txBody>
      </p:sp>
    </p:spTree>
    <p:extLst>
      <p:ext uri="{BB962C8B-B14F-4D97-AF65-F5344CB8AC3E}">
        <p14:creationId xmlns:p14="http://schemas.microsoft.com/office/powerpoint/2010/main" val="135343373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rgbClr val="F2C81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81862"/>
          </a:xfrm>
          <a:noFill/>
        </p:spPr>
        <p:txBody>
          <a:bodyPr tIns="91440" bIns="91440" anchor="t" anchorCtr="0">
            <a:spAutoFit/>
          </a:bodyPr>
          <a:lstStyle>
            <a:lvl1pPr marL="0" algn="l" defTabSz="914367" rtl="0" eaLnBrk="1" latinLnBrk="0" hangingPunct="1">
              <a:lnSpc>
                <a:spcPct val="90000"/>
              </a:lnSpc>
              <a:spcBef>
                <a:spcPct val="0"/>
              </a:spcBef>
              <a:buNone/>
              <a:defRPr lang="en-US" sz="7200" b="0" kern="1200" cap="none" spc="-98" baseline="0" dirty="0">
                <a:ln w="3175">
                  <a:noFill/>
                </a:ln>
                <a:solidFill>
                  <a:srgbClr val="000000"/>
                </a:solidFill>
                <a:effectLst/>
                <a:latin typeface="Segoe UI Light (Headings)"/>
                <a:ea typeface="+mn-ea"/>
                <a:cs typeface="Segoe UI Semibold" panose="020B0702040204020203" pitchFamily="34" charset="0"/>
              </a:defRPr>
            </a:lvl1pPr>
          </a:lstStyle>
          <a:p>
            <a:r>
              <a:rPr lang="en-US"/>
              <a:t>Section title</a:t>
            </a:r>
          </a:p>
        </p:txBody>
      </p:sp>
    </p:spTree>
    <p:extLst>
      <p:ext uri="{BB962C8B-B14F-4D97-AF65-F5344CB8AC3E}">
        <p14:creationId xmlns:p14="http://schemas.microsoft.com/office/powerpoint/2010/main" val="333394375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Presentation Closing">
    <p:bg>
      <p:bgPr>
        <a:solidFill>
          <a:srgbClr val="EDC30D"/>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15713"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pic>
        <p:nvPicPr>
          <p:cNvPr id="6" name="Picture 5"/>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5486" y="2863031"/>
            <a:ext cx="3056653" cy="1112622"/>
          </a:xfrm>
          <a:prstGeom prst="rect">
            <a:avLst/>
          </a:prstGeom>
        </p:spPr>
      </p:pic>
    </p:spTree>
    <p:extLst>
      <p:ext uri="{BB962C8B-B14F-4D97-AF65-F5344CB8AC3E}">
        <p14:creationId xmlns:p14="http://schemas.microsoft.com/office/powerpoint/2010/main" val="37586439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8.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58475045"/>
      </p:ext>
    </p:extLst>
  </p:cSld>
  <p:clrMapOvr>
    <a:masterClrMapping/>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81366899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20354">
                      <a:schemeClr val="tx2"/>
                    </a:gs>
                    <a:gs pos="40000">
                      <a:schemeClr val="tx2"/>
                    </a:gs>
                  </a:gsLst>
                  <a:lin ang="5400000" scaled="0"/>
                </a:gradFill>
              </a:defRPr>
            </a:lvl1pPr>
            <a:lvl2pPr marL="0" indent="0">
              <a:buFontTx/>
              <a:buNone/>
              <a:defRPr sz="1961"/>
            </a:lvl2pPr>
            <a:lvl3pPr marL="224079" indent="0">
              <a:buNone/>
              <a:defRPr/>
            </a:lvl3pPr>
            <a:lvl4pPr marL="448157" indent="0">
              <a:buNone/>
              <a:defRPr/>
            </a:lvl4pPr>
            <a:lvl5pPr marL="672236"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634738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0.xml><?xml version="1.0" encoding="utf-8"?>
<p:sldLayout xmlns:a="http://schemas.openxmlformats.org/drawingml/2006/main" xmlns:r="http://schemas.openxmlformats.org/officeDocument/2006/relationships" xmlns:p="http://schemas.openxmlformats.org/presentationml/2006/main">
  <p:cSld name="2_Title and Content">
    <p:spTree>
      <p:nvGrpSpPr>
        <p:cNvPr id="1" name=""/>
        <p:cNvGrpSpPr/>
        <p:nvPr/>
      </p:nvGrpSpPr>
      <p:grpSpPr>
        <a:xfrm>
          <a:off x="0" y="0"/>
          <a:ext cx="0" cy="0"/>
          <a:chOff x="0" y="0"/>
          <a:chExt cx="0" cy="0"/>
        </a:xfrm>
      </p:grpSpPr>
      <p:sp>
        <p:nvSpPr>
          <p:cNvPr id="6" name="Title 5"/>
          <p:cNvSpPr>
            <a:spLocks noGrp="1"/>
          </p:cNvSpPr>
          <p:nvPr>
            <p:ph type="title" hasCustomPrompt="1"/>
          </p:nvPr>
        </p:nvSpPr>
        <p:spPr>
          <a:xfrm>
            <a:off x="2975386" y="289511"/>
            <a:ext cx="9108056" cy="1503593"/>
          </a:xfrm>
        </p:spPr>
        <p:txBody>
          <a:bodyPr/>
          <a:lstStyle>
            <a:lvl1pPr>
              <a:defRPr baseline="0"/>
            </a:lvl1pPr>
          </a:lstStyle>
          <a:p>
            <a:r>
              <a:rPr lang="en-US"/>
              <a:t>Click to edit Master title style: second line</a:t>
            </a:r>
          </a:p>
        </p:txBody>
      </p:sp>
      <p:sp>
        <p:nvSpPr>
          <p:cNvPr id="7" name="Text Placeholder 5"/>
          <p:cNvSpPr>
            <a:spLocks noGrp="1"/>
          </p:cNvSpPr>
          <p:nvPr>
            <p:ph type="body" sz="quarter" idx="10"/>
          </p:nvPr>
        </p:nvSpPr>
        <p:spPr>
          <a:xfrm>
            <a:off x="2974849" y="1897702"/>
            <a:ext cx="9106244" cy="4632407"/>
          </a:xfrm>
        </p:spPr>
        <p:txBody>
          <a:bodyPr/>
          <a:lstStyle>
            <a:lvl1pPr marL="182845" indent="-182845">
              <a:buFont typeface="Arial" panose="020B0604020202020204" pitchFamily="34" charset="0"/>
              <a:buChar char="•"/>
              <a:defRPr>
                <a:gradFill>
                  <a:gsLst>
                    <a:gs pos="1250">
                      <a:schemeClr val="tx2"/>
                    </a:gs>
                    <a:gs pos="99000">
                      <a:schemeClr val="tx2"/>
                    </a:gs>
                  </a:gsLst>
                  <a:lin ang="5400000" scaled="0"/>
                </a:gradFill>
                <a:latin typeface="+mj-lt"/>
              </a:defRPr>
            </a:lvl1pPr>
            <a:lvl2pPr marL="365690" indent="-182845">
              <a:buFont typeface="Arial" panose="020B0604020202020204" pitchFamily="34" charset="0"/>
              <a:buChar char="•"/>
              <a:defRPr sz="2400">
                <a:latin typeface="+mj-lt"/>
              </a:defRPr>
            </a:lvl2pPr>
            <a:lvl3pPr marL="548535" indent="-182845">
              <a:buFont typeface="Arial" panose="020B0604020202020204" pitchFamily="34" charset="0"/>
              <a:buChar char="•"/>
              <a:defRPr sz="2000">
                <a:latin typeface="+mj-lt"/>
              </a:defRPr>
            </a:lvl3pPr>
            <a:lvl4pPr marL="733802" indent="-285695">
              <a:buFont typeface="Arial" panose="020B0604020202020204" pitchFamily="34" charset="0"/>
              <a:buChar char="•"/>
              <a:defRPr/>
            </a:lvl4pPr>
            <a:lvl5pPr marL="957856" indent="-285695">
              <a:buFont typeface="Arial" panose="020B0604020202020204" pitchFamily="34" charset="0"/>
              <a:buChar char="•"/>
              <a:defRPr/>
            </a:lvl5pPr>
          </a:lstStyle>
          <a:p>
            <a:pPr lvl="0"/>
            <a:r>
              <a:rPr lang="en-US"/>
              <a:t>Click to edit Master text styles</a:t>
            </a:r>
          </a:p>
          <a:p>
            <a:pPr lvl="1"/>
            <a:r>
              <a:rPr lang="en-US"/>
              <a:t>Second level</a:t>
            </a:r>
          </a:p>
          <a:p>
            <a:pPr lvl="2"/>
            <a:r>
              <a:rPr lang="en-US"/>
              <a:t>Third level</a:t>
            </a:r>
          </a:p>
        </p:txBody>
      </p:sp>
      <p:sp>
        <p:nvSpPr>
          <p:cNvPr id="4" name="TextBox 3"/>
          <p:cNvSpPr txBox="1"/>
          <p:nvPr userDrawn="1"/>
        </p:nvSpPr>
        <p:spPr>
          <a:xfrm>
            <a:off x="2171118" y="589830"/>
            <a:ext cx="1300504" cy="615609"/>
          </a:xfrm>
          <a:prstGeom prst="rect">
            <a:avLst/>
          </a:prstGeom>
          <a:noFill/>
        </p:spPr>
        <p:txBody>
          <a:bodyPr wrap="none" lIns="179285" tIns="143428" rIns="179285" bIns="143428" rtlCol="0">
            <a:spAutoFit/>
          </a:bodyPr>
          <a:lstStyle/>
          <a:p>
            <a:pPr algn="r" defTabSz="914367">
              <a:lnSpc>
                <a:spcPct val="90000"/>
              </a:lnSpc>
              <a:spcAft>
                <a:spcPts val="588"/>
              </a:spcAft>
            </a:pPr>
            <a:r>
              <a:rPr lang="en-US" sz="2353">
                <a:solidFill>
                  <a:srgbClr val="FFFFFF"/>
                </a:solidFill>
                <a:latin typeface="Segoe UI Light"/>
              </a:rPr>
              <a:t>Feature</a:t>
            </a:r>
          </a:p>
        </p:txBody>
      </p:sp>
    </p:spTree>
    <p:extLst>
      <p:ext uri="{BB962C8B-B14F-4D97-AF65-F5344CB8AC3E}">
        <p14:creationId xmlns:p14="http://schemas.microsoft.com/office/powerpoint/2010/main" val="18114826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79" indent="0">
              <a:buNone/>
              <a:defRPr/>
            </a:lvl3pPr>
            <a:lvl4pPr marL="448157" indent="0">
              <a:buNone/>
              <a:defRPr/>
            </a:lvl4pPr>
            <a:lvl5pPr marL="672236"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769711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8"/>
            <a:ext cx="11653523" cy="2052030"/>
          </a:xfrm>
        </p:spPr>
        <p:txBody>
          <a:bodyPr>
            <a:spAutoFit/>
          </a:bodyPr>
          <a:lstStyle>
            <a:lvl1pPr>
              <a:buClr>
                <a:schemeClr val="tx2"/>
              </a:buClr>
              <a:defRPr sz="3921">
                <a:gradFill>
                  <a:gsLst>
                    <a:gs pos="7080">
                      <a:schemeClr val="tx2"/>
                    </a:gs>
                    <a:gs pos="36283">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8700879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8"/>
            <a:ext cx="11653523" cy="2052030"/>
          </a:xfrm>
        </p:spPr>
        <p:txBody>
          <a:bodyPr>
            <a:spAutoFit/>
          </a:bodyPr>
          <a:lstStyle>
            <a:lvl1pPr>
              <a:defRPr sz="3921"/>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945973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389">
                      <a:schemeClr val="tx2"/>
                    </a:gs>
                    <a:gs pos="31000">
                      <a:schemeClr val="tx2"/>
                    </a:gs>
                  </a:gsLst>
                  <a:lin ang="5400000" scaled="0"/>
                </a:gradFill>
              </a:defRPr>
            </a:lvl1pPr>
            <a:lvl2pPr marL="0" indent="0">
              <a:buNone/>
              <a:defRPr sz="1961"/>
            </a:lvl2pPr>
            <a:lvl3pPr marL="227191" indent="0">
              <a:buNone/>
              <a:tabLst/>
              <a:defRPr sz="1961"/>
            </a:lvl3pPr>
            <a:lvl4pPr marL="451269" indent="0">
              <a:buNone/>
              <a:defRPr/>
            </a:lvl4pPr>
            <a:lvl5pPr marL="672236"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5"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389">
                      <a:schemeClr val="tx2"/>
                    </a:gs>
                    <a:gs pos="31000">
                      <a:schemeClr val="tx2"/>
                    </a:gs>
                  </a:gsLst>
                  <a:lin ang="5400000" scaled="0"/>
                </a:gradFill>
              </a:defRPr>
            </a:lvl1pPr>
            <a:lvl2pPr marL="0" indent="0">
              <a:buNone/>
              <a:defRPr sz="1961"/>
            </a:lvl2pPr>
            <a:lvl3pPr marL="227191" indent="0">
              <a:buNone/>
              <a:tabLst/>
              <a:defRPr sz="1961"/>
            </a:lvl3pPr>
            <a:lvl4pPr marL="451269" indent="0">
              <a:buNone/>
              <a:defRPr/>
            </a:lvl4pPr>
            <a:lvl5pPr marL="672236"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810260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191" indent="0">
              <a:buNone/>
              <a:tabLst/>
              <a:defRPr sz="1961"/>
            </a:lvl3pPr>
            <a:lvl4pPr marL="451269" indent="0">
              <a:buNone/>
              <a:defRPr/>
            </a:lvl4pPr>
            <a:lvl5pPr marL="672236"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5"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191" indent="0">
              <a:buNone/>
              <a:tabLst/>
              <a:defRPr sz="1961"/>
            </a:lvl3pPr>
            <a:lvl4pPr marL="451269" indent="0">
              <a:buNone/>
              <a:defRPr/>
            </a:lvl4pPr>
            <a:lvl5pPr marL="672236"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587868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9176"/>
            <a:ext cx="5378548" cy="2377940"/>
          </a:xfrm>
        </p:spPr>
        <p:txBody>
          <a:bodyPr wrap="square">
            <a:spAutoFit/>
          </a:bodyPr>
          <a:lstStyle>
            <a:lvl1pPr marL="281655" indent="-281655">
              <a:spcBef>
                <a:spcPts val="1200"/>
              </a:spcBef>
              <a:buClr>
                <a:schemeClr val="tx2"/>
              </a:buClr>
              <a:buFont typeface="Wingdings" panose="05000000000000000000" pitchFamily="2" charset="2"/>
              <a:buChar char="§"/>
              <a:defRPr sz="3137">
                <a:gradFill>
                  <a:gsLst>
                    <a:gs pos="19469">
                      <a:schemeClr val="tx2"/>
                    </a:gs>
                    <a:gs pos="32000">
                      <a:schemeClr val="tx2"/>
                    </a:gs>
                  </a:gsLst>
                  <a:lin ang="5400000" scaled="0"/>
                </a:gradFill>
              </a:defRPr>
            </a:lvl1pPr>
            <a:lvl2pPr marL="520660" indent="-228582">
              <a:buFont typeface="Wingdings" panose="05000000000000000000" pitchFamily="2" charset="2"/>
              <a:buChar char="§"/>
              <a:defRPr sz="2353"/>
            </a:lvl2pPr>
            <a:lvl3pPr marL="685748" indent="-165088">
              <a:buFont typeface="Wingdings" panose="05000000000000000000" pitchFamily="2" charset="2"/>
              <a:buChar char="§"/>
              <a:tabLst/>
              <a:defRPr sz="1961"/>
            </a:lvl3pPr>
            <a:lvl4pPr marL="863534" indent="-177786">
              <a:buFont typeface="Wingdings" panose="05000000000000000000" pitchFamily="2" charset="2"/>
              <a:buChar char="§"/>
              <a:defRPr/>
            </a:lvl4pPr>
            <a:lvl5pPr marL="1028622" indent="-165088">
              <a:buFont typeface="Wingdings" panose="05000000000000000000" pitchFamily="2" charset="2"/>
              <a:buChar char="§"/>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5" y="1189176"/>
            <a:ext cx="5378548" cy="2377940"/>
          </a:xfrm>
        </p:spPr>
        <p:txBody>
          <a:bodyPr wrap="square">
            <a:spAutoFit/>
          </a:bodyPr>
          <a:lstStyle>
            <a:lvl1pPr marL="281655" indent="-281655">
              <a:spcBef>
                <a:spcPts val="1200"/>
              </a:spcBef>
              <a:buClr>
                <a:schemeClr val="tx2"/>
              </a:buClr>
              <a:buFont typeface="Wingdings" panose="05000000000000000000" pitchFamily="2" charset="2"/>
              <a:buChar char="§"/>
              <a:defRPr sz="3137">
                <a:gradFill>
                  <a:gsLst>
                    <a:gs pos="19469">
                      <a:schemeClr val="tx2"/>
                    </a:gs>
                    <a:gs pos="32000">
                      <a:schemeClr val="tx2"/>
                    </a:gs>
                  </a:gsLst>
                  <a:lin ang="5400000" scaled="0"/>
                </a:gradFill>
              </a:defRPr>
            </a:lvl1pPr>
            <a:lvl2pPr marL="520660" indent="-228582">
              <a:buFont typeface="Wingdings" panose="05000000000000000000" pitchFamily="2" charset="2"/>
              <a:buChar char="§"/>
              <a:defRPr sz="2353"/>
            </a:lvl2pPr>
            <a:lvl3pPr marL="685748" indent="-165088">
              <a:buFont typeface="Wingdings" panose="05000000000000000000" pitchFamily="2" charset="2"/>
              <a:buChar char="§"/>
              <a:tabLst/>
              <a:defRPr sz="1961"/>
            </a:lvl3pPr>
            <a:lvl4pPr marL="863534" indent="-177786">
              <a:buFont typeface="Wingdings" panose="05000000000000000000" pitchFamily="2" charset="2"/>
              <a:buChar char="§"/>
              <a:defRPr/>
            </a:lvl4pPr>
            <a:lvl5pPr marL="1028622" indent="-165088">
              <a:buFont typeface="Wingdings" panose="05000000000000000000" pitchFamily="2" charset="2"/>
              <a:buChar char="§"/>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835643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9176"/>
            <a:ext cx="5378548" cy="2377940"/>
          </a:xfrm>
        </p:spPr>
        <p:txBody>
          <a:bodyPr wrap="square">
            <a:spAutoFit/>
          </a:bodyPr>
          <a:lstStyle>
            <a:lvl1pPr marL="281655" indent="-281655">
              <a:spcBef>
                <a:spcPts val="1200"/>
              </a:spcBef>
              <a:buClr>
                <a:schemeClr val="tx1"/>
              </a:buClr>
              <a:buFont typeface="Wingdings" panose="05000000000000000000" pitchFamily="2" charset="2"/>
              <a:buChar char="§"/>
              <a:defRPr sz="3137"/>
            </a:lvl1pPr>
            <a:lvl2pPr marL="520660" indent="-228582">
              <a:buFont typeface="Wingdings" panose="05000000000000000000" pitchFamily="2" charset="2"/>
              <a:buChar char="§"/>
              <a:defRPr sz="2353"/>
            </a:lvl2pPr>
            <a:lvl3pPr marL="685748" indent="-165088">
              <a:buFont typeface="Wingdings" panose="05000000000000000000" pitchFamily="2" charset="2"/>
              <a:buChar char="§"/>
              <a:tabLst/>
              <a:defRPr sz="1961"/>
            </a:lvl3pPr>
            <a:lvl4pPr marL="863534" indent="-177786">
              <a:buFont typeface="Wingdings" panose="05000000000000000000" pitchFamily="2" charset="2"/>
              <a:buChar char="§"/>
              <a:defRPr/>
            </a:lvl4pPr>
            <a:lvl5pPr marL="1028622" indent="-165088">
              <a:buFont typeface="Wingdings" panose="05000000000000000000" pitchFamily="2" charset="2"/>
              <a:buChar char="§"/>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5" y="1189176"/>
            <a:ext cx="5378548" cy="2377940"/>
          </a:xfrm>
        </p:spPr>
        <p:txBody>
          <a:bodyPr wrap="square">
            <a:spAutoFit/>
          </a:bodyPr>
          <a:lstStyle>
            <a:lvl1pPr marL="281655" indent="-281655">
              <a:spcBef>
                <a:spcPts val="1200"/>
              </a:spcBef>
              <a:buClr>
                <a:schemeClr val="tx1"/>
              </a:buClr>
              <a:buFont typeface="Wingdings" panose="05000000000000000000" pitchFamily="2" charset="2"/>
              <a:buChar char="§"/>
              <a:defRPr sz="3137"/>
            </a:lvl1pPr>
            <a:lvl2pPr marL="520660" indent="-228582">
              <a:buFont typeface="Wingdings" panose="05000000000000000000" pitchFamily="2" charset="2"/>
              <a:buChar char="§"/>
              <a:defRPr sz="2353"/>
            </a:lvl2pPr>
            <a:lvl3pPr marL="685748" indent="-165088">
              <a:buFont typeface="Wingdings" panose="05000000000000000000" pitchFamily="2" charset="2"/>
              <a:buChar char="§"/>
              <a:tabLst/>
              <a:defRPr sz="1961"/>
            </a:lvl3pPr>
            <a:lvl4pPr marL="863534" indent="-177786">
              <a:buFont typeface="Wingdings" panose="05000000000000000000" pitchFamily="2" charset="2"/>
              <a:buChar char="§"/>
              <a:defRPr/>
            </a:lvl4pPr>
            <a:lvl5pPr marL="1028622" indent="-165088">
              <a:buFont typeface="Wingdings" panose="05000000000000000000" pitchFamily="2" charset="2"/>
              <a:buChar char="§"/>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689543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641944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4_Red Tile Titl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3073"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57" y="1558"/>
                        <a:ext cx="1556" cy="1556"/>
                      </a:xfrm>
                      <a:prstGeom prst="rect">
                        <a:avLst/>
                      </a:prstGeom>
                    </p:spPr>
                  </p:pic>
                </p:oleObj>
              </mc:Fallback>
            </mc:AlternateContent>
          </a:graphicData>
        </a:graphic>
      </p:graphicFrame>
      <p:pic>
        <p:nvPicPr>
          <p:cNvPr id="5" name="Picture 4"/>
          <p:cNvPicPr>
            <a:picLocks noChangeAspect="1"/>
          </p:cNvPicPr>
          <p:nvPr userDrawn="1"/>
        </p:nvPicPr>
        <p:blipFill rotWithShape="1">
          <a:blip r:embed="rId6" cstate="print">
            <a:extLst>
              <a:ext uri="{28A0092B-C50C-407E-A947-70E740481C1C}">
                <a14:useLocalDpi xmlns:a14="http://schemas.microsoft.com/office/drawing/2010/main" val="0"/>
              </a:ext>
            </a:extLst>
          </a:blip>
          <a:srcRect/>
          <a:stretch/>
        </p:blipFill>
        <p:spPr>
          <a:xfrm>
            <a:off x="0" y="0"/>
            <a:ext cx="12200028" cy="6882063"/>
          </a:xfrm>
          <a:prstGeom prst="rect">
            <a:avLst/>
          </a:prstGeom>
        </p:spPr>
      </p:pic>
      <p:sp>
        <p:nvSpPr>
          <p:cNvPr id="11" name="Rectangle 10"/>
          <p:cNvSpPr/>
          <p:nvPr/>
        </p:nvSpPr>
        <p:spPr>
          <a:xfrm>
            <a:off x="223347" y="230444"/>
            <a:ext cx="6233021" cy="4148709"/>
          </a:xfrm>
          <a:prstGeom prst="rect">
            <a:avLst/>
          </a:prstGeom>
          <a:solidFill>
            <a:srgbClr val="F2C812">
              <a:alpha val="83000"/>
            </a:srgbClr>
          </a:solidFill>
          <a:ln w="25400" cap="flat" cmpd="sng" algn="ctr">
            <a:noFill/>
            <a:prstDash val="solid"/>
          </a:ln>
          <a:effectLst/>
        </p:spPr>
        <p:txBody>
          <a:bodyPr rtlCol="0" anchor="ctr"/>
          <a:lstStyle/>
          <a:p>
            <a:pPr algn="ctr">
              <a:defRPr/>
            </a:pPr>
            <a:endParaRPr lang="en-US" kern="0">
              <a:gradFill>
                <a:gsLst>
                  <a:gs pos="93162">
                    <a:srgbClr val="505050">
                      <a:lumMod val="50000"/>
                    </a:srgbClr>
                  </a:gs>
                  <a:gs pos="68000">
                    <a:srgbClr val="505050">
                      <a:lumMod val="50000"/>
                    </a:srgbClr>
                  </a:gs>
                </a:gsLst>
                <a:lin ang="5400000" scaled="0"/>
              </a:gradFill>
            </a:endParaRPr>
          </a:p>
        </p:txBody>
      </p:sp>
      <p:sp>
        <p:nvSpPr>
          <p:cNvPr id="12" name="TextBox 11"/>
          <p:cNvSpPr txBox="1"/>
          <p:nvPr/>
        </p:nvSpPr>
        <p:spPr>
          <a:xfrm>
            <a:off x="223347" y="599489"/>
            <a:ext cx="6053269" cy="1071062"/>
          </a:xfrm>
          <a:prstGeom prst="rect">
            <a:avLst/>
          </a:prstGeom>
          <a:noFill/>
        </p:spPr>
        <p:txBody>
          <a:bodyPr wrap="square" lIns="228600" tIns="91440" rIns="228600" bIns="91440" rtlCol="0">
            <a:spAutoFit/>
          </a:bodyPr>
          <a:lstStyle/>
          <a:p>
            <a:pPr defTabSz="914099" fontAlgn="base">
              <a:lnSpc>
                <a:spcPct val="90000"/>
              </a:lnSpc>
              <a:spcAft>
                <a:spcPts val="1200"/>
              </a:spcAft>
            </a:pPr>
            <a:r>
              <a:rPr lang="en-US" sz="3200">
                <a:gradFill>
                  <a:gsLst>
                    <a:gs pos="93162">
                      <a:srgbClr val="505050">
                        <a:lumMod val="50000"/>
                      </a:srgbClr>
                    </a:gs>
                    <a:gs pos="68000">
                      <a:srgbClr val="505050">
                        <a:lumMod val="50000"/>
                      </a:srgbClr>
                    </a:gs>
                  </a:gsLst>
                  <a:lin ang="5400000" scaled="0"/>
                </a:gradFill>
                <a:latin typeface="Segoe UI Semibold" panose="020B0702040204020203" pitchFamily="34" charset="0"/>
                <a:cs typeface="Segoe UI Semibold" panose="020B0702040204020203" pitchFamily="34" charset="0"/>
              </a:rPr>
              <a:t>Microsoft Power BI Overview for IT Professionals</a:t>
            </a:r>
          </a:p>
        </p:txBody>
      </p:sp>
      <p:sp>
        <p:nvSpPr>
          <p:cNvPr id="3" name="Subtitle 2"/>
          <p:cNvSpPr>
            <a:spLocks noGrp="1"/>
          </p:cNvSpPr>
          <p:nvPr userDrawn="1">
            <p:ph type="subTitle" idx="1" hasCustomPrompt="1"/>
          </p:nvPr>
        </p:nvSpPr>
        <p:spPr>
          <a:xfrm>
            <a:off x="464020" y="2908517"/>
            <a:ext cx="5199207" cy="994420"/>
          </a:xfrm>
          <a:prstGeom prst="rect">
            <a:avLst/>
          </a:prstGeom>
        </p:spPr>
        <p:txBody>
          <a:bodyPr lIns="182880" tIns="146304" rIns="182880" bIns="146304"/>
          <a:lstStyle>
            <a:lvl1pPr marL="0" indent="0" algn="l">
              <a:lnSpc>
                <a:spcPct val="90000"/>
              </a:lnSpc>
              <a:buNone/>
              <a:defRPr sz="2157">
                <a:solidFill>
                  <a:schemeClr val="tx1"/>
                </a:solidFill>
                <a:latin typeface="+mn-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en-US"/>
              <a:t>Speaker Name</a:t>
            </a:r>
            <a:br>
              <a:rPr lang="en-US"/>
            </a:br>
            <a:r>
              <a:rPr lang="en-US"/>
              <a:t>Date</a:t>
            </a:r>
          </a:p>
        </p:txBody>
      </p:sp>
    </p:spTree>
    <p:extLst>
      <p:ext uri="{BB962C8B-B14F-4D97-AF65-F5344CB8AC3E}">
        <p14:creationId xmlns:p14="http://schemas.microsoft.com/office/powerpoint/2010/main" val="38534337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765" y="1069"/>
            <a:ext cx="12185847" cy="6855512"/>
          </a:xfrm>
          <a:prstGeom prst="rect">
            <a:avLst/>
          </a:prstGeom>
        </p:spPr>
      </p:pic>
      <p:sp>
        <p:nvSpPr>
          <p:cNvPr id="2" name="Title 1"/>
          <p:cNvSpPr>
            <a:spLocks noGrp="1"/>
          </p:cNvSpPr>
          <p:nvPr>
            <p:ph type="title" hasCustomPrompt="1"/>
          </p:nvPr>
        </p:nvSpPr>
        <p:spPr>
          <a:xfrm>
            <a:off x="269240" y="2095069"/>
            <a:ext cx="9859116" cy="1158793"/>
          </a:xfrm>
          <a:noFill/>
        </p:spPr>
        <p:txBody>
          <a:bodyPr tIns="91440" bIns="91440" anchor="t" anchorCtr="0">
            <a:spAutoFit/>
          </a:bodyPr>
          <a:lstStyle>
            <a:lvl1pPr>
              <a:defRPr sz="7057"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1" y="4785989"/>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
        <p:nvSpPr>
          <p:cNvPr id="6" name="Rectangle 5"/>
          <p:cNvSpPr/>
          <p:nvPr userDrawn="1"/>
        </p:nvSpPr>
        <p:spPr bwMode="gray">
          <a:xfrm>
            <a:off x="0" y="6409724"/>
            <a:ext cx="12191377" cy="44827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30"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62254" y="6547867"/>
            <a:ext cx="806774" cy="171991"/>
          </a:xfrm>
          <a:prstGeom prst="rect">
            <a:avLst/>
          </a:prstGeom>
        </p:spPr>
      </p:pic>
    </p:spTree>
    <p:extLst>
      <p:ext uri="{BB962C8B-B14F-4D97-AF65-F5344CB8AC3E}">
        <p14:creationId xmlns:p14="http://schemas.microsoft.com/office/powerpoint/2010/main" val="84154473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765" y="1069"/>
            <a:ext cx="12185847" cy="6855512"/>
          </a:xfrm>
          <a:prstGeom prst="rect">
            <a:avLst/>
          </a:prstGeom>
        </p:spPr>
      </p:pic>
      <p:sp>
        <p:nvSpPr>
          <p:cNvPr id="2" name="Title 1"/>
          <p:cNvSpPr>
            <a:spLocks noGrp="1"/>
          </p:cNvSpPr>
          <p:nvPr>
            <p:ph type="title" hasCustomPrompt="1"/>
          </p:nvPr>
        </p:nvSpPr>
        <p:spPr>
          <a:xfrm>
            <a:off x="269240" y="2084173"/>
            <a:ext cx="9859116" cy="1158793"/>
          </a:xfrm>
          <a:noFill/>
        </p:spPr>
        <p:txBody>
          <a:bodyPr tIns="91440" bIns="91440" anchor="t" anchorCtr="0">
            <a:spAutoFit/>
          </a:bodyPr>
          <a:lstStyle>
            <a:lvl1pPr>
              <a:defRPr lang="en-US" sz="7057"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
        <p:nvSpPr>
          <p:cNvPr id="4" name="Rectangle 3"/>
          <p:cNvSpPr/>
          <p:nvPr userDrawn="1"/>
        </p:nvSpPr>
        <p:spPr bwMode="gray">
          <a:xfrm>
            <a:off x="0" y="6409724"/>
            <a:ext cx="12191377" cy="44827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30"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62254" y="6547867"/>
            <a:ext cx="806774" cy="171991"/>
          </a:xfrm>
          <a:prstGeom prst="rect">
            <a:avLst/>
          </a:prstGeom>
        </p:spPr>
      </p:pic>
    </p:spTree>
    <p:extLst>
      <p:ext uri="{BB962C8B-B14F-4D97-AF65-F5344CB8AC3E}">
        <p14:creationId xmlns:p14="http://schemas.microsoft.com/office/powerpoint/2010/main" val="72484584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Section Title Light">
    <p:bg>
      <p:bgRef idx="1001">
        <a:schemeClr val="bg2"/>
      </p:bgRef>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765" y="1069"/>
            <a:ext cx="12185847" cy="6855512"/>
          </a:xfrm>
          <a:prstGeom prst="rect">
            <a:avLst/>
          </a:prstGeom>
        </p:spPr>
      </p:pic>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7"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16645968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Section Title Dark">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7"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5521974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7"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5557070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7"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4642084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7"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945892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1217195"/>
            <a:ext cx="5378548" cy="1973570"/>
          </a:xfrm>
        </p:spPr>
        <p:txBody>
          <a:bodyPr>
            <a:spAutoFit/>
          </a:bodyPr>
          <a:lstStyle>
            <a:lvl1pPr>
              <a:defRPr sz="6469" baseline="0">
                <a:gradFill>
                  <a:gsLst>
                    <a:gs pos="1250">
                      <a:schemeClr val="tx1"/>
                    </a:gs>
                    <a:gs pos="100000">
                      <a:schemeClr val="tx1"/>
                    </a:gs>
                  </a:gsLst>
                  <a:lin ang="5400000" scaled="0"/>
                </a:gradFill>
              </a:defRPr>
            </a:lvl1pPr>
          </a:lstStyle>
          <a:p>
            <a:r>
              <a:rPr lang="en-US"/>
              <a:t>50/50 photo layout</a:t>
            </a:r>
          </a:p>
        </p:txBody>
      </p:sp>
      <p:sp>
        <p:nvSpPr>
          <p:cNvPr id="5" name="Picture Placeholder 4"/>
          <p:cNvSpPr>
            <a:spLocks noGrp="1"/>
          </p:cNvSpPr>
          <p:nvPr>
            <p:ph type="pic" sz="quarter" idx="10"/>
          </p:nvPr>
        </p:nvSpPr>
        <p:spPr bwMode="ltGray">
          <a:xfrm>
            <a:off x="6097556" y="1"/>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13377260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Blank Dark">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5997959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980546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4097"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2" name="Footer Placeholder 1"/>
          <p:cNvSpPr>
            <a:spLocks noGrp="1"/>
          </p:cNvSpPr>
          <p:nvPr>
            <p:ph type="ftr" sz="quarter" idx="10"/>
          </p:nvPr>
        </p:nvSpPr>
        <p:spPr/>
        <p:txBody>
          <a:bodyPr/>
          <a:lstStyle/>
          <a:p>
            <a:r>
              <a:rPr>
                <a:solidFill>
                  <a:srgbClr val="505050"/>
                </a:solidFill>
              </a:rPr>
              <a:t>Microsoft Confidential</a:t>
            </a:r>
          </a:p>
        </p:txBody>
      </p:sp>
      <p:sp>
        <p:nvSpPr>
          <p:cNvPr id="3" name="Slide Number Placeholder 2"/>
          <p:cNvSpPr>
            <a:spLocks noGrp="1"/>
          </p:cNvSpPr>
          <p:nvPr>
            <p:ph type="sldNum" sz="quarter" idx="11"/>
          </p:nvPr>
        </p:nvSpPr>
        <p:spPr/>
        <p:txBody>
          <a:bodyPr/>
          <a:lstStyle/>
          <a:p>
            <a:fld id="{27258FFF-F925-446B-8502-81C933981705}" type="slidenum">
              <a:rPr>
                <a:solidFill>
                  <a:srgbClr val="505050"/>
                </a:solidFill>
              </a:rPr>
              <a:pPr/>
              <a:t>‹#›</a:t>
            </a:fld>
            <a:endParaRPr>
              <a:solidFill>
                <a:srgbClr val="505050"/>
              </a:solidFill>
            </a:endParaRPr>
          </a:p>
        </p:txBody>
      </p:sp>
    </p:spTree>
    <p:extLst>
      <p:ext uri="{BB962C8B-B14F-4D97-AF65-F5344CB8AC3E}">
        <p14:creationId xmlns:p14="http://schemas.microsoft.com/office/powerpoint/2010/main" val="37554303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344392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401814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2"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030" fontAlgn="base">
              <a:spcBef>
                <a:spcPct val="0"/>
              </a:spcBef>
              <a:spcAft>
                <a:spcPct val="0"/>
              </a:spcAft>
            </a:pPr>
            <a:endParaRPr lang="en-US" sz="2206">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40" y="1197323"/>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9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4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45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1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043736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65" y="0"/>
            <a:ext cx="12191377" cy="6858623"/>
          </a:xfrm>
          <a:prstGeom prst="rect">
            <a:avLst/>
          </a:prstGeom>
        </p:spPr>
      </p:pic>
      <p:sp>
        <p:nvSpPr>
          <p:cNvPr id="6" name="Rectangle 5"/>
          <p:cNvSpPr/>
          <p:nvPr userDrawn="1"/>
        </p:nvSpPr>
        <p:spPr bwMode="gray">
          <a:xfrm>
            <a:off x="0" y="4773828"/>
            <a:ext cx="12192000" cy="2084172"/>
          </a:xfrm>
          <a:prstGeom prst="rect">
            <a:avLst/>
          </a:prstGeom>
          <a:solidFill>
            <a:srgbClr val="505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pPr>
            <a:endParaRPr lang="en-US" sz="1961">
              <a:gradFill>
                <a:gsLst>
                  <a:gs pos="16814">
                    <a:srgbClr val="FFFFFF"/>
                  </a:gs>
                  <a:gs pos="46000">
                    <a:srgbClr val="FFFFFF"/>
                  </a:gs>
                </a:gsLst>
                <a:lin ang="5400000" scaled="0"/>
              </a:gradFill>
            </a:endParaRPr>
          </a:p>
        </p:txBody>
      </p:sp>
      <p:sp>
        <p:nvSpPr>
          <p:cNvPr id="2" name="Text Box 3"/>
          <p:cNvSpPr txBox="1">
            <a:spLocks noChangeArrowheads="1"/>
          </p:cNvSpPr>
          <p:nvPr userDrawn="1"/>
        </p:nvSpPr>
        <p:spPr bwMode="white">
          <a:xfrm>
            <a:off x="7440623" y="6171616"/>
            <a:ext cx="4482123"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algn="r" defTabSz="913850" eaLnBrk="0" hangingPunct="0"/>
            <a:r>
              <a:rPr lang="en-US" sz="686">
                <a:gradFill>
                  <a:gsLst>
                    <a:gs pos="12389">
                      <a:srgbClr val="FFFFFF"/>
                    </a:gs>
                    <a:gs pos="54000">
                      <a:srgbClr val="FFFFFF"/>
                    </a:gs>
                  </a:gsLst>
                  <a:lin ang="5400000" scaled="0"/>
                </a:gradFill>
                <a:cs typeface="Segoe UI" pitchFamily="34" charset="0"/>
              </a:rPr>
              <a:t>© 2015 Microsoft Corporation. All rights reserved.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50203" y="5471928"/>
            <a:ext cx="3227129" cy="687975"/>
          </a:xfrm>
          <a:prstGeom prst="rect">
            <a:avLst/>
          </a:prstGeom>
        </p:spPr>
      </p:pic>
    </p:spTree>
    <p:extLst>
      <p:ext uri="{BB962C8B-B14F-4D97-AF65-F5344CB8AC3E}">
        <p14:creationId xmlns:p14="http://schemas.microsoft.com/office/powerpoint/2010/main" val="418230926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chemeClr val="bg1"/>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67" indent="-284767">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96" indent="-275431">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964" indent="-284767">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043" indent="-224079">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121" indent="-224079">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6284824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Black Notes slide Layout No Bar">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380487559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77021" y="2383023"/>
            <a:ext cx="11653523" cy="914360"/>
          </a:xfrm>
        </p:spPr>
        <p:txBody>
          <a:bodyPr/>
          <a:lstStyle>
            <a:lvl1pPr marL="0" indent="0">
              <a:buNone/>
              <a:defRPr sz="5294">
                <a:gradFill>
                  <a:gsLst>
                    <a:gs pos="3333">
                      <a:schemeClr val="tx1"/>
                    </a:gs>
                    <a:gs pos="3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p:txBody>
      </p:sp>
      <p:sp>
        <p:nvSpPr>
          <p:cNvPr id="4" name="Title 1"/>
          <p:cNvSpPr>
            <a:spLocks noGrp="1"/>
          </p:cNvSpPr>
          <p:nvPr>
            <p:ph type="title"/>
          </p:nvPr>
        </p:nvSpPr>
        <p:spPr>
          <a:xfrm>
            <a:off x="277021" y="1187621"/>
            <a:ext cx="11655840" cy="899665"/>
          </a:xfrm>
        </p:spPr>
        <p:txBody>
          <a:bodyPr/>
          <a:lstStyle>
            <a:lvl1pPr>
              <a:defRPr sz="7058" baseline="0">
                <a:gradFill>
                  <a:gsLst>
                    <a:gs pos="1250">
                      <a:schemeClr val="tx1"/>
                    </a:gs>
                    <a:gs pos="100000">
                      <a:schemeClr val="tx1"/>
                    </a:gs>
                  </a:gsLst>
                  <a:lin ang="5400000" scaled="0"/>
                </a:gradFill>
              </a:defRPr>
            </a:lvl1pPr>
          </a:lstStyle>
          <a:p>
            <a:r>
              <a:rPr lang="en-US"/>
              <a:t>Click to edit Master title style</a:t>
            </a:r>
          </a:p>
        </p:txBody>
      </p:sp>
      <p:sp>
        <p:nvSpPr>
          <p:cNvPr id="5" name="TextBox 7"/>
          <p:cNvSpPr txBox="1"/>
          <p:nvPr userDrawn="1"/>
        </p:nvSpPr>
        <p:spPr bwMode="white">
          <a:xfrm>
            <a:off x="4244628" y="6566924"/>
            <a:ext cx="370274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14560167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1_Blank Color 1 Layout">
    <p:bg>
      <p:bgPr>
        <a:solidFill>
          <a:schemeClr val="accent2"/>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512898" y="1768476"/>
            <a:ext cx="11231365" cy="1399832"/>
          </a:xfrm>
        </p:spPr>
        <p:txBody>
          <a:bodyPr/>
          <a:lstStyle>
            <a:lvl1pPr marL="0" indent="0">
              <a:buNone/>
              <a:defRPr sz="8798" i="0" spc="-100" baseline="0">
                <a:gradFill>
                  <a:gsLst>
                    <a:gs pos="0">
                      <a:schemeClr val="tx1"/>
                    </a:gs>
                    <a:gs pos="100000">
                      <a:schemeClr val="tx1"/>
                    </a:gs>
                  </a:gsLst>
                  <a:lin ang="5400000" scaled="0"/>
                </a:gradFill>
                <a:latin typeface="Segoe UI Light" pitchFamily="34" charset="0"/>
              </a:defRPr>
            </a:lvl1pPr>
          </a:lstStyle>
          <a:p>
            <a:pPr lvl="0"/>
            <a:r>
              <a:rPr lang="en-US"/>
              <a:t>Click to edit title style</a:t>
            </a:r>
          </a:p>
        </p:txBody>
      </p:sp>
      <p:pic>
        <p:nvPicPr>
          <p:cNvPr id="3" name="Picture 2" descr="Microsoft logo and tagline"/>
          <p:cNvPicPr>
            <a:picLocks noChangeAspect="1" noChangeArrowheads="1"/>
          </p:cNvPicPr>
          <p:nvPr userDrawn="1"/>
        </p:nvPicPr>
        <p:blipFill rotWithShape="1">
          <a:blip r:embed="rId2" cstate="screen">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a:ext>
            </a:extLst>
          </a:blip>
          <a:srcRect/>
          <a:stretch/>
        </p:blipFill>
        <p:spPr bwMode="black">
          <a:xfrm>
            <a:off x="10123378" y="6307016"/>
            <a:ext cx="1870134" cy="314448"/>
          </a:xfrm>
          <a:prstGeom prst="rect">
            <a:avLst/>
          </a:prstGeom>
          <a:noFill/>
          <a:ln>
            <a:noFill/>
          </a:ln>
        </p:spPr>
      </p:pic>
      <p:sp>
        <p:nvSpPr>
          <p:cNvPr id="4" name="Text Placeholder 8"/>
          <p:cNvSpPr>
            <a:spLocks noGrp="1"/>
          </p:cNvSpPr>
          <p:nvPr>
            <p:ph type="body" sz="quarter" idx="11" hasCustomPrompt="1"/>
          </p:nvPr>
        </p:nvSpPr>
        <p:spPr>
          <a:xfrm>
            <a:off x="512896" y="3219166"/>
            <a:ext cx="7515595" cy="636777"/>
          </a:xfrm>
        </p:spPr>
        <p:txBody>
          <a:bodyPr/>
          <a:lstStyle>
            <a:lvl1pPr marL="0" indent="0">
              <a:buNone/>
              <a:defRPr lang="en-US" sz="3200" kern="1200" spc="-100" baseline="0" dirty="0">
                <a:gradFill>
                  <a:gsLst>
                    <a:gs pos="0">
                      <a:schemeClr val="tx1"/>
                    </a:gs>
                    <a:gs pos="100000">
                      <a:schemeClr val="tx1"/>
                    </a:gs>
                  </a:gsLst>
                  <a:lin ang="5400000" scaled="0"/>
                </a:gradFill>
                <a:latin typeface="Segoe UI Light" pitchFamily="34" charset="0"/>
                <a:ea typeface="+mn-ea"/>
                <a:cs typeface="+mn-cs"/>
              </a:defRPr>
            </a:lvl1pPr>
          </a:lstStyle>
          <a:p>
            <a:pPr marL="0" lvl="0" indent="0" algn="l" defTabSz="914188" rtl="0" eaLnBrk="1" latinLnBrk="0" hangingPunct="1">
              <a:lnSpc>
                <a:spcPct val="90000"/>
              </a:lnSpc>
              <a:spcBef>
                <a:spcPct val="20000"/>
              </a:spcBef>
              <a:buSzPct val="90000"/>
              <a:buFont typeface="Arial" pitchFamily="34" charset="0"/>
              <a:buNone/>
            </a:pPr>
            <a:r>
              <a:rPr lang="en-US"/>
              <a:t>Speaker Title</a:t>
            </a:r>
          </a:p>
        </p:txBody>
      </p:sp>
    </p:spTree>
    <p:extLst>
      <p:ext uri="{BB962C8B-B14F-4D97-AF65-F5344CB8AC3E}">
        <p14:creationId xmlns:p14="http://schemas.microsoft.com/office/powerpoint/2010/main" val="13921244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5998"/>
            </a:lvl1pPr>
          </a:lstStyle>
          <a:p>
            <a:r>
              <a:rPr lang="en-US"/>
              <a:t>Click to edit Master title style</a:t>
            </a:r>
          </a:p>
        </p:txBody>
      </p:sp>
      <p:sp>
        <p:nvSpPr>
          <p:cNvPr id="3" name="Subtitle 2"/>
          <p:cNvSpPr>
            <a:spLocks noGrp="1"/>
          </p:cNvSpPr>
          <p:nvPr>
            <p:ph type="subTitle" idx="1"/>
          </p:nvPr>
        </p:nvSpPr>
        <p:spPr>
          <a:xfrm>
            <a:off x="1524000" y="3602038"/>
            <a:ext cx="9144000" cy="513510"/>
          </a:xfrm>
        </p:spPr>
        <p:txBody>
          <a:bodyPr/>
          <a:lstStyle>
            <a:lvl1pPr marL="0" indent="0" algn="ctr">
              <a:buNone/>
              <a:defRPr sz="2400"/>
            </a:lvl1pPr>
            <a:lvl2pPr marL="457112" indent="0" algn="ctr">
              <a:buNone/>
              <a:defRPr sz="2000"/>
            </a:lvl2pPr>
            <a:lvl3pPr marL="914225" indent="0" algn="ctr">
              <a:buNone/>
              <a:defRPr sz="1800"/>
            </a:lvl3pPr>
            <a:lvl4pPr marL="1371337" indent="0" algn="ctr">
              <a:buNone/>
              <a:defRPr sz="1600"/>
            </a:lvl4pPr>
            <a:lvl5pPr marL="1828449" indent="0" algn="ctr">
              <a:buNone/>
              <a:defRPr sz="1600"/>
            </a:lvl5pPr>
            <a:lvl6pPr marL="2285561" indent="0" algn="ctr">
              <a:buNone/>
              <a:defRPr sz="1600"/>
            </a:lvl6pPr>
            <a:lvl7pPr marL="2742674" indent="0" algn="ctr">
              <a:buNone/>
              <a:defRPr sz="1600"/>
            </a:lvl7pPr>
            <a:lvl8pPr marL="3199785" indent="0" algn="ctr">
              <a:buNone/>
              <a:defRPr sz="1600"/>
            </a:lvl8pPr>
            <a:lvl9pPr marL="3656897" indent="0" algn="ctr">
              <a:buNone/>
              <a:defRPr sz="1600"/>
            </a:lvl9pPr>
          </a:lstStyle>
          <a:p>
            <a:r>
              <a:rPr lang="en-US"/>
              <a:t>Click to edit Master subtitle style</a:t>
            </a:r>
          </a:p>
        </p:txBody>
      </p:sp>
      <p:sp>
        <p:nvSpPr>
          <p:cNvPr id="4" name="Date Placeholder 3"/>
          <p:cNvSpPr>
            <a:spLocks noGrp="1"/>
          </p:cNvSpPr>
          <p:nvPr>
            <p:ph type="dt" sz="half" idx="10"/>
          </p:nvPr>
        </p:nvSpPr>
        <p:spPr>
          <a:xfrm>
            <a:off x="838201" y="6356351"/>
            <a:ext cx="2743200" cy="365125"/>
          </a:xfrm>
          <a:prstGeom prst="rect">
            <a:avLst/>
          </a:prstGeom>
        </p:spPr>
        <p:txBody>
          <a:bodyPr/>
          <a:lstStyle/>
          <a:p>
            <a:pPr defTabSz="914367"/>
            <a:fld id="{B5953AD0-7361-4755-9F16-790BE48104A3}" type="datetimeFigureOut">
              <a:rPr lang="en-US" smtClean="0">
                <a:solidFill>
                  <a:srgbClr val="FFFFFF"/>
                </a:solidFill>
              </a:rPr>
              <a:pPr defTabSz="914367"/>
              <a:t>11/24/2020</a:t>
            </a:fld>
            <a:endParaRPr lang="en-US">
              <a:solidFill>
                <a:srgbClr val="FFFFFF"/>
              </a:solidFill>
            </a:endParaRPr>
          </a:p>
        </p:txBody>
      </p:sp>
      <p:sp>
        <p:nvSpPr>
          <p:cNvPr id="5" name="Footer Placeholder 4"/>
          <p:cNvSpPr>
            <a:spLocks noGrp="1"/>
          </p:cNvSpPr>
          <p:nvPr>
            <p:ph type="ftr" sz="quarter" idx="11"/>
          </p:nvPr>
        </p:nvSpPr>
        <p:spPr>
          <a:xfrm>
            <a:off x="4038600" y="6356351"/>
            <a:ext cx="4114800" cy="365125"/>
          </a:xfrm>
          <a:prstGeom prst="rect">
            <a:avLst/>
          </a:prstGeom>
        </p:spPr>
        <p:txBody>
          <a:bodyPr/>
          <a:lstStyle/>
          <a:p>
            <a:pPr defTabSz="914367"/>
            <a:endParaRPr lang="en-US">
              <a:solidFill>
                <a:srgbClr val="FFFFFF"/>
              </a:solidFill>
            </a:endParaRPr>
          </a:p>
        </p:txBody>
      </p:sp>
      <p:sp>
        <p:nvSpPr>
          <p:cNvPr id="6" name="Slide Number Placeholder 5"/>
          <p:cNvSpPr>
            <a:spLocks noGrp="1"/>
          </p:cNvSpPr>
          <p:nvPr>
            <p:ph type="sldNum" sz="quarter" idx="12"/>
          </p:nvPr>
        </p:nvSpPr>
        <p:spPr>
          <a:xfrm>
            <a:off x="8610600" y="6356351"/>
            <a:ext cx="2743200" cy="365125"/>
          </a:xfrm>
          <a:prstGeom prst="rect">
            <a:avLst/>
          </a:prstGeom>
        </p:spPr>
        <p:txBody>
          <a:bodyPr/>
          <a:lstStyle/>
          <a:p>
            <a:pPr defTabSz="914367"/>
            <a:fld id="{5B3722D1-D77E-41ED-9FC0-BA6608D9DD8F}" type="slidenum">
              <a:rPr lang="en-US" smtClean="0">
                <a:solidFill>
                  <a:srgbClr val="FFFFFF"/>
                </a:solidFill>
              </a:rPr>
              <a:pPr defTabSz="914367"/>
              <a:t>‹#›</a:t>
            </a:fld>
            <a:endParaRPr lang="en-US">
              <a:solidFill>
                <a:srgbClr val="FFFFFF"/>
              </a:solidFill>
            </a:endParaRPr>
          </a:p>
        </p:txBody>
      </p:sp>
    </p:spTree>
    <p:extLst>
      <p:ext uri="{BB962C8B-B14F-4D97-AF65-F5344CB8AC3E}">
        <p14:creationId xmlns:p14="http://schemas.microsoft.com/office/powerpoint/2010/main" val="15177810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F0A64F4F-C3FD-4B07-8005-E28FB1175600}" type="datetimeFigureOut">
              <a:rPr lang="en-US" smtClean="0">
                <a:solidFill>
                  <a:prstClr val="black">
                    <a:tint val="75000"/>
                  </a:prstClr>
                </a:solidFill>
              </a:rPr>
              <a:pPr/>
              <a:t>11/24/2020</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07719076-B1CF-409C-978B-753F218D81C3}"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8617753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losing Slide">
    <p:bg>
      <p:bgPr>
        <a:solidFill>
          <a:srgbClr val="000000"/>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5121"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pic>
        <p:nvPicPr>
          <p:cNvPr id="6" name="Picture 5"/>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bwMode="invGray">
          <a:xfrm>
            <a:off x="450202" y="3083653"/>
            <a:ext cx="3223861" cy="690695"/>
          </a:xfrm>
          <a:prstGeom prst="rect">
            <a:avLst/>
          </a:prstGeom>
        </p:spPr>
      </p:pic>
    </p:spTree>
    <p:extLst>
      <p:ext uri="{BB962C8B-B14F-4D97-AF65-F5344CB8AC3E}">
        <p14:creationId xmlns:p14="http://schemas.microsoft.com/office/powerpoint/2010/main" val="6681411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F0A64F4F-C3FD-4B07-8005-E28FB1175600}" type="datetimeFigureOut">
              <a:rPr lang="en-US" smtClean="0">
                <a:solidFill>
                  <a:prstClr val="black">
                    <a:tint val="75000"/>
                  </a:prstClr>
                </a:solidFill>
              </a:rPr>
              <a:pPr/>
              <a:t>11/24/2020</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07719076-B1CF-409C-978B-753F218D81C3}"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4128495241"/>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F0A64F4F-C3FD-4B07-8005-E28FB1175600}" type="datetimeFigureOut">
              <a:rPr lang="en-US" smtClean="0">
                <a:solidFill>
                  <a:prstClr val="black">
                    <a:tint val="75000"/>
                  </a:prstClr>
                </a:solidFill>
              </a:rPr>
              <a:pPr/>
              <a:t>11/24/2020</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07719076-B1CF-409C-978B-753F218D81C3}"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234797351"/>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F0A64F4F-C3FD-4B07-8005-E28FB1175600}" type="datetimeFigureOut">
              <a:rPr lang="en-US" smtClean="0">
                <a:solidFill>
                  <a:prstClr val="black">
                    <a:tint val="75000"/>
                  </a:prstClr>
                </a:solidFill>
              </a:rPr>
              <a:pPr/>
              <a:t>11/24/2020</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07719076-B1CF-409C-978B-753F218D81C3}"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681099765"/>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F0A64F4F-C3FD-4B07-8005-E28FB1175600}" type="datetimeFigureOut">
              <a:rPr lang="en-US" smtClean="0">
                <a:solidFill>
                  <a:prstClr val="black">
                    <a:tint val="75000"/>
                  </a:prstClr>
                </a:solidFill>
              </a:rPr>
              <a:pPr/>
              <a:t>11/24/2020</a:t>
            </a:fld>
            <a:endParaRPr lang="en-US">
              <a:solidFill>
                <a:prstClr val="black">
                  <a:tint val="75000"/>
                </a:prstClr>
              </a:solidFill>
            </a:endParaRPr>
          </a:p>
        </p:txBody>
      </p:sp>
      <p:sp>
        <p:nvSpPr>
          <p:cNvPr id="8" name="Footer Placeholder 7"/>
          <p:cNvSpPr>
            <a:spLocks noGrp="1"/>
          </p:cNvSpPr>
          <p:nvPr>
            <p:ph type="ftr" sz="quarter" idx="11"/>
          </p:nvPr>
        </p:nvSpPr>
        <p:spPr/>
        <p:txBody>
          <a:bodyPr/>
          <a:lstStyle/>
          <a:p>
            <a:endParaRPr lang="en-US">
              <a:solidFill>
                <a:prstClr val="black">
                  <a:tint val="75000"/>
                </a:prstClr>
              </a:solidFill>
            </a:endParaRPr>
          </a:p>
        </p:txBody>
      </p:sp>
      <p:sp>
        <p:nvSpPr>
          <p:cNvPr id="9" name="Slide Number Placeholder 8"/>
          <p:cNvSpPr>
            <a:spLocks noGrp="1"/>
          </p:cNvSpPr>
          <p:nvPr>
            <p:ph type="sldNum" sz="quarter" idx="12"/>
          </p:nvPr>
        </p:nvSpPr>
        <p:spPr/>
        <p:txBody>
          <a:bodyPr/>
          <a:lstStyle/>
          <a:p>
            <a:fld id="{07719076-B1CF-409C-978B-753F218D81C3}"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4212370657"/>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F0A64F4F-C3FD-4B07-8005-E28FB1175600}" type="datetimeFigureOut">
              <a:rPr lang="en-US" smtClean="0">
                <a:solidFill>
                  <a:prstClr val="black">
                    <a:tint val="75000"/>
                  </a:prstClr>
                </a:solidFill>
              </a:rPr>
              <a:pPr/>
              <a:t>11/24/2020</a:t>
            </a:fld>
            <a:endParaRPr lang="en-US">
              <a:solidFill>
                <a:prstClr val="black">
                  <a:tint val="75000"/>
                </a:prstClr>
              </a:solidFill>
            </a:endParaRPr>
          </a:p>
        </p:txBody>
      </p:sp>
      <p:sp>
        <p:nvSpPr>
          <p:cNvPr id="4" name="Footer Placeholder 3"/>
          <p:cNvSpPr>
            <a:spLocks noGrp="1"/>
          </p:cNvSpPr>
          <p:nvPr>
            <p:ph type="ftr" sz="quarter" idx="11"/>
          </p:nvPr>
        </p:nvSpPr>
        <p:spPr/>
        <p:txBody>
          <a:bodyPr/>
          <a:lstStyle/>
          <a:p>
            <a:endParaRPr lang="en-US">
              <a:solidFill>
                <a:prstClr val="black">
                  <a:tint val="75000"/>
                </a:prstClr>
              </a:solidFill>
            </a:endParaRPr>
          </a:p>
        </p:txBody>
      </p:sp>
      <p:sp>
        <p:nvSpPr>
          <p:cNvPr id="5" name="Slide Number Placeholder 4"/>
          <p:cNvSpPr>
            <a:spLocks noGrp="1"/>
          </p:cNvSpPr>
          <p:nvPr>
            <p:ph type="sldNum" sz="quarter" idx="12"/>
          </p:nvPr>
        </p:nvSpPr>
        <p:spPr/>
        <p:txBody>
          <a:bodyPr/>
          <a:lstStyle/>
          <a:p>
            <a:fld id="{07719076-B1CF-409C-978B-753F218D81C3}"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963154965"/>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F0A64F4F-C3FD-4B07-8005-E28FB1175600}" type="datetimeFigureOut">
              <a:rPr lang="en-US" smtClean="0">
                <a:solidFill>
                  <a:prstClr val="black">
                    <a:tint val="75000"/>
                  </a:prstClr>
                </a:solidFill>
              </a:rPr>
              <a:pPr/>
              <a:t>11/24/2020</a:t>
            </a:fld>
            <a:endParaRPr lang="en-US">
              <a:solidFill>
                <a:prstClr val="black">
                  <a:tint val="75000"/>
                </a:prstClr>
              </a:solidFill>
            </a:endParaRPr>
          </a:p>
        </p:txBody>
      </p:sp>
      <p:sp>
        <p:nvSpPr>
          <p:cNvPr id="3" name="Footer Placeholder 2"/>
          <p:cNvSpPr>
            <a:spLocks noGrp="1"/>
          </p:cNvSpPr>
          <p:nvPr>
            <p:ph type="ftr" sz="quarter" idx="11"/>
          </p:nvPr>
        </p:nvSpPr>
        <p:spPr/>
        <p:txBody>
          <a:bodyPr/>
          <a:lstStyle/>
          <a:p>
            <a:endParaRPr lang="en-US">
              <a:solidFill>
                <a:prstClr val="black">
                  <a:tint val="75000"/>
                </a:prstClr>
              </a:solidFill>
            </a:endParaRPr>
          </a:p>
        </p:txBody>
      </p:sp>
      <p:sp>
        <p:nvSpPr>
          <p:cNvPr id="4" name="Slide Number Placeholder 3"/>
          <p:cNvSpPr>
            <a:spLocks noGrp="1"/>
          </p:cNvSpPr>
          <p:nvPr>
            <p:ph type="sldNum" sz="quarter" idx="12"/>
          </p:nvPr>
        </p:nvSpPr>
        <p:spPr/>
        <p:txBody>
          <a:bodyPr/>
          <a:lstStyle/>
          <a:p>
            <a:fld id="{07719076-B1CF-409C-978B-753F218D81C3}"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601511986"/>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F0A64F4F-C3FD-4B07-8005-E28FB1175600}" type="datetimeFigureOut">
              <a:rPr lang="en-US" smtClean="0">
                <a:solidFill>
                  <a:prstClr val="black">
                    <a:tint val="75000"/>
                  </a:prstClr>
                </a:solidFill>
              </a:rPr>
              <a:pPr/>
              <a:t>11/24/2020</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07719076-B1CF-409C-978B-753F218D81C3}"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4252895933"/>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F0A64F4F-C3FD-4B07-8005-E28FB1175600}" type="datetimeFigureOut">
              <a:rPr lang="en-US" smtClean="0">
                <a:solidFill>
                  <a:prstClr val="black">
                    <a:tint val="75000"/>
                  </a:prstClr>
                </a:solidFill>
              </a:rPr>
              <a:pPr/>
              <a:t>11/24/2020</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07719076-B1CF-409C-978B-753F218D81C3}"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432394819"/>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F0A64F4F-C3FD-4B07-8005-E28FB1175600}" type="datetimeFigureOut">
              <a:rPr lang="en-US" smtClean="0">
                <a:solidFill>
                  <a:prstClr val="black">
                    <a:tint val="75000"/>
                  </a:prstClr>
                </a:solidFill>
              </a:rPr>
              <a:pPr/>
              <a:t>11/24/2020</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07719076-B1CF-409C-978B-753F218D81C3}"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411155985"/>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F0A64F4F-C3FD-4B07-8005-E28FB1175600}" type="datetimeFigureOut">
              <a:rPr lang="en-US" smtClean="0">
                <a:solidFill>
                  <a:prstClr val="black">
                    <a:tint val="75000"/>
                  </a:prstClr>
                </a:solidFill>
              </a:rPr>
              <a:pPr/>
              <a:t>11/24/2020</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07719076-B1CF-409C-978B-753F218D81C3}"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99770697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2_Title and Content">
    <p:spTree>
      <p:nvGrpSpPr>
        <p:cNvPr id="1" name=""/>
        <p:cNvGrpSpPr/>
        <p:nvPr/>
      </p:nvGrpSpPr>
      <p:grpSpPr>
        <a:xfrm>
          <a:off x="0" y="0"/>
          <a:ext cx="0" cy="0"/>
          <a:chOff x="0" y="0"/>
          <a:chExt cx="0" cy="0"/>
        </a:xfrm>
      </p:grpSpPr>
      <p:sp>
        <p:nvSpPr>
          <p:cNvPr id="6" name="Title 5"/>
          <p:cNvSpPr>
            <a:spLocks noGrp="1"/>
          </p:cNvSpPr>
          <p:nvPr>
            <p:ph type="title" hasCustomPrompt="1"/>
          </p:nvPr>
        </p:nvSpPr>
        <p:spPr>
          <a:xfrm>
            <a:off x="2975386" y="289511"/>
            <a:ext cx="9108056" cy="1503593"/>
          </a:xfrm>
        </p:spPr>
        <p:txBody>
          <a:bodyPr/>
          <a:lstStyle>
            <a:lvl1pPr>
              <a:defRPr baseline="0"/>
            </a:lvl1pPr>
          </a:lstStyle>
          <a:p>
            <a:r>
              <a:rPr lang="en-US"/>
              <a:t>Click to edit Master title style: second line</a:t>
            </a:r>
          </a:p>
        </p:txBody>
      </p:sp>
      <p:sp>
        <p:nvSpPr>
          <p:cNvPr id="7" name="Text Placeholder 5"/>
          <p:cNvSpPr>
            <a:spLocks noGrp="1"/>
          </p:cNvSpPr>
          <p:nvPr>
            <p:ph type="body" sz="quarter" idx="10"/>
          </p:nvPr>
        </p:nvSpPr>
        <p:spPr>
          <a:xfrm>
            <a:off x="2974849" y="1897702"/>
            <a:ext cx="9106244" cy="4632407"/>
          </a:xfrm>
        </p:spPr>
        <p:txBody>
          <a:bodyPr/>
          <a:lstStyle>
            <a:lvl1pPr marL="182845" indent="-182845">
              <a:buFont typeface="Arial" panose="020B0604020202020204" pitchFamily="34" charset="0"/>
              <a:buChar char="•"/>
              <a:defRPr>
                <a:gradFill>
                  <a:gsLst>
                    <a:gs pos="1250">
                      <a:schemeClr val="tx2"/>
                    </a:gs>
                    <a:gs pos="99000">
                      <a:schemeClr val="tx2"/>
                    </a:gs>
                  </a:gsLst>
                  <a:lin ang="5400000" scaled="0"/>
                </a:gradFill>
                <a:latin typeface="+mj-lt"/>
              </a:defRPr>
            </a:lvl1pPr>
            <a:lvl2pPr marL="365690" indent="-182845">
              <a:buFont typeface="Arial" panose="020B0604020202020204" pitchFamily="34" charset="0"/>
              <a:buChar char="•"/>
              <a:defRPr sz="2400">
                <a:latin typeface="+mj-lt"/>
              </a:defRPr>
            </a:lvl2pPr>
            <a:lvl3pPr marL="548535" indent="-182845">
              <a:buFont typeface="Arial" panose="020B0604020202020204" pitchFamily="34" charset="0"/>
              <a:buChar char="•"/>
              <a:defRPr sz="2000">
                <a:latin typeface="+mj-lt"/>
              </a:defRPr>
            </a:lvl3pPr>
            <a:lvl4pPr marL="733802" indent="-285695">
              <a:buFont typeface="Arial" panose="020B0604020202020204" pitchFamily="34" charset="0"/>
              <a:buChar char="•"/>
              <a:defRPr/>
            </a:lvl4pPr>
            <a:lvl5pPr marL="957856" indent="-285695">
              <a:buFont typeface="Arial" panose="020B0604020202020204" pitchFamily="34" charset="0"/>
              <a:buChar char="•"/>
              <a:defRPr/>
            </a:lvl5pPr>
          </a:lstStyle>
          <a:p>
            <a:pPr lvl="0"/>
            <a:r>
              <a:rPr lang="en-US"/>
              <a:t>Click to edit Master text styles</a:t>
            </a:r>
          </a:p>
          <a:p>
            <a:pPr lvl="1"/>
            <a:r>
              <a:rPr lang="en-US"/>
              <a:t>Second level</a:t>
            </a:r>
          </a:p>
          <a:p>
            <a:pPr lvl="2"/>
            <a:r>
              <a:rPr lang="en-US"/>
              <a:t>Third level</a:t>
            </a:r>
          </a:p>
        </p:txBody>
      </p:sp>
      <p:sp>
        <p:nvSpPr>
          <p:cNvPr id="4" name="TextBox 3"/>
          <p:cNvSpPr txBox="1"/>
          <p:nvPr userDrawn="1"/>
        </p:nvSpPr>
        <p:spPr>
          <a:xfrm>
            <a:off x="2171118" y="589830"/>
            <a:ext cx="1300504" cy="615609"/>
          </a:xfrm>
          <a:prstGeom prst="rect">
            <a:avLst/>
          </a:prstGeom>
          <a:noFill/>
        </p:spPr>
        <p:txBody>
          <a:bodyPr wrap="none" lIns="179285" tIns="143428" rIns="179285" bIns="143428" rtlCol="0">
            <a:spAutoFit/>
          </a:bodyPr>
          <a:lstStyle/>
          <a:p>
            <a:pPr algn="r" defTabSz="914367">
              <a:lnSpc>
                <a:spcPct val="90000"/>
              </a:lnSpc>
              <a:spcAft>
                <a:spcPts val="588"/>
              </a:spcAft>
            </a:pPr>
            <a:r>
              <a:rPr lang="en-US" sz="2353">
                <a:solidFill>
                  <a:srgbClr val="FFFFFF"/>
                </a:solidFill>
                <a:latin typeface="Segoe UI Light"/>
              </a:rPr>
              <a:t>Feature</a:t>
            </a:r>
          </a:p>
        </p:txBody>
      </p:sp>
    </p:spTree>
    <p:extLst>
      <p:ext uri="{BB962C8B-B14F-4D97-AF65-F5344CB8AC3E}">
        <p14:creationId xmlns:p14="http://schemas.microsoft.com/office/powerpoint/2010/main" val="34421607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l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5" name="Group 4"/>
          <p:cNvGrpSpPr>
            <a:grpSpLocks noChangeAspect="1"/>
          </p:cNvGrpSpPr>
          <p:nvPr userDrawn="1"/>
        </p:nvGrpSpPr>
        <p:grpSpPr bwMode="white">
          <a:xfrm>
            <a:off x="459102" y="470067"/>
            <a:ext cx="1419662" cy="304828"/>
            <a:chOff x="457200" y="1643393"/>
            <a:chExt cx="4492753" cy="964540"/>
          </a:xfrm>
        </p:grpSpPr>
        <p:pic>
          <p:nvPicPr>
            <p:cNvPr id="6" name="Picture 5"/>
            <p:cNvPicPr>
              <a:picLocks noChangeAspect="1"/>
            </p:cNvPicPr>
            <p:nvPr/>
          </p:nvPicPr>
          <p:blipFill>
            <a:blip r:embed="rId3"/>
            <a:stretch>
              <a:fillRect/>
            </a:stretch>
          </p:blipFill>
          <p:spPr bwMode="white">
            <a:xfrm>
              <a:off x="457200" y="1643393"/>
              <a:ext cx="964540" cy="964540"/>
            </a:xfrm>
            <a:prstGeom prst="rect">
              <a:avLst/>
            </a:prstGeom>
          </p:spPr>
        </p:pic>
        <p:sp>
          <p:nvSpPr>
            <p:cNvPr id="8" name="Freeform 12"/>
            <p:cNvSpPr>
              <a:spLocks noEditPoints="1"/>
            </p:cNvSpPr>
            <p:nvPr/>
          </p:nvSpPr>
          <p:spPr bwMode="white">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1675330852"/>
      </p:ext>
    </p:extLst>
  </p:cSld>
  <p:clrMapOvr>
    <a:masterClrMapping/>
  </p:clrMapOvr>
  <p:transition>
    <p:fade/>
  </p:transition>
  <p:extLst>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bg2"/>
        </a:solidFill>
        <a:effectLst/>
      </p:bgPr>
    </p:bg>
    <p:spTree>
      <p:nvGrpSpPr>
        <p:cNvPr id="1" name=""/>
        <p:cNvGrpSpPr/>
        <p:nvPr/>
      </p:nvGrpSpPr>
      <p:grpSpPr>
        <a:xfrm>
          <a:off x="0" y="0"/>
          <a:ext cx="0" cy="0"/>
          <a:chOff x="0" y="0"/>
          <a:chExt cx="0" cy="0"/>
        </a:xfrm>
      </p:grpSpPr>
      <p:sp>
        <p:nvSpPr>
          <p:cNvPr id="19" name="Rectangle 5"/>
          <p:cNvSpPr>
            <a:spLocks noChangeArrowheads="1"/>
          </p:cNvSpPr>
          <p:nvPr userDrawn="1"/>
        </p:nvSpPr>
        <p:spPr bwMode="auto">
          <a:xfrm>
            <a:off x="3113" y="4309988"/>
            <a:ext cx="12188887" cy="2551127"/>
          </a:xfrm>
          <a:prstGeom prst="rect">
            <a:avLst/>
          </a:prstGeom>
          <a:solidFill>
            <a:srgbClr val="4DA0E2"/>
          </a:solidFill>
          <a:ln>
            <a:noFill/>
          </a:ln>
        </p:spPr>
        <p:txBody>
          <a:bodyPr vert="horz" wrap="square" lIns="89642" tIns="44821" rIns="89642" bIns="44821" numCol="1" anchor="t" anchorCtr="0" compatLnSpc="1">
            <a:prstTxWarp prst="textNoShape">
              <a:avLst/>
            </a:prstTxWarp>
          </a:bodyPr>
          <a:lstStyle/>
          <a:p>
            <a:endParaRPr lang="en-US" sz="1765">
              <a:solidFill>
                <a:srgbClr val="FFFFFF"/>
              </a:solidFill>
              <a:latin typeface="Segoe UI"/>
            </a:endParaRPr>
          </a:p>
        </p:txBody>
      </p:sp>
      <p:sp>
        <p:nvSpPr>
          <p:cNvPr id="20" name="Rectangle 7"/>
          <p:cNvSpPr>
            <a:spLocks noChangeArrowheads="1"/>
          </p:cNvSpPr>
          <p:nvPr userDrawn="1"/>
        </p:nvSpPr>
        <p:spPr bwMode="auto">
          <a:xfrm>
            <a:off x="1" y="5729528"/>
            <a:ext cx="12188888" cy="1131586"/>
          </a:xfrm>
          <a:prstGeom prst="rect">
            <a:avLst/>
          </a:prstGeom>
          <a:solidFill>
            <a:srgbClr val="00188F"/>
          </a:solidFill>
          <a:ln>
            <a:noFill/>
          </a:ln>
        </p:spPr>
        <p:txBody>
          <a:bodyPr vert="horz" wrap="square" lIns="89642" tIns="44821" rIns="89642" bIns="44821" numCol="1" anchor="t" anchorCtr="0" compatLnSpc="1">
            <a:prstTxWarp prst="textNoShape">
              <a:avLst/>
            </a:prstTxWarp>
          </a:bodyPr>
          <a:lstStyle/>
          <a:p>
            <a:endParaRPr lang="en-US" sz="1765">
              <a:solidFill>
                <a:srgbClr val="FFFFFF"/>
              </a:solidFill>
              <a:latin typeface="Segoe UI"/>
            </a:endParaRPr>
          </a:p>
        </p:txBody>
      </p:sp>
      <p:sp>
        <p:nvSpPr>
          <p:cNvPr id="21" name="Rectangle 8"/>
          <p:cNvSpPr>
            <a:spLocks noChangeArrowheads="1"/>
          </p:cNvSpPr>
          <p:nvPr userDrawn="1"/>
        </p:nvSpPr>
        <p:spPr bwMode="auto">
          <a:xfrm>
            <a:off x="3113" y="3343392"/>
            <a:ext cx="12185777" cy="277059"/>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solidFill>
                <a:srgbClr val="FFFFFF"/>
              </a:solidFill>
              <a:latin typeface="Segoe UI"/>
            </a:endParaRPr>
          </a:p>
        </p:txBody>
      </p:sp>
      <p:sp>
        <p:nvSpPr>
          <p:cNvPr id="22" name="Rectangle 21"/>
          <p:cNvSpPr/>
          <p:nvPr userDrawn="1"/>
        </p:nvSpPr>
        <p:spPr bwMode="white">
          <a:xfrm>
            <a:off x="0" y="-312"/>
            <a:ext cx="12191377" cy="6858623"/>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3" name="Rectangle 6"/>
          <p:cNvSpPr>
            <a:spLocks noChangeArrowheads="1"/>
          </p:cNvSpPr>
          <p:nvPr userDrawn="1"/>
        </p:nvSpPr>
        <p:spPr bwMode="auto">
          <a:xfrm>
            <a:off x="3113" y="4309988"/>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solidFill>
                <a:srgbClr val="FFFFFF"/>
              </a:solidFill>
              <a:latin typeface="Segoe UI"/>
            </a:endParaRPr>
          </a:p>
        </p:txBody>
      </p:sp>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a:t>Speaker name</a:t>
            </a:r>
          </a:p>
        </p:txBody>
      </p:sp>
      <p:grpSp>
        <p:nvGrpSpPr>
          <p:cNvPr id="7" name="Group 6"/>
          <p:cNvGrpSpPr>
            <a:grpSpLocks noChangeAspect="1"/>
          </p:cNvGrpSpPr>
          <p:nvPr userDrawn="1"/>
        </p:nvGrpSpPr>
        <p:grpSpPr bwMode="black">
          <a:xfrm>
            <a:off x="459102" y="470067"/>
            <a:ext cx="1419662" cy="304828"/>
            <a:chOff x="457200" y="1643393"/>
            <a:chExt cx="4492753" cy="964540"/>
          </a:xfrm>
        </p:grpSpPr>
        <p:pic>
          <p:nvPicPr>
            <p:cNvPr id="8" name="Picture 7"/>
            <p:cNvPicPr>
              <a:picLocks noChangeAspect="1"/>
            </p:cNvPicPr>
            <p:nvPr/>
          </p:nvPicPr>
          <p:blipFill>
            <a:blip r:embed="rId2"/>
            <a:stretch>
              <a:fillRect/>
            </a:stretch>
          </p:blipFill>
          <p:spPr bwMode="black">
            <a:xfrm>
              <a:off x="457200" y="1643393"/>
              <a:ext cx="964540" cy="964540"/>
            </a:xfrm>
            <a:prstGeom prst="rect">
              <a:avLst/>
            </a:prstGeom>
          </p:spPr>
        </p:pic>
        <p:sp>
          <p:nvSpPr>
            <p:cNvPr id="10"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209108582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2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9"/>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2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22"/>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4.96142E-6 L -4.34261E-6 4.9614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2.42851E-6 L -3.02783E-6 2.42851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7"/>
                                        </p:tgtEl>
                                        <p:attrNameLst>
                                          <p:attrName>style.visibility</p:attrName>
                                        </p:attrNameLst>
                                      </p:cBhvr>
                                      <p:to>
                                        <p:strVal val="visible"/>
                                      </p:to>
                                    </p:set>
                                    <p:animEffect transition="in" filter="fade">
                                      <p:cBhvr>
                                        <p:cTn id="29" dur="950"/>
                                        <p:tgtEl>
                                          <p:spTgt spid="7"/>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7"/>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7"/>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animBg="1"/>
      <p:bldP spid="20" grpId="0" animBg="1"/>
      <p:bldP spid="21" grpId="0" animBg="1"/>
      <p:bldP spid="22" grpId="0" animBg="1"/>
      <p:bldP spid="9" grpId="0"/>
      <p:bldP spid="9" grpId="1"/>
      <p:bldP spid="9" grpId="2"/>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bldP spid="5" grpId="2"/>
    </p:bld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895458311"/>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25343497"/>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554822419"/>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7171399" cy="1158793"/>
          </a:xfrm>
          <a:noFill/>
        </p:spPr>
        <p:txBody>
          <a:bodyPr wrap="square"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Demo title</a:t>
            </a:r>
          </a:p>
        </p:txBody>
      </p:sp>
      <p:pic>
        <p:nvPicPr>
          <p:cNvPr id="6" name="Picture 5"/>
          <p:cNvPicPr>
            <a:picLocks noChangeAspect="1"/>
          </p:cNvPicPr>
          <p:nvPr userDrawn="1"/>
        </p:nvPicPr>
        <p:blipFill>
          <a:blip r:embed="rId2"/>
          <a:stretch>
            <a:fillRect/>
          </a:stretch>
        </p:blipFill>
        <p:spPr>
          <a:xfrm>
            <a:off x="7604953" y="298255"/>
            <a:ext cx="4322760" cy="6275864"/>
          </a:xfrm>
          <a:prstGeom prst="rect">
            <a:avLst/>
          </a:prstGeom>
        </p:spPr>
      </p:pic>
    </p:spTree>
    <p:extLst>
      <p:ext uri="{BB962C8B-B14F-4D97-AF65-F5344CB8AC3E}">
        <p14:creationId xmlns:p14="http://schemas.microsoft.com/office/powerpoint/2010/main" val="66090382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pic>
        <p:nvPicPr>
          <p:cNvPr id="5" name="Picture 4"/>
          <p:cNvPicPr>
            <a:picLocks noChangeAspect="1"/>
          </p:cNvPicPr>
          <p:nvPr userDrawn="1"/>
        </p:nvPicPr>
        <p:blipFill>
          <a:blip r:embed="rId2"/>
          <a:stretch>
            <a:fillRect/>
          </a:stretch>
        </p:blipFill>
        <p:spPr>
          <a:xfrm>
            <a:off x="0" y="3727850"/>
            <a:ext cx="12192000" cy="2930682"/>
          </a:xfrm>
          <a:prstGeom prst="rect">
            <a:avLst/>
          </a:prstGeom>
        </p:spPr>
      </p:pic>
    </p:spTree>
    <p:extLst>
      <p:ext uri="{BB962C8B-B14F-4D97-AF65-F5344CB8AC3E}">
        <p14:creationId xmlns:p14="http://schemas.microsoft.com/office/powerpoint/2010/main" val="422060494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18299460"/>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Q&amp;A">
    <p:bg>
      <p:bgPr>
        <a:solidFill>
          <a:schemeClr val="bg2"/>
        </a:solidFill>
        <a:effectLst/>
      </p:bgPr>
    </p:bg>
    <p:spTree>
      <p:nvGrpSpPr>
        <p:cNvPr id="1" name=""/>
        <p:cNvGrpSpPr/>
        <p:nvPr/>
      </p:nvGrpSpPr>
      <p:grpSpPr>
        <a:xfrm>
          <a:off x="0" y="0"/>
          <a:ext cx="0" cy="0"/>
          <a:chOff x="0" y="0"/>
          <a:chExt cx="0" cy="0"/>
        </a:xfrm>
      </p:grpSpPr>
      <p:sp>
        <p:nvSpPr>
          <p:cNvPr id="3" name="Title 3"/>
          <p:cNvSpPr txBox="1">
            <a:spLocks/>
          </p:cNvSpPr>
          <p:nvPr userDrawn="1"/>
        </p:nvSpPr>
        <p:spPr>
          <a:xfrm>
            <a:off x="269239" y="1337653"/>
            <a:ext cx="11653523" cy="1796217"/>
          </a:xfrm>
          <a:prstGeom prst="rect">
            <a:avLst/>
          </a:prstGeom>
        </p:spPr>
        <p:txBody>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US" sz="11273" b="0" i="0" u="none" strike="noStrike" kern="1200" cap="none" spc="-100" normalizeH="0" baseline="0" noProof="0">
                <a:ln w="3175">
                  <a:noFill/>
                </a:ln>
                <a:gradFill>
                  <a:gsLst>
                    <a:gs pos="1250">
                      <a:srgbClr val="FFFFFF"/>
                    </a:gs>
                    <a:gs pos="100000">
                      <a:srgbClr val="FFFFFF"/>
                    </a:gs>
                  </a:gsLst>
                  <a:lin ang="5400000" scaled="0"/>
                </a:gradFill>
                <a:effectLst/>
                <a:uLnTx/>
                <a:uFillTx/>
                <a:latin typeface="Segoe UI Light"/>
                <a:ea typeface="+mn-ea"/>
                <a:cs typeface="Segoe UI" pitchFamily="34" charset="0"/>
              </a:rPr>
              <a:t>Q&amp;A</a:t>
            </a:r>
          </a:p>
        </p:txBody>
      </p:sp>
      <p:pic>
        <p:nvPicPr>
          <p:cNvPr id="4" name="Picture 3"/>
          <p:cNvPicPr>
            <a:picLocks noChangeAspect="1"/>
          </p:cNvPicPr>
          <p:nvPr userDrawn="1"/>
        </p:nvPicPr>
        <p:blipFill>
          <a:blip r:embed="rId2"/>
          <a:stretch>
            <a:fillRect/>
          </a:stretch>
        </p:blipFill>
        <p:spPr>
          <a:xfrm>
            <a:off x="623" y="3343634"/>
            <a:ext cx="12191377" cy="3043622"/>
          </a:xfrm>
          <a:prstGeom prst="rect">
            <a:avLst/>
          </a:prstGeom>
        </p:spPr>
      </p:pic>
    </p:spTree>
    <p:extLst>
      <p:ext uri="{BB962C8B-B14F-4D97-AF65-F5344CB8AC3E}">
        <p14:creationId xmlns:p14="http://schemas.microsoft.com/office/powerpoint/2010/main" val="148665455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1_Blank Accent Color 1">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6533201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sp>
        <p:nvSpPr>
          <p:cNvPr id="6" name="Title 5"/>
          <p:cNvSpPr>
            <a:spLocks noGrp="1"/>
          </p:cNvSpPr>
          <p:nvPr>
            <p:ph type="title" hasCustomPrompt="1"/>
          </p:nvPr>
        </p:nvSpPr>
        <p:spPr>
          <a:xfrm>
            <a:off x="2975386" y="289511"/>
            <a:ext cx="9108056" cy="1503593"/>
          </a:xfrm>
        </p:spPr>
        <p:txBody>
          <a:bodyPr/>
          <a:lstStyle>
            <a:lvl1pPr>
              <a:defRPr baseline="0"/>
            </a:lvl1pPr>
          </a:lstStyle>
          <a:p>
            <a:r>
              <a:rPr lang="en-US"/>
              <a:t>Click to edit Master title style: second line</a:t>
            </a:r>
          </a:p>
        </p:txBody>
      </p:sp>
      <p:sp>
        <p:nvSpPr>
          <p:cNvPr id="7" name="Text Placeholder 5"/>
          <p:cNvSpPr>
            <a:spLocks noGrp="1"/>
          </p:cNvSpPr>
          <p:nvPr>
            <p:ph type="body" sz="quarter" idx="10"/>
          </p:nvPr>
        </p:nvSpPr>
        <p:spPr>
          <a:xfrm>
            <a:off x="2974849" y="1897702"/>
            <a:ext cx="4969616" cy="4632407"/>
          </a:xfrm>
        </p:spPr>
        <p:txBody>
          <a:bodyPr/>
          <a:lstStyle>
            <a:lvl1pPr marL="182845" indent="-182845">
              <a:buFont typeface="Arial" panose="020B0604020202020204" pitchFamily="34" charset="0"/>
              <a:buChar char="•"/>
              <a:defRPr>
                <a:gradFill>
                  <a:gsLst>
                    <a:gs pos="1250">
                      <a:schemeClr val="tx2"/>
                    </a:gs>
                    <a:gs pos="99000">
                      <a:schemeClr val="tx2"/>
                    </a:gs>
                  </a:gsLst>
                  <a:lin ang="5400000" scaled="0"/>
                </a:gradFill>
                <a:latin typeface="+mj-lt"/>
              </a:defRPr>
            </a:lvl1pPr>
            <a:lvl2pPr marL="406400" indent="-182563">
              <a:buFont typeface="Segoe UI Light" panose="020B0502040204020203" pitchFamily="34" charset="0"/>
              <a:buChar char="−"/>
              <a:defRPr sz="3200">
                <a:latin typeface="+mj-lt"/>
              </a:defRPr>
            </a:lvl2pPr>
            <a:lvl3pPr marL="635000" indent="-182563">
              <a:buFont typeface="Courier New" panose="02070309020205020404" pitchFamily="49" charset="0"/>
              <a:buChar char="o"/>
              <a:defRPr sz="2800">
                <a:latin typeface="+mj-lt"/>
              </a:defRPr>
            </a:lvl3pPr>
            <a:lvl4pPr marL="733802" indent="-285695">
              <a:buFont typeface="Arial" panose="020B0604020202020204" pitchFamily="34" charset="0"/>
              <a:buChar char="•"/>
              <a:defRPr/>
            </a:lvl4pPr>
            <a:lvl5pPr marL="957856" indent="-285695">
              <a:buFont typeface="Arial" panose="020B0604020202020204" pitchFamily="34" charset="0"/>
              <a:buChar char="•"/>
              <a:defRPr/>
            </a:lvl5pPr>
          </a:lstStyle>
          <a:p>
            <a:pPr lvl="0"/>
            <a:r>
              <a:rPr lang="en-US"/>
              <a:t>Click to edit Master text styles</a:t>
            </a:r>
          </a:p>
          <a:p>
            <a:pPr lvl="1"/>
            <a:r>
              <a:rPr lang="en-US"/>
              <a:t>Second level</a:t>
            </a:r>
          </a:p>
          <a:p>
            <a:pPr lvl="2"/>
            <a:r>
              <a:rPr lang="en-US"/>
              <a:t>Third level</a:t>
            </a:r>
          </a:p>
        </p:txBody>
      </p:sp>
      <p:sp>
        <p:nvSpPr>
          <p:cNvPr id="4" name="TextBox 3"/>
          <p:cNvSpPr txBox="1"/>
          <p:nvPr userDrawn="1"/>
        </p:nvSpPr>
        <p:spPr>
          <a:xfrm>
            <a:off x="2171118" y="589830"/>
            <a:ext cx="1300504" cy="615609"/>
          </a:xfrm>
          <a:prstGeom prst="rect">
            <a:avLst/>
          </a:prstGeom>
          <a:noFill/>
        </p:spPr>
        <p:txBody>
          <a:bodyPr wrap="none" lIns="179285" tIns="143428" rIns="179285" bIns="143428" rtlCol="0">
            <a:spAutoFit/>
          </a:bodyPr>
          <a:lstStyle/>
          <a:p>
            <a:pPr algn="r" defTabSz="914367">
              <a:lnSpc>
                <a:spcPct val="90000"/>
              </a:lnSpc>
              <a:spcAft>
                <a:spcPts val="588"/>
              </a:spcAft>
            </a:pPr>
            <a:r>
              <a:rPr lang="en-US" sz="2353">
                <a:solidFill>
                  <a:srgbClr val="FFFFFF"/>
                </a:solidFill>
                <a:latin typeface="Segoe UI Light"/>
              </a:rPr>
              <a:t>Feature</a:t>
            </a:r>
          </a:p>
        </p:txBody>
      </p:sp>
      <p:sp>
        <p:nvSpPr>
          <p:cNvPr id="5" name="Picture Placeholder 6"/>
          <p:cNvSpPr>
            <a:spLocks noGrp="1"/>
          </p:cNvSpPr>
          <p:nvPr>
            <p:ph type="pic" sz="quarter" idx="12" hasCustomPrompt="1"/>
          </p:nvPr>
        </p:nvSpPr>
        <p:spPr>
          <a:xfrm>
            <a:off x="8096277" y="2376546"/>
            <a:ext cx="3492285" cy="3893625"/>
          </a:xfrm>
          <a:ln w="152400">
            <a:noFill/>
          </a:ln>
        </p:spPr>
        <p:txBody>
          <a:bodyPr/>
          <a:lstStyle>
            <a:lvl1pPr marL="0" indent="0">
              <a:buNone/>
              <a:defRPr>
                <a:solidFill>
                  <a:schemeClr val="accent1"/>
                </a:solidFill>
              </a:defRPr>
            </a:lvl1pPr>
          </a:lstStyle>
          <a:p>
            <a:r>
              <a:rPr lang="en-US"/>
              <a:t>Screen shot or image here</a:t>
            </a:r>
          </a:p>
        </p:txBody>
      </p:sp>
    </p:spTree>
    <p:extLst>
      <p:ext uri="{BB962C8B-B14F-4D97-AF65-F5344CB8AC3E}">
        <p14:creationId xmlns:p14="http://schemas.microsoft.com/office/powerpoint/2010/main" val="1196017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bg2"/>
        </a:solidFill>
        <a:effectLst/>
      </p:bgPr>
    </p:bg>
    <p:spTree>
      <p:nvGrpSpPr>
        <p:cNvPr id="1" name=""/>
        <p:cNvGrpSpPr/>
        <p:nvPr/>
      </p:nvGrpSpPr>
      <p:grpSpPr>
        <a:xfrm>
          <a:off x="0" y="0"/>
          <a:ext cx="0" cy="0"/>
          <a:chOff x="0" y="0"/>
          <a:chExt cx="0" cy="0"/>
        </a:xfrm>
      </p:grpSpPr>
      <p:grpSp>
        <p:nvGrpSpPr>
          <p:cNvPr id="5" name="Group 4"/>
          <p:cNvGrpSpPr>
            <a:grpSpLocks noChangeAspect="1"/>
          </p:cNvGrpSpPr>
          <p:nvPr userDrawn="1"/>
        </p:nvGrpSpPr>
        <p:grpSpPr bwMode="black">
          <a:xfrm>
            <a:off x="459102" y="470067"/>
            <a:ext cx="1419662" cy="304828"/>
            <a:chOff x="457200" y="1643393"/>
            <a:chExt cx="4492753" cy="964540"/>
          </a:xfrm>
        </p:grpSpPr>
        <p:pic>
          <p:nvPicPr>
            <p:cNvPr id="6" name="Picture 5"/>
            <p:cNvPicPr>
              <a:picLocks noChangeAspect="1"/>
            </p:cNvPicPr>
            <p:nvPr/>
          </p:nvPicPr>
          <p:blipFill>
            <a:blip r:embed="rId2"/>
            <a:stretch>
              <a:fillRect/>
            </a:stretch>
          </p:blipFill>
          <p:spPr bwMode="black">
            <a:xfrm>
              <a:off x="457200" y="1643393"/>
              <a:ext cx="964540" cy="964540"/>
            </a:xfrm>
            <a:prstGeom prst="rect">
              <a:avLst/>
            </a:prstGeom>
          </p:spPr>
        </p:pic>
        <p:sp>
          <p:nvSpPr>
            <p:cNvPr id="7"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a:p>
          </p:txBody>
        </p:sp>
      </p:grpSp>
      <p:sp>
        <p:nvSpPr>
          <p:cNvPr id="8"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81212579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userDrawn="1">
  <p:cSld name="1_Demo slid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7171399" cy="1158793"/>
          </a:xfrm>
          <a:noFill/>
        </p:spPr>
        <p:txBody>
          <a:bodyPr wrap="square" tIns="91440" bIns="91440" anchor="t" anchorCtr="0">
            <a:spAutoFit/>
          </a:bodyPr>
          <a:lstStyle>
            <a:lvl1pPr>
              <a:defRPr sz="7056"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1" y="3877277"/>
            <a:ext cx="7171399" cy="724246"/>
          </a:xfrm>
          <a:noFill/>
        </p:spPr>
        <p:txBody>
          <a:bodyPr wrap="square" lIns="182880" tIns="146304" rIns="182880" bIns="146304">
            <a:spAutoFit/>
          </a:bodyPr>
          <a:lstStyle>
            <a:lvl1pPr marL="0" indent="0">
              <a:spcBef>
                <a:spcPts val="0"/>
              </a:spcBef>
              <a:buNone/>
              <a:defRPr sz="3136" spc="0" baseline="0">
                <a:gradFill>
                  <a:gsLst>
                    <a:gs pos="0">
                      <a:schemeClr val="tx1"/>
                    </a:gs>
                    <a:gs pos="100000">
                      <a:schemeClr val="tx1"/>
                    </a:gs>
                  </a:gsLst>
                  <a:lin ang="5400000" scaled="0"/>
                </a:gradFill>
                <a:latin typeface="+mj-lt"/>
              </a:defRPr>
            </a:lvl1pPr>
          </a:lstStyle>
          <a:p>
            <a:pPr lvl="0"/>
            <a:r>
              <a:rPr lang="en-US"/>
              <a:t>Speaker Name</a:t>
            </a:r>
          </a:p>
        </p:txBody>
      </p:sp>
      <p:sp>
        <p:nvSpPr>
          <p:cNvPr id="4" name="TextBox 7"/>
          <p:cNvSpPr txBox="1"/>
          <p:nvPr userDrawn="1"/>
        </p:nvSpPr>
        <p:spPr bwMode="white">
          <a:xfrm>
            <a:off x="4362449"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pic>
        <p:nvPicPr>
          <p:cNvPr id="6" name="Picture 5"/>
          <p:cNvPicPr>
            <a:picLocks noChangeAspect="1"/>
          </p:cNvPicPr>
          <p:nvPr userDrawn="1"/>
        </p:nvPicPr>
        <p:blipFill>
          <a:blip r:embed="rId2"/>
          <a:stretch>
            <a:fillRect/>
          </a:stretch>
        </p:blipFill>
        <p:spPr>
          <a:xfrm>
            <a:off x="7604953" y="298255"/>
            <a:ext cx="4322760" cy="6275864"/>
          </a:xfrm>
          <a:prstGeom prst="rect">
            <a:avLst/>
          </a:prstGeom>
        </p:spPr>
      </p:pic>
    </p:spTree>
    <p:extLst>
      <p:ext uri="{BB962C8B-B14F-4D97-AF65-F5344CB8AC3E}">
        <p14:creationId xmlns:p14="http://schemas.microsoft.com/office/powerpoint/2010/main" val="308376306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Box 7"/>
          <p:cNvSpPr txBox="1"/>
          <p:nvPr userDrawn="1"/>
        </p:nvSpPr>
        <p:spPr bwMode="white">
          <a:xfrm>
            <a:off x="4362449"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478117910"/>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cSld name="2_Title and Content">
    <p:spTree>
      <p:nvGrpSpPr>
        <p:cNvPr id="1" name=""/>
        <p:cNvGrpSpPr/>
        <p:nvPr/>
      </p:nvGrpSpPr>
      <p:grpSpPr>
        <a:xfrm>
          <a:off x="0" y="0"/>
          <a:ext cx="0" cy="0"/>
          <a:chOff x="0" y="0"/>
          <a:chExt cx="0" cy="0"/>
        </a:xfrm>
      </p:grpSpPr>
      <p:sp>
        <p:nvSpPr>
          <p:cNvPr id="6" name="Title 5"/>
          <p:cNvSpPr>
            <a:spLocks noGrp="1"/>
          </p:cNvSpPr>
          <p:nvPr>
            <p:ph type="title" hasCustomPrompt="1"/>
          </p:nvPr>
        </p:nvSpPr>
        <p:spPr>
          <a:xfrm>
            <a:off x="2975387" y="289512"/>
            <a:ext cx="9108056" cy="1503593"/>
          </a:xfrm>
        </p:spPr>
        <p:txBody>
          <a:bodyPr/>
          <a:lstStyle>
            <a:lvl1pPr>
              <a:defRPr baseline="0"/>
            </a:lvl1pPr>
          </a:lstStyle>
          <a:p>
            <a:r>
              <a:rPr lang="en-US"/>
              <a:t>Click to edit Master title style: second line</a:t>
            </a:r>
          </a:p>
        </p:txBody>
      </p:sp>
      <p:sp>
        <p:nvSpPr>
          <p:cNvPr id="7" name="Text Placeholder 5"/>
          <p:cNvSpPr>
            <a:spLocks noGrp="1"/>
          </p:cNvSpPr>
          <p:nvPr>
            <p:ph type="body" sz="quarter" idx="10"/>
          </p:nvPr>
        </p:nvSpPr>
        <p:spPr>
          <a:xfrm>
            <a:off x="2974849" y="1897703"/>
            <a:ext cx="9106244" cy="1469113"/>
          </a:xfrm>
        </p:spPr>
        <p:txBody>
          <a:bodyPr/>
          <a:lstStyle>
            <a:lvl1pPr marL="182810" indent="-182810">
              <a:buFont typeface="Arial" panose="020B0604020202020204" pitchFamily="34" charset="0"/>
              <a:buChar char="•"/>
              <a:defRPr>
                <a:gradFill>
                  <a:gsLst>
                    <a:gs pos="1250">
                      <a:schemeClr val="tx2"/>
                    </a:gs>
                    <a:gs pos="99000">
                      <a:schemeClr val="tx2"/>
                    </a:gs>
                  </a:gsLst>
                  <a:lin ang="5400000" scaled="0"/>
                </a:gradFill>
                <a:latin typeface="+mj-lt"/>
              </a:defRPr>
            </a:lvl1pPr>
            <a:lvl2pPr marL="365620" indent="-182810">
              <a:buFont typeface="Arial" panose="020B0604020202020204" pitchFamily="34" charset="0"/>
              <a:buChar char="•"/>
              <a:defRPr sz="2400">
                <a:latin typeface="+mj-lt"/>
              </a:defRPr>
            </a:lvl2pPr>
            <a:lvl3pPr marL="548430" indent="-182810">
              <a:buFont typeface="Arial" panose="020B0604020202020204" pitchFamily="34" charset="0"/>
              <a:buChar char="•"/>
              <a:defRPr sz="2000">
                <a:latin typeface="+mj-lt"/>
              </a:defRPr>
            </a:lvl3pPr>
            <a:lvl4pPr marL="733661" indent="-285640">
              <a:buFont typeface="Arial" panose="020B0604020202020204" pitchFamily="34" charset="0"/>
              <a:buChar char="•"/>
              <a:defRPr/>
            </a:lvl4pPr>
            <a:lvl5pPr marL="957672" indent="-285640">
              <a:buFont typeface="Arial" panose="020B0604020202020204" pitchFamily="34" charset="0"/>
              <a:buChar char="•"/>
              <a:defRPr/>
            </a:lvl5pPr>
          </a:lstStyle>
          <a:p>
            <a:pPr lvl="0"/>
            <a:r>
              <a:rPr lang="en-US"/>
              <a:t>Click to edit Master text styles</a:t>
            </a:r>
          </a:p>
          <a:p>
            <a:pPr lvl="1"/>
            <a:r>
              <a:rPr lang="en-US"/>
              <a:t>Second level</a:t>
            </a:r>
          </a:p>
          <a:p>
            <a:pPr lvl="2"/>
            <a:r>
              <a:rPr lang="en-US"/>
              <a:t>Third level</a:t>
            </a:r>
          </a:p>
        </p:txBody>
      </p:sp>
      <p:sp>
        <p:nvSpPr>
          <p:cNvPr id="4" name="TextBox 3"/>
          <p:cNvSpPr txBox="1"/>
          <p:nvPr userDrawn="1"/>
        </p:nvSpPr>
        <p:spPr>
          <a:xfrm>
            <a:off x="2152302" y="589830"/>
            <a:ext cx="1319321" cy="622056"/>
          </a:xfrm>
          <a:prstGeom prst="rect">
            <a:avLst/>
          </a:prstGeom>
          <a:noFill/>
        </p:spPr>
        <p:txBody>
          <a:bodyPr wrap="none" lIns="179259" tIns="143407" rIns="179259" bIns="143407" rtlCol="0">
            <a:spAutoFit/>
          </a:bodyPr>
          <a:lstStyle/>
          <a:p>
            <a:pPr algn="r" defTabSz="914192">
              <a:lnSpc>
                <a:spcPct val="90000"/>
              </a:lnSpc>
              <a:spcAft>
                <a:spcPts val="588"/>
              </a:spcAft>
            </a:pPr>
            <a:r>
              <a:rPr lang="en-US" sz="2353">
                <a:solidFill>
                  <a:srgbClr val="FFFFFF"/>
                </a:solidFill>
                <a:latin typeface="Segoe UI Light"/>
              </a:rPr>
              <a:t>Feature</a:t>
            </a:r>
          </a:p>
        </p:txBody>
      </p:sp>
    </p:spTree>
    <p:extLst>
      <p:ext uri="{BB962C8B-B14F-4D97-AF65-F5344CB8AC3E}">
        <p14:creationId xmlns:p14="http://schemas.microsoft.com/office/powerpoint/2010/main" val="16133160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userDrawn="1">
  <p:cSld name="Blank Accent Color 2">
    <p:bg>
      <p:bgPr>
        <a:solidFill>
          <a:schemeClr val="accent2"/>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362449"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90939066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type="title" preserve="1">
  <p:cSld name="Presentation Title">
    <p:bg>
      <p:bgPr>
        <a:solidFill>
          <a:srgbClr val="EDC30D"/>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1488558" y="1776549"/>
            <a:ext cx="9788342" cy="2721023"/>
          </a:xfrm>
        </p:spPr>
        <p:txBody>
          <a:bodyPr/>
          <a:lstStyle>
            <a:lvl1pPr>
              <a:defRPr sz="6000">
                <a:solidFill>
                  <a:schemeClr val="tx1"/>
                </a:solidFill>
                <a:latin typeface="Segoe UI Semibold" panose="020B0702040204020203" pitchFamily="34" charset="0"/>
                <a:cs typeface="Segoe UI Semibold" panose="020B0702040204020203" pitchFamily="34" charset="0"/>
              </a:defRPr>
            </a:lvl1pPr>
          </a:lstStyle>
          <a:p>
            <a:r>
              <a:rPr lang="en-US"/>
              <a:t>Presentation title</a:t>
            </a:r>
          </a:p>
        </p:txBody>
      </p:sp>
      <p:sp>
        <p:nvSpPr>
          <p:cNvPr id="3" name="Subtitle 2"/>
          <p:cNvSpPr>
            <a:spLocks noGrp="1"/>
          </p:cNvSpPr>
          <p:nvPr>
            <p:ph type="subTitle" idx="1" hasCustomPrompt="1"/>
          </p:nvPr>
        </p:nvSpPr>
        <p:spPr>
          <a:xfrm>
            <a:off x="1488558" y="4749150"/>
            <a:ext cx="9788342" cy="1034782"/>
          </a:xfrm>
        </p:spPr>
        <p:txBody>
          <a:bodyPr/>
          <a:lstStyle>
            <a:lvl1pPr marL="0" indent="0" algn="l">
              <a:buNone/>
              <a:defRPr sz="2157">
                <a:solidFill>
                  <a:schemeClr val="tx1"/>
                </a:solidFill>
                <a:latin typeface="+mn-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en-US"/>
              <a:t>Speaker Name</a:t>
            </a:r>
            <a:br>
              <a:rPr lang="en-US"/>
            </a:br>
            <a:r>
              <a:rPr lang="en-US"/>
              <a:t>Date</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13939" y="199344"/>
            <a:ext cx="1527557" cy="556031"/>
          </a:xfrm>
          <a:prstGeom prst="rect">
            <a:avLst/>
          </a:prstGeom>
        </p:spPr>
      </p:pic>
    </p:spTree>
    <p:extLst>
      <p:ext uri="{BB962C8B-B14F-4D97-AF65-F5344CB8AC3E}">
        <p14:creationId xmlns:p14="http://schemas.microsoft.com/office/powerpoint/2010/main" val="40463477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Module Title">
    <p:bg>
      <p:bgPr>
        <a:solidFill>
          <a:srgbClr val="EDC30D"/>
        </a:solidFill>
        <a:effectLst/>
      </p:bgPr>
    </p:bg>
    <p:spTree>
      <p:nvGrpSpPr>
        <p:cNvPr id="1" name=""/>
        <p:cNvGrpSpPr/>
        <p:nvPr/>
      </p:nvGrpSpPr>
      <p:grpSpPr>
        <a:xfrm>
          <a:off x="0" y="0"/>
          <a:ext cx="0" cy="0"/>
          <a:chOff x="0" y="0"/>
          <a:chExt cx="0" cy="0"/>
        </a:xfrm>
      </p:grpSpPr>
      <p:sp>
        <p:nvSpPr>
          <p:cNvPr id="7" name="Rectangle 6"/>
          <p:cNvSpPr/>
          <p:nvPr userDrawn="1"/>
        </p:nvSpPr>
        <p:spPr bwMode="auto">
          <a:xfrm>
            <a:off x="0" y="2890684"/>
            <a:ext cx="12192000" cy="396731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ctrTitle" hasCustomPrompt="1"/>
          </p:nvPr>
        </p:nvSpPr>
        <p:spPr>
          <a:xfrm>
            <a:off x="1488557" y="1117590"/>
            <a:ext cx="10408581" cy="1655108"/>
          </a:xfrm>
        </p:spPr>
        <p:txBody>
          <a:bodyPr anchor="b"/>
          <a:lstStyle>
            <a:lvl1pPr indent="0">
              <a:defRPr sz="4800">
                <a:solidFill>
                  <a:schemeClr val="tx1"/>
                </a:solidFill>
                <a:latin typeface="Segoe UI Semibold" panose="020B0702040204020203" pitchFamily="34" charset="0"/>
                <a:cs typeface="Segoe UI Semibold" panose="020B0702040204020203" pitchFamily="34" charset="0"/>
              </a:defRPr>
            </a:lvl1pPr>
          </a:lstStyle>
          <a:p>
            <a:r>
              <a:rPr lang="en-US"/>
              <a:t>Module title</a:t>
            </a:r>
          </a:p>
        </p:txBody>
      </p:sp>
      <p:sp>
        <p:nvSpPr>
          <p:cNvPr id="9" name="Text Placeholder 8"/>
          <p:cNvSpPr>
            <a:spLocks noGrp="1"/>
          </p:cNvSpPr>
          <p:nvPr>
            <p:ph type="body" sz="quarter" idx="10" hasCustomPrompt="1"/>
          </p:nvPr>
        </p:nvSpPr>
        <p:spPr>
          <a:xfrm>
            <a:off x="1488558" y="3178512"/>
            <a:ext cx="10408580" cy="3679487"/>
          </a:xfrm>
        </p:spPr>
        <p:txBody>
          <a:bodyPr>
            <a:normAutofit/>
          </a:bodyPr>
          <a:lstStyle>
            <a:lvl1pPr marL="354013" indent="-354013">
              <a:buFont typeface="Wingdings" panose="05000000000000000000" pitchFamily="2" charset="2"/>
              <a:buChar char="§"/>
              <a:defRPr sz="3200">
                <a:solidFill>
                  <a:srgbClr val="EDC30D"/>
                </a:solidFill>
              </a:defRPr>
            </a:lvl1pPr>
          </a:lstStyle>
          <a:p>
            <a:pPr lvl="0"/>
            <a:r>
              <a:rPr lang="en-US"/>
              <a:t>Module content</a:t>
            </a:r>
          </a:p>
        </p:txBody>
      </p:sp>
      <p:pic>
        <p:nvPicPr>
          <p:cNvPr id="10" name="Picture 9"/>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13939" y="199344"/>
            <a:ext cx="1527557" cy="556031"/>
          </a:xfrm>
          <a:prstGeom prst="rect">
            <a:avLst/>
          </a:prstGeom>
        </p:spPr>
      </p:pic>
    </p:spTree>
    <p:extLst>
      <p:ext uri="{BB962C8B-B14F-4D97-AF65-F5344CB8AC3E}">
        <p14:creationId xmlns:p14="http://schemas.microsoft.com/office/powerpoint/2010/main" val="1622962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500" fill="hold"/>
                                        <p:tgtEl>
                                          <p:spTgt spid="7"/>
                                        </p:tgtEl>
                                        <p:attrNameLst>
                                          <p:attrName>ppt_x</p:attrName>
                                        </p:attrNameLst>
                                      </p:cBhvr>
                                      <p:tavLst>
                                        <p:tav tm="0">
                                          <p:val>
                                            <p:strVal val="#ppt_x"/>
                                          </p:val>
                                        </p:tav>
                                        <p:tav tm="100000">
                                          <p:val>
                                            <p:strVal val="#ppt_x"/>
                                          </p:val>
                                        </p:tav>
                                      </p:tavLst>
                                    </p:anim>
                                    <p:anim calcmode="lin" valueType="num">
                                      <p:cBhvr additive="base">
                                        <p:cTn id="8" dur="500" fill="hold"/>
                                        <p:tgtEl>
                                          <p:spTgt spid="7"/>
                                        </p:tgtEl>
                                        <p:attrNameLst>
                                          <p:attrName>ppt_y</p:attrName>
                                        </p:attrNameLst>
                                      </p:cBhvr>
                                      <p:tavLst>
                                        <p:tav tm="0">
                                          <p:val>
                                            <p:strVal val="1+#ppt_h/2"/>
                                          </p:val>
                                        </p:tav>
                                        <p:tav tm="100000">
                                          <p:val>
                                            <p:strVal val="#ppt_y"/>
                                          </p:val>
                                        </p:tav>
                                      </p:tavLst>
                                    </p:anim>
                                  </p:childTnLst>
                                </p:cTn>
                              </p:par>
                              <p:par>
                                <p:cTn id="9" presetID="2" presetClass="entr" presetSubtype="4" fill="hold" grpId="0" nodeType="withEffect">
                                  <p:stCondLst>
                                    <p:cond delay="0"/>
                                  </p:stCondLst>
                                  <p:childTnLst>
                                    <p:set>
                                      <p:cBhvr>
                                        <p:cTn id="10" dur="1" fill="hold">
                                          <p:stCondLst>
                                            <p:cond delay="0"/>
                                          </p:stCondLst>
                                        </p:cTn>
                                        <p:tgtEl>
                                          <p:spTgt spid="9"/>
                                        </p:tgtEl>
                                        <p:attrNameLst>
                                          <p:attrName>style.visibility</p:attrName>
                                        </p:attrNameLst>
                                      </p:cBhvr>
                                      <p:to>
                                        <p:strVal val="visible"/>
                                      </p:to>
                                    </p:set>
                                    <p:anim calcmode="lin" valueType="num">
                                      <p:cBhvr additive="base">
                                        <p:cTn id="11" dur="500" fill="hold"/>
                                        <p:tgtEl>
                                          <p:spTgt spid="9"/>
                                        </p:tgtEl>
                                        <p:attrNameLst>
                                          <p:attrName>ppt_x</p:attrName>
                                        </p:attrNameLst>
                                      </p:cBhvr>
                                      <p:tavLst>
                                        <p:tav tm="0">
                                          <p:val>
                                            <p:strVal val="#ppt_x"/>
                                          </p:val>
                                        </p:tav>
                                        <p:tav tm="100000">
                                          <p:val>
                                            <p:strVal val="#ppt_x"/>
                                          </p:val>
                                        </p:tav>
                                      </p:tavLst>
                                    </p:anim>
                                    <p:anim calcmode="lin" valueType="num">
                                      <p:cBhvr additive="base">
                                        <p:cTn id="12" dur="500" fill="hold"/>
                                        <p:tgtEl>
                                          <p:spTgt spid="9"/>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9" grpId="0">
        <p:tmplLst>
          <p:tmpl>
            <p:tnLst>
              <p:par>
                <p:cTn presetID="2" presetClass="entr" presetSubtype="4" fill="hold" nodeType="withEffect">
                  <p:stCondLst>
                    <p:cond delay="0"/>
                  </p:stCondLst>
                  <p:childTnLst>
                    <p:set>
                      <p:cBhvr>
                        <p:cTn dur="1" fill="hold">
                          <p:stCondLst>
                            <p:cond delay="0"/>
                          </p:stCondLst>
                        </p:cTn>
                        <p:tgtEl>
                          <p:spTgt spid="9"/>
                        </p:tgtEl>
                        <p:attrNameLst>
                          <p:attrName>style.visibility</p:attrName>
                        </p:attrNameLst>
                      </p:cBhvr>
                      <p:to>
                        <p:strVal val="visible"/>
                      </p:to>
                    </p:set>
                    <p:anim calcmode="lin" valueType="num">
                      <p:cBhvr additive="base">
                        <p:cTn dur="500" fill="hold"/>
                        <p:tgtEl>
                          <p:spTgt spid="9"/>
                        </p:tgtEl>
                        <p:attrNameLst>
                          <p:attrName>ppt_x</p:attrName>
                        </p:attrNameLst>
                      </p:cBhvr>
                      <p:tavLst>
                        <p:tav tm="0">
                          <p:val>
                            <p:strVal val="#ppt_x"/>
                          </p:val>
                        </p:tav>
                        <p:tav tm="100000">
                          <p:val>
                            <p:strVal val="#ppt_x"/>
                          </p:val>
                        </p:tav>
                      </p:tavLst>
                    </p:anim>
                    <p:anim calcmode="lin" valueType="num">
                      <p:cBhvr additive="base">
                        <p:cTn dur="500" fill="hold"/>
                        <p:tgtEl>
                          <p:spTgt spid="9"/>
                        </p:tgtEl>
                        <p:attrNameLst>
                          <p:attrName>ppt_y</p:attrName>
                        </p:attrNameLst>
                      </p:cBhvr>
                      <p:tavLst>
                        <p:tav tm="0">
                          <p:val>
                            <p:strVal val="1+#ppt_h/2"/>
                          </p:val>
                        </p:tav>
                        <p:tav tm="100000">
                          <p:val>
                            <p:strVal val="#ppt_y"/>
                          </p:val>
                        </p:tav>
                      </p:tavLst>
                    </p:anim>
                  </p:childTnLst>
                </p:cTn>
              </p:par>
            </p:tnLst>
          </p:tmpl>
        </p:tmplLst>
      </p:bldP>
    </p:bldLst>
  </p:timing>
</p:sldLayout>
</file>

<file path=ppt/slideLayouts/slideLayout67.xml><?xml version="1.0" encoding="utf-8"?>
<p:sldLayout xmlns:a="http://schemas.openxmlformats.org/drawingml/2006/main" xmlns:r="http://schemas.openxmlformats.org/officeDocument/2006/relationships" xmlns:p="http://schemas.openxmlformats.org/presentationml/2006/main" type="blank">
  <p:cSld name="Blank">
    <p:bg>
      <p:bgPr>
        <a:solidFill>
          <a:srgbClr val="EDC30D"/>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36987157"/>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3_Blank">
    <p:spTree>
      <p:nvGrpSpPr>
        <p:cNvPr id="1" name=""/>
        <p:cNvGrpSpPr/>
        <p:nvPr/>
      </p:nvGrpSpPr>
      <p:grpSpPr>
        <a:xfrm>
          <a:off x="0" y="0"/>
          <a:ext cx="0" cy="0"/>
          <a:chOff x="0" y="0"/>
          <a:chExt cx="0" cy="0"/>
        </a:xfrm>
      </p:grpSpPr>
      <p:sp>
        <p:nvSpPr>
          <p:cNvPr id="2" name="Rectangle 15"/>
          <p:cNvSpPr/>
          <p:nvPr userDrawn="1"/>
        </p:nvSpPr>
        <p:spPr bwMode="auto">
          <a:xfrm>
            <a:off x="883" y="993"/>
            <a:ext cx="5422017" cy="6857008"/>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70"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3" name="Title 1"/>
          <p:cNvSpPr>
            <a:spLocks noGrp="1"/>
          </p:cNvSpPr>
          <p:nvPr>
            <p:ph type="title"/>
          </p:nvPr>
        </p:nvSpPr>
        <p:spPr>
          <a:xfrm>
            <a:off x="165099" y="2249714"/>
            <a:ext cx="5066323" cy="2358572"/>
          </a:xfrm>
        </p:spPr>
        <p:txBody>
          <a:bodyPr/>
          <a:lstStyle>
            <a:lvl1pPr>
              <a:defRPr lang="en-US" sz="5500" kern="1200" dirty="0">
                <a:solidFill>
                  <a:srgbClr val="F2C811"/>
                </a:solidFill>
                <a:latin typeface="Segoe UI Semibold" panose="020B0702040204020203" pitchFamily="34" charset="0"/>
                <a:ea typeface="Segoe UI Black" panose="020B0A02040204020203" pitchFamily="34" charset="0"/>
                <a:cs typeface="Segoe UI Semibold" panose="020B0702040204020203" pitchFamily="34" charset="0"/>
              </a:defRPr>
            </a:lvl1pPr>
          </a:lstStyle>
          <a:p>
            <a:r>
              <a:rPr lang="en-US"/>
              <a:t>Click to edit Master title style</a:t>
            </a:r>
          </a:p>
        </p:txBody>
      </p:sp>
      <p:sp>
        <p:nvSpPr>
          <p:cNvPr id="4" name="Text Placeholder 3"/>
          <p:cNvSpPr>
            <a:spLocks noGrp="1"/>
          </p:cNvSpPr>
          <p:nvPr>
            <p:ph type="body" sz="quarter" idx="10"/>
          </p:nvPr>
        </p:nvSpPr>
        <p:spPr>
          <a:xfrm>
            <a:off x="5804999" y="562219"/>
            <a:ext cx="4980404" cy="2114425"/>
          </a:xfrm>
        </p:spPr>
        <p:txBody>
          <a:bodyPr wrap="square">
            <a:spAutoFit/>
          </a:bodyPr>
          <a:lstStyle>
            <a:lvl1pPr>
              <a:defRPr sz="36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46244287"/>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4_Blank">
    <p:spTree>
      <p:nvGrpSpPr>
        <p:cNvPr id="1" name=""/>
        <p:cNvGrpSpPr/>
        <p:nvPr/>
      </p:nvGrpSpPr>
      <p:grpSpPr>
        <a:xfrm>
          <a:off x="0" y="0"/>
          <a:ext cx="0" cy="0"/>
          <a:chOff x="0" y="0"/>
          <a:chExt cx="0" cy="0"/>
        </a:xfrm>
      </p:grpSpPr>
      <p:sp>
        <p:nvSpPr>
          <p:cNvPr id="2" name="Rectangle 15"/>
          <p:cNvSpPr/>
          <p:nvPr userDrawn="1"/>
        </p:nvSpPr>
        <p:spPr bwMode="auto">
          <a:xfrm>
            <a:off x="883" y="993"/>
            <a:ext cx="5422017" cy="6857008"/>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70"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3" name="Title 1"/>
          <p:cNvSpPr>
            <a:spLocks noGrp="1"/>
          </p:cNvSpPr>
          <p:nvPr>
            <p:ph type="title"/>
          </p:nvPr>
        </p:nvSpPr>
        <p:spPr>
          <a:xfrm>
            <a:off x="165099" y="2249714"/>
            <a:ext cx="5066323" cy="2358572"/>
          </a:xfrm>
        </p:spPr>
        <p:txBody>
          <a:bodyPr/>
          <a:lstStyle>
            <a:lvl1pPr>
              <a:defRPr lang="en-US" sz="5500" kern="1200" dirty="0">
                <a:solidFill>
                  <a:srgbClr val="F2C811"/>
                </a:solidFill>
                <a:latin typeface="Segoe UI Semibold" panose="020B0702040204020203" pitchFamily="34" charset="0"/>
                <a:ea typeface="Segoe UI Black" panose="020B0A02040204020203" pitchFamily="34" charset="0"/>
                <a:cs typeface="Segoe UI Semibold" panose="020B0702040204020203" pitchFamily="34" charset="0"/>
              </a:defRPr>
            </a:lvl1pPr>
          </a:lstStyle>
          <a:p>
            <a:r>
              <a:rPr lang="en-US"/>
              <a:t>Click to edit Master title style</a:t>
            </a:r>
          </a:p>
        </p:txBody>
      </p:sp>
    </p:spTree>
    <p:extLst>
      <p:ext uri="{BB962C8B-B14F-4D97-AF65-F5344CB8AC3E}">
        <p14:creationId xmlns:p14="http://schemas.microsoft.com/office/powerpoint/2010/main" val="296364403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7" name="Text Placeholder 5"/>
          <p:cNvSpPr>
            <a:spLocks noGrp="1"/>
          </p:cNvSpPr>
          <p:nvPr>
            <p:ph type="body" sz="quarter" idx="10"/>
          </p:nvPr>
        </p:nvSpPr>
        <p:spPr>
          <a:xfrm>
            <a:off x="269240" y="1867817"/>
            <a:ext cx="11653523" cy="4662292"/>
          </a:xfrm>
        </p:spPr>
        <p:txBody>
          <a:bodyPr/>
          <a:lstStyle>
            <a:lvl1pPr marL="182845" indent="-182845">
              <a:buFont typeface="Arial" panose="020B0604020202020204" pitchFamily="34" charset="0"/>
              <a:buChar char="•"/>
              <a:defRPr sz="3137">
                <a:gradFill>
                  <a:gsLst>
                    <a:gs pos="1250">
                      <a:schemeClr val="tx2"/>
                    </a:gs>
                    <a:gs pos="99000">
                      <a:schemeClr val="tx2"/>
                    </a:gs>
                  </a:gsLst>
                  <a:lin ang="5400000" scaled="0"/>
                </a:gradFill>
                <a:latin typeface="+mj-lt"/>
              </a:defRPr>
            </a:lvl1pPr>
            <a:lvl2pPr marL="365690" indent="-182845">
              <a:buFont typeface="Arial" panose="020B0604020202020204" pitchFamily="34" charset="0"/>
              <a:buChar char="•"/>
              <a:defRPr sz="1961">
                <a:latin typeface="+mj-lt"/>
              </a:defRPr>
            </a:lvl2pPr>
            <a:lvl3pPr marL="548535" indent="-182845">
              <a:buFont typeface="Arial" panose="020B0604020202020204" pitchFamily="34" charset="0"/>
              <a:buChar char="•"/>
              <a:defRPr sz="1765">
                <a:latin typeface="+mj-lt"/>
              </a:defRPr>
            </a:lvl3pPr>
            <a:lvl4pPr marL="733802" indent="-285695">
              <a:buFont typeface="Arial" panose="020B0604020202020204" pitchFamily="34" charset="0"/>
              <a:buChar char="•"/>
              <a:defRPr/>
            </a:lvl4pPr>
            <a:lvl5pPr marL="957856" indent="-285695">
              <a:buFont typeface="Arial" panose="020B0604020202020204" pitchFamily="34" charset="0"/>
              <a:buChar char="•"/>
              <a:defRPr/>
            </a:lvl5pPr>
          </a:lstStyle>
          <a:p>
            <a:pPr lvl="0"/>
            <a:r>
              <a:rPr lang="en-US"/>
              <a:t>Click to edit Master text styles</a:t>
            </a:r>
          </a:p>
          <a:p>
            <a:pPr lvl="1"/>
            <a:r>
              <a:rPr lang="en-US"/>
              <a:t>Second level</a:t>
            </a:r>
          </a:p>
          <a:p>
            <a:pPr lvl="2"/>
            <a:r>
              <a:rPr lang="en-US"/>
              <a:t>Third level</a:t>
            </a:r>
          </a:p>
        </p:txBody>
      </p:sp>
      <p:sp>
        <p:nvSpPr>
          <p:cNvPr id="2" name="TextBox 1"/>
          <p:cNvSpPr txBox="1"/>
          <p:nvPr userDrawn="1"/>
        </p:nvSpPr>
        <p:spPr>
          <a:xfrm>
            <a:off x="269241" y="1189176"/>
            <a:ext cx="362135" cy="615609"/>
          </a:xfrm>
          <a:prstGeom prst="rect">
            <a:avLst/>
          </a:prstGeom>
          <a:noFill/>
        </p:spPr>
        <p:txBody>
          <a:bodyPr wrap="none" lIns="179285" tIns="143428" rIns="179285" bIns="143428" rtlCol="0">
            <a:spAutoFit/>
          </a:bodyPr>
          <a:lstStyle/>
          <a:p>
            <a:pPr defTabSz="914367">
              <a:lnSpc>
                <a:spcPct val="90000"/>
              </a:lnSpc>
              <a:spcAft>
                <a:spcPts val="588"/>
              </a:spcAft>
            </a:pPr>
            <a:endParaRPr lang="en-US" sz="2353" err="1">
              <a:gradFill>
                <a:gsLst>
                  <a:gs pos="2917">
                    <a:srgbClr val="000000"/>
                  </a:gs>
                  <a:gs pos="30000">
                    <a:srgbClr val="000000"/>
                  </a:gs>
                </a:gsLst>
                <a:lin ang="5400000" scaled="0"/>
              </a:gradFill>
            </a:endParaRPr>
          </a:p>
        </p:txBody>
      </p:sp>
      <p:sp>
        <p:nvSpPr>
          <p:cNvPr id="8" name="Text Placeholder 7"/>
          <p:cNvSpPr>
            <a:spLocks noGrp="1"/>
          </p:cNvSpPr>
          <p:nvPr>
            <p:ph type="body" sz="quarter" idx="11" hasCustomPrompt="1"/>
          </p:nvPr>
        </p:nvSpPr>
        <p:spPr>
          <a:xfrm>
            <a:off x="269240" y="1220691"/>
            <a:ext cx="11653523" cy="615609"/>
          </a:xfrm>
        </p:spPr>
        <p:txBody>
          <a:bodyPr/>
          <a:lstStyle>
            <a:lvl1pPr marL="0" indent="0">
              <a:buNone/>
              <a:defRPr sz="3137"/>
            </a:lvl1pPr>
            <a:lvl2pPr>
              <a:defRPr sz="1765"/>
            </a:lvl2pPr>
            <a:lvl3pPr>
              <a:defRPr sz="1568"/>
            </a:lvl3pPr>
            <a:lvl4pPr>
              <a:defRPr sz="1372"/>
            </a:lvl4pPr>
            <a:lvl5pPr>
              <a:defRPr sz="1372"/>
            </a:lvl5pPr>
          </a:lstStyle>
          <a:p>
            <a:pPr lvl="0"/>
            <a:r>
              <a:rPr lang="en-US"/>
              <a:t>Subtitle</a:t>
            </a:r>
          </a:p>
        </p:txBody>
      </p:sp>
    </p:spTree>
    <p:extLst>
      <p:ext uri="{BB962C8B-B14F-4D97-AF65-F5344CB8AC3E}">
        <p14:creationId xmlns:p14="http://schemas.microsoft.com/office/powerpoint/2010/main" val="6138129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5_Blank">
    <p:spTree>
      <p:nvGrpSpPr>
        <p:cNvPr id="1" name=""/>
        <p:cNvGrpSpPr/>
        <p:nvPr/>
      </p:nvGrpSpPr>
      <p:grpSpPr>
        <a:xfrm>
          <a:off x="0" y="0"/>
          <a:ext cx="0" cy="0"/>
          <a:chOff x="0" y="0"/>
          <a:chExt cx="0" cy="0"/>
        </a:xfrm>
      </p:grpSpPr>
      <p:sp>
        <p:nvSpPr>
          <p:cNvPr id="2" name="Rectangle 15"/>
          <p:cNvSpPr/>
          <p:nvPr userDrawn="1"/>
        </p:nvSpPr>
        <p:spPr bwMode="auto">
          <a:xfrm>
            <a:off x="883" y="993"/>
            <a:ext cx="4041395" cy="6857008"/>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70"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3" name="Title 1"/>
          <p:cNvSpPr>
            <a:spLocks noGrp="1"/>
          </p:cNvSpPr>
          <p:nvPr>
            <p:ph type="title"/>
          </p:nvPr>
        </p:nvSpPr>
        <p:spPr>
          <a:xfrm>
            <a:off x="165100" y="2249714"/>
            <a:ext cx="3747478" cy="2358572"/>
          </a:xfrm>
        </p:spPr>
        <p:txBody>
          <a:bodyPr/>
          <a:lstStyle>
            <a:lvl1pPr>
              <a:defRPr lang="en-US" sz="5500" kern="1200" dirty="0">
                <a:solidFill>
                  <a:srgbClr val="F2C811"/>
                </a:solidFill>
                <a:latin typeface="Segoe UI Semibold" panose="020B0702040204020203" pitchFamily="34" charset="0"/>
                <a:ea typeface="Segoe UI Black" panose="020B0A02040204020203" pitchFamily="34" charset="0"/>
                <a:cs typeface="Segoe UI Semibold" panose="020B0702040204020203" pitchFamily="34" charset="0"/>
              </a:defRPr>
            </a:lvl1pPr>
          </a:lstStyle>
          <a:p>
            <a:r>
              <a:rPr lang="en-US"/>
              <a:t>Click to edit Master title style</a:t>
            </a:r>
          </a:p>
        </p:txBody>
      </p:sp>
    </p:spTree>
    <p:extLst>
      <p:ext uri="{BB962C8B-B14F-4D97-AF65-F5344CB8AC3E}">
        <p14:creationId xmlns:p14="http://schemas.microsoft.com/office/powerpoint/2010/main" val="3239860326"/>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7_Blank">
    <p:spTree>
      <p:nvGrpSpPr>
        <p:cNvPr id="1" name=""/>
        <p:cNvGrpSpPr/>
        <p:nvPr/>
      </p:nvGrpSpPr>
      <p:grpSpPr>
        <a:xfrm>
          <a:off x="0" y="0"/>
          <a:ext cx="0" cy="0"/>
          <a:chOff x="0" y="0"/>
          <a:chExt cx="0" cy="0"/>
        </a:xfrm>
      </p:grpSpPr>
      <p:sp>
        <p:nvSpPr>
          <p:cNvPr id="2" name="Rectangle 15"/>
          <p:cNvSpPr/>
          <p:nvPr userDrawn="1"/>
        </p:nvSpPr>
        <p:spPr bwMode="auto">
          <a:xfrm>
            <a:off x="884" y="993"/>
            <a:ext cx="2836909" cy="6857008"/>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70"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796774724"/>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8_Blank">
    <p:spTree>
      <p:nvGrpSpPr>
        <p:cNvPr id="1" name=""/>
        <p:cNvGrpSpPr/>
        <p:nvPr/>
      </p:nvGrpSpPr>
      <p:grpSpPr>
        <a:xfrm>
          <a:off x="0" y="0"/>
          <a:ext cx="0" cy="0"/>
          <a:chOff x="0" y="0"/>
          <a:chExt cx="0" cy="0"/>
        </a:xfrm>
      </p:grpSpPr>
      <p:sp>
        <p:nvSpPr>
          <p:cNvPr id="2" name="Rectangle 15"/>
          <p:cNvSpPr/>
          <p:nvPr userDrawn="1"/>
        </p:nvSpPr>
        <p:spPr bwMode="auto">
          <a:xfrm>
            <a:off x="884" y="993"/>
            <a:ext cx="2836909" cy="6857008"/>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70"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3" name="Title 1"/>
          <p:cNvSpPr>
            <a:spLocks noGrp="1"/>
          </p:cNvSpPr>
          <p:nvPr>
            <p:ph type="title" hasCustomPrompt="1"/>
          </p:nvPr>
        </p:nvSpPr>
        <p:spPr>
          <a:xfrm>
            <a:off x="2920181" y="226332"/>
            <a:ext cx="9202993" cy="956908"/>
          </a:xfrm>
        </p:spPr>
        <p:txBody>
          <a:bodyPr lIns="180000" anchor="t"/>
          <a:lstStyle>
            <a:lvl1pPr algn="l">
              <a:defRPr sz="3600">
                <a:solidFill>
                  <a:srgbClr val="000000"/>
                </a:solidFill>
                <a:latin typeface="Segoe UI Light (Headings)"/>
                <a:cs typeface="Segoe UI Light" panose="020B0502040204020203" pitchFamily="34" charset="0"/>
              </a:defRPr>
            </a:lvl1pPr>
          </a:lstStyle>
          <a:p>
            <a:r>
              <a:rPr lang="en-US"/>
              <a:t>Slide title</a:t>
            </a:r>
          </a:p>
        </p:txBody>
      </p:sp>
    </p:spTree>
    <p:extLst>
      <p:ext uri="{BB962C8B-B14F-4D97-AF65-F5344CB8AC3E}">
        <p14:creationId xmlns:p14="http://schemas.microsoft.com/office/powerpoint/2010/main" val="3183654808"/>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6_Blank">
    <p:spTree>
      <p:nvGrpSpPr>
        <p:cNvPr id="1" name=""/>
        <p:cNvGrpSpPr/>
        <p:nvPr/>
      </p:nvGrpSpPr>
      <p:grpSpPr>
        <a:xfrm>
          <a:off x="0" y="0"/>
          <a:ext cx="0" cy="0"/>
          <a:chOff x="0" y="0"/>
          <a:chExt cx="0" cy="0"/>
        </a:xfrm>
      </p:grpSpPr>
      <p:sp>
        <p:nvSpPr>
          <p:cNvPr id="9" name="Rectangle 15"/>
          <p:cNvSpPr/>
          <p:nvPr userDrawn="1"/>
        </p:nvSpPr>
        <p:spPr bwMode="auto">
          <a:xfrm>
            <a:off x="883" y="993"/>
            <a:ext cx="4041395" cy="6857008"/>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70"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4" name="Text Placeholder 3"/>
          <p:cNvSpPr>
            <a:spLocks noGrp="1"/>
          </p:cNvSpPr>
          <p:nvPr>
            <p:ph type="body" sz="quarter" idx="10"/>
          </p:nvPr>
        </p:nvSpPr>
        <p:spPr>
          <a:xfrm>
            <a:off x="4493436" y="266655"/>
            <a:ext cx="7292164" cy="2114425"/>
          </a:xfrm>
        </p:spPr>
        <p:txBody>
          <a:bodyPr wrap="square">
            <a:spAutoFit/>
          </a:bodyPr>
          <a:lstStyle>
            <a:lvl1pPr>
              <a:defRPr sz="36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1"/>
          <p:cNvSpPr>
            <a:spLocks noGrp="1"/>
          </p:cNvSpPr>
          <p:nvPr>
            <p:ph type="title"/>
          </p:nvPr>
        </p:nvSpPr>
        <p:spPr>
          <a:xfrm>
            <a:off x="165100" y="2249714"/>
            <a:ext cx="3747478" cy="2358572"/>
          </a:xfrm>
        </p:spPr>
        <p:txBody>
          <a:bodyPr/>
          <a:lstStyle>
            <a:lvl1pPr>
              <a:defRPr lang="en-US" sz="5500" kern="1200" dirty="0">
                <a:solidFill>
                  <a:srgbClr val="F2C811"/>
                </a:solidFill>
                <a:latin typeface="Segoe UI Semibold" panose="020B0702040204020203" pitchFamily="34" charset="0"/>
                <a:ea typeface="Segoe UI Black" panose="020B0A02040204020203" pitchFamily="34" charset="0"/>
                <a:cs typeface="Segoe UI Semibold" panose="020B0702040204020203" pitchFamily="34" charset="0"/>
              </a:defRPr>
            </a:lvl1pPr>
          </a:lstStyle>
          <a:p>
            <a:r>
              <a:rPr lang="en-US"/>
              <a:t>Click to edit Master title style</a:t>
            </a:r>
          </a:p>
        </p:txBody>
      </p:sp>
    </p:spTree>
    <p:extLst>
      <p:ext uri="{BB962C8B-B14F-4D97-AF65-F5344CB8AC3E}">
        <p14:creationId xmlns:p14="http://schemas.microsoft.com/office/powerpoint/2010/main" val="1623514528"/>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4" name="Rectangle 3"/>
          <p:cNvSpPr/>
          <p:nvPr userDrawn="1"/>
        </p:nvSpPr>
        <p:spPr>
          <a:xfrm>
            <a:off x="0" y="0"/>
            <a:ext cx="12192000" cy="1189494"/>
          </a:xfrm>
          <a:prstGeom prst="rect">
            <a:avLst/>
          </a:prstGeom>
          <a:solidFill>
            <a:srgbClr val="1E1E1E"/>
          </a:solidFill>
          <a:ln>
            <a:noFill/>
          </a:ln>
        </p:spPr>
        <p:style>
          <a:lnRef idx="2">
            <a:schemeClr val="accent1">
              <a:shade val="50000"/>
            </a:schemeClr>
          </a:lnRef>
          <a:fillRef idx="1">
            <a:schemeClr val="accent1"/>
          </a:fillRef>
          <a:effectRef idx="0">
            <a:schemeClr val="accent1"/>
          </a:effectRef>
          <a:fontRef idx="minor">
            <a:schemeClr val="lt1"/>
          </a:fontRef>
        </p:style>
        <p:txBody>
          <a:bodyPr lIns="548640" tIns="457200" rIns="457200" rtlCol="0" anchor="ctr"/>
          <a:lstStyle/>
          <a:p>
            <a:endParaRPr lang="en-US" sz="5400">
              <a:solidFill>
                <a:srgbClr val="EDC30D"/>
              </a:solidFill>
              <a:latin typeface="Segoe UI Light" panose="020B0502040204020203" pitchFamily="34" charset="0"/>
              <a:cs typeface="Segoe UI Light" panose="020B0502040204020203" pitchFamily="34" charset="0"/>
            </a:endParaRPr>
          </a:p>
        </p:txBody>
      </p:sp>
      <p:sp>
        <p:nvSpPr>
          <p:cNvPr id="5" name="Title 1"/>
          <p:cNvSpPr>
            <a:spLocks noGrp="1"/>
          </p:cNvSpPr>
          <p:nvPr>
            <p:ph type="title" hasCustomPrompt="1"/>
          </p:nvPr>
        </p:nvSpPr>
        <p:spPr>
          <a:xfrm>
            <a:off x="269240" y="123092"/>
            <a:ext cx="11655840" cy="956908"/>
          </a:xfrm>
        </p:spPr>
        <p:txBody>
          <a:bodyPr lIns="180000"/>
          <a:lstStyle>
            <a:lvl1pPr>
              <a:defRPr sz="4800">
                <a:solidFill>
                  <a:srgbClr val="F2C811"/>
                </a:solidFill>
                <a:latin typeface="Segoe UI Light" panose="020B0502040204020203" pitchFamily="34" charset="0"/>
                <a:cs typeface="Segoe UI Light" panose="020B0502040204020203" pitchFamily="34" charset="0"/>
              </a:defRPr>
            </a:lvl1pPr>
          </a:lstStyle>
          <a:p>
            <a:r>
              <a:rPr lang="en-US"/>
              <a:t>Slide title</a:t>
            </a:r>
          </a:p>
        </p:txBody>
      </p:sp>
    </p:spTree>
    <p:extLst>
      <p:ext uri="{BB962C8B-B14F-4D97-AF65-F5344CB8AC3E}">
        <p14:creationId xmlns:p14="http://schemas.microsoft.com/office/powerpoint/2010/main" val="3959211623"/>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2_Blank">
    <p:spTree>
      <p:nvGrpSpPr>
        <p:cNvPr id="1" name=""/>
        <p:cNvGrpSpPr/>
        <p:nvPr/>
      </p:nvGrpSpPr>
      <p:grpSpPr>
        <a:xfrm>
          <a:off x="0" y="0"/>
          <a:ext cx="0" cy="0"/>
          <a:chOff x="0" y="0"/>
          <a:chExt cx="0" cy="0"/>
        </a:xfrm>
      </p:grpSpPr>
      <p:sp>
        <p:nvSpPr>
          <p:cNvPr id="4" name="Rectangle 3"/>
          <p:cNvSpPr/>
          <p:nvPr userDrawn="1"/>
        </p:nvSpPr>
        <p:spPr>
          <a:xfrm>
            <a:off x="0" y="0"/>
            <a:ext cx="12192000" cy="1189494"/>
          </a:xfrm>
          <a:prstGeom prst="rect">
            <a:avLst/>
          </a:prstGeom>
          <a:solidFill>
            <a:srgbClr val="1E1E1E"/>
          </a:solidFill>
          <a:ln>
            <a:noFill/>
          </a:ln>
        </p:spPr>
        <p:style>
          <a:lnRef idx="2">
            <a:schemeClr val="accent1">
              <a:shade val="50000"/>
            </a:schemeClr>
          </a:lnRef>
          <a:fillRef idx="1">
            <a:schemeClr val="accent1"/>
          </a:fillRef>
          <a:effectRef idx="0">
            <a:schemeClr val="accent1"/>
          </a:effectRef>
          <a:fontRef idx="minor">
            <a:schemeClr val="lt1"/>
          </a:fontRef>
        </p:style>
        <p:txBody>
          <a:bodyPr lIns="548640" tIns="457200" rIns="457200" rtlCol="0" anchor="ctr"/>
          <a:lstStyle/>
          <a:p>
            <a:endParaRPr lang="en-US" sz="5400">
              <a:solidFill>
                <a:srgbClr val="EDC30D"/>
              </a:solidFill>
              <a:latin typeface="Segoe UI Light" panose="020B0502040204020203" pitchFamily="34" charset="0"/>
              <a:cs typeface="Segoe UI Light" panose="020B0502040204020203" pitchFamily="34" charset="0"/>
            </a:endParaRPr>
          </a:p>
        </p:txBody>
      </p:sp>
      <p:sp>
        <p:nvSpPr>
          <p:cNvPr id="5" name="Title 1"/>
          <p:cNvSpPr>
            <a:spLocks noGrp="1"/>
          </p:cNvSpPr>
          <p:nvPr>
            <p:ph type="title" hasCustomPrompt="1"/>
          </p:nvPr>
        </p:nvSpPr>
        <p:spPr>
          <a:xfrm>
            <a:off x="269240" y="123092"/>
            <a:ext cx="11655840" cy="956908"/>
          </a:xfrm>
        </p:spPr>
        <p:txBody>
          <a:bodyPr lIns="180000"/>
          <a:lstStyle>
            <a:lvl1pPr>
              <a:defRPr sz="4800">
                <a:solidFill>
                  <a:srgbClr val="F2C811"/>
                </a:solidFill>
                <a:latin typeface="Segoe UI Light" panose="020B0502040204020203" pitchFamily="34" charset="0"/>
                <a:cs typeface="Segoe UI Light" panose="020B0502040204020203" pitchFamily="34" charset="0"/>
              </a:defRPr>
            </a:lvl1pPr>
          </a:lstStyle>
          <a:p>
            <a:r>
              <a:rPr lang="en-US"/>
              <a:t>Slide title</a:t>
            </a:r>
          </a:p>
        </p:txBody>
      </p:sp>
      <p:sp>
        <p:nvSpPr>
          <p:cNvPr id="6" name="Text Placeholder 3"/>
          <p:cNvSpPr>
            <a:spLocks noGrp="1"/>
          </p:cNvSpPr>
          <p:nvPr>
            <p:ph type="body" sz="quarter" idx="10"/>
          </p:nvPr>
        </p:nvSpPr>
        <p:spPr>
          <a:xfrm>
            <a:off x="274638" y="1212850"/>
            <a:ext cx="11887200" cy="2025170"/>
          </a:xfrm>
        </p:spPr>
        <p:txBody>
          <a:bodyPr>
            <a:spAutoFit/>
          </a:bodyPr>
          <a:lstStyle>
            <a:lvl1pPr>
              <a:defRPr sz="36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20201708"/>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a:extLst>
              <a:ext uri="{28A0092B-C50C-407E-A947-70E740481C1C}">
                <a14:useLocalDpi xmlns:a14="http://schemas.microsoft.com/office/drawing/2010/main" val="0"/>
              </a:ext>
            </a:extLst>
          </a:blip>
          <a:srcRect l="9519" t="25612" r="71112" b="37624"/>
          <a:stretch/>
        </p:blipFill>
        <p:spPr>
          <a:xfrm>
            <a:off x="-1131532" y="-156880"/>
            <a:ext cx="15074250" cy="7153284"/>
          </a:xfrm>
          <a:prstGeom prst="rect">
            <a:avLst/>
          </a:prstGeom>
        </p:spPr>
      </p:pic>
      <p:sp>
        <p:nvSpPr>
          <p:cNvPr id="2" name="Title 1"/>
          <p:cNvSpPr>
            <a:spLocks noGrp="1"/>
          </p:cNvSpPr>
          <p:nvPr>
            <p:ph type="title"/>
          </p:nvPr>
        </p:nvSpPr>
        <p:spPr>
          <a:xfrm>
            <a:off x="838200" y="2160674"/>
            <a:ext cx="10515600" cy="1325563"/>
          </a:xfrm>
        </p:spPr>
        <p:txBody>
          <a:bodyPr/>
          <a:lstStyle>
            <a:lvl1pPr>
              <a:defRPr lang="en-US" sz="9000" kern="1200" dirty="0">
                <a:solidFill>
                  <a:srgbClr val="F2C811"/>
                </a:solidFill>
                <a:latin typeface="Segoe UI Light" panose="020B0502040204020203" pitchFamily="34" charset="0"/>
                <a:ea typeface="Segoe UI Black" panose="020B0A02040204020203" pitchFamily="34" charset="0"/>
                <a:cs typeface="Segoe UI Light"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8658704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Content">
    <p:bg>
      <p:bgPr>
        <a:solidFill>
          <a:srgbClr val="EDC30D"/>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360000"/>
            <a:ext cx="11655840" cy="720000"/>
          </a:xfrm>
        </p:spPr>
        <p:txBody>
          <a:bodyPr lIns="180000"/>
          <a:lstStyle>
            <a:lvl1pPr>
              <a:defRPr/>
            </a:lvl1pPr>
          </a:lstStyle>
          <a:p>
            <a:r>
              <a:rPr lang="en-US"/>
              <a:t>Slide title</a:t>
            </a:r>
          </a:p>
        </p:txBody>
      </p:sp>
      <p:cxnSp>
        <p:nvCxnSpPr>
          <p:cNvPr id="4" name="Straight Connector 3"/>
          <p:cNvCxnSpPr/>
          <p:nvPr userDrawn="1"/>
        </p:nvCxnSpPr>
        <p:spPr>
          <a:xfrm>
            <a:off x="467833" y="1068634"/>
            <a:ext cx="11227981"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6" name="Content Placeholder 5"/>
          <p:cNvSpPr>
            <a:spLocks noGrp="1"/>
          </p:cNvSpPr>
          <p:nvPr>
            <p:ph sz="quarter" idx="10" hasCustomPrompt="1"/>
          </p:nvPr>
        </p:nvSpPr>
        <p:spPr>
          <a:xfrm>
            <a:off x="269875" y="1169988"/>
            <a:ext cx="11655425" cy="334962"/>
          </a:xfrm>
        </p:spPr>
        <p:txBody>
          <a:bodyPr anchor="ctr">
            <a:noAutofit/>
          </a:bodyPr>
          <a:lstStyle>
            <a:lvl1pPr>
              <a:defRPr sz="2400"/>
            </a:lvl1pPr>
          </a:lstStyle>
          <a:p>
            <a:pPr lvl="0"/>
            <a:r>
              <a:rPr lang="en-US"/>
              <a:t>Slide subtitle</a:t>
            </a:r>
          </a:p>
        </p:txBody>
      </p:sp>
      <p:sp>
        <p:nvSpPr>
          <p:cNvPr id="8" name="Text Placeholder 7"/>
          <p:cNvSpPr>
            <a:spLocks noGrp="1"/>
          </p:cNvSpPr>
          <p:nvPr>
            <p:ph type="body" sz="quarter" idx="11" hasCustomPrompt="1"/>
          </p:nvPr>
        </p:nvSpPr>
        <p:spPr>
          <a:xfrm>
            <a:off x="269875" y="1749425"/>
            <a:ext cx="11655425" cy="5108575"/>
          </a:xfrm>
        </p:spPr>
        <p:txBody>
          <a:bodyPr/>
          <a:lstStyle>
            <a:lvl1pPr>
              <a:defRPr/>
            </a:lvl1pPr>
            <a:lvl2pPr marL="237600">
              <a:defRPr/>
            </a:lvl2pPr>
          </a:lstStyle>
          <a:p>
            <a:pPr lvl="0"/>
            <a:r>
              <a:rPr lang="en-US"/>
              <a:t>Slide conten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234347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Key Takeaways">
    <p:bg>
      <p:bgPr>
        <a:solidFill>
          <a:srgbClr val="EDC30D"/>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119141" y="360000"/>
            <a:ext cx="10805938" cy="720000"/>
          </a:xfrm>
        </p:spPr>
        <p:txBody>
          <a:bodyPr/>
          <a:lstStyle>
            <a:lvl1pPr>
              <a:defRPr/>
            </a:lvl1pPr>
          </a:lstStyle>
          <a:p>
            <a:r>
              <a:rPr lang="en-US"/>
              <a:t>Slide title</a:t>
            </a:r>
          </a:p>
        </p:txBody>
      </p:sp>
      <p:cxnSp>
        <p:nvCxnSpPr>
          <p:cNvPr id="4" name="Straight Connector 3"/>
          <p:cNvCxnSpPr/>
          <p:nvPr userDrawn="1"/>
        </p:nvCxnSpPr>
        <p:spPr>
          <a:xfrm>
            <a:off x="467833" y="1068634"/>
            <a:ext cx="11227981"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6" name="Content Placeholder 5"/>
          <p:cNvSpPr>
            <a:spLocks noGrp="1"/>
          </p:cNvSpPr>
          <p:nvPr>
            <p:ph sz="quarter" idx="10" hasCustomPrompt="1"/>
          </p:nvPr>
        </p:nvSpPr>
        <p:spPr>
          <a:xfrm>
            <a:off x="269875" y="1169988"/>
            <a:ext cx="11655425" cy="334962"/>
          </a:xfrm>
        </p:spPr>
        <p:txBody>
          <a:bodyPr anchor="ctr">
            <a:noAutofit/>
          </a:bodyPr>
          <a:lstStyle>
            <a:lvl1pPr>
              <a:defRPr sz="2400"/>
            </a:lvl1pPr>
          </a:lstStyle>
          <a:p>
            <a:pPr lvl="0"/>
            <a:r>
              <a:rPr lang="en-US"/>
              <a:t>Slide subtitle</a:t>
            </a:r>
          </a:p>
        </p:txBody>
      </p:sp>
      <p:sp>
        <p:nvSpPr>
          <p:cNvPr id="8" name="Text Placeholder 7"/>
          <p:cNvSpPr>
            <a:spLocks noGrp="1"/>
          </p:cNvSpPr>
          <p:nvPr>
            <p:ph type="body" sz="quarter" idx="11" hasCustomPrompt="1"/>
          </p:nvPr>
        </p:nvSpPr>
        <p:spPr>
          <a:xfrm>
            <a:off x="269875" y="1749425"/>
            <a:ext cx="11655425" cy="5108575"/>
          </a:xfrm>
        </p:spPr>
        <p:txBody>
          <a:bodyPr/>
          <a:lstStyle>
            <a:lvl1pPr>
              <a:defRPr/>
            </a:lvl1pPr>
            <a:lvl2pPr marL="237600">
              <a:defRPr sz="2800"/>
            </a:lvl2pPr>
          </a:lstStyle>
          <a:p>
            <a:pPr lvl="1"/>
            <a:r>
              <a:rPr lang="en-US"/>
              <a:t>Second level</a:t>
            </a:r>
          </a:p>
          <a:p>
            <a:pPr lvl="2"/>
            <a:r>
              <a:rPr lang="en-US"/>
              <a:t>Third level</a:t>
            </a:r>
          </a:p>
          <a:p>
            <a:pPr lvl="3"/>
            <a:r>
              <a:rPr lang="en-US"/>
              <a:t>Fourth level</a:t>
            </a:r>
          </a:p>
          <a:p>
            <a:pPr lvl="4"/>
            <a:r>
              <a:rPr lang="en-US"/>
              <a:t>Fifth level</a:t>
            </a:r>
          </a:p>
        </p:txBody>
      </p:sp>
      <p:sp>
        <p:nvSpPr>
          <p:cNvPr id="9" name="Freeform 88"/>
          <p:cNvSpPr>
            <a:spLocks noEditPoints="1"/>
          </p:cNvSpPr>
          <p:nvPr userDrawn="1"/>
        </p:nvSpPr>
        <p:spPr bwMode="auto">
          <a:xfrm>
            <a:off x="467833" y="360000"/>
            <a:ext cx="651308" cy="651308"/>
          </a:xfrm>
          <a:custGeom>
            <a:avLst/>
            <a:gdLst>
              <a:gd name="T0" fmla="*/ 207 w 414"/>
              <a:gd name="T1" fmla="*/ 0 h 414"/>
              <a:gd name="T2" fmla="*/ 0 w 414"/>
              <a:gd name="T3" fmla="*/ 207 h 414"/>
              <a:gd name="T4" fmla="*/ 207 w 414"/>
              <a:gd name="T5" fmla="*/ 414 h 414"/>
              <a:gd name="T6" fmla="*/ 414 w 414"/>
              <a:gd name="T7" fmla="*/ 207 h 414"/>
              <a:gd name="T8" fmla="*/ 207 w 414"/>
              <a:gd name="T9" fmla="*/ 0 h 414"/>
              <a:gd name="T10" fmla="*/ 207 w 414"/>
              <a:gd name="T11" fmla="*/ 399 h 414"/>
              <a:gd name="T12" fmla="*/ 15 w 414"/>
              <a:gd name="T13" fmla="*/ 207 h 414"/>
              <a:gd name="T14" fmla="*/ 207 w 414"/>
              <a:gd name="T15" fmla="*/ 15 h 414"/>
              <a:gd name="T16" fmla="*/ 399 w 414"/>
              <a:gd name="T17" fmla="*/ 207 h 414"/>
              <a:gd name="T18" fmla="*/ 207 w 414"/>
              <a:gd name="T19" fmla="*/ 399 h 414"/>
              <a:gd name="T20" fmla="*/ 299 w 414"/>
              <a:gd name="T21" fmla="*/ 174 h 414"/>
              <a:gd name="T22" fmla="*/ 314 w 414"/>
              <a:gd name="T23" fmla="*/ 174 h 414"/>
              <a:gd name="T24" fmla="*/ 314 w 414"/>
              <a:gd name="T25" fmla="*/ 307 h 414"/>
              <a:gd name="T26" fmla="*/ 306 w 414"/>
              <a:gd name="T27" fmla="*/ 314 h 414"/>
              <a:gd name="T28" fmla="*/ 173 w 414"/>
              <a:gd name="T29" fmla="*/ 314 h 414"/>
              <a:gd name="T30" fmla="*/ 173 w 414"/>
              <a:gd name="T31" fmla="*/ 300 h 414"/>
              <a:gd name="T32" fmla="*/ 288 w 414"/>
              <a:gd name="T33" fmla="*/ 300 h 414"/>
              <a:gd name="T34" fmla="*/ 108 w 414"/>
              <a:gd name="T35" fmla="*/ 120 h 414"/>
              <a:gd name="T36" fmla="*/ 119 w 414"/>
              <a:gd name="T37" fmla="*/ 109 h 414"/>
              <a:gd name="T38" fmla="*/ 299 w 414"/>
              <a:gd name="T39" fmla="*/ 289 h 414"/>
              <a:gd name="T40" fmla="*/ 299 w 414"/>
              <a:gd name="T41" fmla="*/ 174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14" h="414">
                <a:moveTo>
                  <a:pt x="207" y="0"/>
                </a:moveTo>
                <a:cubicBezTo>
                  <a:pt x="93" y="0"/>
                  <a:pt x="0" y="93"/>
                  <a:pt x="0" y="207"/>
                </a:cubicBezTo>
                <a:cubicBezTo>
                  <a:pt x="0" y="321"/>
                  <a:pt x="93" y="414"/>
                  <a:pt x="207" y="414"/>
                </a:cubicBezTo>
                <a:cubicBezTo>
                  <a:pt x="321" y="414"/>
                  <a:pt x="414" y="321"/>
                  <a:pt x="414" y="207"/>
                </a:cubicBezTo>
                <a:cubicBezTo>
                  <a:pt x="414" y="93"/>
                  <a:pt x="321" y="0"/>
                  <a:pt x="207" y="0"/>
                </a:cubicBezTo>
                <a:close/>
                <a:moveTo>
                  <a:pt x="207" y="399"/>
                </a:moveTo>
                <a:cubicBezTo>
                  <a:pt x="101" y="399"/>
                  <a:pt x="15" y="313"/>
                  <a:pt x="15" y="207"/>
                </a:cubicBezTo>
                <a:cubicBezTo>
                  <a:pt x="15" y="101"/>
                  <a:pt x="101" y="15"/>
                  <a:pt x="207" y="15"/>
                </a:cubicBezTo>
                <a:cubicBezTo>
                  <a:pt x="313" y="15"/>
                  <a:pt x="399" y="101"/>
                  <a:pt x="399" y="207"/>
                </a:cubicBezTo>
                <a:cubicBezTo>
                  <a:pt x="399" y="313"/>
                  <a:pt x="313" y="399"/>
                  <a:pt x="207" y="399"/>
                </a:cubicBezTo>
                <a:close/>
                <a:moveTo>
                  <a:pt x="299" y="174"/>
                </a:moveTo>
                <a:cubicBezTo>
                  <a:pt x="314" y="174"/>
                  <a:pt x="314" y="174"/>
                  <a:pt x="314" y="174"/>
                </a:cubicBezTo>
                <a:cubicBezTo>
                  <a:pt x="314" y="307"/>
                  <a:pt x="314" y="307"/>
                  <a:pt x="314" y="307"/>
                </a:cubicBezTo>
                <a:cubicBezTo>
                  <a:pt x="314" y="311"/>
                  <a:pt x="310" y="314"/>
                  <a:pt x="306" y="314"/>
                </a:cubicBezTo>
                <a:cubicBezTo>
                  <a:pt x="173" y="314"/>
                  <a:pt x="173" y="314"/>
                  <a:pt x="173" y="314"/>
                </a:cubicBezTo>
                <a:cubicBezTo>
                  <a:pt x="173" y="300"/>
                  <a:pt x="173" y="300"/>
                  <a:pt x="173" y="300"/>
                </a:cubicBezTo>
                <a:cubicBezTo>
                  <a:pt x="288" y="300"/>
                  <a:pt x="288" y="300"/>
                  <a:pt x="288" y="300"/>
                </a:cubicBezTo>
                <a:cubicBezTo>
                  <a:pt x="108" y="120"/>
                  <a:pt x="108" y="120"/>
                  <a:pt x="108" y="120"/>
                </a:cubicBezTo>
                <a:cubicBezTo>
                  <a:pt x="119" y="109"/>
                  <a:pt x="119" y="109"/>
                  <a:pt x="119" y="109"/>
                </a:cubicBezTo>
                <a:cubicBezTo>
                  <a:pt x="299" y="289"/>
                  <a:pt x="299" y="289"/>
                  <a:pt x="299" y="289"/>
                </a:cubicBezTo>
                <a:lnTo>
                  <a:pt x="299" y="174"/>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39813078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Opportunities">
    <p:bg>
      <p:bgPr>
        <a:solidFill>
          <a:srgbClr val="EDC30D"/>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43897" y="360000"/>
            <a:ext cx="10981182" cy="720000"/>
          </a:xfrm>
        </p:spPr>
        <p:txBody>
          <a:bodyPr/>
          <a:lstStyle>
            <a:lvl1pPr>
              <a:defRPr/>
            </a:lvl1pPr>
          </a:lstStyle>
          <a:p>
            <a:r>
              <a:rPr lang="en-US"/>
              <a:t>Slide title</a:t>
            </a:r>
          </a:p>
        </p:txBody>
      </p:sp>
      <p:cxnSp>
        <p:nvCxnSpPr>
          <p:cNvPr id="4" name="Straight Connector 3"/>
          <p:cNvCxnSpPr/>
          <p:nvPr userDrawn="1"/>
        </p:nvCxnSpPr>
        <p:spPr>
          <a:xfrm>
            <a:off x="467833" y="1068634"/>
            <a:ext cx="11227981"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6" name="Content Placeholder 5"/>
          <p:cNvSpPr>
            <a:spLocks noGrp="1"/>
          </p:cNvSpPr>
          <p:nvPr>
            <p:ph sz="quarter" idx="10" hasCustomPrompt="1"/>
          </p:nvPr>
        </p:nvSpPr>
        <p:spPr>
          <a:xfrm>
            <a:off x="269875" y="1169988"/>
            <a:ext cx="11655425" cy="334962"/>
          </a:xfrm>
        </p:spPr>
        <p:txBody>
          <a:bodyPr anchor="ctr">
            <a:noAutofit/>
          </a:bodyPr>
          <a:lstStyle>
            <a:lvl1pPr>
              <a:defRPr sz="2400"/>
            </a:lvl1pPr>
          </a:lstStyle>
          <a:p>
            <a:pPr lvl="0"/>
            <a:r>
              <a:rPr lang="en-US"/>
              <a:t>Slide subtitle</a:t>
            </a:r>
          </a:p>
        </p:txBody>
      </p:sp>
      <p:sp>
        <p:nvSpPr>
          <p:cNvPr id="8" name="Text Placeholder 7"/>
          <p:cNvSpPr>
            <a:spLocks noGrp="1"/>
          </p:cNvSpPr>
          <p:nvPr>
            <p:ph type="body" sz="quarter" idx="11" hasCustomPrompt="1"/>
          </p:nvPr>
        </p:nvSpPr>
        <p:spPr>
          <a:xfrm>
            <a:off x="269875" y="1749425"/>
            <a:ext cx="11655425" cy="5108575"/>
          </a:xfrm>
        </p:spPr>
        <p:txBody>
          <a:bodyPr/>
          <a:lstStyle>
            <a:lvl1pPr>
              <a:defRPr/>
            </a:lvl1pPr>
            <a:lvl2pPr marL="237600">
              <a:defRPr sz="2800"/>
            </a:lvl2pPr>
          </a:lstStyle>
          <a:p>
            <a:pPr lvl="1"/>
            <a:r>
              <a:rPr lang="en-US"/>
              <a:t>Second level</a:t>
            </a:r>
          </a:p>
          <a:p>
            <a:pPr lvl="2"/>
            <a:r>
              <a:rPr lang="en-US"/>
              <a:t>Third level</a:t>
            </a:r>
          </a:p>
          <a:p>
            <a:pPr lvl="3"/>
            <a:r>
              <a:rPr lang="en-US"/>
              <a:t>Fourth level</a:t>
            </a:r>
          </a:p>
          <a:p>
            <a:pPr lvl="4"/>
            <a:r>
              <a:rPr lang="en-US"/>
              <a:t>Fifth level</a:t>
            </a:r>
          </a:p>
        </p:txBody>
      </p:sp>
      <p:sp>
        <p:nvSpPr>
          <p:cNvPr id="7" name="Freeform 13"/>
          <p:cNvSpPr>
            <a:spLocks noEditPoints="1"/>
          </p:cNvSpPr>
          <p:nvPr userDrawn="1"/>
        </p:nvSpPr>
        <p:spPr bwMode="auto">
          <a:xfrm>
            <a:off x="455749" y="365275"/>
            <a:ext cx="350279" cy="645825"/>
          </a:xfrm>
          <a:custGeom>
            <a:avLst/>
            <a:gdLst>
              <a:gd name="T0" fmla="*/ 2 w 122"/>
              <a:gd name="T1" fmla="*/ 65 h 225"/>
              <a:gd name="T2" fmla="*/ 14 w 122"/>
              <a:gd name="T3" fmla="*/ 77 h 225"/>
              <a:gd name="T4" fmla="*/ 17 w 122"/>
              <a:gd name="T5" fmla="*/ 76 h 225"/>
              <a:gd name="T6" fmla="*/ 119 w 122"/>
              <a:gd name="T7" fmla="*/ 42 h 225"/>
              <a:gd name="T8" fmla="*/ 119 w 122"/>
              <a:gd name="T9" fmla="*/ 30 h 225"/>
              <a:gd name="T10" fmla="*/ 105 w 122"/>
              <a:gd name="T11" fmla="*/ 23 h 225"/>
              <a:gd name="T12" fmla="*/ 3 w 122"/>
              <a:gd name="T13" fmla="*/ 57 h 225"/>
              <a:gd name="T14" fmla="*/ 108 w 122"/>
              <a:gd name="T15" fmla="*/ 28 h 225"/>
              <a:gd name="T16" fmla="*/ 114 w 122"/>
              <a:gd name="T17" fmla="*/ 35 h 225"/>
              <a:gd name="T18" fmla="*/ 111 w 122"/>
              <a:gd name="T19" fmla="*/ 42 h 225"/>
              <a:gd name="T20" fmla="*/ 14 w 122"/>
              <a:gd name="T21" fmla="*/ 71 h 225"/>
              <a:gd name="T22" fmla="*/ 9 w 122"/>
              <a:gd name="T23" fmla="*/ 67 h 225"/>
              <a:gd name="T24" fmla="*/ 8 w 122"/>
              <a:gd name="T25" fmla="*/ 59 h 225"/>
              <a:gd name="T26" fmla="*/ 106 w 122"/>
              <a:gd name="T27" fmla="*/ 28 h 225"/>
              <a:gd name="T28" fmla="*/ 14 w 122"/>
              <a:gd name="T29" fmla="*/ 43 h 225"/>
              <a:gd name="T30" fmla="*/ 66 w 122"/>
              <a:gd name="T31" fmla="*/ 28 h 225"/>
              <a:gd name="T32" fmla="*/ 73 w 122"/>
              <a:gd name="T33" fmla="*/ 10 h 225"/>
              <a:gd name="T34" fmla="*/ 9 w 122"/>
              <a:gd name="T35" fmla="*/ 17 h 225"/>
              <a:gd name="T36" fmla="*/ 3 w 122"/>
              <a:gd name="T37" fmla="*/ 35 h 225"/>
              <a:gd name="T38" fmla="*/ 61 w 122"/>
              <a:gd name="T39" fmla="*/ 8 h 225"/>
              <a:gd name="T40" fmla="*/ 67 w 122"/>
              <a:gd name="T41" fmla="*/ 12 h 225"/>
              <a:gd name="T42" fmla="*/ 65 w 122"/>
              <a:gd name="T43" fmla="*/ 22 h 225"/>
              <a:gd name="T44" fmla="*/ 14 w 122"/>
              <a:gd name="T45" fmla="*/ 37 h 225"/>
              <a:gd name="T46" fmla="*/ 8 w 122"/>
              <a:gd name="T47" fmla="*/ 30 h 225"/>
              <a:gd name="T48" fmla="*/ 120 w 122"/>
              <a:gd name="T49" fmla="*/ 101 h 225"/>
              <a:gd name="T50" fmla="*/ 105 w 122"/>
              <a:gd name="T51" fmla="*/ 90 h 225"/>
              <a:gd name="T52" fmla="*/ 72 w 122"/>
              <a:gd name="T53" fmla="*/ 110 h 225"/>
              <a:gd name="T54" fmla="*/ 55 w 122"/>
              <a:gd name="T55" fmla="*/ 138 h 225"/>
              <a:gd name="T56" fmla="*/ 53 w 122"/>
              <a:gd name="T57" fmla="*/ 99 h 225"/>
              <a:gd name="T58" fmla="*/ 119 w 122"/>
              <a:gd name="T59" fmla="*/ 76 h 225"/>
              <a:gd name="T60" fmla="*/ 119 w 122"/>
              <a:gd name="T61" fmla="*/ 64 h 225"/>
              <a:gd name="T62" fmla="*/ 9 w 122"/>
              <a:gd name="T63" fmla="*/ 85 h 225"/>
              <a:gd name="T64" fmla="*/ 1 w 122"/>
              <a:gd name="T65" fmla="*/ 97 h 225"/>
              <a:gd name="T66" fmla="*/ 3 w 122"/>
              <a:gd name="T67" fmla="*/ 102 h 225"/>
              <a:gd name="T68" fmla="*/ 11 w 122"/>
              <a:gd name="T69" fmla="*/ 110 h 225"/>
              <a:gd name="T70" fmla="*/ 28 w 122"/>
              <a:gd name="T71" fmla="*/ 121 h 225"/>
              <a:gd name="T72" fmla="*/ 17 w 122"/>
              <a:gd name="T73" fmla="*/ 138 h 225"/>
              <a:gd name="T74" fmla="*/ 40 w 122"/>
              <a:gd name="T75" fmla="*/ 209 h 225"/>
              <a:gd name="T76" fmla="*/ 53 w 122"/>
              <a:gd name="T77" fmla="*/ 225 h 225"/>
              <a:gd name="T78" fmla="*/ 87 w 122"/>
              <a:gd name="T79" fmla="*/ 214 h 225"/>
              <a:gd name="T80" fmla="*/ 110 w 122"/>
              <a:gd name="T81" fmla="*/ 187 h 225"/>
              <a:gd name="T82" fmla="*/ 99 w 122"/>
              <a:gd name="T83" fmla="*/ 138 h 225"/>
              <a:gd name="T84" fmla="*/ 104 w 122"/>
              <a:gd name="T85" fmla="*/ 117 h 225"/>
              <a:gd name="T86" fmla="*/ 120 w 122"/>
              <a:gd name="T87" fmla="*/ 101 h 225"/>
              <a:gd name="T88" fmla="*/ 47 w 122"/>
              <a:gd name="T89" fmla="*/ 101 h 225"/>
              <a:gd name="T90" fmla="*/ 49 w 122"/>
              <a:gd name="T91" fmla="*/ 138 h 225"/>
              <a:gd name="T92" fmla="*/ 35 w 122"/>
              <a:gd name="T93" fmla="*/ 121 h 225"/>
              <a:gd name="T94" fmla="*/ 24 w 122"/>
              <a:gd name="T95" fmla="*/ 108 h 225"/>
              <a:gd name="T96" fmla="*/ 12 w 122"/>
              <a:gd name="T97" fmla="*/ 104 h 225"/>
              <a:gd name="T98" fmla="*/ 8 w 122"/>
              <a:gd name="T99" fmla="*/ 97 h 225"/>
              <a:gd name="T100" fmla="*/ 8 w 122"/>
              <a:gd name="T101" fmla="*/ 93 h 225"/>
              <a:gd name="T102" fmla="*/ 12 w 122"/>
              <a:gd name="T103" fmla="*/ 90 h 225"/>
              <a:gd name="T104" fmla="*/ 24 w 122"/>
              <a:gd name="T105" fmla="*/ 86 h 225"/>
              <a:gd name="T106" fmla="*/ 108 w 122"/>
              <a:gd name="T107" fmla="*/ 62 h 225"/>
              <a:gd name="T108" fmla="*/ 114 w 122"/>
              <a:gd name="T109" fmla="*/ 69 h 225"/>
              <a:gd name="T110" fmla="*/ 111 w 122"/>
              <a:gd name="T111" fmla="*/ 76 h 225"/>
              <a:gd name="T112" fmla="*/ 43 w 122"/>
              <a:gd name="T113" fmla="*/ 98 h 225"/>
              <a:gd name="T114" fmla="*/ 103 w 122"/>
              <a:gd name="T115" fmla="*/ 111 h 225"/>
              <a:gd name="T116" fmla="*/ 92 w 122"/>
              <a:gd name="T117" fmla="*/ 138 h 225"/>
              <a:gd name="T118" fmla="*/ 78 w 122"/>
              <a:gd name="T119" fmla="*/ 110 h 225"/>
              <a:gd name="T120" fmla="*/ 106 w 122"/>
              <a:gd name="T121" fmla="*/ 96 h 225"/>
              <a:gd name="T122" fmla="*/ 114 w 122"/>
              <a:gd name="T123" fmla="*/ 103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22" h="225">
                <a:moveTo>
                  <a:pt x="3" y="57"/>
                </a:moveTo>
                <a:cubicBezTo>
                  <a:pt x="1" y="59"/>
                  <a:pt x="1" y="62"/>
                  <a:pt x="2" y="65"/>
                </a:cubicBezTo>
                <a:cubicBezTo>
                  <a:pt x="3" y="69"/>
                  <a:pt x="3" y="69"/>
                  <a:pt x="3" y="69"/>
                </a:cubicBezTo>
                <a:cubicBezTo>
                  <a:pt x="4" y="74"/>
                  <a:pt x="9" y="77"/>
                  <a:pt x="14" y="77"/>
                </a:cubicBezTo>
                <a:cubicBezTo>
                  <a:pt x="14" y="77"/>
                  <a:pt x="14" y="77"/>
                  <a:pt x="14" y="77"/>
                </a:cubicBezTo>
                <a:cubicBezTo>
                  <a:pt x="15" y="77"/>
                  <a:pt x="16" y="77"/>
                  <a:pt x="17" y="76"/>
                </a:cubicBezTo>
                <a:cubicBezTo>
                  <a:pt x="112" y="48"/>
                  <a:pt x="112" y="48"/>
                  <a:pt x="112" y="48"/>
                </a:cubicBezTo>
                <a:cubicBezTo>
                  <a:pt x="115" y="47"/>
                  <a:pt x="118" y="45"/>
                  <a:pt x="119" y="42"/>
                </a:cubicBezTo>
                <a:cubicBezTo>
                  <a:pt x="120" y="40"/>
                  <a:pt x="121" y="37"/>
                  <a:pt x="120" y="34"/>
                </a:cubicBezTo>
                <a:cubicBezTo>
                  <a:pt x="119" y="30"/>
                  <a:pt x="119" y="30"/>
                  <a:pt x="119" y="30"/>
                </a:cubicBezTo>
                <a:cubicBezTo>
                  <a:pt x="117" y="25"/>
                  <a:pt x="113" y="22"/>
                  <a:pt x="108" y="22"/>
                </a:cubicBezTo>
                <a:cubicBezTo>
                  <a:pt x="107" y="22"/>
                  <a:pt x="106" y="22"/>
                  <a:pt x="105" y="23"/>
                </a:cubicBezTo>
                <a:cubicBezTo>
                  <a:pt x="9" y="51"/>
                  <a:pt x="9" y="51"/>
                  <a:pt x="9" y="51"/>
                </a:cubicBezTo>
                <a:cubicBezTo>
                  <a:pt x="6" y="52"/>
                  <a:pt x="4" y="54"/>
                  <a:pt x="3" y="57"/>
                </a:cubicBezTo>
                <a:close/>
                <a:moveTo>
                  <a:pt x="106" y="28"/>
                </a:moveTo>
                <a:cubicBezTo>
                  <a:pt x="107" y="28"/>
                  <a:pt x="107" y="28"/>
                  <a:pt x="108" y="28"/>
                </a:cubicBezTo>
                <a:cubicBezTo>
                  <a:pt x="110" y="28"/>
                  <a:pt x="112" y="30"/>
                  <a:pt x="113" y="32"/>
                </a:cubicBezTo>
                <a:cubicBezTo>
                  <a:pt x="114" y="35"/>
                  <a:pt x="114" y="35"/>
                  <a:pt x="114" y="35"/>
                </a:cubicBezTo>
                <a:cubicBezTo>
                  <a:pt x="115" y="37"/>
                  <a:pt x="114" y="38"/>
                  <a:pt x="114" y="40"/>
                </a:cubicBezTo>
                <a:cubicBezTo>
                  <a:pt x="113" y="41"/>
                  <a:pt x="112" y="42"/>
                  <a:pt x="111" y="42"/>
                </a:cubicBezTo>
                <a:cubicBezTo>
                  <a:pt x="15" y="71"/>
                  <a:pt x="15" y="71"/>
                  <a:pt x="15" y="71"/>
                </a:cubicBezTo>
                <a:cubicBezTo>
                  <a:pt x="15" y="71"/>
                  <a:pt x="14" y="71"/>
                  <a:pt x="14" y="71"/>
                </a:cubicBezTo>
                <a:cubicBezTo>
                  <a:pt x="14" y="71"/>
                  <a:pt x="14" y="71"/>
                  <a:pt x="14" y="71"/>
                </a:cubicBezTo>
                <a:cubicBezTo>
                  <a:pt x="11" y="71"/>
                  <a:pt x="9" y="69"/>
                  <a:pt x="9" y="67"/>
                </a:cubicBezTo>
                <a:cubicBezTo>
                  <a:pt x="8" y="63"/>
                  <a:pt x="8" y="63"/>
                  <a:pt x="8" y="63"/>
                </a:cubicBezTo>
                <a:cubicBezTo>
                  <a:pt x="7" y="62"/>
                  <a:pt x="7" y="61"/>
                  <a:pt x="8" y="59"/>
                </a:cubicBezTo>
                <a:cubicBezTo>
                  <a:pt x="9" y="58"/>
                  <a:pt x="10" y="57"/>
                  <a:pt x="11" y="57"/>
                </a:cubicBezTo>
                <a:lnTo>
                  <a:pt x="106" y="28"/>
                </a:lnTo>
                <a:close/>
                <a:moveTo>
                  <a:pt x="3" y="35"/>
                </a:moveTo>
                <a:cubicBezTo>
                  <a:pt x="4" y="40"/>
                  <a:pt x="9" y="43"/>
                  <a:pt x="14" y="43"/>
                </a:cubicBezTo>
                <a:cubicBezTo>
                  <a:pt x="15" y="43"/>
                  <a:pt x="16" y="43"/>
                  <a:pt x="17" y="43"/>
                </a:cubicBezTo>
                <a:cubicBezTo>
                  <a:pt x="66" y="28"/>
                  <a:pt x="66" y="28"/>
                  <a:pt x="66" y="28"/>
                </a:cubicBezTo>
                <a:cubicBezTo>
                  <a:pt x="72" y="26"/>
                  <a:pt x="76" y="19"/>
                  <a:pt x="74" y="13"/>
                </a:cubicBezTo>
                <a:cubicBezTo>
                  <a:pt x="73" y="10"/>
                  <a:pt x="73" y="10"/>
                  <a:pt x="73" y="10"/>
                </a:cubicBezTo>
                <a:cubicBezTo>
                  <a:pt x="71" y="4"/>
                  <a:pt x="65" y="0"/>
                  <a:pt x="59" y="2"/>
                </a:cubicBezTo>
                <a:cubicBezTo>
                  <a:pt x="9" y="17"/>
                  <a:pt x="9" y="17"/>
                  <a:pt x="9" y="17"/>
                </a:cubicBezTo>
                <a:cubicBezTo>
                  <a:pt x="3" y="19"/>
                  <a:pt x="0" y="25"/>
                  <a:pt x="2" y="31"/>
                </a:cubicBezTo>
                <a:lnTo>
                  <a:pt x="3" y="35"/>
                </a:lnTo>
                <a:close/>
                <a:moveTo>
                  <a:pt x="11" y="23"/>
                </a:moveTo>
                <a:cubicBezTo>
                  <a:pt x="61" y="8"/>
                  <a:pt x="61" y="8"/>
                  <a:pt x="61" y="8"/>
                </a:cubicBezTo>
                <a:cubicBezTo>
                  <a:pt x="61" y="8"/>
                  <a:pt x="62" y="8"/>
                  <a:pt x="62" y="8"/>
                </a:cubicBezTo>
                <a:cubicBezTo>
                  <a:pt x="64" y="8"/>
                  <a:pt x="67" y="9"/>
                  <a:pt x="67" y="12"/>
                </a:cubicBezTo>
                <a:cubicBezTo>
                  <a:pt x="68" y="15"/>
                  <a:pt x="68" y="15"/>
                  <a:pt x="68" y="15"/>
                </a:cubicBezTo>
                <a:cubicBezTo>
                  <a:pt x="69" y="18"/>
                  <a:pt x="68" y="21"/>
                  <a:pt x="65" y="22"/>
                </a:cubicBezTo>
                <a:cubicBezTo>
                  <a:pt x="15" y="37"/>
                  <a:pt x="15" y="37"/>
                  <a:pt x="15" y="37"/>
                </a:cubicBezTo>
                <a:cubicBezTo>
                  <a:pt x="15" y="37"/>
                  <a:pt x="14" y="37"/>
                  <a:pt x="14" y="37"/>
                </a:cubicBezTo>
                <a:cubicBezTo>
                  <a:pt x="11" y="37"/>
                  <a:pt x="9" y="36"/>
                  <a:pt x="9" y="33"/>
                </a:cubicBezTo>
                <a:cubicBezTo>
                  <a:pt x="8" y="30"/>
                  <a:pt x="8" y="30"/>
                  <a:pt x="8" y="30"/>
                </a:cubicBezTo>
                <a:cubicBezTo>
                  <a:pt x="7" y="27"/>
                  <a:pt x="8" y="24"/>
                  <a:pt x="11" y="23"/>
                </a:cubicBezTo>
                <a:close/>
                <a:moveTo>
                  <a:pt x="120" y="101"/>
                </a:moveTo>
                <a:cubicBezTo>
                  <a:pt x="119" y="97"/>
                  <a:pt x="119" y="97"/>
                  <a:pt x="119" y="97"/>
                </a:cubicBezTo>
                <a:cubicBezTo>
                  <a:pt x="117" y="92"/>
                  <a:pt x="110" y="88"/>
                  <a:pt x="105" y="90"/>
                </a:cubicBezTo>
                <a:cubicBezTo>
                  <a:pt x="82" y="96"/>
                  <a:pt x="82" y="96"/>
                  <a:pt x="82" y="96"/>
                </a:cubicBezTo>
                <a:cubicBezTo>
                  <a:pt x="76" y="98"/>
                  <a:pt x="72" y="104"/>
                  <a:pt x="72" y="110"/>
                </a:cubicBezTo>
                <a:cubicBezTo>
                  <a:pt x="72" y="138"/>
                  <a:pt x="72" y="138"/>
                  <a:pt x="72" y="138"/>
                </a:cubicBezTo>
                <a:cubicBezTo>
                  <a:pt x="55" y="138"/>
                  <a:pt x="55" y="138"/>
                  <a:pt x="55" y="138"/>
                </a:cubicBezTo>
                <a:cubicBezTo>
                  <a:pt x="55" y="106"/>
                  <a:pt x="55" y="106"/>
                  <a:pt x="55" y="106"/>
                </a:cubicBezTo>
                <a:cubicBezTo>
                  <a:pt x="55" y="104"/>
                  <a:pt x="54" y="101"/>
                  <a:pt x="53" y="99"/>
                </a:cubicBezTo>
                <a:cubicBezTo>
                  <a:pt x="112" y="82"/>
                  <a:pt x="112" y="82"/>
                  <a:pt x="112" y="82"/>
                </a:cubicBezTo>
                <a:cubicBezTo>
                  <a:pt x="115" y="81"/>
                  <a:pt x="118" y="79"/>
                  <a:pt x="119" y="76"/>
                </a:cubicBezTo>
                <a:cubicBezTo>
                  <a:pt x="120" y="73"/>
                  <a:pt x="121" y="70"/>
                  <a:pt x="120" y="67"/>
                </a:cubicBezTo>
                <a:cubicBezTo>
                  <a:pt x="119" y="64"/>
                  <a:pt x="119" y="64"/>
                  <a:pt x="119" y="64"/>
                </a:cubicBezTo>
                <a:cubicBezTo>
                  <a:pt x="117" y="58"/>
                  <a:pt x="110" y="54"/>
                  <a:pt x="105" y="56"/>
                </a:cubicBezTo>
                <a:cubicBezTo>
                  <a:pt x="9" y="85"/>
                  <a:pt x="9" y="85"/>
                  <a:pt x="9" y="85"/>
                </a:cubicBezTo>
                <a:cubicBezTo>
                  <a:pt x="6" y="86"/>
                  <a:pt x="4" y="88"/>
                  <a:pt x="3" y="90"/>
                </a:cubicBezTo>
                <a:cubicBezTo>
                  <a:pt x="1" y="92"/>
                  <a:pt x="1" y="95"/>
                  <a:pt x="1" y="97"/>
                </a:cubicBezTo>
                <a:cubicBezTo>
                  <a:pt x="2" y="98"/>
                  <a:pt x="2" y="98"/>
                  <a:pt x="2" y="99"/>
                </a:cubicBezTo>
                <a:cubicBezTo>
                  <a:pt x="3" y="102"/>
                  <a:pt x="3" y="102"/>
                  <a:pt x="3" y="102"/>
                </a:cubicBezTo>
                <a:cubicBezTo>
                  <a:pt x="4" y="106"/>
                  <a:pt x="7" y="109"/>
                  <a:pt x="10" y="110"/>
                </a:cubicBezTo>
                <a:cubicBezTo>
                  <a:pt x="11" y="110"/>
                  <a:pt x="11" y="110"/>
                  <a:pt x="11" y="110"/>
                </a:cubicBezTo>
                <a:cubicBezTo>
                  <a:pt x="23" y="113"/>
                  <a:pt x="23" y="113"/>
                  <a:pt x="23" y="113"/>
                </a:cubicBezTo>
                <a:cubicBezTo>
                  <a:pt x="26" y="114"/>
                  <a:pt x="28" y="118"/>
                  <a:pt x="28" y="121"/>
                </a:cubicBezTo>
                <a:cubicBezTo>
                  <a:pt x="28" y="138"/>
                  <a:pt x="28" y="138"/>
                  <a:pt x="28" y="138"/>
                </a:cubicBezTo>
                <a:cubicBezTo>
                  <a:pt x="17" y="138"/>
                  <a:pt x="17" y="138"/>
                  <a:pt x="17" y="138"/>
                </a:cubicBezTo>
                <a:cubicBezTo>
                  <a:pt x="17" y="187"/>
                  <a:pt x="17" y="187"/>
                  <a:pt x="17" y="187"/>
                </a:cubicBezTo>
                <a:cubicBezTo>
                  <a:pt x="17" y="199"/>
                  <a:pt x="28" y="208"/>
                  <a:pt x="40" y="209"/>
                </a:cubicBezTo>
                <a:cubicBezTo>
                  <a:pt x="40" y="214"/>
                  <a:pt x="40" y="214"/>
                  <a:pt x="40" y="214"/>
                </a:cubicBezTo>
                <a:cubicBezTo>
                  <a:pt x="40" y="220"/>
                  <a:pt x="46" y="225"/>
                  <a:pt x="53" y="225"/>
                </a:cubicBezTo>
                <a:cubicBezTo>
                  <a:pt x="74" y="225"/>
                  <a:pt x="74" y="225"/>
                  <a:pt x="74" y="225"/>
                </a:cubicBezTo>
                <a:cubicBezTo>
                  <a:pt x="81" y="225"/>
                  <a:pt x="87" y="220"/>
                  <a:pt x="87" y="214"/>
                </a:cubicBezTo>
                <a:cubicBezTo>
                  <a:pt x="87" y="209"/>
                  <a:pt x="87" y="209"/>
                  <a:pt x="87" y="209"/>
                </a:cubicBezTo>
                <a:cubicBezTo>
                  <a:pt x="99" y="208"/>
                  <a:pt x="110" y="199"/>
                  <a:pt x="110" y="187"/>
                </a:cubicBezTo>
                <a:cubicBezTo>
                  <a:pt x="110" y="138"/>
                  <a:pt x="110" y="138"/>
                  <a:pt x="110" y="138"/>
                </a:cubicBezTo>
                <a:cubicBezTo>
                  <a:pt x="99" y="138"/>
                  <a:pt x="99" y="138"/>
                  <a:pt x="99" y="138"/>
                </a:cubicBezTo>
                <a:cubicBezTo>
                  <a:pt x="99" y="125"/>
                  <a:pt x="99" y="125"/>
                  <a:pt x="99" y="125"/>
                </a:cubicBezTo>
                <a:cubicBezTo>
                  <a:pt x="99" y="122"/>
                  <a:pt x="101" y="118"/>
                  <a:pt x="104" y="117"/>
                </a:cubicBezTo>
                <a:cubicBezTo>
                  <a:pt x="112" y="115"/>
                  <a:pt x="112" y="115"/>
                  <a:pt x="112" y="115"/>
                </a:cubicBezTo>
                <a:cubicBezTo>
                  <a:pt x="118" y="113"/>
                  <a:pt x="122" y="107"/>
                  <a:pt x="120" y="101"/>
                </a:cubicBezTo>
                <a:close/>
                <a:moveTo>
                  <a:pt x="43" y="98"/>
                </a:moveTo>
                <a:cubicBezTo>
                  <a:pt x="45" y="99"/>
                  <a:pt x="46" y="100"/>
                  <a:pt x="47" y="101"/>
                </a:cubicBezTo>
                <a:cubicBezTo>
                  <a:pt x="48" y="103"/>
                  <a:pt x="49" y="104"/>
                  <a:pt x="49" y="106"/>
                </a:cubicBezTo>
                <a:cubicBezTo>
                  <a:pt x="49" y="138"/>
                  <a:pt x="49" y="138"/>
                  <a:pt x="49" y="138"/>
                </a:cubicBezTo>
                <a:cubicBezTo>
                  <a:pt x="35" y="138"/>
                  <a:pt x="35" y="138"/>
                  <a:pt x="35" y="138"/>
                </a:cubicBezTo>
                <a:cubicBezTo>
                  <a:pt x="35" y="121"/>
                  <a:pt x="35" y="121"/>
                  <a:pt x="35" y="121"/>
                </a:cubicBezTo>
                <a:cubicBezTo>
                  <a:pt x="35" y="116"/>
                  <a:pt x="30" y="110"/>
                  <a:pt x="25" y="108"/>
                </a:cubicBezTo>
                <a:cubicBezTo>
                  <a:pt x="25" y="108"/>
                  <a:pt x="24" y="108"/>
                  <a:pt x="24" y="108"/>
                </a:cubicBezTo>
                <a:cubicBezTo>
                  <a:pt x="13" y="104"/>
                  <a:pt x="13" y="104"/>
                  <a:pt x="13" y="104"/>
                </a:cubicBezTo>
                <a:cubicBezTo>
                  <a:pt x="12" y="104"/>
                  <a:pt x="12" y="104"/>
                  <a:pt x="12" y="104"/>
                </a:cubicBezTo>
                <a:cubicBezTo>
                  <a:pt x="10" y="104"/>
                  <a:pt x="9" y="102"/>
                  <a:pt x="9" y="101"/>
                </a:cubicBezTo>
                <a:cubicBezTo>
                  <a:pt x="8" y="97"/>
                  <a:pt x="8" y="97"/>
                  <a:pt x="8" y="97"/>
                </a:cubicBezTo>
                <a:cubicBezTo>
                  <a:pt x="8" y="97"/>
                  <a:pt x="8" y="97"/>
                  <a:pt x="8" y="97"/>
                </a:cubicBezTo>
                <a:cubicBezTo>
                  <a:pt x="7" y="96"/>
                  <a:pt x="7" y="94"/>
                  <a:pt x="8" y="93"/>
                </a:cubicBezTo>
                <a:cubicBezTo>
                  <a:pt x="9" y="92"/>
                  <a:pt x="10" y="91"/>
                  <a:pt x="11" y="90"/>
                </a:cubicBezTo>
                <a:cubicBezTo>
                  <a:pt x="12" y="90"/>
                  <a:pt x="12" y="90"/>
                  <a:pt x="12" y="90"/>
                </a:cubicBezTo>
                <a:cubicBezTo>
                  <a:pt x="13" y="90"/>
                  <a:pt x="13" y="90"/>
                  <a:pt x="13" y="90"/>
                </a:cubicBezTo>
                <a:cubicBezTo>
                  <a:pt x="24" y="86"/>
                  <a:pt x="24" y="86"/>
                  <a:pt x="24" y="86"/>
                </a:cubicBezTo>
                <a:cubicBezTo>
                  <a:pt x="106" y="62"/>
                  <a:pt x="106" y="62"/>
                  <a:pt x="106" y="62"/>
                </a:cubicBezTo>
                <a:cubicBezTo>
                  <a:pt x="107" y="62"/>
                  <a:pt x="107" y="62"/>
                  <a:pt x="108" y="62"/>
                </a:cubicBezTo>
                <a:cubicBezTo>
                  <a:pt x="110" y="62"/>
                  <a:pt x="112" y="63"/>
                  <a:pt x="113" y="66"/>
                </a:cubicBezTo>
                <a:cubicBezTo>
                  <a:pt x="114" y="69"/>
                  <a:pt x="114" y="69"/>
                  <a:pt x="114" y="69"/>
                </a:cubicBezTo>
                <a:cubicBezTo>
                  <a:pt x="115" y="71"/>
                  <a:pt x="114" y="72"/>
                  <a:pt x="114" y="73"/>
                </a:cubicBezTo>
                <a:cubicBezTo>
                  <a:pt x="113" y="74"/>
                  <a:pt x="112" y="75"/>
                  <a:pt x="111" y="76"/>
                </a:cubicBezTo>
                <a:cubicBezTo>
                  <a:pt x="49" y="94"/>
                  <a:pt x="49" y="94"/>
                  <a:pt x="49" y="94"/>
                </a:cubicBezTo>
                <a:cubicBezTo>
                  <a:pt x="39" y="97"/>
                  <a:pt x="43" y="98"/>
                  <a:pt x="43" y="98"/>
                </a:cubicBezTo>
                <a:close/>
                <a:moveTo>
                  <a:pt x="111" y="109"/>
                </a:moveTo>
                <a:cubicBezTo>
                  <a:pt x="103" y="111"/>
                  <a:pt x="103" y="111"/>
                  <a:pt x="103" y="111"/>
                </a:cubicBezTo>
                <a:cubicBezTo>
                  <a:pt x="97" y="113"/>
                  <a:pt x="92" y="119"/>
                  <a:pt x="92" y="125"/>
                </a:cubicBezTo>
                <a:cubicBezTo>
                  <a:pt x="92" y="138"/>
                  <a:pt x="92" y="138"/>
                  <a:pt x="92" y="138"/>
                </a:cubicBezTo>
                <a:cubicBezTo>
                  <a:pt x="78" y="138"/>
                  <a:pt x="78" y="138"/>
                  <a:pt x="78" y="138"/>
                </a:cubicBezTo>
                <a:cubicBezTo>
                  <a:pt x="78" y="110"/>
                  <a:pt x="78" y="110"/>
                  <a:pt x="78" y="110"/>
                </a:cubicBezTo>
                <a:cubicBezTo>
                  <a:pt x="78" y="107"/>
                  <a:pt x="81" y="103"/>
                  <a:pt x="84" y="102"/>
                </a:cubicBezTo>
                <a:cubicBezTo>
                  <a:pt x="106" y="96"/>
                  <a:pt x="106" y="96"/>
                  <a:pt x="106" y="96"/>
                </a:cubicBezTo>
                <a:cubicBezTo>
                  <a:pt x="109" y="95"/>
                  <a:pt x="112" y="96"/>
                  <a:pt x="113" y="99"/>
                </a:cubicBezTo>
                <a:cubicBezTo>
                  <a:pt x="114" y="103"/>
                  <a:pt x="114" y="103"/>
                  <a:pt x="114" y="103"/>
                </a:cubicBezTo>
                <a:cubicBezTo>
                  <a:pt x="115" y="106"/>
                  <a:pt x="113" y="109"/>
                  <a:pt x="111" y="109"/>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solidFill>
                <a:sysClr val="windowText" lastClr="000000"/>
              </a:solidFill>
            </a:endParaRPr>
          </a:p>
        </p:txBody>
      </p:sp>
    </p:spTree>
    <p:extLst>
      <p:ext uri="{BB962C8B-B14F-4D97-AF65-F5344CB8AC3E}">
        <p14:creationId xmlns:p14="http://schemas.microsoft.com/office/powerpoint/2010/main" val="31064852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Title and 2-color 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184808"/>
          </a:xfrm>
        </p:spPr>
        <p:txBody>
          <a:bodyPr>
            <a:spAutoFit/>
          </a:bodyPr>
          <a:lstStyle>
            <a:lvl1pPr>
              <a:buClr>
                <a:schemeClr val="tx2"/>
              </a:buClr>
              <a:defRPr>
                <a:gradFill>
                  <a:gsLst>
                    <a:gs pos="13869">
                      <a:schemeClr val="tx2"/>
                    </a:gs>
                    <a:gs pos="42000">
                      <a:schemeClr val="tx2"/>
                    </a:gs>
                  </a:gsLst>
                  <a:lin ang="5400000" scaled="0"/>
                </a:gradFill>
              </a:defRPr>
            </a:lvl1pPr>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413210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Resources">
    <p:bg>
      <p:bgPr>
        <a:solidFill>
          <a:srgbClr val="EDC30D"/>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114478" y="360000"/>
            <a:ext cx="10810601" cy="720000"/>
          </a:xfrm>
        </p:spPr>
        <p:txBody>
          <a:bodyPr/>
          <a:lstStyle>
            <a:lvl1pPr>
              <a:defRPr/>
            </a:lvl1pPr>
          </a:lstStyle>
          <a:p>
            <a:r>
              <a:rPr lang="en-US"/>
              <a:t>Slide title</a:t>
            </a:r>
          </a:p>
        </p:txBody>
      </p:sp>
      <p:cxnSp>
        <p:nvCxnSpPr>
          <p:cNvPr id="4" name="Straight Connector 3"/>
          <p:cNvCxnSpPr/>
          <p:nvPr userDrawn="1"/>
        </p:nvCxnSpPr>
        <p:spPr>
          <a:xfrm>
            <a:off x="467833" y="1068634"/>
            <a:ext cx="11227981"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6" name="Content Placeholder 5"/>
          <p:cNvSpPr>
            <a:spLocks noGrp="1"/>
          </p:cNvSpPr>
          <p:nvPr>
            <p:ph sz="quarter" idx="10" hasCustomPrompt="1"/>
          </p:nvPr>
        </p:nvSpPr>
        <p:spPr>
          <a:xfrm>
            <a:off x="269875" y="1169988"/>
            <a:ext cx="11655425" cy="334962"/>
          </a:xfrm>
        </p:spPr>
        <p:txBody>
          <a:bodyPr anchor="ctr">
            <a:noAutofit/>
          </a:bodyPr>
          <a:lstStyle>
            <a:lvl1pPr>
              <a:defRPr sz="2400"/>
            </a:lvl1pPr>
          </a:lstStyle>
          <a:p>
            <a:pPr lvl="0"/>
            <a:r>
              <a:rPr lang="en-US"/>
              <a:t>Slide subtitle</a:t>
            </a:r>
          </a:p>
        </p:txBody>
      </p:sp>
      <p:sp>
        <p:nvSpPr>
          <p:cNvPr id="8" name="Text Placeholder 7"/>
          <p:cNvSpPr>
            <a:spLocks noGrp="1"/>
          </p:cNvSpPr>
          <p:nvPr>
            <p:ph type="body" sz="quarter" idx="11" hasCustomPrompt="1"/>
          </p:nvPr>
        </p:nvSpPr>
        <p:spPr>
          <a:xfrm>
            <a:off x="269875" y="1749425"/>
            <a:ext cx="11655425" cy="5108575"/>
          </a:xfrm>
        </p:spPr>
        <p:txBody>
          <a:bodyPr/>
          <a:lstStyle>
            <a:lvl1pPr>
              <a:defRPr/>
            </a:lvl1pPr>
            <a:lvl2pPr marL="237600">
              <a:defRPr/>
            </a:lvl2pPr>
          </a:lstStyle>
          <a:p>
            <a:pPr lvl="0"/>
            <a:r>
              <a:rPr lang="en-US"/>
              <a:t>Slide content</a:t>
            </a:r>
          </a:p>
          <a:p>
            <a:pPr lvl="1"/>
            <a:r>
              <a:rPr lang="en-US"/>
              <a:t>Second level</a:t>
            </a:r>
          </a:p>
          <a:p>
            <a:pPr lvl="2"/>
            <a:r>
              <a:rPr lang="en-US"/>
              <a:t>Third level</a:t>
            </a:r>
          </a:p>
          <a:p>
            <a:pPr lvl="3"/>
            <a:r>
              <a:rPr lang="en-US"/>
              <a:t>Fourth level</a:t>
            </a:r>
          </a:p>
          <a:p>
            <a:pPr lvl="4"/>
            <a:r>
              <a:rPr lang="en-US"/>
              <a:t>Fifth level</a:t>
            </a:r>
          </a:p>
        </p:txBody>
      </p:sp>
      <p:sp>
        <p:nvSpPr>
          <p:cNvPr id="9" name="Freeform 72"/>
          <p:cNvSpPr>
            <a:spLocks noEditPoints="1"/>
          </p:cNvSpPr>
          <p:nvPr userDrawn="1"/>
        </p:nvSpPr>
        <p:spPr bwMode="auto">
          <a:xfrm>
            <a:off x="467833" y="360000"/>
            <a:ext cx="646645" cy="647978"/>
          </a:xfrm>
          <a:custGeom>
            <a:avLst/>
            <a:gdLst>
              <a:gd name="T0" fmla="*/ 337 w 411"/>
              <a:gd name="T1" fmla="*/ 198 h 412"/>
              <a:gd name="T2" fmla="*/ 284 w 411"/>
              <a:gd name="T3" fmla="*/ 220 h 412"/>
              <a:gd name="T4" fmla="*/ 249 w 411"/>
              <a:gd name="T5" fmla="*/ 185 h 412"/>
              <a:gd name="T6" fmla="*/ 283 w 411"/>
              <a:gd name="T7" fmla="*/ 107 h 412"/>
              <a:gd name="T8" fmla="*/ 176 w 411"/>
              <a:gd name="T9" fmla="*/ 0 h 412"/>
              <a:gd name="T10" fmla="*/ 68 w 411"/>
              <a:gd name="T11" fmla="*/ 107 h 412"/>
              <a:gd name="T12" fmla="*/ 116 w 411"/>
              <a:gd name="T13" fmla="*/ 196 h 412"/>
              <a:gd name="T14" fmla="*/ 96 w 411"/>
              <a:gd name="T15" fmla="*/ 266 h 412"/>
              <a:gd name="T16" fmla="*/ 74 w 411"/>
              <a:gd name="T17" fmla="*/ 263 h 412"/>
              <a:gd name="T18" fmla="*/ 0 w 411"/>
              <a:gd name="T19" fmla="*/ 337 h 412"/>
              <a:gd name="T20" fmla="*/ 74 w 411"/>
              <a:gd name="T21" fmla="*/ 412 h 412"/>
              <a:gd name="T22" fmla="*/ 149 w 411"/>
              <a:gd name="T23" fmla="*/ 337 h 412"/>
              <a:gd name="T24" fmla="*/ 110 w 411"/>
              <a:gd name="T25" fmla="*/ 272 h 412"/>
              <a:gd name="T26" fmla="*/ 130 w 411"/>
              <a:gd name="T27" fmla="*/ 204 h 412"/>
              <a:gd name="T28" fmla="*/ 176 w 411"/>
              <a:gd name="T29" fmla="*/ 214 h 412"/>
              <a:gd name="T30" fmla="*/ 238 w 411"/>
              <a:gd name="T31" fmla="*/ 195 h 412"/>
              <a:gd name="T32" fmla="*/ 275 w 411"/>
              <a:gd name="T33" fmla="*/ 232 h 412"/>
              <a:gd name="T34" fmla="*/ 262 w 411"/>
              <a:gd name="T35" fmla="*/ 273 h 412"/>
              <a:gd name="T36" fmla="*/ 337 w 411"/>
              <a:gd name="T37" fmla="*/ 347 h 412"/>
              <a:gd name="T38" fmla="*/ 411 w 411"/>
              <a:gd name="T39" fmla="*/ 273 h 412"/>
              <a:gd name="T40" fmla="*/ 337 w 411"/>
              <a:gd name="T41" fmla="*/ 198 h 412"/>
              <a:gd name="T42" fmla="*/ 134 w 411"/>
              <a:gd name="T43" fmla="*/ 337 h 412"/>
              <a:gd name="T44" fmla="*/ 74 w 411"/>
              <a:gd name="T45" fmla="*/ 397 h 412"/>
              <a:gd name="T46" fmla="*/ 14 w 411"/>
              <a:gd name="T47" fmla="*/ 337 h 412"/>
              <a:gd name="T48" fmla="*/ 74 w 411"/>
              <a:gd name="T49" fmla="*/ 278 h 412"/>
              <a:gd name="T50" fmla="*/ 134 w 411"/>
              <a:gd name="T51" fmla="*/ 337 h 412"/>
              <a:gd name="T52" fmla="*/ 83 w 411"/>
              <a:gd name="T53" fmla="*/ 107 h 412"/>
              <a:gd name="T54" fmla="*/ 176 w 411"/>
              <a:gd name="T55" fmla="*/ 14 h 412"/>
              <a:gd name="T56" fmla="*/ 268 w 411"/>
              <a:gd name="T57" fmla="*/ 107 h 412"/>
              <a:gd name="T58" fmla="*/ 176 w 411"/>
              <a:gd name="T59" fmla="*/ 200 h 412"/>
              <a:gd name="T60" fmla="*/ 83 w 411"/>
              <a:gd name="T61" fmla="*/ 107 h 412"/>
              <a:gd name="T62" fmla="*/ 337 w 411"/>
              <a:gd name="T63" fmla="*/ 332 h 412"/>
              <a:gd name="T64" fmla="*/ 277 w 411"/>
              <a:gd name="T65" fmla="*/ 273 h 412"/>
              <a:gd name="T66" fmla="*/ 337 w 411"/>
              <a:gd name="T67" fmla="*/ 213 h 412"/>
              <a:gd name="T68" fmla="*/ 397 w 411"/>
              <a:gd name="T69" fmla="*/ 273 h 412"/>
              <a:gd name="T70" fmla="*/ 337 w 411"/>
              <a:gd name="T71" fmla="*/ 332 h 4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11" h="412">
                <a:moveTo>
                  <a:pt x="337" y="198"/>
                </a:moveTo>
                <a:cubicBezTo>
                  <a:pt x="316" y="198"/>
                  <a:pt x="298" y="206"/>
                  <a:pt x="284" y="220"/>
                </a:cubicBezTo>
                <a:cubicBezTo>
                  <a:pt x="249" y="185"/>
                  <a:pt x="249" y="185"/>
                  <a:pt x="249" y="185"/>
                </a:cubicBezTo>
                <a:cubicBezTo>
                  <a:pt x="270" y="166"/>
                  <a:pt x="283" y="138"/>
                  <a:pt x="283" y="107"/>
                </a:cubicBezTo>
                <a:cubicBezTo>
                  <a:pt x="283" y="48"/>
                  <a:pt x="235" y="0"/>
                  <a:pt x="176" y="0"/>
                </a:cubicBezTo>
                <a:cubicBezTo>
                  <a:pt x="117" y="0"/>
                  <a:pt x="68" y="48"/>
                  <a:pt x="68" y="107"/>
                </a:cubicBezTo>
                <a:cubicBezTo>
                  <a:pt x="68" y="144"/>
                  <a:pt x="88" y="177"/>
                  <a:pt x="116" y="196"/>
                </a:cubicBezTo>
                <a:cubicBezTo>
                  <a:pt x="96" y="266"/>
                  <a:pt x="96" y="266"/>
                  <a:pt x="96" y="266"/>
                </a:cubicBezTo>
                <a:cubicBezTo>
                  <a:pt x="89" y="264"/>
                  <a:pt x="82" y="263"/>
                  <a:pt x="74" y="263"/>
                </a:cubicBezTo>
                <a:cubicBezTo>
                  <a:pt x="33" y="263"/>
                  <a:pt x="0" y="296"/>
                  <a:pt x="0" y="337"/>
                </a:cubicBezTo>
                <a:cubicBezTo>
                  <a:pt x="0" y="378"/>
                  <a:pt x="33" y="412"/>
                  <a:pt x="74" y="412"/>
                </a:cubicBezTo>
                <a:cubicBezTo>
                  <a:pt x="115" y="412"/>
                  <a:pt x="149" y="378"/>
                  <a:pt x="149" y="337"/>
                </a:cubicBezTo>
                <a:cubicBezTo>
                  <a:pt x="149" y="309"/>
                  <a:pt x="133" y="284"/>
                  <a:pt x="110" y="272"/>
                </a:cubicBezTo>
                <a:cubicBezTo>
                  <a:pt x="130" y="204"/>
                  <a:pt x="130" y="204"/>
                  <a:pt x="130" y="204"/>
                </a:cubicBezTo>
                <a:cubicBezTo>
                  <a:pt x="144" y="210"/>
                  <a:pt x="159" y="214"/>
                  <a:pt x="176" y="214"/>
                </a:cubicBezTo>
                <a:cubicBezTo>
                  <a:pt x="199" y="214"/>
                  <a:pt x="220" y="207"/>
                  <a:pt x="238" y="195"/>
                </a:cubicBezTo>
                <a:cubicBezTo>
                  <a:pt x="275" y="232"/>
                  <a:pt x="275" y="232"/>
                  <a:pt x="275" y="232"/>
                </a:cubicBezTo>
                <a:cubicBezTo>
                  <a:pt x="267" y="243"/>
                  <a:pt x="262" y="257"/>
                  <a:pt x="262" y="273"/>
                </a:cubicBezTo>
                <a:cubicBezTo>
                  <a:pt x="262" y="314"/>
                  <a:pt x="296" y="347"/>
                  <a:pt x="337" y="347"/>
                </a:cubicBezTo>
                <a:cubicBezTo>
                  <a:pt x="378" y="347"/>
                  <a:pt x="411" y="314"/>
                  <a:pt x="411" y="273"/>
                </a:cubicBezTo>
                <a:cubicBezTo>
                  <a:pt x="411" y="231"/>
                  <a:pt x="378" y="198"/>
                  <a:pt x="337" y="198"/>
                </a:cubicBezTo>
                <a:close/>
                <a:moveTo>
                  <a:pt x="134" y="337"/>
                </a:moveTo>
                <a:cubicBezTo>
                  <a:pt x="134" y="370"/>
                  <a:pt x="107" y="397"/>
                  <a:pt x="74" y="397"/>
                </a:cubicBezTo>
                <a:cubicBezTo>
                  <a:pt x="41" y="397"/>
                  <a:pt x="14" y="370"/>
                  <a:pt x="14" y="337"/>
                </a:cubicBezTo>
                <a:cubicBezTo>
                  <a:pt x="14" y="304"/>
                  <a:pt x="41" y="278"/>
                  <a:pt x="74" y="278"/>
                </a:cubicBezTo>
                <a:cubicBezTo>
                  <a:pt x="107" y="278"/>
                  <a:pt x="134" y="304"/>
                  <a:pt x="134" y="337"/>
                </a:cubicBezTo>
                <a:close/>
                <a:moveTo>
                  <a:pt x="83" y="107"/>
                </a:moveTo>
                <a:cubicBezTo>
                  <a:pt x="83" y="56"/>
                  <a:pt x="125" y="14"/>
                  <a:pt x="176" y="14"/>
                </a:cubicBezTo>
                <a:cubicBezTo>
                  <a:pt x="227" y="14"/>
                  <a:pt x="268" y="56"/>
                  <a:pt x="268" y="107"/>
                </a:cubicBezTo>
                <a:cubicBezTo>
                  <a:pt x="268" y="158"/>
                  <a:pt x="227" y="200"/>
                  <a:pt x="176" y="200"/>
                </a:cubicBezTo>
                <a:cubicBezTo>
                  <a:pt x="125" y="200"/>
                  <a:pt x="83" y="158"/>
                  <a:pt x="83" y="107"/>
                </a:cubicBezTo>
                <a:close/>
                <a:moveTo>
                  <a:pt x="337" y="332"/>
                </a:moveTo>
                <a:cubicBezTo>
                  <a:pt x="304" y="332"/>
                  <a:pt x="277" y="306"/>
                  <a:pt x="277" y="273"/>
                </a:cubicBezTo>
                <a:cubicBezTo>
                  <a:pt x="277" y="240"/>
                  <a:pt x="304" y="213"/>
                  <a:pt x="337" y="213"/>
                </a:cubicBezTo>
                <a:cubicBezTo>
                  <a:pt x="370" y="213"/>
                  <a:pt x="397" y="240"/>
                  <a:pt x="397" y="273"/>
                </a:cubicBezTo>
                <a:cubicBezTo>
                  <a:pt x="397" y="306"/>
                  <a:pt x="370" y="332"/>
                  <a:pt x="337" y="332"/>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14081142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Demo">
    <p:bg bwMode="auto">
      <p:bgPr>
        <a:solidFill>
          <a:srgbClr val="EDC30D"/>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269302" y="1903228"/>
            <a:ext cx="8067761" cy="197404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400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467833" y="1259999"/>
            <a:ext cx="11355572" cy="2160000"/>
          </a:xfrm>
          <a:noFill/>
        </p:spPr>
        <p:txBody>
          <a:bodyPr tIns="91440" bIns="91440" anchor="t" anchorCtr="0"/>
          <a:lstStyle>
            <a:lvl1pPr>
              <a:defRPr sz="6000" spc="-98" baseline="0">
                <a:solidFill>
                  <a:schemeClr val="tx1"/>
                </a:solidFill>
              </a:defRPr>
            </a:lvl1pPr>
          </a:lstStyle>
          <a:p>
            <a:r>
              <a:rPr lang="en-US"/>
              <a:t>Demo title</a:t>
            </a:r>
          </a:p>
        </p:txBody>
      </p:sp>
      <p:sp>
        <p:nvSpPr>
          <p:cNvPr id="3" name="TextBox 2"/>
          <p:cNvSpPr txBox="1"/>
          <p:nvPr userDrawn="1"/>
        </p:nvSpPr>
        <p:spPr>
          <a:xfrm>
            <a:off x="1158875" y="209726"/>
            <a:ext cx="10664530" cy="464882"/>
          </a:xfrm>
          <a:prstGeom prst="rect">
            <a:avLst/>
          </a:prstGeom>
          <a:noFill/>
        </p:spPr>
        <p:txBody>
          <a:bodyPr wrap="square" lIns="183600" tIns="0" rIns="182880" bIns="0" rtlCol="0" anchor="ctr">
            <a:noAutofit/>
          </a:bodyPr>
          <a:lstStyle/>
          <a:p>
            <a:pPr>
              <a:lnSpc>
                <a:spcPct val="90000"/>
              </a:lnSpc>
              <a:spcAft>
                <a:spcPts val="600"/>
              </a:spcAft>
            </a:pPr>
            <a:r>
              <a:rPr lang="en-AU" sz="2400">
                <a:gradFill>
                  <a:gsLst>
                    <a:gs pos="2917">
                      <a:schemeClr val="tx1"/>
                    </a:gs>
                    <a:gs pos="30000">
                      <a:schemeClr val="tx1"/>
                    </a:gs>
                  </a:gsLst>
                  <a:lin ang="5400000" scaled="0"/>
                </a:gradFill>
              </a:rPr>
              <a:t>Demonstration</a:t>
            </a:r>
            <a:endParaRPr lang="en-US" sz="2400">
              <a:gradFill>
                <a:gsLst>
                  <a:gs pos="2917">
                    <a:schemeClr val="tx1"/>
                  </a:gs>
                  <a:gs pos="30000">
                    <a:schemeClr val="tx1"/>
                  </a:gs>
                </a:gsLst>
                <a:lin ang="5400000" scaled="0"/>
              </a:gradFill>
            </a:endParaRPr>
          </a:p>
        </p:txBody>
      </p:sp>
      <p:cxnSp>
        <p:nvCxnSpPr>
          <p:cNvPr id="7" name="Straight Connector 6"/>
          <p:cNvCxnSpPr/>
          <p:nvPr userDrawn="1"/>
        </p:nvCxnSpPr>
        <p:spPr>
          <a:xfrm>
            <a:off x="467833" y="1068634"/>
            <a:ext cx="11227981"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8" name="Text Placeholder 7"/>
          <p:cNvSpPr>
            <a:spLocks noGrp="1"/>
          </p:cNvSpPr>
          <p:nvPr>
            <p:ph type="body" sz="quarter" idx="10" hasCustomPrompt="1"/>
          </p:nvPr>
        </p:nvSpPr>
        <p:spPr>
          <a:xfrm>
            <a:off x="1158875" y="641094"/>
            <a:ext cx="10664529" cy="367648"/>
          </a:xfrm>
        </p:spPr>
        <p:txBody>
          <a:bodyPr tIns="0" rIns="0" bIns="0" anchor="ctr">
            <a:noAutofit/>
          </a:bodyPr>
          <a:lstStyle>
            <a:lvl1pPr marL="0" indent="0">
              <a:buNone/>
              <a:defRPr sz="2000" baseline="0"/>
            </a:lvl1pPr>
          </a:lstStyle>
          <a:p>
            <a:pPr lvl="0"/>
            <a:r>
              <a:rPr lang="en-US"/>
              <a:t>Demo code</a:t>
            </a:r>
          </a:p>
        </p:txBody>
      </p:sp>
      <p:sp>
        <p:nvSpPr>
          <p:cNvPr id="10" name="Text Placeholder 9"/>
          <p:cNvSpPr>
            <a:spLocks noGrp="1"/>
          </p:cNvSpPr>
          <p:nvPr>
            <p:ph type="body" sz="quarter" idx="11" hasCustomPrompt="1"/>
          </p:nvPr>
        </p:nvSpPr>
        <p:spPr>
          <a:xfrm>
            <a:off x="467833" y="3594100"/>
            <a:ext cx="11355571" cy="2966188"/>
          </a:xfrm>
        </p:spPr>
        <p:txBody>
          <a:bodyPr>
            <a:noAutofit/>
          </a:bodyPr>
          <a:lstStyle>
            <a:lvl1pPr marL="0" indent="0">
              <a:buNone/>
              <a:defRPr sz="2800"/>
            </a:lvl1pPr>
            <a:lvl2pPr marL="336145" indent="0">
              <a:buNone/>
              <a:defRPr/>
            </a:lvl2pPr>
            <a:lvl3pPr marL="560241" indent="0">
              <a:buNone/>
              <a:defRPr/>
            </a:lvl3pPr>
            <a:lvl4pPr marL="784338" indent="0">
              <a:buNone/>
              <a:defRPr/>
            </a:lvl4pPr>
            <a:lvl5pPr marL="1008434" indent="0">
              <a:buNone/>
              <a:defRPr/>
            </a:lvl5pPr>
          </a:lstStyle>
          <a:p>
            <a:pPr lvl="0"/>
            <a:r>
              <a:rPr lang="en-US"/>
              <a:t>Demo description</a:t>
            </a:r>
          </a:p>
        </p:txBody>
      </p:sp>
      <p:sp>
        <p:nvSpPr>
          <p:cNvPr id="11" name="Freeform 74"/>
          <p:cNvSpPr>
            <a:spLocks noEditPoints="1"/>
          </p:cNvSpPr>
          <p:nvPr userDrawn="1"/>
        </p:nvSpPr>
        <p:spPr bwMode="auto">
          <a:xfrm>
            <a:off x="467832" y="317061"/>
            <a:ext cx="646645" cy="649310"/>
          </a:xfrm>
          <a:custGeom>
            <a:avLst/>
            <a:gdLst>
              <a:gd name="T0" fmla="*/ 404 w 411"/>
              <a:gd name="T1" fmla="*/ 0 h 413"/>
              <a:gd name="T2" fmla="*/ 7 w 411"/>
              <a:gd name="T3" fmla="*/ 0 h 413"/>
              <a:gd name="T4" fmla="*/ 0 w 411"/>
              <a:gd name="T5" fmla="*/ 7 h 413"/>
              <a:gd name="T6" fmla="*/ 0 w 411"/>
              <a:gd name="T7" fmla="*/ 338 h 413"/>
              <a:gd name="T8" fmla="*/ 7 w 411"/>
              <a:gd name="T9" fmla="*/ 345 h 413"/>
              <a:gd name="T10" fmla="*/ 68 w 411"/>
              <a:gd name="T11" fmla="*/ 345 h 413"/>
              <a:gd name="T12" fmla="*/ 133 w 411"/>
              <a:gd name="T13" fmla="*/ 411 h 413"/>
              <a:gd name="T14" fmla="*/ 138 w 411"/>
              <a:gd name="T15" fmla="*/ 413 h 413"/>
              <a:gd name="T16" fmla="*/ 141 w 411"/>
              <a:gd name="T17" fmla="*/ 413 h 413"/>
              <a:gd name="T18" fmla="*/ 145 w 411"/>
              <a:gd name="T19" fmla="*/ 406 h 413"/>
              <a:gd name="T20" fmla="*/ 145 w 411"/>
              <a:gd name="T21" fmla="*/ 345 h 413"/>
              <a:gd name="T22" fmla="*/ 404 w 411"/>
              <a:gd name="T23" fmla="*/ 345 h 413"/>
              <a:gd name="T24" fmla="*/ 411 w 411"/>
              <a:gd name="T25" fmla="*/ 338 h 413"/>
              <a:gd name="T26" fmla="*/ 411 w 411"/>
              <a:gd name="T27" fmla="*/ 7 h 413"/>
              <a:gd name="T28" fmla="*/ 404 w 411"/>
              <a:gd name="T29" fmla="*/ 0 h 413"/>
              <a:gd name="T30" fmla="*/ 396 w 411"/>
              <a:gd name="T31" fmla="*/ 330 h 413"/>
              <a:gd name="T32" fmla="*/ 138 w 411"/>
              <a:gd name="T33" fmla="*/ 330 h 413"/>
              <a:gd name="T34" fmla="*/ 130 w 411"/>
              <a:gd name="T35" fmla="*/ 338 h 413"/>
              <a:gd name="T36" fmla="*/ 130 w 411"/>
              <a:gd name="T37" fmla="*/ 388 h 413"/>
              <a:gd name="T38" fmla="*/ 77 w 411"/>
              <a:gd name="T39" fmla="*/ 333 h 413"/>
              <a:gd name="T40" fmla="*/ 71 w 411"/>
              <a:gd name="T41" fmla="*/ 330 h 413"/>
              <a:gd name="T42" fmla="*/ 15 w 411"/>
              <a:gd name="T43" fmla="*/ 330 h 413"/>
              <a:gd name="T44" fmla="*/ 15 w 411"/>
              <a:gd name="T45" fmla="*/ 15 h 413"/>
              <a:gd name="T46" fmla="*/ 396 w 411"/>
              <a:gd name="T47" fmla="*/ 15 h 413"/>
              <a:gd name="T48" fmla="*/ 396 w 411"/>
              <a:gd name="T49" fmla="*/ 330 h 4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11" h="413">
                <a:moveTo>
                  <a:pt x="404" y="0"/>
                </a:moveTo>
                <a:cubicBezTo>
                  <a:pt x="7" y="0"/>
                  <a:pt x="7" y="0"/>
                  <a:pt x="7" y="0"/>
                </a:cubicBezTo>
                <a:cubicBezTo>
                  <a:pt x="3" y="0"/>
                  <a:pt x="0" y="3"/>
                  <a:pt x="0" y="7"/>
                </a:cubicBezTo>
                <a:cubicBezTo>
                  <a:pt x="0" y="338"/>
                  <a:pt x="0" y="338"/>
                  <a:pt x="0" y="338"/>
                </a:cubicBezTo>
                <a:cubicBezTo>
                  <a:pt x="0" y="342"/>
                  <a:pt x="3" y="345"/>
                  <a:pt x="7" y="345"/>
                </a:cubicBezTo>
                <a:cubicBezTo>
                  <a:pt x="68" y="345"/>
                  <a:pt x="68" y="345"/>
                  <a:pt x="68" y="345"/>
                </a:cubicBezTo>
                <a:cubicBezTo>
                  <a:pt x="133" y="411"/>
                  <a:pt x="133" y="411"/>
                  <a:pt x="133" y="411"/>
                </a:cubicBezTo>
                <a:cubicBezTo>
                  <a:pt x="134" y="413"/>
                  <a:pt x="136" y="413"/>
                  <a:pt x="138" y="413"/>
                </a:cubicBezTo>
                <a:cubicBezTo>
                  <a:pt x="139" y="413"/>
                  <a:pt x="140" y="413"/>
                  <a:pt x="141" y="413"/>
                </a:cubicBezTo>
                <a:cubicBezTo>
                  <a:pt x="143" y="412"/>
                  <a:pt x="145" y="409"/>
                  <a:pt x="145" y="406"/>
                </a:cubicBezTo>
                <a:cubicBezTo>
                  <a:pt x="145" y="345"/>
                  <a:pt x="145" y="345"/>
                  <a:pt x="145" y="345"/>
                </a:cubicBezTo>
                <a:cubicBezTo>
                  <a:pt x="404" y="345"/>
                  <a:pt x="404" y="345"/>
                  <a:pt x="404" y="345"/>
                </a:cubicBezTo>
                <a:cubicBezTo>
                  <a:pt x="408" y="345"/>
                  <a:pt x="411" y="342"/>
                  <a:pt x="411" y="338"/>
                </a:cubicBezTo>
                <a:cubicBezTo>
                  <a:pt x="411" y="7"/>
                  <a:pt x="411" y="7"/>
                  <a:pt x="411" y="7"/>
                </a:cubicBezTo>
                <a:cubicBezTo>
                  <a:pt x="411" y="3"/>
                  <a:pt x="408" y="0"/>
                  <a:pt x="404" y="0"/>
                </a:cubicBezTo>
                <a:close/>
                <a:moveTo>
                  <a:pt x="396" y="330"/>
                </a:moveTo>
                <a:cubicBezTo>
                  <a:pt x="138" y="330"/>
                  <a:pt x="138" y="330"/>
                  <a:pt x="138" y="330"/>
                </a:cubicBezTo>
                <a:cubicBezTo>
                  <a:pt x="134" y="330"/>
                  <a:pt x="130" y="334"/>
                  <a:pt x="130" y="338"/>
                </a:cubicBezTo>
                <a:cubicBezTo>
                  <a:pt x="130" y="388"/>
                  <a:pt x="130" y="388"/>
                  <a:pt x="130" y="388"/>
                </a:cubicBezTo>
                <a:cubicBezTo>
                  <a:pt x="77" y="333"/>
                  <a:pt x="77" y="333"/>
                  <a:pt x="77" y="333"/>
                </a:cubicBezTo>
                <a:cubicBezTo>
                  <a:pt x="75" y="331"/>
                  <a:pt x="73" y="330"/>
                  <a:pt x="71" y="330"/>
                </a:cubicBezTo>
                <a:cubicBezTo>
                  <a:pt x="15" y="330"/>
                  <a:pt x="15" y="330"/>
                  <a:pt x="15" y="330"/>
                </a:cubicBezTo>
                <a:cubicBezTo>
                  <a:pt x="15" y="15"/>
                  <a:pt x="15" y="15"/>
                  <a:pt x="15" y="15"/>
                </a:cubicBezTo>
                <a:cubicBezTo>
                  <a:pt x="396" y="15"/>
                  <a:pt x="396" y="15"/>
                  <a:pt x="396" y="15"/>
                </a:cubicBezTo>
                <a:lnTo>
                  <a:pt x="396" y="33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14942181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Lab">
    <p:bg bwMode="auto">
      <p:bgPr>
        <a:solidFill>
          <a:srgbClr val="EDC30D"/>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269302" y="1903228"/>
            <a:ext cx="8067761" cy="197404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400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467833" y="1259999"/>
            <a:ext cx="11355572" cy="2160000"/>
          </a:xfrm>
          <a:noFill/>
        </p:spPr>
        <p:txBody>
          <a:bodyPr tIns="91440" bIns="91440" anchor="t" anchorCtr="0"/>
          <a:lstStyle>
            <a:lvl1pPr>
              <a:defRPr sz="6000" spc="-98" baseline="0">
                <a:solidFill>
                  <a:schemeClr val="tx1"/>
                </a:solidFill>
              </a:defRPr>
            </a:lvl1pPr>
          </a:lstStyle>
          <a:p>
            <a:r>
              <a:rPr lang="en-US"/>
              <a:t>Lab title</a:t>
            </a:r>
          </a:p>
        </p:txBody>
      </p:sp>
      <p:sp>
        <p:nvSpPr>
          <p:cNvPr id="3" name="TextBox 2"/>
          <p:cNvSpPr txBox="1"/>
          <p:nvPr userDrawn="1"/>
        </p:nvSpPr>
        <p:spPr>
          <a:xfrm>
            <a:off x="1158875" y="209726"/>
            <a:ext cx="10664530" cy="464882"/>
          </a:xfrm>
          <a:prstGeom prst="rect">
            <a:avLst/>
          </a:prstGeom>
          <a:noFill/>
        </p:spPr>
        <p:txBody>
          <a:bodyPr wrap="square" lIns="183600" tIns="0" rIns="182880" bIns="0" rtlCol="0" anchor="ctr">
            <a:noAutofit/>
          </a:bodyPr>
          <a:lstStyle/>
          <a:p>
            <a:pPr>
              <a:lnSpc>
                <a:spcPct val="90000"/>
              </a:lnSpc>
              <a:spcAft>
                <a:spcPts val="600"/>
              </a:spcAft>
            </a:pPr>
            <a:r>
              <a:rPr lang="en-AU" sz="2400">
                <a:gradFill>
                  <a:gsLst>
                    <a:gs pos="2917">
                      <a:schemeClr val="tx1"/>
                    </a:gs>
                    <a:gs pos="30000">
                      <a:schemeClr val="tx1"/>
                    </a:gs>
                  </a:gsLst>
                  <a:lin ang="5400000" scaled="0"/>
                </a:gradFill>
              </a:rPr>
              <a:t>Hands-on lab</a:t>
            </a:r>
            <a:endParaRPr lang="en-US" sz="2400">
              <a:gradFill>
                <a:gsLst>
                  <a:gs pos="2917">
                    <a:schemeClr val="tx1"/>
                  </a:gs>
                  <a:gs pos="30000">
                    <a:schemeClr val="tx1"/>
                  </a:gs>
                </a:gsLst>
                <a:lin ang="5400000" scaled="0"/>
              </a:gradFill>
            </a:endParaRPr>
          </a:p>
        </p:txBody>
      </p:sp>
      <p:cxnSp>
        <p:nvCxnSpPr>
          <p:cNvPr id="7" name="Straight Connector 6"/>
          <p:cNvCxnSpPr/>
          <p:nvPr userDrawn="1"/>
        </p:nvCxnSpPr>
        <p:spPr>
          <a:xfrm>
            <a:off x="467833" y="1068634"/>
            <a:ext cx="11227981"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8" name="Text Placeholder 7"/>
          <p:cNvSpPr>
            <a:spLocks noGrp="1"/>
          </p:cNvSpPr>
          <p:nvPr>
            <p:ph type="body" sz="quarter" idx="10" hasCustomPrompt="1"/>
          </p:nvPr>
        </p:nvSpPr>
        <p:spPr>
          <a:xfrm>
            <a:off x="1158875" y="641094"/>
            <a:ext cx="10664529" cy="367648"/>
          </a:xfrm>
        </p:spPr>
        <p:txBody>
          <a:bodyPr tIns="0" rIns="0" bIns="0" anchor="ctr">
            <a:noAutofit/>
          </a:bodyPr>
          <a:lstStyle>
            <a:lvl1pPr marL="0" indent="0">
              <a:buNone/>
              <a:defRPr sz="2000" baseline="0"/>
            </a:lvl1pPr>
          </a:lstStyle>
          <a:p>
            <a:pPr lvl="0"/>
            <a:r>
              <a:rPr lang="en-US"/>
              <a:t>Lab code | Minutes</a:t>
            </a:r>
          </a:p>
        </p:txBody>
      </p:sp>
      <p:sp>
        <p:nvSpPr>
          <p:cNvPr id="10" name="Text Placeholder 9"/>
          <p:cNvSpPr>
            <a:spLocks noGrp="1"/>
          </p:cNvSpPr>
          <p:nvPr>
            <p:ph type="body" sz="quarter" idx="11" hasCustomPrompt="1"/>
          </p:nvPr>
        </p:nvSpPr>
        <p:spPr>
          <a:xfrm>
            <a:off x="467833" y="3594100"/>
            <a:ext cx="6018027" cy="2966188"/>
          </a:xfrm>
        </p:spPr>
        <p:txBody>
          <a:bodyPr>
            <a:noAutofit/>
          </a:bodyPr>
          <a:lstStyle>
            <a:lvl1pPr marL="0" indent="0">
              <a:buNone/>
              <a:defRPr sz="2800"/>
            </a:lvl1pPr>
            <a:lvl2pPr marL="336145" indent="0">
              <a:buNone/>
              <a:defRPr/>
            </a:lvl2pPr>
            <a:lvl3pPr marL="560241" indent="0">
              <a:buNone/>
              <a:defRPr/>
            </a:lvl3pPr>
            <a:lvl4pPr marL="784338" indent="0">
              <a:buNone/>
              <a:defRPr/>
            </a:lvl4pPr>
            <a:lvl5pPr marL="1008434" indent="0">
              <a:buNone/>
              <a:defRPr/>
            </a:lvl5pPr>
          </a:lstStyle>
          <a:p>
            <a:pPr lvl="0"/>
            <a:r>
              <a:rPr lang="en-US"/>
              <a:t>Lab description</a:t>
            </a:r>
          </a:p>
        </p:txBody>
      </p:sp>
      <p:sp>
        <p:nvSpPr>
          <p:cNvPr id="9" name="Freeform 88"/>
          <p:cNvSpPr>
            <a:spLocks noEditPoints="1"/>
          </p:cNvSpPr>
          <p:nvPr userDrawn="1"/>
        </p:nvSpPr>
        <p:spPr bwMode="auto">
          <a:xfrm>
            <a:off x="467833" y="288383"/>
            <a:ext cx="651308" cy="651308"/>
          </a:xfrm>
          <a:custGeom>
            <a:avLst/>
            <a:gdLst>
              <a:gd name="T0" fmla="*/ 207 w 414"/>
              <a:gd name="T1" fmla="*/ 0 h 414"/>
              <a:gd name="T2" fmla="*/ 0 w 414"/>
              <a:gd name="T3" fmla="*/ 207 h 414"/>
              <a:gd name="T4" fmla="*/ 207 w 414"/>
              <a:gd name="T5" fmla="*/ 414 h 414"/>
              <a:gd name="T6" fmla="*/ 414 w 414"/>
              <a:gd name="T7" fmla="*/ 207 h 414"/>
              <a:gd name="T8" fmla="*/ 207 w 414"/>
              <a:gd name="T9" fmla="*/ 0 h 414"/>
              <a:gd name="T10" fmla="*/ 207 w 414"/>
              <a:gd name="T11" fmla="*/ 399 h 414"/>
              <a:gd name="T12" fmla="*/ 15 w 414"/>
              <a:gd name="T13" fmla="*/ 207 h 414"/>
              <a:gd name="T14" fmla="*/ 207 w 414"/>
              <a:gd name="T15" fmla="*/ 15 h 414"/>
              <a:gd name="T16" fmla="*/ 399 w 414"/>
              <a:gd name="T17" fmla="*/ 207 h 414"/>
              <a:gd name="T18" fmla="*/ 207 w 414"/>
              <a:gd name="T19" fmla="*/ 399 h 414"/>
              <a:gd name="T20" fmla="*/ 299 w 414"/>
              <a:gd name="T21" fmla="*/ 174 h 414"/>
              <a:gd name="T22" fmla="*/ 314 w 414"/>
              <a:gd name="T23" fmla="*/ 174 h 414"/>
              <a:gd name="T24" fmla="*/ 314 w 414"/>
              <a:gd name="T25" fmla="*/ 307 h 414"/>
              <a:gd name="T26" fmla="*/ 306 w 414"/>
              <a:gd name="T27" fmla="*/ 314 h 414"/>
              <a:gd name="T28" fmla="*/ 173 w 414"/>
              <a:gd name="T29" fmla="*/ 314 h 414"/>
              <a:gd name="T30" fmla="*/ 173 w 414"/>
              <a:gd name="T31" fmla="*/ 300 h 414"/>
              <a:gd name="T32" fmla="*/ 288 w 414"/>
              <a:gd name="T33" fmla="*/ 300 h 414"/>
              <a:gd name="T34" fmla="*/ 108 w 414"/>
              <a:gd name="T35" fmla="*/ 120 h 414"/>
              <a:gd name="T36" fmla="*/ 119 w 414"/>
              <a:gd name="T37" fmla="*/ 109 h 414"/>
              <a:gd name="T38" fmla="*/ 299 w 414"/>
              <a:gd name="T39" fmla="*/ 289 h 414"/>
              <a:gd name="T40" fmla="*/ 299 w 414"/>
              <a:gd name="T41" fmla="*/ 174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14" h="414">
                <a:moveTo>
                  <a:pt x="207" y="0"/>
                </a:moveTo>
                <a:cubicBezTo>
                  <a:pt x="93" y="0"/>
                  <a:pt x="0" y="93"/>
                  <a:pt x="0" y="207"/>
                </a:cubicBezTo>
                <a:cubicBezTo>
                  <a:pt x="0" y="321"/>
                  <a:pt x="93" y="414"/>
                  <a:pt x="207" y="414"/>
                </a:cubicBezTo>
                <a:cubicBezTo>
                  <a:pt x="321" y="414"/>
                  <a:pt x="414" y="321"/>
                  <a:pt x="414" y="207"/>
                </a:cubicBezTo>
                <a:cubicBezTo>
                  <a:pt x="414" y="93"/>
                  <a:pt x="321" y="0"/>
                  <a:pt x="207" y="0"/>
                </a:cubicBezTo>
                <a:close/>
                <a:moveTo>
                  <a:pt x="207" y="399"/>
                </a:moveTo>
                <a:cubicBezTo>
                  <a:pt x="101" y="399"/>
                  <a:pt x="15" y="313"/>
                  <a:pt x="15" y="207"/>
                </a:cubicBezTo>
                <a:cubicBezTo>
                  <a:pt x="15" y="101"/>
                  <a:pt x="101" y="15"/>
                  <a:pt x="207" y="15"/>
                </a:cubicBezTo>
                <a:cubicBezTo>
                  <a:pt x="313" y="15"/>
                  <a:pt x="399" y="101"/>
                  <a:pt x="399" y="207"/>
                </a:cubicBezTo>
                <a:cubicBezTo>
                  <a:pt x="399" y="313"/>
                  <a:pt x="313" y="399"/>
                  <a:pt x="207" y="399"/>
                </a:cubicBezTo>
                <a:close/>
                <a:moveTo>
                  <a:pt x="299" y="174"/>
                </a:moveTo>
                <a:cubicBezTo>
                  <a:pt x="314" y="174"/>
                  <a:pt x="314" y="174"/>
                  <a:pt x="314" y="174"/>
                </a:cubicBezTo>
                <a:cubicBezTo>
                  <a:pt x="314" y="307"/>
                  <a:pt x="314" y="307"/>
                  <a:pt x="314" y="307"/>
                </a:cubicBezTo>
                <a:cubicBezTo>
                  <a:pt x="314" y="311"/>
                  <a:pt x="310" y="314"/>
                  <a:pt x="306" y="314"/>
                </a:cubicBezTo>
                <a:cubicBezTo>
                  <a:pt x="173" y="314"/>
                  <a:pt x="173" y="314"/>
                  <a:pt x="173" y="314"/>
                </a:cubicBezTo>
                <a:cubicBezTo>
                  <a:pt x="173" y="300"/>
                  <a:pt x="173" y="300"/>
                  <a:pt x="173" y="300"/>
                </a:cubicBezTo>
                <a:cubicBezTo>
                  <a:pt x="288" y="300"/>
                  <a:pt x="288" y="300"/>
                  <a:pt x="288" y="300"/>
                </a:cubicBezTo>
                <a:cubicBezTo>
                  <a:pt x="108" y="120"/>
                  <a:pt x="108" y="120"/>
                  <a:pt x="108" y="120"/>
                </a:cubicBezTo>
                <a:cubicBezTo>
                  <a:pt x="119" y="109"/>
                  <a:pt x="119" y="109"/>
                  <a:pt x="119" y="109"/>
                </a:cubicBezTo>
                <a:cubicBezTo>
                  <a:pt x="299" y="289"/>
                  <a:pt x="299" y="289"/>
                  <a:pt x="299" y="289"/>
                </a:cubicBezTo>
                <a:lnTo>
                  <a:pt x="299" y="174"/>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41008259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1_Section Title Accent Color 2">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81862"/>
          </a:xfrm>
          <a:noFill/>
        </p:spPr>
        <p:txBody>
          <a:bodyPr tIns="91440" bIns="91440" anchor="t" anchorCtr="0">
            <a:spAutoFit/>
          </a:bodyPr>
          <a:lstStyle>
            <a:lvl1pPr marL="0" algn="l" defTabSz="914367" rtl="0" eaLnBrk="1" latinLnBrk="0" hangingPunct="1">
              <a:lnSpc>
                <a:spcPct val="90000"/>
              </a:lnSpc>
              <a:spcBef>
                <a:spcPct val="0"/>
              </a:spcBef>
              <a:buNone/>
              <a:defRPr lang="en-US" sz="7200" b="0" kern="1200" cap="none" spc="-98" baseline="0" dirty="0">
                <a:ln w="3175">
                  <a:noFill/>
                </a:ln>
                <a:solidFill>
                  <a:srgbClr val="F2C812"/>
                </a:solidFill>
                <a:effectLst/>
                <a:latin typeface="Segoe UI Light (Headings)"/>
                <a:ea typeface="+mn-ea"/>
                <a:cs typeface="Segoe UI Semibold" panose="020B0702040204020203" pitchFamily="34" charset="0"/>
              </a:defRPr>
            </a:lvl1pPr>
          </a:lstStyle>
          <a:p>
            <a:r>
              <a:rPr lang="en-US"/>
              <a:t>Section title</a:t>
            </a:r>
          </a:p>
        </p:txBody>
      </p:sp>
    </p:spTree>
    <p:extLst>
      <p:ext uri="{BB962C8B-B14F-4D97-AF65-F5344CB8AC3E}">
        <p14:creationId xmlns:p14="http://schemas.microsoft.com/office/powerpoint/2010/main" val="85052113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rgbClr val="F2C81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81862"/>
          </a:xfrm>
          <a:noFill/>
        </p:spPr>
        <p:txBody>
          <a:bodyPr tIns="91440" bIns="91440" anchor="t" anchorCtr="0">
            <a:spAutoFit/>
          </a:bodyPr>
          <a:lstStyle>
            <a:lvl1pPr marL="0" algn="l" defTabSz="914367" rtl="0" eaLnBrk="1" latinLnBrk="0" hangingPunct="1">
              <a:lnSpc>
                <a:spcPct val="90000"/>
              </a:lnSpc>
              <a:spcBef>
                <a:spcPct val="0"/>
              </a:spcBef>
              <a:buNone/>
              <a:defRPr lang="en-US" sz="7200" b="0" kern="1200" cap="none" spc="-98" baseline="0" dirty="0">
                <a:ln w="3175">
                  <a:noFill/>
                </a:ln>
                <a:solidFill>
                  <a:srgbClr val="000000"/>
                </a:solidFill>
                <a:effectLst/>
                <a:latin typeface="Segoe UI Light (Headings)"/>
                <a:ea typeface="+mn-ea"/>
                <a:cs typeface="Segoe UI Semibold" panose="020B0702040204020203" pitchFamily="34" charset="0"/>
              </a:defRPr>
            </a:lvl1pPr>
          </a:lstStyle>
          <a:p>
            <a:r>
              <a:rPr lang="en-US"/>
              <a:t>Section title</a:t>
            </a:r>
          </a:p>
        </p:txBody>
      </p:sp>
    </p:spTree>
    <p:extLst>
      <p:ext uri="{BB962C8B-B14F-4D97-AF65-F5344CB8AC3E}">
        <p14:creationId xmlns:p14="http://schemas.microsoft.com/office/powerpoint/2010/main" val="28011964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Presentation Closing">
    <p:bg>
      <p:bgPr>
        <a:solidFill>
          <a:srgbClr val="EDC30D"/>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92161"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pic>
        <p:nvPicPr>
          <p:cNvPr id="6" name="Picture 5"/>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5486" y="2863031"/>
            <a:ext cx="3056653" cy="1112622"/>
          </a:xfrm>
          <a:prstGeom prst="rect">
            <a:avLst/>
          </a:prstGeom>
        </p:spPr>
      </p:pic>
    </p:spTree>
    <p:extLst>
      <p:ext uri="{BB962C8B-B14F-4D97-AF65-F5344CB8AC3E}">
        <p14:creationId xmlns:p14="http://schemas.microsoft.com/office/powerpoint/2010/main" val="5829852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35155994"/>
      </p:ext>
    </p:extLst>
  </p:cSld>
  <p:clrMapOvr>
    <a:masterClrMapping/>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type="title" preserve="1">
  <p:cSld name="Presentation Title">
    <p:bg>
      <p:bgPr>
        <a:solidFill>
          <a:srgbClr val="EDC30D"/>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1488558" y="1776549"/>
            <a:ext cx="9788342" cy="2721023"/>
          </a:xfrm>
        </p:spPr>
        <p:txBody>
          <a:bodyPr/>
          <a:lstStyle>
            <a:lvl1pPr>
              <a:defRPr sz="6000">
                <a:solidFill>
                  <a:schemeClr val="tx1"/>
                </a:solidFill>
                <a:latin typeface="Segoe UI Semibold" panose="020B0702040204020203" pitchFamily="34" charset="0"/>
                <a:cs typeface="Segoe UI Semibold" panose="020B0702040204020203" pitchFamily="34" charset="0"/>
              </a:defRPr>
            </a:lvl1pPr>
          </a:lstStyle>
          <a:p>
            <a:r>
              <a:rPr lang="en-US"/>
              <a:t>Presentation title</a:t>
            </a:r>
          </a:p>
        </p:txBody>
      </p:sp>
      <p:sp>
        <p:nvSpPr>
          <p:cNvPr id="3" name="Subtitle 2"/>
          <p:cNvSpPr>
            <a:spLocks noGrp="1"/>
          </p:cNvSpPr>
          <p:nvPr>
            <p:ph type="subTitle" idx="1" hasCustomPrompt="1"/>
          </p:nvPr>
        </p:nvSpPr>
        <p:spPr>
          <a:xfrm>
            <a:off x="1488558" y="4749150"/>
            <a:ext cx="9788342" cy="1034782"/>
          </a:xfrm>
        </p:spPr>
        <p:txBody>
          <a:bodyPr/>
          <a:lstStyle>
            <a:lvl1pPr marL="0" indent="0" algn="l">
              <a:buNone/>
              <a:defRPr sz="2157">
                <a:solidFill>
                  <a:schemeClr val="tx1"/>
                </a:solidFill>
                <a:latin typeface="+mn-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en-US"/>
              <a:t>Speaker Name</a:t>
            </a:r>
            <a:br>
              <a:rPr lang="en-US"/>
            </a:br>
            <a:r>
              <a:rPr lang="en-US"/>
              <a:t>Date</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13939" y="199344"/>
            <a:ext cx="1527557" cy="556031"/>
          </a:xfrm>
          <a:prstGeom prst="rect">
            <a:avLst/>
          </a:prstGeom>
        </p:spPr>
      </p:pic>
    </p:spTree>
    <p:extLst>
      <p:ext uri="{BB962C8B-B14F-4D97-AF65-F5344CB8AC3E}">
        <p14:creationId xmlns:p14="http://schemas.microsoft.com/office/powerpoint/2010/main" val="35340268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Module Title">
    <p:bg>
      <p:bgPr>
        <a:solidFill>
          <a:srgbClr val="EDC30D"/>
        </a:solidFill>
        <a:effectLst/>
      </p:bgPr>
    </p:bg>
    <p:spTree>
      <p:nvGrpSpPr>
        <p:cNvPr id="1" name=""/>
        <p:cNvGrpSpPr/>
        <p:nvPr/>
      </p:nvGrpSpPr>
      <p:grpSpPr>
        <a:xfrm>
          <a:off x="0" y="0"/>
          <a:ext cx="0" cy="0"/>
          <a:chOff x="0" y="0"/>
          <a:chExt cx="0" cy="0"/>
        </a:xfrm>
      </p:grpSpPr>
      <p:sp>
        <p:nvSpPr>
          <p:cNvPr id="7" name="Rectangle 6"/>
          <p:cNvSpPr/>
          <p:nvPr userDrawn="1"/>
        </p:nvSpPr>
        <p:spPr bwMode="auto">
          <a:xfrm>
            <a:off x="0" y="2890684"/>
            <a:ext cx="12192000" cy="396731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ctrTitle" hasCustomPrompt="1"/>
          </p:nvPr>
        </p:nvSpPr>
        <p:spPr>
          <a:xfrm>
            <a:off x="1488557" y="1117590"/>
            <a:ext cx="10408581" cy="1655108"/>
          </a:xfrm>
        </p:spPr>
        <p:txBody>
          <a:bodyPr anchor="b"/>
          <a:lstStyle>
            <a:lvl1pPr indent="0">
              <a:defRPr sz="4800">
                <a:solidFill>
                  <a:schemeClr val="tx1"/>
                </a:solidFill>
                <a:latin typeface="Segoe UI Semibold" panose="020B0702040204020203" pitchFamily="34" charset="0"/>
                <a:cs typeface="Segoe UI Semibold" panose="020B0702040204020203" pitchFamily="34" charset="0"/>
              </a:defRPr>
            </a:lvl1pPr>
          </a:lstStyle>
          <a:p>
            <a:r>
              <a:rPr lang="en-US"/>
              <a:t>Module title</a:t>
            </a:r>
          </a:p>
        </p:txBody>
      </p:sp>
      <p:sp>
        <p:nvSpPr>
          <p:cNvPr id="9" name="Text Placeholder 8"/>
          <p:cNvSpPr>
            <a:spLocks noGrp="1"/>
          </p:cNvSpPr>
          <p:nvPr>
            <p:ph type="body" sz="quarter" idx="10" hasCustomPrompt="1"/>
          </p:nvPr>
        </p:nvSpPr>
        <p:spPr>
          <a:xfrm>
            <a:off x="1488558" y="3178512"/>
            <a:ext cx="10408580" cy="3679487"/>
          </a:xfrm>
        </p:spPr>
        <p:txBody>
          <a:bodyPr>
            <a:normAutofit/>
          </a:bodyPr>
          <a:lstStyle>
            <a:lvl1pPr marL="354013" indent="-354013">
              <a:buFont typeface="Wingdings" panose="05000000000000000000" pitchFamily="2" charset="2"/>
              <a:buChar char="§"/>
              <a:defRPr sz="3200">
                <a:solidFill>
                  <a:srgbClr val="EDC30D"/>
                </a:solidFill>
              </a:defRPr>
            </a:lvl1pPr>
          </a:lstStyle>
          <a:p>
            <a:pPr lvl="0"/>
            <a:r>
              <a:rPr lang="en-US"/>
              <a:t>Module content</a:t>
            </a:r>
          </a:p>
        </p:txBody>
      </p:sp>
      <p:pic>
        <p:nvPicPr>
          <p:cNvPr id="10" name="Picture 9"/>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13939" y="199344"/>
            <a:ext cx="1527557" cy="556031"/>
          </a:xfrm>
          <a:prstGeom prst="rect">
            <a:avLst/>
          </a:prstGeom>
        </p:spPr>
      </p:pic>
    </p:spTree>
    <p:extLst>
      <p:ext uri="{BB962C8B-B14F-4D97-AF65-F5344CB8AC3E}">
        <p14:creationId xmlns:p14="http://schemas.microsoft.com/office/powerpoint/2010/main" val="8295049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500" fill="hold"/>
                                        <p:tgtEl>
                                          <p:spTgt spid="7"/>
                                        </p:tgtEl>
                                        <p:attrNameLst>
                                          <p:attrName>ppt_x</p:attrName>
                                        </p:attrNameLst>
                                      </p:cBhvr>
                                      <p:tavLst>
                                        <p:tav tm="0">
                                          <p:val>
                                            <p:strVal val="#ppt_x"/>
                                          </p:val>
                                        </p:tav>
                                        <p:tav tm="100000">
                                          <p:val>
                                            <p:strVal val="#ppt_x"/>
                                          </p:val>
                                        </p:tav>
                                      </p:tavLst>
                                    </p:anim>
                                    <p:anim calcmode="lin" valueType="num">
                                      <p:cBhvr additive="base">
                                        <p:cTn id="8" dur="500" fill="hold"/>
                                        <p:tgtEl>
                                          <p:spTgt spid="7"/>
                                        </p:tgtEl>
                                        <p:attrNameLst>
                                          <p:attrName>ppt_y</p:attrName>
                                        </p:attrNameLst>
                                      </p:cBhvr>
                                      <p:tavLst>
                                        <p:tav tm="0">
                                          <p:val>
                                            <p:strVal val="1+#ppt_h/2"/>
                                          </p:val>
                                        </p:tav>
                                        <p:tav tm="100000">
                                          <p:val>
                                            <p:strVal val="#ppt_y"/>
                                          </p:val>
                                        </p:tav>
                                      </p:tavLst>
                                    </p:anim>
                                  </p:childTnLst>
                                </p:cTn>
                              </p:par>
                              <p:par>
                                <p:cTn id="9" presetID="2" presetClass="entr" presetSubtype="4" fill="hold" grpId="0" nodeType="withEffect">
                                  <p:stCondLst>
                                    <p:cond delay="0"/>
                                  </p:stCondLst>
                                  <p:childTnLst>
                                    <p:set>
                                      <p:cBhvr>
                                        <p:cTn id="10" dur="1" fill="hold">
                                          <p:stCondLst>
                                            <p:cond delay="0"/>
                                          </p:stCondLst>
                                        </p:cTn>
                                        <p:tgtEl>
                                          <p:spTgt spid="9"/>
                                        </p:tgtEl>
                                        <p:attrNameLst>
                                          <p:attrName>style.visibility</p:attrName>
                                        </p:attrNameLst>
                                      </p:cBhvr>
                                      <p:to>
                                        <p:strVal val="visible"/>
                                      </p:to>
                                    </p:set>
                                    <p:anim calcmode="lin" valueType="num">
                                      <p:cBhvr additive="base">
                                        <p:cTn id="11" dur="500" fill="hold"/>
                                        <p:tgtEl>
                                          <p:spTgt spid="9"/>
                                        </p:tgtEl>
                                        <p:attrNameLst>
                                          <p:attrName>ppt_x</p:attrName>
                                        </p:attrNameLst>
                                      </p:cBhvr>
                                      <p:tavLst>
                                        <p:tav tm="0">
                                          <p:val>
                                            <p:strVal val="#ppt_x"/>
                                          </p:val>
                                        </p:tav>
                                        <p:tav tm="100000">
                                          <p:val>
                                            <p:strVal val="#ppt_x"/>
                                          </p:val>
                                        </p:tav>
                                      </p:tavLst>
                                    </p:anim>
                                    <p:anim calcmode="lin" valueType="num">
                                      <p:cBhvr additive="base">
                                        <p:cTn id="12" dur="500" fill="hold"/>
                                        <p:tgtEl>
                                          <p:spTgt spid="9"/>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9" grpId="0">
        <p:tmplLst>
          <p:tmpl>
            <p:tnLst>
              <p:par>
                <p:cTn presetID="2" presetClass="entr" presetSubtype="4" fill="hold" nodeType="withEffect">
                  <p:stCondLst>
                    <p:cond delay="0"/>
                  </p:stCondLst>
                  <p:childTnLst>
                    <p:set>
                      <p:cBhvr>
                        <p:cTn dur="1" fill="hold">
                          <p:stCondLst>
                            <p:cond delay="0"/>
                          </p:stCondLst>
                        </p:cTn>
                        <p:tgtEl>
                          <p:spTgt spid="9"/>
                        </p:tgtEl>
                        <p:attrNameLst>
                          <p:attrName>style.visibility</p:attrName>
                        </p:attrNameLst>
                      </p:cBhvr>
                      <p:to>
                        <p:strVal val="visible"/>
                      </p:to>
                    </p:set>
                    <p:anim calcmode="lin" valueType="num">
                      <p:cBhvr additive="base">
                        <p:cTn dur="500" fill="hold"/>
                        <p:tgtEl>
                          <p:spTgt spid="9"/>
                        </p:tgtEl>
                        <p:attrNameLst>
                          <p:attrName>ppt_x</p:attrName>
                        </p:attrNameLst>
                      </p:cBhvr>
                      <p:tavLst>
                        <p:tav tm="0">
                          <p:val>
                            <p:strVal val="#ppt_x"/>
                          </p:val>
                        </p:tav>
                        <p:tav tm="100000">
                          <p:val>
                            <p:strVal val="#ppt_x"/>
                          </p:val>
                        </p:tav>
                      </p:tavLst>
                    </p:anim>
                    <p:anim calcmode="lin" valueType="num">
                      <p:cBhvr additive="base">
                        <p:cTn dur="500" fill="hold"/>
                        <p:tgtEl>
                          <p:spTgt spid="9"/>
                        </p:tgtEl>
                        <p:attrNameLst>
                          <p:attrName>ppt_y</p:attrName>
                        </p:attrNameLst>
                      </p:cBhvr>
                      <p:tavLst>
                        <p:tav tm="0">
                          <p:val>
                            <p:strVal val="1+#ppt_h/2"/>
                          </p:val>
                        </p:tav>
                        <p:tav tm="100000">
                          <p:val>
                            <p:strVal val="#ppt_y"/>
                          </p:val>
                        </p:tav>
                      </p:tavLst>
                    </p:anim>
                  </p:childTnLst>
                </p:cTn>
              </p:par>
            </p:tnLst>
          </p:tmpl>
        </p:tmplLst>
      </p:bldP>
    </p:bldLst>
  </p:timing>
</p:sldLayout>
</file>

<file path=ppt/slideLayouts/slideLayout89.xml><?xml version="1.0" encoding="utf-8"?>
<p:sldLayout xmlns:a="http://schemas.openxmlformats.org/drawingml/2006/main" xmlns:r="http://schemas.openxmlformats.org/officeDocument/2006/relationships" xmlns:p="http://schemas.openxmlformats.org/presentationml/2006/main" type="blank">
  <p:cSld name="Blank">
    <p:bg>
      <p:bgPr>
        <a:solidFill>
          <a:srgbClr val="EDC30D"/>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6923348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Walkin No tile">
    <p:bg>
      <p:bgRef idx="1001">
        <a:schemeClr val="bg2"/>
      </p:bgRef>
    </p:bg>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765" y="1556"/>
            <a:ext cx="12185847" cy="6855511"/>
          </a:xfrm>
          <a:prstGeom prst="rect">
            <a:avLst/>
          </a:prstGeom>
          <a:noFill/>
          <a:ln>
            <a:noFill/>
          </a:ln>
        </p:spPr>
      </p:pic>
      <p:sp>
        <p:nvSpPr>
          <p:cNvPr id="3" name="Rectangle 2"/>
          <p:cNvSpPr/>
          <p:nvPr userDrawn="1"/>
        </p:nvSpPr>
        <p:spPr bwMode="gray">
          <a:xfrm>
            <a:off x="0" y="6409724"/>
            <a:ext cx="12191377" cy="44827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30"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userDrawn="1"/>
        </p:nvSpPr>
        <p:spPr bwMode="auto">
          <a:xfrm>
            <a:off x="269239" y="2077801"/>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30"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62254" y="6547867"/>
            <a:ext cx="806774" cy="171991"/>
          </a:xfrm>
          <a:prstGeom prst="rect">
            <a:avLst/>
          </a:prstGeom>
        </p:spPr>
      </p:pic>
      <p:sp>
        <p:nvSpPr>
          <p:cNvPr id="9" name="Rectangle 8"/>
          <p:cNvSpPr/>
          <p:nvPr userDrawn="1"/>
        </p:nvSpPr>
        <p:spPr>
          <a:xfrm>
            <a:off x="287977" y="2980725"/>
            <a:ext cx="4248056" cy="769511"/>
          </a:xfrm>
          <a:prstGeom prst="rect">
            <a:avLst/>
          </a:prstGeom>
        </p:spPr>
        <p:txBody>
          <a:bodyPr wrap="none" anchor="ctr">
            <a:spAutoFit/>
          </a:bodyPr>
          <a:lstStyle/>
          <a:p>
            <a:pPr algn="r" defTabSz="1142867">
              <a:lnSpc>
                <a:spcPct val="90000"/>
              </a:lnSpc>
              <a:spcBef>
                <a:spcPct val="0"/>
              </a:spcBef>
            </a:pPr>
            <a:r>
              <a:rPr lang="en-US" sz="4902" spc="-123">
                <a:ln w="3175">
                  <a:noFill/>
                </a:ln>
                <a:gradFill>
                  <a:gsLst>
                    <a:gs pos="84066">
                      <a:srgbClr val="000000"/>
                    </a:gs>
                    <a:gs pos="57576">
                      <a:srgbClr val="000000"/>
                    </a:gs>
                  </a:gsLst>
                  <a:lin ang="5400000" scaled="0"/>
                </a:gradFill>
                <a:latin typeface="Segoe UI Light"/>
                <a:cs typeface="Segoe UI" pitchFamily="34" charset="0"/>
              </a:rPr>
              <a:t>Spark the future.</a:t>
            </a:r>
          </a:p>
        </p:txBody>
      </p:sp>
      <p:sp>
        <p:nvSpPr>
          <p:cNvPr id="10" name="Rectangle 9"/>
          <p:cNvSpPr/>
          <p:nvPr userDrawn="1"/>
        </p:nvSpPr>
        <p:spPr>
          <a:xfrm>
            <a:off x="2393776" y="4527712"/>
            <a:ext cx="2142257" cy="701614"/>
          </a:xfrm>
          <a:prstGeom prst="rect">
            <a:avLst/>
          </a:prstGeom>
        </p:spPr>
        <p:txBody>
          <a:bodyPr wrap="none" anchor="ctr">
            <a:spAutoFit/>
          </a:bodyPr>
          <a:lstStyle/>
          <a:p>
            <a:pPr algn="r" defTabSz="1142867">
              <a:lnSpc>
                <a:spcPct val="90000"/>
              </a:lnSpc>
              <a:spcBef>
                <a:spcPct val="0"/>
              </a:spcBef>
            </a:pPr>
            <a:r>
              <a:rPr lang="en-US" sz="2206">
                <a:ln w="3175">
                  <a:noFill/>
                </a:ln>
                <a:gradFill>
                  <a:gsLst>
                    <a:gs pos="84066">
                      <a:srgbClr val="000000"/>
                    </a:gs>
                    <a:gs pos="57576">
                      <a:srgbClr val="000000"/>
                    </a:gs>
                  </a:gsLst>
                  <a:lin ang="5400000" scaled="0"/>
                </a:gradFill>
                <a:cs typeface="Segoe UI" pitchFamily="34" charset="0"/>
              </a:rPr>
              <a:t>May 4 – 8, 2015</a:t>
            </a:r>
            <a:br>
              <a:rPr lang="en-US" sz="2206">
                <a:ln w="3175">
                  <a:noFill/>
                </a:ln>
                <a:gradFill>
                  <a:gsLst>
                    <a:gs pos="84066">
                      <a:srgbClr val="000000"/>
                    </a:gs>
                    <a:gs pos="57576">
                      <a:srgbClr val="000000"/>
                    </a:gs>
                  </a:gsLst>
                  <a:lin ang="5400000" scaled="0"/>
                </a:gradFill>
                <a:cs typeface="Segoe UI" pitchFamily="34" charset="0"/>
              </a:rPr>
            </a:br>
            <a:r>
              <a:rPr lang="en-US" sz="2206">
                <a:ln w="3175">
                  <a:noFill/>
                </a:ln>
                <a:gradFill>
                  <a:gsLst>
                    <a:gs pos="84066">
                      <a:srgbClr val="000000"/>
                    </a:gs>
                    <a:gs pos="57576">
                      <a:srgbClr val="000000"/>
                    </a:gs>
                  </a:gsLst>
                  <a:lin ang="5400000" scaled="0"/>
                </a:gradFill>
                <a:cs typeface="Segoe UI" pitchFamily="34" charset="0"/>
              </a:rPr>
              <a:t>Chicago, IL</a:t>
            </a:r>
          </a:p>
        </p:txBody>
      </p:sp>
      <p:pic>
        <p:nvPicPr>
          <p:cNvPr id="11" name="Picture 10"/>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963145" y="4008247"/>
            <a:ext cx="2445282" cy="377435"/>
          </a:xfrm>
          <a:prstGeom prst="rect">
            <a:avLst/>
          </a:prstGeom>
        </p:spPr>
      </p:pic>
    </p:spTree>
    <p:extLst>
      <p:ext uri="{BB962C8B-B14F-4D97-AF65-F5344CB8AC3E}">
        <p14:creationId xmlns:p14="http://schemas.microsoft.com/office/powerpoint/2010/main" val="386669407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3_Blank">
    <p:spTree>
      <p:nvGrpSpPr>
        <p:cNvPr id="1" name=""/>
        <p:cNvGrpSpPr/>
        <p:nvPr/>
      </p:nvGrpSpPr>
      <p:grpSpPr>
        <a:xfrm>
          <a:off x="0" y="0"/>
          <a:ext cx="0" cy="0"/>
          <a:chOff x="0" y="0"/>
          <a:chExt cx="0" cy="0"/>
        </a:xfrm>
      </p:grpSpPr>
      <p:sp>
        <p:nvSpPr>
          <p:cNvPr id="2" name="Rectangle 15"/>
          <p:cNvSpPr/>
          <p:nvPr userDrawn="1"/>
        </p:nvSpPr>
        <p:spPr bwMode="auto">
          <a:xfrm>
            <a:off x="883" y="993"/>
            <a:ext cx="5422017" cy="6857008"/>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70"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3" name="Title 1"/>
          <p:cNvSpPr>
            <a:spLocks noGrp="1"/>
          </p:cNvSpPr>
          <p:nvPr>
            <p:ph type="title"/>
          </p:nvPr>
        </p:nvSpPr>
        <p:spPr>
          <a:xfrm>
            <a:off x="165099" y="2249714"/>
            <a:ext cx="5066323" cy="2358572"/>
          </a:xfrm>
        </p:spPr>
        <p:txBody>
          <a:bodyPr/>
          <a:lstStyle>
            <a:lvl1pPr>
              <a:defRPr lang="en-US" sz="5500" kern="1200" dirty="0">
                <a:solidFill>
                  <a:srgbClr val="F2C811"/>
                </a:solidFill>
                <a:latin typeface="Segoe UI Semibold" panose="020B0702040204020203" pitchFamily="34" charset="0"/>
                <a:ea typeface="Segoe UI Black" panose="020B0A02040204020203" pitchFamily="34" charset="0"/>
                <a:cs typeface="Segoe UI Semibold" panose="020B0702040204020203" pitchFamily="34" charset="0"/>
              </a:defRPr>
            </a:lvl1pPr>
          </a:lstStyle>
          <a:p>
            <a:r>
              <a:rPr lang="en-US"/>
              <a:t>Click to edit Master title style</a:t>
            </a:r>
          </a:p>
        </p:txBody>
      </p:sp>
      <p:sp>
        <p:nvSpPr>
          <p:cNvPr id="4" name="Text Placeholder 3"/>
          <p:cNvSpPr>
            <a:spLocks noGrp="1"/>
          </p:cNvSpPr>
          <p:nvPr>
            <p:ph type="body" sz="quarter" idx="10"/>
          </p:nvPr>
        </p:nvSpPr>
        <p:spPr>
          <a:xfrm>
            <a:off x="5804999" y="562219"/>
            <a:ext cx="4980404" cy="2114425"/>
          </a:xfrm>
        </p:spPr>
        <p:txBody>
          <a:bodyPr wrap="square">
            <a:spAutoFit/>
          </a:bodyPr>
          <a:lstStyle>
            <a:lvl1pPr>
              <a:defRPr sz="36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18192405"/>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4_Blank">
    <p:spTree>
      <p:nvGrpSpPr>
        <p:cNvPr id="1" name=""/>
        <p:cNvGrpSpPr/>
        <p:nvPr/>
      </p:nvGrpSpPr>
      <p:grpSpPr>
        <a:xfrm>
          <a:off x="0" y="0"/>
          <a:ext cx="0" cy="0"/>
          <a:chOff x="0" y="0"/>
          <a:chExt cx="0" cy="0"/>
        </a:xfrm>
      </p:grpSpPr>
      <p:sp>
        <p:nvSpPr>
          <p:cNvPr id="2" name="Rectangle 15"/>
          <p:cNvSpPr/>
          <p:nvPr userDrawn="1"/>
        </p:nvSpPr>
        <p:spPr bwMode="auto">
          <a:xfrm>
            <a:off x="883" y="993"/>
            <a:ext cx="5422017" cy="6857008"/>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70"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3" name="Title 1"/>
          <p:cNvSpPr>
            <a:spLocks noGrp="1"/>
          </p:cNvSpPr>
          <p:nvPr>
            <p:ph type="title"/>
          </p:nvPr>
        </p:nvSpPr>
        <p:spPr>
          <a:xfrm>
            <a:off x="165099" y="2249714"/>
            <a:ext cx="5066323" cy="2358572"/>
          </a:xfrm>
        </p:spPr>
        <p:txBody>
          <a:bodyPr/>
          <a:lstStyle>
            <a:lvl1pPr>
              <a:defRPr lang="en-US" sz="5500" kern="1200" dirty="0">
                <a:solidFill>
                  <a:srgbClr val="F2C811"/>
                </a:solidFill>
                <a:latin typeface="Segoe UI Semibold" panose="020B0702040204020203" pitchFamily="34" charset="0"/>
                <a:ea typeface="Segoe UI Black" panose="020B0A02040204020203" pitchFamily="34" charset="0"/>
                <a:cs typeface="Segoe UI Semibold" panose="020B0702040204020203" pitchFamily="34" charset="0"/>
              </a:defRPr>
            </a:lvl1pPr>
          </a:lstStyle>
          <a:p>
            <a:r>
              <a:rPr lang="en-US"/>
              <a:t>Click to edit Master title style</a:t>
            </a:r>
          </a:p>
        </p:txBody>
      </p:sp>
    </p:spTree>
    <p:extLst>
      <p:ext uri="{BB962C8B-B14F-4D97-AF65-F5344CB8AC3E}">
        <p14:creationId xmlns:p14="http://schemas.microsoft.com/office/powerpoint/2010/main" val="234041919"/>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5_Blank">
    <p:spTree>
      <p:nvGrpSpPr>
        <p:cNvPr id="1" name=""/>
        <p:cNvGrpSpPr/>
        <p:nvPr/>
      </p:nvGrpSpPr>
      <p:grpSpPr>
        <a:xfrm>
          <a:off x="0" y="0"/>
          <a:ext cx="0" cy="0"/>
          <a:chOff x="0" y="0"/>
          <a:chExt cx="0" cy="0"/>
        </a:xfrm>
      </p:grpSpPr>
      <p:sp>
        <p:nvSpPr>
          <p:cNvPr id="2" name="Rectangle 15"/>
          <p:cNvSpPr/>
          <p:nvPr userDrawn="1"/>
        </p:nvSpPr>
        <p:spPr bwMode="auto">
          <a:xfrm>
            <a:off x="883" y="993"/>
            <a:ext cx="4041395" cy="6857008"/>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70"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3" name="Title 1"/>
          <p:cNvSpPr>
            <a:spLocks noGrp="1"/>
          </p:cNvSpPr>
          <p:nvPr>
            <p:ph type="title"/>
          </p:nvPr>
        </p:nvSpPr>
        <p:spPr>
          <a:xfrm>
            <a:off x="165100" y="2249714"/>
            <a:ext cx="3747478" cy="2358572"/>
          </a:xfrm>
        </p:spPr>
        <p:txBody>
          <a:bodyPr/>
          <a:lstStyle>
            <a:lvl1pPr>
              <a:defRPr lang="en-US" sz="5500" kern="1200" dirty="0">
                <a:solidFill>
                  <a:srgbClr val="F2C811"/>
                </a:solidFill>
                <a:latin typeface="Segoe UI Semibold" panose="020B0702040204020203" pitchFamily="34" charset="0"/>
                <a:ea typeface="Segoe UI Black" panose="020B0A02040204020203" pitchFamily="34" charset="0"/>
                <a:cs typeface="Segoe UI Semibold" panose="020B0702040204020203" pitchFamily="34" charset="0"/>
              </a:defRPr>
            </a:lvl1pPr>
          </a:lstStyle>
          <a:p>
            <a:r>
              <a:rPr lang="en-US"/>
              <a:t>Click to edit Master title style</a:t>
            </a:r>
          </a:p>
        </p:txBody>
      </p:sp>
    </p:spTree>
    <p:extLst>
      <p:ext uri="{BB962C8B-B14F-4D97-AF65-F5344CB8AC3E}">
        <p14:creationId xmlns:p14="http://schemas.microsoft.com/office/powerpoint/2010/main" val="2523311080"/>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7_Blank">
    <p:spTree>
      <p:nvGrpSpPr>
        <p:cNvPr id="1" name=""/>
        <p:cNvGrpSpPr/>
        <p:nvPr/>
      </p:nvGrpSpPr>
      <p:grpSpPr>
        <a:xfrm>
          <a:off x="0" y="0"/>
          <a:ext cx="0" cy="0"/>
          <a:chOff x="0" y="0"/>
          <a:chExt cx="0" cy="0"/>
        </a:xfrm>
      </p:grpSpPr>
      <p:sp>
        <p:nvSpPr>
          <p:cNvPr id="2" name="Rectangle 15"/>
          <p:cNvSpPr/>
          <p:nvPr userDrawn="1"/>
        </p:nvSpPr>
        <p:spPr bwMode="auto">
          <a:xfrm>
            <a:off x="884" y="993"/>
            <a:ext cx="2836909" cy="6857008"/>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70"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443192821"/>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8_Blank">
    <p:spTree>
      <p:nvGrpSpPr>
        <p:cNvPr id="1" name=""/>
        <p:cNvGrpSpPr/>
        <p:nvPr/>
      </p:nvGrpSpPr>
      <p:grpSpPr>
        <a:xfrm>
          <a:off x="0" y="0"/>
          <a:ext cx="0" cy="0"/>
          <a:chOff x="0" y="0"/>
          <a:chExt cx="0" cy="0"/>
        </a:xfrm>
      </p:grpSpPr>
      <p:sp>
        <p:nvSpPr>
          <p:cNvPr id="2" name="Rectangle 15"/>
          <p:cNvSpPr/>
          <p:nvPr userDrawn="1"/>
        </p:nvSpPr>
        <p:spPr bwMode="auto">
          <a:xfrm>
            <a:off x="884" y="993"/>
            <a:ext cx="2836909" cy="6857008"/>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70"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3" name="Title 1"/>
          <p:cNvSpPr>
            <a:spLocks noGrp="1"/>
          </p:cNvSpPr>
          <p:nvPr>
            <p:ph type="title" hasCustomPrompt="1"/>
          </p:nvPr>
        </p:nvSpPr>
        <p:spPr>
          <a:xfrm>
            <a:off x="2920181" y="226332"/>
            <a:ext cx="9202993" cy="956908"/>
          </a:xfrm>
        </p:spPr>
        <p:txBody>
          <a:bodyPr lIns="180000" anchor="t"/>
          <a:lstStyle>
            <a:lvl1pPr algn="l">
              <a:defRPr sz="3600">
                <a:solidFill>
                  <a:srgbClr val="000000"/>
                </a:solidFill>
                <a:latin typeface="Segoe UI Light (Headings)"/>
                <a:cs typeface="Segoe UI Light" panose="020B0502040204020203" pitchFamily="34" charset="0"/>
              </a:defRPr>
            </a:lvl1pPr>
          </a:lstStyle>
          <a:p>
            <a:r>
              <a:rPr lang="en-US"/>
              <a:t>Slide title</a:t>
            </a:r>
          </a:p>
        </p:txBody>
      </p:sp>
    </p:spTree>
    <p:extLst>
      <p:ext uri="{BB962C8B-B14F-4D97-AF65-F5344CB8AC3E}">
        <p14:creationId xmlns:p14="http://schemas.microsoft.com/office/powerpoint/2010/main" val="496686694"/>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6_Blank">
    <p:spTree>
      <p:nvGrpSpPr>
        <p:cNvPr id="1" name=""/>
        <p:cNvGrpSpPr/>
        <p:nvPr/>
      </p:nvGrpSpPr>
      <p:grpSpPr>
        <a:xfrm>
          <a:off x="0" y="0"/>
          <a:ext cx="0" cy="0"/>
          <a:chOff x="0" y="0"/>
          <a:chExt cx="0" cy="0"/>
        </a:xfrm>
      </p:grpSpPr>
      <p:sp>
        <p:nvSpPr>
          <p:cNvPr id="9" name="Rectangle 15"/>
          <p:cNvSpPr/>
          <p:nvPr userDrawn="1"/>
        </p:nvSpPr>
        <p:spPr bwMode="auto">
          <a:xfrm>
            <a:off x="883" y="993"/>
            <a:ext cx="4041395" cy="6857008"/>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70"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4" name="Text Placeholder 3"/>
          <p:cNvSpPr>
            <a:spLocks noGrp="1"/>
          </p:cNvSpPr>
          <p:nvPr>
            <p:ph type="body" sz="quarter" idx="10"/>
          </p:nvPr>
        </p:nvSpPr>
        <p:spPr>
          <a:xfrm>
            <a:off x="4493436" y="266655"/>
            <a:ext cx="7292164" cy="2114425"/>
          </a:xfrm>
        </p:spPr>
        <p:txBody>
          <a:bodyPr wrap="square">
            <a:spAutoFit/>
          </a:bodyPr>
          <a:lstStyle>
            <a:lvl1pPr>
              <a:defRPr sz="36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1"/>
          <p:cNvSpPr>
            <a:spLocks noGrp="1"/>
          </p:cNvSpPr>
          <p:nvPr>
            <p:ph type="title"/>
          </p:nvPr>
        </p:nvSpPr>
        <p:spPr>
          <a:xfrm>
            <a:off x="165100" y="2249714"/>
            <a:ext cx="3747478" cy="2358572"/>
          </a:xfrm>
        </p:spPr>
        <p:txBody>
          <a:bodyPr/>
          <a:lstStyle>
            <a:lvl1pPr>
              <a:defRPr lang="en-US" sz="5500" kern="1200" dirty="0">
                <a:solidFill>
                  <a:srgbClr val="F2C811"/>
                </a:solidFill>
                <a:latin typeface="Segoe UI Semibold" panose="020B0702040204020203" pitchFamily="34" charset="0"/>
                <a:ea typeface="Segoe UI Black" panose="020B0A02040204020203" pitchFamily="34" charset="0"/>
                <a:cs typeface="Segoe UI Semibold" panose="020B0702040204020203" pitchFamily="34" charset="0"/>
              </a:defRPr>
            </a:lvl1pPr>
          </a:lstStyle>
          <a:p>
            <a:r>
              <a:rPr lang="en-US"/>
              <a:t>Click to edit Master title style</a:t>
            </a:r>
          </a:p>
        </p:txBody>
      </p:sp>
    </p:spTree>
    <p:extLst>
      <p:ext uri="{BB962C8B-B14F-4D97-AF65-F5344CB8AC3E}">
        <p14:creationId xmlns:p14="http://schemas.microsoft.com/office/powerpoint/2010/main" val="301902290"/>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4" name="Rectangle 3"/>
          <p:cNvSpPr/>
          <p:nvPr userDrawn="1"/>
        </p:nvSpPr>
        <p:spPr>
          <a:xfrm>
            <a:off x="0" y="0"/>
            <a:ext cx="12192000" cy="1189494"/>
          </a:xfrm>
          <a:prstGeom prst="rect">
            <a:avLst/>
          </a:prstGeom>
          <a:solidFill>
            <a:srgbClr val="1E1E1E"/>
          </a:solidFill>
          <a:ln>
            <a:noFill/>
          </a:ln>
        </p:spPr>
        <p:style>
          <a:lnRef idx="2">
            <a:schemeClr val="accent1">
              <a:shade val="50000"/>
            </a:schemeClr>
          </a:lnRef>
          <a:fillRef idx="1">
            <a:schemeClr val="accent1"/>
          </a:fillRef>
          <a:effectRef idx="0">
            <a:schemeClr val="accent1"/>
          </a:effectRef>
          <a:fontRef idx="minor">
            <a:schemeClr val="lt1"/>
          </a:fontRef>
        </p:style>
        <p:txBody>
          <a:bodyPr lIns="548640" tIns="457200" rIns="457200" rtlCol="0" anchor="ctr"/>
          <a:lstStyle/>
          <a:p>
            <a:endParaRPr lang="en-US" sz="5400">
              <a:solidFill>
                <a:srgbClr val="EDC30D"/>
              </a:solidFill>
              <a:latin typeface="Segoe UI Light" panose="020B0502040204020203" pitchFamily="34" charset="0"/>
              <a:cs typeface="Segoe UI Light" panose="020B0502040204020203" pitchFamily="34" charset="0"/>
            </a:endParaRPr>
          </a:p>
        </p:txBody>
      </p:sp>
      <p:sp>
        <p:nvSpPr>
          <p:cNvPr id="5" name="Title 1"/>
          <p:cNvSpPr>
            <a:spLocks noGrp="1"/>
          </p:cNvSpPr>
          <p:nvPr>
            <p:ph type="title" hasCustomPrompt="1"/>
          </p:nvPr>
        </p:nvSpPr>
        <p:spPr>
          <a:xfrm>
            <a:off x="269240" y="123092"/>
            <a:ext cx="11655840" cy="956908"/>
          </a:xfrm>
        </p:spPr>
        <p:txBody>
          <a:bodyPr lIns="180000"/>
          <a:lstStyle>
            <a:lvl1pPr>
              <a:defRPr sz="4800">
                <a:solidFill>
                  <a:srgbClr val="F2C811"/>
                </a:solidFill>
                <a:latin typeface="Segoe UI Light" panose="020B0502040204020203" pitchFamily="34" charset="0"/>
                <a:cs typeface="Segoe UI Light" panose="020B0502040204020203" pitchFamily="34" charset="0"/>
              </a:defRPr>
            </a:lvl1pPr>
          </a:lstStyle>
          <a:p>
            <a:r>
              <a:rPr lang="en-US"/>
              <a:t>Slide title</a:t>
            </a:r>
          </a:p>
        </p:txBody>
      </p:sp>
    </p:spTree>
    <p:extLst>
      <p:ext uri="{BB962C8B-B14F-4D97-AF65-F5344CB8AC3E}">
        <p14:creationId xmlns:p14="http://schemas.microsoft.com/office/powerpoint/2010/main" val="399963389"/>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2_Blank">
    <p:spTree>
      <p:nvGrpSpPr>
        <p:cNvPr id="1" name=""/>
        <p:cNvGrpSpPr/>
        <p:nvPr/>
      </p:nvGrpSpPr>
      <p:grpSpPr>
        <a:xfrm>
          <a:off x="0" y="0"/>
          <a:ext cx="0" cy="0"/>
          <a:chOff x="0" y="0"/>
          <a:chExt cx="0" cy="0"/>
        </a:xfrm>
      </p:grpSpPr>
      <p:sp>
        <p:nvSpPr>
          <p:cNvPr id="4" name="Rectangle 3"/>
          <p:cNvSpPr/>
          <p:nvPr userDrawn="1"/>
        </p:nvSpPr>
        <p:spPr>
          <a:xfrm>
            <a:off x="0" y="0"/>
            <a:ext cx="12192000" cy="1189494"/>
          </a:xfrm>
          <a:prstGeom prst="rect">
            <a:avLst/>
          </a:prstGeom>
          <a:solidFill>
            <a:srgbClr val="1E1E1E"/>
          </a:solidFill>
          <a:ln>
            <a:noFill/>
          </a:ln>
        </p:spPr>
        <p:style>
          <a:lnRef idx="2">
            <a:schemeClr val="accent1">
              <a:shade val="50000"/>
            </a:schemeClr>
          </a:lnRef>
          <a:fillRef idx="1">
            <a:schemeClr val="accent1"/>
          </a:fillRef>
          <a:effectRef idx="0">
            <a:schemeClr val="accent1"/>
          </a:effectRef>
          <a:fontRef idx="minor">
            <a:schemeClr val="lt1"/>
          </a:fontRef>
        </p:style>
        <p:txBody>
          <a:bodyPr lIns="548640" tIns="457200" rIns="457200" rtlCol="0" anchor="ctr"/>
          <a:lstStyle/>
          <a:p>
            <a:endParaRPr lang="en-US" sz="5400">
              <a:solidFill>
                <a:srgbClr val="EDC30D"/>
              </a:solidFill>
              <a:latin typeface="Segoe UI Light" panose="020B0502040204020203" pitchFamily="34" charset="0"/>
              <a:cs typeface="Segoe UI Light" panose="020B0502040204020203" pitchFamily="34" charset="0"/>
            </a:endParaRPr>
          </a:p>
        </p:txBody>
      </p:sp>
      <p:sp>
        <p:nvSpPr>
          <p:cNvPr id="5" name="Title 1"/>
          <p:cNvSpPr>
            <a:spLocks noGrp="1"/>
          </p:cNvSpPr>
          <p:nvPr>
            <p:ph type="title" hasCustomPrompt="1"/>
          </p:nvPr>
        </p:nvSpPr>
        <p:spPr>
          <a:xfrm>
            <a:off x="269240" y="123092"/>
            <a:ext cx="11655840" cy="956908"/>
          </a:xfrm>
        </p:spPr>
        <p:txBody>
          <a:bodyPr lIns="180000"/>
          <a:lstStyle>
            <a:lvl1pPr>
              <a:defRPr sz="4800">
                <a:solidFill>
                  <a:srgbClr val="F2C811"/>
                </a:solidFill>
                <a:latin typeface="Segoe UI Light" panose="020B0502040204020203" pitchFamily="34" charset="0"/>
                <a:cs typeface="Segoe UI Light" panose="020B0502040204020203" pitchFamily="34" charset="0"/>
              </a:defRPr>
            </a:lvl1pPr>
          </a:lstStyle>
          <a:p>
            <a:r>
              <a:rPr lang="en-US"/>
              <a:t>Slide title</a:t>
            </a:r>
          </a:p>
        </p:txBody>
      </p:sp>
      <p:sp>
        <p:nvSpPr>
          <p:cNvPr id="6" name="Text Placeholder 3"/>
          <p:cNvSpPr>
            <a:spLocks noGrp="1"/>
          </p:cNvSpPr>
          <p:nvPr>
            <p:ph type="body" sz="quarter" idx="10"/>
          </p:nvPr>
        </p:nvSpPr>
        <p:spPr>
          <a:xfrm>
            <a:off x="274638" y="1212850"/>
            <a:ext cx="11887200" cy="2025170"/>
          </a:xfrm>
        </p:spPr>
        <p:txBody>
          <a:bodyPr>
            <a:spAutoFit/>
          </a:bodyPr>
          <a:lstStyle>
            <a:lvl1pPr>
              <a:defRPr sz="36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95239800"/>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a:extLst>
              <a:ext uri="{28A0092B-C50C-407E-A947-70E740481C1C}">
                <a14:useLocalDpi xmlns:a14="http://schemas.microsoft.com/office/drawing/2010/main" val="0"/>
              </a:ext>
            </a:extLst>
          </a:blip>
          <a:srcRect l="9519" t="25612" r="71112" b="37624"/>
          <a:stretch/>
        </p:blipFill>
        <p:spPr>
          <a:xfrm>
            <a:off x="-1131532" y="-156880"/>
            <a:ext cx="15074250" cy="7153284"/>
          </a:xfrm>
          <a:prstGeom prst="rect">
            <a:avLst/>
          </a:prstGeom>
        </p:spPr>
      </p:pic>
      <p:sp>
        <p:nvSpPr>
          <p:cNvPr id="2" name="Title 1"/>
          <p:cNvSpPr>
            <a:spLocks noGrp="1"/>
          </p:cNvSpPr>
          <p:nvPr>
            <p:ph type="title"/>
          </p:nvPr>
        </p:nvSpPr>
        <p:spPr>
          <a:xfrm>
            <a:off x="838200" y="2160674"/>
            <a:ext cx="10515600" cy="1325563"/>
          </a:xfrm>
        </p:spPr>
        <p:txBody>
          <a:bodyPr/>
          <a:lstStyle>
            <a:lvl1pPr>
              <a:defRPr lang="en-US" sz="9000" kern="1200" dirty="0">
                <a:solidFill>
                  <a:srgbClr val="F2C811"/>
                </a:solidFill>
                <a:latin typeface="Segoe UI Light" panose="020B0502040204020203" pitchFamily="34" charset="0"/>
                <a:ea typeface="Segoe UI Black" panose="020B0A02040204020203" pitchFamily="34" charset="0"/>
                <a:cs typeface="Segoe UI Light"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42573805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Content">
    <p:bg>
      <p:bgPr>
        <a:solidFill>
          <a:srgbClr val="EDC30D"/>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360000"/>
            <a:ext cx="11655840" cy="720000"/>
          </a:xfrm>
        </p:spPr>
        <p:txBody>
          <a:bodyPr lIns="180000"/>
          <a:lstStyle>
            <a:lvl1pPr>
              <a:defRPr/>
            </a:lvl1pPr>
          </a:lstStyle>
          <a:p>
            <a:r>
              <a:rPr lang="en-US"/>
              <a:t>Slide title</a:t>
            </a:r>
          </a:p>
        </p:txBody>
      </p:sp>
      <p:cxnSp>
        <p:nvCxnSpPr>
          <p:cNvPr id="4" name="Straight Connector 3"/>
          <p:cNvCxnSpPr/>
          <p:nvPr userDrawn="1"/>
        </p:nvCxnSpPr>
        <p:spPr>
          <a:xfrm>
            <a:off x="467833" y="1068634"/>
            <a:ext cx="11227981"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6" name="Content Placeholder 5"/>
          <p:cNvSpPr>
            <a:spLocks noGrp="1"/>
          </p:cNvSpPr>
          <p:nvPr>
            <p:ph sz="quarter" idx="10" hasCustomPrompt="1"/>
          </p:nvPr>
        </p:nvSpPr>
        <p:spPr>
          <a:xfrm>
            <a:off x="269875" y="1169988"/>
            <a:ext cx="11655425" cy="334962"/>
          </a:xfrm>
        </p:spPr>
        <p:txBody>
          <a:bodyPr anchor="ctr">
            <a:noAutofit/>
          </a:bodyPr>
          <a:lstStyle>
            <a:lvl1pPr>
              <a:defRPr sz="2400"/>
            </a:lvl1pPr>
          </a:lstStyle>
          <a:p>
            <a:pPr lvl="0"/>
            <a:r>
              <a:rPr lang="en-US"/>
              <a:t>Slide subtitle</a:t>
            </a:r>
          </a:p>
        </p:txBody>
      </p:sp>
      <p:sp>
        <p:nvSpPr>
          <p:cNvPr id="8" name="Text Placeholder 7"/>
          <p:cNvSpPr>
            <a:spLocks noGrp="1"/>
          </p:cNvSpPr>
          <p:nvPr>
            <p:ph type="body" sz="quarter" idx="11" hasCustomPrompt="1"/>
          </p:nvPr>
        </p:nvSpPr>
        <p:spPr>
          <a:xfrm>
            <a:off x="269875" y="1749425"/>
            <a:ext cx="11655425" cy="5108575"/>
          </a:xfrm>
        </p:spPr>
        <p:txBody>
          <a:bodyPr/>
          <a:lstStyle>
            <a:lvl1pPr>
              <a:defRPr/>
            </a:lvl1pPr>
            <a:lvl2pPr marL="237600">
              <a:defRPr/>
            </a:lvl2pPr>
          </a:lstStyle>
          <a:p>
            <a:pPr lvl="0"/>
            <a:r>
              <a:rPr lang="en-US"/>
              <a:t>Slide conten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288097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1.xml"/><Relationship Id="rId5" Type="http://schemas.openxmlformats.org/officeDocument/2006/relationships/slideLayout" Target="../slideLayouts/slideLayout5.xml"/><Relationship Id="rId10"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6.xml"/><Relationship Id="rId13" Type="http://schemas.openxmlformats.org/officeDocument/2006/relationships/slideLayout" Target="../slideLayouts/slideLayout21.xml"/><Relationship Id="rId18" Type="http://schemas.openxmlformats.org/officeDocument/2006/relationships/slideLayout" Target="../slideLayouts/slideLayout26.xml"/><Relationship Id="rId26" Type="http://schemas.openxmlformats.org/officeDocument/2006/relationships/slideLayout" Target="../slideLayouts/slideLayout34.xml"/><Relationship Id="rId3" Type="http://schemas.openxmlformats.org/officeDocument/2006/relationships/slideLayout" Target="../slideLayouts/slideLayout11.xml"/><Relationship Id="rId21" Type="http://schemas.openxmlformats.org/officeDocument/2006/relationships/slideLayout" Target="../slideLayouts/slideLayout29.xml"/><Relationship Id="rId7" Type="http://schemas.openxmlformats.org/officeDocument/2006/relationships/slideLayout" Target="../slideLayouts/slideLayout15.xml"/><Relationship Id="rId12" Type="http://schemas.openxmlformats.org/officeDocument/2006/relationships/slideLayout" Target="../slideLayouts/slideLayout20.xml"/><Relationship Id="rId17" Type="http://schemas.openxmlformats.org/officeDocument/2006/relationships/slideLayout" Target="../slideLayouts/slideLayout25.xml"/><Relationship Id="rId25" Type="http://schemas.openxmlformats.org/officeDocument/2006/relationships/slideLayout" Target="../slideLayouts/slideLayout33.xml"/><Relationship Id="rId2" Type="http://schemas.openxmlformats.org/officeDocument/2006/relationships/slideLayout" Target="../slideLayouts/slideLayout10.xml"/><Relationship Id="rId16" Type="http://schemas.openxmlformats.org/officeDocument/2006/relationships/slideLayout" Target="../slideLayouts/slideLayout24.xml"/><Relationship Id="rId20" Type="http://schemas.openxmlformats.org/officeDocument/2006/relationships/slideLayout" Target="../slideLayouts/slideLayout28.xml"/><Relationship Id="rId29" Type="http://schemas.openxmlformats.org/officeDocument/2006/relationships/slideLayout" Target="../slideLayouts/slideLayout37.xml"/><Relationship Id="rId1" Type="http://schemas.openxmlformats.org/officeDocument/2006/relationships/slideLayout" Target="../slideLayouts/slideLayout9.xml"/><Relationship Id="rId6" Type="http://schemas.openxmlformats.org/officeDocument/2006/relationships/slideLayout" Target="../slideLayouts/slideLayout14.xml"/><Relationship Id="rId11" Type="http://schemas.openxmlformats.org/officeDocument/2006/relationships/slideLayout" Target="../slideLayouts/slideLayout19.xml"/><Relationship Id="rId24" Type="http://schemas.openxmlformats.org/officeDocument/2006/relationships/slideLayout" Target="../slideLayouts/slideLayout32.xml"/><Relationship Id="rId32" Type="http://schemas.openxmlformats.org/officeDocument/2006/relationships/image" Target="../media/image5.png"/><Relationship Id="rId5" Type="http://schemas.openxmlformats.org/officeDocument/2006/relationships/slideLayout" Target="../slideLayouts/slideLayout13.xml"/><Relationship Id="rId15" Type="http://schemas.openxmlformats.org/officeDocument/2006/relationships/slideLayout" Target="../slideLayouts/slideLayout23.xml"/><Relationship Id="rId23" Type="http://schemas.openxmlformats.org/officeDocument/2006/relationships/slideLayout" Target="../slideLayouts/slideLayout31.xml"/><Relationship Id="rId28" Type="http://schemas.openxmlformats.org/officeDocument/2006/relationships/slideLayout" Target="../slideLayouts/slideLayout36.xml"/><Relationship Id="rId10" Type="http://schemas.openxmlformats.org/officeDocument/2006/relationships/slideLayout" Target="../slideLayouts/slideLayout18.xml"/><Relationship Id="rId19" Type="http://schemas.openxmlformats.org/officeDocument/2006/relationships/slideLayout" Target="../slideLayouts/slideLayout27.xml"/><Relationship Id="rId31" Type="http://schemas.openxmlformats.org/officeDocument/2006/relationships/theme" Target="../theme/theme2.xml"/><Relationship Id="rId4" Type="http://schemas.openxmlformats.org/officeDocument/2006/relationships/slideLayout" Target="../slideLayouts/slideLayout12.xml"/><Relationship Id="rId9" Type="http://schemas.openxmlformats.org/officeDocument/2006/relationships/slideLayout" Target="../slideLayouts/slideLayout17.xml"/><Relationship Id="rId14" Type="http://schemas.openxmlformats.org/officeDocument/2006/relationships/slideLayout" Target="../slideLayouts/slideLayout22.xml"/><Relationship Id="rId22" Type="http://schemas.openxmlformats.org/officeDocument/2006/relationships/slideLayout" Target="../slideLayouts/slideLayout30.xml"/><Relationship Id="rId27" Type="http://schemas.openxmlformats.org/officeDocument/2006/relationships/slideLayout" Target="../slideLayouts/slideLayout35.xml"/><Relationship Id="rId30" Type="http://schemas.openxmlformats.org/officeDocument/2006/relationships/slideLayout" Target="../slideLayouts/slideLayout38.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6.xml"/><Relationship Id="rId3" Type="http://schemas.openxmlformats.org/officeDocument/2006/relationships/slideLayout" Target="../slideLayouts/slideLayout41.xml"/><Relationship Id="rId7" Type="http://schemas.openxmlformats.org/officeDocument/2006/relationships/slideLayout" Target="../slideLayouts/slideLayout45.xml"/><Relationship Id="rId12" Type="http://schemas.openxmlformats.org/officeDocument/2006/relationships/theme" Target="../theme/theme3.xml"/><Relationship Id="rId2" Type="http://schemas.openxmlformats.org/officeDocument/2006/relationships/slideLayout" Target="../slideLayouts/slideLayout40.xml"/><Relationship Id="rId1" Type="http://schemas.openxmlformats.org/officeDocument/2006/relationships/slideLayout" Target="../slideLayouts/slideLayout39.xml"/><Relationship Id="rId6" Type="http://schemas.openxmlformats.org/officeDocument/2006/relationships/slideLayout" Target="../slideLayouts/slideLayout44.xml"/><Relationship Id="rId11" Type="http://schemas.openxmlformats.org/officeDocument/2006/relationships/slideLayout" Target="../slideLayouts/slideLayout49.xml"/><Relationship Id="rId5" Type="http://schemas.openxmlformats.org/officeDocument/2006/relationships/slideLayout" Target="../slideLayouts/slideLayout43.xml"/><Relationship Id="rId10" Type="http://schemas.openxmlformats.org/officeDocument/2006/relationships/slideLayout" Target="../slideLayouts/slideLayout48.xml"/><Relationship Id="rId4" Type="http://schemas.openxmlformats.org/officeDocument/2006/relationships/slideLayout" Target="../slideLayouts/slideLayout42.xml"/><Relationship Id="rId9" Type="http://schemas.openxmlformats.org/officeDocument/2006/relationships/slideLayout" Target="../slideLayouts/slideLayout47.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57.xml"/><Relationship Id="rId13" Type="http://schemas.openxmlformats.org/officeDocument/2006/relationships/slideLayout" Target="../slideLayouts/slideLayout62.xml"/><Relationship Id="rId3" Type="http://schemas.openxmlformats.org/officeDocument/2006/relationships/slideLayout" Target="../slideLayouts/slideLayout52.xml"/><Relationship Id="rId7" Type="http://schemas.openxmlformats.org/officeDocument/2006/relationships/slideLayout" Target="../slideLayouts/slideLayout56.xml"/><Relationship Id="rId12" Type="http://schemas.openxmlformats.org/officeDocument/2006/relationships/slideLayout" Target="../slideLayouts/slideLayout61.xml"/><Relationship Id="rId17" Type="http://schemas.openxmlformats.org/officeDocument/2006/relationships/image" Target="../media/image14.emf"/><Relationship Id="rId2" Type="http://schemas.openxmlformats.org/officeDocument/2006/relationships/slideLayout" Target="../slideLayouts/slideLayout51.xml"/><Relationship Id="rId16" Type="http://schemas.openxmlformats.org/officeDocument/2006/relationships/theme" Target="../theme/theme4.xml"/><Relationship Id="rId1" Type="http://schemas.openxmlformats.org/officeDocument/2006/relationships/slideLayout" Target="../slideLayouts/slideLayout50.xml"/><Relationship Id="rId6" Type="http://schemas.openxmlformats.org/officeDocument/2006/relationships/slideLayout" Target="../slideLayouts/slideLayout55.xml"/><Relationship Id="rId11" Type="http://schemas.openxmlformats.org/officeDocument/2006/relationships/slideLayout" Target="../slideLayouts/slideLayout60.xml"/><Relationship Id="rId5" Type="http://schemas.openxmlformats.org/officeDocument/2006/relationships/slideLayout" Target="../slideLayouts/slideLayout54.xml"/><Relationship Id="rId15" Type="http://schemas.openxmlformats.org/officeDocument/2006/relationships/slideLayout" Target="../slideLayouts/slideLayout64.xml"/><Relationship Id="rId10" Type="http://schemas.openxmlformats.org/officeDocument/2006/relationships/slideLayout" Target="../slideLayouts/slideLayout59.xml"/><Relationship Id="rId4" Type="http://schemas.openxmlformats.org/officeDocument/2006/relationships/slideLayout" Target="../slideLayouts/slideLayout53.xml"/><Relationship Id="rId9" Type="http://schemas.openxmlformats.org/officeDocument/2006/relationships/slideLayout" Target="../slideLayouts/slideLayout58.xml"/><Relationship Id="rId14" Type="http://schemas.openxmlformats.org/officeDocument/2006/relationships/slideLayout" Target="../slideLayouts/slideLayout63.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72.xml"/><Relationship Id="rId13" Type="http://schemas.openxmlformats.org/officeDocument/2006/relationships/slideLayout" Target="../slideLayouts/slideLayout77.xml"/><Relationship Id="rId18" Type="http://schemas.openxmlformats.org/officeDocument/2006/relationships/slideLayout" Target="../slideLayouts/slideLayout82.xml"/><Relationship Id="rId3" Type="http://schemas.openxmlformats.org/officeDocument/2006/relationships/slideLayout" Target="../slideLayouts/slideLayout67.xml"/><Relationship Id="rId21" Type="http://schemas.openxmlformats.org/officeDocument/2006/relationships/slideLayout" Target="../slideLayouts/slideLayout85.xml"/><Relationship Id="rId7" Type="http://schemas.openxmlformats.org/officeDocument/2006/relationships/slideLayout" Target="../slideLayouts/slideLayout71.xml"/><Relationship Id="rId12" Type="http://schemas.openxmlformats.org/officeDocument/2006/relationships/slideLayout" Target="../slideLayouts/slideLayout76.xml"/><Relationship Id="rId17" Type="http://schemas.openxmlformats.org/officeDocument/2006/relationships/slideLayout" Target="../slideLayouts/slideLayout81.xml"/><Relationship Id="rId2" Type="http://schemas.openxmlformats.org/officeDocument/2006/relationships/slideLayout" Target="../slideLayouts/slideLayout66.xml"/><Relationship Id="rId16" Type="http://schemas.openxmlformats.org/officeDocument/2006/relationships/slideLayout" Target="../slideLayouts/slideLayout80.xml"/><Relationship Id="rId20" Type="http://schemas.openxmlformats.org/officeDocument/2006/relationships/slideLayout" Target="../slideLayouts/slideLayout84.xml"/><Relationship Id="rId1" Type="http://schemas.openxmlformats.org/officeDocument/2006/relationships/slideLayout" Target="../slideLayouts/slideLayout65.xml"/><Relationship Id="rId6" Type="http://schemas.openxmlformats.org/officeDocument/2006/relationships/slideLayout" Target="../slideLayouts/slideLayout70.xml"/><Relationship Id="rId11" Type="http://schemas.openxmlformats.org/officeDocument/2006/relationships/slideLayout" Target="../slideLayouts/slideLayout75.xml"/><Relationship Id="rId5" Type="http://schemas.openxmlformats.org/officeDocument/2006/relationships/slideLayout" Target="../slideLayouts/slideLayout69.xml"/><Relationship Id="rId15" Type="http://schemas.openxmlformats.org/officeDocument/2006/relationships/slideLayout" Target="../slideLayouts/slideLayout79.xml"/><Relationship Id="rId23" Type="http://schemas.openxmlformats.org/officeDocument/2006/relationships/theme" Target="../theme/theme5.xml"/><Relationship Id="rId10" Type="http://schemas.openxmlformats.org/officeDocument/2006/relationships/slideLayout" Target="../slideLayouts/slideLayout74.xml"/><Relationship Id="rId19" Type="http://schemas.openxmlformats.org/officeDocument/2006/relationships/slideLayout" Target="../slideLayouts/slideLayout83.xml"/><Relationship Id="rId4" Type="http://schemas.openxmlformats.org/officeDocument/2006/relationships/slideLayout" Target="../slideLayouts/slideLayout68.xml"/><Relationship Id="rId9" Type="http://schemas.openxmlformats.org/officeDocument/2006/relationships/slideLayout" Target="../slideLayouts/slideLayout73.xml"/><Relationship Id="rId14" Type="http://schemas.openxmlformats.org/officeDocument/2006/relationships/slideLayout" Target="../slideLayouts/slideLayout78.xml"/><Relationship Id="rId22" Type="http://schemas.openxmlformats.org/officeDocument/2006/relationships/slideLayout" Target="../slideLayouts/slideLayout86.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94.xml"/><Relationship Id="rId13" Type="http://schemas.openxmlformats.org/officeDocument/2006/relationships/slideLayout" Target="../slideLayouts/slideLayout99.xml"/><Relationship Id="rId18" Type="http://schemas.openxmlformats.org/officeDocument/2006/relationships/slideLayout" Target="../slideLayouts/slideLayout104.xml"/><Relationship Id="rId3" Type="http://schemas.openxmlformats.org/officeDocument/2006/relationships/slideLayout" Target="../slideLayouts/slideLayout89.xml"/><Relationship Id="rId21" Type="http://schemas.openxmlformats.org/officeDocument/2006/relationships/slideLayout" Target="../slideLayouts/slideLayout107.xml"/><Relationship Id="rId7" Type="http://schemas.openxmlformats.org/officeDocument/2006/relationships/slideLayout" Target="../slideLayouts/slideLayout93.xml"/><Relationship Id="rId12" Type="http://schemas.openxmlformats.org/officeDocument/2006/relationships/slideLayout" Target="../slideLayouts/slideLayout98.xml"/><Relationship Id="rId17" Type="http://schemas.openxmlformats.org/officeDocument/2006/relationships/slideLayout" Target="../slideLayouts/slideLayout103.xml"/><Relationship Id="rId25" Type="http://schemas.openxmlformats.org/officeDocument/2006/relationships/theme" Target="../theme/theme6.xml"/><Relationship Id="rId2" Type="http://schemas.openxmlformats.org/officeDocument/2006/relationships/slideLayout" Target="../slideLayouts/slideLayout88.xml"/><Relationship Id="rId16" Type="http://schemas.openxmlformats.org/officeDocument/2006/relationships/slideLayout" Target="../slideLayouts/slideLayout102.xml"/><Relationship Id="rId20" Type="http://schemas.openxmlformats.org/officeDocument/2006/relationships/slideLayout" Target="../slideLayouts/slideLayout106.xml"/><Relationship Id="rId1" Type="http://schemas.openxmlformats.org/officeDocument/2006/relationships/slideLayout" Target="../slideLayouts/slideLayout87.xml"/><Relationship Id="rId6" Type="http://schemas.openxmlformats.org/officeDocument/2006/relationships/slideLayout" Target="../slideLayouts/slideLayout92.xml"/><Relationship Id="rId11" Type="http://schemas.openxmlformats.org/officeDocument/2006/relationships/slideLayout" Target="../slideLayouts/slideLayout97.xml"/><Relationship Id="rId24" Type="http://schemas.openxmlformats.org/officeDocument/2006/relationships/slideLayout" Target="../slideLayouts/slideLayout110.xml"/><Relationship Id="rId5" Type="http://schemas.openxmlformats.org/officeDocument/2006/relationships/slideLayout" Target="../slideLayouts/slideLayout91.xml"/><Relationship Id="rId15" Type="http://schemas.openxmlformats.org/officeDocument/2006/relationships/slideLayout" Target="../slideLayouts/slideLayout101.xml"/><Relationship Id="rId23" Type="http://schemas.openxmlformats.org/officeDocument/2006/relationships/slideLayout" Target="../slideLayouts/slideLayout109.xml"/><Relationship Id="rId10" Type="http://schemas.openxmlformats.org/officeDocument/2006/relationships/slideLayout" Target="../slideLayouts/slideLayout96.xml"/><Relationship Id="rId19" Type="http://schemas.openxmlformats.org/officeDocument/2006/relationships/slideLayout" Target="../slideLayouts/slideLayout105.xml"/><Relationship Id="rId4" Type="http://schemas.openxmlformats.org/officeDocument/2006/relationships/slideLayout" Target="../slideLayouts/slideLayout90.xml"/><Relationship Id="rId9" Type="http://schemas.openxmlformats.org/officeDocument/2006/relationships/slideLayout" Target="../slideLayouts/slideLayout95.xml"/><Relationship Id="rId14" Type="http://schemas.openxmlformats.org/officeDocument/2006/relationships/slideLayout" Target="../slideLayouts/slideLayout100.xml"/><Relationship Id="rId22" Type="http://schemas.openxmlformats.org/officeDocument/2006/relationships/slideLayout" Target="../slideLayouts/slideLayout10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1"/>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025" name="think-cell Slide" r:id="rId12" imgW="270" imgH="270" progId="TCLayout.ActiveDocument.1">
                  <p:embed/>
                </p:oleObj>
              </mc:Choice>
              <mc:Fallback>
                <p:oleObj name="think-cell Slide" r:id="rId12" imgW="270" imgH="270" progId="TCLayout.ActiveDocument.1">
                  <p:embed/>
                  <p:pic>
                    <p:nvPicPr>
                      <p:cNvPr id="6" name="Object 5" hidden="1"/>
                      <p:cNvPicPr/>
                      <p:nvPr/>
                    </p:nvPicPr>
                    <p:blipFill>
                      <a:blip r:embed="rId13"/>
                      <a:stretch>
                        <a:fillRect/>
                      </a:stretch>
                    </p:blipFill>
                    <p:spPr>
                      <a:xfrm>
                        <a:off x="1557" y="1558"/>
                        <a:ext cx="1556" cy="1556"/>
                      </a:xfrm>
                      <a:prstGeom prst="rect">
                        <a:avLst/>
                      </a:prstGeom>
                    </p:spPr>
                  </p:pic>
                </p:oleObj>
              </mc:Fallback>
            </mc:AlternateContent>
          </a:graphicData>
        </a:graphic>
      </p:graphicFrame>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82880" tIns="146304" rIns="182880" bIns="146304"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ooter Placeholder 2"/>
          <p:cNvSpPr>
            <a:spLocks noGrp="1"/>
          </p:cNvSpPr>
          <p:nvPr>
            <p:ph type="ftr" sz="quarter" idx="3"/>
          </p:nvPr>
        </p:nvSpPr>
        <p:spPr>
          <a:xfrm>
            <a:off x="448212" y="6561764"/>
            <a:ext cx="3859607" cy="134483"/>
          </a:xfrm>
          <a:prstGeom prst="rect">
            <a:avLst/>
          </a:prstGeom>
        </p:spPr>
        <p:txBody>
          <a:bodyPr vert="horz" lIns="0" tIns="0" rIns="91440" bIns="0" rtlCol="0" anchor="ctr"/>
          <a:lstStyle>
            <a:lvl1pPr marL="0" algn="l" defTabSz="914367" rtl="0" eaLnBrk="1" latinLnBrk="0" hangingPunct="1">
              <a:defRPr lang="en-US" sz="882" kern="1200">
                <a:solidFill>
                  <a:schemeClr val="tx2"/>
                </a:solidFill>
                <a:latin typeface="+mn-lt"/>
                <a:ea typeface="+mn-ea"/>
                <a:cs typeface="+mn-cs"/>
              </a:defRPr>
            </a:lvl1pPr>
          </a:lstStyle>
          <a:p>
            <a:r>
              <a:rPr>
                <a:solidFill>
                  <a:srgbClr val="505050"/>
                </a:solidFill>
              </a:rPr>
              <a:t>Microsoft Confidential</a:t>
            </a:r>
          </a:p>
        </p:txBody>
      </p:sp>
      <p:sp>
        <p:nvSpPr>
          <p:cNvPr id="5" name="Slide Number Placeholder 4"/>
          <p:cNvSpPr>
            <a:spLocks noGrp="1"/>
          </p:cNvSpPr>
          <p:nvPr>
            <p:ph type="sldNum" sz="quarter" idx="4"/>
          </p:nvPr>
        </p:nvSpPr>
        <p:spPr>
          <a:xfrm>
            <a:off x="11367166" y="6561764"/>
            <a:ext cx="555596" cy="134483"/>
          </a:xfrm>
          <a:prstGeom prst="rect">
            <a:avLst/>
          </a:prstGeom>
        </p:spPr>
        <p:txBody>
          <a:bodyPr vert="horz" lIns="91440" tIns="0" rIns="0" bIns="0" rtlCol="0" anchor="ctr"/>
          <a:lstStyle>
            <a:lvl1pPr algn="r">
              <a:defRPr lang="en-US" sz="882" b="0" kern="1200" smtClean="0">
                <a:solidFill>
                  <a:schemeClr val="tx2"/>
                </a:solidFill>
                <a:latin typeface="+mn-lt"/>
                <a:ea typeface="+mn-ea"/>
                <a:cs typeface="+mn-cs"/>
              </a:defRPr>
            </a:lvl1pPr>
          </a:lstStyle>
          <a:p>
            <a:pPr defTabSz="914367"/>
            <a:fld id="{27258FFF-F925-446B-8502-81C933981705}" type="slidenum">
              <a:rPr>
                <a:solidFill>
                  <a:srgbClr val="505050"/>
                </a:solidFill>
              </a:rPr>
              <a:pPr defTabSz="914367"/>
              <a:t>‹#›</a:t>
            </a:fld>
            <a:endParaRPr>
              <a:solidFill>
                <a:srgbClr val="505050"/>
              </a:solidFill>
            </a:endParaRPr>
          </a:p>
        </p:txBody>
      </p:sp>
    </p:spTree>
    <p:extLst>
      <p:ext uri="{BB962C8B-B14F-4D97-AF65-F5344CB8AC3E}">
        <p14:creationId xmlns:p14="http://schemas.microsoft.com/office/powerpoint/2010/main" val="2318312463"/>
      </p:ext>
    </p:extLst>
  </p:cSld>
  <p:clrMap bg1="lt1" tx1="dk1" bg2="lt2" tx2="dk2" accent1="accent1" accent2="accent2" accent3="accent3" accent4="accent4" accent5="accent5" accent6="accent6" hlink="hlink" folHlink="folHlink"/>
  <p:sldLayoutIdLst>
    <p:sldLayoutId id="2147483703" r:id="rId1"/>
    <p:sldLayoutId id="2147483702" r:id="rId2"/>
    <p:sldLayoutId id="2147483662" r:id="rId3"/>
    <p:sldLayoutId id="2147483663" r:id="rId4"/>
    <p:sldLayoutId id="2147483664" r:id="rId5"/>
    <p:sldLayoutId id="2147483665" r:id="rId6"/>
    <p:sldLayoutId id="2147483666" r:id="rId7"/>
    <p:sldLayoutId id="2147483669" r:id="rId8"/>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914367" rtl="0" eaLnBrk="1" latinLnBrk="0" hangingPunct="1">
        <a:lnSpc>
          <a:spcPct val="90000"/>
        </a:lnSpc>
        <a:spcBef>
          <a:spcPct val="0"/>
        </a:spcBef>
        <a:buNone/>
        <a:defRPr lang="en-US" sz="4400" b="0" kern="1200" cap="none" spc="-100" baseline="0" dirty="0" smtClean="0">
          <a:ln w="3175">
            <a:noFill/>
          </a:ln>
          <a:solidFill>
            <a:schemeClr val="tx2"/>
          </a:soli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solidFill>
            <a:schemeClr val="tx2"/>
          </a:soli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solidFill>
            <a:schemeClr val="tx2"/>
          </a:soli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solidFill>
            <a:schemeClr val="tx2"/>
          </a:soli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solidFill>
            <a:schemeClr val="tx2"/>
          </a:soli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solidFill>
            <a:schemeClr val="tx2"/>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9"/>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p:cNvPicPr>
            <a:picLocks noChangeAspect="1"/>
          </p:cNvPicPr>
          <p:nvPr userDrawn="1"/>
        </p:nvPicPr>
        <p:blipFill>
          <a:blip r:embed="rId32"/>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2434832612"/>
      </p:ext>
    </p:extLst>
  </p:cSld>
  <p:clrMap bg1="dk1" tx1="lt1" bg2="dk2" tx2="lt2" accent1="accent1" accent2="accent2" accent3="accent3" accent4="accent4" accent5="accent5" accent6="accent6" hlink="hlink" folHlink="folHlink"/>
  <p:sldLayoutIdLst>
    <p:sldLayoutId id="2147483671" r:id="rId1"/>
    <p:sldLayoutId id="2147483672" r:id="rId2"/>
    <p:sldLayoutId id="2147483673" r:id="rId3"/>
    <p:sldLayoutId id="2147483674" r:id="rId4"/>
    <p:sldLayoutId id="2147483675" r:id="rId5"/>
    <p:sldLayoutId id="2147483676" r:id="rId6"/>
    <p:sldLayoutId id="2147483677" r:id="rId7"/>
    <p:sldLayoutId id="2147483678" r:id="rId8"/>
    <p:sldLayoutId id="2147483679" r:id="rId9"/>
    <p:sldLayoutId id="2147483680" r:id="rId10"/>
    <p:sldLayoutId id="2147483681" r:id="rId11"/>
    <p:sldLayoutId id="2147483682" r:id="rId12"/>
    <p:sldLayoutId id="2147483683" r:id="rId13"/>
    <p:sldLayoutId id="2147483684" r:id="rId14"/>
    <p:sldLayoutId id="2147483685" r:id="rId15"/>
    <p:sldLayoutId id="2147483686" r:id="rId16"/>
    <p:sldLayoutId id="2147483687" r:id="rId17"/>
    <p:sldLayoutId id="2147483688" r:id="rId18"/>
    <p:sldLayoutId id="2147483689" r:id="rId19"/>
    <p:sldLayoutId id="2147483690" r:id="rId20"/>
    <p:sldLayoutId id="2147483691" r:id="rId21"/>
    <p:sldLayoutId id="2147483692" r:id="rId22"/>
    <p:sldLayoutId id="2147483693" r:id="rId23"/>
    <p:sldLayoutId id="2147483694" r:id="rId24"/>
    <p:sldLayoutId id="2147483695" r:id="rId25"/>
    <p:sldLayoutId id="2147483696" r:id="rId26"/>
    <p:sldLayoutId id="2147483697" r:id="rId27"/>
    <p:sldLayoutId id="2147483698" r:id="rId28"/>
    <p:sldLayoutId id="2147483699" r:id="rId29"/>
    <p:sldLayoutId id="2147483700" r:id="rId30"/>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14293"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18" marR="0" indent="-336118"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1" kern="1200" spc="0" baseline="0">
          <a:gradFill>
            <a:gsLst>
              <a:gs pos="1250">
                <a:schemeClr val="tx1"/>
              </a:gs>
              <a:gs pos="100000">
                <a:schemeClr val="tx1"/>
              </a:gs>
            </a:gsLst>
            <a:lin ang="5400000" scaled="0"/>
          </a:gradFill>
          <a:latin typeface="+mj-lt"/>
          <a:ea typeface="+mn-ea"/>
          <a:cs typeface="+mn-cs"/>
        </a:defRPr>
      </a:lvl1pPr>
      <a:lvl2pPr marL="572646" marR="0" indent="-236528"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275" marR="0" indent="-224079"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3pPr>
      <a:lvl4pPr marL="1008354" marR="0" indent="-224079"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4pPr>
      <a:lvl5pPr marL="1232432" marR="0" indent="-224079"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5pPr>
      <a:lvl6pPr marL="2514307"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456"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602"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750"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293" rtl="0" eaLnBrk="1" latinLnBrk="0" hangingPunct="1">
        <a:defRPr sz="1765" kern="1200">
          <a:solidFill>
            <a:schemeClr val="tx1"/>
          </a:solidFill>
          <a:latin typeface="+mn-lt"/>
          <a:ea typeface="+mn-ea"/>
          <a:cs typeface="+mn-cs"/>
        </a:defRPr>
      </a:lvl1pPr>
      <a:lvl2pPr marL="457147" algn="l" defTabSz="914293" rtl="0" eaLnBrk="1" latinLnBrk="0" hangingPunct="1">
        <a:defRPr sz="1765" kern="1200">
          <a:solidFill>
            <a:schemeClr val="tx1"/>
          </a:solidFill>
          <a:latin typeface="+mn-lt"/>
          <a:ea typeface="+mn-ea"/>
          <a:cs typeface="+mn-cs"/>
        </a:defRPr>
      </a:lvl2pPr>
      <a:lvl3pPr marL="914293" algn="l" defTabSz="914293" rtl="0" eaLnBrk="1" latinLnBrk="0" hangingPunct="1">
        <a:defRPr sz="1765" kern="1200">
          <a:solidFill>
            <a:schemeClr val="tx1"/>
          </a:solidFill>
          <a:latin typeface="+mn-lt"/>
          <a:ea typeface="+mn-ea"/>
          <a:cs typeface="+mn-cs"/>
        </a:defRPr>
      </a:lvl3pPr>
      <a:lvl4pPr marL="1371441" algn="l" defTabSz="914293" rtl="0" eaLnBrk="1" latinLnBrk="0" hangingPunct="1">
        <a:defRPr sz="1765" kern="1200">
          <a:solidFill>
            <a:schemeClr val="tx1"/>
          </a:solidFill>
          <a:latin typeface="+mn-lt"/>
          <a:ea typeface="+mn-ea"/>
          <a:cs typeface="+mn-cs"/>
        </a:defRPr>
      </a:lvl4pPr>
      <a:lvl5pPr marL="1828587" algn="l" defTabSz="914293" rtl="0" eaLnBrk="1" latinLnBrk="0" hangingPunct="1">
        <a:defRPr sz="1765" kern="1200">
          <a:solidFill>
            <a:schemeClr val="tx1"/>
          </a:solidFill>
          <a:latin typeface="+mn-lt"/>
          <a:ea typeface="+mn-ea"/>
          <a:cs typeface="+mn-cs"/>
        </a:defRPr>
      </a:lvl5pPr>
      <a:lvl6pPr marL="2285736" algn="l" defTabSz="914293" rtl="0" eaLnBrk="1" latinLnBrk="0" hangingPunct="1">
        <a:defRPr sz="1765" kern="1200">
          <a:solidFill>
            <a:schemeClr val="tx1"/>
          </a:solidFill>
          <a:latin typeface="+mn-lt"/>
          <a:ea typeface="+mn-ea"/>
          <a:cs typeface="+mn-cs"/>
        </a:defRPr>
      </a:lvl6pPr>
      <a:lvl7pPr marL="2742881" algn="l" defTabSz="914293" rtl="0" eaLnBrk="1" latinLnBrk="0" hangingPunct="1">
        <a:defRPr sz="1765" kern="1200">
          <a:solidFill>
            <a:schemeClr val="tx1"/>
          </a:solidFill>
          <a:latin typeface="+mn-lt"/>
          <a:ea typeface="+mn-ea"/>
          <a:cs typeface="+mn-cs"/>
        </a:defRPr>
      </a:lvl7pPr>
      <a:lvl8pPr marL="3200029" algn="l" defTabSz="914293" rtl="0" eaLnBrk="1" latinLnBrk="0" hangingPunct="1">
        <a:defRPr sz="1765" kern="1200">
          <a:solidFill>
            <a:schemeClr val="tx1"/>
          </a:solidFill>
          <a:latin typeface="+mn-lt"/>
          <a:ea typeface="+mn-ea"/>
          <a:cs typeface="+mn-cs"/>
        </a:defRPr>
      </a:lvl8pPr>
      <a:lvl9pPr marL="3657176" algn="l" defTabSz="914293"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F0A64F4F-C3FD-4B07-8005-E28FB1175600}" type="datetimeFigureOut">
              <a:rPr lang="en-US" smtClean="0">
                <a:solidFill>
                  <a:prstClr val="black">
                    <a:tint val="75000"/>
                  </a:prstClr>
                </a:solidFill>
              </a:rPr>
              <a:pPr/>
              <a:t>11/24/2020</a:t>
            </a:fld>
            <a:endParaRPr lang="en-US">
              <a:solidFill>
                <a:prstClr val="black">
                  <a:tint val="75000"/>
                </a:prstClr>
              </a:solidFill>
            </a:endParaRPr>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solidFill>
                <a:prstClr val="black">
                  <a:tint val="75000"/>
                </a:prstClr>
              </a:solidFill>
            </a:endParaRPr>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7719076-B1CF-409C-978B-753F218D81C3}"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998933971"/>
      </p:ext>
    </p:extLst>
  </p:cSld>
  <p:clrMap bg1="lt1" tx1="dk1" bg2="lt2" tx2="dk2" accent1="accent1" accent2="accent2" accent3="accent3" accent4="accent4" accent5="accent5" accent6="accent6" hlink="hlink" folHlink="folHlink"/>
  <p:sldLayoutIdLst>
    <p:sldLayoutId id="2147483705" r:id="rId1"/>
    <p:sldLayoutId id="2147483706" r:id="rId2"/>
    <p:sldLayoutId id="2147483707" r:id="rId3"/>
    <p:sldLayoutId id="2147483708" r:id="rId4"/>
    <p:sldLayoutId id="2147483709" r:id="rId5"/>
    <p:sldLayoutId id="2147483710" r:id="rId6"/>
    <p:sldLayoutId id="2147483711" r:id="rId7"/>
    <p:sldLayoutId id="2147483712" r:id="rId8"/>
    <p:sldLayoutId id="2147483713" r:id="rId9"/>
    <p:sldLayoutId id="2147483714" r:id="rId10"/>
    <p:sldLayoutId id="2147483715"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17"/>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702905677"/>
      </p:ext>
    </p:extLst>
  </p:cSld>
  <p:clrMap bg1="lt1" tx1="dk1" bg2="lt2" tx2="dk2" accent1="accent1" accent2="accent2" accent3="accent3" accent4="accent4" accent5="accent5" accent6="accent6" hlink="hlink" folHlink="folHlink"/>
  <p:sldLayoutIdLst>
    <p:sldLayoutId id="2147483717" r:id="rId1"/>
    <p:sldLayoutId id="2147483718" r:id="rId2"/>
    <p:sldLayoutId id="2147483719" r:id="rId3"/>
    <p:sldLayoutId id="2147483720" r:id="rId4"/>
    <p:sldLayoutId id="2147483721" r:id="rId5"/>
    <p:sldLayoutId id="2147483722" r:id="rId6"/>
    <p:sldLayoutId id="2147483723" r:id="rId7"/>
    <p:sldLayoutId id="2147483724" r:id="rId8"/>
    <p:sldLayoutId id="2147483725" r:id="rId9"/>
    <p:sldLayoutId id="2147483726" r:id="rId10"/>
    <p:sldLayoutId id="2147483727" r:id="rId11"/>
    <p:sldLayoutId id="2147483728" r:id="rId12"/>
    <p:sldLayoutId id="2147483729" r:id="rId13"/>
    <p:sldLayoutId id="2147483730" r:id="rId14"/>
    <p:sldLayoutId id="2147483731" r:id="rId15"/>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556063"/>
          </a:xfrm>
          <a:prstGeom prst="rect">
            <a:avLst/>
          </a:prstGeom>
        </p:spPr>
        <p:txBody>
          <a:bodyPr vert="horz" wrap="square" lIns="146304" tIns="91440" rIns="146304" bIns="91440" rtlCol="0" anchor="ctr">
            <a:noAutofit/>
          </a:bodyPr>
          <a:lstStyle/>
          <a:p>
            <a:r>
              <a:rPr lang="en-US"/>
              <a:t>Click to edit slide title</a:t>
            </a:r>
          </a:p>
        </p:txBody>
      </p:sp>
      <p:sp>
        <p:nvSpPr>
          <p:cNvPr id="4" name="Text Placeholder 3"/>
          <p:cNvSpPr>
            <a:spLocks noGrp="1"/>
          </p:cNvSpPr>
          <p:nvPr>
            <p:ph type="body" idx="1"/>
          </p:nvPr>
        </p:nvSpPr>
        <p:spPr>
          <a:xfrm>
            <a:off x="269241" y="1807534"/>
            <a:ext cx="11653521" cy="5050466"/>
          </a:xfrm>
          <a:prstGeom prst="rect">
            <a:avLst/>
          </a:prstGeom>
        </p:spPr>
        <p:txBody>
          <a:bodyPr vert="horz" wrap="square" lIns="182880" tIns="146304" rIns="182880" bIns="146304" rtlCol="0">
            <a:normAutofit/>
          </a:bodyPr>
          <a:lstStyle/>
          <a:p>
            <a:pPr lvl="0"/>
            <a:r>
              <a:rPr lang="en-US"/>
              <a:t>Click to edit slide conten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96174595"/>
      </p:ext>
    </p:extLst>
  </p:cSld>
  <p:clrMap bg1="lt1" tx1="dk1" bg2="lt2" tx2="dk2" accent1="accent1" accent2="accent2" accent3="accent3" accent4="accent4" accent5="accent5" accent6="accent6" hlink="hlink" folHlink="folHlink"/>
  <p:sldLayoutIdLst>
    <p:sldLayoutId id="2147483733" r:id="rId1"/>
    <p:sldLayoutId id="2147483734" r:id="rId2"/>
    <p:sldLayoutId id="2147483735" r:id="rId3"/>
    <p:sldLayoutId id="2147483736" r:id="rId4"/>
    <p:sldLayoutId id="2147483737" r:id="rId5"/>
    <p:sldLayoutId id="2147483738" r:id="rId6"/>
    <p:sldLayoutId id="2147483739" r:id="rId7"/>
    <p:sldLayoutId id="2147483740" r:id="rId8"/>
    <p:sldLayoutId id="2147483741" r:id="rId9"/>
    <p:sldLayoutId id="2147483742" r:id="rId10"/>
    <p:sldLayoutId id="2147483743" r:id="rId11"/>
    <p:sldLayoutId id="2147483744" r:id="rId12"/>
    <p:sldLayoutId id="2147483745" r:id="rId13"/>
    <p:sldLayoutId id="2147483746" r:id="rId14"/>
    <p:sldLayoutId id="2147483747" r:id="rId15"/>
    <p:sldLayoutId id="2147483748" r:id="rId16"/>
    <p:sldLayoutId id="2147483749" r:id="rId17"/>
    <p:sldLayoutId id="2147483750" r:id="rId18"/>
    <p:sldLayoutId id="2147483751" r:id="rId19"/>
    <p:sldLayoutId id="2147483752" r:id="rId20"/>
    <p:sldLayoutId id="2147483753" r:id="rId21"/>
    <p:sldLayoutId id="2147483754" r:id="rId22"/>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14367" rtl="0" eaLnBrk="1" latinLnBrk="0" hangingPunct="1">
        <a:lnSpc>
          <a:spcPct val="90000"/>
        </a:lnSpc>
        <a:spcBef>
          <a:spcPct val="0"/>
        </a:spcBef>
        <a:buNone/>
        <a:defRPr lang="en-US" sz="4400" b="0" kern="1200" cap="none" spc="-100" baseline="0" dirty="0" smtClean="0">
          <a:ln w="3175">
            <a:noFill/>
          </a:ln>
          <a:solidFill>
            <a:schemeClr val="tx1"/>
          </a:solidFill>
          <a:effectLst/>
          <a:latin typeface="+mn-lt"/>
          <a:ea typeface="+mn-ea"/>
          <a:cs typeface="Segoe UI" pitchFamily="34" charset="0"/>
        </a:defRPr>
      </a:lvl1pPr>
    </p:titleStyle>
    <p:bodyStyle>
      <a:lvl1pPr marL="0" marR="0" indent="0" algn="l" defTabSz="914367" rtl="0" eaLnBrk="1" fontAlgn="auto" latinLnBrk="0" hangingPunct="1">
        <a:lnSpc>
          <a:spcPct val="90000"/>
        </a:lnSpc>
        <a:spcBef>
          <a:spcPct val="20000"/>
        </a:spcBef>
        <a:spcAft>
          <a:spcPts val="0"/>
        </a:spcAft>
        <a:buClrTx/>
        <a:buSzPct val="90000"/>
        <a:buFontTx/>
        <a:buNone/>
        <a:tabLst/>
        <a:defRPr sz="3200" kern="1200" spc="0" baseline="0">
          <a:solidFill>
            <a:schemeClr val="tx1"/>
          </a:solidFill>
          <a:latin typeface="+mj-lt"/>
          <a:ea typeface="+mn-ea"/>
          <a:cs typeface="+mn-cs"/>
        </a:defRPr>
      </a:lvl1pPr>
      <a:lvl2pPr marL="0" marR="0" indent="-236546"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solidFill>
            <a:schemeClr val="tx1"/>
          </a:solidFill>
          <a:latin typeface="+mn-lt"/>
          <a:ea typeface="+mn-ea"/>
          <a:cs typeface="+mn-cs"/>
        </a:defRPr>
      </a:lvl2pPr>
      <a:lvl3pPr marL="504000" marR="0" indent="-216000"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3pPr>
      <a:lvl4pPr marL="720000" marR="0" indent="-216000"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800" kern="1200" spc="0" baseline="0">
          <a:solidFill>
            <a:schemeClr val="tx1"/>
          </a:solidFill>
          <a:latin typeface="+mn-lt"/>
          <a:ea typeface="+mn-ea"/>
          <a:cs typeface="+mn-cs"/>
        </a:defRPr>
      </a:lvl4pPr>
      <a:lvl5pPr marL="936000" marR="0" indent="-180000"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556063"/>
          </a:xfrm>
          <a:prstGeom prst="rect">
            <a:avLst/>
          </a:prstGeom>
        </p:spPr>
        <p:txBody>
          <a:bodyPr vert="horz" wrap="square" lIns="146304" tIns="91440" rIns="146304" bIns="91440" rtlCol="0" anchor="ctr">
            <a:noAutofit/>
          </a:bodyPr>
          <a:lstStyle/>
          <a:p>
            <a:r>
              <a:rPr lang="en-US"/>
              <a:t>Click to edit slide title</a:t>
            </a:r>
          </a:p>
        </p:txBody>
      </p:sp>
      <p:sp>
        <p:nvSpPr>
          <p:cNvPr id="4" name="Text Placeholder 3"/>
          <p:cNvSpPr>
            <a:spLocks noGrp="1"/>
          </p:cNvSpPr>
          <p:nvPr>
            <p:ph type="body" idx="1"/>
          </p:nvPr>
        </p:nvSpPr>
        <p:spPr>
          <a:xfrm>
            <a:off x="269241" y="1807534"/>
            <a:ext cx="11653521" cy="5050466"/>
          </a:xfrm>
          <a:prstGeom prst="rect">
            <a:avLst/>
          </a:prstGeom>
        </p:spPr>
        <p:txBody>
          <a:bodyPr vert="horz" wrap="square" lIns="182880" tIns="146304" rIns="182880" bIns="146304" rtlCol="0">
            <a:normAutofit/>
          </a:bodyPr>
          <a:lstStyle/>
          <a:p>
            <a:pPr lvl="0"/>
            <a:r>
              <a:rPr lang="en-US"/>
              <a:t>Click to edit slide conten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46001218"/>
      </p:ext>
    </p:extLst>
  </p:cSld>
  <p:clrMap bg1="lt1" tx1="dk1" bg2="lt2" tx2="dk2" accent1="accent1" accent2="accent2" accent3="accent3" accent4="accent4" accent5="accent5" accent6="accent6" hlink="hlink" folHlink="folHlink"/>
  <p:sldLayoutIdLst>
    <p:sldLayoutId id="2147483758" r:id="rId1"/>
    <p:sldLayoutId id="2147483759" r:id="rId2"/>
    <p:sldLayoutId id="2147483760" r:id="rId3"/>
    <p:sldLayoutId id="2147483761" r:id="rId4"/>
    <p:sldLayoutId id="2147483762" r:id="rId5"/>
    <p:sldLayoutId id="2147483763" r:id="rId6"/>
    <p:sldLayoutId id="2147483764" r:id="rId7"/>
    <p:sldLayoutId id="2147483765" r:id="rId8"/>
    <p:sldLayoutId id="2147483766" r:id="rId9"/>
    <p:sldLayoutId id="2147483767" r:id="rId10"/>
    <p:sldLayoutId id="2147483768" r:id="rId11"/>
    <p:sldLayoutId id="2147483769" r:id="rId12"/>
    <p:sldLayoutId id="2147483770" r:id="rId13"/>
    <p:sldLayoutId id="2147483771" r:id="rId14"/>
    <p:sldLayoutId id="2147483772" r:id="rId15"/>
    <p:sldLayoutId id="2147483773" r:id="rId16"/>
    <p:sldLayoutId id="2147483774" r:id="rId17"/>
    <p:sldLayoutId id="2147483775" r:id="rId18"/>
    <p:sldLayoutId id="2147483776" r:id="rId19"/>
    <p:sldLayoutId id="2147483777" r:id="rId20"/>
    <p:sldLayoutId id="2147483778" r:id="rId21"/>
    <p:sldLayoutId id="2147483779" r:id="rId22"/>
    <p:sldLayoutId id="2147483780" r:id="rId23"/>
    <p:sldLayoutId id="2147483781" r:id="rId24"/>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14367" rtl="0" eaLnBrk="1" latinLnBrk="0" hangingPunct="1">
        <a:lnSpc>
          <a:spcPct val="90000"/>
        </a:lnSpc>
        <a:spcBef>
          <a:spcPct val="0"/>
        </a:spcBef>
        <a:buNone/>
        <a:defRPr lang="en-US" sz="4400" b="0" kern="1200" cap="none" spc="-100" baseline="0" dirty="0" smtClean="0">
          <a:ln w="3175">
            <a:noFill/>
          </a:ln>
          <a:solidFill>
            <a:schemeClr val="tx1"/>
          </a:solidFill>
          <a:effectLst/>
          <a:latin typeface="+mn-lt"/>
          <a:ea typeface="+mn-ea"/>
          <a:cs typeface="Segoe UI" pitchFamily="34" charset="0"/>
        </a:defRPr>
      </a:lvl1pPr>
    </p:titleStyle>
    <p:bodyStyle>
      <a:lvl1pPr marL="0" marR="0" indent="0" algn="l" defTabSz="914367" rtl="0" eaLnBrk="1" fontAlgn="auto" latinLnBrk="0" hangingPunct="1">
        <a:lnSpc>
          <a:spcPct val="90000"/>
        </a:lnSpc>
        <a:spcBef>
          <a:spcPct val="20000"/>
        </a:spcBef>
        <a:spcAft>
          <a:spcPts val="0"/>
        </a:spcAft>
        <a:buClrTx/>
        <a:buSzPct val="90000"/>
        <a:buFontTx/>
        <a:buNone/>
        <a:tabLst/>
        <a:defRPr sz="3200" kern="1200" spc="0" baseline="0">
          <a:solidFill>
            <a:schemeClr val="tx1"/>
          </a:solidFill>
          <a:latin typeface="+mj-lt"/>
          <a:ea typeface="+mn-ea"/>
          <a:cs typeface="+mn-cs"/>
        </a:defRPr>
      </a:lvl1pPr>
      <a:lvl2pPr marL="0" marR="0" indent="-236546"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solidFill>
            <a:schemeClr val="tx1"/>
          </a:solidFill>
          <a:latin typeface="+mn-lt"/>
          <a:ea typeface="+mn-ea"/>
          <a:cs typeface="+mn-cs"/>
        </a:defRPr>
      </a:lvl2pPr>
      <a:lvl3pPr marL="504000" marR="0" indent="-216000"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3pPr>
      <a:lvl4pPr marL="720000" marR="0" indent="-216000"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800" kern="1200" spc="0" baseline="0">
          <a:solidFill>
            <a:schemeClr val="tx1"/>
          </a:solidFill>
          <a:latin typeface="+mn-lt"/>
          <a:ea typeface="+mn-ea"/>
          <a:cs typeface="+mn-cs"/>
        </a:defRPr>
      </a:lvl4pPr>
      <a:lvl5pPr marL="936000" marR="0" indent="-180000"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9.xml"/></Relationships>
</file>

<file path=ppt/slides/_rels/slide10.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10.xml"/><Relationship Id="rId1" Type="http://schemas.openxmlformats.org/officeDocument/2006/relationships/slideLayout" Target="../slideLayouts/slideLayout6.xml"/><Relationship Id="rId6" Type="http://schemas.openxmlformats.org/officeDocument/2006/relationships/image" Target="../media/image33.png"/><Relationship Id="rId5" Type="http://schemas.openxmlformats.org/officeDocument/2006/relationships/hyperlink" Target="https://support.powerbi.com/knowledgebase/topics/88770-services-in-power-bi" TargetMode="External"/><Relationship Id="rId4" Type="http://schemas.openxmlformats.org/officeDocument/2006/relationships/image" Target="../media/image23.png"/></Relationships>
</file>

<file path=ppt/slides/_rels/slide100.xml.rels><?xml version="1.0" encoding="UTF-8" standalone="yes"?>
<Relationships xmlns="http://schemas.openxmlformats.org/package/2006/relationships"><Relationship Id="rId8" Type="http://schemas.microsoft.com/office/2007/relationships/hdphoto" Target="../media/hdphoto8.wdp"/><Relationship Id="rId3" Type="http://schemas.openxmlformats.org/officeDocument/2006/relationships/image" Target="../media/image172.png"/><Relationship Id="rId7" Type="http://schemas.openxmlformats.org/officeDocument/2006/relationships/image" Target="../media/image169.png"/><Relationship Id="rId2" Type="http://schemas.openxmlformats.org/officeDocument/2006/relationships/notesSlide" Target="../notesSlides/notesSlide99.xml"/><Relationship Id="rId1" Type="http://schemas.openxmlformats.org/officeDocument/2006/relationships/slideLayout" Target="../slideLayouts/slideLayout71.xml"/><Relationship Id="rId6" Type="http://schemas.openxmlformats.org/officeDocument/2006/relationships/image" Target="../media/image164.png"/><Relationship Id="rId5" Type="http://schemas.openxmlformats.org/officeDocument/2006/relationships/image" Target="../media/image163.png"/><Relationship Id="rId4" Type="http://schemas.openxmlformats.org/officeDocument/2006/relationships/image" Target="../media/image28.png"/><Relationship Id="rId9" Type="http://schemas.openxmlformats.org/officeDocument/2006/relationships/image" Target="../media/image167.png"/></Relationships>
</file>

<file path=ppt/slides/_rels/slide101.xml.rels><?xml version="1.0" encoding="UTF-8" standalone="yes"?>
<Relationships xmlns="http://schemas.openxmlformats.org/package/2006/relationships"><Relationship Id="rId2" Type="http://schemas.openxmlformats.org/officeDocument/2006/relationships/notesSlide" Target="../notesSlides/notesSlide100.xml"/><Relationship Id="rId1" Type="http://schemas.openxmlformats.org/officeDocument/2006/relationships/slideLayout" Target="../slideLayouts/slideLayout84.xml"/></Relationships>
</file>

<file path=ppt/slides/_rels/slide102.xml.rels><?xml version="1.0" encoding="UTF-8" standalone="yes"?>
<Relationships xmlns="http://schemas.openxmlformats.org/package/2006/relationships"><Relationship Id="rId8" Type="http://schemas.openxmlformats.org/officeDocument/2006/relationships/image" Target="../media/image169.png"/><Relationship Id="rId3" Type="http://schemas.openxmlformats.org/officeDocument/2006/relationships/image" Target="../media/image173.png"/><Relationship Id="rId7" Type="http://schemas.openxmlformats.org/officeDocument/2006/relationships/image" Target="../media/image164.png"/><Relationship Id="rId2" Type="http://schemas.openxmlformats.org/officeDocument/2006/relationships/notesSlide" Target="../notesSlides/notesSlide101.xml"/><Relationship Id="rId1" Type="http://schemas.openxmlformats.org/officeDocument/2006/relationships/slideLayout" Target="../slideLayouts/slideLayout71.xml"/><Relationship Id="rId6" Type="http://schemas.openxmlformats.org/officeDocument/2006/relationships/image" Target="../media/image163.png"/><Relationship Id="rId5" Type="http://schemas.openxmlformats.org/officeDocument/2006/relationships/image" Target="../media/image28.png"/><Relationship Id="rId10" Type="http://schemas.openxmlformats.org/officeDocument/2006/relationships/image" Target="../media/image167.png"/><Relationship Id="rId4" Type="http://schemas.openxmlformats.org/officeDocument/2006/relationships/image" Target="../media/image174.png"/><Relationship Id="rId9" Type="http://schemas.microsoft.com/office/2007/relationships/hdphoto" Target="../media/hdphoto8.wdp"/></Relationships>
</file>

<file path=ppt/slides/_rels/slide103.xml.rels><?xml version="1.0" encoding="UTF-8" standalone="yes"?>
<Relationships xmlns="http://schemas.openxmlformats.org/package/2006/relationships"><Relationship Id="rId8" Type="http://schemas.openxmlformats.org/officeDocument/2006/relationships/image" Target="../media/image164.png"/><Relationship Id="rId3" Type="http://schemas.openxmlformats.org/officeDocument/2006/relationships/image" Target="../media/image173.png"/><Relationship Id="rId7" Type="http://schemas.openxmlformats.org/officeDocument/2006/relationships/image" Target="../media/image163.png"/><Relationship Id="rId2" Type="http://schemas.openxmlformats.org/officeDocument/2006/relationships/notesSlide" Target="../notesSlides/notesSlide102.xml"/><Relationship Id="rId1" Type="http://schemas.openxmlformats.org/officeDocument/2006/relationships/slideLayout" Target="../slideLayouts/slideLayout71.xml"/><Relationship Id="rId6" Type="http://schemas.openxmlformats.org/officeDocument/2006/relationships/image" Target="../media/image28.png"/><Relationship Id="rId11" Type="http://schemas.openxmlformats.org/officeDocument/2006/relationships/image" Target="../media/image167.png"/><Relationship Id="rId5" Type="http://schemas.openxmlformats.org/officeDocument/2006/relationships/image" Target="../media/image175.png"/><Relationship Id="rId10" Type="http://schemas.microsoft.com/office/2007/relationships/hdphoto" Target="../media/hdphoto8.wdp"/><Relationship Id="rId4" Type="http://schemas.openxmlformats.org/officeDocument/2006/relationships/image" Target="../media/image174.png"/><Relationship Id="rId9" Type="http://schemas.openxmlformats.org/officeDocument/2006/relationships/image" Target="../media/image169.png"/></Relationships>
</file>

<file path=ppt/slides/_rels/slide104.xml.rels><?xml version="1.0" encoding="UTF-8" standalone="yes"?>
<Relationships xmlns="http://schemas.openxmlformats.org/package/2006/relationships"><Relationship Id="rId8" Type="http://schemas.openxmlformats.org/officeDocument/2006/relationships/image" Target="../media/image164.png"/><Relationship Id="rId3" Type="http://schemas.openxmlformats.org/officeDocument/2006/relationships/image" Target="../media/image173.png"/><Relationship Id="rId7" Type="http://schemas.openxmlformats.org/officeDocument/2006/relationships/image" Target="../media/image163.png"/><Relationship Id="rId2" Type="http://schemas.openxmlformats.org/officeDocument/2006/relationships/notesSlide" Target="../notesSlides/notesSlide103.xml"/><Relationship Id="rId1" Type="http://schemas.openxmlformats.org/officeDocument/2006/relationships/slideLayout" Target="../slideLayouts/slideLayout71.xml"/><Relationship Id="rId6" Type="http://schemas.openxmlformats.org/officeDocument/2006/relationships/image" Target="../media/image28.png"/><Relationship Id="rId11" Type="http://schemas.openxmlformats.org/officeDocument/2006/relationships/image" Target="../media/image167.png"/><Relationship Id="rId5" Type="http://schemas.openxmlformats.org/officeDocument/2006/relationships/image" Target="../media/image176.png"/><Relationship Id="rId10" Type="http://schemas.microsoft.com/office/2007/relationships/hdphoto" Target="../media/hdphoto8.wdp"/><Relationship Id="rId4" Type="http://schemas.openxmlformats.org/officeDocument/2006/relationships/image" Target="../media/image174.png"/><Relationship Id="rId9" Type="http://schemas.openxmlformats.org/officeDocument/2006/relationships/image" Target="../media/image169.png"/></Relationships>
</file>

<file path=ppt/slides/_rels/slide105.xml.rels><?xml version="1.0" encoding="UTF-8" standalone="yes"?>
<Relationships xmlns="http://schemas.openxmlformats.org/package/2006/relationships"><Relationship Id="rId8" Type="http://schemas.microsoft.com/office/2007/relationships/hdphoto" Target="../media/hdphoto8.wdp"/><Relationship Id="rId3" Type="http://schemas.openxmlformats.org/officeDocument/2006/relationships/image" Target="../media/image177.png"/><Relationship Id="rId7" Type="http://schemas.openxmlformats.org/officeDocument/2006/relationships/image" Target="../media/image169.png"/><Relationship Id="rId2" Type="http://schemas.openxmlformats.org/officeDocument/2006/relationships/notesSlide" Target="../notesSlides/notesSlide104.xml"/><Relationship Id="rId1" Type="http://schemas.openxmlformats.org/officeDocument/2006/relationships/slideLayout" Target="../slideLayouts/slideLayout71.xml"/><Relationship Id="rId6" Type="http://schemas.openxmlformats.org/officeDocument/2006/relationships/image" Target="../media/image164.png"/><Relationship Id="rId5" Type="http://schemas.openxmlformats.org/officeDocument/2006/relationships/image" Target="../media/image163.png"/><Relationship Id="rId10" Type="http://schemas.openxmlformats.org/officeDocument/2006/relationships/image" Target="../media/image178.png"/><Relationship Id="rId4" Type="http://schemas.openxmlformats.org/officeDocument/2006/relationships/image" Target="../media/image28.png"/><Relationship Id="rId9" Type="http://schemas.openxmlformats.org/officeDocument/2006/relationships/image" Target="../media/image167.png"/></Relationships>
</file>

<file path=ppt/slides/_rels/slide106.xml.rels><?xml version="1.0" encoding="UTF-8" standalone="yes"?>
<Relationships xmlns="http://schemas.openxmlformats.org/package/2006/relationships"><Relationship Id="rId8" Type="http://schemas.microsoft.com/office/2007/relationships/hdphoto" Target="../media/hdphoto8.wdp"/><Relationship Id="rId3" Type="http://schemas.openxmlformats.org/officeDocument/2006/relationships/image" Target="../media/image179.png"/><Relationship Id="rId7" Type="http://schemas.openxmlformats.org/officeDocument/2006/relationships/image" Target="../media/image169.png"/><Relationship Id="rId2" Type="http://schemas.openxmlformats.org/officeDocument/2006/relationships/notesSlide" Target="../notesSlides/notesSlide105.xml"/><Relationship Id="rId1" Type="http://schemas.openxmlformats.org/officeDocument/2006/relationships/slideLayout" Target="../slideLayouts/slideLayout71.xml"/><Relationship Id="rId6" Type="http://schemas.openxmlformats.org/officeDocument/2006/relationships/image" Target="../media/image164.png"/><Relationship Id="rId5" Type="http://schemas.openxmlformats.org/officeDocument/2006/relationships/image" Target="../media/image163.png"/><Relationship Id="rId4" Type="http://schemas.openxmlformats.org/officeDocument/2006/relationships/image" Target="../media/image28.png"/><Relationship Id="rId9" Type="http://schemas.openxmlformats.org/officeDocument/2006/relationships/image" Target="../media/image167.png"/></Relationships>
</file>

<file path=ppt/slides/_rels/slide107.xml.rels><?xml version="1.0" encoding="UTF-8" standalone="yes"?>
<Relationships xmlns="http://schemas.openxmlformats.org/package/2006/relationships"><Relationship Id="rId8" Type="http://schemas.microsoft.com/office/2007/relationships/hdphoto" Target="../media/hdphoto8.wdp"/><Relationship Id="rId3" Type="http://schemas.openxmlformats.org/officeDocument/2006/relationships/image" Target="../media/image179.png"/><Relationship Id="rId7" Type="http://schemas.openxmlformats.org/officeDocument/2006/relationships/image" Target="../media/image169.png"/><Relationship Id="rId2" Type="http://schemas.openxmlformats.org/officeDocument/2006/relationships/notesSlide" Target="../notesSlides/notesSlide106.xml"/><Relationship Id="rId1" Type="http://schemas.openxmlformats.org/officeDocument/2006/relationships/slideLayout" Target="../slideLayouts/slideLayout71.xml"/><Relationship Id="rId6" Type="http://schemas.openxmlformats.org/officeDocument/2006/relationships/image" Target="../media/image164.png"/><Relationship Id="rId5" Type="http://schemas.openxmlformats.org/officeDocument/2006/relationships/image" Target="../media/image163.png"/><Relationship Id="rId4" Type="http://schemas.openxmlformats.org/officeDocument/2006/relationships/image" Target="../media/image28.png"/><Relationship Id="rId9" Type="http://schemas.openxmlformats.org/officeDocument/2006/relationships/image" Target="../media/image167.png"/></Relationships>
</file>

<file path=ppt/slides/_rels/slide108.xml.rels><?xml version="1.0" encoding="UTF-8" standalone="yes"?>
<Relationships xmlns="http://schemas.openxmlformats.org/package/2006/relationships"><Relationship Id="rId8" Type="http://schemas.microsoft.com/office/2007/relationships/hdphoto" Target="../media/hdphoto8.wdp"/><Relationship Id="rId3" Type="http://schemas.openxmlformats.org/officeDocument/2006/relationships/image" Target="../media/image180.png"/><Relationship Id="rId7" Type="http://schemas.openxmlformats.org/officeDocument/2006/relationships/image" Target="../media/image169.png"/><Relationship Id="rId2" Type="http://schemas.openxmlformats.org/officeDocument/2006/relationships/notesSlide" Target="../notesSlides/notesSlide107.xml"/><Relationship Id="rId1" Type="http://schemas.openxmlformats.org/officeDocument/2006/relationships/slideLayout" Target="../slideLayouts/slideLayout71.xml"/><Relationship Id="rId6" Type="http://schemas.openxmlformats.org/officeDocument/2006/relationships/image" Target="../media/image164.png"/><Relationship Id="rId5" Type="http://schemas.openxmlformats.org/officeDocument/2006/relationships/image" Target="../media/image163.png"/><Relationship Id="rId4" Type="http://schemas.openxmlformats.org/officeDocument/2006/relationships/image" Target="../media/image28.png"/><Relationship Id="rId9" Type="http://schemas.openxmlformats.org/officeDocument/2006/relationships/image" Target="../media/image167.png"/></Relationships>
</file>

<file path=ppt/slides/_rels/slide109.xml.rels><?xml version="1.0" encoding="UTF-8" standalone="yes"?>
<Relationships xmlns="http://schemas.openxmlformats.org/package/2006/relationships"><Relationship Id="rId8" Type="http://schemas.microsoft.com/office/2007/relationships/hdphoto" Target="../media/hdphoto8.wdp"/><Relationship Id="rId3" Type="http://schemas.openxmlformats.org/officeDocument/2006/relationships/image" Target="../media/image181.png"/><Relationship Id="rId7" Type="http://schemas.openxmlformats.org/officeDocument/2006/relationships/image" Target="../media/image169.png"/><Relationship Id="rId2" Type="http://schemas.openxmlformats.org/officeDocument/2006/relationships/notesSlide" Target="../notesSlides/notesSlide108.xml"/><Relationship Id="rId1" Type="http://schemas.openxmlformats.org/officeDocument/2006/relationships/slideLayout" Target="../slideLayouts/slideLayout71.xml"/><Relationship Id="rId6" Type="http://schemas.openxmlformats.org/officeDocument/2006/relationships/image" Target="../media/image164.png"/><Relationship Id="rId5" Type="http://schemas.openxmlformats.org/officeDocument/2006/relationships/image" Target="../media/image163.png"/><Relationship Id="rId4" Type="http://schemas.openxmlformats.org/officeDocument/2006/relationships/image" Target="../media/image28.png"/><Relationship Id="rId9" Type="http://schemas.openxmlformats.org/officeDocument/2006/relationships/image" Target="../media/image167.png"/></Relationships>
</file>

<file path=ppt/slides/_rels/slide11.xml.rels><?xml version="1.0" encoding="UTF-8" standalone="yes"?>
<Relationships xmlns="http://schemas.openxmlformats.org/package/2006/relationships"><Relationship Id="rId8" Type="http://schemas.openxmlformats.org/officeDocument/2006/relationships/image" Target="../media/image37.png"/><Relationship Id="rId3" Type="http://schemas.openxmlformats.org/officeDocument/2006/relationships/image" Target="../media/image22.png"/><Relationship Id="rId7" Type="http://schemas.openxmlformats.org/officeDocument/2006/relationships/image" Target="../media/image36.png"/><Relationship Id="rId2" Type="http://schemas.openxmlformats.org/officeDocument/2006/relationships/notesSlide" Target="../notesSlides/notesSlide11.xml"/><Relationship Id="rId1" Type="http://schemas.openxmlformats.org/officeDocument/2006/relationships/slideLayout" Target="../slideLayouts/slideLayout6.xml"/><Relationship Id="rId6" Type="http://schemas.openxmlformats.org/officeDocument/2006/relationships/image" Target="../media/image35.png"/><Relationship Id="rId11" Type="http://schemas.openxmlformats.org/officeDocument/2006/relationships/image" Target="../media/image40.png"/><Relationship Id="rId5" Type="http://schemas.openxmlformats.org/officeDocument/2006/relationships/image" Target="../media/image34.png"/><Relationship Id="rId10" Type="http://schemas.openxmlformats.org/officeDocument/2006/relationships/image" Target="../media/image39.png"/><Relationship Id="rId4" Type="http://schemas.openxmlformats.org/officeDocument/2006/relationships/image" Target="../media/image23.png"/><Relationship Id="rId9" Type="http://schemas.openxmlformats.org/officeDocument/2006/relationships/image" Target="../media/image38.png"/></Relationships>
</file>

<file path=ppt/slides/_rels/slide110.xml.rels><?xml version="1.0" encoding="UTF-8" standalone="yes"?>
<Relationships xmlns="http://schemas.openxmlformats.org/package/2006/relationships"><Relationship Id="rId8" Type="http://schemas.openxmlformats.org/officeDocument/2006/relationships/image" Target="../media/image169.png"/><Relationship Id="rId3" Type="http://schemas.openxmlformats.org/officeDocument/2006/relationships/image" Target="../media/image182.png"/><Relationship Id="rId7" Type="http://schemas.openxmlformats.org/officeDocument/2006/relationships/image" Target="../media/image164.png"/><Relationship Id="rId2" Type="http://schemas.openxmlformats.org/officeDocument/2006/relationships/notesSlide" Target="../notesSlides/notesSlide109.xml"/><Relationship Id="rId1" Type="http://schemas.openxmlformats.org/officeDocument/2006/relationships/slideLayout" Target="../slideLayouts/slideLayout71.xml"/><Relationship Id="rId6" Type="http://schemas.openxmlformats.org/officeDocument/2006/relationships/image" Target="../media/image163.png"/><Relationship Id="rId5" Type="http://schemas.openxmlformats.org/officeDocument/2006/relationships/image" Target="../media/image28.png"/><Relationship Id="rId10" Type="http://schemas.openxmlformats.org/officeDocument/2006/relationships/image" Target="../media/image167.png"/><Relationship Id="rId4" Type="http://schemas.openxmlformats.org/officeDocument/2006/relationships/image" Target="../media/image183.png"/><Relationship Id="rId9" Type="http://schemas.microsoft.com/office/2007/relationships/hdphoto" Target="../media/hdphoto8.wdp"/></Relationships>
</file>

<file path=ppt/slides/_rels/slide111.xml.rels><?xml version="1.0" encoding="UTF-8" standalone="yes"?>
<Relationships xmlns="http://schemas.openxmlformats.org/package/2006/relationships"><Relationship Id="rId8" Type="http://schemas.microsoft.com/office/2007/relationships/hdphoto" Target="../media/hdphoto8.wdp"/><Relationship Id="rId3" Type="http://schemas.openxmlformats.org/officeDocument/2006/relationships/image" Target="../media/image184.png"/><Relationship Id="rId7" Type="http://schemas.openxmlformats.org/officeDocument/2006/relationships/image" Target="../media/image169.png"/><Relationship Id="rId2" Type="http://schemas.openxmlformats.org/officeDocument/2006/relationships/notesSlide" Target="../notesSlides/notesSlide110.xml"/><Relationship Id="rId1" Type="http://schemas.openxmlformats.org/officeDocument/2006/relationships/slideLayout" Target="../slideLayouts/slideLayout71.xml"/><Relationship Id="rId6" Type="http://schemas.openxmlformats.org/officeDocument/2006/relationships/image" Target="../media/image164.png"/><Relationship Id="rId5" Type="http://schemas.openxmlformats.org/officeDocument/2006/relationships/image" Target="../media/image163.png"/><Relationship Id="rId4" Type="http://schemas.openxmlformats.org/officeDocument/2006/relationships/image" Target="../media/image28.png"/><Relationship Id="rId9" Type="http://schemas.openxmlformats.org/officeDocument/2006/relationships/image" Target="../media/image167.png"/></Relationships>
</file>

<file path=ppt/slides/_rels/slide112.xml.rels><?xml version="1.0" encoding="UTF-8" standalone="yes"?>
<Relationships xmlns="http://schemas.openxmlformats.org/package/2006/relationships"><Relationship Id="rId8" Type="http://schemas.openxmlformats.org/officeDocument/2006/relationships/image" Target="../media/image164.png"/><Relationship Id="rId3" Type="http://schemas.openxmlformats.org/officeDocument/2006/relationships/image" Target="../media/image173.png"/><Relationship Id="rId7" Type="http://schemas.openxmlformats.org/officeDocument/2006/relationships/image" Target="../media/image163.png"/><Relationship Id="rId2" Type="http://schemas.openxmlformats.org/officeDocument/2006/relationships/notesSlide" Target="../notesSlides/notesSlide111.xml"/><Relationship Id="rId1" Type="http://schemas.openxmlformats.org/officeDocument/2006/relationships/slideLayout" Target="../slideLayouts/slideLayout71.xml"/><Relationship Id="rId6" Type="http://schemas.openxmlformats.org/officeDocument/2006/relationships/image" Target="../media/image28.png"/><Relationship Id="rId11" Type="http://schemas.openxmlformats.org/officeDocument/2006/relationships/image" Target="../media/image167.png"/><Relationship Id="rId5" Type="http://schemas.openxmlformats.org/officeDocument/2006/relationships/image" Target="../media/image185.png"/><Relationship Id="rId10" Type="http://schemas.microsoft.com/office/2007/relationships/hdphoto" Target="../media/hdphoto8.wdp"/><Relationship Id="rId4" Type="http://schemas.openxmlformats.org/officeDocument/2006/relationships/image" Target="../media/image174.png"/><Relationship Id="rId9" Type="http://schemas.openxmlformats.org/officeDocument/2006/relationships/image" Target="../media/image169.png"/></Relationships>
</file>

<file path=ppt/slides/_rels/slide113.xml.rels><?xml version="1.0" encoding="UTF-8" standalone="yes"?>
<Relationships xmlns="http://schemas.openxmlformats.org/package/2006/relationships"><Relationship Id="rId8" Type="http://schemas.openxmlformats.org/officeDocument/2006/relationships/image" Target="../media/image164.png"/><Relationship Id="rId3" Type="http://schemas.openxmlformats.org/officeDocument/2006/relationships/image" Target="../media/image173.png"/><Relationship Id="rId7" Type="http://schemas.openxmlformats.org/officeDocument/2006/relationships/image" Target="../media/image163.png"/><Relationship Id="rId2" Type="http://schemas.openxmlformats.org/officeDocument/2006/relationships/notesSlide" Target="../notesSlides/notesSlide112.xml"/><Relationship Id="rId1" Type="http://schemas.openxmlformats.org/officeDocument/2006/relationships/slideLayout" Target="../slideLayouts/slideLayout71.xml"/><Relationship Id="rId6" Type="http://schemas.openxmlformats.org/officeDocument/2006/relationships/image" Target="../media/image28.png"/><Relationship Id="rId11" Type="http://schemas.openxmlformats.org/officeDocument/2006/relationships/image" Target="../media/image167.png"/><Relationship Id="rId5" Type="http://schemas.openxmlformats.org/officeDocument/2006/relationships/image" Target="../media/image186.png"/><Relationship Id="rId10" Type="http://schemas.microsoft.com/office/2007/relationships/hdphoto" Target="../media/hdphoto8.wdp"/><Relationship Id="rId4" Type="http://schemas.openxmlformats.org/officeDocument/2006/relationships/image" Target="../media/image174.png"/><Relationship Id="rId9" Type="http://schemas.openxmlformats.org/officeDocument/2006/relationships/image" Target="../media/image169.png"/></Relationships>
</file>

<file path=ppt/slides/_rels/slide114.xml.rels><?xml version="1.0" encoding="UTF-8" standalone="yes"?>
<Relationships xmlns="http://schemas.openxmlformats.org/package/2006/relationships"><Relationship Id="rId8" Type="http://schemas.openxmlformats.org/officeDocument/2006/relationships/image" Target="../media/image169.png"/><Relationship Id="rId3" Type="http://schemas.openxmlformats.org/officeDocument/2006/relationships/image" Target="../media/image187.png"/><Relationship Id="rId7" Type="http://schemas.openxmlformats.org/officeDocument/2006/relationships/image" Target="../media/image164.png"/><Relationship Id="rId2" Type="http://schemas.openxmlformats.org/officeDocument/2006/relationships/notesSlide" Target="../notesSlides/notesSlide113.xml"/><Relationship Id="rId1" Type="http://schemas.openxmlformats.org/officeDocument/2006/relationships/slideLayout" Target="../slideLayouts/slideLayout71.xml"/><Relationship Id="rId6" Type="http://schemas.openxmlformats.org/officeDocument/2006/relationships/image" Target="../media/image163.png"/><Relationship Id="rId5" Type="http://schemas.openxmlformats.org/officeDocument/2006/relationships/image" Target="../media/image28.png"/><Relationship Id="rId10" Type="http://schemas.openxmlformats.org/officeDocument/2006/relationships/image" Target="../media/image167.png"/><Relationship Id="rId4" Type="http://schemas.openxmlformats.org/officeDocument/2006/relationships/image" Target="../media/image188.png"/><Relationship Id="rId9" Type="http://schemas.microsoft.com/office/2007/relationships/hdphoto" Target="../media/hdphoto8.wdp"/></Relationships>
</file>

<file path=ppt/slides/_rels/slide115.xml.rels><?xml version="1.0" encoding="UTF-8" standalone="yes"?>
<Relationships xmlns="http://schemas.openxmlformats.org/package/2006/relationships"><Relationship Id="rId8" Type="http://schemas.openxmlformats.org/officeDocument/2006/relationships/image" Target="../media/image169.png"/><Relationship Id="rId3" Type="http://schemas.openxmlformats.org/officeDocument/2006/relationships/image" Target="../media/image189.png"/><Relationship Id="rId7" Type="http://schemas.openxmlformats.org/officeDocument/2006/relationships/image" Target="../media/image164.png"/><Relationship Id="rId2" Type="http://schemas.openxmlformats.org/officeDocument/2006/relationships/notesSlide" Target="../notesSlides/notesSlide114.xml"/><Relationship Id="rId1" Type="http://schemas.openxmlformats.org/officeDocument/2006/relationships/slideLayout" Target="../slideLayouts/slideLayout71.xml"/><Relationship Id="rId6" Type="http://schemas.openxmlformats.org/officeDocument/2006/relationships/image" Target="../media/image163.png"/><Relationship Id="rId5" Type="http://schemas.openxmlformats.org/officeDocument/2006/relationships/image" Target="../media/image28.png"/><Relationship Id="rId10" Type="http://schemas.openxmlformats.org/officeDocument/2006/relationships/image" Target="../media/image167.png"/><Relationship Id="rId4" Type="http://schemas.openxmlformats.org/officeDocument/2006/relationships/image" Target="../media/image190.png"/><Relationship Id="rId9" Type="http://schemas.microsoft.com/office/2007/relationships/hdphoto" Target="../media/hdphoto8.wdp"/></Relationships>
</file>

<file path=ppt/slides/_rels/slide116.xml.rels><?xml version="1.0" encoding="UTF-8" standalone="yes"?>
<Relationships xmlns="http://schemas.openxmlformats.org/package/2006/relationships"><Relationship Id="rId8" Type="http://schemas.openxmlformats.org/officeDocument/2006/relationships/image" Target="../media/image167.png"/><Relationship Id="rId3" Type="http://schemas.openxmlformats.org/officeDocument/2006/relationships/image" Target="../media/image28.png"/><Relationship Id="rId7" Type="http://schemas.microsoft.com/office/2007/relationships/hdphoto" Target="../media/hdphoto8.wdp"/><Relationship Id="rId2" Type="http://schemas.openxmlformats.org/officeDocument/2006/relationships/notesSlide" Target="../notesSlides/notesSlide115.xml"/><Relationship Id="rId1" Type="http://schemas.openxmlformats.org/officeDocument/2006/relationships/slideLayout" Target="../slideLayouts/slideLayout71.xml"/><Relationship Id="rId6" Type="http://schemas.openxmlformats.org/officeDocument/2006/relationships/image" Target="../media/image169.png"/><Relationship Id="rId5" Type="http://schemas.openxmlformats.org/officeDocument/2006/relationships/image" Target="../media/image164.png"/><Relationship Id="rId10" Type="http://schemas.openxmlformats.org/officeDocument/2006/relationships/image" Target="../media/image192.png"/><Relationship Id="rId4" Type="http://schemas.openxmlformats.org/officeDocument/2006/relationships/image" Target="../media/image163.png"/><Relationship Id="rId9" Type="http://schemas.openxmlformats.org/officeDocument/2006/relationships/image" Target="../media/image191.png"/></Relationships>
</file>

<file path=ppt/slides/_rels/slide117.xml.rels><?xml version="1.0" encoding="UTF-8" standalone="yes"?>
<Relationships xmlns="http://schemas.openxmlformats.org/package/2006/relationships"><Relationship Id="rId8" Type="http://schemas.openxmlformats.org/officeDocument/2006/relationships/image" Target="../media/image167.png"/><Relationship Id="rId3" Type="http://schemas.openxmlformats.org/officeDocument/2006/relationships/image" Target="../media/image28.png"/><Relationship Id="rId7" Type="http://schemas.microsoft.com/office/2007/relationships/hdphoto" Target="../media/hdphoto8.wdp"/><Relationship Id="rId2" Type="http://schemas.openxmlformats.org/officeDocument/2006/relationships/notesSlide" Target="../notesSlides/notesSlide116.xml"/><Relationship Id="rId1" Type="http://schemas.openxmlformats.org/officeDocument/2006/relationships/slideLayout" Target="../slideLayouts/slideLayout71.xml"/><Relationship Id="rId6" Type="http://schemas.openxmlformats.org/officeDocument/2006/relationships/image" Target="../media/image169.png"/><Relationship Id="rId5" Type="http://schemas.openxmlformats.org/officeDocument/2006/relationships/image" Target="../media/image164.png"/><Relationship Id="rId10" Type="http://schemas.openxmlformats.org/officeDocument/2006/relationships/image" Target="../media/image194.png"/><Relationship Id="rId4" Type="http://schemas.openxmlformats.org/officeDocument/2006/relationships/image" Target="../media/image163.png"/><Relationship Id="rId9" Type="http://schemas.openxmlformats.org/officeDocument/2006/relationships/image" Target="../media/image193.png"/></Relationships>
</file>

<file path=ppt/slides/_rels/slide118.xml.rels><?xml version="1.0" encoding="UTF-8" standalone="yes"?>
<Relationships xmlns="http://schemas.openxmlformats.org/package/2006/relationships"><Relationship Id="rId8" Type="http://schemas.openxmlformats.org/officeDocument/2006/relationships/image" Target="../media/image167.png"/><Relationship Id="rId3" Type="http://schemas.openxmlformats.org/officeDocument/2006/relationships/image" Target="../media/image28.png"/><Relationship Id="rId7" Type="http://schemas.microsoft.com/office/2007/relationships/hdphoto" Target="../media/hdphoto8.wdp"/><Relationship Id="rId2" Type="http://schemas.openxmlformats.org/officeDocument/2006/relationships/notesSlide" Target="../notesSlides/notesSlide117.xml"/><Relationship Id="rId1" Type="http://schemas.openxmlformats.org/officeDocument/2006/relationships/slideLayout" Target="../slideLayouts/slideLayout71.xml"/><Relationship Id="rId6" Type="http://schemas.openxmlformats.org/officeDocument/2006/relationships/image" Target="../media/image169.png"/><Relationship Id="rId11" Type="http://schemas.openxmlformats.org/officeDocument/2006/relationships/image" Target="../media/image197.png"/><Relationship Id="rId5" Type="http://schemas.openxmlformats.org/officeDocument/2006/relationships/image" Target="../media/image164.png"/><Relationship Id="rId10" Type="http://schemas.openxmlformats.org/officeDocument/2006/relationships/image" Target="../media/image196.png"/><Relationship Id="rId4" Type="http://schemas.openxmlformats.org/officeDocument/2006/relationships/image" Target="../media/image163.png"/><Relationship Id="rId9" Type="http://schemas.openxmlformats.org/officeDocument/2006/relationships/image" Target="../media/image195.png"/></Relationships>
</file>

<file path=ppt/slides/_rels/slide119.xml.rels><?xml version="1.0" encoding="UTF-8" standalone="yes"?>
<Relationships xmlns="http://schemas.openxmlformats.org/package/2006/relationships"><Relationship Id="rId8" Type="http://schemas.openxmlformats.org/officeDocument/2006/relationships/image" Target="../media/image167.png"/><Relationship Id="rId3" Type="http://schemas.openxmlformats.org/officeDocument/2006/relationships/image" Target="../media/image28.png"/><Relationship Id="rId7" Type="http://schemas.microsoft.com/office/2007/relationships/hdphoto" Target="../media/hdphoto8.wdp"/><Relationship Id="rId2" Type="http://schemas.openxmlformats.org/officeDocument/2006/relationships/notesSlide" Target="../notesSlides/notesSlide118.xml"/><Relationship Id="rId1" Type="http://schemas.openxmlformats.org/officeDocument/2006/relationships/slideLayout" Target="../slideLayouts/slideLayout71.xml"/><Relationship Id="rId6" Type="http://schemas.openxmlformats.org/officeDocument/2006/relationships/image" Target="../media/image169.png"/><Relationship Id="rId5" Type="http://schemas.openxmlformats.org/officeDocument/2006/relationships/image" Target="../media/image164.png"/><Relationship Id="rId10" Type="http://schemas.openxmlformats.org/officeDocument/2006/relationships/image" Target="../media/image199.png"/><Relationship Id="rId4" Type="http://schemas.openxmlformats.org/officeDocument/2006/relationships/image" Target="../media/image163.png"/><Relationship Id="rId9" Type="http://schemas.openxmlformats.org/officeDocument/2006/relationships/image" Target="../media/image198.png"/></Relationships>
</file>

<file path=ppt/slides/_rels/slide12.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12.xml"/><Relationship Id="rId1" Type="http://schemas.openxmlformats.org/officeDocument/2006/relationships/slideLayout" Target="../slideLayouts/slideLayout6.xml"/><Relationship Id="rId5" Type="http://schemas.openxmlformats.org/officeDocument/2006/relationships/image" Target="../media/image41.png"/><Relationship Id="rId4" Type="http://schemas.openxmlformats.org/officeDocument/2006/relationships/image" Target="../media/image23.png"/></Relationships>
</file>

<file path=ppt/slides/_rels/slide120.xml.rels><?xml version="1.0" encoding="UTF-8" standalone="yes"?>
<Relationships xmlns="http://schemas.openxmlformats.org/package/2006/relationships"><Relationship Id="rId8" Type="http://schemas.openxmlformats.org/officeDocument/2006/relationships/image" Target="../media/image167.png"/><Relationship Id="rId3" Type="http://schemas.openxmlformats.org/officeDocument/2006/relationships/image" Target="../media/image28.png"/><Relationship Id="rId7" Type="http://schemas.microsoft.com/office/2007/relationships/hdphoto" Target="../media/hdphoto8.wdp"/><Relationship Id="rId12" Type="http://schemas.openxmlformats.org/officeDocument/2006/relationships/image" Target="../media/image203.png"/><Relationship Id="rId2" Type="http://schemas.openxmlformats.org/officeDocument/2006/relationships/notesSlide" Target="../notesSlides/notesSlide119.xml"/><Relationship Id="rId1" Type="http://schemas.openxmlformats.org/officeDocument/2006/relationships/slideLayout" Target="../slideLayouts/slideLayout71.xml"/><Relationship Id="rId6" Type="http://schemas.openxmlformats.org/officeDocument/2006/relationships/image" Target="../media/image169.png"/><Relationship Id="rId11" Type="http://schemas.openxmlformats.org/officeDocument/2006/relationships/image" Target="../media/image202.png"/><Relationship Id="rId5" Type="http://schemas.openxmlformats.org/officeDocument/2006/relationships/image" Target="../media/image164.png"/><Relationship Id="rId10" Type="http://schemas.openxmlformats.org/officeDocument/2006/relationships/image" Target="../media/image201.png"/><Relationship Id="rId4" Type="http://schemas.openxmlformats.org/officeDocument/2006/relationships/image" Target="../media/image163.png"/><Relationship Id="rId9" Type="http://schemas.openxmlformats.org/officeDocument/2006/relationships/image" Target="../media/image200.png"/></Relationships>
</file>

<file path=ppt/slides/_rels/slide121.xml.rels><?xml version="1.0" encoding="UTF-8" standalone="yes"?>
<Relationships xmlns="http://schemas.openxmlformats.org/package/2006/relationships"><Relationship Id="rId8" Type="http://schemas.openxmlformats.org/officeDocument/2006/relationships/image" Target="../media/image167.png"/><Relationship Id="rId3" Type="http://schemas.openxmlformats.org/officeDocument/2006/relationships/image" Target="../media/image28.png"/><Relationship Id="rId7" Type="http://schemas.microsoft.com/office/2007/relationships/hdphoto" Target="../media/hdphoto8.wdp"/><Relationship Id="rId2" Type="http://schemas.openxmlformats.org/officeDocument/2006/relationships/notesSlide" Target="../notesSlides/notesSlide120.xml"/><Relationship Id="rId1" Type="http://schemas.openxmlformats.org/officeDocument/2006/relationships/slideLayout" Target="../slideLayouts/slideLayout71.xml"/><Relationship Id="rId6" Type="http://schemas.openxmlformats.org/officeDocument/2006/relationships/image" Target="../media/image169.png"/><Relationship Id="rId5" Type="http://schemas.openxmlformats.org/officeDocument/2006/relationships/image" Target="../media/image164.png"/><Relationship Id="rId10" Type="http://schemas.openxmlformats.org/officeDocument/2006/relationships/image" Target="../media/image205.png"/><Relationship Id="rId4" Type="http://schemas.openxmlformats.org/officeDocument/2006/relationships/image" Target="../media/image163.png"/><Relationship Id="rId9" Type="http://schemas.openxmlformats.org/officeDocument/2006/relationships/image" Target="../media/image204.png"/></Relationships>
</file>

<file path=ppt/slides/_rels/slide122.xml.rels><?xml version="1.0" encoding="UTF-8" standalone="yes"?>
<Relationships xmlns="http://schemas.openxmlformats.org/package/2006/relationships"><Relationship Id="rId2" Type="http://schemas.openxmlformats.org/officeDocument/2006/relationships/notesSlide" Target="../notesSlides/notesSlide121.xml"/><Relationship Id="rId1" Type="http://schemas.openxmlformats.org/officeDocument/2006/relationships/slideLayout" Target="../slideLayouts/slideLayout84.xml"/></Relationships>
</file>

<file path=ppt/slides/_rels/slide123.xml.rels><?xml version="1.0" encoding="UTF-8" standalone="yes"?>
<Relationships xmlns="http://schemas.openxmlformats.org/package/2006/relationships"><Relationship Id="rId8" Type="http://schemas.microsoft.com/office/2007/relationships/hdphoto" Target="../media/hdphoto8.wdp"/><Relationship Id="rId3" Type="http://schemas.openxmlformats.org/officeDocument/2006/relationships/image" Target="../media/image206.png"/><Relationship Id="rId7" Type="http://schemas.openxmlformats.org/officeDocument/2006/relationships/image" Target="../media/image169.png"/><Relationship Id="rId2" Type="http://schemas.openxmlformats.org/officeDocument/2006/relationships/notesSlide" Target="../notesSlides/notesSlide122.xml"/><Relationship Id="rId1" Type="http://schemas.openxmlformats.org/officeDocument/2006/relationships/slideLayout" Target="../slideLayouts/slideLayout71.xml"/><Relationship Id="rId6" Type="http://schemas.openxmlformats.org/officeDocument/2006/relationships/image" Target="../media/image164.png"/><Relationship Id="rId5" Type="http://schemas.openxmlformats.org/officeDocument/2006/relationships/image" Target="../media/image163.png"/><Relationship Id="rId4" Type="http://schemas.openxmlformats.org/officeDocument/2006/relationships/image" Target="../media/image28.png"/><Relationship Id="rId9" Type="http://schemas.openxmlformats.org/officeDocument/2006/relationships/image" Target="../media/image167.png"/></Relationships>
</file>

<file path=ppt/slides/_rels/slide124.xml.rels><?xml version="1.0" encoding="UTF-8" standalone="yes"?>
<Relationships xmlns="http://schemas.openxmlformats.org/package/2006/relationships"><Relationship Id="rId8" Type="http://schemas.openxmlformats.org/officeDocument/2006/relationships/image" Target="../media/image169.png"/><Relationship Id="rId3" Type="http://schemas.openxmlformats.org/officeDocument/2006/relationships/image" Target="../media/image207.png"/><Relationship Id="rId7" Type="http://schemas.openxmlformats.org/officeDocument/2006/relationships/image" Target="../media/image164.png"/><Relationship Id="rId2" Type="http://schemas.openxmlformats.org/officeDocument/2006/relationships/notesSlide" Target="../notesSlides/notesSlide123.xml"/><Relationship Id="rId1" Type="http://schemas.openxmlformats.org/officeDocument/2006/relationships/slideLayout" Target="../slideLayouts/slideLayout71.xml"/><Relationship Id="rId6" Type="http://schemas.openxmlformats.org/officeDocument/2006/relationships/image" Target="../media/image163.png"/><Relationship Id="rId5" Type="http://schemas.openxmlformats.org/officeDocument/2006/relationships/image" Target="../media/image28.png"/><Relationship Id="rId10" Type="http://schemas.openxmlformats.org/officeDocument/2006/relationships/image" Target="../media/image167.png"/><Relationship Id="rId4" Type="http://schemas.openxmlformats.org/officeDocument/2006/relationships/image" Target="../media/image208.png"/><Relationship Id="rId9" Type="http://schemas.microsoft.com/office/2007/relationships/hdphoto" Target="../media/hdphoto8.wdp"/></Relationships>
</file>

<file path=ppt/slides/_rels/slide125.xml.rels><?xml version="1.0" encoding="UTF-8" standalone="yes"?>
<Relationships xmlns="http://schemas.openxmlformats.org/package/2006/relationships"><Relationship Id="rId8" Type="http://schemas.openxmlformats.org/officeDocument/2006/relationships/image" Target="../media/image167.png"/><Relationship Id="rId3" Type="http://schemas.openxmlformats.org/officeDocument/2006/relationships/image" Target="../media/image28.png"/><Relationship Id="rId7" Type="http://schemas.microsoft.com/office/2007/relationships/hdphoto" Target="../media/hdphoto8.wdp"/><Relationship Id="rId2" Type="http://schemas.openxmlformats.org/officeDocument/2006/relationships/notesSlide" Target="../notesSlides/notesSlide124.xml"/><Relationship Id="rId1" Type="http://schemas.openxmlformats.org/officeDocument/2006/relationships/slideLayout" Target="../slideLayouts/slideLayout71.xml"/><Relationship Id="rId6" Type="http://schemas.openxmlformats.org/officeDocument/2006/relationships/image" Target="../media/image169.png"/><Relationship Id="rId5" Type="http://schemas.openxmlformats.org/officeDocument/2006/relationships/image" Target="../media/image164.png"/><Relationship Id="rId4" Type="http://schemas.openxmlformats.org/officeDocument/2006/relationships/image" Target="../media/image163.png"/></Relationships>
</file>

<file path=ppt/slides/_rels/slide126.xml.rels><?xml version="1.0" encoding="UTF-8" standalone="yes"?>
<Relationships xmlns="http://schemas.openxmlformats.org/package/2006/relationships"><Relationship Id="rId8" Type="http://schemas.openxmlformats.org/officeDocument/2006/relationships/image" Target="../media/image169.png"/><Relationship Id="rId3" Type="http://schemas.openxmlformats.org/officeDocument/2006/relationships/image" Target="../media/image209.png"/><Relationship Id="rId7" Type="http://schemas.openxmlformats.org/officeDocument/2006/relationships/image" Target="../media/image164.png"/><Relationship Id="rId2" Type="http://schemas.openxmlformats.org/officeDocument/2006/relationships/notesSlide" Target="../notesSlides/notesSlide125.xml"/><Relationship Id="rId1" Type="http://schemas.openxmlformats.org/officeDocument/2006/relationships/slideLayout" Target="../slideLayouts/slideLayout71.xml"/><Relationship Id="rId6" Type="http://schemas.openxmlformats.org/officeDocument/2006/relationships/image" Target="../media/image163.png"/><Relationship Id="rId5" Type="http://schemas.openxmlformats.org/officeDocument/2006/relationships/image" Target="../media/image28.png"/><Relationship Id="rId10" Type="http://schemas.openxmlformats.org/officeDocument/2006/relationships/image" Target="../media/image167.png"/><Relationship Id="rId4" Type="http://schemas.openxmlformats.org/officeDocument/2006/relationships/image" Target="../media/image210.png"/><Relationship Id="rId9" Type="http://schemas.microsoft.com/office/2007/relationships/hdphoto" Target="../media/hdphoto8.wdp"/></Relationships>
</file>

<file path=ppt/slides/_rels/slide127.xml.rels><?xml version="1.0" encoding="UTF-8" standalone="yes"?>
<Relationships xmlns="http://schemas.openxmlformats.org/package/2006/relationships"><Relationship Id="rId8" Type="http://schemas.microsoft.com/office/2007/relationships/hdphoto" Target="../media/hdphoto8.wdp"/><Relationship Id="rId3" Type="http://schemas.openxmlformats.org/officeDocument/2006/relationships/image" Target="../media/image211.png"/><Relationship Id="rId7" Type="http://schemas.openxmlformats.org/officeDocument/2006/relationships/image" Target="../media/image169.png"/><Relationship Id="rId2" Type="http://schemas.openxmlformats.org/officeDocument/2006/relationships/notesSlide" Target="../notesSlides/notesSlide126.xml"/><Relationship Id="rId1" Type="http://schemas.openxmlformats.org/officeDocument/2006/relationships/slideLayout" Target="../slideLayouts/slideLayout71.xml"/><Relationship Id="rId6" Type="http://schemas.openxmlformats.org/officeDocument/2006/relationships/image" Target="../media/image164.png"/><Relationship Id="rId5" Type="http://schemas.openxmlformats.org/officeDocument/2006/relationships/image" Target="../media/image163.png"/><Relationship Id="rId4" Type="http://schemas.openxmlformats.org/officeDocument/2006/relationships/image" Target="../media/image28.png"/><Relationship Id="rId9" Type="http://schemas.openxmlformats.org/officeDocument/2006/relationships/image" Target="../media/image167.png"/></Relationships>
</file>

<file path=ppt/slides/_rels/slide128.xml.rels><?xml version="1.0" encoding="UTF-8" standalone="yes"?>
<Relationships xmlns="http://schemas.openxmlformats.org/package/2006/relationships"><Relationship Id="rId8" Type="http://schemas.openxmlformats.org/officeDocument/2006/relationships/image" Target="../media/image167.png"/><Relationship Id="rId3" Type="http://schemas.openxmlformats.org/officeDocument/2006/relationships/image" Target="../media/image28.png"/><Relationship Id="rId7" Type="http://schemas.microsoft.com/office/2007/relationships/hdphoto" Target="../media/hdphoto8.wdp"/><Relationship Id="rId2" Type="http://schemas.openxmlformats.org/officeDocument/2006/relationships/notesSlide" Target="../notesSlides/notesSlide127.xml"/><Relationship Id="rId1" Type="http://schemas.openxmlformats.org/officeDocument/2006/relationships/slideLayout" Target="../slideLayouts/slideLayout71.xml"/><Relationship Id="rId6" Type="http://schemas.openxmlformats.org/officeDocument/2006/relationships/image" Target="../media/image169.png"/><Relationship Id="rId5" Type="http://schemas.openxmlformats.org/officeDocument/2006/relationships/image" Target="../media/image164.png"/><Relationship Id="rId4" Type="http://schemas.openxmlformats.org/officeDocument/2006/relationships/image" Target="../media/image163.png"/></Relationships>
</file>

<file path=ppt/slides/_rels/slide129.xml.rels><?xml version="1.0" encoding="UTF-8" standalone="yes"?>
<Relationships xmlns="http://schemas.openxmlformats.org/package/2006/relationships"><Relationship Id="rId8" Type="http://schemas.microsoft.com/office/2007/relationships/hdphoto" Target="../media/hdphoto8.wdp"/><Relationship Id="rId3" Type="http://schemas.openxmlformats.org/officeDocument/2006/relationships/image" Target="../media/image212.png"/><Relationship Id="rId7" Type="http://schemas.openxmlformats.org/officeDocument/2006/relationships/image" Target="../media/image169.png"/><Relationship Id="rId2" Type="http://schemas.openxmlformats.org/officeDocument/2006/relationships/notesSlide" Target="../notesSlides/notesSlide128.xml"/><Relationship Id="rId1" Type="http://schemas.openxmlformats.org/officeDocument/2006/relationships/slideLayout" Target="../slideLayouts/slideLayout71.xml"/><Relationship Id="rId6" Type="http://schemas.openxmlformats.org/officeDocument/2006/relationships/image" Target="../media/image164.png"/><Relationship Id="rId5" Type="http://schemas.openxmlformats.org/officeDocument/2006/relationships/image" Target="../media/image163.png"/><Relationship Id="rId4" Type="http://schemas.openxmlformats.org/officeDocument/2006/relationships/image" Target="../media/image28.png"/><Relationship Id="rId9" Type="http://schemas.openxmlformats.org/officeDocument/2006/relationships/image" Target="../media/image167.png"/></Relationships>
</file>

<file path=ppt/slides/_rels/slide13.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13.xml"/><Relationship Id="rId1" Type="http://schemas.openxmlformats.org/officeDocument/2006/relationships/slideLayout" Target="../slideLayouts/slideLayout6.xml"/><Relationship Id="rId5" Type="http://schemas.openxmlformats.org/officeDocument/2006/relationships/image" Target="../media/image42.png"/><Relationship Id="rId4" Type="http://schemas.openxmlformats.org/officeDocument/2006/relationships/image" Target="../media/image23.png"/></Relationships>
</file>

<file path=ppt/slides/_rels/slide130.xml.rels><?xml version="1.0" encoding="UTF-8" standalone="yes"?>
<Relationships xmlns="http://schemas.openxmlformats.org/package/2006/relationships"><Relationship Id="rId8" Type="http://schemas.microsoft.com/office/2007/relationships/hdphoto" Target="../media/hdphoto8.wdp"/><Relationship Id="rId3" Type="http://schemas.openxmlformats.org/officeDocument/2006/relationships/image" Target="../media/image213.png"/><Relationship Id="rId7" Type="http://schemas.openxmlformats.org/officeDocument/2006/relationships/image" Target="../media/image169.png"/><Relationship Id="rId2" Type="http://schemas.openxmlformats.org/officeDocument/2006/relationships/notesSlide" Target="../notesSlides/notesSlide129.xml"/><Relationship Id="rId1" Type="http://schemas.openxmlformats.org/officeDocument/2006/relationships/slideLayout" Target="../slideLayouts/slideLayout71.xml"/><Relationship Id="rId6" Type="http://schemas.openxmlformats.org/officeDocument/2006/relationships/image" Target="../media/image164.png"/><Relationship Id="rId5" Type="http://schemas.openxmlformats.org/officeDocument/2006/relationships/image" Target="../media/image163.png"/><Relationship Id="rId4" Type="http://schemas.openxmlformats.org/officeDocument/2006/relationships/image" Target="../media/image28.png"/><Relationship Id="rId9" Type="http://schemas.openxmlformats.org/officeDocument/2006/relationships/image" Target="../media/image167.png"/></Relationships>
</file>

<file path=ppt/slides/_rels/slide131.xml.rels><?xml version="1.0" encoding="UTF-8" standalone="yes"?>
<Relationships xmlns="http://schemas.openxmlformats.org/package/2006/relationships"><Relationship Id="rId8" Type="http://schemas.openxmlformats.org/officeDocument/2006/relationships/image" Target="../media/image169.png"/><Relationship Id="rId3" Type="http://schemas.openxmlformats.org/officeDocument/2006/relationships/image" Target="../media/image214.png"/><Relationship Id="rId7" Type="http://schemas.openxmlformats.org/officeDocument/2006/relationships/image" Target="../media/image164.png"/><Relationship Id="rId2" Type="http://schemas.openxmlformats.org/officeDocument/2006/relationships/notesSlide" Target="../notesSlides/notesSlide130.xml"/><Relationship Id="rId1" Type="http://schemas.openxmlformats.org/officeDocument/2006/relationships/slideLayout" Target="../slideLayouts/slideLayout71.xml"/><Relationship Id="rId6" Type="http://schemas.openxmlformats.org/officeDocument/2006/relationships/image" Target="../media/image163.png"/><Relationship Id="rId5" Type="http://schemas.openxmlformats.org/officeDocument/2006/relationships/image" Target="../media/image28.png"/><Relationship Id="rId10" Type="http://schemas.openxmlformats.org/officeDocument/2006/relationships/image" Target="../media/image167.png"/><Relationship Id="rId4" Type="http://schemas.openxmlformats.org/officeDocument/2006/relationships/image" Target="../media/image215.png"/><Relationship Id="rId9" Type="http://schemas.microsoft.com/office/2007/relationships/hdphoto" Target="../media/hdphoto8.wdp"/></Relationships>
</file>

<file path=ppt/slides/_rels/slide132.xml.rels><?xml version="1.0" encoding="UTF-8" standalone="yes"?>
<Relationships xmlns="http://schemas.openxmlformats.org/package/2006/relationships"><Relationship Id="rId8" Type="http://schemas.microsoft.com/office/2007/relationships/hdphoto" Target="../media/hdphoto8.wdp"/><Relationship Id="rId3" Type="http://schemas.openxmlformats.org/officeDocument/2006/relationships/image" Target="../media/image216.png"/><Relationship Id="rId7" Type="http://schemas.openxmlformats.org/officeDocument/2006/relationships/image" Target="../media/image169.png"/><Relationship Id="rId2" Type="http://schemas.openxmlformats.org/officeDocument/2006/relationships/notesSlide" Target="../notesSlides/notesSlide131.xml"/><Relationship Id="rId1" Type="http://schemas.openxmlformats.org/officeDocument/2006/relationships/slideLayout" Target="../slideLayouts/slideLayout71.xml"/><Relationship Id="rId6" Type="http://schemas.openxmlformats.org/officeDocument/2006/relationships/image" Target="../media/image164.png"/><Relationship Id="rId5" Type="http://schemas.openxmlformats.org/officeDocument/2006/relationships/image" Target="../media/image163.png"/><Relationship Id="rId4" Type="http://schemas.openxmlformats.org/officeDocument/2006/relationships/image" Target="../media/image28.png"/><Relationship Id="rId9" Type="http://schemas.openxmlformats.org/officeDocument/2006/relationships/image" Target="../media/image167.png"/></Relationships>
</file>

<file path=ppt/slides/_rels/slide133.xml.rels><?xml version="1.0" encoding="UTF-8" standalone="yes"?>
<Relationships xmlns="http://schemas.openxmlformats.org/package/2006/relationships"><Relationship Id="rId8" Type="http://schemas.microsoft.com/office/2007/relationships/hdphoto" Target="../media/hdphoto8.wdp"/><Relationship Id="rId3" Type="http://schemas.openxmlformats.org/officeDocument/2006/relationships/image" Target="../media/image217.png"/><Relationship Id="rId7" Type="http://schemas.openxmlformats.org/officeDocument/2006/relationships/image" Target="../media/image169.png"/><Relationship Id="rId2" Type="http://schemas.openxmlformats.org/officeDocument/2006/relationships/notesSlide" Target="../notesSlides/notesSlide132.xml"/><Relationship Id="rId1" Type="http://schemas.openxmlformats.org/officeDocument/2006/relationships/slideLayout" Target="../slideLayouts/slideLayout71.xml"/><Relationship Id="rId6" Type="http://schemas.openxmlformats.org/officeDocument/2006/relationships/image" Target="../media/image164.png"/><Relationship Id="rId5" Type="http://schemas.openxmlformats.org/officeDocument/2006/relationships/image" Target="../media/image163.png"/><Relationship Id="rId4" Type="http://schemas.openxmlformats.org/officeDocument/2006/relationships/image" Target="../media/image28.png"/><Relationship Id="rId9" Type="http://schemas.openxmlformats.org/officeDocument/2006/relationships/image" Target="../media/image167.png"/></Relationships>
</file>

<file path=ppt/slides/_rels/slide134.xml.rels><?xml version="1.0" encoding="UTF-8" standalone="yes"?>
<Relationships xmlns="http://schemas.openxmlformats.org/package/2006/relationships"><Relationship Id="rId8" Type="http://schemas.openxmlformats.org/officeDocument/2006/relationships/image" Target="../media/image167.png"/><Relationship Id="rId3" Type="http://schemas.openxmlformats.org/officeDocument/2006/relationships/image" Target="../media/image28.png"/><Relationship Id="rId7" Type="http://schemas.microsoft.com/office/2007/relationships/hdphoto" Target="../media/hdphoto8.wdp"/><Relationship Id="rId2" Type="http://schemas.openxmlformats.org/officeDocument/2006/relationships/notesSlide" Target="../notesSlides/notesSlide133.xml"/><Relationship Id="rId1" Type="http://schemas.openxmlformats.org/officeDocument/2006/relationships/slideLayout" Target="../slideLayouts/slideLayout71.xml"/><Relationship Id="rId6" Type="http://schemas.openxmlformats.org/officeDocument/2006/relationships/image" Target="../media/image169.png"/><Relationship Id="rId5" Type="http://schemas.openxmlformats.org/officeDocument/2006/relationships/image" Target="../media/image164.png"/><Relationship Id="rId4" Type="http://schemas.openxmlformats.org/officeDocument/2006/relationships/image" Target="../media/image163.png"/><Relationship Id="rId9" Type="http://schemas.openxmlformats.org/officeDocument/2006/relationships/image" Target="../media/image218.png"/></Relationships>
</file>

<file path=ppt/slides/_rels/slide135.xml.rels><?xml version="1.0" encoding="UTF-8" standalone="yes"?>
<Relationships xmlns="http://schemas.openxmlformats.org/package/2006/relationships"><Relationship Id="rId8" Type="http://schemas.openxmlformats.org/officeDocument/2006/relationships/image" Target="../media/image167.png"/><Relationship Id="rId3" Type="http://schemas.openxmlformats.org/officeDocument/2006/relationships/image" Target="../media/image28.png"/><Relationship Id="rId7" Type="http://schemas.microsoft.com/office/2007/relationships/hdphoto" Target="../media/hdphoto8.wdp"/><Relationship Id="rId2" Type="http://schemas.openxmlformats.org/officeDocument/2006/relationships/notesSlide" Target="../notesSlides/notesSlide134.xml"/><Relationship Id="rId1" Type="http://schemas.openxmlformats.org/officeDocument/2006/relationships/slideLayout" Target="../slideLayouts/slideLayout71.xml"/><Relationship Id="rId6" Type="http://schemas.openxmlformats.org/officeDocument/2006/relationships/image" Target="../media/image169.png"/><Relationship Id="rId11" Type="http://schemas.openxmlformats.org/officeDocument/2006/relationships/image" Target="../media/image221.jpeg"/><Relationship Id="rId5" Type="http://schemas.openxmlformats.org/officeDocument/2006/relationships/image" Target="../media/image164.png"/><Relationship Id="rId10" Type="http://schemas.openxmlformats.org/officeDocument/2006/relationships/image" Target="../media/image220.jpeg"/><Relationship Id="rId4" Type="http://schemas.openxmlformats.org/officeDocument/2006/relationships/image" Target="../media/image163.png"/><Relationship Id="rId9" Type="http://schemas.openxmlformats.org/officeDocument/2006/relationships/image" Target="../media/image219.png"/></Relationships>
</file>

<file path=ppt/slides/_rels/slide136.xml.rels><?xml version="1.0" encoding="UTF-8" standalone="yes"?>
<Relationships xmlns="http://schemas.openxmlformats.org/package/2006/relationships"><Relationship Id="rId2" Type="http://schemas.openxmlformats.org/officeDocument/2006/relationships/notesSlide" Target="../notesSlides/notesSlide135.xml"/><Relationship Id="rId1" Type="http://schemas.openxmlformats.org/officeDocument/2006/relationships/slideLayout" Target="../slideLayouts/slideLayout84.xml"/></Relationships>
</file>

<file path=ppt/slides/_rels/slide137.xml.rels><?xml version="1.0" encoding="UTF-8" standalone="yes"?>
<Relationships xmlns="http://schemas.openxmlformats.org/package/2006/relationships"><Relationship Id="rId8" Type="http://schemas.openxmlformats.org/officeDocument/2006/relationships/image" Target="../media/image169.png"/><Relationship Id="rId3" Type="http://schemas.openxmlformats.org/officeDocument/2006/relationships/image" Target="../media/image222.png"/><Relationship Id="rId7" Type="http://schemas.openxmlformats.org/officeDocument/2006/relationships/image" Target="../media/image164.png"/><Relationship Id="rId2" Type="http://schemas.openxmlformats.org/officeDocument/2006/relationships/notesSlide" Target="../notesSlides/notesSlide136.xml"/><Relationship Id="rId1" Type="http://schemas.openxmlformats.org/officeDocument/2006/relationships/slideLayout" Target="../slideLayouts/slideLayout71.xml"/><Relationship Id="rId6" Type="http://schemas.openxmlformats.org/officeDocument/2006/relationships/image" Target="../media/image163.png"/><Relationship Id="rId5" Type="http://schemas.openxmlformats.org/officeDocument/2006/relationships/image" Target="../media/image28.png"/><Relationship Id="rId10" Type="http://schemas.openxmlformats.org/officeDocument/2006/relationships/image" Target="../media/image167.png"/><Relationship Id="rId4" Type="http://schemas.openxmlformats.org/officeDocument/2006/relationships/image" Target="../media/image223.png"/><Relationship Id="rId9" Type="http://schemas.microsoft.com/office/2007/relationships/hdphoto" Target="../media/hdphoto8.wdp"/></Relationships>
</file>

<file path=ppt/slides/_rels/slide138.xml.rels><?xml version="1.0" encoding="UTF-8" standalone="yes"?>
<Relationships xmlns="http://schemas.openxmlformats.org/package/2006/relationships"><Relationship Id="rId8" Type="http://schemas.openxmlformats.org/officeDocument/2006/relationships/image" Target="../media/image163.png"/><Relationship Id="rId3" Type="http://schemas.openxmlformats.org/officeDocument/2006/relationships/image" Target="../media/image224.png"/><Relationship Id="rId7" Type="http://schemas.openxmlformats.org/officeDocument/2006/relationships/image" Target="../media/image28.png"/><Relationship Id="rId12" Type="http://schemas.openxmlformats.org/officeDocument/2006/relationships/image" Target="../media/image167.png"/><Relationship Id="rId2" Type="http://schemas.openxmlformats.org/officeDocument/2006/relationships/notesSlide" Target="../notesSlides/notesSlide137.xml"/><Relationship Id="rId1" Type="http://schemas.openxmlformats.org/officeDocument/2006/relationships/slideLayout" Target="../slideLayouts/slideLayout71.xml"/><Relationship Id="rId6" Type="http://schemas.openxmlformats.org/officeDocument/2006/relationships/image" Target="../media/image227.png"/><Relationship Id="rId11" Type="http://schemas.microsoft.com/office/2007/relationships/hdphoto" Target="../media/hdphoto8.wdp"/><Relationship Id="rId5" Type="http://schemas.openxmlformats.org/officeDocument/2006/relationships/image" Target="../media/image226.png"/><Relationship Id="rId10" Type="http://schemas.openxmlformats.org/officeDocument/2006/relationships/image" Target="../media/image169.png"/><Relationship Id="rId4" Type="http://schemas.openxmlformats.org/officeDocument/2006/relationships/image" Target="../media/image225.png"/><Relationship Id="rId9" Type="http://schemas.openxmlformats.org/officeDocument/2006/relationships/image" Target="../media/image164.png"/></Relationships>
</file>

<file path=ppt/slides/_rels/slide139.xml.rels><?xml version="1.0" encoding="UTF-8" standalone="yes"?>
<Relationships xmlns="http://schemas.openxmlformats.org/package/2006/relationships"><Relationship Id="rId2" Type="http://schemas.openxmlformats.org/officeDocument/2006/relationships/notesSlide" Target="../notesSlides/notesSlide138.xml"/><Relationship Id="rId1" Type="http://schemas.openxmlformats.org/officeDocument/2006/relationships/slideLayout" Target="../slideLayouts/slideLayout84.xml"/></Relationships>
</file>

<file path=ppt/slides/_rels/slide14.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14.xml"/><Relationship Id="rId1" Type="http://schemas.openxmlformats.org/officeDocument/2006/relationships/slideLayout" Target="../slideLayouts/slideLayout6.xml"/><Relationship Id="rId5" Type="http://schemas.openxmlformats.org/officeDocument/2006/relationships/image" Target="../media/image41.png"/><Relationship Id="rId4" Type="http://schemas.openxmlformats.org/officeDocument/2006/relationships/image" Target="../media/image23.png"/></Relationships>
</file>

<file path=ppt/slides/_rels/slide140.xml.rels><?xml version="1.0" encoding="UTF-8" standalone="yes"?>
<Relationships xmlns="http://schemas.openxmlformats.org/package/2006/relationships"><Relationship Id="rId8" Type="http://schemas.microsoft.com/office/2007/relationships/hdphoto" Target="../media/hdphoto8.wdp"/><Relationship Id="rId3" Type="http://schemas.openxmlformats.org/officeDocument/2006/relationships/image" Target="../media/image228.png"/><Relationship Id="rId7" Type="http://schemas.openxmlformats.org/officeDocument/2006/relationships/image" Target="../media/image169.png"/><Relationship Id="rId2" Type="http://schemas.openxmlformats.org/officeDocument/2006/relationships/notesSlide" Target="../notesSlides/notesSlide139.xml"/><Relationship Id="rId1" Type="http://schemas.openxmlformats.org/officeDocument/2006/relationships/slideLayout" Target="../slideLayouts/slideLayout71.xml"/><Relationship Id="rId6" Type="http://schemas.openxmlformats.org/officeDocument/2006/relationships/image" Target="../media/image164.png"/><Relationship Id="rId5" Type="http://schemas.openxmlformats.org/officeDocument/2006/relationships/image" Target="../media/image163.png"/><Relationship Id="rId4" Type="http://schemas.openxmlformats.org/officeDocument/2006/relationships/image" Target="../media/image28.png"/><Relationship Id="rId9" Type="http://schemas.openxmlformats.org/officeDocument/2006/relationships/image" Target="../media/image167.png"/></Relationships>
</file>

<file path=ppt/slides/_rels/slide15.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15.xml"/><Relationship Id="rId1" Type="http://schemas.openxmlformats.org/officeDocument/2006/relationships/slideLayout" Target="../slideLayouts/slideLayout6.xml"/><Relationship Id="rId5" Type="http://schemas.openxmlformats.org/officeDocument/2006/relationships/image" Target="../media/image43.png"/><Relationship Id="rId4" Type="http://schemas.openxmlformats.org/officeDocument/2006/relationships/image" Target="../media/image23.png"/></Relationships>
</file>

<file path=ppt/slides/_rels/slide16.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16.xml"/><Relationship Id="rId1" Type="http://schemas.openxmlformats.org/officeDocument/2006/relationships/slideLayout" Target="../slideLayouts/slideLayout6.xml"/><Relationship Id="rId5" Type="http://schemas.openxmlformats.org/officeDocument/2006/relationships/image" Target="../media/image41.png"/><Relationship Id="rId4" Type="http://schemas.openxmlformats.org/officeDocument/2006/relationships/image" Target="../media/image23.png"/></Relationships>
</file>

<file path=ppt/slides/_rels/slide17.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17.xml"/><Relationship Id="rId1" Type="http://schemas.openxmlformats.org/officeDocument/2006/relationships/slideLayout" Target="../slideLayouts/slideLayout6.xml"/><Relationship Id="rId5" Type="http://schemas.openxmlformats.org/officeDocument/2006/relationships/image" Target="../media/image41.png"/><Relationship Id="rId4" Type="http://schemas.openxmlformats.org/officeDocument/2006/relationships/image" Target="../media/image23.png"/></Relationships>
</file>

<file path=ppt/slides/_rels/slide18.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18.xml"/><Relationship Id="rId1" Type="http://schemas.openxmlformats.org/officeDocument/2006/relationships/slideLayout" Target="../slideLayouts/slideLayout6.xml"/><Relationship Id="rId5" Type="http://schemas.openxmlformats.org/officeDocument/2006/relationships/image" Target="../media/image41.png"/><Relationship Id="rId4" Type="http://schemas.openxmlformats.org/officeDocument/2006/relationships/image" Target="../media/image23.png"/></Relationships>
</file>

<file path=ppt/slides/_rels/slide19.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19.xml"/><Relationship Id="rId1" Type="http://schemas.openxmlformats.org/officeDocument/2006/relationships/slideLayout" Target="../slideLayouts/slideLayout6.xml"/><Relationship Id="rId6" Type="http://schemas.openxmlformats.org/officeDocument/2006/relationships/image" Target="../media/image45.png"/><Relationship Id="rId5" Type="http://schemas.openxmlformats.org/officeDocument/2006/relationships/image" Target="../media/image44.png"/><Relationship Id="rId4" Type="http://schemas.openxmlformats.org/officeDocument/2006/relationships/image" Target="../media/image23.png"/></Relationships>
</file>

<file path=ppt/slides/_rels/slide2.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2.xml"/><Relationship Id="rId1" Type="http://schemas.openxmlformats.org/officeDocument/2006/relationships/slideLayout" Target="../slideLayouts/slideLayout3.xml"/><Relationship Id="rId4" Type="http://schemas.openxmlformats.org/officeDocument/2006/relationships/image" Target="../media/image23.png"/></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84.xml"/></Relationships>
</file>

<file path=ppt/slides/_rels/slide21.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21.xml"/><Relationship Id="rId1" Type="http://schemas.openxmlformats.org/officeDocument/2006/relationships/slideLayout" Target="../slideLayouts/slideLayout71.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71.xml"/></Relationships>
</file>

<file path=ppt/slides/_rels/slide23.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23.xml"/><Relationship Id="rId1" Type="http://schemas.openxmlformats.org/officeDocument/2006/relationships/slideLayout" Target="../slideLayouts/slideLayout110.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84.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72.xml"/></Relationships>
</file>

<file path=ppt/slides/_rels/slide26.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26.xml"/><Relationship Id="rId1" Type="http://schemas.openxmlformats.org/officeDocument/2006/relationships/slideLayout" Target="../slideLayouts/slideLayout72.xml"/><Relationship Id="rId4" Type="http://schemas.openxmlformats.org/officeDocument/2006/relationships/image" Target="../media/image49.png"/></Relationships>
</file>

<file path=ppt/slides/_rels/slide27.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27.xml"/><Relationship Id="rId1" Type="http://schemas.openxmlformats.org/officeDocument/2006/relationships/slideLayout" Target="../slideLayouts/slideLayout72.xml"/></Relationships>
</file>

<file path=ppt/slides/_rels/slide28.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28.xml"/><Relationship Id="rId1" Type="http://schemas.openxmlformats.org/officeDocument/2006/relationships/slideLayout" Target="../slideLayouts/slideLayout72.xml"/><Relationship Id="rId4" Type="http://schemas.openxmlformats.org/officeDocument/2006/relationships/image" Target="../media/image52.png"/></Relationships>
</file>

<file path=ppt/slides/_rels/slide29.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29.xml"/><Relationship Id="rId1" Type="http://schemas.openxmlformats.org/officeDocument/2006/relationships/slideLayout" Target="../slideLayouts/slideLayout72.xml"/><Relationship Id="rId4" Type="http://schemas.openxmlformats.org/officeDocument/2006/relationships/image" Target="../media/image54.png"/></Relationships>
</file>

<file path=ppt/slides/_rels/slide3.xml.rels><?xml version="1.0" encoding="UTF-8" standalone="yes"?>
<Relationships xmlns="http://schemas.openxmlformats.org/package/2006/relationships"><Relationship Id="rId3" Type="http://schemas.openxmlformats.org/officeDocument/2006/relationships/image" Target="../media/image23.png"/><Relationship Id="rId7" Type="http://schemas.openxmlformats.org/officeDocument/2006/relationships/image" Target="../media/image27.png"/><Relationship Id="rId2" Type="http://schemas.openxmlformats.org/officeDocument/2006/relationships/notesSlide" Target="../notesSlides/notesSlide3.xml"/><Relationship Id="rId1" Type="http://schemas.openxmlformats.org/officeDocument/2006/relationships/slideLayout" Target="../slideLayouts/slideLayout3.xml"/><Relationship Id="rId6" Type="http://schemas.openxmlformats.org/officeDocument/2006/relationships/image" Target="../media/image26.png"/><Relationship Id="rId5" Type="http://schemas.openxmlformats.org/officeDocument/2006/relationships/image" Target="../media/image25.png"/><Relationship Id="rId4" Type="http://schemas.openxmlformats.org/officeDocument/2006/relationships/image" Target="../media/image24.png"/></Relationships>
</file>

<file path=ppt/slides/_rels/slide30.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30.xml"/><Relationship Id="rId1" Type="http://schemas.openxmlformats.org/officeDocument/2006/relationships/slideLayout" Target="../slideLayouts/slideLayout110.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84.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110.xml"/></Relationships>
</file>

<file path=ppt/slides/_rels/slide33.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33.xml"/><Relationship Id="rId1" Type="http://schemas.openxmlformats.org/officeDocument/2006/relationships/slideLayout" Target="../slideLayouts/slideLayout110.xml"/></Relationships>
</file>

<file path=ppt/slides/_rels/slide34.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34.xml"/><Relationship Id="rId1" Type="http://schemas.openxmlformats.org/officeDocument/2006/relationships/slideLayout" Target="../slideLayouts/slideLayout110.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110.xml"/></Relationships>
</file>

<file path=ppt/slides/_rels/slide36.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36.xml"/><Relationship Id="rId1" Type="http://schemas.openxmlformats.org/officeDocument/2006/relationships/slideLayout" Target="../slideLayouts/slideLayout110.xml"/></Relationships>
</file>

<file path=ppt/slides/_rels/slide37.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37.xml"/><Relationship Id="rId1" Type="http://schemas.openxmlformats.org/officeDocument/2006/relationships/slideLayout" Target="../slideLayouts/slideLayout110.xml"/></Relationships>
</file>

<file path=ppt/slides/_rels/slide38.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38.xml"/><Relationship Id="rId1" Type="http://schemas.openxmlformats.org/officeDocument/2006/relationships/slideLayout" Target="../slideLayouts/slideLayout110.xml"/><Relationship Id="rId4" Type="http://schemas.openxmlformats.org/officeDocument/2006/relationships/image" Target="../media/image61.png"/></Relationships>
</file>

<file path=ppt/slides/_rels/slide39.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notesSlide" Target="../notesSlides/notesSlide39.xml"/><Relationship Id="rId1" Type="http://schemas.openxmlformats.org/officeDocument/2006/relationships/slideLayout" Target="../slideLayouts/slideLayout110.xml"/><Relationship Id="rId4" Type="http://schemas.openxmlformats.org/officeDocument/2006/relationships/image" Target="../media/image63.png"/></Relationships>
</file>

<file path=ppt/slides/_rels/slide4.xml.rels><?xml version="1.0" encoding="UTF-8" standalone="yes"?>
<Relationships xmlns="http://schemas.openxmlformats.org/package/2006/relationships"><Relationship Id="rId8" Type="http://schemas.openxmlformats.org/officeDocument/2006/relationships/image" Target="../media/image27.png"/><Relationship Id="rId3" Type="http://schemas.openxmlformats.org/officeDocument/2006/relationships/image" Target="../media/image28.png"/><Relationship Id="rId7" Type="http://schemas.openxmlformats.org/officeDocument/2006/relationships/image" Target="../media/image26.png"/><Relationship Id="rId2" Type="http://schemas.openxmlformats.org/officeDocument/2006/relationships/notesSlide" Target="../notesSlides/notesSlide4.xml"/><Relationship Id="rId1" Type="http://schemas.openxmlformats.org/officeDocument/2006/relationships/slideLayout" Target="../slideLayouts/slideLayout3.xml"/><Relationship Id="rId6" Type="http://schemas.openxmlformats.org/officeDocument/2006/relationships/image" Target="../media/image25.png"/><Relationship Id="rId5" Type="http://schemas.openxmlformats.org/officeDocument/2006/relationships/image" Target="../media/image24.png"/><Relationship Id="rId4" Type="http://schemas.openxmlformats.org/officeDocument/2006/relationships/image" Target="../media/image29.png"/><Relationship Id="rId9" Type="http://schemas.openxmlformats.org/officeDocument/2006/relationships/image" Target="../media/image30.png"/></Relationships>
</file>

<file path=ppt/slides/_rels/slide40.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notesSlide" Target="../notesSlides/notesSlide40.xml"/><Relationship Id="rId1" Type="http://schemas.openxmlformats.org/officeDocument/2006/relationships/slideLayout" Target="../slideLayouts/slideLayout110.xml"/><Relationship Id="rId5" Type="http://schemas.openxmlformats.org/officeDocument/2006/relationships/image" Target="../media/image66.png"/><Relationship Id="rId4" Type="http://schemas.openxmlformats.org/officeDocument/2006/relationships/image" Target="../media/image65.png"/></Relationships>
</file>

<file path=ppt/slides/_rels/slide41.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notesSlide" Target="../notesSlides/notesSlide41.xml"/><Relationship Id="rId1" Type="http://schemas.openxmlformats.org/officeDocument/2006/relationships/slideLayout" Target="../slideLayouts/slideLayout110.xml"/><Relationship Id="rId4" Type="http://schemas.openxmlformats.org/officeDocument/2006/relationships/image" Target="../media/image68.png"/></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84.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110.xml"/></Relationships>
</file>

<file path=ppt/slides/_rels/slide44.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notesSlide" Target="../notesSlides/notesSlide44.xml"/><Relationship Id="rId1" Type="http://schemas.openxmlformats.org/officeDocument/2006/relationships/slideLayout" Target="../slideLayouts/slideLayout110.xml"/></Relationships>
</file>

<file path=ppt/slides/_rels/slide45.xml.rels><?xml version="1.0" encoding="UTF-8" standalone="yes"?>
<Relationships xmlns="http://schemas.openxmlformats.org/package/2006/relationships"><Relationship Id="rId3" Type="http://schemas.openxmlformats.org/officeDocument/2006/relationships/hyperlink" Target="https://msdn.microsoft.com/en-us/library/ee634396.aspx" TargetMode="External"/><Relationship Id="rId2" Type="http://schemas.openxmlformats.org/officeDocument/2006/relationships/notesSlide" Target="../notesSlides/notesSlide45.xml"/><Relationship Id="rId1" Type="http://schemas.openxmlformats.org/officeDocument/2006/relationships/slideLayout" Target="../slideLayouts/slideLayout110.xml"/><Relationship Id="rId5" Type="http://schemas.openxmlformats.org/officeDocument/2006/relationships/image" Target="../media/image71.png"/><Relationship Id="rId4" Type="http://schemas.openxmlformats.org/officeDocument/2006/relationships/image" Target="../media/image70.png"/></Relationships>
</file>

<file path=ppt/slides/_rels/slide46.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notesSlide" Target="../notesSlides/notesSlide46.xml"/><Relationship Id="rId1" Type="http://schemas.openxmlformats.org/officeDocument/2006/relationships/slideLayout" Target="../slideLayouts/slideLayout110.xml"/><Relationship Id="rId5" Type="http://schemas.openxmlformats.org/officeDocument/2006/relationships/image" Target="../media/image74.png"/><Relationship Id="rId4" Type="http://schemas.openxmlformats.org/officeDocument/2006/relationships/image" Target="../media/image73.png"/></Relationships>
</file>

<file path=ppt/slides/_rels/slide47.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notesSlide" Target="../notesSlides/notesSlide47.xml"/><Relationship Id="rId1" Type="http://schemas.openxmlformats.org/officeDocument/2006/relationships/slideLayout" Target="../slideLayouts/slideLayout110.xml"/><Relationship Id="rId4" Type="http://schemas.openxmlformats.org/officeDocument/2006/relationships/image" Target="../media/image76.png"/></Relationships>
</file>

<file path=ppt/slides/_rels/slide48.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notesSlide" Target="../notesSlides/notesSlide48.xml"/><Relationship Id="rId1" Type="http://schemas.openxmlformats.org/officeDocument/2006/relationships/slideLayout" Target="../slideLayouts/slideLayout110.xml"/></Relationships>
</file>

<file path=ppt/slides/_rels/slide49.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notesSlide" Target="../notesSlides/notesSlide49.xml"/><Relationship Id="rId1" Type="http://schemas.openxmlformats.org/officeDocument/2006/relationships/slideLayout" Target="../slideLayouts/slideLayout110.xml"/><Relationship Id="rId4" Type="http://schemas.openxmlformats.org/officeDocument/2006/relationships/image" Target="../media/image79.png"/></Relationships>
</file>

<file path=ppt/slides/_rels/slide5.xml.rels><?xml version="1.0" encoding="UTF-8" standalone="yes"?>
<Relationships xmlns="http://schemas.openxmlformats.org/package/2006/relationships"><Relationship Id="rId8" Type="http://schemas.openxmlformats.org/officeDocument/2006/relationships/image" Target="../media/image27.png"/><Relationship Id="rId3" Type="http://schemas.openxmlformats.org/officeDocument/2006/relationships/image" Target="../media/image28.png"/><Relationship Id="rId7" Type="http://schemas.openxmlformats.org/officeDocument/2006/relationships/image" Target="../media/image26.png"/><Relationship Id="rId2" Type="http://schemas.openxmlformats.org/officeDocument/2006/relationships/notesSlide" Target="../notesSlides/notesSlide5.xml"/><Relationship Id="rId1" Type="http://schemas.openxmlformats.org/officeDocument/2006/relationships/slideLayout" Target="../slideLayouts/slideLayout3.xml"/><Relationship Id="rId6" Type="http://schemas.openxmlformats.org/officeDocument/2006/relationships/image" Target="../media/image25.png"/><Relationship Id="rId5" Type="http://schemas.openxmlformats.org/officeDocument/2006/relationships/image" Target="../media/image24.png"/><Relationship Id="rId4" Type="http://schemas.openxmlformats.org/officeDocument/2006/relationships/image" Target="../media/image29.png"/><Relationship Id="rId9" Type="http://schemas.openxmlformats.org/officeDocument/2006/relationships/image" Target="../media/image30.png"/></Relationships>
</file>

<file path=ppt/slides/_rels/slide50.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notesSlide" Target="../notesSlides/notesSlide50.xml"/><Relationship Id="rId1" Type="http://schemas.openxmlformats.org/officeDocument/2006/relationships/slideLayout" Target="../slideLayouts/slideLayout110.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51.xml"/><Relationship Id="rId1" Type="http://schemas.openxmlformats.org/officeDocument/2006/relationships/slideLayout" Target="../slideLayouts/slideLayout84.xml"/></Relationships>
</file>

<file path=ppt/slides/_rels/slide52.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notesSlide" Target="../notesSlides/notesSlide52.xml"/><Relationship Id="rId1" Type="http://schemas.openxmlformats.org/officeDocument/2006/relationships/slideLayout" Target="../slideLayouts/slideLayout72.xml"/></Relationships>
</file>

<file path=ppt/slides/_rels/slide53.xml.rels><?xml version="1.0" encoding="UTF-8" standalone="yes"?>
<Relationships xmlns="http://schemas.openxmlformats.org/package/2006/relationships"><Relationship Id="rId3" Type="http://schemas.openxmlformats.org/officeDocument/2006/relationships/image" Target="../media/image82.gif"/><Relationship Id="rId2" Type="http://schemas.openxmlformats.org/officeDocument/2006/relationships/notesSlide" Target="../notesSlides/notesSlide53.xml"/><Relationship Id="rId1" Type="http://schemas.openxmlformats.org/officeDocument/2006/relationships/slideLayout" Target="../slideLayouts/slideLayout72.xml"/></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54.xml"/><Relationship Id="rId1" Type="http://schemas.openxmlformats.org/officeDocument/2006/relationships/slideLayout" Target="../slideLayouts/slideLayout72.xml"/></Relationships>
</file>

<file path=ppt/slides/_rels/slide55.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notesSlide" Target="../notesSlides/notesSlide55.xml"/><Relationship Id="rId1" Type="http://schemas.openxmlformats.org/officeDocument/2006/relationships/slideLayout" Target="../slideLayouts/slideLayout72.xml"/><Relationship Id="rId4" Type="http://schemas.openxmlformats.org/officeDocument/2006/relationships/image" Target="../media/image84.png"/></Relationships>
</file>

<file path=ppt/slides/_rels/slide56.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notesSlide" Target="../notesSlides/notesSlide56.xml"/><Relationship Id="rId1" Type="http://schemas.openxmlformats.org/officeDocument/2006/relationships/slideLayout" Target="../slideLayouts/slideLayout72.xml"/><Relationship Id="rId4" Type="http://schemas.openxmlformats.org/officeDocument/2006/relationships/image" Target="../media/image86.png"/></Relationships>
</file>

<file path=ppt/slides/_rels/slide57.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notesSlide" Target="../notesSlides/notesSlide57.xml"/><Relationship Id="rId1" Type="http://schemas.openxmlformats.org/officeDocument/2006/relationships/slideLayout" Target="../slideLayouts/slideLayout72.xml"/></Relationships>
</file>

<file path=ppt/slides/_rels/slide58.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notesSlide" Target="../notesSlides/notesSlide58.xml"/><Relationship Id="rId1" Type="http://schemas.openxmlformats.org/officeDocument/2006/relationships/slideLayout" Target="../slideLayouts/slideLayout72.xml"/><Relationship Id="rId5" Type="http://schemas.microsoft.com/office/2007/relationships/hdphoto" Target="../media/hdphoto2.wdp"/><Relationship Id="rId4" Type="http://schemas.openxmlformats.org/officeDocument/2006/relationships/image" Target="../media/image89.png"/></Relationships>
</file>

<file path=ppt/slides/_rels/slide59.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notesSlide" Target="../notesSlides/notesSlide59.xml"/><Relationship Id="rId1" Type="http://schemas.openxmlformats.org/officeDocument/2006/relationships/slideLayout" Target="../slideLayouts/slideLayout72.xml"/><Relationship Id="rId5" Type="http://schemas.microsoft.com/office/2007/relationships/hdphoto" Target="../media/hdphoto2.wdp"/><Relationship Id="rId4" Type="http://schemas.openxmlformats.org/officeDocument/2006/relationships/image" Target="../media/image89.png"/></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39.xml"/></Relationships>
</file>

<file path=ppt/slides/_rels/slide60.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notesSlide" Target="../notesSlides/notesSlide60.xml"/><Relationship Id="rId1" Type="http://schemas.openxmlformats.org/officeDocument/2006/relationships/slideLayout" Target="../slideLayouts/slideLayout72.xml"/><Relationship Id="rId4" Type="http://schemas.openxmlformats.org/officeDocument/2006/relationships/image" Target="../media/image92.png"/></Relationships>
</file>

<file path=ppt/slides/_rels/slide61.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notesSlide" Target="../notesSlides/notesSlide61.xml"/><Relationship Id="rId1" Type="http://schemas.openxmlformats.org/officeDocument/2006/relationships/slideLayout" Target="../slideLayouts/slideLayout72.xml"/><Relationship Id="rId5" Type="http://schemas.microsoft.com/office/2007/relationships/hdphoto" Target="../media/hdphoto3.wdp"/><Relationship Id="rId4" Type="http://schemas.openxmlformats.org/officeDocument/2006/relationships/image" Target="../media/image94.png"/></Relationships>
</file>

<file path=ppt/slides/_rels/slide62.xml.rels><?xml version="1.0" encoding="UTF-8" standalone="yes"?>
<Relationships xmlns="http://schemas.openxmlformats.org/package/2006/relationships"><Relationship Id="rId3" Type="http://schemas.openxmlformats.org/officeDocument/2006/relationships/image" Target="../media/image95.png"/><Relationship Id="rId2" Type="http://schemas.openxmlformats.org/officeDocument/2006/relationships/notesSlide" Target="../notesSlides/notesSlide62.xml"/><Relationship Id="rId1" Type="http://schemas.openxmlformats.org/officeDocument/2006/relationships/slideLayout" Target="../slideLayouts/slideLayout72.xml"/><Relationship Id="rId5" Type="http://schemas.microsoft.com/office/2007/relationships/hdphoto" Target="../media/hdphoto4.wdp"/><Relationship Id="rId4" Type="http://schemas.openxmlformats.org/officeDocument/2006/relationships/image" Target="../media/image96.png"/></Relationships>
</file>

<file path=ppt/slides/_rels/slide63.xml.rels><?xml version="1.0" encoding="UTF-8" standalone="yes"?>
<Relationships xmlns="http://schemas.openxmlformats.org/package/2006/relationships"><Relationship Id="rId3" Type="http://schemas.openxmlformats.org/officeDocument/2006/relationships/image" Target="../media/image97.png"/><Relationship Id="rId2" Type="http://schemas.openxmlformats.org/officeDocument/2006/relationships/notesSlide" Target="../notesSlides/notesSlide63.xml"/><Relationship Id="rId1" Type="http://schemas.openxmlformats.org/officeDocument/2006/relationships/slideLayout" Target="../slideLayouts/slideLayout72.xml"/></Relationships>
</file>

<file path=ppt/slides/_rels/slide64.xml.rels><?xml version="1.0" encoding="UTF-8" standalone="yes"?>
<Relationships xmlns="http://schemas.openxmlformats.org/package/2006/relationships"><Relationship Id="rId3" Type="http://schemas.openxmlformats.org/officeDocument/2006/relationships/image" Target="../media/image98.png"/><Relationship Id="rId2" Type="http://schemas.openxmlformats.org/officeDocument/2006/relationships/notesSlide" Target="../notesSlides/notesSlide64.xml"/><Relationship Id="rId1" Type="http://schemas.openxmlformats.org/officeDocument/2006/relationships/slideLayout" Target="../slideLayouts/slideLayout72.xml"/><Relationship Id="rId4" Type="http://schemas.openxmlformats.org/officeDocument/2006/relationships/image" Target="../media/image99.png"/></Relationships>
</file>

<file path=ppt/slides/_rels/slide65.xml.rels><?xml version="1.0" encoding="UTF-8" standalone="yes"?>
<Relationships xmlns="http://schemas.openxmlformats.org/package/2006/relationships"><Relationship Id="rId3" Type="http://schemas.openxmlformats.org/officeDocument/2006/relationships/image" Target="../media/image100.png"/><Relationship Id="rId2" Type="http://schemas.openxmlformats.org/officeDocument/2006/relationships/notesSlide" Target="../notesSlides/notesSlide65.xml"/><Relationship Id="rId1" Type="http://schemas.openxmlformats.org/officeDocument/2006/relationships/slideLayout" Target="../slideLayouts/slideLayout72.xml"/><Relationship Id="rId5" Type="http://schemas.microsoft.com/office/2007/relationships/hdphoto" Target="../media/hdphoto5.wdp"/><Relationship Id="rId4" Type="http://schemas.openxmlformats.org/officeDocument/2006/relationships/image" Target="../media/image101.png"/></Relationships>
</file>

<file path=ppt/slides/_rels/slide66.xml.rels><?xml version="1.0" encoding="UTF-8" standalone="yes"?>
<Relationships xmlns="http://schemas.openxmlformats.org/package/2006/relationships"><Relationship Id="rId3" Type="http://schemas.openxmlformats.org/officeDocument/2006/relationships/image" Target="../media/image102.png"/><Relationship Id="rId2" Type="http://schemas.openxmlformats.org/officeDocument/2006/relationships/notesSlide" Target="../notesSlides/notesSlide66.xml"/><Relationship Id="rId1" Type="http://schemas.openxmlformats.org/officeDocument/2006/relationships/slideLayout" Target="../slideLayouts/slideLayout72.xml"/></Relationships>
</file>

<file path=ppt/slides/_rels/slide67.xml.rels><?xml version="1.0" encoding="UTF-8" standalone="yes"?>
<Relationships xmlns="http://schemas.openxmlformats.org/package/2006/relationships"><Relationship Id="rId3" Type="http://schemas.openxmlformats.org/officeDocument/2006/relationships/image" Target="../media/image103.png"/><Relationship Id="rId2" Type="http://schemas.openxmlformats.org/officeDocument/2006/relationships/notesSlide" Target="../notesSlides/notesSlide67.xml"/><Relationship Id="rId1" Type="http://schemas.openxmlformats.org/officeDocument/2006/relationships/slideLayout" Target="../slideLayouts/slideLayout72.xml"/><Relationship Id="rId6" Type="http://schemas.microsoft.com/office/2007/relationships/hdphoto" Target="../media/hdphoto6.wdp"/><Relationship Id="rId5" Type="http://schemas.openxmlformats.org/officeDocument/2006/relationships/image" Target="../media/image105.png"/><Relationship Id="rId4" Type="http://schemas.openxmlformats.org/officeDocument/2006/relationships/image" Target="../media/image104.png"/></Relationships>
</file>

<file path=ppt/slides/_rels/slide68.xml.rels><?xml version="1.0" encoding="UTF-8" standalone="yes"?>
<Relationships xmlns="http://schemas.openxmlformats.org/package/2006/relationships"><Relationship Id="rId3" Type="http://schemas.openxmlformats.org/officeDocument/2006/relationships/image" Target="../media/image106.png"/><Relationship Id="rId2" Type="http://schemas.openxmlformats.org/officeDocument/2006/relationships/notesSlide" Target="../notesSlides/notesSlide68.xml"/><Relationship Id="rId1" Type="http://schemas.openxmlformats.org/officeDocument/2006/relationships/slideLayout" Target="../slideLayouts/slideLayout72.xml"/></Relationships>
</file>

<file path=ppt/slides/_rels/slide69.xml.rels><?xml version="1.0" encoding="UTF-8" standalone="yes"?>
<Relationships xmlns="http://schemas.openxmlformats.org/package/2006/relationships"><Relationship Id="rId3" Type="http://schemas.openxmlformats.org/officeDocument/2006/relationships/image" Target="../media/image107.png"/><Relationship Id="rId2" Type="http://schemas.openxmlformats.org/officeDocument/2006/relationships/notesSlide" Target="../notesSlides/notesSlide69.xml"/><Relationship Id="rId1" Type="http://schemas.openxmlformats.org/officeDocument/2006/relationships/slideLayout" Target="../slideLayouts/slideLayout72.xml"/></Relationships>
</file>

<file path=ppt/slides/_rels/slide7.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7.xml"/><Relationship Id="rId1" Type="http://schemas.openxmlformats.org/officeDocument/2006/relationships/slideLayout" Target="../slideLayouts/slideLayout6.xml"/><Relationship Id="rId4" Type="http://schemas.openxmlformats.org/officeDocument/2006/relationships/image" Target="../media/image23.png"/></Relationships>
</file>

<file path=ppt/slides/_rels/slide70.xml.rels><?xml version="1.0" encoding="UTF-8" standalone="yes"?>
<Relationships xmlns="http://schemas.openxmlformats.org/package/2006/relationships"><Relationship Id="rId3" Type="http://schemas.openxmlformats.org/officeDocument/2006/relationships/image" Target="../media/image108.png"/><Relationship Id="rId2" Type="http://schemas.openxmlformats.org/officeDocument/2006/relationships/notesSlide" Target="../notesSlides/notesSlide70.xml"/><Relationship Id="rId1" Type="http://schemas.openxmlformats.org/officeDocument/2006/relationships/slideLayout" Target="../slideLayouts/slideLayout72.xml"/></Relationships>
</file>

<file path=ppt/slides/_rels/slide71.xml.rels><?xml version="1.0" encoding="UTF-8" standalone="yes"?>
<Relationships xmlns="http://schemas.openxmlformats.org/package/2006/relationships"><Relationship Id="rId3" Type="http://schemas.openxmlformats.org/officeDocument/2006/relationships/image" Target="../media/image109.png"/><Relationship Id="rId2" Type="http://schemas.openxmlformats.org/officeDocument/2006/relationships/notesSlide" Target="../notesSlides/notesSlide71.xml"/><Relationship Id="rId1" Type="http://schemas.openxmlformats.org/officeDocument/2006/relationships/slideLayout" Target="../slideLayouts/slideLayout72.xml"/><Relationship Id="rId6" Type="http://schemas.openxmlformats.org/officeDocument/2006/relationships/image" Target="../media/image112.png"/><Relationship Id="rId5" Type="http://schemas.openxmlformats.org/officeDocument/2006/relationships/image" Target="../media/image111.png"/><Relationship Id="rId4" Type="http://schemas.openxmlformats.org/officeDocument/2006/relationships/image" Target="../media/image110.png"/></Relationships>
</file>

<file path=ppt/slides/_rels/slide72.xml.rels><?xml version="1.0" encoding="UTF-8" standalone="yes"?>
<Relationships xmlns="http://schemas.openxmlformats.org/package/2006/relationships"><Relationship Id="rId3" Type="http://schemas.openxmlformats.org/officeDocument/2006/relationships/image" Target="../media/image113.png"/><Relationship Id="rId7" Type="http://schemas.openxmlformats.org/officeDocument/2006/relationships/image" Target="../media/image117.png"/><Relationship Id="rId2" Type="http://schemas.openxmlformats.org/officeDocument/2006/relationships/notesSlide" Target="../notesSlides/notesSlide72.xml"/><Relationship Id="rId1" Type="http://schemas.openxmlformats.org/officeDocument/2006/relationships/slideLayout" Target="../slideLayouts/slideLayout72.xml"/><Relationship Id="rId6" Type="http://schemas.openxmlformats.org/officeDocument/2006/relationships/image" Target="../media/image116.png"/><Relationship Id="rId5" Type="http://schemas.openxmlformats.org/officeDocument/2006/relationships/image" Target="../media/image115.png"/><Relationship Id="rId4" Type="http://schemas.openxmlformats.org/officeDocument/2006/relationships/image" Target="../media/image114.png"/></Relationships>
</file>

<file path=ppt/slides/_rels/slide73.xml.rels><?xml version="1.0" encoding="UTF-8" standalone="yes"?>
<Relationships xmlns="http://schemas.openxmlformats.org/package/2006/relationships"><Relationship Id="rId3" Type="http://schemas.openxmlformats.org/officeDocument/2006/relationships/image" Target="../media/image118.png"/><Relationship Id="rId2" Type="http://schemas.openxmlformats.org/officeDocument/2006/relationships/notesSlide" Target="../notesSlides/notesSlide73.xml"/><Relationship Id="rId1" Type="http://schemas.openxmlformats.org/officeDocument/2006/relationships/slideLayout" Target="../slideLayouts/slideLayout72.xml"/></Relationships>
</file>

<file path=ppt/slides/_rels/slide74.xml.rels><?xml version="1.0" encoding="UTF-8" standalone="yes"?>
<Relationships xmlns="http://schemas.openxmlformats.org/package/2006/relationships"><Relationship Id="rId3" Type="http://schemas.openxmlformats.org/officeDocument/2006/relationships/image" Target="../media/image119.png"/><Relationship Id="rId2" Type="http://schemas.openxmlformats.org/officeDocument/2006/relationships/notesSlide" Target="../notesSlides/notesSlide74.xml"/><Relationship Id="rId1" Type="http://schemas.openxmlformats.org/officeDocument/2006/relationships/slideLayout" Target="../slideLayouts/slideLayout72.xml"/><Relationship Id="rId4" Type="http://schemas.openxmlformats.org/officeDocument/2006/relationships/image" Target="../media/image120.png"/></Relationships>
</file>

<file path=ppt/slides/_rels/slide75.xml.rels><?xml version="1.0" encoding="UTF-8" standalone="yes"?>
<Relationships xmlns="http://schemas.openxmlformats.org/package/2006/relationships"><Relationship Id="rId3" Type="http://schemas.openxmlformats.org/officeDocument/2006/relationships/image" Target="../media/image121.png"/><Relationship Id="rId2" Type="http://schemas.openxmlformats.org/officeDocument/2006/relationships/notesSlide" Target="../notesSlides/notesSlide75.xml"/><Relationship Id="rId1" Type="http://schemas.openxmlformats.org/officeDocument/2006/relationships/slideLayout" Target="../slideLayouts/slideLayout72.xml"/><Relationship Id="rId4" Type="http://schemas.openxmlformats.org/officeDocument/2006/relationships/image" Target="../media/image122.png"/></Relationships>
</file>

<file path=ppt/slides/_rels/slide76.xml.rels><?xml version="1.0" encoding="UTF-8" standalone="yes"?>
<Relationships xmlns="http://schemas.openxmlformats.org/package/2006/relationships"><Relationship Id="rId3" Type="http://schemas.openxmlformats.org/officeDocument/2006/relationships/image" Target="../media/image123.png"/><Relationship Id="rId2" Type="http://schemas.openxmlformats.org/officeDocument/2006/relationships/notesSlide" Target="../notesSlides/notesSlide76.xml"/><Relationship Id="rId1" Type="http://schemas.openxmlformats.org/officeDocument/2006/relationships/slideLayout" Target="../slideLayouts/slideLayout72.xml"/><Relationship Id="rId5" Type="http://schemas.openxmlformats.org/officeDocument/2006/relationships/image" Target="../media/image125.png"/><Relationship Id="rId4" Type="http://schemas.openxmlformats.org/officeDocument/2006/relationships/image" Target="../media/image124.png"/></Relationships>
</file>

<file path=ppt/slides/_rels/slide77.xml.rels><?xml version="1.0" encoding="UTF-8" standalone="yes"?>
<Relationships xmlns="http://schemas.openxmlformats.org/package/2006/relationships"><Relationship Id="rId3" Type="http://schemas.openxmlformats.org/officeDocument/2006/relationships/image" Target="../media/image126.png"/><Relationship Id="rId2" Type="http://schemas.openxmlformats.org/officeDocument/2006/relationships/notesSlide" Target="../notesSlides/notesSlide77.xml"/><Relationship Id="rId1" Type="http://schemas.openxmlformats.org/officeDocument/2006/relationships/slideLayout" Target="../slideLayouts/slideLayout72.xml"/><Relationship Id="rId4" Type="http://schemas.openxmlformats.org/officeDocument/2006/relationships/image" Target="../media/image127.png"/></Relationships>
</file>

<file path=ppt/slides/_rels/slide78.xml.rels><?xml version="1.0" encoding="UTF-8" standalone="yes"?>
<Relationships xmlns="http://schemas.openxmlformats.org/package/2006/relationships"><Relationship Id="rId3" Type="http://schemas.openxmlformats.org/officeDocument/2006/relationships/image" Target="../media/image128.png"/><Relationship Id="rId2" Type="http://schemas.openxmlformats.org/officeDocument/2006/relationships/notesSlide" Target="../notesSlides/notesSlide78.xml"/><Relationship Id="rId1" Type="http://schemas.openxmlformats.org/officeDocument/2006/relationships/slideLayout" Target="../slideLayouts/slideLayout72.xml"/></Relationships>
</file>

<file path=ppt/slides/_rels/slide79.xml.rels><?xml version="1.0" encoding="UTF-8" standalone="yes"?>
<Relationships xmlns="http://schemas.openxmlformats.org/package/2006/relationships"><Relationship Id="rId3" Type="http://schemas.openxmlformats.org/officeDocument/2006/relationships/image" Target="../media/image129.png"/><Relationship Id="rId2" Type="http://schemas.openxmlformats.org/officeDocument/2006/relationships/notesSlide" Target="../notesSlides/notesSlide79.xml"/><Relationship Id="rId1" Type="http://schemas.openxmlformats.org/officeDocument/2006/relationships/slideLayout" Target="../slideLayouts/slideLayout72.xml"/><Relationship Id="rId6" Type="http://schemas.openxmlformats.org/officeDocument/2006/relationships/image" Target="../media/image132.png"/><Relationship Id="rId5" Type="http://schemas.openxmlformats.org/officeDocument/2006/relationships/image" Target="../media/image131.png"/><Relationship Id="rId4" Type="http://schemas.openxmlformats.org/officeDocument/2006/relationships/image" Target="../media/image130.png"/></Relationships>
</file>

<file path=ppt/slides/_rels/slide8.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8.xml"/><Relationship Id="rId1" Type="http://schemas.openxmlformats.org/officeDocument/2006/relationships/slideLayout" Target="../slideLayouts/slideLayout6.xml"/><Relationship Id="rId5" Type="http://schemas.openxmlformats.org/officeDocument/2006/relationships/image" Target="../media/image31.png"/><Relationship Id="rId4" Type="http://schemas.openxmlformats.org/officeDocument/2006/relationships/image" Target="../media/image23.png"/></Relationships>
</file>

<file path=ppt/slides/_rels/slide80.xml.rels><?xml version="1.0" encoding="UTF-8" standalone="yes"?>
<Relationships xmlns="http://schemas.openxmlformats.org/package/2006/relationships"><Relationship Id="rId3" Type="http://schemas.openxmlformats.org/officeDocument/2006/relationships/image" Target="../media/image133.png"/><Relationship Id="rId2" Type="http://schemas.openxmlformats.org/officeDocument/2006/relationships/notesSlide" Target="../notesSlides/notesSlide80.xml"/><Relationship Id="rId1" Type="http://schemas.openxmlformats.org/officeDocument/2006/relationships/slideLayout" Target="../slideLayouts/slideLayout72.xml"/></Relationships>
</file>

<file path=ppt/slides/_rels/slide81.xml.rels><?xml version="1.0" encoding="UTF-8" standalone="yes"?>
<Relationships xmlns="http://schemas.openxmlformats.org/package/2006/relationships"><Relationship Id="rId3" Type="http://schemas.openxmlformats.org/officeDocument/2006/relationships/image" Target="../media/image134.png"/><Relationship Id="rId2" Type="http://schemas.openxmlformats.org/officeDocument/2006/relationships/notesSlide" Target="../notesSlides/notesSlide81.xml"/><Relationship Id="rId1" Type="http://schemas.openxmlformats.org/officeDocument/2006/relationships/slideLayout" Target="../slideLayouts/slideLayout72.xml"/><Relationship Id="rId4" Type="http://schemas.openxmlformats.org/officeDocument/2006/relationships/image" Target="../media/image135.png"/></Relationships>
</file>

<file path=ppt/slides/_rels/slide82.xml.rels><?xml version="1.0" encoding="UTF-8" standalone="yes"?>
<Relationships xmlns="http://schemas.openxmlformats.org/package/2006/relationships"><Relationship Id="rId3" Type="http://schemas.openxmlformats.org/officeDocument/2006/relationships/image" Target="../media/image136.jpeg"/><Relationship Id="rId2" Type="http://schemas.openxmlformats.org/officeDocument/2006/relationships/notesSlide" Target="../notesSlides/notesSlide82.xml"/><Relationship Id="rId1" Type="http://schemas.openxmlformats.org/officeDocument/2006/relationships/slideLayout" Target="../slideLayouts/slideLayout72.xml"/><Relationship Id="rId5" Type="http://schemas.openxmlformats.org/officeDocument/2006/relationships/image" Target="../media/image137.jpeg"/><Relationship Id="rId4" Type="http://schemas.openxmlformats.org/officeDocument/2006/relationships/hyperlink" Target="https://powerbicdn.azureedge.net/mediahandler/blog/media/PowerBI/blog/8fe26ef0-52a3-47b9-b561-bc04fce9774d.jpg" TargetMode="External"/></Relationships>
</file>

<file path=ppt/slides/_rels/slide83.xml.rels><?xml version="1.0" encoding="UTF-8" standalone="yes"?>
<Relationships xmlns="http://schemas.openxmlformats.org/package/2006/relationships"><Relationship Id="rId3" Type="http://schemas.openxmlformats.org/officeDocument/2006/relationships/image" Target="../media/image138.png"/><Relationship Id="rId2" Type="http://schemas.openxmlformats.org/officeDocument/2006/relationships/notesSlide" Target="../notesSlides/notesSlide83.xml"/><Relationship Id="rId1" Type="http://schemas.openxmlformats.org/officeDocument/2006/relationships/slideLayout" Target="../slideLayouts/slideLayout72.xml"/></Relationships>
</file>

<file path=ppt/slides/_rels/slide84.xml.rels><?xml version="1.0" encoding="UTF-8" standalone="yes"?>
<Relationships xmlns="http://schemas.openxmlformats.org/package/2006/relationships"><Relationship Id="rId3" Type="http://schemas.openxmlformats.org/officeDocument/2006/relationships/image" Target="../media/image139.png"/><Relationship Id="rId2" Type="http://schemas.openxmlformats.org/officeDocument/2006/relationships/notesSlide" Target="../notesSlides/notesSlide84.xml"/><Relationship Id="rId1" Type="http://schemas.openxmlformats.org/officeDocument/2006/relationships/slideLayout" Target="../slideLayouts/slideLayout72.xml"/></Relationships>
</file>

<file path=ppt/slides/_rels/slide85.xml.rels><?xml version="1.0" encoding="UTF-8" standalone="yes"?>
<Relationships xmlns="http://schemas.openxmlformats.org/package/2006/relationships"><Relationship Id="rId3" Type="http://schemas.openxmlformats.org/officeDocument/2006/relationships/image" Target="../media/image140.png"/><Relationship Id="rId2" Type="http://schemas.openxmlformats.org/officeDocument/2006/relationships/notesSlide" Target="../notesSlides/notesSlide85.xml"/><Relationship Id="rId1" Type="http://schemas.openxmlformats.org/officeDocument/2006/relationships/slideLayout" Target="../slideLayouts/slideLayout72.xml"/></Relationships>
</file>

<file path=ppt/slides/_rels/slide86.xml.rels><?xml version="1.0" encoding="UTF-8" standalone="yes"?>
<Relationships xmlns="http://schemas.openxmlformats.org/package/2006/relationships"><Relationship Id="rId3" Type="http://schemas.openxmlformats.org/officeDocument/2006/relationships/image" Target="../media/image141.png"/><Relationship Id="rId2" Type="http://schemas.openxmlformats.org/officeDocument/2006/relationships/notesSlide" Target="../notesSlides/notesSlide86.xml"/><Relationship Id="rId1" Type="http://schemas.openxmlformats.org/officeDocument/2006/relationships/slideLayout" Target="../slideLayouts/slideLayout72.xml"/><Relationship Id="rId6" Type="http://schemas.openxmlformats.org/officeDocument/2006/relationships/image" Target="../media/image144.png"/><Relationship Id="rId5" Type="http://schemas.openxmlformats.org/officeDocument/2006/relationships/image" Target="../media/image143.png"/><Relationship Id="rId4" Type="http://schemas.openxmlformats.org/officeDocument/2006/relationships/image" Target="../media/image142.png"/></Relationships>
</file>

<file path=ppt/slides/_rels/slide87.xml.rels><?xml version="1.0" encoding="UTF-8" standalone="yes"?>
<Relationships xmlns="http://schemas.openxmlformats.org/package/2006/relationships"><Relationship Id="rId3" Type="http://schemas.openxmlformats.org/officeDocument/2006/relationships/image" Target="../media/image145.png"/><Relationship Id="rId2" Type="http://schemas.openxmlformats.org/officeDocument/2006/relationships/notesSlide" Target="../notesSlides/notesSlide87.xml"/><Relationship Id="rId1" Type="http://schemas.openxmlformats.org/officeDocument/2006/relationships/slideLayout" Target="../slideLayouts/slideLayout72.xml"/><Relationship Id="rId4" Type="http://schemas.openxmlformats.org/officeDocument/2006/relationships/image" Target="../media/image146.png"/></Relationships>
</file>

<file path=ppt/slides/_rels/slide88.xml.rels><?xml version="1.0" encoding="UTF-8" standalone="yes"?>
<Relationships xmlns="http://schemas.openxmlformats.org/package/2006/relationships"><Relationship Id="rId3" Type="http://schemas.openxmlformats.org/officeDocument/2006/relationships/image" Target="../media/image147.png"/><Relationship Id="rId2" Type="http://schemas.openxmlformats.org/officeDocument/2006/relationships/notesSlide" Target="../notesSlides/notesSlide88.xml"/><Relationship Id="rId1" Type="http://schemas.openxmlformats.org/officeDocument/2006/relationships/slideLayout" Target="../slideLayouts/slideLayout72.xml"/><Relationship Id="rId5" Type="http://schemas.openxmlformats.org/officeDocument/2006/relationships/image" Target="../media/image149.png"/><Relationship Id="rId4" Type="http://schemas.openxmlformats.org/officeDocument/2006/relationships/image" Target="../media/image148.png"/></Relationships>
</file>

<file path=ppt/slides/_rels/slide89.xml.rels><?xml version="1.0" encoding="UTF-8" standalone="yes"?>
<Relationships xmlns="http://schemas.openxmlformats.org/package/2006/relationships"><Relationship Id="rId3" Type="http://schemas.openxmlformats.org/officeDocument/2006/relationships/image" Target="../media/image150.png"/><Relationship Id="rId2" Type="http://schemas.openxmlformats.org/officeDocument/2006/relationships/notesSlide" Target="../notesSlides/notesSlide89.xml"/><Relationship Id="rId1" Type="http://schemas.openxmlformats.org/officeDocument/2006/relationships/slideLayout" Target="../slideLayouts/slideLayout72.xml"/><Relationship Id="rId6" Type="http://schemas.openxmlformats.org/officeDocument/2006/relationships/image" Target="../media/image153.png"/><Relationship Id="rId5" Type="http://schemas.openxmlformats.org/officeDocument/2006/relationships/image" Target="../media/image152.png"/><Relationship Id="rId4" Type="http://schemas.openxmlformats.org/officeDocument/2006/relationships/image" Target="../media/image151.png"/></Relationships>
</file>

<file path=ppt/slides/_rels/slide9.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9.xml"/><Relationship Id="rId1" Type="http://schemas.openxmlformats.org/officeDocument/2006/relationships/slideLayout" Target="../slideLayouts/slideLayout6.xml"/><Relationship Id="rId5" Type="http://schemas.openxmlformats.org/officeDocument/2006/relationships/image" Target="../media/image32.png"/><Relationship Id="rId4" Type="http://schemas.openxmlformats.org/officeDocument/2006/relationships/image" Target="../media/image23.png"/></Relationships>
</file>

<file path=ppt/slides/_rels/slide90.xml.rels><?xml version="1.0" encoding="UTF-8" standalone="yes"?>
<Relationships xmlns="http://schemas.openxmlformats.org/package/2006/relationships"><Relationship Id="rId3" Type="http://schemas.openxmlformats.org/officeDocument/2006/relationships/image" Target="../media/image154.png"/><Relationship Id="rId2" Type="http://schemas.openxmlformats.org/officeDocument/2006/relationships/notesSlide" Target="../notesSlides/notesSlide90.xml"/><Relationship Id="rId1" Type="http://schemas.openxmlformats.org/officeDocument/2006/relationships/slideLayout" Target="../slideLayouts/slideLayout72.xml"/><Relationship Id="rId5" Type="http://schemas.openxmlformats.org/officeDocument/2006/relationships/image" Target="../media/image156.png"/><Relationship Id="rId4" Type="http://schemas.openxmlformats.org/officeDocument/2006/relationships/image" Target="../media/image155.png"/></Relationships>
</file>

<file path=ppt/slides/_rels/slide91.xml.rels><?xml version="1.0" encoding="UTF-8" standalone="yes"?>
<Relationships xmlns="http://schemas.openxmlformats.org/package/2006/relationships"><Relationship Id="rId3" Type="http://schemas.openxmlformats.org/officeDocument/2006/relationships/image" Target="../media/image157.png"/><Relationship Id="rId2" Type="http://schemas.openxmlformats.org/officeDocument/2006/relationships/notesSlide" Target="../notesSlides/notesSlide91.xml"/><Relationship Id="rId1" Type="http://schemas.openxmlformats.org/officeDocument/2006/relationships/slideLayout" Target="../slideLayouts/slideLayout72.xml"/><Relationship Id="rId4" Type="http://schemas.openxmlformats.org/officeDocument/2006/relationships/image" Target="../media/image158.png"/></Relationships>
</file>

<file path=ppt/slides/_rels/slide92.xml.rels><?xml version="1.0" encoding="UTF-8" standalone="yes"?>
<Relationships xmlns="http://schemas.openxmlformats.org/package/2006/relationships"><Relationship Id="rId3" Type="http://schemas.openxmlformats.org/officeDocument/2006/relationships/image" Target="../media/image159.png"/><Relationship Id="rId2" Type="http://schemas.openxmlformats.org/officeDocument/2006/relationships/notesSlide" Target="../notesSlides/notesSlide92.xml"/><Relationship Id="rId1" Type="http://schemas.openxmlformats.org/officeDocument/2006/relationships/slideLayout" Target="../slideLayouts/slideLayout72.xml"/><Relationship Id="rId5" Type="http://schemas.openxmlformats.org/officeDocument/2006/relationships/image" Target="../media/image161.png"/><Relationship Id="rId4" Type="http://schemas.openxmlformats.org/officeDocument/2006/relationships/image" Target="../media/image160.png"/></Relationships>
</file>

<file path=ppt/slides/_rels/slide93.xml.rels><?xml version="1.0" encoding="UTF-8" standalone="yes"?>
<Relationships xmlns="http://schemas.openxmlformats.org/package/2006/relationships"><Relationship Id="rId2" Type="http://schemas.openxmlformats.org/officeDocument/2006/relationships/notesSlide" Target="../notesSlides/notesSlide93.xml"/><Relationship Id="rId1" Type="http://schemas.openxmlformats.org/officeDocument/2006/relationships/slideLayout" Target="../slideLayouts/slideLayout84.xml"/></Relationships>
</file>

<file path=ppt/slides/_rels/slide94.xml.rels><?xml version="1.0" encoding="UTF-8" standalone="yes"?>
<Relationships xmlns="http://schemas.openxmlformats.org/package/2006/relationships"><Relationship Id="rId8" Type="http://schemas.openxmlformats.org/officeDocument/2006/relationships/image" Target="../media/image166.png"/><Relationship Id="rId3" Type="http://schemas.openxmlformats.org/officeDocument/2006/relationships/image" Target="../media/image28.png"/><Relationship Id="rId7" Type="http://schemas.openxmlformats.org/officeDocument/2006/relationships/image" Target="../media/image165.png"/><Relationship Id="rId2" Type="http://schemas.openxmlformats.org/officeDocument/2006/relationships/notesSlide" Target="../notesSlides/notesSlide94.xml"/><Relationship Id="rId1" Type="http://schemas.openxmlformats.org/officeDocument/2006/relationships/slideLayout" Target="../slideLayouts/slideLayout71.xml"/><Relationship Id="rId6" Type="http://schemas.openxmlformats.org/officeDocument/2006/relationships/image" Target="../media/image164.png"/><Relationship Id="rId5" Type="http://schemas.openxmlformats.org/officeDocument/2006/relationships/image" Target="../media/image163.png"/><Relationship Id="rId10" Type="http://schemas.openxmlformats.org/officeDocument/2006/relationships/image" Target="../media/image167.png"/><Relationship Id="rId4" Type="http://schemas.openxmlformats.org/officeDocument/2006/relationships/image" Target="../media/image162.png"/><Relationship Id="rId9" Type="http://schemas.microsoft.com/office/2007/relationships/hdphoto" Target="../media/hdphoto7.wdp"/></Relationships>
</file>

<file path=ppt/slides/_rels/slide95.xml.rels><?xml version="1.0" encoding="UTF-8" standalone="yes"?>
<Relationships xmlns="http://schemas.openxmlformats.org/package/2006/relationships"><Relationship Id="rId8" Type="http://schemas.microsoft.com/office/2007/relationships/hdphoto" Target="../media/hdphoto8.wdp"/><Relationship Id="rId3" Type="http://schemas.openxmlformats.org/officeDocument/2006/relationships/image" Target="../media/image168.png"/><Relationship Id="rId7" Type="http://schemas.openxmlformats.org/officeDocument/2006/relationships/image" Target="../media/image169.png"/><Relationship Id="rId2" Type="http://schemas.openxmlformats.org/officeDocument/2006/relationships/notesSlide" Target="../notesSlides/notesSlide95.xml"/><Relationship Id="rId1" Type="http://schemas.openxmlformats.org/officeDocument/2006/relationships/slideLayout" Target="../slideLayouts/slideLayout71.xml"/><Relationship Id="rId6" Type="http://schemas.openxmlformats.org/officeDocument/2006/relationships/image" Target="../media/image164.png"/><Relationship Id="rId5" Type="http://schemas.openxmlformats.org/officeDocument/2006/relationships/image" Target="../media/image163.png"/><Relationship Id="rId4" Type="http://schemas.openxmlformats.org/officeDocument/2006/relationships/image" Target="../media/image28.png"/><Relationship Id="rId9" Type="http://schemas.openxmlformats.org/officeDocument/2006/relationships/image" Target="../media/image167.png"/></Relationships>
</file>

<file path=ppt/slides/_rels/slide96.xml.rels><?xml version="1.0" encoding="UTF-8" standalone="yes"?>
<Relationships xmlns="http://schemas.openxmlformats.org/package/2006/relationships"><Relationship Id="rId8" Type="http://schemas.microsoft.com/office/2007/relationships/hdphoto" Target="../media/hdphoto8.wdp"/><Relationship Id="rId3" Type="http://schemas.openxmlformats.org/officeDocument/2006/relationships/image" Target="../media/image170.png"/><Relationship Id="rId7" Type="http://schemas.openxmlformats.org/officeDocument/2006/relationships/image" Target="../media/image169.png"/><Relationship Id="rId2" Type="http://schemas.openxmlformats.org/officeDocument/2006/relationships/notesSlide" Target="../notesSlides/notesSlide96.xml"/><Relationship Id="rId1" Type="http://schemas.openxmlformats.org/officeDocument/2006/relationships/slideLayout" Target="../slideLayouts/slideLayout71.xml"/><Relationship Id="rId6" Type="http://schemas.openxmlformats.org/officeDocument/2006/relationships/image" Target="../media/image164.png"/><Relationship Id="rId5" Type="http://schemas.openxmlformats.org/officeDocument/2006/relationships/image" Target="../media/image163.png"/><Relationship Id="rId4" Type="http://schemas.openxmlformats.org/officeDocument/2006/relationships/image" Target="../media/image28.png"/><Relationship Id="rId9" Type="http://schemas.openxmlformats.org/officeDocument/2006/relationships/image" Target="../media/image167.png"/></Relationships>
</file>

<file path=ppt/slides/_rels/slide97.xml.rels><?xml version="1.0" encoding="UTF-8" standalone="yes"?>
<Relationships xmlns="http://schemas.openxmlformats.org/package/2006/relationships"><Relationship Id="rId1" Type="http://schemas.openxmlformats.org/officeDocument/2006/relationships/slideLayout" Target="../slideLayouts/slideLayout71.xml"/></Relationships>
</file>

<file path=ppt/slides/_rels/slide98.xml.rels><?xml version="1.0" encoding="UTF-8" standalone="yes"?>
<Relationships xmlns="http://schemas.openxmlformats.org/package/2006/relationships"><Relationship Id="rId8" Type="http://schemas.microsoft.com/office/2007/relationships/hdphoto" Target="../media/hdphoto8.wdp"/><Relationship Id="rId3" Type="http://schemas.openxmlformats.org/officeDocument/2006/relationships/image" Target="../media/image171.png"/><Relationship Id="rId7" Type="http://schemas.openxmlformats.org/officeDocument/2006/relationships/image" Target="../media/image169.png"/><Relationship Id="rId2" Type="http://schemas.openxmlformats.org/officeDocument/2006/relationships/notesSlide" Target="../notesSlides/notesSlide97.xml"/><Relationship Id="rId1" Type="http://schemas.openxmlformats.org/officeDocument/2006/relationships/slideLayout" Target="../slideLayouts/slideLayout71.xml"/><Relationship Id="rId6" Type="http://schemas.openxmlformats.org/officeDocument/2006/relationships/image" Target="../media/image164.png"/><Relationship Id="rId5" Type="http://schemas.openxmlformats.org/officeDocument/2006/relationships/image" Target="../media/image163.png"/><Relationship Id="rId4" Type="http://schemas.openxmlformats.org/officeDocument/2006/relationships/image" Target="../media/image28.png"/><Relationship Id="rId9" Type="http://schemas.openxmlformats.org/officeDocument/2006/relationships/image" Target="../media/image167.png"/></Relationships>
</file>

<file path=ppt/slides/_rels/slide99.xml.rels><?xml version="1.0" encoding="UTF-8" standalone="yes"?>
<Relationships xmlns="http://schemas.openxmlformats.org/package/2006/relationships"><Relationship Id="rId8" Type="http://schemas.openxmlformats.org/officeDocument/2006/relationships/image" Target="../media/image167.png"/><Relationship Id="rId3" Type="http://schemas.openxmlformats.org/officeDocument/2006/relationships/image" Target="../media/image28.png"/><Relationship Id="rId7" Type="http://schemas.microsoft.com/office/2007/relationships/hdphoto" Target="../media/hdphoto8.wdp"/><Relationship Id="rId2" Type="http://schemas.openxmlformats.org/officeDocument/2006/relationships/notesSlide" Target="../notesSlides/notesSlide98.xml"/><Relationship Id="rId1" Type="http://schemas.openxmlformats.org/officeDocument/2006/relationships/slideLayout" Target="../slideLayouts/slideLayout71.xml"/><Relationship Id="rId6" Type="http://schemas.openxmlformats.org/officeDocument/2006/relationships/image" Target="../media/image169.png"/><Relationship Id="rId5" Type="http://schemas.openxmlformats.org/officeDocument/2006/relationships/image" Target="../media/image164.png"/><Relationship Id="rId4" Type="http://schemas.openxmlformats.org/officeDocument/2006/relationships/image" Target="../media/image163.png"/></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rgbClr val="F2C812"/>
        </a:solidFill>
        <a:effectLst/>
      </p:bgPr>
    </p:bg>
    <p:spTree>
      <p:nvGrpSpPr>
        <p:cNvPr id="1" name=""/>
        <p:cNvGrpSpPr/>
        <p:nvPr/>
      </p:nvGrpSpPr>
      <p:grpSpPr>
        <a:xfrm>
          <a:off x="0" y="0"/>
          <a:ext cx="0" cy="0"/>
          <a:chOff x="0" y="0"/>
          <a:chExt cx="0" cy="0"/>
        </a:xfrm>
      </p:grpSpPr>
      <p:sp>
        <p:nvSpPr>
          <p:cNvPr id="4" name="Rectangle 3"/>
          <p:cNvSpPr/>
          <p:nvPr/>
        </p:nvSpPr>
        <p:spPr>
          <a:xfrm>
            <a:off x="1459940" y="2717186"/>
            <a:ext cx="9951270" cy="1015663"/>
          </a:xfrm>
          <a:prstGeom prst="rect">
            <a:avLst/>
          </a:prstGeom>
        </p:spPr>
        <p:txBody>
          <a:bodyPr wrap="square">
            <a:spAutoFit/>
          </a:bodyPr>
          <a:lstStyle/>
          <a:p>
            <a:pPr marL="114300" marR="0" lvl="0" indent="0" algn="l" defTabSz="914367" rtl="0" eaLnBrk="1" fontAlgn="auto" latinLnBrk="0" hangingPunct="1">
              <a:lnSpc>
                <a:spcPct val="100000"/>
              </a:lnSpc>
              <a:spcBef>
                <a:spcPts val="0"/>
              </a:spcBef>
              <a:spcAft>
                <a:spcPts val="600"/>
              </a:spcAft>
              <a:buClrTx/>
              <a:buSzTx/>
              <a:buFontTx/>
              <a:buNone/>
              <a:tabLst/>
              <a:defRPr/>
            </a:pPr>
            <a:r>
              <a:rPr kumimoji="0" lang="en-US" sz="6000" b="0" i="0" u="none" strike="noStrike" kern="1200" cap="none" spc="0" normalizeH="0" baseline="0" noProof="0" dirty="0">
                <a:ln>
                  <a:noFill/>
                </a:ln>
                <a:solidFill>
                  <a:srgbClr val="000000"/>
                </a:solidFill>
                <a:effectLst/>
                <a:uLnTx/>
                <a:uFillTx/>
                <a:latin typeface="Segoe UI Light"/>
                <a:ea typeface="+mn-ea"/>
                <a:cs typeface="+mn-cs"/>
              </a:rPr>
              <a:t>Power BI</a:t>
            </a:r>
          </a:p>
        </p:txBody>
      </p:sp>
    </p:spTree>
    <p:extLst>
      <p:ext uri="{BB962C8B-B14F-4D97-AF65-F5344CB8AC3E}">
        <p14:creationId xmlns:p14="http://schemas.microsoft.com/office/powerpoint/2010/main" val="51824790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 name="Title 10"/>
          <p:cNvSpPr txBox="1">
            <a:spLocks/>
          </p:cNvSpPr>
          <p:nvPr/>
        </p:nvSpPr>
        <p:spPr>
          <a:xfrm>
            <a:off x="2982006" y="9056"/>
            <a:ext cx="9092764" cy="665151"/>
          </a:xfrm>
          <a:prstGeom prst="rect">
            <a:avLst/>
          </a:prstGeom>
          <a:noFill/>
        </p:spPr>
        <p:txBody>
          <a:bodyPr vert="horz" wrap="square" lIns="0" tIns="91440" rIns="0" bIns="91440" rtlCol="0" anchor="t">
            <a:noAutofit/>
          </a:bodyPr>
          <a:lstStyle>
            <a:lvl1pPr defTabSz="914367">
              <a:lnSpc>
                <a:spcPct val="90000"/>
              </a:lnSpc>
              <a:spcBef>
                <a:spcPct val="0"/>
              </a:spcBef>
              <a:buNone/>
              <a:defRPr lang="en-US" sz="5294" b="0" cap="none" spc="-100" baseline="0" dirty="0" smtClean="0">
                <a:ln w="3175">
                  <a:noFill/>
                </a:ln>
                <a:solidFill>
                  <a:schemeClr val="tx2"/>
                </a:solidFill>
                <a:effectLst/>
                <a:latin typeface="+mj-lt"/>
                <a:cs typeface="Segoe UI" pitchFamily="34" charset="0"/>
              </a:defRPr>
            </a:lvl1pPr>
          </a:lstStyle>
          <a:p>
            <a:pPr marL="168275"/>
            <a:r>
              <a:rPr lang="en-US" sz="3600" spc="0">
                <a:ln>
                  <a:noFill/>
                </a:ln>
                <a:solidFill>
                  <a:srgbClr val="000000"/>
                </a:solidFill>
                <a:cs typeface="+mn-cs"/>
              </a:rPr>
              <a:t>Get instant value from your cloud data sources</a:t>
            </a:r>
            <a:endParaRPr lang="en-US" sz="3600">
              <a:solidFill>
                <a:schemeClr val="tx1"/>
              </a:solidFill>
            </a:endParaRPr>
          </a:p>
          <a:p>
            <a:pPr marL="168275"/>
            <a:endParaRPr lang="en-US" sz="3600" b="1">
              <a:solidFill>
                <a:schemeClr val="tx1"/>
              </a:solidFill>
            </a:endParaRPr>
          </a:p>
          <a:p>
            <a:pPr marL="168275"/>
            <a:endParaRPr lang="en-IN" sz="3600">
              <a:solidFill>
                <a:schemeClr val="tx1"/>
              </a:solidFill>
            </a:endParaRPr>
          </a:p>
        </p:txBody>
      </p:sp>
      <p:sp>
        <p:nvSpPr>
          <p:cNvPr id="49" name="Rectangle 48"/>
          <p:cNvSpPr/>
          <p:nvPr/>
        </p:nvSpPr>
        <p:spPr>
          <a:xfrm>
            <a:off x="2852858" y="1188513"/>
            <a:ext cx="4551437" cy="4724370"/>
          </a:xfrm>
          <a:prstGeom prst="rect">
            <a:avLst/>
          </a:prstGeom>
        </p:spPr>
        <p:txBody>
          <a:bodyPr wrap="square">
            <a:spAutoFit/>
          </a:bodyPr>
          <a:lstStyle/>
          <a:p>
            <a:pPr marL="342900" indent="-342900">
              <a:spcBef>
                <a:spcPts val="600"/>
              </a:spcBef>
              <a:spcAft>
                <a:spcPts val="600"/>
              </a:spcAft>
              <a:buFont typeface="Symbol" panose="05050102010706020507" pitchFamily="18" charset="2"/>
              <a:buChar char=""/>
            </a:pPr>
            <a:r>
              <a:rPr lang="en-US" sz="2000">
                <a:latin typeface="+mj-lt"/>
                <a:ea typeface="Calibri" panose="020F0502020204030204" pitchFamily="34" charset="0"/>
                <a:cs typeface="Times New Roman" panose="02020603050405020304" pitchFamily="18" charset="0"/>
              </a:rPr>
              <a:t>No need to build connectors or develop data extraction processes for your SaaS solutions</a:t>
            </a:r>
          </a:p>
          <a:p>
            <a:pPr marL="342900" indent="-342900">
              <a:spcBef>
                <a:spcPts val="600"/>
              </a:spcBef>
              <a:spcAft>
                <a:spcPts val="600"/>
              </a:spcAft>
              <a:buFont typeface="Symbol" panose="05050102010706020507" pitchFamily="18" charset="2"/>
              <a:buChar char=""/>
            </a:pPr>
            <a:r>
              <a:rPr lang="en-US" sz="2000">
                <a:latin typeface="+mj-lt"/>
                <a:ea typeface="Calibri" panose="020F0502020204030204" pitchFamily="34" charset="0"/>
                <a:cs typeface="Times New Roman" panose="02020603050405020304" pitchFamily="18" charset="0"/>
              </a:rPr>
              <a:t>Business can quickly start with solution-specific content packs which include </a:t>
            </a:r>
          </a:p>
          <a:p>
            <a:pPr marL="800100" lvl="1" indent="-342900">
              <a:buFont typeface="Courier New" panose="02070309020205020404" pitchFamily="49" charset="0"/>
              <a:buChar char="o"/>
            </a:pPr>
            <a:r>
              <a:rPr lang="en-US">
                <a:latin typeface="+mj-lt"/>
                <a:ea typeface="Calibri" panose="020F0502020204030204" pitchFamily="34" charset="0"/>
                <a:cs typeface="Times New Roman" panose="02020603050405020304" pitchFamily="18" charset="0"/>
              </a:rPr>
              <a:t>pre-configured dashboards</a:t>
            </a:r>
          </a:p>
          <a:p>
            <a:pPr marL="800100" lvl="1" indent="-342900">
              <a:buFont typeface="Courier New" panose="02070309020205020404" pitchFamily="49" charset="0"/>
              <a:buChar char="o"/>
            </a:pPr>
            <a:r>
              <a:rPr lang="en-US">
                <a:latin typeface="+mj-lt"/>
                <a:ea typeface="Calibri" panose="020F0502020204030204" pitchFamily="34" charset="0"/>
                <a:cs typeface="Times New Roman" panose="02020603050405020304" pitchFamily="18" charset="0"/>
              </a:rPr>
              <a:t>reports</a:t>
            </a:r>
          </a:p>
          <a:p>
            <a:pPr marL="800100" lvl="1" indent="-342900">
              <a:buFont typeface="Courier New" panose="02070309020205020404" pitchFamily="49" charset="0"/>
              <a:buChar char="o"/>
            </a:pPr>
            <a:r>
              <a:rPr lang="en-US">
                <a:latin typeface="+mj-lt"/>
                <a:ea typeface="Calibri" panose="020F0502020204030204" pitchFamily="34" charset="0"/>
                <a:cs typeface="Times New Roman" panose="02020603050405020304" pitchFamily="18" charset="0"/>
              </a:rPr>
              <a:t>data models</a:t>
            </a:r>
          </a:p>
          <a:p>
            <a:pPr marL="342900" indent="-342900">
              <a:spcBef>
                <a:spcPts val="600"/>
              </a:spcBef>
              <a:spcAft>
                <a:spcPts val="600"/>
              </a:spcAft>
              <a:buFont typeface="Symbol" panose="05050102010706020507" pitchFamily="18" charset="2"/>
              <a:buChar char=""/>
            </a:pPr>
            <a:r>
              <a:rPr lang="en-US" sz="2000">
                <a:latin typeface="+mj-lt"/>
                <a:ea typeface="Calibri" panose="020F0502020204030204" pitchFamily="34" charset="0"/>
                <a:cs typeface="Times New Roman" panose="02020603050405020304" pitchFamily="18" charset="0"/>
              </a:rPr>
              <a:t>Users can explore data with fast data processing</a:t>
            </a:r>
          </a:p>
          <a:p>
            <a:pPr marL="342900" indent="-342900">
              <a:spcBef>
                <a:spcPts val="600"/>
              </a:spcBef>
              <a:spcAft>
                <a:spcPts val="600"/>
              </a:spcAft>
              <a:buFont typeface="Symbol" panose="05050102010706020507" pitchFamily="18" charset="2"/>
              <a:buChar char=""/>
            </a:pPr>
            <a:r>
              <a:rPr lang="en-US" sz="2000">
                <a:latin typeface="+mj-lt"/>
                <a:ea typeface="Calibri" panose="020F0502020204030204" pitchFamily="34" charset="0"/>
                <a:cs typeface="Times New Roman" panose="02020603050405020304" pitchFamily="18" charset="0"/>
              </a:rPr>
              <a:t>Automatic data refresh is built-in</a:t>
            </a:r>
          </a:p>
          <a:p>
            <a:pPr marL="342900" indent="-342900">
              <a:lnSpc>
                <a:spcPct val="150000"/>
              </a:lnSpc>
              <a:spcBef>
                <a:spcPts val="600"/>
              </a:spcBef>
              <a:spcAft>
                <a:spcPts val="600"/>
              </a:spcAft>
              <a:buFont typeface="Symbol" panose="05050102010706020507" pitchFamily="18" charset="2"/>
              <a:buChar char=""/>
            </a:pPr>
            <a:endParaRPr lang="en-US">
              <a:latin typeface="+mj-lt"/>
              <a:ea typeface="Calibri" panose="020F0502020204030204" pitchFamily="34" charset="0"/>
              <a:cs typeface="Times New Roman" panose="02020603050405020304" pitchFamily="18" charset="0"/>
            </a:endParaRPr>
          </a:p>
        </p:txBody>
      </p:sp>
      <p:sp>
        <p:nvSpPr>
          <p:cNvPr id="37" name="Rectangle 15"/>
          <p:cNvSpPr/>
          <p:nvPr/>
        </p:nvSpPr>
        <p:spPr bwMode="auto">
          <a:xfrm>
            <a:off x="2" y="487"/>
            <a:ext cx="2815441" cy="685702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38" name="TextBox 37"/>
          <p:cNvSpPr txBox="1"/>
          <p:nvPr/>
        </p:nvSpPr>
        <p:spPr>
          <a:xfrm>
            <a:off x="2" y="487"/>
            <a:ext cx="2815441" cy="683264"/>
          </a:xfrm>
          <a:prstGeom prst="rect">
            <a:avLst/>
          </a:prstGeom>
          <a:noFill/>
        </p:spPr>
        <p:txBody>
          <a:bodyPr wrap="square" lIns="182880" tIns="146304" rIns="182880" bIns="146304" rtlCol="0">
            <a:spAutoFit/>
          </a:bodyPr>
          <a:lstStyle>
            <a:defPPr>
              <a:defRPr lang="en-US"/>
            </a:defPPr>
            <a:lvl1pPr>
              <a:lnSpc>
                <a:spcPct val="90000"/>
              </a:lnSpc>
              <a:spcAft>
                <a:spcPts val="600"/>
              </a:spcAft>
              <a:defRPr sz="2800" b="1">
                <a:solidFill>
                  <a:srgbClr val="F2C812"/>
                </a:solidFill>
                <a:latin typeface="Segoe UI Light"/>
              </a:defRPr>
            </a:lvl1pPr>
          </a:lstStyle>
          <a:p>
            <a:r>
              <a:rPr lang="en-US"/>
              <a:t>IT challenges</a:t>
            </a:r>
          </a:p>
        </p:txBody>
      </p:sp>
      <p:grpSp>
        <p:nvGrpSpPr>
          <p:cNvPr id="39" name="Group 38"/>
          <p:cNvGrpSpPr/>
          <p:nvPr/>
        </p:nvGrpSpPr>
        <p:grpSpPr>
          <a:xfrm>
            <a:off x="151322" y="867914"/>
            <a:ext cx="2636411" cy="548640"/>
            <a:chOff x="179032" y="1123407"/>
            <a:chExt cx="2636411" cy="548640"/>
          </a:xfrm>
        </p:grpSpPr>
        <p:sp>
          <p:nvSpPr>
            <p:cNvPr id="40" name="Oval 147"/>
            <p:cNvSpPr/>
            <p:nvPr/>
          </p:nvSpPr>
          <p:spPr bwMode="auto">
            <a:xfrm>
              <a:off x="179032" y="1123407"/>
              <a:ext cx="548640" cy="548640"/>
            </a:xfrm>
            <a:prstGeom prst="ellipse">
              <a:avLst/>
            </a:prstGeom>
            <a:solidFill>
              <a:srgbClr val="FFCC00"/>
            </a:solidFill>
            <a:ln>
              <a:solidFill>
                <a:srgbClr val="F2C81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err="1">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145"/>
            <p:cNvSpPr/>
            <p:nvPr/>
          </p:nvSpPr>
          <p:spPr bwMode="auto">
            <a:xfrm>
              <a:off x="805048" y="1206147"/>
              <a:ext cx="2010395" cy="3831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14367"/>
              <a:r>
                <a:rPr lang="en-US" sz="1400" b="1">
                  <a:solidFill>
                    <a:srgbClr val="F2C812"/>
                  </a:solidFill>
                  <a:cs typeface="Segoe UI Light" panose="020B0502040204020203" pitchFamily="34" charset="0"/>
                </a:rPr>
                <a:t>Management of BI systems</a:t>
              </a:r>
              <a:endParaRPr lang="en-US" sz="1200" b="1" i="1">
                <a:solidFill>
                  <a:srgbClr val="F2C812"/>
                </a:solidFill>
                <a:cs typeface="Segoe UI Light" panose="020B0502040204020203" pitchFamily="34" charset="0"/>
              </a:endParaRPr>
            </a:p>
          </p:txBody>
        </p:sp>
      </p:grpSp>
      <p:grpSp>
        <p:nvGrpSpPr>
          <p:cNvPr id="42" name="Group 41"/>
          <p:cNvGrpSpPr/>
          <p:nvPr/>
        </p:nvGrpSpPr>
        <p:grpSpPr>
          <a:xfrm>
            <a:off x="151322" y="1832204"/>
            <a:ext cx="2636411" cy="548640"/>
            <a:chOff x="212649" y="1959486"/>
            <a:chExt cx="2636411" cy="548640"/>
          </a:xfrm>
        </p:grpSpPr>
        <p:sp>
          <p:nvSpPr>
            <p:cNvPr id="43" name="Oval 147"/>
            <p:cNvSpPr/>
            <p:nvPr/>
          </p:nvSpPr>
          <p:spPr bwMode="auto">
            <a:xfrm>
              <a:off x="212649" y="1959486"/>
              <a:ext cx="548640" cy="548640"/>
            </a:xfrm>
            <a:prstGeom prst="ellipse">
              <a:avLst/>
            </a:prstGeom>
            <a:solidFill>
              <a:srgbClr val="FFCC00"/>
            </a:solidFill>
            <a:ln>
              <a:solidFill>
                <a:srgbClr val="F2C81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err="1">
                <a:gradFill>
                  <a:gsLst>
                    <a:gs pos="0">
                      <a:srgbClr val="FFFFFF"/>
                    </a:gs>
                    <a:gs pos="100000">
                      <a:srgbClr val="FFFFFF"/>
                    </a:gs>
                  </a:gsLst>
                  <a:lin ang="5400000" scaled="0"/>
                </a:gradFill>
                <a:ea typeface="Segoe UI" pitchFamily="34" charset="0"/>
                <a:cs typeface="Segoe UI" pitchFamily="34" charset="0"/>
              </a:endParaRPr>
            </a:p>
          </p:txBody>
        </p:sp>
        <p:sp>
          <p:nvSpPr>
            <p:cNvPr id="44" name="Rectangle 145"/>
            <p:cNvSpPr/>
            <p:nvPr/>
          </p:nvSpPr>
          <p:spPr bwMode="auto">
            <a:xfrm>
              <a:off x="838665" y="2042226"/>
              <a:ext cx="2010395" cy="3831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14367"/>
              <a:r>
                <a:rPr lang="en-US" sz="1400" b="1">
                  <a:solidFill>
                    <a:srgbClr val="F2C812"/>
                  </a:solidFill>
                  <a:cs typeface="Segoe UI Light" panose="020B0502040204020203" pitchFamily="34" charset="0"/>
                </a:rPr>
                <a:t>Variety of data sources</a:t>
              </a:r>
              <a:endParaRPr lang="en-US" sz="1200" b="1" i="1">
                <a:solidFill>
                  <a:srgbClr val="F2C812"/>
                </a:solidFill>
                <a:cs typeface="Segoe UI Light" panose="020B0502040204020203" pitchFamily="34" charset="0"/>
              </a:endParaRPr>
            </a:p>
          </p:txBody>
        </p:sp>
      </p:grpSp>
      <p:grpSp>
        <p:nvGrpSpPr>
          <p:cNvPr id="45" name="Group 44"/>
          <p:cNvGrpSpPr/>
          <p:nvPr/>
        </p:nvGrpSpPr>
        <p:grpSpPr>
          <a:xfrm>
            <a:off x="151322" y="2796494"/>
            <a:ext cx="2636411" cy="548640"/>
            <a:chOff x="179032" y="1123407"/>
            <a:chExt cx="2636411" cy="548640"/>
          </a:xfrm>
        </p:grpSpPr>
        <p:sp>
          <p:nvSpPr>
            <p:cNvPr id="46" name="Oval 147"/>
            <p:cNvSpPr/>
            <p:nvPr/>
          </p:nvSpPr>
          <p:spPr bwMode="auto">
            <a:xfrm>
              <a:off x="179032" y="1123407"/>
              <a:ext cx="548640" cy="548640"/>
            </a:xfrm>
            <a:prstGeom prst="ellipse">
              <a:avLst/>
            </a:prstGeom>
            <a:solidFill>
              <a:srgbClr val="FFCC00"/>
            </a:solidFill>
            <a:ln>
              <a:solidFill>
                <a:srgbClr val="F2C81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err="1">
                <a:gradFill>
                  <a:gsLst>
                    <a:gs pos="0">
                      <a:srgbClr val="FFFFFF"/>
                    </a:gs>
                    <a:gs pos="100000">
                      <a:srgbClr val="FFFFFF"/>
                    </a:gs>
                  </a:gsLst>
                  <a:lin ang="5400000" scaled="0"/>
                </a:gradFill>
                <a:ea typeface="Segoe UI" pitchFamily="34" charset="0"/>
                <a:cs typeface="Segoe UI" pitchFamily="34" charset="0"/>
              </a:endParaRPr>
            </a:p>
          </p:txBody>
        </p:sp>
        <p:sp>
          <p:nvSpPr>
            <p:cNvPr id="47" name="Rectangle 145"/>
            <p:cNvSpPr/>
            <p:nvPr/>
          </p:nvSpPr>
          <p:spPr bwMode="auto">
            <a:xfrm>
              <a:off x="805048" y="1206147"/>
              <a:ext cx="2010395" cy="3831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14367"/>
              <a:r>
                <a:rPr lang="en-US" sz="1400" b="1">
                  <a:solidFill>
                    <a:srgbClr val="F2C812"/>
                  </a:solidFill>
                  <a:cs typeface="Segoe UI Light" panose="020B0502040204020203" pitchFamily="34" charset="0"/>
                </a:rPr>
                <a:t>Managing data in the cloud</a:t>
              </a:r>
              <a:endParaRPr lang="en-US" sz="1200" b="1" i="1">
                <a:solidFill>
                  <a:srgbClr val="F2C812"/>
                </a:solidFill>
                <a:cs typeface="Segoe UI Light" panose="020B0502040204020203" pitchFamily="34" charset="0"/>
              </a:endParaRPr>
            </a:p>
          </p:txBody>
        </p:sp>
      </p:grpSp>
      <p:grpSp>
        <p:nvGrpSpPr>
          <p:cNvPr id="48" name="Group 47"/>
          <p:cNvGrpSpPr/>
          <p:nvPr/>
        </p:nvGrpSpPr>
        <p:grpSpPr>
          <a:xfrm>
            <a:off x="151322" y="3760784"/>
            <a:ext cx="2636411" cy="548640"/>
            <a:chOff x="179032" y="1123407"/>
            <a:chExt cx="2636411" cy="548640"/>
          </a:xfrm>
        </p:grpSpPr>
        <p:sp>
          <p:nvSpPr>
            <p:cNvPr id="50" name="Oval 147"/>
            <p:cNvSpPr/>
            <p:nvPr/>
          </p:nvSpPr>
          <p:spPr bwMode="auto">
            <a:xfrm>
              <a:off x="179032" y="1123407"/>
              <a:ext cx="548640" cy="548640"/>
            </a:xfrm>
            <a:prstGeom prst="ellipse">
              <a:avLst/>
            </a:prstGeom>
            <a:solidFill>
              <a:srgbClr val="FFCC00"/>
            </a:solidFill>
            <a:ln>
              <a:solidFill>
                <a:srgbClr val="F2C81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err="1">
                <a:gradFill>
                  <a:gsLst>
                    <a:gs pos="0">
                      <a:srgbClr val="FFFFFF"/>
                    </a:gs>
                    <a:gs pos="100000">
                      <a:srgbClr val="FFFFFF"/>
                    </a:gs>
                  </a:gsLst>
                  <a:lin ang="5400000" scaled="0"/>
                </a:gradFill>
                <a:ea typeface="Segoe UI" pitchFamily="34" charset="0"/>
                <a:cs typeface="Segoe UI" pitchFamily="34" charset="0"/>
              </a:endParaRPr>
            </a:p>
          </p:txBody>
        </p:sp>
        <p:sp>
          <p:nvSpPr>
            <p:cNvPr id="51" name="Rectangle 145"/>
            <p:cNvSpPr/>
            <p:nvPr/>
          </p:nvSpPr>
          <p:spPr bwMode="auto">
            <a:xfrm>
              <a:off x="805048" y="1206147"/>
              <a:ext cx="2010395" cy="3831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14367"/>
              <a:r>
                <a:rPr lang="en-US" sz="1400" b="1">
                  <a:solidFill>
                    <a:srgbClr val="F2C812"/>
                  </a:solidFill>
                  <a:cs typeface="Segoe UI Light" panose="020B0502040204020203" pitchFamily="34" charset="0"/>
                </a:rPr>
                <a:t>Integration with existing environment</a:t>
              </a:r>
              <a:endParaRPr lang="en-US" sz="1200" b="1" i="1">
                <a:solidFill>
                  <a:srgbClr val="F2C812"/>
                </a:solidFill>
                <a:cs typeface="Segoe UI Light" panose="020B0502040204020203" pitchFamily="34" charset="0"/>
              </a:endParaRPr>
            </a:p>
          </p:txBody>
        </p:sp>
      </p:grpSp>
      <p:grpSp>
        <p:nvGrpSpPr>
          <p:cNvPr id="52" name="Group 51"/>
          <p:cNvGrpSpPr/>
          <p:nvPr/>
        </p:nvGrpSpPr>
        <p:grpSpPr>
          <a:xfrm>
            <a:off x="132176" y="4725074"/>
            <a:ext cx="2655557" cy="548640"/>
            <a:chOff x="159886" y="1123407"/>
            <a:chExt cx="2655557" cy="548640"/>
          </a:xfrm>
        </p:grpSpPr>
        <p:sp>
          <p:nvSpPr>
            <p:cNvPr id="54" name="Oval 147"/>
            <p:cNvSpPr/>
            <p:nvPr/>
          </p:nvSpPr>
          <p:spPr bwMode="auto">
            <a:xfrm>
              <a:off x="159886" y="1123407"/>
              <a:ext cx="548640" cy="548640"/>
            </a:xfrm>
            <a:prstGeom prst="ellipse">
              <a:avLst/>
            </a:prstGeom>
            <a:solidFill>
              <a:srgbClr val="FFCC00"/>
            </a:solidFill>
            <a:ln>
              <a:solidFill>
                <a:srgbClr val="F2C81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err="1">
                <a:gradFill>
                  <a:gsLst>
                    <a:gs pos="0">
                      <a:srgbClr val="FFFFFF"/>
                    </a:gs>
                    <a:gs pos="100000">
                      <a:srgbClr val="FFFFFF"/>
                    </a:gs>
                  </a:gsLst>
                  <a:lin ang="5400000" scaled="0"/>
                </a:gradFill>
                <a:ea typeface="Segoe UI" pitchFamily="34" charset="0"/>
                <a:cs typeface="Segoe UI" pitchFamily="34" charset="0"/>
              </a:endParaRPr>
            </a:p>
          </p:txBody>
        </p:sp>
        <p:sp>
          <p:nvSpPr>
            <p:cNvPr id="55" name="Rectangle 145"/>
            <p:cNvSpPr/>
            <p:nvPr/>
          </p:nvSpPr>
          <p:spPr bwMode="auto">
            <a:xfrm>
              <a:off x="805048" y="1206147"/>
              <a:ext cx="2010395" cy="3831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14367"/>
              <a:r>
                <a:rPr lang="en-US" sz="1400" b="1">
                  <a:solidFill>
                    <a:srgbClr val="F2C812"/>
                  </a:solidFill>
                  <a:cs typeface="Segoe UI Light" panose="020B0502040204020203" pitchFamily="34" charset="0"/>
                </a:rPr>
                <a:t>Keeping data current</a:t>
              </a:r>
              <a:endParaRPr lang="en-US" sz="1200" b="1" i="1">
                <a:solidFill>
                  <a:srgbClr val="F2C812"/>
                </a:solidFill>
                <a:cs typeface="Segoe UI Light" panose="020B0502040204020203" pitchFamily="34" charset="0"/>
              </a:endParaRPr>
            </a:p>
          </p:txBody>
        </p:sp>
      </p:grpSp>
      <p:grpSp>
        <p:nvGrpSpPr>
          <p:cNvPr id="56" name="Group 55"/>
          <p:cNvGrpSpPr/>
          <p:nvPr/>
        </p:nvGrpSpPr>
        <p:grpSpPr>
          <a:xfrm>
            <a:off x="151322" y="5689364"/>
            <a:ext cx="2636411" cy="548640"/>
            <a:chOff x="179032" y="1123407"/>
            <a:chExt cx="2636411" cy="548640"/>
          </a:xfrm>
        </p:grpSpPr>
        <p:sp>
          <p:nvSpPr>
            <p:cNvPr id="57" name="Oval 147"/>
            <p:cNvSpPr/>
            <p:nvPr/>
          </p:nvSpPr>
          <p:spPr bwMode="auto">
            <a:xfrm>
              <a:off x="179032" y="1123407"/>
              <a:ext cx="548640" cy="548640"/>
            </a:xfrm>
            <a:prstGeom prst="ellipse">
              <a:avLst/>
            </a:prstGeom>
            <a:solidFill>
              <a:srgbClr val="FFCC00"/>
            </a:solidFill>
            <a:ln>
              <a:solidFill>
                <a:srgbClr val="F2C81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err="1">
                <a:gradFill>
                  <a:gsLst>
                    <a:gs pos="0">
                      <a:srgbClr val="FFFFFF"/>
                    </a:gs>
                    <a:gs pos="100000">
                      <a:srgbClr val="FFFFFF"/>
                    </a:gs>
                  </a:gsLst>
                  <a:lin ang="5400000" scaled="0"/>
                </a:gradFill>
                <a:ea typeface="Segoe UI" pitchFamily="34" charset="0"/>
                <a:cs typeface="Segoe UI" pitchFamily="34" charset="0"/>
              </a:endParaRPr>
            </a:p>
          </p:txBody>
        </p:sp>
        <p:sp>
          <p:nvSpPr>
            <p:cNvPr id="58" name="Rectangle 145"/>
            <p:cNvSpPr/>
            <p:nvPr/>
          </p:nvSpPr>
          <p:spPr bwMode="auto">
            <a:xfrm>
              <a:off x="805048" y="1206147"/>
              <a:ext cx="2010395" cy="3831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14367"/>
              <a:r>
                <a:rPr lang="en-US" sz="1400" b="1">
                  <a:solidFill>
                    <a:srgbClr val="F2C812"/>
                  </a:solidFill>
                  <a:cs typeface="Segoe UI Light" panose="020B0502040204020203" pitchFamily="34" charset="0"/>
                </a:rPr>
                <a:t>Ease of use and adoption</a:t>
              </a:r>
              <a:endParaRPr lang="en-US" sz="1200" b="1" i="1">
                <a:solidFill>
                  <a:srgbClr val="F2C812"/>
                </a:solidFill>
                <a:cs typeface="Segoe UI Light" panose="020B0502040204020203" pitchFamily="34" charset="0"/>
              </a:endParaRPr>
            </a:p>
          </p:txBody>
        </p:sp>
      </p:grpSp>
      <p:sp>
        <p:nvSpPr>
          <p:cNvPr id="59" name="Freeform 58"/>
          <p:cNvSpPr>
            <a:spLocks noChangeAspect="1"/>
          </p:cNvSpPr>
          <p:nvPr/>
        </p:nvSpPr>
        <p:spPr bwMode="black">
          <a:xfrm>
            <a:off x="242762" y="1024112"/>
            <a:ext cx="365760" cy="236244"/>
          </a:xfrm>
          <a:custGeom>
            <a:avLst/>
            <a:gdLst>
              <a:gd name="connsiteX0" fmla="*/ 93529 w 794079"/>
              <a:gd name="connsiteY0" fmla="*/ 409985 h 512894"/>
              <a:gd name="connsiteX1" fmla="*/ 57350 w 794079"/>
              <a:gd name="connsiteY1" fmla="*/ 446163 h 512894"/>
              <a:gd name="connsiteX2" fmla="*/ 93529 w 794079"/>
              <a:gd name="connsiteY2" fmla="*/ 482342 h 512894"/>
              <a:gd name="connsiteX3" fmla="*/ 129707 w 794079"/>
              <a:gd name="connsiteY3" fmla="*/ 446163 h 512894"/>
              <a:gd name="connsiteX4" fmla="*/ 93529 w 794079"/>
              <a:gd name="connsiteY4" fmla="*/ 409985 h 512894"/>
              <a:gd name="connsiteX5" fmla="*/ 22935 w 794079"/>
              <a:gd name="connsiteY5" fmla="*/ 375286 h 512894"/>
              <a:gd name="connsiteX6" fmla="*/ 771144 w 794079"/>
              <a:gd name="connsiteY6" fmla="*/ 375286 h 512894"/>
              <a:gd name="connsiteX7" fmla="*/ 794079 w 794079"/>
              <a:gd name="connsiteY7" fmla="*/ 398221 h 512894"/>
              <a:gd name="connsiteX8" fmla="*/ 794079 w 794079"/>
              <a:gd name="connsiteY8" fmla="*/ 489959 h 512894"/>
              <a:gd name="connsiteX9" fmla="*/ 771144 w 794079"/>
              <a:gd name="connsiteY9" fmla="*/ 512894 h 512894"/>
              <a:gd name="connsiteX10" fmla="*/ 22935 w 794079"/>
              <a:gd name="connsiteY10" fmla="*/ 512894 h 512894"/>
              <a:gd name="connsiteX11" fmla="*/ 0 w 794079"/>
              <a:gd name="connsiteY11" fmla="*/ 489959 h 512894"/>
              <a:gd name="connsiteX12" fmla="*/ 0 w 794079"/>
              <a:gd name="connsiteY12" fmla="*/ 398221 h 512894"/>
              <a:gd name="connsiteX13" fmla="*/ 22935 w 794079"/>
              <a:gd name="connsiteY13" fmla="*/ 375286 h 512894"/>
              <a:gd name="connsiteX14" fmla="*/ 93529 w 794079"/>
              <a:gd name="connsiteY14" fmla="*/ 222341 h 512894"/>
              <a:gd name="connsiteX15" fmla="*/ 57350 w 794079"/>
              <a:gd name="connsiteY15" fmla="*/ 258520 h 512894"/>
              <a:gd name="connsiteX16" fmla="*/ 93529 w 794079"/>
              <a:gd name="connsiteY16" fmla="*/ 294699 h 512894"/>
              <a:gd name="connsiteX17" fmla="*/ 129707 w 794079"/>
              <a:gd name="connsiteY17" fmla="*/ 258520 h 512894"/>
              <a:gd name="connsiteX18" fmla="*/ 93529 w 794079"/>
              <a:gd name="connsiteY18" fmla="*/ 222341 h 512894"/>
              <a:gd name="connsiteX19" fmla="*/ 22935 w 794079"/>
              <a:gd name="connsiteY19" fmla="*/ 187643 h 512894"/>
              <a:gd name="connsiteX20" fmla="*/ 771144 w 794079"/>
              <a:gd name="connsiteY20" fmla="*/ 187643 h 512894"/>
              <a:gd name="connsiteX21" fmla="*/ 794079 w 794079"/>
              <a:gd name="connsiteY21" fmla="*/ 210578 h 512894"/>
              <a:gd name="connsiteX22" fmla="*/ 794079 w 794079"/>
              <a:gd name="connsiteY22" fmla="*/ 302316 h 512894"/>
              <a:gd name="connsiteX23" fmla="*/ 771144 w 794079"/>
              <a:gd name="connsiteY23" fmla="*/ 325251 h 512894"/>
              <a:gd name="connsiteX24" fmla="*/ 22935 w 794079"/>
              <a:gd name="connsiteY24" fmla="*/ 325251 h 512894"/>
              <a:gd name="connsiteX25" fmla="*/ 0 w 794079"/>
              <a:gd name="connsiteY25" fmla="*/ 302316 h 512894"/>
              <a:gd name="connsiteX26" fmla="*/ 0 w 794079"/>
              <a:gd name="connsiteY26" fmla="*/ 210578 h 512894"/>
              <a:gd name="connsiteX27" fmla="*/ 22935 w 794079"/>
              <a:gd name="connsiteY27" fmla="*/ 187643 h 512894"/>
              <a:gd name="connsiteX28" fmla="*/ 93529 w 794079"/>
              <a:gd name="connsiteY28" fmla="*/ 34698 h 512894"/>
              <a:gd name="connsiteX29" fmla="*/ 57350 w 794079"/>
              <a:gd name="connsiteY29" fmla="*/ 70877 h 512894"/>
              <a:gd name="connsiteX30" fmla="*/ 93529 w 794079"/>
              <a:gd name="connsiteY30" fmla="*/ 107056 h 512894"/>
              <a:gd name="connsiteX31" fmla="*/ 129707 w 794079"/>
              <a:gd name="connsiteY31" fmla="*/ 70877 h 512894"/>
              <a:gd name="connsiteX32" fmla="*/ 93529 w 794079"/>
              <a:gd name="connsiteY32" fmla="*/ 34698 h 512894"/>
              <a:gd name="connsiteX33" fmla="*/ 22935 w 794079"/>
              <a:gd name="connsiteY33" fmla="*/ 0 h 512894"/>
              <a:gd name="connsiteX34" fmla="*/ 771144 w 794079"/>
              <a:gd name="connsiteY34" fmla="*/ 0 h 512894"/>
              <a:gd name="connsiteX35" fmla="*/ 794079 w 794079"/>
              <a:gd name="connsiteY35" fmla="*/ 22935 h 512894"/>
              <a:gd name="connsiteX36" fmla="*/ 794079 w 794079"/>
              <a:gd name="connsiteY36" fmla="*/ 114673 h 512894"/>
              <a:gd name="connsiteX37" fmla="*/ 771144 w 794079"/>
              <a:gd name="connsiteY37" fmla="*/ 137608 h 512894"/>
              <a:gd name="connsiteX38" fmla="*/ 22935 w 794079"/>
              <a:gd name="connsiteY38" fmla="*/ 137608 h 512894"/>
              <a:gd name="connsiteX39" fmla="*/ 0 w 794079"/>
              <a:gd name="connsiteY39" fmla="*/ 114673 h 512894"/>
              <a:gd name="connsiteX40" fmla="*/ 0 w 794079"/>
              <a:gd name="connsiteY40" fmla="*/ 22935 h 512894"/>
              <a:gd name="connsiteX41" fmla="*/ 22935 w 794079"/>
              <a:gd name="connsiteY41" fmla="*/ 0 h 5128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794079" h="512894">
                <a:moveTo>
                  <a:pt x="93529" y="409985"/>
                </a:moveTo>
                <a:cubicBezTo>
                  <a:pt x="73548" y="409985"/>
                  <a:pt x="57350" y="426182"/>
                  <a:pt x="57350" y="446163"/>
                </a:cubicBezTo>
                <a:cubicBezTo>
                  <a:pt x="57350" y="466144"/>
                  <a:pt x="73548" y="482342"/>
                  <a:pt x="93529" y="482342"/>
                </a:cubicBezTo>
                <a:cubicBezTo>
                  <a:pt x="113510" y="482342"/>
                  <a:pt x="129707" y="466144"/>
                  <a:pt x="129707" y="446163"/>
                </a:cubicBezTo>
                <a:cubicBezTo>
                  <a:pt x="129707" y="426182"/>
                  <a:pt x="113510" y="409985"/>
                  <a:pt x="93529" y="409985"/>
                </a:cubicBezTo>
                <a:close/>
                <a:moveTo>
                  <a:pt x="22935" y="375286"/>
                </a:moveTo>
                <a:lnTo>
                  <a:pt x="771144" y="375286"/>
                </a:lnTo>
                <a:cubicBezTo>
                  <a:pt x="783811" y="375286"/>
                  <a:pt x="794079" y="385555"/>
                  <a:pt x="794079" y="398221"/>
                </a:cubicBezTo>
                <a:lnTo>
                  <a:pt x="794079" y="489959"/>
                </a:lnTo>
                <a:cubicBezTo>
                  <a:pt x="794079" y="502626"/>
                  <a:pt x="783811" y="512894"/>
                  <a:pt x="771144" y="512894"/>
                </a:cubicBezTo>
                <a:lnTo>
                  <a:pt x="22935" y="512894"/>
                </a:lnTo>
                <a:cubicBezTo>
                  <a:pt x="10269" y="512894"/>
                  <a:pt x="0" y="502626"/>
                  <a:pt x="0" y="489959"/>
                </a:cubicBezTo>
                <a:lnTo>
                  <a:pt x="0" y="398221"/>
                </a:lnTo>
                <a:cubicBezTo>
                  <a:pt x="0" y="385555"/>
                  <a:pt x="10269" y="375286"/>
                  <a:pt x="22935" y="375286"/>
                </a:cubicBezTo>
                <a:close/>
                <a:moveTo>
                  <a:pt x="93529" y="222341"/>
                </a:moveTo>
                <a:cubicBezTo>
                  <a:pt x="73548" y="222341"/>
                  <a:pt x="57350" y="238539"/>
                  <a:pt x="57350" y="258520"/>
                </a:cubicBezTo>
                <a:cubicBezTo>
                  <a:pt x="57350" y="278501"/>
                  <a:pt x="73548" y="294699"/>
                  <a:pt x="93529" y="294699"/>
                </a:cubicBezTo>
                <a:cubicBezTo>
                  <a:pt x="113510" y="294699"/>
                  <a:pt x="129707" y="278501"/>
                  <a:pt x="129707" y="258520"/>
                </a:cubicBezTo>
                <a:cubicBezTo>
                  <a:pt x="129707" y="238539"/>
                  <a:pt x="113510" y="222341"/>
                  <a:pt x="93529" y="222341"/>
                </a:cubicBezTo>
                <a:close/>
                <a:moveTo>
                  <a:pt x="22935" y="187643"/>
                </a:moveTo>
                <a:lnTo>
                  <a:pt x="771144" y="187643"/>
                </a:lnTo>
                <a:cubicBezTo>
                  <a:pt x="783811" y="187643"/>
                  <a:pt x="794079" y="197911"/>
                  <a:pt x="794079" y="210578"/>
                </a:cubicBezTo>
                <a:lnTo>
                  <a:pt x="794079" y="302316"/>
                </a:lnTo>
                <a:cubicBezTo>
                  <a:pt x="794079" y="314982"/>
                  <a:pt x="783811" y="325251"/>
                  <a:pt x="771144" y="325251"/>
                </a:cubicBezTo>
                <a:lnTo>
                  <a:pt x="22935" y="325251"/>
                </a:lnTo>
                <a:cubicBezTo>
                  <a:pt x="10269" y="325251"/>
                  <a:pt x="0" y="314982"/>
                  <a:pt x="0" y="302316"/>
                </a:cubicBezTo>
                <a:lnTo>
                  <a:pt x="0" y="210578"/>
                </a:lnTo>
                <a:cubicBezTo>
                  <a:pt x="0" y="197911"/>
                  <a:pt x="10269" y="187643"/>
                  <a:pt x="22935" y="187643"/>
                </a:cubicBezTo>
                <a:close/>
                <a:moveTo>
                  <a:pt x="93529" y="34698"/>
                </a:moveTo>
                <a:cubicBezTo>
                  <a:pt x="73548" y="34698"/>
                  <a:pt x="57350" y="50896"/>
                  <a:pt x="57350" y="70877"/>
                </a:cubicBezTo>
                <a:cubicBezTo>
                  <a:pt x="57350" y="90858"/>
                  <a:pt x="73548" y="107056"/>
                  <a:pt x="93529" y="107056"/>
                </a:cubicBezTo>
                <a:cubicBezTo>
                  <a:pt x="113510" y="107056"/>
                  <a:pt x="129707" y="90858"/>
                  <a:pt x="129707" y="70877"/>
                </a:cubicBezTo>
                <a:cubicBezTo>
                  <a:pt x="129707" y="50896"/>
                  <a:pt x="113510" y="34698"/>
                  <a:pt x="93529" y="34698"/>
                </a:cubicBezTo>
                <a:close/>
                <a:moveTo>
                  <a:pt x="22935" y="0"/>
                </a:moveTo>
                <a:lnTo>
                  <a:pt x="771144" y="0"/>
                </a:lnTo>
                <a:cubicBezTo>
                  <a:pt x="783811" y="0"/>
                  <a:pt x="794079" y="10268"/>
                  <a:pt x="794079" y="22935"/>
                </a:cubicBezTo>
                <a:lnTo>
                  <a:pt x="794079" y="114673"/>
                </a:lnTo>
                <a:cubicBezTo>
                  <a:pt x="794079" y="127339"/>
                  <a:pt x="783811" y="137608"/>
                  <a:pt x="771144" y="137608"/>
                </a:cubicBezTo>
                <a:lnTo>
                  <a:pt x="22935" y="137608"/>
                </a:lnTo>
                <a:cubicBezTo>
                  <a:pt x="10269" y="137608"/>
                  <a:pt x="0" y="127339"/>
                  <a:pt x="0" y="114673"/>
                </a:cubicBezTo>
                <a:lnTo>
                  <a:pt x="0" y="22935"/>
                </a:lnTo>
                <a:cubicBezTo>
                  <a:pt x="0" y="10268"/>
                  <a:pt x="10269" y="0"/>
                  <a:pt x="22935"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8" tIns="109719" rIns="137148" bIns="109719" numCol="1" spcCol="0" rtlCol="0" fromWordArt="0" anchor="t" anchorCtr="0" forceAA="0" compatLnSpc="1">
            <a:prstTxWarp prst="textNoShape">
              <a:avLst/>
            </a:prstTxWarp>
            <a:noAutofit/>
          </a:bodyPr>
          <a:lstStyle/>
          <a:p>
            <a:pPr algn="ctr" defTabSz="699261" fontAlgn="base">
              <a:lnSpc>
                <a:spcPct val="90000"/>
              </a:lnSpc>
              <a:spcBef>
                <a:spcPct val="0"/>
              </a:spcBef>
              <a:spcAft>
                <a:spcPct val="0"/>
              </a:spcAft>
            </a:pPr>
            <a:endParaRPr lang="en-US">
              <a:gradFill>
                <a:gsLst>
                  <a:gs pos="0">
                    <a:srgbClr val="FFFFFF"/>
                  </a:gs>
                  <a:gs pos="100000">
                    <a:srgbClr val="FFFFFF"/>
                  </a:gs>
                </a:gsLst>
                <a:lin ang="5400000" scaled="0"/>
              </a:gradFill>
              <a:ea typeface="Segoe UI" pitchFamily="34" charset="0"/>
              <a:cs typeface="Segoe UI" pitchFamily="34" charset="0"/>
            </a:endParaRPr>
          </a:p>
        </p:txBody>
      </p:sp>
      <p:grpSp>
        <p:nvGrpSpPr>
          <p:cNvPr id="60" name="Group 59"/>
          <p:cNvGrpSpPr>
            <a:grpSpLocks noChangeAspect="1"/>
          </p:cNvGrpSpPr>
          <p:nvPr/>
        </p:nvGrpSpPr>
        <p:grpSpPr>
          <a:xfrm>
            <a:off x="284268" y="1947738"/>
            <a:ext cx="314004" cy="320040"/>
            <a:chOff x="810855" y="2271601"/>
            <a:chExt cx="457200" cy="465990"/>
          </a:xfrm>
        </p:grpSpPr>
        <p:sp>
          <p:nvSpPr>
            <p:cNvPr id="61" name="Freeform 5"/>
            <p:cNvSpPr>
              <a:spLocks noEditPoints="1"/>
            </p:cNvSpPr>
            <p:nvPr/>
          </p:nvSpPr>
          <p:spPr bwMode="black">
            <a:xfrm>
              <a:off x="892260" y="2271601"/>
              <a:ext cx="375795" cy="291633"/>
            </a:xfrm>
            <a:custGeom>
              <a:avLst/>
              <a:gdLst>
                <a:gd name="T0" fmla="*/ 22 w 277"/>
                <a:gd name="T1" fmla="*/ 1 h 215"/>
                <a:gd name="T2" fmla="*/ 22 w 277"/>
                <a:gd name="T3" fmla="*/ 10 h 215"/>
                <a:gd name="T4" fmla="*/ 22 w 277"/>
                <a:gd name="T5" fmla="*/ 10 h 215"/>
                <a:gd name="T6" fmla="*/ 66 w 277"/>
                <a:gd name="T7" fmla="*/ 15 h 215"/>
                <a:gd name="T8" fmla="*/ 54 w 277"/>
                <a:gd name="T9" fmla="*/ 20 h 215"/>
                <a:gd name="T10" fmla="*/ 79 w 277"/>
                <a:gd name="T11" fmla="*/ 0 h 215"/>
                <a:gd name="T12" fmla="*/ 118 w 277"/>
                <a:gd name="T13" fmla="*/ 1 h 215"/>
                <a:gd name="T14" fmla="*/ 118 w 277"/>
                <a:gd name="T15" fmla="*/ 10 h 215"/>
                <a:gd name="T16" fmla="*/ 118 w 277"/>
                <a:gd name="T17" fmla="*/ 10 h 215"/>
                <a:gd name="T18" fmla="*/ 163 w 277"/>
                <a:gd name="T19" fmla="*/ 15 h 215"/>
                <a:gd name="T20" fmla="*/ 150 w 277"/>
                <a:gd name="T21" fmla="*/ 20 h 215"/>
                <a:gd name="T22" fmla="*/ 176 w 277"/>
                <a:gd name="T23" fmla="*/ 0 h 215"/>
                <a:gd name="T24" fmla="*/ 215 w 277"/>
                <a:gd name="T25" fmla="*/ 1 h 215"/>
                <a:gd name="T26" fmla="*/ 214 w 277"/>
                <a:gd name="T27" fmla="*/ 10 h 215"/>
                <a:gd name="T28" fmla="*/ 214 w 277"/>
                <a:gd name="T29" fmla="*/ 10 h 215"/>
                <a:gd name="T30" fmla="*/ 259 w 277"/>
                <a:gd name="T31" fmla="*/ 15 h 215"/>
                <a:gd name="T32" fmla="*/ 247 w 277"/>
                <a:gd name="T33" fmla="*/ 20 h 215"/>
                <a:gd name="T34" fmla="*/ 272 w 277"/>
                <a:gd name="T35" fmla="*/ 0 h 215"/>
                <a:gd name="T36" fmla="*/ 12 w 277"/>
                <a:gd name="T37" fmla="*/ 92 h 215"/>
                <a:gd name="T38" fmla="*/ 0 w 277"/>
                <a:gd name="T39" fmla="*/ 97 h 215"/>
                <a:gd name="T40" fmla="*/ 25 w 277"/>
                <a:gd name="T41" fmla="*/ 77 h 215"/>
                <a:gd name="T42" fmla="*/ 64 w 277"/>
                <a:gd name="T43" fmla="*/ 77 h 215"/>
                <a:gd name="T44" fmla="*/ 64 w 277"/>
                <a:gd name="T45" fmla="*/ 87 h 215"/>
                <a:gd name="T46" fmla="*/ 64 w 277"/>
                <a:gd name="T47" fmla="*/ 87 h 215"/>
                <a:gd name="T48" fmla="*/ 109 w 277"/>
                <a:gd name="T49" fmla="*/ 92 h 215"/>
                <a:gd name="T50" fmla="*/ 96 w 277"/>
                <a:gd name="T51" fmla="*/ 97 h 215"/>
                <a:gd name="T52" fmla="*/ 122 w 277"/>
                <a:gd name="T53" fmla="*/ 77 h 215"/>
                <a:gd name="T54" fmla="*/ 161 w 277"/>
                <a:gd name="T55" fmla="*/ 77 h 215"/>
                <a:gd name="T56" fmla="*/ 160 w 277"/>
                <a:gd name="T57" fmla="*/ 87 h 215"/>
                <a:gd name="T58" fmla="*/ 160 w 277"/>
                <a:gd name="T59" fmla="*/ 87 h 215"/>
                <a:gd name="T60" fmla="*/ 205 w 277"/>
                <a:gd name="T61" fmla="*/ 92 h 215"/>
                <a:gd name="T62" fmla="*/ 192 w 277"/>
                <a:gd name="T63" fmla="*/ 97 h 215"/>
                <a:gd name="T64" fmla="*/ 218 w 277"/>
                <a:gd name="T65" fmla="*/ 77 h 215"/>
                <a:gd name="T66" fmla="*/ 257 w 277"/>
                <a:gd name="T67" fmla="*/ 77 h 215"/>
                <a:gd name="T68" fmla="*/ 256 w 277"/>
                <a:gd name="T69" fmla="*/ 87 h 215"/>
                <a:gd name="T70" fmla="*/ 256 w 277"/>
                <a:gd name="T71" fmla="*/ 87 h 215"/>
                <a:gd name="T72" fmla="*/ 22 w 277"/>
                <a:gd name="T73" fmla="*/ 154 h 215"/>
                <a:gd name="T74" fmla="*/ 22 w 277"/>
                <a:gd name="T75" fmla="*/ 164 h 215"/>
                <a:gd name="T76" fmla="*/ 22 w 277"/>
                <a:gd name="T77" fmla="*/ 164 h 215"/>
                <a:gd name="T78" fmla="*/ 66 w 277"/>
                <a:gd name="T79" fmla="*/ 168 h 215"/>
                <a:gd name="T80" fmla="*/ 54 w 277"/>
                <a:gd name="T81" fmla="*/ 173 h 215"/>
                <a:gd name="T82" fmla="*/ 79 w 277"/>
                <a:gd name="T83" fmla="*/ 154 h 215"/>
                <a:gd name="T84" fmla="*/ 118 w 277"/>
                <a:gd name="T85" fmla="*/ 154 h 215"/>
                <a:gd name="T86" fmla="*/ 118 w 277"/>
                <a:gd name="T87" fmla="*/ 164 h 215"/>
                <a:gd name="T88" fmla="*/ 118 w 277"/>
                <a:gd name="T89" fmla="*/ 164 h 215"/>
                <a:gd name="T90" fmla="*/ 163 w 277"/>
                <a:gd name="T91" fmla="*/ 168 h 215"/>
                <a:gd name="T92" fmla="*/ 150 w 277"/>
                <a:gd name="T93" fmla="*/ 173 h 215"/>
                <a:gd name="T94" fmla="*/ 176 w 277"/>
                <a:gd name="T95" fmla="*/ 154 h 215"/>
                <a:gd name="T96" fmla="*/ 215 w 277"/>
                <a:gd name="T97" fmla="*/ 154 h 215"/>
                <a:gd name="T98" fmla="*/ 214 w 277"/>
                <a:gd name="T99" fmla="*/ 164 h 215"/>
                <a:gd name="T100" fmla="*/ 214 w 277"/>
                <a:gd name="T101" fmla="*/ 164 h 215"/>
                <a:gd name="T102" fmla="*/ 259 w 277"/>
                <a:gd name="T103" fmla="*/ 168 h 215"/>
                <a:gd name="T104" fmla="*/ 247 w 277"/>
                <a:gd name="T105" fmla="*/ 173 h 215"/>
                <a:gd name="T106" fmla="*/ 272 w 277"/>
                <a:gd name="T107" fmla="*/ 154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77" h="215">
                  <a:moveTo>
                    <a:pt x="21" y="61"/>
                  </a:moveTo>
                  <a:cubicBezTo>
                    <a:pt x="7" y="61"/>
                    <a:pt x="0" y="51"/>
                    <a:pt x="0" y="32"/>
                  </a:cubicBezTo>
                  <a:cubicBezTo>
                    <a:pt x="0" y="22"/>
                    <a:pt x="2" y="14"/>
                    <a:pt x="6" y="9"/>
                  </a:cubicBezTo>
                  <a:cubicBezTo>
                    <a:pt x="9" y="3"/>
                    <a:pt x="15" y="1"/>
                    <a:pt x="22" y="1"/>
                  </a:cubicBezTo>
                  <a:cubicBezTo>
                    <a:pt x="36" y="1"/>
                    <a:pt x="43" y="11"/>
                    <a:pt x="43" y="30"/>
                  </a:cubicBezTo>
                  <a:cubicBezTo>
                    <a:pt x="43" y="40"/>
                    <a:pt x="41" y="48"/>
                    <a:pt x="37" y="53"/>
                  </a:cubicBezTo>
                  <a:cubicBezTo>
                    <a:pt x="33" y="59"/>
                    <a:pt x="28" y="61"/>
                    <a:pt x="21" y="61"/>
                  </a:cubicBezTo>
                  <a:close/>
                  <a:moveTo>
                    <a:pt x="22" y="10"/>
                  </a:moveTo>
                  <a:cubicBezTo>
                    <a:pt x="16" y="10"/>
                    <a:pt x="13" y="17"/>
                    <a:pt x="13" y="32"/>
                  </a:cubicBezTo>
                  <a:cubicBezTo>
                    <a:pt x="13" y="45"/>
                    <a:pt x="16" y="51"/>
                    <a:pt x="21" y="51"/>
                  </a:cubicBezTo>
                  <a:cubicBezTo>
                    <a:pt x="27" y="51"/>
                    <a:pt x="29" y="45"/>
                    <a:pt x="29" y="31"/>
                  </a:cubicBezTo>
                  <a:cubicBezTo>
                    <a:pt x="29" y="17"/>
                    <a:pt x="27" y="10"/>
                    <a:pt x="22" y="10"/>
                  </a:cubicBezTo>
                  <a:close/>
                  <a:moveTo>
                    <a:pt x="79" y="0"/>
                  </a:moveTo>
                  <a:cubicBezTo>
                    <a:pt x="79" y="60"/>
                    <a:pt x="79" y="60"/>
                    <a:pt x="79" y="60"/>
                  </a:cubicBezTo>
                  <a:cubicBezTo>
                    <a:pt x="66" y="60"/>
                    <a:pt x="66" y="60"/>
                    <a:pt x="66" y="60"/>
                  </a:cubicBezTo>
                  <a:cubicBezTo>
                    <a:pt x="66" y="15"/>
                    <a:pt x="66" y="15"/>
                    <a:pt x="66" y="15"/>
                  </a:cubicBezTo>
                  <a:cubicBezTo>
                    <a:pt x="66" y="15"/>
                    <a:pt x="65" y="16"/>
                    <a:pt x="64" y="17"/>
                  </a:cubicBezTo>
                  <a:cubicBezTo>
                    <a:pt x="63" y="17"/>
                    <a:pt x="62" y="18"/>
                    <a:pt x="61" y="18"/>
                  </a:cubicBezTo>
                  <a:cubicBezTo>
                    <a:pt x="60" y="19"/>
                    <a:pt x="59" y="19"/>
                    <a:pt x="57" y="19"/>
                  </a:cubicBezTo>
                  <a:cubicBezTo>
                    <a:pt x="56" y="20"/>
                    <a:pt x="55" y="20"/>
                    <a:pt x="54" y="20"/>
                  </a:cubicBezTo>
                  <a:cubicBezTo>
                    <a:pt x="54" y="9"/>
                    <a:pt x="54" y="9"/>
                    <a:pt x="54" y="9"/>
                  </a:cubicBezTo>
                  <a:cubicBezTo>
                    <a:pt x="57" y="8"/>
                    <a:pt x="61" y="7"/>
                    <a:pt x="64" y="5"/>
                  </a:cubicBezTo>
                  <a:cubicBezTo>
                    <a:pt x="66" y="4"/>
                    <a:pt x="69" y="2"/>
                    <a:pt x="72" y="0"/>
                  </a:cubicBezTo>
                  <a:lnTo>
                    <a:pt x="79" y="0"/>
                  </a:lnTo>
                  <a:close/>
                  <a:moveTo>
                    <a:pt x="117" y="61"/>
                  </a:moveTo>
                  <a:cubicBezTo>
                    <a:pt x="103" y="61"/>
                    <a:pt x="96" y="51"/>
                    <a:pt x="96" y="32"/>
                  </a:cubicBezTo>
                  <a:cubicBezTo>
                    <a:pt x="96" y="22"/>
                    <a:pt x="98" y="14"/>
                    <a:pt x="102" y="9"/>
                  </a:cubicBezTo>
                  <a:cubicBezTo>
                    <a:pt x="106" y="3"/>
                    <a:pt x="111" y="1"/>
                    <a:pt x="118" y="1"/>
                  </a:cubicBezTo>
                  <a:cubicBezTo>
                    <a:pt x="132" y="1"/>
                    <a:pt x="139" y="11"/>
                    <a:pt x="139" y="30"/>
                  </a:cubicBezTo>
                  <a:cubicBezTo>
                    <a:pt x="139" y="40"/>
                    <a:pt x="137" y="48"/>
                    <a:pt x="133" y="53"/>
                  </a:cubicBezTo>
                  <a:cubicBezTo>
                    <a:pt x="130" y="59"/>
                    <a:pt x="124" y="61"/>
                    <a:pt x="117" y="61"/>
                  </a:cubicBezTo>
                  <a:close/>
                  <a:moveTo>
                    <a:pt x="118" y="10"/>
                  </a:moveTo>
                  <a:cubicBezTo>
                    <a:pt x="112" y="10"/>
                    <a:pt x="109" y="17"/>
                    <a:pt x="109" y="32"/>
                  </a:cubicBezTo>
                  <a:cubicBezTo>
                    <a:pt x="109" y="45"/>
                    <a:pt x="112" y="51"/>
                    <a:pt x="118" y="51"/>
                  </a:cubicBezTo>
                  <a:cubicBezTo>
                    <a:pt x="123" y="51"/>
                    <a:pt x="126" y="45"/>
                    <a:pt x="126" y="31"/>
                  </a:cubicBezTo>
                  <a:cubicBezTo>
                    <a:pt x="126" y="17"/>
                    <a:pt x="123" y="10"/>
                    <a:pt x="118" y="10"/>
                  </a:cubicBezTo>
                  <a:close/>
                  <a:moveTo>
                    <a:pt x="176" y="0"/>
                  </a:moveTo>
                  <a:cubicBezTo>
                    <a:pt x="176" y="60"/>
                    <a:pt x="176" y="60"/>
                    <a:pt x="176" y="60"/>
                  </a:cubicBezTo>
                  <a:cubicBezTo>
                    <a:pt x="163" y="60"/>
                    <a:pt x="163" y="60"/>
                    <a:pt x="163" y="60"/>
                  </a:cubicBezTo>
                  <a:cubicBezTo>
                    <a:pt x="163" y="15"/>
                    <a:pt x="163" y="15"/>
                    <a:pt x="163" y="15"/>
                  </a:cubicBezTo>
                  <a:cubicBezTo>
                    <a:pt x="162" y="15"/>
                    <a:pt x="161" y="16"/>
                    <a:pt x="160" y="17"/>
                  </a:cubicBezTo>
                  <a:cubicBezTo>
                    <a:pt x="159" y="17"/>
                    <a:pt x="158" y="18"/>
                    <a:pt x="157" y="18"/>
                  </a:cubicBezTo>
                  <a:cubicBezTo>
                    <a:pt x="156" y="19"/>
                    <a:pt x="155" y="19"/>
                    <a:pt x="154" y="19"/>
                  </a:cubicBezTo>
                  <a:cubicBezTo>
                    <a:pt x="153" y="20"/>
                    <a:pt x="151" y="20"/>
                    <a:pt x="150" y="20"/>
                  </a:cubicBezTo>
                  <a:cubicBezTo>
                    <a:pt x="150" y="9"/>
                    <a:pt x="150" y="9"/>
                    <a:pt x="150" y="9"/>
                  </a:cubicBezTo>
                  <a:cubicBezTo>
                    <a:pt x="154" y="8"/>
                    <a:pt x="157" y="7"/>
                    <a:pt x="160" y="5"/>
                  </a:cubicBezTo>
                  <a:cubicBezTo>
                    <a:pt x="163" y="4"/>
                    <a:pt x="165" y="2"/>
                    <a:pt x="168" y="0"/>
                  </a:cubicBezTo>
                  <a:lnTo>
                    <a:pt x="176" y="0"/>
                  </a:lnTo>
                  <a:close/>
                  <a:moveTo>
                    <a:pt x="214" y="61"/>
                  </a:moveTo>
                  <a:cubicBezTo>
                    <a:pt x="200" y="61"/>
                    <a:pt x="193" y="51"/>
                    <a:pt x="193" y="32"/>
                  </a:cubicBezTo>
                  <a:cubicBezTo>
                    <a:pt x="193" y="22"/>
                    <a:pt x="195" y="14"/>
                    <a:pt x="198" y="9"/>
                  </a:cubicBezTo>
                  <a:cubicBezTo>
                    <a:pt x="202" y="3"/>
                    <a:pt x="208" y="1"/>
                    <a:pt x="215" y="1"/>
                  </a:cubicBezTo>
                  <a:cubicBezTo>
                    <a:pt x="228" y="1"/>
                    <a:pt x="235" y="11"/>
                    <a:pt x="235" y="30"/>
                  </a:cubicBezTo>
                  <a:cubicBezTo>
                    <a:pt x="235" y="40"/>
                    <a:pt x="233" y="48"/>
                    <a:pt x="230" y="53"/>
                  </a:cubicBezTo>
                  <a:cubicBezTo>
                    <a:pt x="226" y="59"/>
                    <a:pt x="221" y="61"/>
                    <a:pt x="214" y="61"/>
                  </a:cubicBezTo>
                  <a:close/>
                  <a:moveTo>
                    <a:pt x="214" y="10"/>
                  </a:moveTo>
                  <a:cubicBezTo>
                    <a:pt x="209" y="10"/>
                    <a:pt x="206" y="17"/>
                    <a:pt x="206" y="32"/>
                  </a:cubicBezTo>
                  <a:cubicBezTo>
                    <a:pt x="206" y="45"/>
                    <a:pt x="209" y="51"/>
                    <a:pt x="214" y="51"/>
                  </a:cubicBezTo>
                  <a:cubicBezTo>
                    <a:pt x="219" y="51"/>
                    <a:pt x="222" y="45"/>
                    <a:pt x="222" y="31"/>
                  </a:cubicBezTo>
                  <a:cubicBezTo>
                    <a:pt x="222" y="17"/>
                    <a:pt x="219" y="10"/>
                    <a:pt x="214" y="10"/>
                  </a:cubicBezTo>
                  <a:close/>
                  <a:moveTo>
                    <a:pt x="272" y="0"/>
                  </a:moveTo>
                  <a:cubicBezTo>
                    <a:pt x="272" y="60"/>
                    <a:pt x="272" y="60"/>
                    <a:pt x="272" y="60"/>
                  </a:cubicBezTo>
                  <a:cubicBezTo>
                    <a:pt x="259" y="60"/>
                    <a:pt x="259" y="60"/>
                    <a:pt x="259" y="60"/>
                  </a:cubicBezTo>
                  <a:cubicBezTo>
                    <a:pt x="259" y="15"/>
                    <a:pt x="259" y="15"/>
                    <a:pt x="259" y="15"/>
                  </a:cubicBezTo>
                  <a:cubicBezTo>
                    <a:pt x="258" y="15"/>
                    <a:pt x="258" y="16"/>
                    <a:pt x="257" y="17"/>
                  </a:cubicBezTo>
                  <a:cubicBezTo>
                    <a:pt x="256" y="17"/>
                    <a:pt x="255" y="18"/>
                    <a:pt x="254" y="18"/>
                  </a:cubicBezTo>
                  <a:cubicBezTo>
                    <a:pt x="252" y="19"/>
                    <a:pt x="251" y="19"/>
                    <a:pt x="250" y="19"/>
                  </a:cubicBezTo>
                  <a:cubicBezTo>
                    <a:pt x="249" y="20"/>
                    <a:pt x="248" y="20"/>
                    <a:pt x="247" y="20"/>
                  </a:cubicBezTo>
                  <a:cubicBezTo>
                    <a:pt x="247" y="9"/>
                    <a:pt x="247" y="9"/>
                    <a:pt x="247" y="9"/>
                  </a:cubicBezTo>
                  <a:cubicBezTo>
                    <a:pt x="250" y="8"/>
                    <a:pt x="253" y="7"/>
                    <a:pt x="256" y="5"/>
                  </a:cubicBezTo>
                  <a:cubicBezTo>
                    <a:pt x="259" y="4"/>
                    <a:pt x="262" y="2"/>
                    <a:pt x="264" y="0"/>
                  </a:cubicBezTo>
                  <a:lnTo>
                    <a:pt x="272" y="0"/>
                  </a:lnTo>
                  <a:close/>
                  <a:moveTo>
                    <a:pt x="25" y="77"/>
                  </a:moveTo>
                  <a:cubicBezTo>
                    <a:pt x="25" y="137"/>
                    <a:pt x="25" y="137"/>
                    <a:pt x="25" y="137"/>
                  </a:cubicBezTo>
                  <a:cubicBezTo>
                    <a:pt x="12" y="137"/>
                    <a:pt x="12" y="137"/>
                    <a:pt x="12" y="137"/>
                  </a:cubicBezTo>
                  <a:cubicBezTo>
                    <a:pt x="12" y="92"/>
                    <a:pt x="12" y="92"/>
                    <a:pt x="12" y="92"/>
                  </a:cubicBezTo>
                  <a:cubicBezTo>
                    <a:pt x="12" y="92"/>
                    <a:pt x="11" y="93"/>
                    <a:pt x="10" y="93"/>
                  </a:cubicBezTo>
                  <a:cubicBezTo>
                    <a:pt x="9" y="94"/>
                    <a:pt x="8" y="94"/>
                    <a:pt x="7" y="95"/>
                  </a:cubicBezTo>
                  <a:cubicBezTo>
                    <a:pt x="6" y="95"/>
                    <a:pt x="5" y="96"/>
                    <a:pt x="3" y="96"/>
                  </a:cubicBezTo>
                  <a:cubicBezTo>
                    <a:pt x="2" y="96"/>
                    <a:pt x="1" y="97"/>
                    <a:pt x="0" y="97"/>
                  </a:cubicBezTo>
                  <a:cubicBezTo>
                    <a:pt x="0" y="86"/>
                    <a:pt x="0" y="86"/>
                    <a:pt x="0" y="86"/>
                  </a:cubicBezTo>
                  <a:cubicBezTo>
                    <a:pt x="3" y="85"/>
                    <a:pt x="6" y="84"/>
                    <a:pt x="9" y="82"/>
                  </a:cubicBezTo>
                  <a:cubicBezTo>
                    <a:pt x="12" y="81"/>
                    <a:pt x="15" y="79"/>
                    <a:pt x="17" y="77"/>
                  </a:cubicBezTo>
                  <a:lnTo>
                    <a:pt x="25" y="77"/>
                  </a:lnTo>
                  <a:close/>
                  <a:moveTo>
                    <a:pt x="63" y="138"/>
                  </a:moveTo>
                  <a:cubicBezTo>
                    <a:pt x="49" y="138"/>
                    <a:pt x="42" y="128"/>
                    <a:pt x="42" y="109"/>
                  </a:cubicBezTo>
                  <a:cubicBezTo>
                    <a:pt x="42" y="98"/>
                    <a:pt x="44" y="91"/>
                    <a:pt x="48" y="85"/>
                  </a:cubicBezTo>
                  <a:cubicBezTo>
                    <a:pt x="52" y="80"/>
                    <a:pt x="57" y="77"/>
                    <a:pt x="64" y="77"/>
                  </a:cubicBezTo>
                  <a:cubicBezTo>
                    <a:pt x="78" y="77"/>
                    <a:pt x="85" y="87"/>
                    <a:pt x="85" y="107"/>
                  </a:cubicBezTo>
                  <a:cubicBezTo>
                    <a:pt x="85" y="117"/>
                    <a:pt x="83" y="125"/>
                    <a:pt x="79" y="130"/>
                  </a:cubicBezTo>
                  <a:cubicBezTo>
                    <a:pt x="75" y="135"/>
                    <a:pt x="70" y="138"/>
                    <a:pt x="63" y="138"/>
                  </a:cubicBezTo>
                  <a:close/>
                  <a:moveTo>
                    <a:pt x="64" y="87"/>
                  </a:moveTo>
                  <a:cubicBezTo>
                    <a:pt x="58" y="87"/>
                    <a:pt x="55" y="94"/>
                    <a:pt x="55" y="108"/>
                  </a:cubicBezTo>
                  <a:cubicBezTo>
                    <a:pt x="55" y="121"/>
                    <a:pt x="58" y="128"/>
                    <a:pt x="64" y="128"/>
                  </a:cubicBezTo>
                  <a:cubicBezTo>
                    <a:pt x="69" y="128"/>
                    <a:pt x="72" y="121"/>
                    <a:pt x="72" y="108"/>
                  </a:cubicBezTo>
                  <a:cubicBezTo>
                    <a:pt x="72" y="94"/>
                    <a:pt x="69" y="87"/>
                    <a:pt x="64" y="87"/>
                  </a:cubicBezTo>
                  <a:close/>
                  <a:moveTo>
                    <a:pt x="122" y="77"/>
                  </a:moveTo>
                  <a:cubicBezTo>
                    <a:pt x="122" y="137"/>
                    <a:pt x="122" y="137"/>
                    <a:pt x="122" y="137"/>
                  </a:cubicBezTo>
                  <a:cubicBezTo>
                    <a:pt x="109" y="137"/>
                    <a:pt x="109" y="137"/>
                    <a:pt x="109" y="137"/>
                  </a:cubicBezTo>
                  <a:cubicBezTo>
                    <a:pt x="109" y="92"/>
                    <a:pt x="109" y="92"/>
                    <a:pt x="109" y="92"/>
                  </a:cubicBezTo>
                  <a:cubicBezTo>
                    <a:pt x="108" y="92"/>
                    <a:pt x="107" y="93"/>
                    <a:pt x="106" y="93"/>
                  </a:cubicBezTo>
                  <a:cubicBezTo>
                    <a:pt x="105" y="94"/>
                    <a:pt x="104" y="94"/>
                    <a:pt x="103" y="95"/>
                  </a:cubicBezTo>
                  <a:cubicBezTo>
                    <a:pt x="102" y="95"/>
                    <a:pt x="101" y="96"/>
                    <a:pt x="100" y="96"/>
                  </a:cubicBezTo>
                  <a:cubicBezTo>
                    <a:pt x="98" y="96"/>
                    <a:pt x="97" y="97"/>
                    <a:pt x="96" y="97"/>
                  </a:cubicBezTo>
                  <a:cubicBezTo>
                    <a:pt x="96" y="86"/>
                    <a:pt x="96" y="86"/>
                    <a:pt x="96" y="86"/>
                  </a:cubicBezTo>
                  <a:cubicBezTo>
                    <a:pt x="100" y="85"/>
                    <a:pt x="103" y="84"/>
                    <a:pt x="106" y="82"/>
                  </a:cubicBezTo>
                  <a:cubicBezTo>
                    <a:pt x="109" y="81"/>
                    <a:pt x="111" y="79"/>
                    <a:pt x="114" y="77"/>
                  </a:cubicBezTo>
                  <a:lnTo>
                    <a:pt x="122" y="77"/>
                  </a:lnTo>
                  <a:close/>
                  <a:moveTo>
                    <a:pt x="159" y="138"/>
                  </a:moveTo>
                  <a:cubicBezTo>
                    <a:pt x="145" y="138"/>
                    <a:pt x="138" y="128"/>
                    <a:pt x="138" y="109"/>
                  </a:cubicBezTo>
                  <a:cubicBezTo>
                    <a:pt x="138" y="98"/>
                    <a:pt x="140" y="91"/>
                    <a:pt x="144" y="85"/>
                  </a:cubicBezTo>
                  <a:cubicBezTo>
                    <a:pt x="148" y="80"/>
                    <a:pt x="153" y="77"/>
                    <a:pt x="161" y="77"/>
                  </a:cubicBezTo>
                  <a:cubicBezTo>
                    <a:pt x="174" y="77"/>
                    <a:pt x="181" y="87"/>
                    <a:pt x="181" y="107"/>
                  </a:cubicBezTo>
                  <a:cubicBezTo>
                    <a:pt x="181" y="117"/>
                    <a:pt x="179" y="125"/>
                    <a:pt x="175" y="130"/>
                  </a:cubicBezTo>
                  <a:cubicBezTo>
                    <a:pt x="172" y="135"/>
                    <a:pt x="166" y="138"/>
                    <a:pt x="159" y="138"/>
                  </a:cubicBezTo>
                  <a:close/>
                  <a:moveTo>
                    <a:pt x="160" y="87"/>
                  </a:moveTo>
                  <a:cubicBezTo>
                    <a:pt x="154" y="87"/>
                    <a:pt x="152" y="94"/>
                    <a:pt x="152" y="108"/>
                  </a:cubicBezTo>
                  <a:cubicBezTo>
                    <a:pt x="152" y="121"/>
                    <a:pt x="154" y="128"/>
                    <a:pt x="160" y="128"/>
                  </a:cubicBezTo>
                  <a:cubicBezTo>
                    <a:pt x="165" y="128"/>
                    <a:pt x="168" y="121"/>
                    <a:pt x="168" y="108"/>
                  </a:cubicBezTo>
                  <a:cubicBezTo>
                    <a:pt x="168" y="94"/>
                    <a:pt x="165" y="87"/>
                    <a:pt x="160" y="87"/>
                  </a:cubicBezTo>
                  <a:close/>
                  <a:moveTo>
                    <a:pt x="218" y="77"/>
                  </a:moveTo>
                  <a:cubicBezTo>
                    <a:pt x="218" y="137"/>
                    <a:pt x="218" y="137"/>
                    <a:pt x="218" y="137"/>
                  </a:cubicBezTo>
                  <a:cubicBezTo>
                    <a:pt x="205" y="137"/>
                    <a:pt x="205" y="137"/>
                    <a:pt x="205" y="137"/>
                  </a:cubicBezTo>
                  <a:cubicBezTo>
                    <a:pt x="205" y="92"/>
                    <a:pt x="205" y="92"/>
                    <a:pt x="205" y="92"/>
                  </a:cubicBezTo>
                  <a:cubicBezTo>
                    <a:pt x="204" y="92"/>
                    <a:pt x="203" y="93"/>
                    <a:pt x="202" y="93"/>
                  </a:cubicBezTo>
                  <a:cubicBezTo>
                    <a:pt x="201" y="94"/>
                    <a:pt x="200" y="94"/>
                    <a:pt x="199" y="95"/>
                  </a:cubicBezTo>
                  <a:cubicBezTo>
                    <a:pt x="198" y="95"/>
                    <a:pt x="197" y="96"/>
                    <a:pt x="196" y="96"/>
                  </a:cubicBezTo>
                  <a:cubicBezTo>
                    <a:pt x="195" y="96"/>
                    <a:pt x="194" y="97"/>
                    <a:pt x="192" y="97"/>
                  </a:cubicBezTo>
                  <a:cubicBezTo>
                    <a:pt x="192" y="86"/>
                    <a:pt x="192" y="86"/>
                    <a:pt x="192" y="86"/>
                  </a:cubicBezTo>
                  <a:cubicBezTo>
                    <a:pt x="196" y="85"/>
                    <a:pt x="199" y="84"/>
                    <a:pt x="202" y="82"/>
                  </a:cubicBezTo>
                  <a:cubicBezTo>
                    <a:pt x="205" y="81"/>
                    <a:pt x="208" y="79"/>
                    <a:pt x="210" y="77"/>
                  </a:cubicBezTo>
                  <a:lnTo>
                    <a:pt x="218" y="77"/>
                  </a:lnTo>
                  <a:close/>
                  <a:moveTo>
                    <a:pt x="256" y="138"/>
                  </a:moveTo>
                  <a:cubicBezTo>
                    <a:pt x="242" y="138"/>
                    <a:pt x="235" y="128"/>
                    <a:pt x="235" y="109"/>
                  </a:cubicBezTo>
                  <a:cubicBezTo>
                    <a:pt x="235" y="98"/>
                    <a:pt x="237" y="91"/>
                    <a:pt x="240" y="85"/>
                  </a:cubicBezTo>
                  <a:cubicBezTo>
                    <a:pt x="244" y="80"/>
                    <a:pt x="250" y="77"/>
                    <a:pt x="257" y="77"/>
                  </a:cubicBezTo>
                  <a:cubicBezTo>
                    <a:pt x="270" y="77"/>
                    <a:pt x="277" y="87"/>
                    <a:pt x="277" y="107"/>
                  </a:cubicBezTo>
                  <a:cubicBezTo>
                    <a:pt x="277" y="117"/>
                    <a:pt x="275" y="125"/>
                    <a:pt x="272" y="130"/>
                  </a:cubicBezTo>
                  <a:cubicBezTo>
                    <a:pt x="268" y="135"/>
                    <a:pt x="263" y="138"/>
                    <a:pt x="256" y="138"/>
                  </a:cubicBezTo>
                  <a:close/>
                  <a:moveTo>
                    <a:pt x="256" y="87"/>
                  </a:moveTo>
                  <a:cubicBezTo>
                    <a:pt x="251" y="87"/>
                    <a:pt x="248" y="94"/>
                    <a:pt x="248" y="108"/>
                  </a:cubicBezTo>
                  <a:cubicBezTo>
                    <a:pt x="248" y="121"/>
                    <a:pt x="251" y="128"/>
                    <a:pt x="256" y="128"/>
                  </a:cubicBezTo>
                  <a:cubicBezTo>
                    <a:pt x="261" y="128"/>
                    <a:pt x="264" y="121"/>
                    <a:pt x="264" y="108"/>
                  </a:cubicBezTo>
                  <a:cubicBezTo>
                    <a:pt x="264" y="94"/>
                    <a:pt x="262" y="87"/>
                    <a:pt x="256" y="87"/>
                  </a:cubicBezTo>
                  <a:close/>
                  <a:moveTo>
                    <a:pt x="21" y="215"/>
                  </a:moveTo>
                  <a:cubicBezTo>
                    <a:pt x="7" y="215"/>
                    <a:pt x="0" y="205"/>
                    <a:pt x="0" y="185"/>
                  </a:cubicBezTo>
                  <a:cubicBezTo>
                    <a:pt x="0" y="175"/>
                    <a:pt x="2" y="167"/>
                    <a:pt x="6" y="162"/>
                  </a:cubicBezTo>
                  <a:cubicBezTo>
                    <a:pt x="9" y="157"/>
                    <a:pt x="15" y="154"/>
                    <a:pt x="22" y="154"/>
                  </a:cubicBezTo>
                  <a:cubicBezTo>
                    <a:pt x="36" y="154"/>
                    <a:pt x="43" y="164"/>
                    <a:pt x="43" y="184"/>
                  </a:cubicBezTo>
                  <a:cubicBezTo>
                    <a:pt x="43" y="194"/>
                    <a:pt x="41" y="201"/>
                    <a:pt x="37" y="207"/>
                  </a:cubicBezTo>
                  <a:cubicBezTo>
                    <a:pt x="33" y="212"/>
                    <a:pt x="28" y="215"/>
                    <a:pt x="21" y="215"/>
                  </a:cubicBezTo>
                  <a:close/>
                  <a:moveTo>
                    <a:pt x="22" y="164"/>
                  </a:moveTo>
                  <a:cubicBezTo>
                    <a:pt x="16" y="164"/>
                    <a:pt x="13" y="171"/>
                    <a:pt x="13" y="185"/>
                  </a:cubicBezTo>
                  <a:cubicBezTo>
                    <a:pt x="13" y="198"/>
                    <a:pt x="16" y="205"/>
                    <a:pt x="21" y="205"/>
                  </a:cubicBezTo>
                  <a:cubicBezTo>
                    <a:pt x="27" y="205"/>
                    <a:pt x="29" y="198"/>
                    <a:pt x="29" y="184"/>
                  </a:cubicBezTo>
                  <a:cubicBezTo>
                    <a:pt x="29" y="171"/>
                    <a:pt x="27" y="164"/>
                    <a:pt x="22" y="164"/>
                  </a:cubicBezTo>
                  <a:close/>
                  <a:moveTo>
                    <a:pt x="79" y="154"/>
                  </a:moveTo>
                  <a:cubicBezTo>
                    <a:pt x="79" y="214"/>
                    <a:pt x="79" y="214"/>
                    <a:pt x="79" y="214"/>
                  </a:cubicBezTo>
                  <a:cubicBezTo>
                    <a:pt x="66" y="214"/>
                    <a:pt x="66" y="214"/>
                    <a:pt x="66" y="214"/>
                  </a:cubicBezTo>
                  <a:cubicBezTo>
                    <a:pt x="66" y="168"/>
                    <a:pt x="66" y="168"/>
                    <a:pt x="66" y="168"/>
                  </a:cubicBezTo>
                  <a:cubicBezTo>
                    <a:pt x="66" y="169"/>
                    <a:pt x="65" y="170"/>
                    <a:pt x="64" y="170"/>
                  </a:cubicBezTo>
                  <a:cubicBezTo>
                    <a:pt x="63" y="171"/>
                    <a:pt x="62" y="171"/>
                    <a:pt x="61" y="172"/>
                  </a:cubicBezTo>
                  <a:cubicBezTo>
                    <a:pt x="60" y="172"/>
                    <a:pt x="59" y="172"/>
                    <a:pt x="57" y="173"/>
                  </a:cubicBezTo>
                  <a:cubicBezTo>
                    <a:pt x="56" y="173"/>
                    <a:pt x="55" y="173"/>
                    <a:pt x="54" y="173"/>
                  </a:cubicBezTo>
                  <a:cubicBezTo>
                    <a:pt x="54" y="163"/>
                    <a:pt x="54" y="163"/>
                    <a:pt x="54" y="163"/>
                  </a:cubicBezTo>
                  <a:cubicBezTo>
                    <a:pt x="57" y="162"/>
                    <a:pt x="61" y="160"/>
                    <a:pt x="64" y="159"/>
                  </a:cubicBezTo>
                  <a:cubicBezTo>
                    <a:pt x="66" y="157"/>
                    <a:pt x="69" y="156"/>
                    <a:pt x="72" y="154"/>
                  </a:cubicBezTo>
                  <a:lnTo>
                    <a:pt x="79" y="154"/>
                  </a:lnTo>
                  <a:close/>
                  <a:moveTo>
                    <a:pt x="117" y="215"/>
                  </a:moveTo>
                  <a:cubicBezTo>
                    <a:pt x="103" y="215"/>
                    <a:pt x="96" y="205"/>
                    <a:pt x="96" y="185"/>
                  </a:cubicBezTo>
                  <a:cubicBezTo>
                    <a:pt x="96" y="175"/>
                    <a:pt x="98" y="167"/>
                    <a:pt x="102" y="162"/>
                  </a:cubicBezTo>
                  <a:cubicBezTo>
                    <a:pt x="106" y="157"/>
                    <a:pt x="111" y="154"/>
                    <a:pt x="118" y="154"/>
                  </a:cubicBezTo>
                  <a:cubicBezTo>
                    <a:pt x="132" y="154"/>
                    <a:pt x="139" y="164"/>
                    <a:pt x="139" y="184"/>
                  </a:cubicBezTo>
                  <a:cubicBezTo>
                    <a:pt x="139" y="194"/>
                    <a:pt x="137" y="201"/>
                    <a:pt x="133" y="207"/>
                  </a:cubicBezTo>
                  <a:cubicBezTo>
                    <a:pt x="130" y="212"/>
                    <a:pt x="124" y="215"/>
                    <a:pt x="117" y="215"/>
                  </a:cubicBezTo>
                  <a:close/>
                  <a:moveTo>
                    <a:pt x="118" y="164"/>
                  </a:moveTo>
                  <a:cubicBezTo>
                    <a:pt x="112" y="164"/>
                    <a:pt x="109" y="171"/>
                    <a:pt x="109" y="185"/>
                  </a:cubicBezTo>
                  <a:cubicBezTo>
                    <a:pt x="109" y="198"/>
                    <a:pt x="112" y="205"/>
                    <a:pt x="118" y="205"/>
                  </a:cubicBezTo>
                  <a:cubicBezTo>
                    <a:pt x="123" y="205"/>
                    <a:pt x="126" y="198"/>
                    <a:pt x="126" y="184"/>
                  </a:cubicBezTo>
                  <a:cubicBezTo>
                    <a:pt x="126" y="171"/>
                    <a:pt x="123" y="164"/>
                    <a:pt x="118" y="164"/>
                  </a:cubicBezTo>
                  <a:close/>
                  <a:moveTo>
                    <a:pt x="176" y="154"/>
                  </a:moveTo>
                  <a:cubicBezTo>
                    <a:pt x="176" y="214"/>
                    <a:pt x="176" y="214"/>
                    <a:pt x="176" y="214"/>
                  </a:cubicBezTo>
                  <a:cubicBezTo>
                    <a:pt x="163" y="214"/>
                    <a:pt x="163" y="214"/>
                    <a:pt x="163" y="214"/>
                  </a:cubicBezTo>
                  <a:cubicBezTo>
                    <a:pt x="163" y="168"/>
                    <a:pt x="163" y="168"/>
                    <a:pt x="163" y="168"/>
                  </a:cubicBezTo>
                  <a:cubicBezTo>
                    <a:pt x="162" y="169"/>
                    <a:pt x="161" y="170"/>
                    <a:pt x="160" y="170"/>
                  </a:cubicBezTo>
                  <a:cubicBezTo>
                    <a:pt x="159" y="171"/>
                    <a:pt x="158" y="171"/>
                    <a:pt x="157" y="172"/>
                  </a:cubicBezTo>
                  <a:cubicBezTo>
                    <a:pt x="156" y="172"/>
                    <a:pt x="155" y="172"/>
                    <a:pt x="154" y="173"/>
                  </a:cubicBezTo>
                  <a:cubicBezTo>
                    <a:pt x="153" y="173"/>
                    <a:pt x="151" y="173"/>
                    <a:pt x="150" y="173"/>
                  </a:cubicBezTo>
                  <a:cubicBezTo>
                    <a:pt x="150" y="163"/>
                    <a:pt x="150" y="163"/>
                    <a:pt x="150" y="163"/>
                  </a:cubicBezTo>
                  <a:cubicBezTo>
                    <a:pt x="154" y="162"/>
                    <a:pt x="157" y="160"/>
                    <a:pt x="160" y="159"/>
                  </a:cubicBezTo>
                  <a:cubicBezTo>
                    <a:pt x="163" y="157"/>
                    <a:pt x="165" y="156"/>
                    <a:pt x="168" y="154"/>
                  </a:cubicBezTo>
                  <a:lnTo>
                    <a:pt x="176" y="154"/>
                  </a:lnTo>
                  <a:close/>
                  <a:moveTo>
                    <a:pt x="214" y="215"/>
                  </a:moveTo>
                  <a:cubicBezTo>
                    <a:pt x="200" y="215"/>
                    <a:pt x="193" y="205"/>
                    <a:pt x="193" y="185"/>
                  </a:cubicBezTo>
                  <a:cubicBezTo>
                    <a:pt x="193" y="175"/>
                    <a:pt x="195" y="167"/>
                    <a:pt x="198" y="162"/>
                  </a:cubicBezTo>
                  <a:cubicBezTo>
                    <a:pt x="202" y="157"/>
                    <a:pt x="208" y="154"/>
                    <a:pt x="215" y="154"/>
                  </a:cubicBezTo>
                  <a:cubicBezTo>
                    <a:pt x="228" y="154"/>
                    <a:pt x="235" y="164"/>
                    <a:pt x="235" y="184"/>
                  </a:cubicBezTo>
                  <a:cubicBezTo>
                    <a:pt x="235" y="194"/>
                    <a:pt x="233" y="201"/>
                    <a:pt x="230" y="207"/>
                  </a:cubicBezTo>
                  <a:cubicBezTo>
                    <a:pt x="226" y="212"/>
                    <a:pt x="221" y="215"/>
                    <a:pt x="214" y="215"/>
                  </a:cubicBezTo>
                  <a:close/>
                  <a:moveTo>
                    <a:pt x="214" y="164"/>
                  </a:moveTo>
                  <a:cubicBezTo>
                    <a:pt x="209" y="164"/>
                    <a:pt x="206" y="171"/>
                    <a:pt x="206" y="185"/>
                  </a:cubicBezTo>
                  <a:cubicBezTo>
                    <a:pt x="206" y="198"/>
                    <a:pt x="209" y="205"/>
                    <a:pt x="214" y="205"/>
                  </a:cubicBezTo>
                  <a:cubicBezTo>
                    <a:pt x="219" y="205"/>
                    <a:pt x="222" y="198"/>
                    <a:pt x="222" y="184"/>
                  </a:cubicBezTo>
                  <a:cubicBezTo>
                    <a:pt x="222" y="171"/>
                    <a:pt x="219" y="164"/>
                    <a:pt x="214" y="164"/>
                  </a:cubicBezTo>
                  <a:close/>
                  <a:moveTo>
                    <a:pt x="272" y="154"/>
                  </a:moveTo>
                  <a:cubicBezTo>
                    <a:pt x="272" y="214"/>
                    <a:pt x="272" y="214"/>
                    <a:pt x="272" y="214"/>
                  </a:cubicBezTo>
                  <a:cubicBezTo>
                    <a:pt x="259" y="214"/>
                    <a:pt x="259" y="214"/>
                    <a:pt x="259" y="214"/>
                  </a:cubicBezTo>
                  <a:cubicBezTo>
                    <a:pt x="259" y="168"/>
                    <a:pt x="259" y="168"/>
                    <a:pt x="259" y="168"/>
                  </a:cubicBezTo>
                  <a:cubicBezTo>
                    <a:pt x="258" y="169"/>
                    <a:pt x="258" y="170"/>
                    <a:pt x="257" y="170"/>
                  </a:cubicBezTo>
                  <a:cubicBezTo>
                    <a:pt x="256" y="171"/>
                    <a:pt x="255" y="171"/>
                    <a:pt x="254" y="172"/>
                  </a:cubicBezTo>
                  <a:cubicBezTo>
                    <a:pt x="252" y="172"/>
                    <a:pt x="251" y="172"/>
                    <a:pt x="250" y="173"/>
                  </a:cubicBezTo>
                  <a:cubicBezTo>
                    <a:pt x="249" y="173"/>
                    <a:pt x="248" y="173"/>
                    <a:pt x="247" y="173"/>
                  </a:cubicBezTo>
                  <a:cubicBezTo>
                    <a:pt x="247" y="163"/>
                    <a:pt x="247" y="163"/>
                    <a:pt x="247" y="163"/>
                  </a:cubicBezTo>
                  <a:cubicBezTo>
                    <a:pt x="250" y="162"/>
                    <a:pt x="253" y="160"/>
                    <a:pt x="256" y="159"/>
                  </a:cubicBezTo>
                  <a:cubicBezTo>
                    <a:pt x="259" y="157"/>
                    <a:pt x="262" y="156"/>
                    <a:pt x="264" y="154"/>
                  </a:cubicBezTo>
                  <a:lnTo>
                    <a:pt x="272" y="154"/>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62" name="Freeform 61"/>
            <p:cNvSpPr>
              <a:spLocks noChangeAspect="1"/>
            </p:cNvSpPr>
            <p:nvPr/>
          </p:nvSpPr>
          <p:spPr bwMode="black">
            <a:xfrm>
              <a:off x="810855" y="2476645"/>
              <a:ext cx="373866" cy="260946"/>
            </a:xfrm>
            <a:custGeom>
              <a:avLst/>
              <a:gdLst>
                <a:gd name="connsiteX0" fmla="*/ 541228 w 979570"/>
                <a:gd name="connsiteY0" fmla="*/ 531962 h 887227"/>
                <a:gd name="connsiteX1" fmla="*/ 547155 w 979570"/>
                <a:gd name="connsiteY1" fmla="*/ 538150 h 887227"/>
                <a:gd name="connsiteX2" fmla="*/ 760399 w 979570"/>
                <a:gd name="connsiteY2" fmla="*/ 601984 h 887227"/>
                <a:gd name="connsiteX3" fmla="*/ 973643 w 979570"/>
                <a:gd name="connsiteY3" fmla="*/ 538150 h 887227"/>
                <a:gd name="connsiteX4" fmla="*/ 979570 w 979570"/>
                <a:gd name="connsiteY4" fmla="*/ 531962 h 887227"/>
                <a:gd name="connsiteX5" fmla="*/ 979570 w 979570"/>
                <a:gd name="connsiteY5" fmla="*/ 776991 h 887227"/>
                <a:gd name="connsiteX6" fmla="*/ 979570 w 979570"/>
                <a:gd name="connsiteY6" fmla="*/ 776993 h 887227"/>
                <a:gd name="connsiteX7" fmla="*/ 760399 w 979570"/>
                <a:gd name="connsiteY7" fmla="*/ 887227 h 887227"/>
                <a:gd name="connsiteX8" fmla="*/ 541228 w 979570"/>
                <a:gd name="connsiteY8" fmla="*/ 776993 h 887227"/>
                <a:gd name="connsiteX9" fmla="*/ 541228 w 979570"/>
                <a:gd name="connsiteY9" fmla="*/ 776993 h 887227"/>
                <a:gd name="connsiteX10" fmla="*/ 0 w 979570"/>
                <a:gd name="connsiteY10" fmla="*/ 531962 h 887227"/>
                <a:gd name="connsiteX11" fmla="*/ 5927 w 979570"/>
                <a:gd name="connsiteY11" fmla="*/ 538150 h 887227"/>
                <a:gd name="connsiteX12" fmla="*/ 219171 w 979570"/>
                <a:gd name="connsiteY12" fmla="*/ 601984 h 887227"/>
                <a:gd name="connsiteX13" fmla="*/ 432415 w 979570"/>
                <a:gd name="connsiteY13" fmla="*/ 538150 h 887227"/>
                <a:gd name="connsiteX14" fmla="*/ 438342 w 979570"/>
                <a:gd name="connsiteY14" fmla="*/ 531962 h 887227"/>
                <a:gd name="connsiteX15" fmla="*/ 438342 w 979570"/>
                <a:gd name="connsiteY15" fmla="*/ 776991 h 887227"/>
                <a:gd name="connsiteX16" fmla="*/ 438342 w 979570"/>
                <a:gd name="connsiteY16" fmla="*/ 776993 h 887227"/>
                <a:gd name="connsiteX17" fmla="*/ 219171 w 979570"/>
                <a:gd name="connsiteY17" fmla="*/ 887227 h 887227"/>
                <a:gd name="connsiteX18" fmla="*/ 0 w 979570"/>
                <a:gd name="connsiteY18" fmla="*/ 776993 h 887227"/>
                <a:gd name="connsiteX19" fmla="*/ 0 w 979570"/>
                <a:gd name="connsiteY19" fmla="*/ 776993 h 887227"/>
                <a:gd name="connsiteX20" fmla="*/ 760036 w 979570"/>
                <a:gd name="connsiteY20" fmla="*/ 322411 h 887227"/>
                <a:gd name="connsiteX21" fmla="*/ 978844 w 979570"/>
                <a:gd name="connsiteY21" fmla="*/ 444386 h 887227"/>
                <a:gd name="connsiteX22" fmla="*/ 760036 w 979570"/>
                <a:gd name="connsiteY22" fmla="*/ 566361 h 887227"/>
                <a:gd name="connsiteX23" fmla="*/ 541228 w 979570"/>
                <a:gd name="connsiteY23" fmla="*/ 444386 h 887227"/>
                <a:gd name="connsiteX24" fmla="*/ 760036 w 979570"/>
                <a:gd name="connsiteY24" fmla="*/ 322411 h 887227"/>
                <a:gd name="connsiteX25" fmla="*/ 0 w 979570"/>
                <a:gd name="connsiteY25" fmla="*/ 209552 h 887227"/>
                <a:gd name="connsiteX26" fmla="*/ 5927 w 979570"/>
                <a:gd name="connsiteY26" fmla="*/ 215739 h 887227"/>
                <a:gd name="connsiteX27" fmla="*/ 219171 w 979570"/>
                <a:gd name="connsiteY27" fmla="*/ 279574 h 887227"/>
                <a:gd name="connsiteX28" fmla="*/ 432415 w 979570"/>
                <a:gd name="connsiteY28" fmla="*/ 215739 h 887227"/>
                <a:gd name="connsiteX29" fmla="*/ 438342 w 979570"/>
                <a:gd name="connsiteY29" fmla="*/ 209552 h 887227"/>
                <a:gd name="connsiteX30" fmla="*/ 438342 w 979570"/>
                <a:gd name="connsiteY30" fmla="*/ 454580 h 887227"/>
                <a:gd name="connsiteX31" fmla="*/ 438342 w 979570"/>
                <a:gd name="connsiteY31" fmla="*/ 454583 h 887227"/>
                <a:gd name="connsiteX32" fmla="*/ 219171 w 979570"/>
                <a:gd name="connsiteY32" fmla="*/ 564817 h 887227"/>
                <a:gd name="connsiteX33" fmla="*/ 0 w 979570"/>
                <a:gd name="connsiteY33" fmla="*/ 454583 h 887227"/>
                <a:gd name="connsiteX34" fmla="*/ 0 w 979570"/>
                <a:gd name="connsiteY34" fmla="*/ 454582 h 887227"/>
                <a:gd name="connsiteX35" fmla="*/ 218808 w 979570"/>
                <a:gd name="connsiteY35" fmla="*/ 0 h 887227"/>
                <a:gd name="connsiteX36" fmla="*/ 437616 w 979570"/>
                <a:gd name="connsiteY36" fmla="*/ 121975 h 887227"/>
                <a:gd name="connsiteX37" fmla="*/ 218808 w 979570"/>
                <a:gd name="connsiteY37" fmla="*/ 243950 h 887227"/>
                <a:gd name="connsiteX38" fmla="*/ 0 w 979570"/>
                <a:gd name="connsiteY38" fmla="*/ 121975 h 887227"/>
                <a:gd name="connsiteX39" fmla="*/ 218808 w 979570"/>
                <a:gd name="connsiteY39" fmla="*/ 0 h 8872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979570" h="887227">
                  <a:moveTo>
                    <a:pt x="541228" y="531962"/>
                  </a:moveTo>
                  <a:lnTo>
                    <a:pt x="547155" y="538150"/>
                  </a:lnTo>
                  <a:cubicBezTo>
                    <a:pt x="588222" y="576173"/>
                    <a:pt x="668317" y="601984"/>
                    <a:pt x="760399" y="601984"/>
                  </a:cubicBezTo>
                  <a:cubicBezTo>
                    <a:pt x="852481" y="601984"/>
                    <a:pt x="932576" y="576173"/>
                    <a:pt x="973643" y="538150"/>
                  </a:cubicBezTo>
                  <a:lnTo>
                    <a:pt x="979570" y="531962"/>
                  </a:lnTo>
                  <a:lnTo>
                    <a:pt x="979570" y="776991"/>
                  </a:lnTo>
                  <a:lnTo>
                    <a:pt x="979570" y="776993"/>
                  </a:lnTo>
                  <a:cubicBezTo>
                    <a:pt x="979570" y="837874"/>
                    <a:pt x="881444" y="887227"/>
                    <a:pt x="760399" y="887227"/>
                  </a:cubicBezTo>
                  <a:cubicBezTo>
                    <a:pt x="639354" y="887227"/>
                    <a:pt x="541228" y="837874"/>
                    <a:pt x="541228" y="776993"/>
                  </a:cubicBezTo>
                  <a:lnTo>
                    <a:pt x="541228" y="776993"/>
                  </a:lnTo>
                  <a:close/>
                  <a:moveTo>
                    <a:pt x="0" y="531962"/>
                  </a:moveTo>
                  <a:lnTo>
                    <a:pt x="5927" y="538150"/>
                  </a:lnTo>
                  <a:cubicBezTo>
                    <a:pt x="46994" y="576173"/>
                    <a:pt x="127089" y="601984"/>
                    <a:pt x="219171" y="601984"/>
                  </a:cubicBezTo>
                  <a:cubicBezTo>
                    <a:pt x="311253" y="601984"/>
                    <a:pt x="391348" y="576173"/>
                    <a:pt x="432415" y="538150"/>
                  </a:cubicBezTo>
                  <a:lnTo>
                    <a:pt x="438342" y="531962"/>
                  </a:lnTo>
                  <a:lnTo>
                    <a:pt x="438342" y="776991"/>
                  </a:lnTo>
                  <a:lnTo>
                    <a:pt x="438342" y="776993"/>
                  </a:lnTo>
                  <a:cubicBezTo>
                    <a:pt x="438342" y="837874"/>
                    <a:pt x="340216" y="887227"/>
                    <a:pt x="219171" y="887227"/>
                  </a:cubicBezTo>
                  <a:cubicBezTo>
                    <a:pt x="98126" y="887227"/>
                    <a:pt x="0" y="837874"/>
                    <a:pt x="0" y="776993"/>
                  </a:cubicBezTo>
                  <a:lnTo>
                    <a:pt x="0" y="776993"/>
                  </a:lnTo>
                  <a:close/>
                  <a:moveTo>
                    <a:pt x="760036" y="322411"/>
                  </a:moveTo>
                  <a:cubicBezTo>
                    <a:pt x="880880" y="322411"/>
                    <a:pt x="978844" y="377021"/>
                    <a:pt x="978844" y="444386"/>
                  </a:cubicBezTo>
                  <a:cubicBezTo>
                    <a:pt x="978844" y="511751"/>
                    <a:pt x="880880" y="566361"/>
                    <a:pt x="760036" y="566361"/>
                  </a:cubicBezTo>
                  <a:cubicBezTo>
                    <a:pt x="639192" y="566361"/>
                    <a:pt x="541228" y="511751"/>
                    <a:pt x="541228" y="444386"/>
                  </a:cubicBezTo>
                  <a:cubicBezTo>
                    <a:pt x="541228" y="377021"/>
                    <a:pt x="639192" y="322411"/>
                    <a:pt x="760036" y="322411"/>
                  </a:cubicBezTo>
                  <a:close/>
                  <a:moveTo>
                    <a:pt x="0" y="209552"/>
                  </a:moveTo>
                  <a:lnTo>
                    <a:pt x="5927" y="215739"/>
                  </a:lnTo>
                  <a:cubicBezTo>
                    <a:pt x="46994" y="253762"/>
                    <a:pt x="127089" y="279574"/>
                    <a:pt x="219171" y="279574"/>
                  </a:cubicBezTo>
                  <a:cubicBezTo>
                    <a:pt x="311253" y="279574"/>
                    <a:pt x="391348" y="253762"/>
                    <a:pt x="432415" y="215739"/>
                  </a:cubicBezTo>
                  <a:lnTo>
                    <a:pt x="438342" y="209552"/>
                  </a:lnTo>
                  <a:lnTo>
                    <a:pt x="438342" y="454580"/>
                  </a:lnTo>
                  <a:lnTo>
                    <a:pt x="438342" y="454583"/>
                  </a:lnTo>
                  <a:cubicBezTo>
                    <a:pt x="438342" y="515463"/>
                    <a:pt x="340216" y="564817"/>
                    <a:pt x="219171" y="564817"/>
                  </a:cubicBezTo>
                  <a:cubicBezTo>
                    <a:pt x="98126" y="564817"/>
                    <a:pt x="0" y="515463"/>
                    <a:pt x="0" y="454583"/>
                  </a:cubicBezTo>
                  <a:lnTo>
                    <a:pt x="0" y="454582"/>
                  </a:lnTo>
                  <a:close/>
                  <a:moveTo>
                    <a:pt x="218808" y="0"/>
                  </a:moveTo>
                  <a:cubicBezTo>
                    <a:pt x="339652" y="0"/>
                    <a:pt x="437616" y="54610"/>
                    <a:pt x="437616" y="121975"/>
                  </a:cubicBezTo>
                  <a:cubicBezTo>
                    <a:pt x="437616" y="189340"/>
                    <a:pt x="339652" y="243950"/>
                    <a:pt x="218808" y="243950"/>
                  </a:cubicBezTo>
                  <a:cubicBezTo>
                    <a:pt x="97964" y="243950"/>
                    <a:pt x="0" y="189340"/>
                    <a:pt x="0" y="121975"/>
                  </a:cubicBezTo>
                  <a:cubicBezTo>
                    <a:pt x="0" y="54610"/>
                    <a:pt x="97964" y="0"/>
                    <a:pt x="218808"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8" tIns="109719" rIns="137148" bIns="109719" numCol="1" spcCol="0" rtlCol="0" fromWordArt="0" anchor="t" anchorCtr="0" forceAA="0" compatLnSpc="1">
              <a:prstTxWarp prst="textNoShape">
                <a:avLst/>
              </a:prstTxWarp>
              <a:noAutofit/>
            </a:bodyPr>
            <a:lstStyle/>
            <a:p>
              <a:pPr algn="ctr" defTabSz="699261" fontAlgn="base">
                <a:lnSpc>
                  <a:spcPct val="90000"/>
                </a:lnSpc>
                <a:spcBef>
                  <a:spcPct val="0"/>
                </a:spcBef>
                <a:spcAft>
                  <a:spcPct val="0"/>
                </a:spcAft>
              </a:pPr>
              <a:endParaRPr lang="en-US">
                <a:gradFill>
                  <a:gsLst>
                    <a:gs pos="0">
                      <a:srgbClr val="FFFFFF"/>
                    </a:gs>
                    <a:gs pos="100000">
                      <a:srgbClr val="FFFFFF"/>
                    </a:gs>
                  </a:gsLst>
                  <a:lin ang="5400000" scaled="0"/>
                </a:gradFill>
                <a:ea typeface="Segoe UI" pitchFamily="34" charset="0"/>
                <a:cs typeface="Segoe UI" pitchFamily="34" charset="0"/>
              </a:endParaRPr>
            </a:p>
          </p:txBody>
        </p:sp>
      </p:grpSp>
      <p:grpSp>
        <p:nvGrpSpPr>
          <p:cNvPr id="63" name="Group 62"/>
          <p:cNvGrpSpPr>
            <a:grpSpLocks noChangeAspect="1"/>
          </p:cNvGrpSpPr>
          <p:nvPr/>
        </p:nvGrpSpPr>
        <p:grpSpPr>
          <a:xfrm>
            <a:off x="197042" y="2842214"/>
            <a:ext cx="457200" cy="457200"/>
            <a:chOff x="719415" y="3138080"/>
            <a:chExt cx="640080" cy="640080"/>
          </a:xfrm>
        </p:grpSpPr>
        <p:pic>
          <p:nvPicPr>
            <p:cNvPr id="64" name="Picture 6" descr="\\MAGNUM\Projects\Microsoft\Cloud Power FY12\Design\ICONS_PNG\Cloud.png"/>
            <p:cNvPicPr>
              <a:picLocks noChangeAspect="1" noChangeArrowheads="1"/>
            </p:cNvPicPr>
            <p:nvPr/>
          </p:nvPicPr>
          <p:blipFill>
            <a:blip r:embed="rId3" cstate="print">
              <a:biLevel thresh="75000"/>
            </a:blip>
            <a:srcRect/>
            <a:stretch>
              <a:fillRect/>
            </a:stretch>
          </p:blipFill>
          <p:spPr bwMode="auto">
            <a:xfrm>
              <a:off x="719415" y="3138080"/>
              <a:ext cx="640080" cy="640080"/>
            </a:xfrm>
            <a:prstGeom prst="rect">
              <a:avLst/>
            </a:prstGeom>
            <a:noFill/>
          </p:spPr>
        </p:pic>
        <p:pic>
          <p:nvPicPr>
            <p:cNvPr id="68" name="Picture 67"/>
            <p:cNvPicPr>
              <a:picLocks noChangeAspect="1"/>
            </p:cNvPicPr>
            <p:nvPr/>
          </p:nvPicPr>
          <p:blipFill>
            <a:blip r:embed="rId4"/>
            <a:stretch>
              <a:fillRect/>
            </a:stretch>
          </p:blipFill>
          <p:spPr>
            <a:xfrm flipH="1">
              <a:off x="975955" y="3370303"/>
              <a:ext cx="127000" cy="175846"/>
            </a:xfrm>
            <a:prstGeom prst="rect">
              <a:avLst/>
            </a:prstGeom>
          </p:spPr>
        </p:pic>
      </p:grpSp>
      <p:sp>
        <p:nvSpPr>
          <p:cNvPr id="69" name="Freeform 122"/>
          <p:cNvSpPr>
            <a:spLocks noChangeAspect="1"/>
          </p:cNvSpPr>
          <p:nvPr/>
        </p:nvSpPr>
        <p:spPr bwMode="black">
          <a:xfrm>
            <a:off x="266989" y="4843626"/>
            <a:ext cx="317305" cy="320040"/>
          </a:xfrm>
          <a:custGeom>
            <a:avLst/>
            <a:gdLst>
              <a:gd name="T0" fmla="*/ 61 w 70"/>
              <a:gd name="T1" fmla="*/ 11 h 71"/>
              <a:gd name="T2" fmla="*/ 60 w 70"/>
              <a:gd name="T3" fmla="*/ 11 h 71"/>
              <a:gd name="T4" fmla="*/ 53 w 70"/>
              <a:gd name="T5" fmla="*/ 18 h 71"/>
              <a:gd name="T6" fmla="*/ 53 w 70"/>
              <a:gd name="T7" fmla="*/ 19 h 71"/>
              <a:gd name="T8" fmla="*/ 53 w 70"/>
              <a:gd name="T9" fmla="*/ 19 h 71"/>
              <a:gd name="T10" fmla="*/ 60 w 70"/>
              <a:gd name="T11" fmla="*/ 35 h 71"/>
              <a:gd name="T12" fmla="*/ 35 w 70"/>
              <a:gd name="T13" fmla="*/ 60 h 71"/>
              <a:gd name="T14" fmla="*/ 10 w 70"/>
              <a:gd name="T15" fmla="*/ 36 h 71"/>
              <a:gd name="T16" fmla="*/ 16 w 70"/>
              <a:gd name="T17" fmla="*/ 21 h 71"/>
              <a:gd name="T18" fmla="*/ 18 w 70"/>
              <a:gd name="T19" fmla="*/ 18 h 71"/>
              <a:gd name="T20" fmla="*/ 25 w 70"/>
              <a:gd name="T21" fmla="*/ 26 h 71"/>
              <a:gd name="T22" fmla="*/ 30 w 70"/>
              <a:gd name="T23" fmla="*/ 0 h 71"/>
              <a:gd name="T24" fmla="*/ 4 w 70"/>
              <a:gd name="T25" fmla="*/ 2 h 71"/>
              <a:gd name="T26" fmla="*/ 11 w 70"/>
              <a:gd name="T27" fmla="*/ 10 h 71"/>
              <a:gd name="T28" fmla="*/ 9 w 70"/>
              <a:gd name="T29" fmla="*/ 12 h 71"/>
              <a:gd name="T30" fmla="*/ 0 w 70"/>
              <a:gd name="T31" fmla="*/ 36 h 71"/>
              <a:gd name="T32" fmla="*/ 35 w 70"/>
              <a:gd name="T33" fmla="*/ 71 h 71"/>
              <a:gd name="T34" fmla="*/ 35 w 70"/>
              <a:gd name="T35" fmla="*/ 71 h 71"/>
              <a:gd name="T36" fmla="*/ 70 w 70"/>
              <a:gd name="T37" fmla="*/ 35 h 71"/>
              <a:gd name="T38" fmla="*/ 61 w 70"/>
              <a:gd name="T39" fmla="*/ 1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0" h="71">
                <a:moveTo>
                  <a:pt x="61" y="11"/>
                </a:moveTo>
                <a:cubicBezTo>
                  <a:pt x="60" y="11"/>
                  <a:pt x="60" y="11"/>
                  <a:pt x="60" y="11"/>
                </a:cubicBezTo>
                <a:cubicBezTo>
                  <a:pt x="53" y="18"/>
                  <a:pt x="53" y="18"/>
                  <a:pt x="53" y="18"/>
                </a:cubicBezTo>
                <a:cubicBezTo>
                  <a:pt x="53" y="19"/>
                  <a:pt x="53" y="19"/>
                  <a:pt x="53" y="19"/>
                </a:cubicBezTo>
                <a:cubicBezTo>
                  <a:pt x="53" y="19"/>
                  <a:pt x="53" y="19"/>
                  <a:pt x="53" y="19"/>
                </a:cubicBezTo>
                <a:cubicBezTo>
                  <a:pt x="57" y="23"/>
                  <a:pt x="60" y="29"/>
                  <a:pt x="60" y="35"/>
                </a:cubicBezTo>
                <a:cubicBezTo>
                  <a:pt x="60" y="49"/>
                  <a:pt x="49" y="60"/>
                  <a:pt x="35" y="60"/>
                </a:cubicBezTo>
                <a:cubicBezTo>
                  <a:pt x="22" y="60"/>
                  <a:pt x="11" y="49"/>
                  <a:pt x="10" y="36"/>
                </a:cubicBezTo>
                <a:cubicBezTo>
                  <a:pt x="10" y="30"/>
                  <a:pt x="12" y="25"/>
                  <a:pt x="16" y="21"/>
                </a:cubicBezTo>
                <a:cubicBezTo>
                  <a:pt x="18" y="18"/>
                  <a:pt x="18" y="18"/>
                  <a:pt x="18" y="18"/>
                </a:cubicBezTo>
                <a:cubicBezTo>
                  <a:pt x="25" y="26"/>
                  <a:pt x="25" y="26"/>
                  <a:pt x="25" y="26"/>
                </a:cubicBezTo>
                <a:cubicBezTo>
                  <a:pt x="30" y="0"/>
                  <a:pt x="30" y="0"/>
                  <a:pt x="30" y="0"/>
                </a:cubicBezTo>
                <a:cubicBezTo>
                  <a:pt x="4" y="2"/>
                  <a:pt x="4" y="2"/>
                  <a:pt x="4" y="2"/>
                </a:cubicBezTo>
                <a:cubicBezTo>
                  <a:pt x="11" y="10"/>
                  <a:pt x="11" y="10"/>
                  <a:pt x="11" y="10"/>
                </a:cubicBezTo>
                <a:cubicBezTo>
                  <a:pt x="9" y="12"/>
                  <a:pt x="9" y="12"/>
                  <a:pt x="9" y="12"/>
                </a:cubicBezTo>
                <a:cubicBezTo>
                  <a:pt x="3" y="19"/>
                  <a:pt x="0" y="27"/>
                  <a:pt x="0" y="36"/>
                </a:cubicBezTo>
                <a:cubicBezTo>
                  <a:pt x="0" y="55"/>
                  <a:pt x="16" y="71"/>
                  <a:pt x="35" y="71"/>
                </a:cubicBezTo>
                <a:cubicBezTo>
                  <a:pt x="35" y="71"/>
                  <a:pt x="35" y="71"/>
                  <a:pt x="35" y="71"/>
                </a:cubicBezTo>
                <a:cubicBezTo>
                  <a:pt x="55" y="71"/>
                  <a:pt x="70" y="55"/>
                  <a:pt x="70" y="35"/>
                </a:cubicBezTo>
                <a:cubicBezTo>
                  <a:pt x="70" y="26"/>
                  <a:pt x="67" y="18"/>
                  <a:pt x="61" y="11"/>
                </a:cubicBezTo>
              </a:path>
            </a:pathLst>
          </a:custGeom>
          <a:solidFill>
            <a:schemeClr val="tx1"/>
          </a:solidFill>
          <a:ln>
            <a:noFill/>
          </a:ln>
        </p:spPr>
        <p:txBody>
          <a:bodyPr vert="horz" wrap="square" lIns="69953" tIns="34976" rIns="69953" bIns="34976" numCol="1" anchor="t" anchorCtr="0" compatLnSpc="1">
            <a:prstTxWarp prst="textNoShape">
              <a:avLst/>
            </a:prstTxWarp>
          </a:bodyPr>
          <a:lstStyle/>
          <a:p>
            <a:endParaRPr lang="en-US" sz="1350">
              <a:solidFill>
                <a:srgbClr val="000000"/>
              </a:solidFill>
            </a:endParaRPr>
          </a:p>
        </p:txBody>
      </p:sp>
      <p:sp>
        <p:nvSpPr>
          <p:cNvPr id="70" name="Freeform 21"/>
          <p:cNvSpPr>
            <a:spLocks noChangeAspect="1" noEditPoints="1"/>
          </p:cNvSpPr>
          <p:nvPr/>
        </p:nvSpPr>
        <p:spPr bwMode="black">
          <a:xfrm>
            <a:off x="242762" y="3875709"/>
            <a:ext cx="365760" cy="318790"/>
          </a:xfrm>
          <a:custGeom>
            <a:avLst/>
            <a:gdLst>
              <a:gd name="T0" fmla="*/ 1220 w 1220"/>
              <a:gd name="T1" fmla="*/ 204 h 1063"/>
              <a:gd name="T2" fmla="*/ 1096 w 1220"/>
              <a:gd name="T3" fmla="*/ 79 h 1063"/>
              <a:gd name="T4" fmla="*/ 978 w 1220"/>
              <a:gd name="T5" fmla="*/ 164 h 1063"/>
              <a:gd name="T6" fmla="*/ 589 w 1220"/>
              <a:gd name="T7" fmla="*/ 115 h 1063"/>
              <a:gd name="T8" fmla="*/ 465 w 1220"/>
              <a:gd name="T9" fmla="*/ 0 h 1063"/>
              <a:gd name="T10" fmla="*/ 340 w 1220"/>
              <a:gd name="T11" fmla="*/ 124 h 1063"/>
              <a:gd name="T12" fmla="*/ 370 w 1220"/>
              <a:gd name="T13" fmla="*/ 205 h 1063"/>
              <a:gd name="T14" fmla="*/ 180 w 1220"/>
              <a:gd name="T15" fmla="*/ 453 h 1063"/>
              <a:gd name="T16" fmla="*/ 125 w 1220"/>
              <a:gd name="T17" fmla="*/ 440 h 1063"/>
              <a:gd name="T18" fmla="*/ 0 w 1220"/>
              <a:gd name="T19" fmla="*/ 564 h 1063"/>
              <a:gd name="T20" fmla="*/ 125 w 1220"/>
              <a:gd name="T21" fmla="*/ 689 h 1063"/>
              <a:gd name="T22" fmla="*/ 197 w 1220"/>
              <a:gd name="T23" fmla="*/ 666 h 1063"/>
              <a:gd name="T24" fmla="*/ 416 w 1220"/>
              <a:gd name="T25" fmla="*/ 872 h 1063"/>
              <a:gd name="T26" fmla="*/ 397 w 1220"/>
              <a:gd name="T27" fmla="*/ 938 h 1063"/>
              <a:gd name="T28" fmla="*/ 521 w 1220"/>
              <a:gd name="T29" fmla="*/ 1063 h 1063"/>
              <a:gd name="T30" fmla="*/ 646 w 1220"/>
              <a:gd name="T31" fmla="*/ 938 h 1063"/>
              <a:gd name="T32" fmla="*/ 642 w 1220"/>
              <a:gd name="T33" fmla="*/ 908 h 1063"/>
              <a:gd name="T34" fmla="*/ 948 w 1220"/>
              <a:gd name="T35" fmla="*/ 763 h 1063"/>
              <a:gd name="T36" fmla="*/ 1048 w 1220"/>
              <a:gd name="T37" fmla="*/ 814 h 1063"/>
              <a:gd name="T38" fmla="*/ 1173 w 1220"/>
              <a:gd name="T39" fmla="*/ 689 h 1063"/>
              <a:gd name="T40" fmla="*/ 1084 w 1220"/>
              <a:gd name="T41" fmla="*/ 570 h 1063"/>
              <a:gd name="T42" fmla="*/ 1108 w 1220"/>
              <a:gd name="T43" fmla="*/ 327 h 1063"/>
              <a:gd name="T44" fmla="*/ 1220 w 1220"/>
              <a:gd name="T45" fmla="*/ 204 h 1063"/>
              <a:gd name="T46" fmla="*/ 521 w 1220"/>
              <a:gd name="T47" fmla="*/ 594 h 1063"/>
              <a:gd name="T48" fmla="*/ 493 w 1220"/>
              <a:gd name="T49" fmla="*/ 245 h 1063"/>
              <a:gd name="T50" fmla="*/ 535 w 1220"/>
              <a:gd name="T51" fmla="*/ 226 h 1063"/>
              <a:gd name="T52" fmla="*/ 944 w 1220"/>
              <a:gd name="T53" fmla="*/ 621 h 1063"/>
              <a:gd name="T54" fmla="*/ 930 w 1220"/>
              <a:gd name="T55" fmla="*/ 649 h 1063"/>
              <a:gd name="T56" fmla="*/ 521 w 1220"/>
              <a:gd name="T57" fmla="*/ 594 h 1063"/>
              <a:gd name="T58" fmla="*/ 490 w 1220"/>
              <a:gd name="T59" fmla="*/ 818 h 1063"/>
              <a:gd name="T60" fmla="*/ 449 w 1220"/>
              <a:gd name="T61" fmla="*/ 837 h 1063"/>
              <a:gd name="T62" fmla="*/ 230 w 1220"/>
              <a:gd name="T63" fmla="*/ 631 h 1063"/>
              <a:gd name="T64" fmla="*/ 242 w 1220"/>
              <a:gd name="T65" fmla="*/ 605 h 1063"/>
              <a:gd name="T66" fmla="*/ 476 w 1220"/>
              <a:gd name="T67" fmla="*/ 636 h 1063"/>
              <a:gd name="T68" fmla="*/ 490 w 1220"/>
              <a:gd name="T69" fmla="*/ 818 h 1063"/>
              <a:gd name="T70" fmla="*/ 249 w 1220"/>
              <a:gd name="T71" fmla="*/ 558 h 1063"/>
              <a:gd name="T72" fmla="*/ 218 w 1220"/>
              <a:gd name="T73" fmla="*/ 482 h 1063"/>
              <a:gd name="T74" fmla="*/ 408 w 1220"/>
              <a:gd name="T75" fmla="*/ 235 h 1063"/>
              <a:gd name="T76" fmla="*/ 445 w 1220"/>
              <a:gd name="T77" fmla="*/ 247 h 1063"/>
              <a:gd name="T78" fmla="*/ 472 w 1220"/>
              <a:gd name="T79" fmla="*/ 587 h 1063"/>
              <a:gd name="T80" fmla="*/ 249 w 1220"/>
              <a:gd name="T81" fmla="*/ 558 h 1063"/>
              <a:gd name="T82" fmla="*/ 977 w 1220"/>
              <a:gd name="T83" fmla="*/ 587 h 1063"/>
              <a:gd name="T84" fmla="*/ 569 w 1220"/>
              <a:gd name="T85" fmla="*/ 192 h 1063"/>
              <a:gd name="T86" fmla="*/ 583 w 1220"/>
              <a:gd name="T87" fmla="*/ 163 h 1063"/>
              <a:gd name="T88" fmla="*/ 972 w 1220"/>
              <a:gd name="T89" fmla="*/ 212 h 1063"/>
              <a:gd name="T90" fmla="*/ 1060 w 1220"/>
              <a:gd name="T91" fmla="*/ 323 h 1063"/>
              <a:gd name="T92" fmla="*/ 1036 w 1220"/>
              <a:gd name="T93" fmla="*/ 566 h 1063"/>
              <a:gd name="T94" fmla="*/ 977 w 1220"/>
              <a:gd name="T95" fmla="*/ 587 h 1063"/>
              <a:gd name="T96" fmla="*/ 621 w 1220"/>
              <a:gd name="T97" fmla="*/ 864 h 1063"/>
              <a:gd name="T98" fmla="*/ 538 w 1220"/>
              <a:gd name="T99" fmla="*/ 815 h 1063"/>
              <a:gd name="T100" fmla="*/ 524 w 1220"/>
              <a:gd name="T101" fmla="*/ 643 h 1063"/>
              <a:gd name="T102" fmla="*/ 924 w 1220"/>
              <a:gd name="T103" fmla="*/ 696 h 1063"/>
              <a:gd name="T104" fmla="*/ 927 w 1220"/>
              <a:gd name="T105" fmla="*/ 720 h 1063"/>
              <a:gd name="T106" fmla="*/ 621 w 1220"/>
              <a:gd name="T107" fmla="*/ 864 h 10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220" h="1063">
                <a:moveTo>
                  <a:pt x="1220" y="204"/>
                </a:moveTo>
                <a:cubicBezTo>
                  <a:pt x="1220" y="135"/>
                  <a:pt x="1164" y="79"/>
                  <a:pt x="1096" y="79"/>
                </a:cubicBezTo>
                <a:cubicBezTo>
                  <a:pt x="1041" y="79"/>
                  <a:pt x="994" y="115"/>
                  <a:pt x="978" y="164"/>
                </a:cubicBezTo>
                <a:cubicBezTo>
                  <a:pt x="589" y="115"/>
                  <a:pt x="589" y="115"/>
                  <a:pt x="589" y="115"/>
                </a:cubicBezTo>
                <a:cubicBezTo>
                  <a:pt x="584" y="51"/>
                  <a:pt x="530" y="0"/>
                  <a:pt x="465" y="0"/>
                </a:cubicBezTo>
                <a:cubicBezTo>
                  <a:pt x="396" y="0"/>
                  <a:pt x="340" y="55"/>
                  <a:pt x="340" y="124"/>
                </a:cubicBezTo>
                <a:cubicBezTo>
                  <a:pt x="340" y="155"/>
                  <a:pt x="352" y="183"/>
                  <a:pt x="370" y="205"/>
                </a:cubicBezTo>
                <a:cubicBezTo>
                  <a:pt x="180" y="453"/>
                  <a:pt x="180" y="453"/>
                  <a:pt x="180" y="453"/>
                </a:cubicBezTo>
                <a:cubicBezTo>
                  <a:pt x="163" y="445"/>
                  <a:pt x="145" y="440"/>
                  <a:pt x="125" y="440"/>
                </a:cubicBezTo>
                <a:cubicBezTo>
                  <a:pt x="56" y="440"/>
                  <a:pt x="0" y="496"/>
                  <a:pt x="0" y="564"/>
                </a:cubicBezTo>
                <a:cubicBezTo>
                  <a:pt x="0" y="633"/>
                  <a:pt x="56" y="689"/>
                  <a:pt x="125" y="689"/>
                </a:cubicBezTo>
                <a:cubicBezTo>
                  <a:pt x="152" y="689"/>
                  <a:pt x="177" y="680"/>
                  <a:pt x="197" y="666"/>
                </a:cubicBezTo>
                <a:cubicBezTo>
                  <a:pt x="416" y="872"/>
                  <a:pt x="416" y="872"/>
                  <a:pt x="416" y="872"/>
                </a:cubicBezTo>
                <a:cubicBezTo>
                  <a:pt x="404" y="891"/>
                  <a:pt x="397" y="914"/>
                  <a:pt x="397" y="938"/>
                </a:cubicBezTo>
                <a:cubicBezTo>
                  <a:pt x="397" y="1007"/>
                  <a:pt x="453" y="1063"/>
                  <a:pt x="521" y="1063"/>
                </a:cubicBezTo>
                <a:cubicBezTo>
                  <a:pt x="590" y="1063"/>
                  <a:pt x="646" y="1007"/>
                  <a:pt x="646" y="938"/>
                </a:cubicBezTo>
                <a:cubicBezTo>
                  <a:pt x="646" y="928"/>
                  <a:pt x="644" y="918"/>
                  <a:pt x="642" y="908"/>
                </a:cubicBezTo>
                <a:cubicBezTo>
                  <a:pt x="948" y="763"/>
                  <a:pt x="948" y="763"/>
                  <a:pt x="948" y="763"/>
                </a:cubicBezTo>
                <a:cubicBezTo>
                  <a:pt x="970" y="794"/>
                  <a:pt x="1007" y="814"/>
                  <a:pt x="1048" y="814"/>
                </a:cubicBezTo>
                <a:cubicBezTo>
                  <a:pt x="1117" y="814"/>
                  <a:pt x="1173" y="758"/>
                  <a:pt x="1173" y="689"/>
                </a:cubicBezTo>
                <a:cubicBezTo>
                  <a:pt x="1173" y="633"/>
                  <a:pt x="1135" y="586"/>
                  <a:pt x="1084" y="570"/>
                </a:cubicBezTo>
                <a:cubicBezTo>
                  <a:pt x="1108" y="327"/>
                  <a:pt x="1108" y="327"/>
                  <a:pt x="1108" y="327"/>
                </a:cubicBezTo>
                <a:cubicBezTo>
                  <a:pt x="1171" y="321"/>
                  <a:pt x="1220" y="268"/>
                  <a:pt x="1220" y="204"/>
                </a:cubicBezTo>
                <a:close/>
                <a:moveTo>
                  <a:pt x="521" y="594"/>
                </a:moveTo>
                <a:cubicBezTo>
                  <a:pt x="493" y="245"/>
                  <a:pt x="493" y="245"/>
                  <a:pt x="493" y="245"/>
                </a:cubicBezTo>
                <a:cubicBezTo>
                  <a:pt x="509" y="241"/>
                  <a:pt x="523" y="235"/>
                  <a:pt x="535" y="226"/>
                </a:cubicBezTo>
                <a:cubicBezTo>
                  <a:pt x="944" y="621"/>
                  <a:pt x="944" y="621"/>
                  <a:pt x="944" y="621"/>
                </a:cubicBezTo>
                <a:cubicBezTo>
                  <a:pt x="938" y="630"/>
                  <a:pt x="934" y="639"/>
                  <a:pt x="930" y="649"/>
                </a:cubicBezTo>
                <a:lnTo>
                  <a:pt x="521" y="594"/>
                </a:lnTo>
                <a:close/>
                <a:moveTo>
                  <a:pt x="490" y="818"/>
                </a:moveTo>
                <a:cubicBezTo>
                  <a:pt x="475" y="822"/>
                  <a:pt x="461" y="828"/>
                  <a:pt x="449" y="837"/>
                </a:cubicBezTo>
                <a:cubicBezTo>
                  <a:pt x="230" y="631"/>
                  <a:pt x="230" y="631"/>
                  <a:pt x="230" y="631"/>
                </a:cubicBezTo>
                <a:cubicBezTo>
                  <a:pt x="235" y="623"/>
                  <a:pt x="239" y="614"/>
                  <a:pt x="242" y="605"/>
                </a:cubicBezTo>
                <a:cubicBezTo>
                  <a:pt x="476" y="636"/>
                  <a:pt x="476" y="636"/>
                  <a:pt x="476" y="636"/>
                </a:cubicBezTo>
                <a:lnTo>
                  <a:pt x="490" y="818"/>
                </a:lnTo>
                <a:close/>
                <a:moveTo>
                  <a:pt x="249" y="558"/>
                </a:moveTo>
                <a:cubicBezTo>
                  <a:pt x="247" y="529"/>
                  <a:pt x="236" y="502"/>
                  <a:pt x="218" y="482"/>
                </a:cubicBezTo>
                <a:cubicBezTo>
                  <a:pt x="408" y="235"/>
                  <a:pt x="408" y="235"/>
                  <a:pt x="408" y="235"/>
                </a:cubicBezTo>
                <a:cubicBezTo>
                  <a:pt x="420" y="241"/>
                  <a:pt x="432" y="245"/>
                  <a:pt x="445" y="247"/>
                </a:cubicBezTo>
                <a:cubicBezTo>
                  <a:pt x="472" y="587"/>
                  <a:pt x="472" y="587"/>
                  <a:pt x="472" y="587"/>
                </a:cubicBezTo>
                <a:lnTo>
                  <a:pt x="249" y="558"/>
                </a:lnTo>
                <a:close/>
                <a:moveTo>
                  <a:pt x="977" y="587"/>
                </a:moveTo>
                <a:cubicBezTo>
                  <a:pt x="569" y="192"/>
                  <a:pt x="569" y="192"/>
                  <a:pt x="569" y="192"/>
                </a:cubicBezTo>
                <a:cubicBezTo>
                  <a:pt x="575" y="183"/>
                  <a:pt x="579" y="173"/>
                  <a:pt x="583" y="163"/>
                </a:cubicBezTo>
                <a:cubicBezTo>
                  <a:pt x="972" y="212"/>
                  <a:pt x="972" y="212"/>
                  <a:pt x="972" y="212"/>
                </a:cubicBezTo>
                <a:cubicBezTo>
                  <a:pt x="975" y="265"/>
                  <a:pt x="1011" y="308"/>
                  <a:pt x="1060" y="323"/>
                </a:cubicBezTo>
                <a:cubicBezTo>
                  <a:pt x="1036" y="566"/>
                  <a:pt x="1036" y="566"/>
                  <a:pt x="1036" y="566"/>
                </a:cubicBezTo>
                <a:cubicBezTo>
                  <a:pt x="1015" y="568"/>
                  <a:pt x="994" y="575"/>
                  <a:pt x="977" y="587"/>
                </a:cubicBezTo>
                <a:close/>
                <a:moveTo>
                  <a:pt x="621" y="864"/>
                </a:moveTo>
                <a:cubicBezTo>
                  <a:pt x="602" y="838"/>
                  <a:pt x="572" y="819"/>
                  <a:pt x="538" y="815"/>
                </a:cubicBezTo>
                <a:cubicBezTo>
                  <a:pt x="524" y="643"/>
                  <a:pt x="524" y="643"/>
                  <a:pt x="524" y="643"/>
                </a:cubicBezTo>
                <a:cubicBezTo>
                  <a:pt x="924" y="696"/>
                  <a:pt x="924" y="696"/>
                  <a:pt x="924" y="696"/>
                </a:cubicBezTo>
                <a:cubicBezTo>
                  <a:pt x="924" y="704"/>
                  <a:pt x="925" y="712"/>
                  <a:pt x="927" y="720"/>
                </a:cubicBezTo>
                <a:lnTo>
                  <a:pt x="621" y="864"/>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1177" tIns="56942" rIns="71177" bIns="56942" numCol="1" spcCol="0" rtlCol="0" fromWordArt="0" anchor="t" anchorCtr="0" forceAA="0" compatLnSpc="1">
            <a:prstTxWarp prst="textNoShape">
              <a:avLst/>
            </a:prstTxWarp>
            <a:noAutofit/>
          </a:bodyPr>
          <a:lstStyle/>
          <a:p>
            <a:pPr algn="ctr" defTabSz="362895" fontAlgn="base">
              <a:lnSpc>
                <a:spcPct val="90000"/>
              </a:lnSpc>
              <a:spcBef>
                <a:spcPct val="0"/>
              </a:spcBef>
              <a:spcAft>
                <a:spcPct val="0"/>
              </a:spcAft>
            </a:pPr>
            <a:endParaRPr lang="en-US" sz="934">
              <a:gradFill>
                <a:gsLst>
                  <a:gs pos="0">
                    <a:srgbClr val="FFFFFF"/>
                  </a:gs>
                  <a:gs pos="100000">
                    <a:srgbClr val="FFFFFF"/>
                  </a:gs>
                </a:gsLst>
                <a:lin ang="5400000" scaled="0"/>
              </a:gradFill>
              <a:ea typeface="Segoe UI" pitchFamily="34" charset="0"/>
              <a:cs typeface="Segoe UI" pitchFamily="34" charset="0"/>
            </a:endParaRPr>
          </a:p>
        </p:txBody>
      </p:sp>
      <p:sp>
        <p:nvSpPr>
          <p:cNvPr id="71" name="Freeform 70"/>
          <p:cNvSpPr>
            <a:spLocks noChangeAspect="1"/>
          </p:cNvSpPr>
          <p:nvPr/>
        </p:nvSpPr>
        <p:spPr bwMode="black">
          <a:xfrm>
            <a:off x="242762" y="5803220"/>
            <a:ext cx="365760" cy="320928"/>
          </a:xfrm>
          <a:custGeom>
            <a:avLst/>
            <a:gdLst/>
            <a:ahLst/>
            <a:cxnLst/>
            <a:rect l="l" t="t" r="r" b="b"/>
            <a:pathLst>
              <a:path w="4740335" h="4048081">
                <a:moveTo>
                  <a:pt x="3683614" y="1098549"/>
                </a:moveTo>
                <a:cubicBezTo>
                  <a:pt x="3683654" y="1098549"/>
                  <a:pt x="3689354" y="1098549"/>
                  <a:pt x="4502870" y="1098549"/>
                </a:cubicBezTo>
                <a:cubicBezTo>
                  <a:pt x="4633477" y="1098549"/>
                  <a:pt x="4740335" y="1205183"/>
                  <a:pt x="4740335" y="1335514"/>
                </a:cubicBezTo>
                <a:cubicBezTo>
                  <a:pt x="4740335" y="1335569"/>
                  <a:pt x="4740335" y="1343335"/>
                  <a:pt x="4740335" y="2449249"/>
                </a:cubicBezTo>
                <a:cubicBezTo>
                  <a:pt x="4740335" y="2579580"/>
                  <a:pt x="4633477" y="2686214"/>
                  <a:pt x="4502870" y="2686214"/>
                </a:cubicBezTo>
                <a:cubicBezTo>
                  <a:pt x="4502870" y="2686253"/>
                  <a:pt x="4502870" y="2691777"/>
                  <a:pt x="4502870" y="3480046"/>
                </a:cubicBezTo>
                <a:cubicBezTo>
                  <a:pt x="4502870" y="3610377"/>
                  <a:pt x="4396011" y="3717011"/>
                  <a:pt x="4265405" y="3717011"/>
                </a:cubicBezTo>
                <a:cubicBezTo>
                  <a:pt x="4265376" y="3717011"/>
                  <a:pt x="4262133" y="3717011"/>
                  <a:pt x="3909206" y="3717011"/>
                </a:cubicBezTo>
                <a:cubicBezTo>
                  <a:pt x="3790473" y="3717011"/>
                  <a:pt x="3683614" y="3610377"/>
                  <a:pt x="3683614" y="3480046"/>
                </a:cubicBezTo>
                <a:cubicBezTo>
                  <a:pt x="3683614" y="3480010"/>
                  <a:pt x="3683614" y="3474701"/>
                  <a:pt x="3683614" y="2686214"/>
                </a:cubicBezTo>
                <a:cubicBezTo>
                  <a:pt x="3553008" y="2686214"/>
                  <a:pt x="3446148" y="2579580"/>
                  <a:pt x="3446148" y="2449249"/>
                </a:cubicBezTo>
                <a:cubicBezTo>
                  <a:pt x="3446148" y="2449192"/>
                  <a:pt x="3446148" y="2441288"/>
                  <a:pt x="3446148" y="1335514"/>
                </a:cubicBezTo>
                <a:cubicBezTo>
                  <a:pt x="3446148" y="1205183"/>
                  <a:pt x="3553008" y="1098549"/>
                  <a:pt x="3683614" y="1098549"/>
                </a:cubicBezTo>
                <a:close/>
                <a:moveTo>
                  <a:pt x="236546" y="1098549"/>
                </a:moveTo>
                <a:cubicBezTo>
                  <a:pt x="236570" y="1098549"/>
                  <a:pt x="240947" y="1098549"/>
                  <a:pt x="1052628" y="1098549"/>
                </a:cubicBezTo>
                <a:cubicBezTo>
                  <a:pt x="1182728" y="1098549"/>
                  <a:pt x="1289174" y="1205183"/>
                  <a:pt x="1289174" y="1335514"/>
                </a:cubicBezTo>
                <a:cubicBezTo>
                  <a:pt x="1289174" y="1335532"/>
                  <a:pt x="1289174" y="1340039"/>
                  <a:pt x="1289174" y="2449249"/>
                </a:cubicBezTo>
                <a:cubicBezTo>
                  <a:pt x="1289174" y="2579580"/>
                  <a:pt x="1182728" y="2686214"/>
                  <a:pt x="1052628" y="2686214"/>
                </a:cubicBezTo>
                <a:cubicBezTo>
                  <a:pt x="1052628" y="2686235"/>
                  <a:pt x="1052628" y="2690268"/>
                  <a:pt x="1052628" y="3480046"/>
                </a:cubicBezTo>
                <a:cubicBezTo>
                  <a:pt x="1052628" y="3610377"/>
                  <a:pt x="946183" y="3717011"/>
                  <a:pt x="827910" y="3717011"/>
                </a:cubicBezTo>
                <a:cubicBezTo>
                  <a:pt x="827894" y="3717011"/>
                  <a:pt x="825508" y="3717011"/>
                  <a:pt x="473091" y="3717011"/>
                </a:cubicBezTo>
                <a:cubicBezTo>
                  <a:pt x="342991" y="3717011"/>
                  <a:pt x="236546" y="3610377"/>
                  <a:pt x="236546" y="3480046"/>
                </a:cubicBezTo>
                <a:cubicBezTo>
                  <a:pt x="236546" y="3480026"/>
                  <a:pt x="236546" y="3476021"/>
                  <a:pt x="236546" y="2686214"/>
                </a:cubicBezTo>
                <a:cubicBezTo>
                  <a:pt x="106446" y="2686214"/>
                  <a:pt x="0" y="2579580"/>
                  <a:pt x="0" y="2449249"/>
                </a:cubicBezTo>
                <a:cubicBezTo>
                  <a:pt x="0" y="2449230"/>
                  <a:pt x="0" y="2444630"/>
                  <a:pt x="0" y="1335514"/>
                </a:cubicBezTo>
                <a:cubicBezTo>
                  <a:pt x="0" y="1205183"/>
                  <a:pt x="106446" y="1098549"/>
                  <a:pt x="236546" y="1098549"/>
                </a:cubicBezTo>
                <a:close/>
                <a:moveTo>
                  <a:pt x="1895194" y="993211"/>
                </a:moveTo>
                <a:cubicBezTo>
                  <a:pt x="1895245" y="993211"/>
                  <a:pt x="1902161" y="993211"/>
                  <a:pt x="2845141" y="993211"/>
                </a:cubicBezTo>
                <a:cubicBezTo>
                  <a:pt x="2999507" y="993211"/>
                  <a:pt x="3130125" y="1123457"/>
                  <a:pt x="3130125" y="1277385"/>
                </a:cubicBezTo>
                <a:cubicBezTo>
                  <a:pt x="3130125" y="1277420"/>
                  <a:pt x="3130125" y="1284134"/>
                  <a:pt x="3130125" y="2568008"/>
                </a:cubicBezTo>
                <a:cubicBezTo>
                  <a:pt x="3130125" y="2721936"/>
                  <a:pt x="2999507" y="2852182"/>
                  <a:pt x="2845141" y="2852182"/>
                </a:cubicBezTo>
                <a:cubicBezTo>
                  <a:pt x="2845141" y="2852231"/>
                  <a:pt x="2845141" y="2858826"/>
                  <a:pt x="2845141" y="3763907"/>
                </a:cubicBezTo>
                <a:cubicBezTo>
                  <a:pt x="2845141" y="3917835"/>
                  <a:pt x="2726398" y="4048081"/>
                  <a:pt x="2572031" y="4048081"/>
                </a:cubicBezTo>
                <a:cubicBezTo>
                  <a:pt x="2571992" y="4048081"/>
                  <a:pt x="2568051" y="4048081"/>
                  <a:pt x="2168304" y="4048081"/>
                </a:cubicBezTo>
                <a:cubicBezTo>
                  <a:pt x="2013937" y="4048081"/>
                  <a:pt x="1895194" y="3917835"/>
                  <a:pt x="1895194" y="3763907"/>
                </a:cubicBezTo>
                <a:cubicBezTo>
                  <a:pt x="1895194" y="3763858"/>
                  <a:pt x="1895194" y="3757193"/>
                  <a:pt x="1895194" y="2852182"/>
                </a:cubicBezTo>
                <a:cubicBezTo>
                  <a:pt x="1740828" y="2852182"/>
                  <a:pt x="1610210" y="2721936"/>
                  <a:pt x="1610210" y="2568008"/>
                </a:cubicBezTo>
                <a:cubicBezTo>
                  <a:pt x="1610210" y="2567966"/>
                  <a:pt x="1610210" y="2560581"/>
                  <a:pt x="1610210" y="1277385"/>
                </a:cubicBezTo>
                <a:cubicBezTo>
                  <a:pt x="1610210" y="1123457"/>
                  <a:pt x="1740828" y="993211"/>
                  <a:pt x="1895194" y="993211"/>
                </a:cubicBezTo>
                <a:close/>
                <a:moveTo>
                  <a:pt x="4093246" y="245790"/>
                </a:moveTo>
                <a:cubicBezTo>
                  <a:pt x="4306565" y="245790"/>
                  <a:pt x="4479495" y="420965"/>
                  <a:pt x="4479495" y="637055"/>
                </a:cubicBezTo>
                <a:cubicBezTo>
                  <a:pt x="4479495" y="853145"/>
                  <a:pt x="4306565" y="1028320"/>
                  <a:pt x="4093246" y="1028320"/>
                </a:cubicBezTo>
                <a:cubicBezTo>
                  <a:pt x="3879927" y="1028320"/>
                  <a:pt x="3706997" y="853145"/>
                  <a:pt x="3706997" y="637055"/>
                </a:cubicBezTo>
                <a:cubicBezTo>
                  <a:pt x="3706997" y="420965"/>
                  <a:pt x="3879927" y="245790"/>
                  <a:pt x="4093246" y="245790"/>
                </a:cubicBezTo>
                <a:close/>
                <a:moveTo>
                  <a:pt x="644584" y="245790"/>
                </a:moveTo>
                <a:cubicBezTo>
                  <a:pt x="856519" y="245790"/>
                  <a:pt x="1028326" y="420965"/>
                  <a:pt x="1028326" y="637055"/>
                </a:cubicBezTo>
                <a:cubicBezTo>
                  <a:pt x="1028326" y="853145"/>
                  <a:pt x="856519" y="1028320"/>
                  <a:pt x="644584" y="1028320"/>
                </a:cubicBezTo>
                <a:cubicBezTo>
                  <a:pt x="432649" y="1028320"/>
                  <a:pt x="260842" y="853145"/>
                  <a:pt x="260842" y="637055"/>
                </a:cubicBezTo>
                <a:cubicBezTo>
                  <a:pt x="260842" y="420965"/>
                  <a:pt x="432649" y="245790"/>
                  <a:pt x="644584" y="245790"/>
                </a:cubicBezTo>
                <a:close/>
                <a:moveTo>
                  <a:pt x="2367657" y="0"/>
                </a:moveTo>
                <a:cubicBezTo>
                  <a:pt x="2616992" y="0"/>
                  <a:pt x="2819118" y="203249"/>
                  <a:pt x="2819118" y="453969"/>
                </a:cubicBezTo>
                <a:cubicBezTo>
                  <a:pt x="2819118" y="704689"/>
                  <a:pt x="2616992" y="907938"/>
                  <a:pt x="2367657" y="907938"/>
                </a:cubicBezTo>
                <a:cubicBezTo>
                  <a:pt x="2118322" y="907938"/>
                  <a:pt x="1916196" y="704689"/>
                  <a:pt x="1916196" y="453969"/>
                </a:cubicBezTo>
                <a:cubicBezTo>
                  <a:pt x="1916196" y="203249"/>
                  <a:pt x="2118322" y="0"/>
                  <a:pt x="2367657"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37148" tIns="109719" rIns="137148" bIns="109719"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699261" fontAlgn="base">
              <a:lnSpc>
                <a:spcPct val="90000"/>
              </a:lnSpc>
              <a:spcBef>
                <a:spcPct val="0"/>
              </a:spcBef>
              <a:spcAft>
                <a:spcPct val="0"/>
              </a:spcAft>
            </a:pPr>
            <a:endParaRPr lang="en-US">
              <a:gradFill>
                <a:gsLst>
                  <a:gs pos="0">
                    <a:srgbClr val="FFFFFF"/>
                  </a:gs>
                  <a:gs pos="100000">
                    <a:srgbClr val="FFFFFF"/>
                  </a:gs>
                </a:gsLst>
                <a:lin ang="5400000" scaled="0"/>
              </a:gradFill>
              <a:ea typeface="Segoe UI" pitchFamily="34" charset="0"/>
              <a:cs typeface="Segoe UI" pitchFamily="34" charset="0"/>
            </a:endParaRPr>
          </a:p>
        </p:txBody>
      </p:sp>
      <p:sp>
        <p:nvSpPr>
          <p:cNvPr id="73" name="Rectangle 72"/>
          <p:cNvSpPr/>
          <p:nvPr/>
        </p:nvSpPr>
        <p:spPr bwMode="auto">
          <a:xfrm>
            <a:off x="-1464" y="2637201"/>
            <a:ext cx="2816907" cy="4220799"/>
          </a:xfrm>
          <a:prstGeom prst="rect">
            <a:avLst/>
          </a:prstGeom>
          <a:solidFill>
            <a:schemeClr val="tx1">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74" name="Rectangle 73"/>
          <p:cNvSpPr/>
          <p:nvPr/>
        </p:nvSpPr>
        <p:spPr bwMode="auto">
          <a:xfrm>
            <a:off x="0" y="657643"/>
            <a:ext cx="2787733" cy="874445"/>
          </a:xfrm>
          <a:prstGeom prst="rect">
            <a:avLst/>
          </a:prstGeom>
          <a:solidFill>
            <a:schemeClr val="tx1">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99" name="Rectangle 98"/>
          <p:cNvSpPr/>
          <p:nvPr/>
        </p:nvSpPr>
        <p:spPr>
          <a:xfrm>
            <a:off x="7425897" y="6238004"/>
            <a:ext cx="4766103" cy="307777"/>
          </a:xfrm>
          <a:prstGeom prst="rect">
            <a:avLst/>
          </a:prstGeom>
        </p:spPr>
        <p:txBody>
          <a:bodyPr wrap="square">
            <a:spAutoFit/>
          </a:bodyPr>
          <a:lstStyle/>
          <a:p>
            <a:pPr fontAlgn="base">
              <a:spcBef>
                <a:spcPts val="600"/>
              </a:spcBef>
              <a:spcAft>
                <a:spcPts val="600"/>
              </a:spcAft>
            </a:pPr>
            <a:r>
              <a:rPr lang="en-US" sz="1400">
                <a:solidFill>
                  <a:schemeClr val="bg2">
                    <a:lumMod val="75000"/>
                  </a:schemeClr>
                </a:solidFill>
              </a:rPr>
              <a:t>Please refer to powerbi.com</a:t>
            </a:r>
            <a:r>
              <a:rPr lang="en-US" sz="1400">
                <a:solidFill>
                  <a:schemeClr val="bg2">
                    <a:lumMod val="75000"/>
                  </a:schemeClr>
                </a:solidFill>
                <a:hlinkClick r:id="rId5"/>
              </a:rPr>
              <a:t> </a:t>
            </a:r>
            <a:r>
              <a:rPr lang="en-US" sz="1400">
                <a:solidFill>
                  <a:schemeClr val="bg2">
                    <a:lumMod val="75000"/>
                  </a:schemeClr>
                </a:solidFill>
              </a:rPr>
              <a:t>for latest list of SaaS partners</a:t>
            </a:r>
            <a:endParaRPr lang="en-US" sz="1400">
              <a:solidFill>
                <a:schemeClr val="bg2">
                  <a:lumMod val="75000"/>
                </a:schemeClr>
              </a:solidFill>
              <a:ea typeface="Calibri" panose="020F0502020204030204" pitchFamily="34" charset="0"/>
              <a:cs typeface="Times New Roman" panose="02020603050405020304" pitchFamily="18" charset="0"/>
            </a:endParaRPr>
          </a:p>
        </p:txBody>
      </p:sp>
      <p:pic>
        <p:nvPicPr>
          <p:cNvPr id="66" name="Picture 65"/>
          <p:cNvPicPr>
            <a:picLocks noChangeAspect="1"/>
          </p:cNvPicPr>
          <p:nvPr/>
        </p:nvPicPr>
        <p:blipFill>
          <a:blip r:embed="rId6"/>
          <a:stretch>
            <a:fillRect/>
          </a:stretch>
        </p:blipFill>
        <p:spPr>
          <a:xfrm>
            <a:off x="7751548" y="2141091"/>
            <a:ext cx="4114800" cy="2242606"/>
          </a:xfrm>
          <a:prstGeom prst="rect">
            <a:avLst/>
          </a:prstGeom>
          <a:ln>
            <a:solidFill>
              <a:schemeClr val="tx2">
                <a:lumMod val="20000"/>
                <a:lumOff val="80000"/>
              </a:schemeClr>
            </a:solidFill>
          </a:ln>
        </p:spPr>
      </p:pic>
    </p:spTree>
    <p:extLst>
      <p:ext uri="{BB962C8B-B14F-4D97-AF65-F5344CB8AC3E}">
        <p14:creationId xmlns:p14="http://schemas.microsoft.com/office/powerpoint/2010/main" val="25252876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66"/>
                                        </p:tgtEl>
                                        <p:attrNameLst>
                                          <p:attrName>style.visibility</p:attrName>
                                        </p:attrNameLst>
                                      </p:cBhvr>
                                      <p:to>
                                        <p:strVal val="visible"/>
                                      </p:to>
                                    </p:set>
                                    <p:animEffect transition="in" filter="fade">
                                      <p:cBhvr>
                                        <p:cTn id="7" dur="500"/>
                                        <p:tgtEl>
                                          <p:spTgt spid="66"/>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xit" presetSubtype="0" fill="hold" nodeType="clickEffect">
                                  <p:stCondLst>
                                    <p:cond delay="0"/>
                                  </p:stCondLst>
                                  <p:childTnLst>
                                    <p:animEffect transition="out" filter="fade">
                                      <p:cBhvr>
                                        <p:cTn id="11" dur="500"/>
                                        <p:tgtEl>
                                          <p:spTgt spid="66"/>
                                        </p:tgtEl>
                                      </p:cBhvr>
                                    </p:animEffect>
                                    <p:set>
                                      <p:cBhvr>
                                        <p:cTn id="12" dur="1" fill="hold">
                                          <p:stCondLst>
                                            <p:cond delay="499"/>
                                          </p:stCondLst>
                                        </p:cTn>
                                        <p:tgtEl>
                                          <p:spTgt spid="66"/>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 name="Title 10"/>
          <p:cNvSpPr txBox="1">
            <a:spLocks/>
          </p:cNvSpPr>
          <p:nvPr/>
        </p:nvSpPr>
        <p:spPr>
          <a:xfrm>
            <a:off x="2849060" y="0"/>
            <a:ext cx="9342940" cy="665151"/>
          </a:xfrm>
          <a:prstGeom prst="rect">
            <a:avLst/>
          </a:prstGeom>
          <a:noFill/>
        </p:spPr>
        <p:txBody>
          <a:bodyPr vert="horz" wrap="square" lIns="0" tIns="91440" rIns="0" bIns="91440" rtlCol="0" anchor="t">
            <a:noAutofit/>
          </a:bodyPr>
          <a:lstStyle>
            <a:lvl1pPr defTabSz="914367">
              <a:lnSpc>
                <a:spcPct val="90000"/>
              </a:lnSpc>
              <a:spcBef>
                <a:spcPct val="0"/>
              </a:spcBef>
              <a:buNone/>
              <a:defRPr lang="en-US" sz="5294" b="0" cap="none" spc="-100" baseline="0" dirty="0" smtClean="0">
                <a:ln w="3175">
                  <a:noFill/>
                </a:ln>
                <a:solidFill>
                  <a:schemeClr val="tx2"/>
                </a:solidFill>
                <a:effectLst/>
                <a:latin typeface="+mj-lt"/>
                <a:cs typeface="Segoe UI" pitchFamily="34" charset="0"/>
              </a:defRPr>
            </a:lvl1pPr>
          </a:lstStyle>
          <a:p>
            <a:pPr marL="168275" marR="0" lvl="0" indent="0" algn="l" defTabSz="914367" rtl="0" eaLnBrk="1" fontAlgn="auto" latinLnBrk="0" hangingPunct="1">
              <a:lnSpc>
                <a:spcPct val="90000"/>
              </a:lnSpc>
              <a:spcBef>
                <a:spcPct val="0"/>
              </a:spcBef>
              <a:spcAft>
                <a:spcPts val="0"/>
              </a:spcAft>
              <a:buClrTx/>
              <a:buSzTx/>
              <a:buFontTx/>
              <a:buNone/>
              <a:tabLst/>
              <a:defRPr/>
            </a:pPr>
            <a:r>
              <a:rPr kumimoji="0" lang="en-US" sz="3600" b="0" i="0" u="none" strike="noStrike" kern="1200" cap="none" spc="-100" normalizeH="0" baseline="0" noProof="0">
                <a:ln w="3175">
                  <a:noFill/>
                </a:ln>
                <a:solidFill>
                  <a:prstClr val="black"/>
                </a:solidFill>
                <a:effectLst/>
                <a:uLnTx/>
                <a:uFillTx/>
                <a:latin typeface="Segoe UI Light"/>
                <a:ea typeface="+mn-ea"/>
                <a:cs typeface="Segoe UI" pitchFamily="34" charset="0"/>
              </a:rPr>
              <a:t>Get Data</a:t>
            </a:r>
            <a:endParaRPr kumimoji="0" lang="en-IN" sz="3600" b="0" i="0" u="none" strike="noStrike" kern="1200" cap="none" spc="-100" normalizeH="0" baseline="0" noProof="0">
              <a:ln w="3175">
                <a:noFill/>
              </a:ln>
              <a:solidFill>
                <a:prstClr val="black"/>
              </a:solidFill>
              <a:effectLst/>
              <a:uLnTx/>
              <a:uFillTx/>
              <a:latin typeface="Segoe UI Light"/>
              <a:ea typeface="+mn-ea"/>
              <a:cs typeface="Segoe UI" pitchFamily="34" charset="0"/>
            </a:endParaRPr>
          </a:p>
        </p:txBody>
      </p:sp>
      <p:sp>
        <p:nvSpPr>
          <p:cNvPr id="40" name="Text Placeholder 2"/>
          <p:cNvSpPr txBox="1">
            <a:spLocks/>
          </p:cNvSpPr>
          <p:nvPr/>
        </p:nvSpPr>
        <p:spPr>
          <a:xfrm>
            <a:off x="2846171" y="1340643"/>
            <a:ext cx="4838783" cy="897374"/>
          </a:xfrm>
          <a:prstGeom prst="rect">
            <a:avLst/>
          </a:prstGeom>
        </p:spPr>
        <p:txBody>
          <a:bodyPr vert="horz" wrap="square" lIns="182880" tIns="146304" rIns="182880" bIns="146304" rtlCol="0">
            <a:noAutofit/>
          </a:bodyPr>
          <a:lstStyle>
            <a:lvl1pPr marL="182845" marR="0"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3921" kern="1200" spc="0" baseline="0">
                <a:gradFill>
                  <a:gsLst>
                    <a:gs pos="1250">
                      <a:schemeClr val="tx2"/>
                    </a:gs>
                    <a:gs pos="99000">
                      <a:schemeClr val="tx2"/>
                    </a:gs>
                  </a:gsLst>
                  <a:lin ang="5400000" scaled="0"/>
                </a:gradFill>
                <a:latin typeface="+mj-lt"/>
                <a:ea typeface="+mn-ea"/>
                <a:cs typeface="+mn-cs"/>
              </a:defRPr>
            </a:lvl1pPr>
            <a:lvl2pPr marL="365690" marR="0"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2400" kern="1200" spc="0" baseline="0">
                <a:solidFill>
                  <a:schemeClr val="tx2"/>
                </a:solidFill>
                <a:latin typeface="+mj-lt"/>
                <a:ea typeface="+mn-ea"/>
                <a:cs typeface="+mn-cs"/>
              </a:defRPr>
            </a:lvl2pPr>
            <a:lvl3pPr marL="548535" marR="0"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2000" kern="1200" spc="0" baseline="0">
                <a:solidFill>
                  <a:schemeClr val="tx2"/>
                </a:solidFill>
                <a:latin typeface="+mj-lt"/>
                <a:ea typeface="+mn-ea"/>
                <a:cs typeface="+mn-cs"/>
              </a:defRPr>
            </a:lvl3pPr>
            <a:lvl4pPr marL="733802" marR="0" indent="-28569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1765" kern="1200" spc="0" baseline="0">
                <a:solidFill>
                  <a:schemeClr val="tx2"/>
                </a:solidFill>
                <a:latin typeface="+mn-lt"/>
                <a:ea typeface="+mn-ea"/>
                <a:cs typeface="+mn-cs"/>
              </a:defRPr>
            </a:lvl4pPr>
            <a:lvl5pPr marL="957856" marR="0" indent="-28569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1765" kern="1200" spc="0" baseline="0">
                <a:solidFill>
                  <a:schemeClr val="tx2"/>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r>
              <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rPr>
              <a:t>Data can come from 3</a:t>
            </a:r>
            <a:r>
              <a:rPr kumimoji="0" lang="en-US" sz="2000" b="0" i="0" u="none" strike="noStrike" kern="1200" cap="none" spc="0" normalizeH="0" baseline="30000" noProof="0">
                <a:ln>
                  <a:noFill/>
                </a:ln>
                <a:solidFill>
                  <a:prstClr val="black"/>
                </a:solidFill>
                <a:effectLst/>
                <a:uLnTx/>
                <a:uFillTx/>
                <a:latin typeface="Segoe UI Light"/>
                <a:ea typeface="+mn-ea"/>
                <a:cs typeface="Times New Roman" panose="02020603050405020304" pitchFamily="18" charset="0"/>
              </a:rPr>
              <a:t>rd</a:t>
            </a:r>
            <a:r>
              <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rPr>
              <a:t> party SaaS services as </a:t>
            </a:r>
            <a:r>
              <a:rPr kumimoji="0" lang="en-US" sz="2000" b="1"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rPr>
              <a:t>content packs</a:t>
            </a: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1"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r>
              <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rPr>
              <a:t>These content packs contain  a </a:t>
            </a:r>
            <a:r>
              <a:rPr kumimoji="0" lang="en-US" sz="2000" b="1"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rPr>
              <a:t>dataset</a:t>
            </a:r>
            <a:r>
              <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rPr>
              <a:t>, </a:t>
            </a:r>
            <a:r>
              <a:rPr kumimoji="0" lang="en-US" sz="2000" b="1"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rPr>
              <a:t>reports</a:t>
            </a:r>
            <a:r>
              <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rPr>
              <a:t> and </a:t>
            </a:r>
            <a:r>
              <a:rPr kumimoji="0" lang="en-US" sz="2000" b="1"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rPr>
              <a:t>dashboards</a:t>
            </a: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r>
              <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rPr>
              <a:t>Data shown depends on </a:t>
            </a:r>
            <a:r>
              <a:rPr kumimoji="0" lang="en-US" sz="2000" b="1"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rPr>
              <a:t>credentials provided </a:t>
            </a:r>
            <a:r>
              <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rPr>
              <a:t>(depends on service as well)</a:t>
            </a: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r>
              <a:rPr kumimoji="0" lang="en-US" sz="2000" b="1"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rPr>
              <a:t>More than fifty </a:t>
            </a:r>
            <a:r>
              <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rPr>
              <a:t>already exist and more will be </a:t>
            </a:r>
            <a:r>
              <a:rPr kumimoji="0" lang="en-US" sz="2000" b="1"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rPr>
              <a:t>added frequently</a:t>
            </a: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r>
              <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rPr>
              <a:t>Data is </a:t>
            </a:r>
            <a:r>
              <a:rPr kumimoji="0" lang="en-US" sz="2000" b="1"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rPr>
              <a:t>curated by the provider</a:t>
            </a: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1"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r>
              <a:rPr kumimoji="0" lang="en-US" sz="2000" b="1"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rPr>
              <a:t>You are not limited to the existing reports and dashboards.</a:t>
            </a:r>
          </a:p>
        </p:txBody>
      </p:sp>
      <p:sp>
        <p:nvSpPr>
          <p:cNvPr id="41" name="Rectangle 3"/>
          <p:cNvSpPr/>
          <p:nvPr/>
        </p:nvSpPr>
        <p:spPr bwMode="auto">
          <a:xfrm>
            <a:off x="3202216" y="665151"/>
            <a:ext cx="8105312" cy="44435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PT" sz="2000" b="0" i="1" u="none" strike="noStrike" kern="1200" cap="none" spc="0" normalizeH="0" baseline="0" noProof="0">
                <a:ln>
                  <a:noFill/>
                </a:ln>
                <a:solidFill>
                  <a:prstClr val="black"/>
                </a:solidFill>
                <a:effectLst/>
                <a:uLnTx/>
                <a:uFillTx/>
                <a:latin typeface="Segoe UI Light"/>
                <a:ea typeface="+mn-ea"/>
                <a:cs typeface="+mn-cs"/>
              </a:rPr>
              <a:t>Content Pack Library - Services</a:t>
            </a:r>
            <a:endParaRPr kumimoji="0" lang="en-US" sz="2000" b="0" i="1" u="none" strike="noStrike" kern="1200" cap="none" spc="0" normalizeH="0" baseline="0" noProof="0">
              <a:ln>
                <a:noFill/>
              </a:ln>
              <a:solidFill>
                <a:prstClr val="black"/>
              </a:solidFill>
              <a:effectLst/>
              <a:uLnTx/>
              <a:uFillTx/>
              <a:latin typeface="Segoe UI Light"/>
              <a:ea typeface="+mn-ea"/>
              <a:cs typeface="+mn-cs"/>
            </a:endParaRPr>
          </a:p>
        </p:txBody>
      </p:sp>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946838" y="2047899"/>
            <a:ext cx="3673158" cy="3787468"/>
          </a:xfrm>
          <a:prstGeom prst="rect">
            <a:avLst/>
          </a:prstGeom>
          <a:ln>
            <a:noFill/>
          </a:ln>
          <a:effectLst>
            <a:outerShdw blurRad="190500" algn="tl" rotWithShape="0">
              <a:srgbClr val="000000">
                <a:alpha val="70000"/>
              </a:srgbClr>
            </a:outerShdw>
          </a:effectLst>
        </p:spPr>
      </p:pic>
      <p:grpSp>
        <p:nvGrpSpPr>
          <p:cNvPr id="39" name="Group 38"/>
          <p:cNvGrpSpPr/>
          <p:nvPr/>
        </p:nvGrpSpPr>
        <p:grpSpPr>
          <a:xfrm>
            <a:off x="-2887" y="973"/>
            <a:ext cx="2849058" cy="6857027"/>
            <a:chOff x="2" y="487"/>
            <a:chExt cx="2849058" cy="6857027"/>
          </a:xfrm>
        </p:grpSpPr>
        <p:sp>
          <p:nvSpPr>
            <p:cNvPr id="42" name="Rectangle 15"/>
            <p:cNvSpPr/>
            <p:nvPr/>
          </p:nvSpPr>
          <p:spPr bwMode="auto">
            <a:xfrm>
              <a:off x="2" y="487"/>
              <a:ext cx="2849058" cy="685702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3" name="Rectangle 145"/>
            <p:cNvSpPr/>
            <p:nvPr/>
          </p:nvSpPr>
          <p:spPr bwMode="auto">
            <a:xfrm>
              <a:off x="696152" y="956997"/>
              <a:ext cx="1821468" cy="3831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2C812"/>
                  </a:solidFill>
                  <a:effectLst/>
                  <a:uLnTx/>
                  <a:uFillTx/>
                  <a:latin typeface="Segoe UI"/>
                  <a:ea typeface="+mn-ea"/>
                  <a:cs typeface="Segoe UI Light" panose="020B0502040204020203" pitchFamily="34" charset="0"/>
                </a:rPr>
                <a:t>Get Data</a:t>
              </a:r>
              <a:endParaRPr kumimoji="0" lang="en-US" sz="1200" b="1" i="1" u="none" strike="noStrike" kern="1200" cap="none" spc="0" normalizeH="0" baseline="0" noProof="0">
                <a:ln>
                  <a:noFill/>
                </a:ln>
                <a:solidFill>
                  <a:srgbClr val="F2C812"/>
                </a:solidFill>
                <a:effectLst/>
                <a:uLnTx/>
                <a:uFillTx/>
                <a:latin typeface="Segoe UI"/>
                <a:ea typeface="+mn-ea"/>
                <a:cs typeface="Segoe UI Light" panose="020B0502040204020203" pitchFamily="34" charset="0"/>
              </a:endParaRPr>
            </a:p>
          </p:txBody>
        </p:sp>
        <p:grpSp>
          <p:nvGrpSpPr>
            <p:cNvPr id="51" name="Group 50"/>
            <p:cNvGrpSpPr/>
            <p:nvPr/>
          </p:nvGrpSpPr>
          <p:grpSpPr>
            <a:xfrm>
              <a:off x="219373" y="934583"/>
              <a:ext cx="433844" cy="433844"/>
              <a:chOff x="440005" y="997815"/>
              <a:chExt cx="296322" cy="296322"/>
            </a:xfrm>
          </p:grpSpPr>
          <p:sp>
            <p:nvSpPr>
              <p:cNvPr id="97" name="Oval 147"/>
              <p:cNvSpPr/>
              <p:nvPr/>
            </p:nvSpPr>
            <p:spPr bwMode="auto">
              <a:xfrm>
                <a:off x="440005" y="997815"/>
                <a:ext cx="296322" cy="296322"/>
              </a:xfrm>
              <a:prstGeom prst="ellipse">
                <a:avLst/>
              </a:prstGeom>
              <a:solidFill>
                <a:srgbClr val="FFCC00"/>
              </a:solidFill>
              <a:ln>
                <a:solidFill>
                  <a:srgbClr val="F2C81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98" name="Group 332"/>
              <p:cNvGrpSpPr/>
              <p:nvPr/>
            </p:nvGrpSpPr>
            <p:grpSpPr>
              <a:xfrm>
                <a:off x="482167" y="1059311"/>
                <a:ext cx="211997" cy="173292"/>
                <a:chOff x="2123129" y="293070"/>
                <a:chExt cx="2472585" cy="2021178"/>
              </a:xfrm>
            </p:grpSpPr>
            <p:sp>
              <p:nvSpPr>
                <p:cNvPr id="99" name="Freeform 13"/>
                <p:cNvSpPr>
                  <a:spLocks/>
                </p:cNvSpPr>
                <p:nvPr/>
              </p:nvSpPr>
              <p:spPr bwMode="auto">
                <a:xfrm rot="20700000">
                  <a:off x="3155853" y="872796"/>
                  <a:ext cx="1439861" cy="1441452"/>
                </a:xfrm>
                <a:custGeom>
                  <a:avLst/>
                  <a:gdLst>
                    <a:gd name="T0" fmla="*/ 138 w 441"/>
                    <a:gd name="T1" fmla="*/ 341 h 441"/>
                    <a:gd name="T2" fmla="*/ 183 w 441"/>
                    <a:gd name="T3" fmla="*/ 374 h 441"/>
                    <a:gd name="T4" fmla="*/ 220 w 441"/>
                    <a:gd name="T5" fmla="*/ 423 h 441"/>
                    <a:gd name="T6" fmla="*/ 422 w 441"/>
                    <a:gd name="T7" fmla="*/ 220 h 441"/>
                    <a:gd name="T8" fmla="*/ 373 w 441"/>
                    <a:gd name="T9" fmla="*/ 184 h 441"/>
                    <a:gd name="T10" fmla="*/ 341 w 441"/>
                    <a:gd name="T11" fmla="*/ 139 h 441"/>
                    <a:gd name="T12" fmla="*/ 382 w 441"/>
                    <a:gd name="T13" fmla="*/ 58 h 441"/>
                    <a:gd name="T14" fmla="*/ 302 w 441"/>
                    <a:gd name="T15" fmla="*/ 100 h 441"/>
                    <a:gd name="T16" fmla="*/ 257 w 441"/>
                    <a:gd name="T17" fmla="*/ 67 h 441"/>
                    <a:gd name="T18" fmla="*/ 220 w 441"/>
                    <a:gd name="T19" fmla="*/ 18 h 441"/>
                    <a:gd name="T20" fmla="*/ 171 w 441"/>
                    <a:gd name="T21" fmla="*/ 55 h 441"/>
                    <a:gd name="T22" fmla="*/ 138 w 441"/>
                    <a:gd name="T23" fmla="*/ 100 h 441"/>
                    <a:gd name="T24" fmla="*/ 180 w 441"/>
                    <a:gd name="T25" fmla="*/ 181 h 441"/>
                    <a:gd name="T26" fmla="*/ 100 w 441"/>
                    <a:gd name="T27" fmla="*/ 139 h 441"/>
                    <a:gd name="T28" fmla="*/ 55 w 441"/>
                    <a:gd name="T29" fmla="*/ 171 h 441"/>
                    <a:gd name="T30" fmla="*/ 18 w 441"/>
                    <a:gd name="T31" fmla="*/ 220 h 441"/>
                    <a:gd name="T32" fmla="*/ 67 w 441"/>
                    <a:gd name="T33" fmla="*/ 257 h 441"/>
                    <a:gd name="T34" fmla="*/ 100 w 441"/>
                    <a:gd name="T35" fmla="*/ 302 h 441"/>
                    <a:gd name="T36" fmla="*/ 58 w 441"/>
                    <a:gd name="T37" fmla="*/ 383 h 441"/>
                    <a:gd name="T38" fmla="*/ 138 w 441"/>
                    <a:gd name="T39" fmla="*/ 341 h 4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41" h="441">
                      <a:moveTo>
                        <a:pt x="138" y="341"/>
                      </a:moveTo>
                      <a:cubicBezTo>
                        <a:pt x="147" y="337"/>
                        <a:pt x="171" y="361"/>
                        <a:pt x="183" y="374"/>
                      </a:cubicBezTo>
                      <a:cubicBezTo>
                        <a:pt x="196" y="386"/>
                        <a:pt x="220" y="423"/>
                        <a:pt x="220" y="423"/>
                      </a:cubicBezTo>
                      <a:cubicBezTo>
                        <a:pt x="422" y="220"/>
                        <a:pt x="422" y="220"/>
                        <a:pt x="422" y="220"/>
                      </a:cubicBezTo>
                      <a:cubicBezTo>
                        <a:pt x="422" y="220"/>
                        <a:pt x="386" y="196"/>
                        <a:pt x="373" y="184"/>
                      </a:cubicBezTo>
                      <a:cubicBezTo>
                        <a:pt x="361" y="171"/>
                        <a:pt x="338" y="149"/>
                        <a:pt x="341" y="139"/>
                      </a:cubicBezTo>
                      <a:cubicBezTo>
                        <a:pt x="343" y="129"/>
                        <a:pt x="441" y="116"/>
                        <a:pt x="382" y="58"/>
                      </a:cubicBezTo>
                      <a:cubicBezTo>
                        <a:pt x="324" y="0"/>
                        <a:pt x="310" y="96"/>
                        <a:pt x="302" y="100"/>
                      </a:cubicBezTo>
                      <a:cubicBezTo>
                        <a:pt x="294" y="104"/>
                        <a:pt x="269" y="80"/>
                        <a:pt x="257" y="67"/>
                      </a:cubicBezTo>
                      <a:cubicBezTo>
                        <a:pt x="245" y="55"/>
                        <a:pt x="220" y="18"/>
                        <a:pt x="220" y="18"/>
                      </a:cubicBezTo>
                      <a:cubicBezTo>
                        <a:pt x="220" y="18"/>
                        <a:pt x="183" y="43"/>
                        <a:pt x="171" y="55"/>
                      </a:cubicBezTo>
                      <a:cubicBezTo>
                        <a:pt x="159" y="67"/>
                        <a:pt x="134" y="92"/>
                        <a:pt x="138" y="100"/>
                      </a:cubicBezTo>
                      <a:cubicBezTo>
                        <a:pt x="142" y="108"/>
                        <a:pt x="238" y="122"/>
                        <a:pt x="180" y="181"/>
                      </a:cubicBezTo>
                      <a:cubicBezTo>
                        <a:pt x="122" y="239"/>
                        <a:pt x="110" y="141"/>
                        <a:pt x="100" y="139"/>
                      </a:cubicBezTo>
                      <a:cubicBezTo>
                        <a:pt x="89" y="137"/>
                        <a:pt x="67" y="159"/>
                        <a:pt x="55" y="171"/>
                      </a:cubicBezTo>
                      <a:cubicBezTo>
                        <a:pt x="42" y="184"/>
                        <a:pt x="18" y="220"/>
                        <a:pt x="18" y="220"/>
                      </a:cubicBezTo>
                      <a:cubicBezTo>
                        <a:pt x="18" y="220"/>
                        <a:pt x="55" y="245"/>
                        <a:pt x="67" y="257"/>
                      </a:cubicBezTo>
                      <a:cubicBezTo>
                        <a:pt x="79" y="269"/>
                        <a:pt x="102" y="292"/>
                        <a:pt x="100" y="302"/>
                      </a:cubicBezTo>
                      <a:cubicBezTo>
                        <a:pt x="98" y="312"/>
                        <a:pt x="0" y="325"/>
                        <a:pt x="58" y="383"/>
                      </a:cubicBezTo>
                      <a:cubicBezTo>
                        <a:pt x="116" y="441"/>
                        <a:pt x="130" y="345"/>
                        <a:pt x="138" y="341"/>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100" name="Freeform 14"/>
                <p:cNvSpPr>
                  <a:spLocks/>
                </p:cNvSpPr>
                <p:nvPr/>
              </p:nvSpPr>
              <p:spPr bwMode="auto">
                <a:xfrm rot="9900000">
                  <a:off x="2123129" y="293070"/>
                  <a:ext cx="1377948" cy="1377947"/>
                </a:xfrm>
                <a:custGeom>
                  <a:avLst/>
                  <a:gdLst>
                    <a:gd name="T0" fmla="*/ 422 w 422"/>
                    <a:gd name="T1" fmla="*/ 220 h 422"/>
                    <a:gd name="T2" fmla="*/ 386 w 422"/>
                    <a:gd name="T3" fmla="*/ 171 h 422"/>
                    <a:gd name="T4" fmla="*/ 341 w 422"/>
                    <a:gd name="T5" fmla="*/ 138 h 422"/>
                    <a:gd name="T6" fmla="*/ 260 w 422"/>
                    <a:gd name="T7" fmla="*/ 180 h 422"/>
                    <a:gd name="T8" fmla="*/ 302 w 422"/>
                    <a:gd name="T9" fmla="*/ 100 h 422"/>
                    <a:gd name="T10" fmla="*/ 269 w 422"/>
                    <a:gd name="T11" fmla="*/ 55 h 422"/>
                    <a:gd name="T12" fmla="*/ 220 w 422"/>
                    <a:gd name="T13" fmla="*/ 18 h 422"/>
                    <a:gd name="T14" fmla="*/ 183 w 422"/>
                    <a:gd name="T15" fmla="*/ 67 h 422"/>
                    <a:gd name="T16" fmla="*/ 138 w 422"/>
                    <a:gd name="T17" fmla="*/ 100 h 422"/>
                    <a:gd name="T18" fmla="*/ 58 w 422"/>
                    <a:gd name="T19" fmla="*/ 58 h 422"/>
                    <a:gd name="T20" fmla="*/ 100 w 422"/>
                    <a:gd name="T21" fmla="*/ 138 h 422"/>
                    <a:gd name="T22" fmla="*/ 67 w 422"/>
                    <a:gd name="T23" fmla="*/ 183 h 422"/>
                    <a:gd name="T24" fmla="*/ 18 w 422"/>
                    <a:gd name="T25" fmla="*/ 220 h 422"/>
                    <a:gd name="T26" fmla="*/ 55 w 422"/>
                    <a:gd name="T27" fmla="*/ 269 h 422"/>
                    <a:gd name="T28" fmla="*/ 100 w 422"/>
                    <a:gd name="T29" fmla="*/ 302 h 422"/>
                    <a:gd name="T30" fmla="*/ 180 w 422"/>
                    <a:gd name="T31" fmla="*/ 260 h 422"/>
                    <a:gd name="T32" fmla="*/ 138 w 422"/>
                    <a:gd name="T33" fmla="*/ 341 h 422"/>
                    <a:gd name="T34" fmla="*/ 171 w 422"/>
                    <a:gd name="T35" fmla="*/ 386 h 422"/>
                    <a:gd name="T36" fmla="*/ 220 w 422"/>
                    <a:gd name="T37" fmla="*/ 422 h 422"/>
                    <a:gd name="T38" fmla="*/ 422 w 422"/>
                    <a:gd name="T39" fmla="*/ 220 h 4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22" h="422">
                      <a:moveTo>
                        <a:pt x="422" y="220"/>
                      </a:moveTo>
                      <a:cubicBezTo>
                        <a:pt x="422" y="220"/>
                        <a:pt x="398" y="183"/>
                        <a:pt x="386" y="171"/>
                      </a:cubicBezTo>
                      <a:cubicBezTo>
                        <a:pt x="373" y="159"/>
                        <a:pt x="349" y="134"/>
                        <a:pt x="341" y="138"/>
                      </a:cubicBezTo>
                      <a:cubicBezTo>
                        <a:pt x="332" y="142"/>
                        <a:pt x="318" y="239"/>
                        <a:pt x="260" y="180"/>
                      </a:cubicBezTo>
                      <a:cubicBezTo>
                        <a:pt x="202" y="122"/>
                        <a:pt x="300" y="110"/>
                        <a:pt x="302" y="100"/>
                      </a:cubicBezTo>
                      <a:cubicBezTo>
                        <a:pt x="304" y="90"/>
                        <a:pt x="281" y="67"/>
                        <a:pt x="269" y="55"/>
                      </a:cubicBezTo>
                      <a:cubicBezTo>
                        <a:pt x="257" y="42"/>
                        <a:pt x="220" y="18"/>
                        <a:pt x="220" y="18"/>
                      </a:cubicBezTo>
                      <a:cubicBezTo>
                        <a:pt x="220" y="18"/>
                        <a:pt x="196" y="55"/>
                        <a:pt x="183" y="67"/>
                      </a:cubicBezTo>
                      <a:cubicBezTo>
                        <a:pt x="171" y="79"/>
                        <a:pt x="149" y="102"/>
                        <a:pt x="138" y="100"/>
                      </a:cubicBezTo>
                      <a:cubicBezTo>
                        <a:pt x="128" y="98"/>
                        <a:pt x="116" y="0"/>
                        <a:pt x="58" y="58"/>
                      </a:cubicBezTo>
                      <a:cubicBezTo>
                        <a:pt x="0" y="116"/>
                        <a:pt x="96" y="130"/>
                        <a:pt x="100" y="138"/>
                      </a:cubicBezTo>
                      <a:cubicBezTo>
                        <a:pt x="104" y="147"/>
                        <a:pt x="79" y="171"/>
                        <a:pt x="67" y="183"/>
                      </a:cubicBezTo>
                      <a:cubicBezTo>
                        <a:pt x="55" y="196"/>
                        <a:pt x="18" y="220"/>
                        <a:pt x="18" y="220"/>
                      </a:cubicBezTo>
                      <a:cubicBezTo>
                        <a:pt x="18" y="220"/>
                        <a:pt x="42" y="257"/>
                        <a:pt x="55" y="269"/>
                      </a:cubicBezTo>
                      <a:cubicBezTo>
                        <a:pt x="67" y="281"/>
                        <a:pt x="91" y="306"/>
                        <a:pt x="100" y="302"/>
                      </a:cubicBezTo>
                      <a:cubicBezTo>
                        <a:pt x="108" y="298"/>
                        <a:pt x="122" y="202"/>
                        <a:pt x="180" y="260"/>
                      </a:cubicBezTo>
                      <a:cubicBezTo>
                        <a:pt x="238" y="318"/>
                        <a:pt x="140" y="330"/>
                        <a:pt x="138" y="341"/>
                      </a:cubicBezTo>
                      <a:cubicBezTo>
                        <a:pt x="136" y="351"/>
                        <a:pt x="159" y="373"/>
                        <a:pt x="171" y="386"/>
                      </a:cubicBezTo>
                      <a:cubicBezTo>
                        <a:pt x="183" y="398"/>
                        <a:pt x="220" y="422"/>
                        <a:pt x="220" y="422"/>
                      </a:cubicBezTo>
                      <a:lnTo>
                        <a:pt x="422" y="22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grpSp>
        </p:grpSp>
        <p:sp>
          <p:nvSpPr>
            <p:cNvPr id="79" name="Rectangle 152"/>
            <p:cNvSpPr/>
            <p:nvPr/>
          </p:nvSpPr>
          <p:spPr bwMode="auto">
            <a:xfrm>
              <a:off x="669652" y="2738277"/>
              <a:ext cx="1805162" cy="37532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2C812"/>
                  </a:solidFill>
                  <a:effectLst/>
                  <a:uLnTx/>
                  <a:uFillTx/>
                  <a:latin typeface="Segoe UI"/>
                  <a:ea typeface="+mn-ea"/>
                  <a:cs typeface="Segoe UI Light" panose="020B0502040204020203" pitchFamily="34" charset="0"/>
                </a:rPr>
                <a:t>Keeping Data Current</a:t>
              </a:r>
            </a:p>
          </p:txBody>
        </p:sp>
        <p:grpSp>
          <p:nvGrpSpPr>
            <p:cNvPr id="80" name="Group 79"/>
            <p:cNvGrpSpPr/>
            <p:nvPr/>
          </p:nvGrpSpPr>
          <p:grpSpPr>
            <a:xfrm>
              <a:off x="199649" y="2692629"/>
              <a:ext cx="433844" cy="433844"/>
              <a:chOff x="342620" y="2228265"/>
              <a:chExt cx="433844" cy="433844"/>
            </a:xfrm>
            <a:solidFill>
              <a:schemeClr val="bg1"/>
            </a:solidFill>
          </p:grpSpPr>
          <p:sp>
            <p:nvSpPr>
              <p:cNvPr id="95" name="Oval 154"/>
              <p:cNvSpPr/>
              <p:nvPr/>
            </p:nvSpPr>
            <p:spPr bwMode="auto">
              <a:xfrm>
                <a:off x="342620" y="2228265"/>
                <a:ext cx="433844" cy="433844"/>
              </a:xfrm>
              <a:prstGeom prst="ellipse">
                <a:avLst/>
              </a:prstGeom>
              <a:solidFill>
                <a:srgbClr val="FFC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6" name="Freeform 30"/>
              <p:cNvSpPr>
                <a:spLocks noEditPoints="1"/>
              </p:cNvSpPr>
              <p:nvPr/>
            </p:nvSpPr>
            <p:spPr bwMode="auto">
              <a:xfrm>
                <a:off x="444786" y="2340040"/>
                <a:ext cx="238402" cy="210293"/>
              </a:xfrm>
              <a:custGeom>
                <a:avLst/>
                <a:gdLst>
                  <a:gd name="T0" fmla="*/ 883 w 916"/>
                  <a:gd name="T1" fmla="*/ 286 h 808"/>
                  <a:gd name="T2" fmla="*/ 539 w 916"/>
                  <a:gd name="T3" fmla="*/ 723 h 808"/>
                  <a:gd name="T4" fmla="*/ 504 w 916"/>
                  <a:gd name="T5" fmla="*/ 0 h 808"/>
                  <a:gd name="T6" fmla="*/ 35 w 916"/>
                  <a:gd name="T7" fmla="*/ 723 h 808"/>
                  <a:gd name="T8" fmla="*/ 0 w 916"/>
                  <a:gd name="T9" fmla="*/ 808 h 808"/>
                  <a:gd name="T10" fmla="*/ 916 w 916"/>
                  <a:gd name="T11" fmla="*/ 723 h 808"/>
                  <a:gd name="T12" fmla="*/ 229 w 916"/>
                  <a:gd name="T13" fmla="*/ 665 h 808"/>
                  <a:gd name="T14" fmla="*/ 109 w 916"/>
                  <a:gd name="T15" fmla="*/ 596 h 808"/>
                  <a:gd name="T16" fmla="*/ 229 w 916"/>
                  <a:gd name="T17" fmla="*/ 665 h 808"/>
                  <a:gd name="T18" fmla="*/ 109 w 916"/>
                  <a:gd name="T19" fmla="*/ 501 h 808"/>
                  <a:gd name="T20" fmla="*/ 229 w 916"/>
                  <a:gd name="T21" fmla="*/ 432 h 808"/>
                  <a:gd name="T22" fmla="*/ 229 w 916"/>
                  <a:gd name="T23" fmla="*/ 337 h 808"/>
                  <a:gd name="T24" fmla="*/ 109 w 916"/>
                  <a:gd name="T25" fmla="*/ 267 h 808"/>
                  <a:gd name="T26" fmla="*/ 229 w 916"/>
                  <a:gd name="T27" fmla="*/ 337 h 808"/>
                  <a:gd name="T28" fmla="*/ 109 w 916"/>
                  <a:gd name="T29" fmla="*/ 172 h 808"/>
                  <a:gd name="T30" fmla="*/ 229 w 916"/>
                  <a:gd name="T31" fmla="*/ 103 h 808"/>
                  <a:gd name="T32" fmla="*/ 428 w 916"/>
                  <a:gd name="T33" fmla="*/ 665 h 808"/>
                  <a:gd name="T34" fmla="*/ 307 w 916"/>
                  <a:gd name="T35" fmla="*/ 596 h 808"/>
                  <a:gd name="T36" fmla="*/ 428 w 916"/>
                  <a:gd name="T37" fmla="*/ 665 h 808"/>
                  <a:gd name="T38" fmla="*/ 307 w 916"/>
                  <a:gd name="T39" fmla="*/ 501 h 808"/>
                  <a:gd name="T40" fmla="*/ 428 w 916"/>
                  <a:gd name="T41" fmla="*/ 432 h 808"/>
                  <a:gd name="T42" fmla="*/ 428 w 916"/>
                  <a:gd name="T43" fmla="*/ 337 h 808"/>
                  <a:gd name="T44" fmla="*/ 307 w 916"/>
                  <a:gd name="T45" fmla="*/ 267 h 808"/>
                  <a:gd name="T46" fmla="*/ 428 w 916"/>
                  <a:gd name="T47" fmla="*/ 337 h 808"/>
                  <a:gd name="T48" fmla="*/ 307 w 916"/>
                  <a:gd name="T49" fmla="*/ 172 h 808"/>
                  <a:gd name="T50" fmla="*/ 428 w 916"/>
                  <a:gd name="T51" fmla="*/ 103 h 808"/>
                  <a:gd name="T52" fmla="*/ 684 w 916"/>
                  <a:gd name="T53" fmla="*/ 668 h 808"/>
                  <a:gd name="T54" fmla="*/ 606 w 916"/>
                  <a:gd name="T55" fmla="*/ 549 h 808"/>
                  <a:gd name="T56" fmla="*/ 684 w 916"/>
                  <a:gd name="T57" fmla="*/ 668 h 808"/>
                  <a:gd name="T58" fmla="*/ 606 w 916"/>
                  <a:gd name="T59" fmla="*/ 482 h 808"/>
                  <a:gd name="T60" fmla="*/ 684 w 916"/>
                  <a:gd name="T61" fmla="*/ 365 h 808"/>
                  <a:gd name="T62" fmla="*/ 816 w 916"/>
                  <a:gd name="T63" fmla="*/ 668 h 808"/>
                  <a:gd name="T64" fmla="*/ 738 w 916"/>
                  <a:gd name="T65" fmla="*/ 549 h 808"/>
                  <a:gd name="T66" fmla="*/ 816 w 916"/>
                  <a:gd name="T67" fmla="*/ 668 h 808"/>
                  <a:gd name="T68" fmla="*/ 738 w 916"/>
                  <a:gd name="T69" fmla="*/ 482 h 808"/>
                  <a:gd name="T70" fmla="*/ 816 w 916"/>
                  <a:gd name="T71" fmla="*/ 365 h 8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16" h="808">
                    <a:moveTo>
                      <a:pt x="883" y="723"/>
                    </a:moveTo>
                    <a:lnTo>
                      <a:pt x="883" y="286"/>
                    </a:lnTo>
                    <a:lnTo>
                      <a:pt x="539" y="286"/>
                    </a:lnTo>
                    <a:lnTo>
                      <a:pt x="539" y="723"/>
                    </a:lnTo>
                    <a:lnTo>
                      <a:pt x="504" y="723"/>
                    </a:lnTo>
                    <a:lnTo>
                      <a:pt x="504" y="0"/>
                    </a:lnTo>
                    <a:lnTo>
                      <a:pt x="35" y="0"/>
                    </a:lnTo>
                    <a:lnTo>
                      <a:pt x="35" y="723"/>
                    </a:lnTo>
                    <a:lnTo>
                      <a:pt x="0" y="723"/>
                    </a:lnTo>
                    <a:lnTo>
                      <a:pt x="0" y="808"/>
                    </a:lnTo>
                    <a:lnTo>
                      <a:pt x="916" y="808"/>
                    </a:lnTo>
                    <a:lnTo>
                      <a:pt x="916" y="723"/>
                    </a:lnTo>
                    <a:lnTo>
                      <a:pt x="883" y="723"/>
                    </a:lnTo>
                    <a:close/>
                    <a:moveTo>
                      <a:pt x="229" y="665"/>
                    </a:moveTo>
                    <a:lnTo>
                      <a:pt x="109" y="665"/>
                    </a:lnTo>
                    <a:lnTo>
                      <a:pt x="109" y="596"/>
                    </a:lnTo>
                    <a:lnTo>
                      <a:pt x="229" y="596"/>
                    </a:lnTo>
                    <a:lnTo>
                      <a:pt x="229" y="665"/>
                    </a:lnTo>
                    <a:close/>
                    <a:moveTo>
                      <a:pt x="229" y="501"/>
                    </a:moveTo>
                    <a:lnTo>
                      <a:pt x="109" y="501"/>
                    </a:lnTo>
                    <a:lnTo>
                      <a:pt x="109" y="432"/>
                    </a:lnTo>
                    <a:lnTo>
                      <a:pt x="229" y="432"/>
                    </a:lnTo>
                    <a:lnTo>
                      <a:pt x="229" y="501"/>
                    </a:lnTo>
                    <a:close/>
                    <a:moveTo>
                      <a:pt x="229" y="337"/>
                    </a:moveTo>
                    <a:lnTo>
                      <a:pt x="109" y="337"/>
                    </a:lnTo>
                    <a:lnTo>
                      <a:pt x="109" y="267"/>
                    </a:lnTo>
                    <a:lnTo>
                      <a:pt x="229" y="267"/>
                    </a:lnTo>
                    <a:lnTo>
                      <a:pt x="229" y="337"/>
                    </a:lnTo>
                    <a:close/>
                    <a:moveTo>
                      <a:pt x="229" y="172"/>
                    </a:moveTo>
                    <a:lnTo>
                      <a:pt x="109" y="172"/>
                    </a:lnTo>
                    <a:lnTo>
                      <a:pt x="109" y="103"/>
                    </a:lnTo>
                    <a:lnTo>
                      <a:pt x="229" y="103"/>
                    </a:lnTo>
                    <a:lnTo>
                      <a:pt x="229" y="172"/>
                    </a:lnTo>
                    <a:close/>
                    <a:moveTo>
                      <a:pt x="428" y="665"/>
                    </a:moveTo>
                    <a:lnTo>
                      <a:pt x="307" y="665"/>
                    </a:lnTo>
                    <a:lnTo>
                      <a:pt x="307" y="596"/>
                    </a:lnTo>
                    <a:lnTo>
                      <a:pt x="428" y="596"/>
                    </a:lnTo>
                    <a:lnTo>
                      <a:pt x="428" y="665"/>
                    </a:lnTo>
                    <a:close/>
                    <a:moveTo>
                      <a:pt x="428" y="501"/>
                    </a:moveTo>
                    <a:lnTo>
                      <a:pt x="307" y="501"/>
                    </a:lnTo>
                    <a:lnTo>
                      <a:pt x="307" y="432"/>
                    </a:lnTo>
                    <a:lnTo>
                      <a:pt x="428" y="432"/>
                    </a:lnTo>
                    <a:lnTo>
                      <a:pt x="428" y="501"/>
                    </a:lnTo>
                    <a:close/>
                    <a:moveTo>
                      <a:pt x="428" y="337"/>
                    </a:moveTo>
                    <a:lnTo>
                      <a:pt x="307" y="337"/>
                    </a:lnTo>
                    <a:lnTo>
                      <a:pt x="307" y="267"/>
                    </a:lnTo>
                    <a:lnTo>
                      <a:pt x="428" y="267"/>
                    </a:lnTo>
                    <a:lnTo>
                      <a:pt x="428" y="337"/>
                    </a:lnTo>
                    <a:close/>
                    <a:moveTo>
                      <a:pt x="428" y="172"/>
                    </a:moveTo>
                    <a:lnTo>
                      <a:pt x="307" y="172"/>
                    </a:lnTo>
                    <a:lnTo>
                      <a:pt x="307" y="103"/>
                    </a:lnTo>
                    <a:lnTo>
                      <a:pt x="428" y="103"/>
                    </a:lnTo>
                    <a:lnTo>
                      <a:pt x="428" y="172"/>
                    </a:lnTo>
                    <a:close/>
                    <a:moveTo>
                      <a:pt x="684" y="668"/>
                    </a:moveTo>
                    <a:lnTo>
                      <a:pt x="606" y="668"/>
                    </a:lnTo>
                    <a:lnTo>
                      <a:pt x="606" y="549"/>
                    </a:lnTo>
                    <a:lnTo>
                      <a:pt x="684" y="549"/>
                    </a:lnTo>
                    <a:lnTo>
                      <a:pt x="684" y="668"/>
                    </a:lnTo>
                    <a:close/>
                    <a:moveTo>
                      <a:pt x="684" y="482"/>
                    </a:moveTo>
                    <a:lnTo>
                      <a:pt x="606" y="482"/>
                    </a:lnTo>
                    <a:lnTo>
                      <a:pt x="606" y="365"/>
                    </a:lnTo>
                    <a:lnTo>
                      <a:pt x="684" y="365"/>
                    </a:lnTo>
                    <a:lnTo>
                      <a:pt x="684" y="482"/>
                    </a:lnTo>
                    <a:close/>
                    <a:moveTo>
                      <a:pt x="816" y="668"/>
                    </a:moveTo>
                    <a:lnTo>
                      <a:pt x="738" y="668"/>
                    </a:lnTo>
                    <a:lnTo>
                      <a:pt x="738" y="549"/>
                    </a:lnTo>
                    <a:lnTo>
                      <a:pt x="816" y="549"/>
                    </a:lnTo>
                    <a:lnTo>
                      <a:pt x="816" y="668"/>
                    </a:lnTo>
                    <a:close/>
                    <a:moveTo>
                      <a:pt x="816" y="482"/>
                    </a:moveTo>
                    <a:lnTo>
                      <a:pt x="738" y="482"/>
                    </a:lnTo>
                    <a:lnTo>
                      <a:pt x="738" y="365"/>
                    </a:lnTo>
                    <a:lnTo>
                      <a:pt x="816" y="365"/>
                    </a:lnTo>
                    <a:lnTo>
                      <a:pt x="816" y="482"/>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grpSp>
        <p:sp>
          <p:nvSpPr>
            <p:cNvPr id="81" name="TextBox 80"/>
            <p:cNvSpPr txBox="1"/>
            <p:nvPr/>
          </p:nvSpPr>
          <p:spPr>
            <a:xfrm>
              <a:off x="83345" y="113808"/>
              <a:ext cx="2532630" cy="627864"/>
            </a:xfrm>
            <a:prstGeom prst="rect">
              <a:avLst/>
            </a:prstGeom>
            <a:noFill/>
          </p:spPr>
          <p:txBody>
            <a:bodyPr wrap="square" lIns="182880" tIns="146304" rIns="182880" bIns="146304" rtlCol="0">
              <a:spAutoFit/>
            </a:bodyPr>
            <a:lstStyle>
              <a:defPPr>
                <a:defRPr lang="en-US"/>
              </a:defPPr>
              <a:lvl1pPr>
                <a:lnSpc>
                  <a:spcPct val="90000"/>
                </a:lnSpc>
                <a:spcAft>
                  <a:spcPts val="600"/>
                </a:spcAft>
                <a:defRPr sz="2800" b="1">
                  <a:solidFill>
                    <a:srgbClr val="F2C812"/>
                  </a:solidFill>
                  <a:latin typeface="Segoe UI Light"/>
                </a:defRPr>
              </a:lvl1p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400" b="1" i="0" u="none" strike="noStrike" kern="1200" cap="none" spc="0" normalizeH="0" baseline="0" noProof="0">
                  <a:ln>
                    <a:noFill/>
                  </a:ln>
                  <a:solidFill>
                    <a:srgbClr val="F2C812"/>
                  </a:solidFill>
                  <a:effectLst/>
                  <a:uLnTx/>
                  <a:uFillTx/>
                  <a:latin typeface="Segoe UI Light"/>
                  <a:ea typeface="+mn-ea"/>
                  <a:cs typeface="+mn-cs"/>
                </a:rPr>
                <a:t>Power BI Service</a:t>
              </a:r>
              <a:endParaRPr kumimoji="0" lang="en-US" sz="2800" b="1" i="0" u="none" strike="noStrike" kern="1200" cap="none" spc="0" normalizeH="0" baseline="0" noProof="0">
                <a:ln>
                  <a:noFill/>
                </a:ln>
                <a:solidFill>
                  <a:srgbClr val="F2C812"/>
                </a:solidFill>
                <a:effectLst/>
                <a:uLnTx/>
                <a:uFillTx/>
                <a:latin typeface="Segoe UI Light"/>
                <a:ea typeface="+mn-ea"/>
                <a:cs typeface="+mn-cs"/>
              </a:endParaRPr>
            </a:p>
          </p:txBody>
        </p:sp>
        <p:grpSp>
          <p:nvGrpSpPr>
            <p:cNvPr id="82" name="Group 81"/>
            <p:cNvGrpSpPr/>
            <p:nvPr/>
          </p:nvGrpSpPr>
          <p:grpSpPr>
            <a:xfrm>
              <a:off x="219373" y="3621383"/>
              <a:ext cx="433844" cy="645668"/>
              <a:chOff x="280990" y="3358164"/>
              <a:chExt cx="433844" cy="645668"/>
            </a:xfrm>
          </p:grpSpPr>
          <p:sp>
            <p:nvSpPr>
              <p:cNvPr id="88" name="Oval 1083"/>
              <p:cNvSpPr/>
              <p:nvPr/>
            </p:nvSpPr>
            <p:spPr bwMode="auto">
              <a:xfrm>
                <a:off x="280990" y="3358164"/>
                <a:ext cx="433844" cy="433847"/>
              </a:xfrm>
              <a:prstGeom prst="ellipse">
                <a:avLst/>
              </a:prstGeom>
              <a:solidFill>
                <a:srgbClr val="F2C812"/>
              </a:solidFill>
              <a:ln>
                <a:solidFill>
                  <a:srgbClr val="FFCC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89" name="Group 379"/>
              <p:cNvGrpSpPr/>
              <p:nvPr/>
            </p:nvGrpSpPr>
            <p:grpSpPr>
              <a:xfrm>
                <a:off x="453702" y="3910852"/>
                <a:ext cx="175660" cy="92980"/>
                <a:chOff x="3895793" y="7466656"/>
                <a:chExt cx="785810" cy="415941"/>
              </a:xfrm>
              <a:solidFill>
                <a:srgbClr val="00BCF2"/>
              </a:solidFill>
            </p:grpSpPr>
            <p:sp>
              <p:nvSpPr>
                <p:cNvPr id="90" name="Freeform 132"/>
                <p:cNvSpPr>
                  <a:spLocks/>
                </p:cNvSpPr>
                <p:nvPr/>
              </p:nvSpPr>
              <p:spPr bwMode="auto">
                <a:xfrm>
                  <a:off x="4125979" y="7688918"/>
                  <a:ext cx="0" cy="6353"/>
                </a:xfrm>
                <a:custGeom>
                  <a:avLst/>
                  <a:gdLst>
                    <a:gd name="T0" fmla="*/ 1 w 1"/>
                    <a:gd name="T1" fmla="*/ 0 h 8"/>
                    <a:gd name="T2" fmla="*/ 0 w 1"/>
                    <a:gd name="T3" fmla="*/ 0 h 8"/>
                    <a:gd name="T4" fmla="*/ 1 w 1"/>
                    <a:gd name="T5" fmla="*/ 8 h 8"/>
                    <a:gd name="T6" fmla="*/ 1 w 1"/>
                    <a:gd name="T7" fmla="*/ 0 h 8"/>
                  </a:gdLst>
                  <a:ahLst/>
                  <a:cxnLst>
                    <a:cxn ang="0">
                      <a:pos x="T0" y="T1"/>
                    </a:cxn>
                    <a:cxn ang="0">
                      <a:pos x="T2" y="T3"/>
                    </a:cxn>
                    <a:cxn ang="0">
                      <a:pos x="T4" y="T5"/>
                    </a:cxn>
                    <a:cxn ang="0">
                      <a:pos x="T6" y="T7"/>
                    </a:cxn>
                  </a:cxnLst>
                  <a:rect l="0" t="0" r="r" b="b"/>
                  <a:pathLst>
                    <a:path w="1" h="8">
                      <a:moveTo>
                        <a:pt x="1" y="0"/>
                      </a:moveTo>
                      <a:cubicBezTo>
                        <a:pt x="0" y="0"/>
                        <a:pt x="0" y="0"/>
                        <a:pt x="0" y="0"/>
                      </a:cubicBezTo>
                      <a:cubicBezTo>
                        <a:pt x="0" y="3"/>
                        <a:pt x="1" y="5"/>
                        <a:pt x="1" y="8"/>
                      </a:cubicBezTo>
                      <a:lnTo>
                        <a:pt x="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91" name="Freeform 133"/>
                <p:cNvSpPr>
                  <a:spLocks/>
                </p:cNvSpPr>
                <p:nvPr/>
              </p:nvSpPr>
              <p:spPr bwMode="auto">
                <a:xfrm>
                  <a:off x="3895793" y="7812745"/>
                  <a:ext cx="219078" cy="69852"/>
                </a:xfrm>
                <a:custGeom>
                  <a:avLst/>
                  <a:gdLst>
                    <a:gd name="T0" fmla="*/ 186 w 238"/>
                    <a:gd name="T1" fmla="*/ 9 h 76"/>
                    <a:gd name="T2" fmla="*/ 131 w 238"/>
                    <a:gd name="T3" fmla="*/ 22 h 76"/>
                    <a:gd name="T4" fmla="*/ 60 w 238"/>
                    <a:gd name="T5" fmla="*/ 0 h 76"/>
                    <a:gd name="T6" fmla="*/ 0 w 238"/>
                    <a:gd name="T7" fmla="*/ 42 h 76"/>
                    <a:gd name="T8" fmla="*/ 0 w 238"/>
                    <a:gd name="T9" fmla="*/ 76 h 76"/>
                    <a:gd name="T10" fmla="*/ 238 w 238"/>
                    <a:gd name="T11" fmla="*/ 76 h 76"/>
                    <a:gd name="T12" fmla="*/ 236 w 238"/>
                    <a:gd name="T13" fmla="*/ 53 h 76"/>
                    <a:gd name="T14" fmla="*/ 236 w 238"/>
                    <a:gd name="T15" fmla="*/ 49 h 76"/>
                    <a:gd name="T16" fmla="*/ 186 w 238"/>
                    <a:gd name="T17" fmla="*/ 9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8" h="76">
                      <a:moveTo>
                        <a:pt x="186" y="9"/>
                      </a:moveTo>
                      <a:cubicBezTo>
                        <a:pt x="169" y="18"/>
                        <a:pt x="150" y="22"/>
                        <a:pt x="131" y="22"/>
                      </a:cubicBezTo>
                      <a:cubicBezTo>
                        <a:pt x="105" y="22"/>
                        <a:pt x="80" y="14"/>
                        <a:pt x="60" y="0"/>
                      </a:cubicBezTo>
                      <a:cubicBezTo>
                        <a:pt x="0" y="42"/>
                        <a:pt x="0" y="42"/>
                        <a:pt x="0" y="42"/>
                      </a:cubicBezTo>
                      <a:cubicBezTo>
                        <a:pt x="0" y="76"/>
                        <a:pt x="0" y="76"/>
                        <a:pt x="0" y="76"/>
                      </a:cubicBezTo>
                      <a:cubicBezTo>
                        <a:pt x="238" y="76"/>
                        <a:pt x="238" y="76"/>
                        <a:pt x="238" y="76"/>
                      </a:cubicBezTo>
                      <a:cubicBezTo>
                        <a:pt x="237" y="68"/>
                        <a:pt x="236" y="61"/>
                        <a:pt x="236" y="53"/>
                      </a:cubicBezTo>
                      <a:cubicBezTo>
                        <a:pt x="236" y="51"/>
                        <a:pt x="236" y="50"/>
                        <a:pt x="236" y="49"/>
                      </a:cubicBezTo>
                      <a:lnTo>
                        <a:pt x="186" y="9"/>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92" name="Freeform 137"/>
                <p:cNvSpPr>
                  <a:spLocks/>
                </p:cNvSpPr>
                <p:nvPr/>
              </p:nvSpPr>
              <p:spPr bwMode="auto">
                <a:xfrm>
                  <a:off x="4338704" y="7809561"/>
                  <a:ext cx="65090" cy="73028"/>
                </a:xfrm>
                <a:custGeom>
                  <a:avLst/>
                  <a:gdLst>
                    <a:gd name="T0" fmla="*/ 71 w 71"/>
                    <a:gd name="T1" fmla="*/ 79 h 79"/>
                    <a:gd name="T2" fmla="*/ 71 w 71"/>
                    <a:gd name="T3" fmla="*/ 0 h 79"/>
                    <a:gd name="T4" fmla="*/ 2 w 71"/>
                    <a:gd name="T5" fmla="*/ 53 h 79"/>
                    <a:gd name="T6" fmla="*/ 2 w 71"/>
                    <a:gd name="T7" fmla="*/ 56 h 79"/>
                    <a:gd name="T8" fmla="*/ 0 w 71"/>
                    <a:gd name="T9" fmla="*/ 79 h 79"/>
                    <a:gd name="T10" fmla="*/ 71 w 71"/>
                    <a:gd name="T11" fmla="*/ 79 h 79"/>
                  </a:gdLst>
                  <a:ahLst/>
                  <a:cxnLst>
                    <a:cxn ang="0">
                      <a:pos x="T0" y="T1"/>
                    </a:cxn>
                    <a:cxn ang="0">
                      <a:pos x="T2" y="T3"/>
                    </a:cxn>
                    <a:cxn ang="0">
                      <a:pos x="T4" y="T5"/>
                    </a:cxn>
                    <a:cxn ang="0">
                      <a:pos x="T6" y="T7"/>
                    </a:cxn>
                    <a:cxn ang="0">
                      <a:pos x="T8" y="T9"/>
                    </a:cxn>
                    <a:cxn ang="0">
                      <a:pos x="T10" y="T11"/>
                    </a:cxn>
                  </a:cxnLst>
                  <a:rect l="0" t="0" r="r" b="b"/>
                  <a:pathLst>
                    <a:path w="71" h="79">
                      <a:moveTo>
                        <a:pt x="71" y="79"/>
                      </a:moveTo>
                      <a:cubicBezTo>
                        <a:pt x="71" y="0"/>
                        <a:pt x="71" y="0"/>
                        <a:pt x="71" y="0"/>
                      </a:cubicBezTo>
                      <a:cubicBezTo>
                        <a:pt x="2" y="53"/>
                        <a:pt x="2" y="53"/>
                        <a:pt x="2" y="53"/>
                      </a:cubicBezTo>
                      <a:cubicBezTo>
                        <a:pt x="2" y="54"/>
                        <a:pt x="2" y="55"/>
                        <a:pt x="2" y="56"/>
                      </a:cubicBezTo>
                      <a:cubicBezTo>
                        <a:pt x="2" y="64"/>
                        <a:pt x="1" y="71"/>
                        <a:pt x="0" y="79"/>
                      </a:cubicBezTo>
                      <a:lnTo>
                        <a:pt x="71" y="79"/>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93" name="Freeform 140"/>
                <p:cNvSpPr>
                  <a:spLocks/>
                </p:cNvSpPr>
                <p:nvPr/>
              </p:nvSpPr>
              <p:spPr bwMode="auto">
                <a:xfrm>
                  <a:off x="4600643" y="7622229"/>
                  <a:ext cx="80960" cy="38099"/>
                </a:xfrm>
                <a:custGeom>
                  <a:avLst/>
                  <a:gdLst>
                    <a:gd name="T0" fmla="*/ 0 w 51"/>
                    <a:gd name="T1" fmla="*/ 24 h 24"/>
                    <a:gd name="T2" fmla="*/ 51 w 51"/>
                    <a:gd name="T3" fmla="*/ 24 h 24"/>
                    <a:gd name="T4" fmla="*/ 32 w 51"/>
                    <a:gd name="T5" fmla="*/ 0 h 24"/>
                    <a:gd name="T6" fmla="*/ 0 w 51"/>
                    <a:gd name="T7" fmla="*/ 24 h 24"/>
                  </a:gdLst>
                  <a:ahLst/>
                  <a:cxnLst>
                    <a:cxn ang="0">
                      <a:pos x="T0" y="T1"/>
                    </a:cxn>
                    <a:cxn ang="0">
                      <a:pos x="T2" y="T3"/>
                    </a:cxn>
                    <a:cxn ang="0">
                      <a:pos x="T4" y="T5"/>
                    </a:cxn>
                    <a:cxn ang="0">
                      <a:pos x="T6" y="T7"/>
                    </a:cxn>
                  </a:cxnLst>
                  <a:rect l="0" t="0" r="r" b="b"/>
                  <a:pathLst>
                    <a:path w="51" h="24">
                      <a:moveTo>
                        <a:pt x="0" y="24"/>
                      </a:moveTo>
                      <a:lnTo>
                        <a:pt x="51" y="24"/>
                      </a:lnTo>
                      <a:lnTo>
                        <a:pt x="32" y="0"/>
                      </a:lnTo>
                      <a:lnTo>
                        <a:pt x="0" y="24"/>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94" name="Freeform 141"/>
                <p:cNvSpPr>
                  <a:spLocks/>
                </p:cNvSpPr>
                <p:nvPr/>
              </p:nvSpPr>
              <p:spPr bwMode="auto">
                <a:xfrm>
                  <a:off x="4449825" y="7466656"/>
                  <a:ext cx="119065" cy="139703"/>
                </a:xfrm>
                <a:custGeom>
                  <a:avLst/>
                  <a:gdLst>
                    <a:gd name="T0" fmla="*/ 52 w 75"/>
                    <a:gd name="T1" fmla="*/ 0 h 88"/>
                    <a:gd name="T2" fmla="*/ 0 w 75"/>
                    <a:gd name="T3" fmla="*/ 0 h 88"/>
                    <a:gd name="T4" fmla="*/ 0 w 75"/>
                    <a:gd name="T5" fmla="*/ 88 h 88"/>
                    <a:gd name="T6" fmla="*/ 75 w 75"/>
                    <a:gd name="T7" fmla="*/ 30 h 88"/>
                    <a:gd name="T8" fmla="*/ 52 w 75"/>
                    <a:gd name="T9" fmla="*/ 0 h 88"/>
                  </a:gdLst>
                  <a:ahLst/>
                  <a:cxnLst>
                    <a:cxn ang="0">
                      <a:pos x="T0" y="T1"/>
                    </a:cxn>
                    <a:cxn ang="0">
                      <a:pos x="T2" y="T3"/>
                    </a:cxn>
                    <a:cxn ang="0">
                      <a:pos x="T4" y="T5"/>
                    </a:cxn>
                    <a:cxn ang="0">
                      <a:pos x="T6" y="T7"/>
                    </a:cxn>
                    <a:cxn ang="0">
                      <a:pos x="T8" y="T9"/>
                    </a:cxn>
                  </a:cxnLst>
                  <a:rect l="0" t="0" r="r" b="b"/>
                  <a:pathLst>
                    <a:path w="75" h="88">
                      <a:moveTo>
                        <a:pt x="52" y="0"/>
                      </a:moveTo>
                      <a:lnTo>
                        <a:pt x="0" y="0"/>
                      </a:lnTo>
                      <a:lnTo>
                        <a:pt x="0" y="88"/>
                      </a:lnTo>
                      <a:lnTo>
                        <a:pt x="75" y="30"/>
                      </a:lnTo>
                      <a:lnTo>
                        <a:pt x="52"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grpSp>
        </p:grpSp>
        <p:sp>
          <p:nvSpPr>
            <p:cNvPr id="83" name="Rectangle 152"/>
            <p:cNvSpPr/>
            <p:nvPr/>
          </p:nvSpPr>
          <p:spPr bwMode="auto">
            <a:xfrm>
              <a:off x="712458" y="3628917"/>
              <a:ext cx="1805162" cy="37532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2C812"/>
                  </a:solidFill>
                  <a:effectLst/>
                  <a:uLnTx/>
                  <a:uFillTx/>
                  <a:latin typeface="Segoe UI"/>
                  <a:ea typeface="+mn-ea"/>
                  <a:cs typeface="Segoe UI Light" panose="020B0502040204020203" pitchFamily="34" charset="0"/>
                </a:rPr>
                <a:t>Q&amp;A and </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2C812"/>
                  </a:solidFill>
                  <a:effectLst/>
                  <a:uLnTx/>
                  <a:uFillTx/>
                  <a:latin typeface="Segoe UI"/>
                  <a:ea typeface="+mn-ea"/>
                  <a:cs typeface="Segoe UI Light" panose="020B0502040204020203" pitchFamily="34" charset="0"/>
                </a:rPr>
                <a:t>Quick Insights</a:t>
              </a:r>
              <a:endParaRPr kumimoji="0" lang="en-US" sz="1200" b="1" i="0" u="none" strike="noStrike" kern="1200" cap="none" spc="0" normalizeH="0" baseline="0" noProof="0">
                <a:ln>
                  <a:noFill/>
                </a:ln>
                <a:solidFill>
                  <a:srgbClr val="F2C812"/>
                </a:solidFill>
                <a:effectLst/>
                <a:uLnTx/>
                <a:uFillTx/>
                <a:latin typeface="Segoe UI"/>
                <a:ea typeface="+mn-ea"/>
                <a:cs typeface="Segoe UI Light" panose="020B0502040204020203" pitchFamily="34" charset="0"/>
              </a:endParaRPr>
            </a:p>
          </p:txBody>
        </p:sp>
        <p:sp>
          <p:nvSpPr>
            <p:cNvPr id="84" name="Oval 162"/>
            <p:cNvSpPr/>
            <p:nvPr/>
          </p:nvSpPr>
          <p:spPr bwMode="auto">
            <a:xfrm>
              <a:off x="226619" y="4551712"/>
              <a:ext cx="433844" cy="433844"/>
            </a:xfrm>
            <a:prstGeom prst="ellipse">
              <a:avLst/>
            </a:prstGeom>
            <a:solidFill>
              <a:srgbClr val="F2C812"/>
            </a:solidFill>
            <a:ln>
              <a:solidFill>
                <a:srgbClr val="FFCC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5" name="Rectangle 152"/>
            <p:cNvSpPr/>
            <p:nvPr/>
          </p:nvSpPr>
          <p:spPr bwMode="auto">
            <a:xfrm>
              <a:off x="738443" y="4596194"/>
              <a:ext cx="1884825" cy="30233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2C812"/>
                  </a:solidFill>
                  <a:effectLst/>
                  <a:uLnTx/>
                  <a:uFillTx/>
                  <a:latin typeface="Segoe UI"/>
                  <a:ea typeface="+mn-ea"/>
                  <a:cs typeface="Segoe UI Light" panose="020B0502040204020203" pitchFamily="34" charset="0"/>
                </a:rPr>
                <a:t>Sharing</a:t>
              </a:r>
              <a:endParaRPr kumimoji="0" lang="en-US" sz="1200" b="1" i="1" u="none" strike="noStrike" kern="1200" cap="none" spc="0" normalizeH="0" baseline="0" noProof="0">
                <a:ln>
                  <a:noFill/>
                </a:ln>
                <a:solidFill>
                  <a:srgbClr val="F2C812"/>
                </a:solidFill>
                <a:effectLst/>
                <a:uLnTx/>
                <a:uFillTx/>
                <a:latin typeface="Segoe UI"/>
                <a:ea typeface="+mn-ea"/>
                <a:cs typeface="Segoe UI Light" panose="020B0502040204020203" pitchFamily="34" charset="0"/>
              </a:endParaRPr>
            </a:p>
          </p:txBody>
        </p:sp>
        <p:sp>
          <p:nvSpPr>
            <p:cNvPr id="86" name="Rectangle 145"/>
            <p:cNvSpPr/>
            <p:nvPr/>
          </p:nvSpPr>
          <p:spPr bwMode="auto">
            <a:xfrm>
              <a:off x="697198" y="1847637"/>
              <a:ext cx="1821468" cy="3831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2C812"/>
                  </a:solidFill>
                  <a:effectLst/>
                  <a:uLnTx/>
                  <a:uFillTx/>
                  <a:latin typeface="Segoe UI"/>
                  <a:ea typeface="+mn-ea"/>
                  <a:cs typeface="Segoe UI Light" panose="020B0502040204020203" pitchFamily="34" charset="0"/>
                </a:rPr>
                <a:t>Pinning and Navigation</a:t>
              </a:r>
            </a:p>
          </p:txBody>
        </p:sp>
        <p:sp>
          <p:nvSpPr>
            <p:cNvPr id="87" name="Oval 162"/>
            <p:cNvSpPr/>
            <p:nvPr/>
          </p:nvSpPr>
          <p:spPr bwMode="auto">
            <a:xfrm>
              <a:off x="224136" y="1813606"/>
              <a:ext cx="433844" cy="433844"/>
            </a:xfrm>
            <a:prstGeom prst="ellipse">
              <a:avLst/>
            </a:prstGeom>
            <a:solidFill>
              <a:srgbClr val="FFCC00"/>
            </a:solidFill>
            <a:ln>
              <a:solidFill>
                <a:srgbClr val="F2C81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pic>
        <p:nvPicPr>
          <p:cNvPr id="101" name="Picture 100"/>
          <p:cNvPicPr>
            <a:picLocks noChangeAspect="1"/>
          </p:cNvPicPr>
          <p:nvPr/>
        </p:nvPicPr>
        <p:blipFill rotWithShape="1">
          <a:blip r:embed="rId4"/>
          <a:srcRect l="6503" t="21287" r="74698" b="20220"/>
          <a:stretch/>
        </p:blipFill>
        <p:spPr>
          <a:xfrm>
            <a:off x="339111" y="1946110"/>
            <a:ext cx="228600" cy="231962"/>
          </a:xfrm>
          <a:prstGeom prst="rect">
            <a:avLst/>
          </a:prstGeom>
        </p:spPr>
      </p:pic>
      <p:pic>
        <p:nvPicPr>
          <p:cNvPr id="102" name="Picture 101"/>
          <p:cNvPicPr>
            <a:picLocks noChangeAspect="1"/>
          </p:cNvPicPr>
          <p:nvPr/>
        </p:nvPicPr>
        <p:blipFill>
          <a:blip r:embed="rId5"/>
          <a:stretch>
            <a:fillRect/>
          </a:stretch>
        </p:blipFill>
        <p:spPr>
          <a:xfrm>
            <a:off x="284769" y="3673076"/>
            <a:ext cx="311766" cy="303106"/>
          </a:xfrm>
          <a:prstGeom prst="rect">
            <a:avLst/>
          </a:prstGeom>
        </p:spPr>
      </p:pic>
      <p:sp>
        <p:nvSpPr>
          <p:cNvPr id="103" name="Rectangle 145"/>
          <p:cNvSpPr/>
          <p:nvPr/>
        </p:nvSpPr>
        <p:spPr bwMode="auto">
          <a:xfrm>
            <a:off x="718897" y="5436715"/>
            <a:ext cx="1821468" cy="3831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2C812"/>
                </a:solidFill>
                <a:effectLst/>
                <a:uLnTx/>
                <a:uFillTx/>
                <a:latin typeface="Segoe UI"/>
                <a:ea typeface="+mn-ea"/>
                <a:cs typeface="Segoe UI Light" panose="020B0502040204020203" pitchFamily="34" charset="0"/>
              </a:rPr>
              <a:t>Connect from Excel</a:t>
            </a:r>
          </a:p>
        </p:txBody>
      </p:sp>
      <p:sp>
        <p:nvSpPr>
          <p:cNvPr id="104" name="Oval 162"/>
          <p:cNvSpPr/>
          <p:nvPr/>
        </p:nvSpPr>
        <p:spPr bwMode="auto">
          <a:xfrm>
            <a:off x="231441" y="5429649"/>
            <a:ext cx="433844" cy="433844"/>
          </a:xfrm>
          <a:prstGeom prst="ellipse">
            <a:avLst/>
          </a:prstGeom>
          <a:solidFill>
            <a:srgbClr val="FFCC00"/>
          </a:solidFill>
          <a:ln>
            <a:solidFill>
              <a:srgbClr val="F2C81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05" name="Picture 104"/>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flipH="1">
            <a:off x="283763" y="4596680"/>
            <a:ext cx="357484" cy="357484"/>
          </a:xfrm>
          <a:prstGeom prst="rect">
            <a:avLst/>
          </a:prstGeom>
        </p:spPr>
      </p:pic>
      <p:sp>
        <p:nvSpPr>
          <p:cNvPr id="106" name="Oval 162"/>
          <p:cNvSpPr/>
          <p:nvPr/>
        </p:nvSpPr>
        <p:spPr bwMode="auto">
          <a:xfrm>
            <a:off x="233032" y="6267344"/>
            <a:ext cx="433844" cy="433844"/>
          </a:xfrm>
          <a:prstGeom prst="ellipse">
            <a:avLst/>
          </a:prstGeom>
          <a:solidFill>
            <a:srgbClr val="FFCC00"/>
          </a:solidFill>
          <a:ln>
            <a:solidFill>
              <a:srgbClr val="F2C81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7" name="Rectangle 145"/>
          <p:cNvSpPr/>
          <p:nvPr/>
        </p:nvSpPr>
        <p:spPr bwMode="auto">
          <a:xfrm>
            <a:off x="701416" y="6289969"/>
            <a:ext cx="1821468" cy="3831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2C812"/>
                </a:solidFill>
                <a:effectLst/>
                <a:uLnTx/>
                <a:uFillTx/>
                <a:latin typeface="Segoe UI"/>
                <a:ea typeface="+mn-ea"/>
                <a:cs typeface="Segoe UI Light" panose="020B0502040204020203" pitchFamily="34" charset="0"/>
              </a:rPr>
              <a:t>Mobile Reports</a:t>
            </a:r>
          </a:p>
        </p:txBody>
      </p:sp>
      <p:pic>
        <p:nvPicPr>
          <p:cNvPr id="108" name="Picture 107"/>
          <p:cNvPicPr>
            <a:picLocks noChangeAspect="1"/>
          </p:cNvPicPr>
          <p:nvPr/>
        </p:nvPicPr>
        <p:blipFill>
          <a:blip r:embed="rId7" cstate="print">
            <a:extLst>
              <a:ext uri="{BEBA8EAE-BF5A-486C-A8C5-ECC9F3942E4B}">
                <a14:imgProps xmlns:a14="http://schemas.microsoft.com/office/drawing/2010/main">
                  <a14:imgLayer r:embed="rId8">
                    <a14:imgEffect>
                      <a14:saturation sat="0"/>
                    </a14:imgEffect>
                  </a14:imgLayer>
                </a14:imgProps>
              </a:ext>
              <a:ext uri="{28A0092B-C50C-407E-A947-70E740481C1C}">
                <a14:useLocalDpi xmlns:a14="http://schemas.microsoft.com/office/drawing/2010/main" val="0"/>
              </a:ext>
            </a:extLst>
          </a:blip>
          <a:stretch>
            <a:fillRect/>
          </a:stretch>
        </p:blipFill>
        <p:spPr>
          <a:xfrm>
            <a:off x="391946" y="6350039"/>
            <a:ext cx="133350" cy="251587"/>
          </a:xfrm>
          <a:prstGeom prst="rect">
            <a:avLst/>
          </a:prstGeom>
        </p:spPr>
      </p:pic>
      <p:pic>
        <p:nvPicPr>
          <p:cNvPr id="109" name="Picture 108"/>
          <p:cNvPicPr>
            <a:picLocks noChangeAspect="1"/>
          </p:cNvPicPr>
          <p:nvPr/>
        </p:nvPicPr>
        <p:blipFill>
          <a:blip r:embed="rId9" cstate="print">
            <a:biLevel thresh="50000"/>
            <a:extLst>
              <a:ext uri="{28A0092B-C50C-407E-A947-70E740481C1C}">
                <a14:useLocalDpi xmlns:a14="http://schemas.microsoft.com/office/drawing/2010/main" val="0"/>
              </a:ext>
            </a:extLst>
          </a:blip>
          <a:stretch>
            <a:fillRect/>
          </a:stretch>
        </p:blipFill>
        <p:spPr>
          <a:xfrm>
            <a:off x="332658" y="5538489"/>
            <a:ext cx="268940" cy="268940"/>
          </a:xfrm>
          <a:prstGeom prst="rect">
            <a:avLst/>
          </a:prstGeom>
        </p:spPr>
      </p:pic>
      <p:sp>
        <p:nvSpPr>
          <p:cNvPr id="110" name="Rectangle 109"/>
          <p:cNvSpPr/>
          <p:nvPr/>
        </p:nvSpPr>
        <p:spPr bwMode="auto">
          <a:xfrm>
            <a:off x="35912" y="1550386"/>
            <a:ext cx="2464420" cy="5238040"/>
          </a:xfrm>
          <a:prstGeom prst="rect">
            <a:avLst/>
          </a:prstGeom>
          <a:solidFill>
            <a:srgbClr val="000000">
              <a:alpha val="6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2836214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1.xml><?xml version="1.0" encoding="utf-8"?>
<p:sld xmlns:a="http://schemas.openxmlformats.org/drawingml/2006/main" xmlns:r="http://schemas.openxmlformats.org/officeDocument/2006/relationships" xmlns:p="http://schemas.openxmlformats.org/presentationml/2006/main">
  <p:cSld>
    <p:bg>
      <p:bgPr>
        <a:solidFill>
          <a:srgbClr val="F2C81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solidFill>
                  <a:srgbClr val="000000"/>
                </a:solidFill>
              </a:rPr>
              <a:t>Power BI Service:</a:t>
            </a:r>
            <a:br>
              <a:rPr lang="en-US">
                <a:solidFill>
                  <a:srgbClr val="000000"/>
                </a:solidFill>
              </a:rPr>
            </a:br>
            <a:r>
              <a:rPr lang="en-US">
                <a:solidFill>
                  <a:srgbClr val="000000"/>
                </a:solidFill>
              </a:rPr>
              <a:t>Pinning and Navigation</a:t>
            </a:r>
          </a:p>
        </p:txBody>
      </p:sp>
    </p:spTree>
    <p:extLst>
      <p:ext uri="{BB962C8B-B14F-4D97-AF65-F5344CB8AC3E}">
        <p14:creationId xmlns:p14="http://schemas.microsoft.com/office/powerpoint/2010/main" val="8662140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 name="Title 10"/>
          <p:cNvSpPr txBox="1">
            <a:spLocks/>
          </p:cNvSpPr>
          <p:nvPr/>
        </p:nvSpPr>
        <p:spPr>
          <a:xfrm>
            <a:off x="2849060" y="0"/>
            <a:ext cx="9342940" cy="665151"/>
          </a:xfrm>
          <a:prstGeom prst="rect">
            <a:avLst/>
          </a:prstGeom>
          <a:noFill/>
        </p:spPr>
        <p:txBody>
          <a:bodyPr vert="horz" wrap="square" lIns="0" tIns="91440" rIns="0" bIns="91440" rtlCol="0" anchor="t">
            <a:noAutofit/>
          </a:bodyPr>
          <a:lstStyle>
            <a:lvl1pPr defTabSz="914367">
              <a:lnSpc>
                <a:spcPct val="90000"/>
              </a:lnSpc>
              <a:spcBef>
                <a:spcPct val="0"/>
              </a:spcBef>
              <a:buNone/>
              <a:defRPr lang="en-US" sz="5294" b="0" cap="none" spc="-100" baseline="0" dirty="0" smtClean="0">
                <a:ln w="3175">
                  <a:noFill/>
                </a:ln>
                <a:solidFill>
                  <a:schemeClr val="tx2"/>
                </a:solidFill>
                <a:effectLst/>
                <a:latin typeface="+mj-lt"/>
                <a:cs typeface="Segoe UI" pitchFamily="34" charset="0"/>
              </a:defRPr>
            </a:lvl1pPr>
          </a:lstStyle>
          <a:p>
            <a:pPr marL="168275" marR="0" lvl="0" indent="0" algn="l" defTabSz="914367" rtl="0" eaLnBrk="1" fontAlgn="auto" latinLnBrk="0" hangingPunct="1">
              <a:lnSpc>
                <a:spcPct val="90000"/>
              </a:lnSpc>
              <a:spcBef>
                <a:spcPct val="0"/>
              </a:spcBef>
              <a:spcAft>
                <a:spcPts val="0"/>
              </a:spcAft>
              <a:buClrTx/>
              <a:buSzTx/>
              <a:buFontTx/>
              <a:buNone/>
              <a:tabLst/>
              <a:defRPr/>
            </a:pPr>
            <a:r>
              <a:rPr kumimoji="0" lang="en-US" sz="3600" b="0" i="0" u="none" strike="noStrike" kern="1200" cap="none" spc="-100" normalizeH="0" baseline="0" noProof="0">
                <a:ln w="3175">
                  <a:noFill/>
                </a:ln>
                <a:solidFill>
                  <a:prstClr val="black"/>
                </a:solidFill>
                <a:effectLst/>
                <a:uLnTx/>
                <a:uFillTx/>
                <a:latin typeface="Segoe UI Light"/>
                <a:ea typeface="+mn-ea"/>
                <a:cs typeface="Segoe UI" pitchFamily="34" charset="0"/>
              </a:rPr>
              <a:t>Pinning and Navigation</a:t>
            </a:r>
            <a:endParaRPr kumimoji="0" lang="en-IN" sz="3600" b="0" i="0" u="none" strike="noStrike" kern="1200" cap="none" spc="-100" normalizeH="0" baseline="0" noProof="0">
              <a:ln w="3175">
                <a:noFill/>
              </a:ln>
              <a:solidFill>
                <a:prstClr val="black"/>
              </a:solidFill>
              <a:effectLst/>
              <a:uLnTx/>
              <a:uFillTx/>
              <a:latin typeface="Segoe UI Light"/>
              <a:ea typeface="+mn-ea"/>
              <a:cs typeface="Segoe UI" pitchFamily="34" charset="0"/>
            </a:endParaRPr>
          </a:p>
        </p:txBody>
      </p:sp>
      <p:sp>
        <p:nvSpPr>
          <p:cNvPr id="41" name="Rectangle 3"/>
          <p:cNvSpPr/>
          <p:nvPr/>
        </p:nvSpPr>
        <p:spPr bwMode="auto">
          <a:xfrm>
            <a:off x="3202216" y="665151"/>
            <a:ext cx="8105312" cy="44435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PT" sz="2000" b="0" i="1" u="none" strike="noStrike" kern="1200" cap="none" spc="0" normalizeH="0" baseline="0" noProof="0">
                <a:ln>
                  <a:noFill/>
                </a:ln>
                <a:solidFill>
                  <a:prstClr val="black"/>
                </a:solidFill>
                <a:effectLst/>
                <a:uLnTx/>
                <a:uFillTx/>
                <a:latin typeface="Segoe UI Light"/>
                <a:ea typeface="+mn-ea"/>
                <a:cs typeface="+mn-cs"/>
              </a:rPr>
              <a:t>Workspace</a:t>
            </a:r>
            <a:endParaRPr kumimoji="0" lang="en-US" sz="2000" b="0" i="1" u="none" strike="noStrike" kern="1200" cap="none" spc="0" normalizeH="0" baseline="0" noProof="0">
              <a:ln>
                <a:noFill/>
              </a:ln>
              <a:solidFill>
                <a:prstClr val="black"/>
              </a:solidFill>
              <a:effectLst/>
              <a:uLnTx/>
              <a:uFillTx/>
              <a:latin typeface="Segoe UI Light"/>
              <a:ea typeface="+mn-ea"/>
              <a:cs typeface="+mn-cs"/>
            </a:endParaRPr>
          </a:p>
        </p:txBody>
      </p:sp>
      <p:pic>
        <p:nvPicPr>
          <p:cNvPr id="2" name="Picture 1"/>
          <p:cNvPicPr>
            <a:picLocks noChangeAspect="1"/>
          </p:cNvPicPr>
          <p:nvPr/>
        </p:nvPicPr>
        <p:blipFill rotWithShape="1">
          <a:blip r:embed="rId3"/>
          <a:srcRect r="2072"/>
          <a:stretch/>
        </p:blipFill>
        <p:spPr>
          <a:xfrm>
            <a:off x="4040346" y="1299129"/>
            <a:ext cx="7409532" cy="5320182"/>
          </a:xfrm>
          <a:prstGeom prst="rect">
            <a:avLst/>
          </a:prstGeom>
        </p:spPr>
      </p:pic>
      <p:pic>
        <p:nvPicPr>
          <p:cNvPr id="3" name="Picture 2"/>
          <p:cNvPicPr>
            <a:picLocks noChangeAspect="1"/>
          </p:cNvPicPr>
          <p:nvPr/>
        </p:nvPicPr>
        <p:blipFill rotWithShape="1">
          <a:blip r:embed="rId4"/>
          <a:srcRect b="68299"/>
          <a:stretch/>
        </p:blipFill>
        <p:spPr>
          <a:xfrm>
            <a:off x="4073249" y="3890937"/>
            <a:ext cx="1127488" cy="1375257"/>
          </a:xfrm>
          <a:prstGeom prst="rect">
            <a:avLst/>
          </a:prstGeom>
        </p:spPr>
      </p:pic>
      <p:pic>
        <p:nvPicPr>
          <p:cNvPr id="6" name="Picture 5"/>
          <p:cNvPicPr>
            <a:picLocks noChangeAspect="1"/>
          </p:cNvPicPr>
          <p:nvPr/>
        </p:nvPicPr>
        <p:blipFill rotWithShape="1">
          <a:blip r:embed="rId4"/>
          <a:srcRect t="75412"/>
          <a:stretch/>
        </p:blipFill>
        <p:spPr>
          <a:xfrm>
            <a:off x="4040346" y="5217355"/>
            <a:ext cx="1160391" cy="1097810"/>
          </a:xfrm>
          <a:prstGeom prst="rect">
            <a:avLst/>
          </a:prstGeom>
        </p:spPr>
      </p:pic>
      <p:grpSp>
        <p:nvGrpSpPr>
          <p:cNvPr id="42" name="Group 41"/>
          <p:cNvGrpSpPr/>
          <p:nvPr/>
        </p:nvGrpSpPr>
        <p:grpSpPr>
          <a:xfrm>
            <a:off x="-2887" y="973"/>
            <a:ext cx="2849058" cy="6857027"/>
            <a:chOff x="2" y="487"/>
            <a:chExt cx="2849058" cy="6857027"/>
          </a:xfrm>
        </p:grpSpPr>
        <p:sp>
          <p:nvSpPr>
            <p:cNvPr id="43" name="Rectangle 15"/>
            <p:cNvSpPr/>
            <p:nvPr/>
          </p:nvSpPr>
          <p:spPr bwMode="auto">
            <a:xfrm>
              <a:off x="2" y="487"/>
              <a:ext cx="2849058" cy="685702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1" name="Rectangle 145"/>
            <p:cNvSpPr/>
            <p:nvPr/>
          </p:nvSpPr>
          <p:spPr bwMode="auto">
            <a:xfrm>
              <a:off x="696152" y="956997"/>
              <a:ext cx="1821468" cy="3831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2C812"/>
                  </a:solidFill>
                  <a:effectLst/>
                  <a:uLnTx/>
                  <a:uFillTx/>
                  <a:latin typeface="Segoe UI"/>
                  <a:ea typeface="+mn-ea"/>
                  <a:cs typeface="Segoe UI Light" panose="020B0502040204020203" pitchFamily="34" charset="0"/>
                </a:rPr>
                <a:t>Get Data</a:t>
              </a:r>
              <a:endParaRPr kumimoji="0" lang="en-US" sz="1200" b="1" i="1" u="none" strike="noStrike" kern="1200" cap="none" spc="0" normalizeH="0" baseline="0" noProof="0">
                <a:ln>
                  <a:noFill/>
                </a:ln>
                <a:solidFill>
                  <a:srgbClr val="F2C812"/>
                </a:solidFill>
                <a:effectLst/>
                <a:uLnTx/>
                <a:uFillTx/>
                <a:latin typeface="Segoe UI"/>
                <a:ea typeface="+mn-ea"/>
                <a:cs typeface="Segoe UI Light" panose="020B0502040204020203" pitchFamily="34" charset="0"/>
              </a:endParaRPr>
            </a:p>
          </p:txBody>
        </p:sp>
        <p:grpSp>
          <p:nvGrpSpPr>
            <p:cNvPr id="80" name="Group 79"/>
            <p:cNvGrpSpPr/>
            <p:nvPr/>
          </p:nvGrpSpPr>
          <p:grpSpPr>
            <a:xfrm>
              <a:off x="219373" y="934583"/>
              <a:ext cx="433844" cy="433844"/>
              <a:chOff x="440005" y="997815"/>
              <a:chExt cx="296322" cy="296322"/>
            </a:xfrm>
          </p:grpSpPr>
          <p:sp>
            <p:nvSpPr>
              <p:cNvPr id="99" name="Oval 147"/>
              <p:cNvSpPr/>
              <p:nvPr/>
            </p:nvSpPr>
            <p:spPr bwMode="auto">
              <a:xfrm>
                <a:off x="440005" y="997815"/>
                <a:ext cx="296322" cy="296322"/>
              </a:xfrm>
              <a:prstGeom prst="ellipse">
                <a:avLst/>
              </a:prstGeom>
              <a:solidFill>
                <a:srgbClr val="FFCC00"/>
              </a:solidFill>
              <a:ln>
                <a:solidFill>
                  <a:srgbClr val="F2C81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00" name="Group 332"/>
              <p:cNvGrpSpPr/>
              <p:nvPr/>
            </p:nvGrpSpPr>
            <p:grpSpPr>
              <a:xfrm>
                <a:off x="482167" y="1059311"/>
                <a:ext cx="211997" cy="173292"/>
                <a:chOff x="2123129" y="293070"/>
                <a:chExt cx="2472585" cy="2021178"/>
              </a:xfrm>
            </p:grpSpPr>
            <p:sp>
              <p:nvSpPr>
                <p:cNvPr id="101" name="Freeform 13"/>
                <p:cNvSpPr>
                  <a:spLocks/>
                </p:cNvSpPr>
                <p:nvPr/>
              </p:nvSpPr>
              <p:spPr bwMode="auto">
                <a:xfrm rot="20700000">
                  <a:off x="3155853" y="872796"/>
                  <a:ext cx="1439861" cy="1441452"/>
                </a:xfrm>
                <a:custGeom>
                  <a:avLst/>
                  <a:gdLst>
                    <a:gd name="T0" fmla="*/ 138 w 441"/>
                    <a:gd name="T1" fmla="*/ 341 h 441"/>
                    <a:gd name="T2" fmla="*/ 183 w 441"/>
                    <a:gd name="T3" fmla="*/ 374 h 441"/>
                    <a:gd name="T4" fmla="*/ 220 w 441"/>
                    <a:gd name="T5" fmla="*/ 423 h 441"/>
                    <a:gd name="T6" fmla="*/ 422 w 441"/>
                    <a:gd name="T7" fmla="*/ 220 h 441"/>
                    <a:gd name="T8" fmla="*/ 373 w 441"/>
                    <a:gd name="T9" fmla="*/ 184 h 441"/>
                    <a:gd name="T10" fmla="*/ 341 w 441"/>
                    <a:gd name="T11" fmla="*/ 139 h 441"/>
                    <a:gd name="T12" fmla="*/ 382 w 441"/>
                    <a:gd name="T13" fmla="*/ 58 h 441"/>
                    <a:gd name="T14" fmla="*/ 302 w 441"/>
                    <a:gd name="T15" fmla="*/ 100 h 441"/>
                    <a:gd name="T16" fmla="*/ 257 w 441"/>
                    <a:gd name="T17" fmla="*/ 67 h 441"/>
                    <a:gd name="T18" fmla="*/ 220 w 441"/>
                    <a:gd name="T19" fmla="*/ 18 h 441"/>
                    <a:gd name="T20" fmla="*/ 171 w 441"/>
                    <a:gd name="T21" fmla="*/ 55 h 441"/>
                    <a:gd name="T22" fmla="*/ 138 w 441"/>
                    <a:gd name="T23" fmla="*/ 100 h 441"/>
                    <a:gd name="T24" fmla="*/ 180 w 441"/>
                    <a:gd name="T25" fmla="*/ 181 h 441"/>
                    <a:gd name="T26" fmla="*/ 100 w 441"/>
                    <a:gd name="T27" fmla="*/ 139 h 441"/>
                    <a:gd name="T28" fmla="*/ 55 w 441"/>
                    <a:gd name="T29" fmla="*/ 171 h 441"/>
                    <a:gd name="T30" fmla="*/ 18 w 441"/>
                    <a:gd name="T31" fmla="*/ 220 h 441"/>
                    <a:gd name="T32" fmla="*/ 67 w 441"/>
                    <a:gd name="T33" fmla="*/ 257 h 441"/>
                    <a:gd name="T34" fmla="*/ 100 w 441"/>
                    <a:gd name="T35" fmla="*/ 302 h 441"/>
                    <a:gd name="T36" fmla="*/ 58 w 441"/>
                    <a:gd name="T37" fmla="*/ 383 h 441"/>
                    <a:gd name="T38" fmla="*/ 138 w 441"/>
                    <a:gd name="T39" fmla="*/ 341 h 4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41" h="441">
                      <a:moveTo>
                        <a:pt x="138" y="341"/>
                      </a:moveTo>
                      <a:cubicBezTo>
                        <a:pt x="147" y="337"/>
                        <a:pt x="171" y="361"/>
                        <a:pt x="183" y="374"/>
                      </a:cubicBezTo>
                      <a:cubicBezTo>
                        <a:pt x="196" y="386"/>
                        <a:pt x="220" y="423"/>
                        <a:pt x="220" y="423"/>
                      </a:cubicBezTo>
                      <a:cubicBezTo>
                        <a:pt x="422" y="220"/>
                        <a:pt x="422" y="220"/>
                        <a:pt x="422" y="220"/>
                      </a:cubicBezTo>
                      <a:cubicBezTo>
                        <a:pt x="422" y="220"/>
                        <a:pt x="386" y="196"/>
                        <a:pt x="373" y="184"/>
                      </a:cubicBezTo>
                      <a:cubicBezTo>
                        <a:pt x="361" y="171"/>
                        <a:pt x="338" y="149"/>
                        <a:pt x="341" y="139"/>
                      </a:cubicBezTo>
                      <a:cubicBezTo>
                        <a:pt x="343" y="129"/>
                        <a:pt x="441" y="116"/>
                        <a:pt x="382" y="58"/>
                      </a:cubicBezTo>
                      <a:cubicBezTo>
                        <a:pt x="324" y="0"/>
                        <a:pt x="310" y="96"/>
                        <a:pt x="302" y="100"/>
                      </a:cubicBezTo>
                      <a:cubicBezTo>
                        <a:pt x="294" y="104"/>
                        <a:pt x="269" y="80"/>
                        <a:pt x="257" y="67"/>
                      </a:cubicBezTo>
                      <a:cubicBezTo>
                        <a:pt x="245" y="55"/>
                        <a:pt x="220" y="18"/>
                        <a:pt x="220" y="18"/>
                      </a:cubicBezTo>
                      <a:cubicBezTo>
                        <a:pt x="220" y="18"/>
                        <a:pt x="183" y="43"/>
                        <a:pt x="171" y="55"/>
                      </a:cubicBezTo>
                      <a:cubicBezTo>
                        <a:pt x="159" y="67"/>
                        <a:pt x="134" y="92"/>
                        <a:pt x="138" y="100"/>
                      </a:cubicBezTo>
                      <a:cubicBezTo>
                        <a:pt x="142" y="108"/>
                        <a:pt x="238" y="122"/>
                        <a:pt x="180" y="181"/>
                      </a:cubicBezTo>
                      <a:cubicBezTo>
                        <a:pt x="122" y="239"/>
                        <a:pt x="110" y="141"/>
                        <a:pt x="100" y="139"/>
                      </a:cubicBezTo>
                      <a:cubicBezTo>
                        <a:pt x="89" y="137"/>
                        <a:pt x="67" y="159"/>
                        <a:pt x="55" y="171"/>
                      </a:cubicBezTo>
                      <a:cubicBezTo>
                        <a:pt x="42" y="184"/>
                        <a:pt x="18" y="220"/>
                        <a:pt x="18" y="220"/>
                      </a:cubicBezTo>
                      <a:cubicBezTo>
                        <a:pt x="18" y="220"/>
                        <a:pt x="55" y="245"/>
                        <a:pt x="67" y="257"/>
                      </a:cubicBezTo>
                      <a:cubicBezTo>
                        <a:pt x="79" y="269"/>
                        <a:pt x="102" y="292"/>
                        <a:pt x="100" y="302"/>
                      </a:cubicBezTo>
                      <a:cubicBezTo>
                        <a:pt x="98" y="312"/>
                        <a:pt x="0" y="325"/>
                        <a:pt x="58" y="383"/>
                      </a:cubicBezTo>
                      <a:cubicBezTo>
                        <a:pt x="116" y="441"/>
                        <a:pt x="130" y="345"/>
                        <a:pt x="138" y="341"/>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102" name="Freeform 14"/>
                <p:cNvSpPr>
                  <a:spLocks/>
                </p:cNvSpPr>
                <p:nvPr/>
              </p:nvSpPr>
              <p:spPr bwMode="auto">
                <a:xfrm rot="9900000">
                  <a:off x="2123129" y="293070"/>
                  <a:ext cx="1377948" cy="1377947"/>
                </a:xfrm>
                <a:custGeom>
                  <a:avLst/>
                  <a:gdLst>
                    <a:gd name="T0" fmla="*/ 422 w 422"/>
                    <a:gd name="T1" fmla="*/ 220 h 422"/>
                    <a:gd name="T2" fmla="*/ 386 w 422"/>
                    <a:gd name="T3" fmla="*/ 171 h 422"/>
                    <a:gd name="T4" fmla="*/ 341 w 422"/>
                    <a:gd name="T5" fmla="*/ 138 h 422"/>
                    <a:gd name="T6" fmla="*/ 260 w 422"/>
                    <a:gd name="T7" fmla="*/ 180 h 422"/>
                    <a:gd name="T8" fmla="*/ 302 w 422"/>
                    <a:gd name="T9" fmla="*/ 100 h 422"/>
                    <a:gd name="T10" fmla="*/ 269 w 422"/>
                    <a:gd name="T11" fmla="*/ 55 h 422"/>
                    <a:gd name="T12" fmla="*/ 220 w 422"/>
                    <a:gd name="T13" fmla="*/ 18 h 422"/>
                    <a:gd name="T14" fmla="*/ 183 w 422"/>
                    <a:gd name="T15" fmla="*/ 67 h 422"/>
                    <a:gd name="T16" fmla="*/ 138 w 422"/>
                    <a:gd name="T17" fmla="*/ 100 h 422"/>
                    <a:gd name="T18" fmla="*/ 58 w 422"/>
                    <a:gd name="T19" fmla="*/ 58 h 422"/>
                    <a:gd name="T20" fmla="*/ 100 w 422"/>
                    <a:gd name="T21" fmla="*/ 138 h 422"/>
                    <a:gd name="T22" fmla="*/ 67 w 422"/>
                    <a:gd name="T23" fmla="*/ 183 h 422"/>
                    <a:gd name="T24" fmla="*/ 18 w 422"/>
                    <a:gd name="T25" fmla="*/ 220 h 422"/>
                    <a:gd name="T26" fmla="*/ 55 w 422"/>
                    <a:gd name="T27" fmla="*/ 269 h 422"/>
                    <a:gd name="T28" fmla="*/ 100 w 422"/>
                    <a:gd name="T29" fmla="*/ 302 h 422"/>
                    <a:gd name="T30" fmla="*/ 180 w 422"/>
                    <a:gd name="T31" fmla="*/ 260 h 422"/>
                    <a:gd name="T32" fmla="*/ 138 w 422"/>
                    <a:gd name="T33" fmla="*/ 341 h 422"/>
                    <a:gd name="T34" fmla="*/ 171 w 422"/>
                    <a:gd name="T35" fmla="*/ 386 h 422"/>
                    <a:gd name="T36" fmla="*/ 220 w 422"/>
                    <a:gd name="T37" fmla="*/ 422 h 422"/>
                    <a:gd name="T38" fmla="*/ 422 w 422"/>
                    <a:gd name="T39" fmla="*/ 220 h 4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22" h="422">
                      <a:moveTo>
                        <a:pt x="422" y="220"/>
                      </a:moveTo>
                      <a:cubicBezTo>
                        <a:pt x="422" y="220"/>
                        <a:pt x="398" y="183"/>
                        <a:pt x="386" y="171"/>
                      </a:cubicBezTo>
                      <a:cubicBezTo>
                        <a:pt x="373" y="159"/>
                        <a:pt x="349" y="134"/>
                        <a:pt x="341" y="138"/>
                      </a:cubicBezTo>
                      <a:cubicBezTo>
                        <a:pt x="332" y="142"/>
                        <a:pt x="318" y="239"/>
                        <a:pt x="260" y="180"/>
                      </a:cubicBezTo>
                      <a:cubicBezTo>
                        <a:pt x="202" y="122"/>
                        <a:pt x="300" y="110"/>
                        <a:pt x="302" y="100"/>
                      </a:cubicBezTo>
                      <a:cubicBezTo>
                        <a:pt x="304" y="90"/>
                        <a:pt x="281" y="67"/>
                        <a:pt x="269" y="55"/>
                      </a:cubicBezTo>
                      <a:cubicBezTo>
                        <a:pt x="257" y="42"/>
                        <a:pt x="220" y="18"/>
                        <a:pt x="220" y="18"/>
                      </a:cubicBezTo>
                      <a:cubicBezTo>
                        <a:pt x="220" y="18"/>
                        <a:pt x="196" y="55"/>
                        <a:pt x="183" y="67"/>
                      </a:cubicBezTo>
                      <a:cubicBezTo>
                        <a:pt x="171" y="79"/>
                        <a:pt x="149" y="102"/>
                        <a:pt x="138" y="100"/>
                      </a:cubicBezTo>
                      <a:cubicBezTo>
                        <a:pt x="128" y="98"/>
                        <a:pt x="116" y="0"/>
                        <a:pt x="58" y="58"/>
                      </a:cubicBezTo>
                      <a:cubicBezTo>
                        <a:pt x="0" y="116"/>
                        <a:pt x="96" y="130"/>
                        <a:pt x="100" y="138"/>
                      </a:cubicBezTo>
                      <a:cubicBezTo>
                        <a:pt x="104" y="147"/>
                        <a:pt x="79" y="171"/>
                        <a:pt x="67" y="183"/>
                      </a:cubicBezTo>
                      <a:cubicBezTo>
                        <a:pt x="55" y="196"/>
                        <a:pt x="18" y="220"/>
                        <a:pt x="18" y="220"/>
                      </a:cubicBezTo>
                      <a:cubicBezTo>
                        <a:pt x="18" y="220"/>
                        <a:pt x="42" y="257"/>
                        <a:pt x="55" y="269"/>
                      </a:cubicBezTo>
                      <a:cubicBezTo>
                        <a:pt x="67" y="281"/>
                        <a:pt x="91" y="306"/>
                        <a:pt x="100" y="302"/>
                      </a:cubicBezTo>
                      <a:cubicBezTo>
                        <a:pt x="108" y="298"/>
                        <a:pt x="122" y="202"/>
                        <a:pt x="180" y="260"/>
                      </a:cubicBezTo>
                      <a:cubicBezTo>
                        <a:pt x="238" y="318"/>
                        <a:pt x="140" y="330"/>
                        <a:pt x="138" y="341"/>
                      </a:cubicBezTo>
                      <a:cubicBezTo>
                        <a:pt x="136" y="351"/>
                        <a:pt x="159" y="373"/>
                        <a:pt x="171" y="386"/>
                      </a:cubicBezTo>
                      <a:cubicBezTo>
                        <a:pt x="183" y="398"/>
                        <a:pt x="220" y="422"/>
                        <a:pt x="220" y="422"/>
                      </a:cubicBezTo>
                      <a:lnTo>
                        <a:pt x="422" y="22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grpSp>
        </p:grpSp>
        <p:sp>
          <p:nvSpPr>
            <p:cNvPr id="81" name="Rectangle 152"/>
            <p:cNvSpPr/>
            <p:nvPr/>
          </p:nvSpPr>
          <p:spPr bwMode="auto">
            <a:xfrm>
              <a:off x="669652" y="2738277"/>
              <a:ext cx="1805162" cy="37532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2C812"/>
                  </a:solidFill>
                  <a:effectLst/>
                  <a:uLnTx/>
                  <a:uFillTx/>
                  <a:latin typeface="Segoe UI"/>
                  <a:ea typeface="+mn-ea"/>
                  <a:cs typeface="Segoe UI Light" panose="020B0502040204020203" pitchFamily="34" charset="0"/>
                </a:rPr>
                <a:t>Keeping Data Current</a:t>
              </a:r>
            </a:p>
          </p:txBody>
        </p:sp>
        <p:grpSp>
          <p:nvGrpSpPr>
            <p:cNvPr id="82" name="Group 81"/>
            <p:cNvGrpSpPr/>
            <p:nvPr/>
          </p:nvGrpSpPr>
          <p:grpSpPr>
            <a:xfrm>
              <a:off x="199649" y="2692629"/>
              <a:ext cx="433844" cy="433844"/>
              <a:chOff x="342620" y="2228265"/>
              <a:chExt cx="433844" cy="433844"/>
            </a:xfrm>
            <a:solidFill>
              <a:schemeClr val="bg1"/>
            </a:solidFill>
          </p:grpSpPr>
          <p:sp>
            <p:nvSpPr>
              <p:cNvPr id="97" name="Oval 154"/>
              <p:cNvSpPr/>
              <p:nvPr/>
            </p:nvSpPr>
            <p:spPr bwMode="auto">
              <a:xfrm>
                <a:off x="342620" y="2228265"/>
                <a:ext cx="433844" cy="433844"/>
              </a:xfrm>
              <a:prstGeom prst="ellipse">
                <a:avLst/>
              </a:prstGeom>
              <a:solidFill>
                <a:srgbClr val="FFC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8" name="Freeform 30"/>
              <p:cNvSpPr>
                <a:spLocks noEditPoints="1"/>
              </p:cNvSpPr>
              <p:nvPr/>
            </p:nvSpPr>
            <p:spPr bwMode="auto">
              <a:xfrm>
                <a:off x="444786" y="2340040"/>
                <a:ext cx="238402" cy="210293"/>
              </a:xfrm>
              <a:custGeom>
                <a:avLst/>
                <a:gdLst>
                  <a:gd name="T0" fmla="*/ 883 w 916"/>
                  <a:gd name="T1" fmla="*/ 286 h 808"/>
                  <a:gd name="T2" fmla="*/ 539 w 916"/>
                  <a:gd name="T3" fmla="*/ 723 h 808"/>
                  <a:gd name="T4" fmla="*/ 504 w 916"/>
                  <a:gd name="T5" fmla="*/ 0 h 808"/>
                  <a:gd name="T6" fmla="*/ 35 w 916"/>
                  <a:gd name="T7" fmla="*/ 723 h 808"/>
                  <a:gd name="T8" fmla="*/ 0 w 916"/>
                  <a:gd name="T9" fmla="*/ 808 h 808"/>
                  <a:gd name="T10" fmla="*/ 916 w 916"/>
                  <a:gd name="T11" fmla="*/ 723 h 808"/>
                  <a:gd name="T12" fmla="*/ 229 w 916"/>
                  <a:gd name="T13" fmla="*/ 665 h 808"/>
                  <a:gd name="T14" fmla="*/ 109 w 916"/>
                  <a:gd name="T15" fmla="*/ 596 h 808"/>
                  <a:gd name="T16" fmla="*/ 229 w 916"/>
                  <a:gd name="T17" fmla="*/ 665 h 808"/>
                  <a:gd name="T18" fmla="*/ 109 w 916"/>
                  <a:gd name="T19" fmla="*/ 501 h 808"/>
                  <a:gd name="T20" fmla="*/ 229 w 916"/>
                  <a:gd name="T21" fmla="*/ 432 h 808"/>
                  <a:gd name="T22" fmla="*/ 229 w 916"/>
                  <a:gd name="T23" fmla="*/ 337 h 808"/>
                  <a:gd name="T24" fmla="*/ 109 w 916"/>
                  <a:gd name="T25" fmla="*/ 267 h 808"/>
                  <a:gd name="T26" fmla="*/ 229 w 916"/>
                  <a:gd name="T27" fmla="*/ 337 h 808"/>
                  <a:gd name="T28" fmla="*/ 109 w 916"/>
                  <a:gd name="T29" fmla="*/ 172 h 808"/>
                  <a:gd name="T30" fmla="*/ 229 w 916"/>
                  <a:gd name="T31" fmla="*/ 103 h 808"/>
                  <a:gd name="T32" fmla="*/ 428 w 916"/>
                  <a:gd name="T33" fmla="*/ 665 h 808"/>
                  <a:gd name="T34" fmla="*/ 307 w 916"/>
                  <a:gd name="T35" fmla="*/ 596 h 808"/>
                  <a:gd name="T36" fmla="*/ 428 w 916"/>
                  <a:gd name="T37" fmla="*/ 665 h 808"/>
                  <a:gd name="T38" fmla="*/ 307 w 916"/>
                  <a:gd name="T39" fmla="*/ 501 h 808"/>
                  <a:gd name="T40" fmla="*/ 428 w 916"/>
                  <a:gd name="T41" fmla="*/ 432 h 808"/>
                  <a:gd name="T42" fmla="*/ 428 w 916"/>
                  <a:gd name="T43" fmla="*/ 337 h 808"/>
                  <a:gd name="T44" fmla="*/ 307 w 916"/>
                  <a:gd name="T45" fmla="*/ 267 h 808"/>
                  <a:gd name="T46" fmla="*/ 428 w 916"/>
                  <a:gd name="T47" fmla="*/ 337 h 808"/>
                  <a:gd name="T48" fmla="*/ 307 w 916"/>
                  <a:gd name="T49" fmla="*/ 172 h 808"/>
                  <a:gd name="T50" fmla="*/ 428 w 916"/>
                  <a:gd name="T51" fmla="*/ 103 h 808"/>
                  <a:gd name="T52" fmla="*/ 684 w 916"/>
                  <a:gd name="T53" fmla="*/ 668 h 808"/>
                  <a:gd name="T54" fmla="*/ 606 w 916"/>
                  <a:gd name="T55" fmla="*/ 549 h 808"/>
                  <a:gd name="T56" fmla="*/ 684 w 916"/>
                  <a:gd name="T57" fmla="*/ 668 h 808"/>
                  <a:gd name="T58" fmla="*/ 606 w 916"/>
                  <a:gd name="T59" fmla="*/ 482 h 808"/>
                  <a:gd name="T60" fmla="*/ 684 w 916"/>
                  <a:gd name="T61" fmla="*/ 365 h 808"/>
                  <a:gd name="T62" fmla="*/ 816 w 916"/>
                  <a:gd name="T63" fmla="*/ 668 h 808"/>
                  <a:gd name="T64" fmla="*/ 738 w 916"/>
                  <a:gd name="T65" fmla="*/ 549 h 808"/>
                  <a:gd name="T66" fmla="*/ 816 w 916"/>
                  <a:gd name="T67" fmla="*/ 668 h 808"/>
                  <a:gd name="T68" fmla="*/ 738 w 916"/>
                  <a:gd name="T69" fmla="*/ 482 h 808"/>
                  <a:gd name="T70" fmla="*/ 816 w 916"/>
                  <a:gd name="T71" fmla="*/ 365 h 8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16" h="808">
                    <a:moveTo>
                      <a:pt x="883" y="723"/>
                    </a:moveTo>
                    <a:lnTo>
                      <a:pt x="883" y="286"/>
                    </a:lnTo>
                    <a:lnTo>
                      <a:pt x="539" y="286"/>
                    </a:lnTo>
                    <a:lnTo>
                      <a:pt x="539" y="723"/>
                    </a:lnTo>
                    <a:lnTo>
                      <a:pt x="504" y="723"/>
                    </a:lnTo>
                    <a:lnTo>
                      <a:pt x="504" y="0"/>
                    </a:lnTo>
                    <a:lnTo>
                      <a:pt x="35" y="0"/>
                    </a:lnTo>
                    <a:lnTo>
                      <a:pt x="35" y="723"/>
                    </a:lnTo>
                    <a:lnTo>
                      <a:pt x="0" y="723"/>
                    </a:lnTo>
                    <a:lnTo>
                      <a:pt x="0" y="808"/>
                    </a:lnTo>
                    <a:lnTo>
                      <a:pt x="916" y="808"/>
                    </a:lnTo>
                    <a:lnTo>
                      <a:pt x="916" y="723"/>
                    </a:lnTo>
                    <a:lnTo>
                      <a:pt x="883" y="723"/>
                    </a:lnTo>
                    <a:close/>
                    <a:moveTo>
                      <a:pt x="229" y="665"/>
                    </a:moveTo>
                    <a:lnTo>
                      <a:pt x="109" y="665"/>
                    </a:lnTo>
                    <a:lnTo>
                      <a:pt x="109" y="596"/>
                    </a:lnTo>
                    <a:lnTo>
                      <a:pt x="229" y="596"/>
                    </a:lnTo>
                    <a:lnTo>
                      <a:pt x="229" y="665"/>
                    </a:lnTo>
                    <a:close/>
                    <a:moveTo>
                      <a:pt x="229" y="501"/>
                    </a:moveTo>
                    <a:lnTo>
                      <a:pt x="109" y="501"/>
                    </a:lnTo>
                    <a:lnTo>
                      <a:pt x="109" y="432"/>
                    </a:lnTo>
                    <a:lnTo>
                      <a:pt x="229" y="432"/>
                    </a:lnTo>
                    <a:lnTo>
                      <a:pt x="229" y="501"/>
                    </a:lnTo>
                    <a:close/>
                    <a:moveTo>
                      <a:pt x="229" y="337"/>
                    </a:moveTo>
                    <a:lnTo>
                      <a:pt x="109" y="337"/>
                    </a:lnTo>
                    <a:lnTo>
                      <a:pt x="109" y="267"/>
                    </a:lnTo>
                    <a:lnTo>
                      <a:pt x="229" y="267"/>
                    </a:lnTo>
                    <a:lnTo>
                      <a:pt x="229" y="337"/>
                    </a:lnTo>
                    <a:close/>
                    <a:moveTo>
                      <a:pt x="229" y="172"/>
                    </a:moveTo>
                    <a:lnTo>
                      <a:pt x="109" y="172"/>
                    </a:lnTo>
                    <a:lnTo>
                      <a:pt x="109" y="103"/>
                    </a:lnTo>
                    <a:lnTo>
                      <a:pt x="229" y="103"/>
                    </a:lnTo>
                    <a:lnTo>
                      <a:pt x="229" y="172"/>
                    </a:lnTo>
                    <a:close/>
                    <a:moveTo>
                      <a:pt x="428" y="665"/>
                    </a:moveTo>
                    <a:lnTo>
                      <a:pt x="307" y="665"/>
                    </a:lnTo>
                    <a:lnTo>
                      <a:pt x="307" y="596"/>
                    </a:lnTo>
                    <a:lnTo>
                      <a:pt x="428" y="596"/>
                    </a:lnTo>
                    <a:lnTo>
                      <a:pt x="428" y="665"/>
                    </a:lnTo>
                    <a:close/>
                    <a:moveTo>
                      <a:pt x="428" y="501"/>
                    </a:moveTo>
                    <a:lnTo>
                      <a:pt x="307" y="501"/>
                    </a:lnTo>
                    <a:lnTo>
                      <a:pt x="307" y="432"/>
                    </a:lnTo>
                    <a:lnTo>
                      <a:pt x="428" y="432"/>
                    </a:lnTo>
                    <a:lnTo>
                      <a:pt x="428" y="501"/>
                    </a:lnTo>
                    <a:close/>
                    <a:moveTo>
                      <a:pt x="428" y="337"/>
                    </a:moveTo>
                    <a:lnTo>
                      <a:pt x="307" y="337"/>
                    </a:lnTo>
                    <a:lnTo>
                      <a:pt x="307" y="267"/>
                    </a:lnTo>
                    <a:lnTo>
                      <a:pt x="428" y="267"/>
                    </a:lnTo>
                    <a:lnTo>
                      <a:pt x="428" y="337"/>
                    </a:lnTo>
                    <a:close/>
                    <a:moveTo>
                      <a:pt x="428" y="172"/>
                    </a:moveTo>
                    <a:lnTo>
                      <a:pt x="307" y="172"/>
                    </a:lnTo>
                    <a:lnTo>
                      <a:pt x="307" y="103"/>
                    </a:lnTo>
                    <a:lnTo>
                      <a:pt x="428" y="103"/>
                    </a:lnTo>
                    <a:lnTo>
                      <a:pt x="428" y="172"/>
                    </a:lnTo>
                    <a:close/>
                    <a:moveTo>
                      <a:pt x="684" y="668"/>
                    </a:moveTo>
                    <a:lnTo>
                      <a:pt x="606" y="668"/>
                    </a:lnTo>
                    <a:lnTo>
                      <a:pt x="606" y="549"/>
                    </a:lnTo>
                    <a:lnTo>
                      <a:pt x="684" y="549"/>
                    </a:lnTo>
                    <a:lnTo>
                      <a:pt x="684" y="668"/>
                    </a:lnTo>
                    <a:close/>
                    <a:moveTo>
                      <a:pt x="684" y="482"/>
                    </a:moveTo>
                    <a:lnTo>
                      <a:pt x="606" y="482"/>
                    </a:lnTo>
                    <a:lnTo>
                      <a:pt x="606" y="365"/>
                    </a:lnTo>
                    <a:lnTo>
                      <a:pt x="684" y="365"/>
                    </a:lnTo>
                    <a:lnTo>
                      <a:pt x="684" y="482"/>
                    </a:lnTo>
                    <a:close/>
                    <a:moveTo>
                      <a:pt x="816" y="668"/>
                    </a:moveTo>
                    <a:lnTo>
                      <a:pt x="738" y="668"/>
                    </a:lnTo>
                    <a:lnTo>
                      <a:pt x="738" y="549"/>
                    </a:lnTo>
                    <a:lnTo>
                      <a:pt x="816" y="549"/>
                    </a:lnTo>
                    <a:lnTo>
                      <a:pt x="816" y="668"/>
                    </a:lnTo>
                    <a:close/>
                    <a:moveTo>
                      <a:pt x="816" y="482"/>
                    </a:moveTo>
                    <a:lnTo>
                      <a:pt x="738" y="482"/>
                    </a:lnTo>
                    <a:lnTo>
                      <a:pt x="738" y="365"/>
                    </a:lnTo>
                    <a:lnTo>
                      <a:pt x="816" y="365"/>
                    </a:lnTo>
                    <a:lnTo>
                      <a:pt x="816" y="482"/>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grpSp>
        <p:sp>
          <p:nvSpPr>
            <p:cNvPr id="83" name="TextBox 82"/>
            <p:cNvSpPr txBox="1"/>
            <p:nvPr/>
          </p:nvSpPr>
          <p:spPr>
            <a:xfrm>
              <a:off x="83345" y="113808"/>
              <a:ext cx="2532630" cy="627864"/>
            </a:xfrm>
            <a:prstGeom prst="rect">
              <a:avLst/>
            </a:prstGeom>
            <a:noFill/>
          </p:spPr>
          <p:txBody>
            <a:bodyPr wrap="square" lIns="182880" tIns="146304" rIns="182880" bIns="146304" rtlCol="0">
              <a:spAutoFit/>
            </a:bodyPr>
            <a:lstStyle>
              <a:defPPr>
                <a:defRPr lang="en-US"/>
              </a:defPPr>
              <a:lvl1pPr>
                <a:lnSpc>
                  <a:spcPct val="90000"/>
                </a:lnSpc>
                <a:spcAft>
                  <a:spcPts val="600"/>
                </a:spcAft>
                <a:defRPr sz="2800" b="1">
                  <a:solidFill>
                    <a:srgbClr val="F2C812"/>
                  </a:solidFill>
                  <a:latin typeface="Segoe UI Light"/>
                </a:defRPr>
              </a:lvl1p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400" b="1" i="0" u="none" strike="noStrike" kern="1200" cap="none" spc="0" normalizeH="0" baseline="0" noProof="0">
                  <a:ln>
                    <a:noFill/>
                  </a:ln>
                  <a:solidFill>
                    <a:srgbClr val="F2C812"/>
                  </a:solidFill>
                  <a:effectLst/>
                  <a:uLnTx/>
                  <a:uFillTx/>
                  <a:latin typeface="Segoe UI Light"/>
                  <a:ea typeface="+mn-ea"/>
                  <a:cs typeface="+mn-cs"/>
                </a:rPr>
                <a:t>Power BI Service</a:t>
              </a:r>
              <a:endParaRPr kumimoji="0" lang="en-US" sz="2800" b="1" i="0" u="none" strike="noStrike" kern="1200" cap="none" spc="0" normalizeH="0" baseline="0" noProof="0">
                <a:ln>
                  <a:noFill/>
                </a:ln>
                <a:solidFill>
                  <a:srgbClr val="F2C812"/>
                </a:solidFill>
                <a:effectLst/>
                <a:uLnTx/>
                <a:uFillTx/>
                <a:latin typeface="Segoe UI Light"/>
                <a:ea typeface="+mn-ea"/>
                <a:cs typeface="+mn-cs"/>
              </a:endParaRPr>
            </a:p>
          </p:txBody>
        </p:sp>
        <p:grpSp>
          <p:nvGrpSpPr>
            <p:cNvPr id="84" name="Group 83"/>
            <p:cNvGrpSpPr/>
            <p:nvPr/>
          </p:nvGrpSpPr>
          <p:grpSpPr>
            <a:xfrm>
              <a:off x="219373" y="3621383"/>
              <a:ext cx="433844" cy="645668"/>
              <a:chOff x="280990" y="3358164"/>
              <a:chExt cx="433844" cy="645668"/>
            </a:xfrm>
          </p:grpSpPr>
          <p:sp>
            <p:nvSpPr>
              <p:cNvPr id="90" name="Oval 1083"/>
              <p:cNvSpPr/>
              <p:nvPr/>
            </p:nvSpPr>
            <p:spPr bwMode="auto">
              <a:xfrm>
                <a:off x="280990" y="3358164"/>
                <a:ext cx="433844" cy="433847"/>
              </a:xfrm>
              <a:prstGeom prst="ellipse">
                <a:avLst/>
              </a:prstGeom>
              <a:solidFill>
                <a:srgbClr val="F2C812"/>
              </a:solidFill>
              <a:ln>
                <a:solidFill>
                  <a:srgbClr val="FFCC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91" name="Group 379"/>
              <p:cNvGrpSpPr/>
              <p:nvPr/>
            </p:nvGrpSpPr>
            <p:grpSpPr>
              <a:xfrm>
                <a:off x="453702" y="3910852"/>
                <a:ext cx="175660" cy="92980"/>
                <a:chOff x="3895793" y="7466656"/>
                <a:chExt cx="785810" cy="415941"/>
              </a:xfrm>
              <a:solidFill>
                <a:srgbClr val="00BCF2"/>
              </a:solidFill>
            </p:grpSpPr>
            <p:sp>
              <p:nvSpPr>
                <p:cNvPr id="92" name="Freeform 132"/>
                <p:cNvSpPr>
                  <a:spLocks/>
                </p:cNvSpPr>
                <p:nvPr/>
              </p:nvSpPr>
              <p:spPr bwMode="auto">
                <a:xfrm>
                  <a:off x="4125979" y="7688918"/>
                  <a:ext cx="0" cy="6353"/>
                </a:xfrm>
                <a:custGeom>
                  <a:avLst/>
                  <a:gdLst>
                    <a:gd name="T0" fmla="*/ 1 w 1"/>
                    <a:gd name="T1" fmla="*/ 0 h 8"/>
                    <a:gd name="T2" fmla="*/ 0 w 1"/>
                    <a:gd name="T3" fmla="*/ 0 h 8"/>
                    <a:gd name="T4" fmla="*/ 1 w 1"/>
                    <a:gd name="T5" fmla="*/ 8 h 8"/>
                    <a:gd name="T6" fmla="*/ 1 w 1"/>
                    <a:gd name="T7" fmla="*/ 0 h 8"/>
                  </a:gdLst>
                  <a:ahLst/>
                  <a:cxnLst>
                    <a:cxn ang="0">
                      <a:pos x="T0" y="T1"/>
                    </a:cxn>
                    <a:cxn ang="0">
                      <a:pos x="T2" y="T3"/>
                    </a:cxn>
                    <a:cxn ang="0">
                      <a:pos x="T4" y="T5"/>
                    </a:cxn>
                    <a:cxn ang="0">
                      <a:pos x="T6" y="T7"/>
                    </a:cxn>
                  </a:cxnLst>
                  <a:rect l="0" t="0" r="r" b="b"/>
                  <a:pathLst>
                    <a:path w="1" h="8">
                      <a:moveTo>
                        <a:pt x="1" y="0"/>
                      </a:moveTo>
                      <a:cubicBezTo>
                        <a:pt x="0" y="0"/>
                        <a:pt x="0" y="0"/>
                        <a:pt x="0" y="0"/>
                      </a:cubicBezTo>
                      <a:cubicBezTo>
                        <a:pt x="0" y="3"/>
                        <a:pt x="1" y="5"/>
                        <a:pt x="1" y="8"/>
                      </a:cubicBezTo>
                      <a:lnTo>
                        <a:pt x="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93" name="Freeform 133"/>
                <p:cNvSpPr>
                  <a:spLocks/>
                </p:cNvSpPr>
                <p:nvPr/>
              </p:nvSpPr>
              <p:spPr bwMode="auto">
                <a:xfrm>
                  <a:off x="3895793" y="7812745"/>
                  <a:ext cx="219078" cy="69852"/>
                </a:xfrm>
                <a:custGeom>
                  <a:avLst/>
                  <a:gdLst>
                    <a:gd name="T0" fmla="*/ 186 w 238"/>
                    <a:gd name="T1" fmla="*/ 9 h 76"/>
                    <a:gd name="T2" fmla="*/ 131 w 238"/>
                    <a:gd name="T3" fmla="*/ 22 h 76"/>
                    <a:gd name="T4" fmla="*/ 60 w 238"/>
                    <a:gd name="T5" fmla="*/ 0 h 76"/>
                    <a:gd name="T6" fmla="*/ 0 w 238"/>
                    <a:gd name="T7" fmla="*/ 42 h 76"/>
                    <a:gd name="T8" fmla="*/ 0 w 238"/>
                    <a:gd name="T9" fmla="*/ 76 h 76"/>
                    <a:gd name="T10" fmla="*/ 238 w 238"/>
                    <a:gd name="T11" fmla="*/ 76 h 76"/>
                    <a:gd name="T12" fmla="*/ 236 w 238"/>
                    <a:gd name="T13" fmla="*/ 53 h 76"/>
                    <a:gd name="T14" fmla="*/ 236 w 238"/>
                    <a:gd name="T15" fmla="*/ 49 h 76"/>
                    <a:gd name="T16" fmla="*/ 186 w 238"/>
                    <a:gd name="T17" fmla="*/ 9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8" h="76">
                      <a:moveTo>
                        <a:pt x="186" y="9"/>
                      </a:moveTo>
                      <a:cubicBezTo>
                        <a:pt x="169" y="18"/>
                        <a:pt x="150" y="22"/>
                        <a:pt x="131" y="22"/>
                      </a:cubicBezTo>
                      <a:cubicBezTo>
                        <a:pt x="105" y="22"/>
                        <a:pt x="80" y="14"/>
                        <a:pt x="60" y="0"/>
                      </a:cubicBezTo>
                      <a:cubicBezTo>
                        <a:pt x="0" y="42"/>
                        <a:pt x="0" y="42"/>
                        <a:pt x="0" y="42"/>
                      </a:cubicBezTo>
                      <a:cubicBezTo>
                        <a:pt x="0" y="76"/>
                        <a:pt x="0" y="76"/>
                        <a:pt x="0" y="76"/>
                      </a:cubicBezTo>
                      <a:cubicBezTo>
                        <a:pt x="238" y="76"/>
                        <a:pt x="238" y="76"/>
                        <a:pt x="238" y="76"/>
                      </a:cubicBezTo>
                      <a:cubicBezTo>
                        <a:pt x="237" y="68"/>
                        <a:pt x="236" y="61"/>
                        <a:pt x="236" y="53"/>
                      </a:cubicBezTo>
                      <a:cubicBezTo>
                        <a:pt x="236" y="51"/>
                        <a:pt x="236" y="50"/>
                        <a:pt x="236" y="49"/>
                      </a:cubicBezTo>
                      <a:lnTo>
                        <a:pt x="186" y="9"/>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94" name="Freeform 137"/>
                <p:cNvSpPr>
                  <a:spLocks/>
                </p:cNvSpPr>
                <p:nvPr/>
              </p:nvSpPr>
              <p:spPr bwMode="auto">
                <a:xfrm>
                  <a:off x="4338704" y="7809561"/>
                  <a:ext cx="65090" cy="73028"/>
                </a:xfrm>
                <a:custGeom>
                  <a:avLst/>
                  <a:gdLst>
                    <a:gd name="T0" fmla="*/ 71 w 71"/>
                    <a:gd name="T1" fmla="*/ 79 h 79"/>
                    <a:gd name="T2" fmla="*/ 71 w 71"/>
                    <a:gd name="T3" fmla="*/ 0 h 79"/>
                    <a:gd name="T4" fmla="*/ 2 w 71"/>
                    <a:gd name="T5" fmla="*/ 53 h 79"/>
                    <a:gd name="T6" fmla="*/ 2 w 71"/>
                    <a:gd name="T7" fmla="*/ 56 h 79"/>
                    <a:gd name="T8" fmla="*/ 0 w 71"/>
                    <a:gd name="T9" fmla="*/ 79 h 79"/>
                    <a:gd name="T10" fmla="*/ 71 w 71"/>
                    <a:gd name="T11" fmla="*/ 79 h 79"/>
                  </a:gdLst>
                  <a:ahLst/>
                  <a:cxnLst>
                    <a:cxn ang="0">
                      <a:pos x="T0" y="T1"/>
                    </a:cxn>
                    <a:cxn ang="0">
                      <a:pos x="T2" y="T3"/>
                    </a:cxn>
                    <a:cxn ang="0">
                      <a:pos x="T4" y="T5"/>
                    </a:cxn>
                    <a:cxn ang="0">
                      <a:pos x="T6" y="T7"/>
                    </a:cxn>
                    <a:cxn ang="0">
                      <a:pos x="T8" y="T9"/>
                    </a:cxn>
                    <a:cxn ang="0">
                      <a:pos x="T10" y="T11"/>
                    </a:cxn>
                  </a:cxnLst>
                  <a:rect l="0" t="0" r="r" b="b"/>
                  <a:pathLst>
                    <a:path w="71" h="79">
                      <a:moveTo>
                        <a:pt x="71" y="79"/>
                      </a:moveTo>
                      <a:cubicBezTo>
                        <a:pt x="71" y="0"/>
                        <a:pt x="71" y="0"/>
                        <a:pt x="71" y="0"/>
                      </a:cubicBezTo>
                      <a:cubicBezTo>
                        <a:pt x="2" y="53"/>
                        <a:pt x="2" y="53"/>
                        <a:pt x="2" y="53"/>
                      </a:cubicBezTo>
                      <a:cubicBezTo>
                        <a:pt x="2" y="54"/>
                        <a:pt x="2" y="55"/>
                        <a:pt x="2" y="56"/>
                      </a:cubicBezTo>
                      <a:cubicBezTo>
                        <a:pt x="2" y="64"/>
                        <a:pt x="1" y="71"/>
                        <a:pt x="0" y="79"/>
                      </a:cubicBezTo>
                      <a:lnTo>
                        <a:pt x="71" y="79"/>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95" name="Freeform 140"/>
                <p:cNvSpPr>
                  <a:spLocks/>
                </p:cNvSpPr>
                <p:nvPr/>
              </p:nvSpPr>
              <p:spPr bwMode="auto">
                <a:xfrm>
                  <a:off x="4600643" y="7622229"/>
                  <a:ext cx="80960" cy="38099"/>
                </a:xfrm>
                <a:custGeom>
                  <a:avLst/>
                  <a:gdLst>
                    <a:gd name="T0" fmla="*/ 0 w 51"/>
                    <a:gd name="T1" fmla="*/ 24 h 24"/>
                    <a:gd name="T2" fmla="*/ 51 w 51"/>
                    <a:gd name="T3" fmla="*/ 24 h 24"/>
                    <a:gd name="T4" fmla="*/ 32 w 51"/>
                    <a:gd name="T5" fmla="*/ 0 h 24"/>
                    <a:gd name="T6" fmla="*/ 0 w 51"/>
                    <a:gd name="T7" fmla="*/ 24 h 24"/>
                  </a:gdLst>
                  <a:ahLst/>
                  <a:cxnLst>
                    <a:cxn ang="0">
                      <a:pos x="T0" y="T1"/>
                    </a:cxn>
                    <a:cxn ang="0">
                      <a:pos x="T2" y="T3"/>
                    </a:cxn>
                    <a:cxn ang="0">
                      <a:pos x="T4" y="T5"/>
                    </a:cxn>
                    <a:cxn ang="0">
                      <a:pos x="T6" y="T7"/>
                    </a:cxn>
                  </a:cxnLst>
                  <a:rect l="0" t="0" r="r" b="b"/>
                  <a:pathLst>
                    <a:path w="51" h="24">
                      <a:moveTo>
                        <a:pt x="0" y="24"/>
                      </a:moveTo>
                      <a:lnTo>
                        <a:pt x="51" y="24"/>
                      </a:lnTo>
                      <a:lnTo>
                        <a:pt x="32" y="0"/>
                      </a:lnTo>
                      <a:lnTo>
                        <a:pt x="0" y="24"/>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96" name="Freeform 141"/>
                <p:cNvSpPr>
                  <a:spLocks/>
                </p:cNvSpPr>
                <p:nvPr/>
              </p:nvSpPr>
              <p:spPr bwMode="auto">
                <a:xfrm>
                  <a:off x="4449825" y="7466656"/>
                  <a:ext cx="119065" cy="139703"/>
                </a:xfrm>
                <a:custGeom>
                  <a:avLst/>
                  <a:gdLst>
                    <a:gd name="T0" fmla="*/ 52 w 75"/>
                    <a:gd name="T1" fmla="*/ 0 h 88"/>
                    <a:gd name="T2" fmla="*/ 0 w 75"/>
                    <a:gd name="T3" fmla="*/ 0 h 88"/>
                    <a:gd name="T4" fmla="*/ 0 w 75"/>
                    <a:gd name="T5" fmla="*/ 88 h 88"/>
                    <a:gd name="T6" fmla="*/ 75 w 75"/>
                    <a:gd name="T7" fmla="*/ 30 h 88"/>
                    <a:gd name="T8" fmla="*/ 52 w 75"/>
                    <a:gd name="T9" fmla="*/ 0 h 88"/>
                  </a:gdLst>
                  <a:ahLst/>
                  <a:cxnLst>
                    <a:cxn ang="0">
                      <a:pos x="T0" y="T1"/>
                    </a:cxn>
                    <a:cxn ang="0">
                      <a:pos x="T2" y="T3"/>
                    </a:cxn>
                    <a:cxn ang="0">
                      <a:pos x="T4" y="T5"/>
                    </a:cxn>
                    <a:cxn ang="0">
                      <a:pos x="T6" y="T7"/>
                    </a:cxn>
                    <a:cxn ang="0">
                      <a:pos x="T8" y="T9"/>
                    </a:cxn>
                  </a:cxnLst>
                  <a:rect l="0" t="0" r="r" b="b"/>
                  <a:pathLst>
                    <a:path w="75" h="88">
                      <a:moveTo>
                        <a:pt x="52" y="0"/>
                      </a:moveTo>
                      <a:lnTo>
                        <a:pt x="0" y="0"/>
                      </a:lnTo>
                      <a:lnTo>
                        <a:pt x="0" y="88"/>
                      </a:lnTo>
                      <a:lnTo>
                        <a:pt x="75" y="30"/>
                      </a:lnTo>
                      <a:lnTo>
                        <a:pt x="52"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grpSp>
        </p:grpSp>
        <p:sp>
          <p:nvSpPr>
            <p:cNvPr id="85" name="Rectangle 152"/>
            <p:cNvSpPr/>
            <p:nvPr/>
          </p:nvSpPr>
          <p:spPr bwMode="auto">
            <a:xfrm>
              <a:off x="712458" y="3628917"/>
              <a:ext cx="1805162" cy="37532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2C812"/>
                  </a:solidFill>
                  <a:effectLst/>
                  <a:uLnTx/>
                  <a:uFillTx/>
                  <a:latin typeface="Segoe UI"/>
                  <a:ea typeface="+mn-ea"/>
                  <a:cs typeface="Segoe UI Light" panose="020B0502040204020203" pitchFamily="34" charset="0"/>
                </a:rPr>
                <a:t>Q&amp;A and </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2C812"/>
                  </a:solidFill>
                  <a:effectLst/>
                  <a:uLnTx/>
                  <a:uFillTx/>
                  <a:latin typeface="Segoe UI"/>
                  <a:ea typeface="+mn-ea"/>
                  <a:cs typeface="Segoe UI Light" panose="020B0502040204020203" pitchFamily="34" charset="0"/>
                </a:rPr>
                <a:t>Quick Insights</a:t>
              </a:r>
              <a:endParaRPr kumimoji="0" lang="en-US" sz="1200" b="1" i="0" u="none" strike="noStrike" kern="1200" cap="none" spc="0" normalizeH="0" baseline="0" noProof="0">
                <a:ln>
                  <a:noFill/>
                </a:ln>
                <a:solidFill>
                  <a:srgbClr val="F2C812"/>
                </a:solidFill>
                <a:effectLst/>
                <a:uLnTx/>
                <a:uFillTx/>
                <a:latin typeface="Segoe UI"/>
                <a:ea typeface="+mn-ea"/>
                <a:cs typeface="Segoe UI Light" panose="020B0502040204020203" pitchFamily="34" charset="0"/>
              </a:endParaRPr>
            </a:p>
          </p:txBody>
        </p:sp>
        <p:sp>
          <p:nvSpPr>
            <p:cNvPr id="86" name="Oval 162"/>
            <p:cNvSpPr/>
            <p:nvPr/>
          </p:nvSpPr>
          <p:spPr bwMode="auto">
            <a:xfrm>
              <a:off x="226619" y="4551712"/>
              <a:ext cx="433844" cy="433844"/>
            </a:xfrm>
            <a:prstGeom prst="ellipse">
              <a:avLst/>
            </a:prstGeom>
            <a:solidFill>
              <a:srgbClr val="F2C812"/>
            </a:solidFill>
            <a:ln>
              <a:solidFill>
                <a:srgbClr val="FFCC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7" name="Rectangle 152"/>
            <p:cNvSpPr/>
            <p:nvPr/>
          </p:nvSpPr>
          <p:spPr bwMode="auto">
            <a:xfrm>
              <a:off x="738443" y="4596194"/>
              <a:ext cx="1884825" cy="30233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2C812"/>
                  </a:solidFill>
                  <a:effectLst/>
                  <a:uLnTx/>
                  <a:uFillTx/>
                  <a:latin typeface="Segoe UI"/>
                  <a:ea typeface="+mn-ea"/>
                  <a:cs typeface="Segoe UI Light" panose="020B0502040204020203" pitchFamily="34" charset="0"/>
                </a:rPr>
                <a:t>Sharing</a:t>
              </a:r>
              <a:endParaRPr kumimoji="0" lang="en-US" sz="1200" b="1" i="1" u="none" strike="noStrike" kern="1200" cap="none" spc="0" normalizeH="0" baseline="0" noProof="0">
                <a:ln>
                  <a:noFill/>
                </a:ln>
                <a:solidFill>
                  <a:srgbClr val="F2C812"/>
                </a:solidFill>
                <a:effectLst/>
                <a:uLnTx/>
                <a:uFillTx/>
                <a:latin typeface="Segoe UI"/>
                <a:ea typeface="+mn-ea"/>
                <a:cs typeface="Segoe UI Light" panose="020B0502040204020203" pitchFamily="34" charset="0"/>
              </a:endParaRPr>
            </a:p>
          </p:txBody>
        </p:sp>
        <p:sp>
          <p:nvSpPr>
            <p:cNvPr id="88" name="Rectangle 145"/>
            <p:cNvSpPr/>
            <p:nvPr/>
          </p:nvSpPr>
          <p:spPr bwMode="auto">
            <a:xfrm>
              <a:off x="697198" y="1847637"/>
              <a:ext cx="1821468" cy="3831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2C812"/>
                  </a:solidFill>
                  <a:effectLst/>
                  <a:uLnTx/>
                  <a:uFillTx/>
                  <a:latin typeface="Segoe UI"/>
                  <a:ea typeface="+mn-ea"/>
                  <a:cs typeface="Segoe UI Light" panose="020B0502040204020203" pitchFamily="34" charset="0"/>
                </a:rPr>
                <a:t>Pinning and Navigation</a:t>
              </a:r>
            </a:p>
          </p:txBody>
        </p:sp>
        <p:sp>
          <p:nvSpPr>
            <p:cNvPr id="89" name="Oval 162"/>
            <p:cNvSpPr/>
            <p:nvPr/>
          </p:nvSpPr>
          <p:spPr bwMode="auto">
            <a:xfrm>
              <a:off x="224136" y="1813606"/>
              <a:ext cx="433844" cy="433844"/>
            </a:xfrm>
            <a:prstGeom prst="ellipse">
              <a:avLst/>
            </a:prstGeom>
            <a:solidFill>
              <a:srgbClr val="FFCC00"/>
            </a:solidFill>
            <a:ln>
              <a:solidFill>
                <a:srgbClr val="F2C81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pic>
        <p:nvPicPr>
          <p:cNvPr id="103" name="Picture 102"/>
          <p:cNvPicPr>
            <a:picLocks noChangeAspect="1"/>
          </p:cNvPicPr>
          <p:nvPr/>
        </p:nvPicPr>
        <p:blipFill rotWithShape="1">
          <a:blip r:embed="rId5"/>
          <a:srcRect l="6503" t="21287" r="74698" b="20220"/>
          <a:stretch/>
        </p:blipFill>
        <p:spPr>
          <a:xfrm>
            <a:off x="339111" y="1946110"/>
            <a:ext cx="228600" cy="231962"/>
          </a:xfrm>
          <a:prstGeom prst="rect">
            <a:avLst/>
          </a:prstGeom>
        </p:spPr>
      </p:pic>
      <p:pic>
        <p:nvPicPr>
          <p:cNvPr id="104" name="Picture 103"/>
          <p:cNvPicPr>
            <a:picLocks noChangeAspect="1"/>
          </p:cNvPicPr>
          <p:nvPr/>
        </p:nvPicPr>
        <p:blipFill>
          <a:blip r:embed="rId6"/>
          <a:stretch>
            <a:fillRect/>
          </a:stretch>
        </p:blipFill>
        <p:spPr>
          <a:xfrm>
            <a:off x="284769" y="3673076"/>
            <a:ext cx="311766" cy="303106"/>
          </a:xfrm>
          <a:prstGeom prst="rect">
            <a:avLst/>
          </a:prstGeom>
        </p:spPr>
      </p:pic>
      <p:sp>
        <p:nvSpPr>
          <p:cNvPr id="105" name="Rectangle 145"/>
          <p:cNvSpPr/>
          <p:nvPr/>
        </p:nvSpPr>
        <p:spPr bwMode="auto">
          <a:xfrm>
            <a:off x="718897" y="5436715"/>
            <a:ext cx="1821468" cy="3831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2C812"/>
                </a:solidFill>
                <a:effectLst/>
                <a:uLnTx/>
                <a:uFillTx/>
                <a:latin typeface="Segoe UI"/>
                <a:ea typeface="+mn-ea"/>
                <a:cs typeface="Segoe UI Light" panose="020B0502040204020203" pitchFamily="34" charset="0"/>
              </a:rPr>
              <a:t>Connect from Excel</a:t>
            </a:r>
          </a:p>
        </p:txBody>
      </p:sp>
      <p:sp>
        <p:nvSpPr>
          <p:cNvPr id="106" name="Oval 162"/>
          <p:cNvSpPr/>
          <p:nvPr/>
        </p:nvSpPr>
        <p:spPr bwMode="auto">
          <a:xfrm>
            <a:off x="231441" y="5429649"/>
            <a:ext cx="433844" cy="433844"/>
          </a:xfrm>
          <a:prstGeom prst="ellipse">
            <a:avLst/>
          </a:prstGeom>
          <a:solidFill>
            <a:srgbClr val="FFCC00"/>
          </a:solidFill>
          <a:ln>
            <a:solidFill>
              <a:srgbClr val="F2C81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07" name="Picture 106"/>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flipH="1">
            <a:off x="283763" y="4596680"/>
            <a:ext cx="357484" cy="357484"/>
          </a:xfrm>
          <a:prstGeom prst="rect">
            <a:avLst/>
          </a:prstGeom>
        </p:spPr>
      </p:pic>
      <p:sp>
        <p:nvSpPr>
          <p:cNvPr id="108" name="Oval 162"/>
          <p:cNvSpPr/>
          <p:nvPr/>
        </p:nvSpPr>
        <p:spPr bwMode="auto">
          <a:xfrm>
            <a:off x="233032" y="6267344"/>
            <a:ext cx="433844" cy="433844"/>
          </a:xfrm>
          <a:prstGeom prst="ellipse">
            <a:avLst/>
          </a:prstGeom>
          <a:solidFill>
            <a:srgbClr val="FFCC00"/>
          </a:solidFill>
          <a:ln>
            <a:solidFill>
              <a:srgbClr val="F2C81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9" name="Rectangle 145"/>
          <p:cNvSpPr/>
          <p:nvPr/>
        </p:nvSpPr>
        <p:spPr bwMode="auto">
          <a:xfrm>
            <a:off x="701416" y="6289969"/>
            <a:ext cx="1821468" cy="3831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2C812"/>
                </a:solidFill>
                <a:effectLst/>
                <a:uLnTx/>
                <a:uFillTx/>
                <a:latin typeface="Segoe UI"/>
                <a:ea typeface="+mn-ea"/>
                <a:cs typeface="Segoe UI Light" panose="020B0502040204020203" pitchFamily="34" charset="0"/>
              </a:rPr>
              <a:t>Mobile Reports</a:t>
            </a:r>
          </a:p>
        </p:txBody>
      </p:sp>
      <p:pic>
        <p:nvPicPr>
          <p:cNvPr id="110" name="Picture 109"/>
          <p:cNvPicPr>
            <a:picLocks noChangeAspect="1"/>
          </p:cNvPicPr>
          <p:nvPr/>
        </p:nvPicPr>
        <p:blipFill>
          <a:blip r:embed="rId8" cstate="print">
            <a:extLst>
              <a:ext uri="{BEBA8EAE-BF5A-486C-A8C5-ECC9F3942E4B}">
                <a14:imgProps xmlns:a14="http://schemas.microsoft.com/office/drawing/2010/main">
                  <a14:imgLayer r:embed="rId9">
                    <a14:imgEffect>
                      <a14:saturation sat="0"/>
                    </a14:imgEffect>
                  </a14:imgLayer>
                </a14:imgProps>
              </a:ext>
              <a:ext uri="{28A0092B-C50C-407E-A947-70E740481C1C}">
                <a14:useLocalDpi xmlns:a14="http://schemas.microsoft.com/office/drawing/2010/main" val="0"/>
              </a:ext>
            </a:extLst>
          </a:blip>
          <a:stretch>
            <a:fillRect/>
          </a:stretch>
        </p:blipFill>
        <p:spPr>
          <a:xfrm>
            <a:off x="391946" y="6350039"/>
            <a:ext cx="133350" cy="251587"/>
          </a:xfrm>
          <a:prstGeom prst="rect">
            <a:avLst/>
          </a:prstGeom>
        </p:spPr>
      </p:pic>
      <p:pic>
        <p:nvPicPr>
          <p:cNvPr id="111" name="Picture 110"/>
          <p:cNvPicPr>
            <a:picLocks noChangeAspect="1"/>
          </p:cNvPicPr>
          <p:nvPr/>
        </p:nvPicPr>
        <p:blipFill>
          <a:blip r:embed="rId10" cstate="print">
            <a:biLevel thresh="50000"/>
            <a:extLst>
              <a:ext uri="{28A0092B-C50C-407E-A947-70E740481C1C}">
                <a14:useLocalDpi xmlns:a14="http://schemas.microsoft.com/office/drawing/2010/main" val="0"/>
              </a:ext>
            </a:extLst>
          </a:blip>
          <a:stretch>
            <a:fillRect/>
          </a:stretch>
        </p:blipFill>
        <p:spPr>
          <a:xfrm>
            <a:off x="332658" y="5538489"/>
            <a:ext cx="268940" cy="268940"/>
          </a:xfrm>
          <a:prstGeom prst="rect">
            <a:avLst/>
          </a:prstGeom>
        </p:spPr>
      </p:pic>
      <p:sp>
        <p:nvSpPr>
          <p:cNvPr id="112" name="Rectangle 111"/>
          <p:cNvSpPr/>
          <p:nvPr/>
        </p:nvSpPr>
        <p:spPr bwMode="auto">
          <a:xfrm>
            <a:off x="35912" y="2594112"/>
            <a:ext cx="2464420" cy="4194313"/>
          </a:xfrm>
          <a:prstGeom prst="rect">
            <a:avLst/>
          </a:prstGeom>
          <a:solidFill>
            <a:srgbClr val="000000">
              <a:alpha val="6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3" name="Rectangle 112"/>
          <p:cNvSpPr/>
          <p:nvPr/>
        </p:nvSpPr>
        <p:spPr bwMode="auto">
          <a:xfrm>
            <a:off x="95936" y="731576"/>
            <a:ext cx="2464420" cy="880187"/>
          </a:xfrm>
          <a:prstGeom prst="rect">
            <a:avLst/>
          </a:prstGeom>
          <a:solidFill>
            <a:srgbClr val="000000">
              <a:alpha val="6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2365440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 name="Title 10"/>
          <p:cNvSpPr txBox="1">
            <a:spLocks/>
          </p:cNvSpPr>
          <p:nvPr/>
        </p:nvSpPr>
        <p:spPr>
          <a:xfrm>
            <a:off x="2849060" y="0"/>
            <a:ext cx="9342940" cy="665151"/>
          </a:xfrm>
          <a:prstGeom prst="rect">
            <a:avLst/>
          </a:prstGeom>
          <a:noFill/>
        </p:spPr>
        <p:txBody>
          <a:bodyPr vert="horz" wrap="square" lIns="0" tIns="91440" rIns="0" bIns="91440" rtlCol="0" anchor="t">
            <a:noAutofit/>
          </a:bodyPr>
          <a:lstStyle>
            <a:lvl1pPr defTabSz="914367">
              <a:lnSpc>
                <a:spcPct val="90000"/>
              </a:lnSpc>
              <a:spcBef>
                <a:spcPct val="0"/>
              </a:spcBef>
              <a:buNone/>
              <a:defRPr lang="en-US" sz="5294" b="0" cap="none" spc="-100" baseline="0" dirty="0" smtClean="0">
                <a:ln w="3175">
                  <a:noFill/>
                </a:ln>
                <a:solidFill>
                  <a:schemeClr val="tx2"/>
                </a:solidFill>
                <a:effectLst/>
                <a:latin typeface="+mj-lt"/>
                <a:cs typeface="Segoe UI" pitchFamily="34" charset="0"/>
              </a:defRPr>
            </a:lvl1pPr>
          </a:lstStyle>
          <a:p>
            <a:pPr marL="168275" marR="0" lvl="0" indent="0" algn="l" defTabSz="914367" rtl="0" eaLnBrk="1" fontAlgn="auto" latinLnBrk="0" hangingPunct="1">
              <a:lnSpc>
                <a:spcPct val="90000"/>
              </a:lnSpc>
              <a:spcBef>
                <a:spcPct val="0"/>
              </a:spcBef>
              <a:spcAft>
                <a:spcPts val="0"/>
              </a:spcAft>
              <a:buClrTx/>
              <a:buSzTx/>
              <a:buFontTx/>
              <a:buNone/>
              <a:tabLst/>
              <a:defRPr/>
            </a:pPr>
            <a:r>
              <a:rPr kumimoji="0" lang="en-US" sz="3600" b="0" i="0" u="none" strike="noStrike" kern="1200" cap="none" spc="-100" normalizeH="0" baseline="0" noProof="0">
                <a:ln w="3175">
                  <a:noFill/>
                </a:ln>
                <a:solidFill>
                  <a:prstClr val="black"/>
                </a:solidFill>
                <a:effectLst/>
                <a:uLnTx/>
                <a:uFillTx/>
                <a:latin typeface="Segoe UI Light"/>
                <a:ea typeface="+mn-ea"/>
                <a:cs typeface="Segoe UI" pitchFamily="34" charset="0"/>
              </a:rPr>
              <a:t>Pinning and Navigation</a:t>
            </a:r>
            <a:endParaRPr kumimoji="0" lang="en-IN" sz="3600" b="0" i="0" u="none" strike="noStrike" kern="1200" cap="none" spc="-100" normalizeH="0" baseline="0" noProof="0">
              <a:ln w="3175">
                <a:noFill/>
              </a:ln>
              <a:solidFill>
                <a:prstClr val="black"/>
              </a:solidFill>
              <a:effectLst/>
              <a:uLnTx/>
              <a:uFillTx/>
              <a:latin typeface="Segoe UI Light"/>
              <a:ea typeface="+mn-ea"/>
              <a:cs typeface="Segoe UI" pitchFamily="34" charset="0"/>
            </a:endParaRPr>
          </a:p>
        </p:txBody>
      </p:sp>
      <p:sp>
        <p:nvSpPr>
          <p:cNvPr id="41" name="Rectangle 3"/>
          <p:cNvSpPr/>
          <p:nvPr/>
        </p:nvSpPr>
        <p:spPr bwMode="auto">
          <a:xfrm>
            <a:off x="3202216" y="665151"/>
            <a:ext cx="8105312" cy="44435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PT" sz="2000" b="0" i="1" u="none" strike="noStrike" kern="1200" cap="none" spc="0" normalizeH="0" baseline="0" noProof="0">
                <a:ln>
                  <a:noFill/>
                </a:ln>
                <a:solidFill>
                  <a:prstClr val="black"/>
                </a:solidFill>
                <a:effectLst/>
                <a:uLnTx/>
                <a:uFillTx/>
                <a:latin typeface="Segoe UI Light"/>
                <a:ea typeface="+mn-ea"/>
                <a:cs typeface="+mn-cs"/>
              </a:rPr>
              <a:t>Dataset</a:t>
            </a:r>
            <a:endParaRPr kumimoji="0" lang="en-US" sz="2000" b="0" i="1" u="none" strike="noStrike" kern="1200" cap="none" spc="0" normalizeH="0" baseline="0" noProof="0">
              <a:ln>
                <a:noFill/>
              </a:ln>
              <a:solidFill>
                <a:prstClr val="black"/>
              </a:solidFill>
              <a:effectLst/>
              <a:uLnTx/>
              <a:uFillTx/>
              <a:latin typeface="Segoe UI Light"/>
              <a:ea typeface="+mn-ea"/>
              <a:cs typeface="+mn-cs"/>
            </a:endParaRPr>
          </a:p>
        </p:txBody>
      </p:sp>
      <p:pic>
        <p:nvPicPr>
          <p:cNvPr id="2" name="Picture 1"/>
          <p:cNvPicPr>
            <a:picLocks noChangeAspect="1"/>
          </p:cNvPicPr>
          <p:nvPr/>
        </p:nvPicPr>
        <p:blipFill rotWithShape="1">
          <a:blip r:embed="rId3"/>
          <a:srcRect r="2072"/>
          <a:stretch/>
        </p:blipFill>
        <p:spPr>
          <a:xfrm>
            <a:off x="4040346" y="1299129"/>
            <a:ext cx="7409532" cy="5320182"/>
          </a:xfrm>
          <a:prstGeom prst="rect">
            <a:avLst/>
          </a:prstGeom>
        </p:spPr>
      </p:pic>
      <p:pic>
        <p:nvPicPr>
          <p:cNvPr id="3" name="Picture 2"/>
          <p:cNvPicPr>
            <a:picLocks noChangeAspect="1"/>
          </p:cNvPicPr>
          <p:nvPr/>
        </p:nvPicPr>
        <p:blipFill rotWithShape="1">
          <a:blip r:embed="rId4"/>
          <a:srcRect b="68299"/>
          <a:stretch/>
        </p:blipFill>
        <p:spPr>
          <a:xfrm>
            <a:off x="4073249" y="3890937"/>
            <a:ext cx="1127488" cy="1375257"/>
          </a:xfrm>
          <a:prstGeom prst="rect">
            <a:avLst/>
          </a:prstGeom>
        </p:spPr>
      </p:pic>
      <p:pic>
        <p:nvPicPr>
          <p:cNvPr id="6" name="Picture 5"/>
          <p:cNvPicPr>
            <a:picLocks noChangeAspect="1"/>
          </p:cNvPicPr>
          <p:nvPr/>
        </p:nvPicPr>
        <p:blipFill rotWithShape="1">
          <a:blip r:embed="rId4"/>
          <a:srcRect t="75412"/>
          <a:stretch/>
        </p:blipFill>
        <p:spPr>
          <a:xfrm>
            <a:off x="4040346" y="5217355"/>
            <a:ext cx="1160391" cy="1097810"/>
          </a:xfrm>
          <a:prstGeom prst="rect">
            <a:avLst/>
          </a:prstGeom>
        </p:spPr>
      </p:pic>
      <p:sp>
        <p:nvSpPr>
          <p:cNvPr id="42" name="Rectangle 41"/>
          <p:cNvSpPr/>
          <p:nvPr/>
        </p:nvSpPr>
        <p:spPr bwMode="auto">
          <a:xfrm>
            <a:off x="5303656" y="1564417"/>
            <a:ext cx="6146222" cy="5054894"/>
          </a:xfrm>
          <a:prstGeom prst="rect">
            <a:avLst/>
          </a:prstGeom>
          <a:solidFill>
            <a:srgbClr val="000000">
              <a:alpha val="89804"/>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3" name="Rectangle 42"/>
          <p:cNvSpPr/>
          <p:nvPr/>
        </p:nvSpPr>
        <p:spPr bwMode="auto">
          <a:xfrm>
            <a:off x="4073250" y="5266193"/>
            <a:ext cx="1127488" cy="1048971"/>
          </a:xfrm>
          <a:prstGeom prst="rect">
            <a:avLst/>
          </a:prstGeom>
          <a:noFill/>
          <a:ln w="38100">
            <a:solidFill>
              <a:srgbClr val="FF00F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1" name="Text Placeholder 2"/>
          <p:cNvSpPr txBox="1">
            <a:spLocks/>
          </p:cNvSpPr>
          <p:nvPr/>
        </p:nvSpPr>
        <p:spPr>
          <a:xfrm>
            <a:off x="5200737" y="1697659"/>
            <a:ext cx="6106791" cy="897374"/>
          </a:xfrm>
          <a:prstGeom prst="rect">
            <a:avLst/>
          </a:prstGeom>
        </p:spPr>
        <p:txBody>
          <a:bodyPr vert="horz" wrap="square" lIns="182880" tIns="146304" rIns="182880" bIns="146304" rtlCol="0">
            <a:noAutofit/>
          </a:bodyPr>
          <a:lstStyle>
            <a:lvl1pPr marL="182845" marR="0"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3921" kern="1200" spc="0" baseline="0">
                <a:gradFill>
                  <a:gsLst>
                    <a:gs pos="1250">
                      <a:schemeClr val="tx2"/>
                    </a:gs>
                    <a:gs pos="99000">
                      <a:schemeClr val="tx2"/>
                    </a:gs>
                  </a:gsLst>
                  <a:lin ang="5400000" scaled="0"/>
                </a:gradFill>
                <a:latin typeface="+mj-lt"/>
                <a:ea typeface="+mn-ea"/>
                <a:cs typeface="+mn-cs"/>
              </a:defRPr>
            </a:lvl1pPr>
            <a:lvl2pPr marL="365690" marR="0"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2400" kern="1200" spc="0" baseline="0">
                <a:solidFill>
                  <a:schemeClr val="tx2"/>
                </a:solidFill>
                <a:latin typeface="+mj-lt"/>
                <a:ea typeface="+mn-ea"/>
                <a:cs typeface="+mn-cs"/>
              </a:defRPr>
            </a:lvl2pPr>
            <a:lvl3pPr marL="548535" marR="0"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2000" kern="1200" spc="0" baseline="0">
                <a:solidFill>
                  <a:schemeClr val="tx2"/>
                </a:solidFill>
                <a:latin typeface="+mj-lt"/>
                <a:ea typeface="+mn-ea"/>
                <a:cs typeface="+mn-cs"/>
              </a:defRPr>
            </a:lvl3pPr>
            <a:lvl4pPr marL="733802" marR="0" indent="-28569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1765" kern="1200" spc="0" baseline="0">
                <a:solidFill>
                  <a:schemeClr val="tx2"/>
                </a:solidFill>
                <a:latin typeface="+mn-lt"/>
                <a:ea typeface="+mn-ea"/>
                <a:cs typeface="+mn-cs"/>
              </a:defRPr>
            </a:lvl4pPr>
            <a:lvl5pPr marL="957856" marR="0" indent="-28569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1765" kern="1200" spc="0" baseline="0">
                <a:solidFill>
                  <a:schemeClr val="tx2"/>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r>
              <a:rPr kumimoji="0" lang="en-US" sz="2000" b="0" i="0" u="none" strike="noStrike" kern="1200" cap="none" spc="0" normalizeH="0" baseline="0" noProof="0">
                <a:ln>
                  <a:noFill/>
                </a:ln>
                <a:solidFill>
                  <a:prstClr val="white"/>
                </a:solidFill>
                <a:effectLst/>
                <a:uLnTx/>
                <a:uFillTx/>
                <a:latin typeface="Segoe UI Light"/>
                <a:ea typeface="+mn-ea"/>
                <a:cs typeface="Times New Roman" panose="02020603050405020304" pitchFamily="18" charset="0"/>
              </a:rPr>
              <a:t>A dataset is something you </a:t>
            </a:r>
            <a:r>
              <a:rPr kumimoji="0" lang="en-US" sz="2000" b="1" i="0" u="none" strike="noStrike" kern="1200" cap="none" spc="0" normalizeH="0" baseline="0" noProof="0">
                <a:ln>
                  <a:noFill/>
                </a:ln>
                <a:solidFill>
                  <a:prstClr val="white"/>
                </a:solidFill>
                <a:effectLst/>
                <a:uLnTx/>
                <a:uFillTx/>
                <a:latin typeface="Segoe UI Light"/>
                <a:ea typeface="+mn-ea"/>
                <a:cs typeface="Times New Roman" panose="02020603050405020304" pitchFamily="18" charset="0"/>
              </a:rPr>
              <a:t>import</a:t>
            </a:r>
            <a:r>
              <a:rPr kumimoji="0" lang="en-US" sz="2000" b="0" i="0" u="none" strike="noStrike" kern="1200" cap="none" spc="0" normalizeH="0" baseline="0" noProof="0">
                <a:ln>
                  <a:noFill/>
                </a:ln>
                <a:solidFill>
                  <a:prstClr val="white"/>
                </a:solidFill>
                <a:effectLst/>
                <a:uLnTx/>
                <a:uFillTx/>
                <a:latin typeface="Segoe UI Light"/>
                <a:ea typeface="+mn-ea"/>
                <a:cs typeface="Times New Roman" panose="02020603050405020304" pitchFamily="18" charset="0"/>
              </a:rPr>
              <a:t> or </a:t>
            </a:r>
            <a:r>
              <a:rPr kumimoji="0" lang="en-US" sz="2000" b="1" i="0" u="none" strike="noStrike" kern="1200" cap="none" spc="0" normalizeH="0" baseline="0" noProof="0">
                <a:ln>
                  <a:noFill/>
                </a:ln>
                <a:solidFill>
                  <a:prstClr val="white"/>
                </a:solidFill>
                <a:effectLst/>
                <a:uLnTx/>
                <a:uFillTx/>
                <a:latin typeface="Segoe UI Light"/>
                <a:ea typeface="+mn-ea"/>
                <a:cs typeface="Times New Roman" panose="02020603050405020304" pitchFamily="18" charset="0"/>
              </a:rPr>
              <a:t>connect to</a:t>
            </a: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1" i="0" u="none" strike="noStrike" kern="1200" cap="none" spc="0" normalizeH="0" baseline="0" noProof="0">
              <a:ln>
                <a:noFill/>
              </a:ln>
              <a:solidFill>
                <a:prstClr val="white"/>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r>
              <a:rPr kumimoji="0" lang="en-US" sz="2000" b="0" i="0" u="none" strike="noStrike" kern="1200" cap="none" spc="0" normalizeH="0" baseline="0" noProof="0">
                <a:ln>
                  <a:noFill/>
                </a:ln>
                <a:solidFill>
                  <a:prstClr val="white"/>
                </a:solidFill>
                <a:effectLst/>
                <a:uLnTx/>
                <a:uFillTx/>
                <a:latin typeface="Segoe UI Light"/>
                <a:ea typeface="+mn-ea"/>
                <a:cs typeface="Times New Roman" panose="02020603050405020304" pitchFamily="18" charset="0"/>
              </a:rPr>
              <a:t>Each dataset represents </a:t>
            </a:r>
            <a:r>
              <a:rPr kumimoji="0" lang="en-US" sz="2000" b="1" i="0" u="none" strike="noStrike" kern="1200" cap="none" spc="0" normalizeH="0" baseline="0" noProof="0">
                <a:ln>
                  <a:noFill/>
                </a:ln>
                <a:solidFill>
                  <a:prstClr val="white"/>
                </a:solidFill>
                <a:effectLst/>
                <a:uLnTx/>
                <a:uFillTx/>
                <a:latin typeface="Segoe UI Light"/>
                <a:ea typeface="+mn-ea"/>
                <a:cs typeface="Times New Roman" panose="02020603050405020304" pitchFamily="18" charset="0"/>
              </a:rPr>
              <a:t>a source of data</a:t>
            </a: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1" i="0" u="none" strike="noStrike" kern="1200" cap="none" spc="0" normalizeH="0" baseline="0" noProof="0">
              <a:ln>
                <a:noFill/>
              </a:ln>
              <a:solidFill>
                <a:prstClr val="white"/>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r>
              <a:rPr kumimoji="0" lang="en-US" sz="2000" b="0" i="0" u="none" strike="noStrike" kern="1200" cap="none" spc="0" normalizeH="0" baseline="0" noProof="0">
                <a:ln>
                  <a:noFill/>
                </a:ln>
                <a:solidFill>
                  <a:prstClr val="white"/>
                </a:solidFill>
                <a:effectLst/>
                <a:uLnTx/>
                <a:uFillTx/>
                <a:latin typeface="Segoe UI Light"/>
                <a:ea typeface="+mn-ea"/>
                <a:cs typeface="Times New Roman" panose="02020603050405020304" pitchFamily="18" charset="0"/>
              </a:rPr>
              <a:t>That dataset can be an intricate data model created by you in Desktop or a connection to a database</a:t>
            </a: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0" i="0" u="none" strike="noStrike" kern="1200" cap="none" spc="0" normalizeH="0" baseline="0" noProof="0">
              <a:ln>
                <a:noFill/>
              </a:ln>
              <a:solidFill>
                <a:prstClr val="white"/>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r>
              <a:rPr kumimoji="0" lang="en-US" sz="2000" b="0" i="0" u="none" strike="noStrike" kern="1200" cap="none" spc="0" normalizeH="0" baseline="0" noProof="0">
                <a:ln>
                  <a:noFill/>
                </a:ln>
                <a:solidFill>
                  <a:prstClr val="white"/>
                </a:solidFill>
                <a:effectLst/>
                <a:uLnTx/>
                <a:uFillTx/>
                <a:latin typeface="Segoe UI Light"/>
                <a:ea typeface="+mn-ea"/>
                <a:cs typeface="Times New Roman" panose="02020603050405020304" pitchFamily="18" charset="0"/>
              </a:rPr>
              <a:t>A dataset </a:t>
            </a:r>
            <a:r>
              <a:rPr kumimoji="0" lang="en-US" sz="2000" b="1" i="0" u="none" strike="noStrike" kern="1200" cap="none" spc="0" normalizeH="0" baseline="0" noProof="0">
                <a:ln>
                  <a:noFill/>
                </a:ln>
                <a:solidFill>
                  <a:prstClr val="white"/>
                </a:solidFill>
                <a:effectLst/>
                <a:uLnTx/>
                <a:uFillTx/>
                <a:latin typeface="Segoe UI Light"/>
                <a:ea typeface="+mn-ea"/>
                <a:cs typeface="Times New Roman" panose="02020603050405020304" pitchFamily="18" charset="0"/>
              </a:rPr>
              <a:t>can feed many reports and dashboards</a:t>
            </a: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1" i="0" u="none" strike="noStrike" kern="1200" cap="none" spc="0" normalizeH="0" baseline="0" noProof="0">
              <a:ln>
                <a:noFill/>
              </a:ln>
              <a:solidFill>
                <a:prstClr val="white"/>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1" i="0" u="none" strike="noStrike" kern="1200" cap="none" spc="0" normalizeH="0" baseline="0" noProof="0">
              <a:ln>
                <a:noFill/>
              </a:ln>
              <a:solidFill>
                <a:prstClr val="white"/>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1" i="0" u="none" strike="noStrike" kern="1200" cap="none" spc="0" normalizeH="0" baseline="0" noProof="0">
              <a:ln>
                <a:noFill/>
              </a:ln>
              <a:solidFill>
                <a:prstClr val="white"/>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1" i="0" u="none" strike="noStrike" kern="1200" cap="none" spc="0" normalizeH="0" baseline="0" noProof="0">
              <a:ln>
                <a:noFill/>
              </a:ln>
              <a:solidFill>
                <a:prstClr val="white"/>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1" i="0" u="none" strike="noStrike" kern="1200" cap="none" spc="0" normalizeH="0" baseline="0" noProof="0">
              <a:ln>
                <a:noFill/>
              </a:ln>
              <a:solidFill>
                <a:prstClr val="white"/>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1" i="0" u="none" strike="noStrike" kern="1200" cap="none" spc="0" normalizeH="0" baseline="0" noProof="0">
              <a:ln>
                <a:noFill/>
              </a:ln>
              <a:solidFill>
                <a:prstClr val="white"/>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1" i="0" u="none" strike="noStrike" kern="1200" cap="none" spc="0" normalizeH="0" baseline="0" noProof="0">
              <a:ln>
                <a:noFill/>
              </a:ln>
              <a:solidFill>
                <a:prstClr val="white"/>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1" i="0" u="none" strike="noStrike" kern="1200" cap="none" spc="0" normalizeH="0" baseline="0" noProof="0">
              <a:ln>
                <a:noFill/>
              </a:ln>
              <a:solidFill>
                <a:prstClr val="white"/>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1"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p:txBody>
      </p:sp>
      <p:pic>
        <p:nvPicPr>
          <p:cNvPr id="4" name="Picture 3"/>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287209" y="4923055"/>
            <a:ext cx="1933845" cy="1286054"/>
          </a:xfrm>
          <a:prstGeom prst="rect">
            <a:avLst/>
          </a:prstGeom>
        </p:spPr>
      </p:pic>
      <p:grpSp>
        <p:nvGrpSpPr>
          <p:cNvPr id="80" name="Group 79"/>
          <p:cNvGrpSpPr/>
          <p:nvPr/>
        </p:nvGrpSpPr>
        <p:grpSpPr>
          <a:xfrm>
            <a:off x="-2887" y="973"/>
            <a:ext cx="2849058" cy="6857027"/>
            <a:chOff x="2" y="487"/>
            <a:chExt cx="2849058" cy="6857027"/>
          </a:xfrm>
        </p:grpSpPr>
        <p:sp>
          <p:nvSpPr>
            <p:cNvPr id="81" name="Rectangle 15"/>
            <p:cNvSpPr/>
            <p:nvPr/>
          </p:nvSpPr>
          <p:spPr bwMode="auto">
            <a:xfrm>
              <a:off x="2" y="487"/>
              <a:ext cx="2849058" cy="685702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2" name="Rectangle 145"/>
            <p:cNvSpPr/>
            <p:nvPr/>
          </p:nvSpPr>
          <p:spPr bwMode="auto">
            <a:xfrm>
              <a:off x="696152" y="956997"/>
              <a:ext cx="1821468" cy="3831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2C812"/>
                  </a:solidFill>
                  <a:effectLst/>
                  <a:uLnTx/>
                  <a:uFillTx/>
                  <a:latin typeface="Segoe UI"/>
                  <a:ea typeface="+mn-ea"/>
                  <a:cs typeface="Segoe UI Light" panose="020B0502040204020203" pitchFamily="34" charset="0"/>
                </a:rPr>
                <a:t>Get Data</a:t>
              </a:r>
              <a:endParaRPr kumimoji="0" lang="en-US" sz="1200" b="1" i="1" u="none" strike="noStrike" kern="1200" cap="none" spc="0" normalizeH="0" baseline="0" noProof="0">
                <a:ln>
                  <a:noFill/>
                </a:ln>
                <a:solidFill>
                  <a:srgbClr val="F2C812"/>
                </a:solidFill>
                <a:effectLst/>
                <a:uLnTx/>
                <a:uFillTx/>
                <a:latin typeface="Segoe UI"/>
                <a:ea typeface="+mn-ea"/>
                <a:cs typeface="Segoe UI Light" panose="020B0502040204020203" pitchFamily="34" charset="0"/>
              </a:endParaRPr>
            </a:p>
          </p:txBody>
        </p:sp>
        <p:grpSp>
          <p:nvGrpSpPr>
            <p:cNvPr id="83" name="Group 82"/>
            <p:cNvGrpSpPr/>
            <p:nvPr/>
          </p:nvGrpSpPr>
          <p:grpSpPr>
            <a:xfrm>
              <a:off x="219373" y="934583"/>
              <a:ext cx="433844" cy="433844"/>
              <a:chOff x="440005" y="997815"/>
              <a:chExt cx="296322" cy="296322"/>
            </a:xfrm>
          </p:grpSpPr>
          <p:sp>
            <p:nvSpPr>
              <p:cNvPr id="102" name="Oval 147"/>
              <p:cNvSpPr/>
              <p:nvPr/>
            </p:nvSpPr>
            <p:spPr bwMode="auto">
              <a:xfrm>
                <a:off x="440005" y="997815"/>
                <a:ext cx="296322" cy="296322"/>
              </a:xfrm>
              <a:prstGeom prst="ellipse">
                <a:avLst/>
              </a:prstGeom>
              <a:solidFill>
                <a:srgbClr val="FFCC00"/>
              </a:solidFill>
              <a:ln>
                <a:solidFill>
                  <a:srgbClr val="F2C81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03" name="Group 332"/>
              <p:cNvGrpSpPr/>
              <p:nvPr/>
            </p:nvGrpSpPr>
            <p:grpSpPr>
              <a:xfrm>
                <a:off x="482167" y="1059311"/>
                <a:ext cx="211997" cy="173292"/>
                <a:chOff x="2123129" y="293070"/>
                <a:chExt cx="2472585" cy="2021178"/>
              </a:xfrm>
            </p:grpSpPr>
            <p:sp>
              <p:nvSpPr>
                <p:cNvPr id="104" name="Freeform 13"/>
                <p:cNvSpPr>
                  <a:spLocks/>
                </p:cNvSpPr>
                <p:nvPr/>
              </p:nvSpPr>
              <p:spPr bwMode="auto">
                <a:xfrm rot="20700000">
                  <a:off x="3155853" y="872796"/>
                  <a:ext cx="1439861" cy="1441452"/>
                </a:xfrm>
                <a:custGeom>
                  <a:avLst/>
                  <a:gdLst>
                    <a:gd name="T0" fmla="*/ 138 w 441"/>
                    <a:gd name="T1" fmla="*/ 341 h 441"/>
                    <a:gd name="T2" fmla="*/ 183 w 441"/>
                    <a:gd name="T3" fmla="*/ 374 h 441"/>
                    <a:gd name="T4" fmla="*/ 220 w 441"/>
                    <a:gd name="T5" fmla="*/ 423 h 441"/>
                    <a:gd name="T6" fmla="*/ 422 w 441"/>
                    <a:gd name="T7" fmla="*/ 220 h 441"/>
                    <a:gd name="T8" fmla="*/ 373 w 441"/>
                    <a:gd name="T9" fmla="*/ 184 h 441"/>
                    <a:gd name="T10" fmla="*/ 341 w 441"/>
                    <a:gd name="T11" fmla="*/ 139 h 441"/>
                    <a:gd name="T12" fmla="*/ 382 w 441"/>
                    <a:gd name="T13" fmla="*/ 58 h 441"/>
                    <a:gd name="T14" fmla="*/ 302 w 441"/>
                    <a:gd name="T15" fmla="*/ 100 h 441"/>
                    <a:gd name="T16" fmla="*/ 257 w 441"/>
                    <a:gd name="T17" fmla="*/ 67 h 441"/>
                    <a:gd name="T18" fmla="*/ 220 w 441"/>
                    <a:gd name="T19" fmla="*/ 18 h 441"/>
                    <a:gd name="T20" fmla="*/ 171 w 441"/>
                    <a:gd name="T21" fmla="*/ 55 h 441"/>
                    <a:gd name="T22" fmla="*/ 138 w 441"/>
                    <a:gd name="T23" fmla="*/ 100 h 441"/>
                    <a:gd name="T24" fmla="*/ 180 w 441"/>
                    <a:gd name="T25" fmla="*/ 181 h 441"/>
                    <a:gd name="T26" fmla="*/ 100 w 441"/>
                    <a:gd name="T27" fmla="*/ 139 h 441"/>
                    <a:gd name="T28" fmla="*/ 55 w 441"/>
                    <a:gd name="T29" fmla="*/ 171 h 441"/>
                    <a:gd name="T30" fmla="*/ 18 w 441"/>
                    <a:gd name="T31" fmla="*/ 220 h 441"/>
                    <a:gd name="T32" fmla="*/ 67 w 441"/>
                    <a:gd name="T33" fmla="*/ 257 h 441"/>
                    <a:gd name="T34" fmla="*/ 100 w 441"/>
                    <a:gd name="T35" fmla="*/ 302 h 441"/>
                    <a:gd name="T36" fmla="*/ 58 w 441"/>
                    <a:gd name="T37" fmla="*/ 383 h 441"/>
                    <a:gd name="T38" fmla="*/ 138 w 441"/>
                    <a:gd name="T39" fmla="*/ 341 h 4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41" h="441">
                      <a:moveTo>
                        <a:pt x="138" y="341"/>
                      </a:moveTo>
                      <a:cubicBezTo>
                        <a:pt x="147" y="337"/>
                        <a:pt x="171" y="361"/>
                        <a:pt x="183" y="374"/>
                      </a:cubicBezTo>
                      <a:cubicBezTo>
                        <a:pt x="196" y="386"/>
                        <a:pt x="220" y="423"/>
                        <a:pt x="220" y="423"/>
                      </a:cubicBezTo>
                      <a:cubicBezTo>
                        <a:pt x="422" y="220"/>
                        <a:pt x="422" y="220"/>
                        <a:pt x="422" y="220"/>
                      </a:cubicBezTo>
                      <a:cubicBezTo>
                        <a:pt x="422" y="220"/>
                        <a:pt x="386" y="196"/>
                        <a:pt x="373" y="184"/>
                      </a:cubicBezTo>
                      <a:cubicBezTo>
                        <a:pt x="361" y="171"/>
                        <a:pt x="338" y="149"/>
                        <a:pt x="341" y="139"/>
                      </a:cubicBezTo>
                      <a:cubicBezTo>
                        <a:pt x="343" y="129"/>
                        <a:pt x="441" y="116"/>
                        <a:pt x="382" y="58"/>
                      </a:cubicBezTo>
                      <a:cubicBezTo>
                        <a:pt x="324" y="0"/>
                        <a:pt x="310" y="96"/>
                        <a:pt x="302" y="100"/>
                      </a:cubicBezTo>
                      <a:cubicBezTo>
                        <a:pt x="294" y="104"/>
                        <a:pt x="269" y="80"/>
                        <a:pt x="257" y="67"/>
                      </a:cubicBezTo>
                      <a:cubicBezTo>
                        <a:pt x="245" y="55"/>
                        <a:pt x="220" y="18"/>
                        <a:pt x="220" y="18"/>
                      </a:cubicBezTo>
                      <a:cubicBezTo>
                        <a:pt x="220" y="18"/>
                        <a:pt x="183" y="43"/>
                        <a:pt x="171" y="55"/>
                      </a:cubicBezTo>
                      <a:cubicBezTo>
                        <a:pt x="159" y="67"/>
                        <a:pt x="134" y="92"/>
                        <a:pt x="138" y="100"/>
                      </a:cubicBezTo>
                      <a:cubicBezTo>
                        <a:pt x="142" y="108"/>
                        <a:pt x="238" y="122"/>
                        <a:pt x="180" y="181"/>
                      </a:cubicBezTo>
                      <a:cubicBezTo>
                        <a:pt x="122" y="239"/>
                        <a:pt x="110" y="141"/>
                        <a:pt x="100" y="139"/>
                      </a:cubicBezTo>
                      <a:cubicBezTo>
                        <a:pt x="89" y="137"/>
                        <a:pt x="67" y="159"/>
                        <a:pt x="55" y="171"/>
                      </a:cubicBezTo>
                      <a:cubicBezTo>
                        <a:pt x="42" y="184"/>
                        <a:pt x="18" y="220"/>
                        <a:pt x="18" y="220"/>
                      </a:cubicBezTo>
                      <a:cubicBezTo>
                        <a:pt x="18" y="220"/>
                        <a:pt x="55" y="245"/>
                        <a:pt x="67" y="257"/>
                      </a:cubicBezTo>
                      <a:cubicBezTo>
                        <a:pt x="79" y="269"/>
                        <a:pt x="102" y="292"/>
                        <a:pt x="100" y="302"/>
                      </a:cubicBezTo>
                      <a:cubicBezTo>
                        <a:pt x="98" y="312"/>
                        <a:pt x="0" y="325"/>
                        <a:pt x="58" y="383"/>
                      </a:cubicBezTo>
                      <a:cubicBezTo>
                        <a:pt x="116" y="441"/>
                        <a:pt x="130" y="345"/>
                        <a:pt x="138" y="341"/>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105" name="Freeform 14"/>
                <p:cNvSpPr>
                  <a:spLocks/>
                </p:cNvSpPr>
                <p:nvPr/>
              </p:nvSpPr>
              <p:spPr bwMode="auto">
                <a:xfrm rot="9900000">
                  <a:off x="2123129" y="293070"/>
                  <a:ext cx="1377948" cy="1377947"/>
                </a:xfrm>
                <a:custGeom>
                  <a:avLst/>
                  <a:gdLst>
                    <a:gd name="T0" fmla="*/ 422 w 422"/>
                    <a:gd name="T1" fmla="*/ 220 h 422"/>
                    <a:gd name="T2" fmla="*/ 386 w 422"/>
                    <a:gd name="T3" fmla="*/ 171 h 422"/>
                    <a:gd name="T4" fmla="*/ 341 w 422"/>
                    <a:gd name="T5" fmla="*/ 138 h 422"/>
                    <a:gd name="T6" fmla="*/ 260 w 422"/>
                    <a:gd name="T7" fmla="*/ 180 h 422"/>
                    <a:gd name="T8" fmla="*/ 302 w 422"/>
                    <a:gd name="T9" fmla="*/ 100 h 422"/>
                    <a:gd name="T10" fmla="*/ 269 w 422"/>
                    <a:gd name="T11" fmla="*/ 55 h 422"/>
                    <a:gd name="T12" fmla="*/ 220 w 422"/>
                    <a:gd name="T13" fmla="*/ 18 h 422"/>
                    <a:gd name="T14" fmla="*/ 183 w 422"/>
                    <a:gd name="T15" fmla="*/ 67 h 422"/>
                    <a:gd name="T16" fmla="*/ 138 w 422"/>
                    <a:gd name="T17" fmla="*/ 100 h 422"/>
                    <a:gd name="T18" fmla="*/ 58 w 422"/>
                    <a:gd name="T19" fmla="*/ 58 h 422"/>
                    <a:gd name="T20" fmla="*/ 100 w 422"/>
                    <a:gd name="T21" fmla="*/ 138 h 422"/>
                    <a:gd name="T22" fmla="*/ 67 w 422"/>
                    <a:gd name="T23" fmla="*/ 183 h 422"/>
                    <a:gd name="T24" fmla="*/ 18 w 422"/>
                    <a:gd name="T25" fmla="*/ 220 h 422"/>
                    <a:gd name="T26" fmla="*/ 55 w 422"/>
                    <a:gd name="T27" fmla="*/ 269 h 422"/>
                    <a:gd name="T28" fmla="*/ 100 w 422"/>
                    <a:gd name="T29" fmla="*/ 302 h 422"/>
                    <a:gd name="T30" fmla="*/ 180 w 422"/>
                    <a:gd name="T31" fmla="*/ 260 h 422"/>
                    <a:gd name="T32" fmla="*/ 138 w 422"/>
                    <a:gd name="T33" fmla="*/ 341 h 422"/>
                    <a:gd name="T34" fmla="*/ 171 w 422"/>
                    <a:gd name="T35" fmla="*/ 386 h 422"/>
                    <a:gd name="T36" fmla="*/ 220 w 422"/>
                    <a:gd name="T37" fmla="*/ 422 h 422"/>
                    <a:gd name="T38" fmla="*/ 422 w 422"/>
                    <a:gd name="T39" fmla="*/ 220 h 4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22" h="422">
                      <a:moveTo>
                        <a:pt x="422" y="220"/>
                      </a:moveTo>
                      <a:cubicBezTo>
                        <a:pt x="422" y="220"/>
                        <a:pt x="398" y="183"/>
                        <a:pt x="386" y="171"/>
                      </a:cubicBezTo>
                      <a:cubicBezTo>
                        <a:pt x="373" y="159"/>
                        <a:pt x="349" y="134"/>
                        <a:pt x="341" y="138"/>
                      </a:cubicBezTo>
                      <a:cubicBezTo>
                        <a:pt x="332" y="142"/>
                        <a:pt x="318" y="239"/>
                        <a:pt x="260" y="180"/>
                      </a:cubicBezTo>
                      <a:cubicBezTo>
                        <a:pt x="202" y="122"/>
                        <a:pt x="300" y="110"/>
                        <a:pt x="302" y="100"/>
                      </a:cubicBezTo>
                      <a:cubicBezTo>
                        <a:pt x="304" y="90"/>
                        <a:pt x="281" y="67"/>
                        <a:pt x="269" y="55"/>
                      </a:cubicBezTo>
                      <a:cubicBezTo>
                        <a:pt x="257" y="42"/>
                        <a:pt x="220" y="18"/>
                        <a:pt x="220" y="18"/>
                      </a:cubicBezTo>
                      <a:cubicBezTo>
                        <a:pt x="220" y="18"/>
                        <a:pt x="196" y="55"/>
                        <a:pt x="183" y="67"/>
                      </a:cubicBezTo>
                      <a:cubicBezTo>
                        <a:pt x="171" y="79"/>
                        <a:pt x="149" y="102"/>
                        <a:pt x="138" y="100"/>
                      </a:cubicBezTo>
                      <a:cubicBezTo>
                        <a:pt x="128" y="98"/>
                        <a:pt x="116" y="0"/>
                        <a:pt x="58" y="58"/>
                      </a:cubicBezTo>
                      <a:cubicBezTo>
                        <a:pt x="0" y="116"/>
                        <a:pt x="96" y="130"/>
                        <a:pt x="100" y="138"/>
                      </a:cubicBezTo>
                      <a:cubicBezTo>
                        <a:pt x="104" y="147"/>
                        <a:pt x="79" y="171"/>
                        <a:pt x="67" y="183"/>
                      </a:cubicBezTo>
                      <a:cubicBezTo>
                        <a:pt x="55" y="196"/>
                        <a:pt x="18" y="220"/>
                        <a:pt x="18" y="220"/>
                      </a:cubicBezTo>
                      <a:cubicBezTo>
                        <a:pt x="18" y="220"/>
                        <a:pt x="42" y="257"/>
                        <a:pt x="55" y="269"/>
                      </a:cubicBezTo>
                      <a:cubicBezTo>
                        <a:pt x="67" y="281"/>
                        <a:pt x="91" y="306"/>
                        <a:pt x="100" y="302"/>
                      </a:cubicBezTo>
                      <a:cubicBezTo>
                        <a:pt x="108" y="298"/>
                        <a:pt x="122" y="202"/>
                        <a:pt x="180" y="260"/>
                      </a:cubicBezTo>
                      <a:cubicBezTo>
                        <a:pt x="238" y="318"/>
                        <a:pt x="140" y="330"/>
                        <a:pt x="138" y="341"/>
                      </a:cubicBezTo>
                      <a:cubicBezTo>
                        <a:pt x="136" y="351"/>
                        <a:pt x="159" y="373"/>
                        <a:pt x="171" y="386"/>
                      </a:cubicBezTo>
                      <a:cubicBezTo>
                        <a:pt x="183" y="398"/>
                        <a:pt x="220" y="422"/>
                        <a:pt x="220" y="422"/>
                      </a:cubicBezTo>
                      <a:lnTo>
                        <a:pt x="422" y="22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grpSp>
        </p:grpSp>
        <p:sp>
          <p:nvSpPr>
            <p:cNvPr id="84" name="Rectangle 152"/>
            <p:cNvSpPr/>
            <p:nvPr/>
          </p:nvSpPr>
          <p:spPr bwMode="auto">
            <a:xfrm>
              <a:off x="669652" y="2738277"/>
              <a:ext cx="1805162" cy="37532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2C812"/>
                  </a:solidFill>
                  <a:effectLst/>
                  <a:uLnTx/>
                  <a:uFillTx/>
                  <a:latin typeface="Segoe UI"/>
                  <a:ea typeface="+mn-ea"/>
                  <a:cs typeface="Segoe UI Light" panose="020B0502040204020203" pitchFamily="34" charset="0"/>
                </a:rPr>
                <a:t>Keeping Data Current</a:t>
              </a:r>
            </a:p>
          </p:txBody>
        </p:sp>
        <p:grpSp>
          <p:nvGrpSpPr>
            <p:cNvPr id="85" name="Group 84"/>
            <p:cNvGrpSpPr/>
            <p:nvPr/>
          </p:nvGrpSpPr>
          <p:grpSpPr>
            <a:xfrm>
              <a:off x="199649" y="2692629"/>
              <a:ext cx="433844" cy="433844"/>
              <a:chOff x="342620" y="2228265"/>
              <a:chExt cx="433844" cy="433844"/>
            </a:xfrm>
            <a:solidFill>
              <a:schemeClr val="bg1"/>
            </a:solidFill>
          </p:grpSpPr>
          <p:sp>
            <p:nvSpPr>
              <p:cNvPr id="100" name="Oval 154"/>
              <p:cNvSpPr/>
              <p:nvPr/>
            </p:nvSpPr>
            <p:spPr bwMode="auto">
              <a:xfrm>
                <a:off x="342620" y="2228265"/>
                <a:ext cx="433844" cy="433844"/>
              </a:xfrm>
              <a:prstGeom prst="ellipse">
                <a:avLst/>
              </a:prstGeom>
              <a:solidFill>
                <a:srgbClr val="FFC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1" name="Freeform 30"/>
              <p:cNvSpPr>
                <a:spLocks noEditPoints="1"/>
              </p:cNvSpPr>
              <p:nvPr/>
            </p:nvSpPr>
            <p:spPr bwMode="auto">
              <a:xfrm>
                <a:off x="444786" y="2340040"/>
                <a:ext cx="238402" cy="210293"/>
              </a:xfrm>
              <a:custGeom>
                <a:avLst/>
                <a:gdLst>
                  <a:gd name="T0" fmla="*/ 883 w 916"/>
                  <a:gd name="T1" fmla="*/ 286 h 808"/>
                  <a:gd name="T2" fmla="*/ 539 w 916"/>
                  <a:gd name="T3" fmla="*/ 723 h 808"/>
                  <a:gd name="T4" fmla="*/ 504 w 916"/>
                  <a:gd name="T5" fmla="*/ 0 h 808"/>
                  <a:gd name="T6" fmla="*/ 35 w 916"/>
                  <a:gd name="T7" fmla="*/ 723 h 808"/>
                  <a:gd name="T8" fmla="*/ 0 w 916"/>
                  <a:gd name="T9" fmla="*/ 808 h 808"/>
                  <a:gd name="T10" fmla="*/ 916 w 916"/>
                  <a:gd name="T11" fmla="*/ 723 h 808"/>
                  <a:gd name="T12" fmla="*/ 229 w 916"/>
                  <a:gd name="T13" fmla="*/ 665 h 808"/>
                  <a:gd name="T14" fmla="*/ 109 w 916"/>
                  <a:gd name="T15" fmla="*/ 596 h 808"/>
                  <a:gd name="T16" fmla="*/ 229 w 916"/>
                  <a:gd name="T17" fmla="*/ 665 h 808"/>
                  <a:gd name="T18" fmla="*/ 109 w 916"/>
                  <a:gd name="T19" fmla="*/ 501 h 808"/>
                  <a:gd name="T20" fmla="*/ 229 w 916"/>
                  <a:gd name="T21" fmla="*/ 432 h 808"/>
                  <a:gd name="T22" fmla="*/ 229 w 916"/>
                  <a:gd name="T23" fmla="*/ 337 h 808"/>
                  <a:gd name="T24" fmla="*/ 109 w 916"/>
                  <a:gd name="T25" fmla="*/ 267 h 808"/>
                  <a:gd name="T26" fmla="*/ 229 w 916"/>
                  <a:gd name="T27" fmla="*/ 337 h 808"/>
                  <a:gd name="T28" fmla="*/ 109 w 916"/>
                  <a:gd name="T29" fmla="*/ 172 h 808"/>
                  <a:gd name="T30" fmla="*/ 229 w 916"/>
                  <a:gd name="T31" fmla="*/ 103 h 808"/>
                  <a:gd name="T32" fmla="*/ 428 w 916"/>
                  <a:gd name="T33" fmla="*/ 665 h 808"/>
                  <a:gd name="T34" fmla="*/ 307 w 916"/>
                  <a:gd name="T35" fmla="*/ 596 h 808"/>
                  <a:gd name="T36" fmla="*/ 428 w 916"/>
                  <a:gd name="T37" fmla="*/ 665 h 808"/>
                  <a:gd name="T38" fmla="*/ 307 w 916"/>
                  <a:gd name="T39" fmla="*/ 501 h 808"/>
                  <a:gd name="T40" fmla="*/ 428 w 916"/>
                  <a:gd name="T41" fmla="*/ 432 h 808"/>
                  <a:gd name="T42" fmla="*/ 428 w 916"/>
                  <a:gd name="T43" fmla="*/ 337 h 808"/>
                  <a:gd name="T44" fmla="*/ 307 w 916"/>
                  <a:gd name="T45" fmla="*/ 267 h 808"/>
                  <a:gd name="T46" fmla="*/ 428 w 916"/>
                  <a:gd name="T47" fmla="*/ 337 h 808"/>
                  <a:gd name="T48" fmla="*/ 307 w 916"/>
                  <a:gd name="T49" fmla="*/ 172 h 808"/>
                  <a:gd name="T50" fmla="*/ 428 w 916"/>
                  <a:gd name="T51" fmla="*/ 103 h 808"/>
                  <a:gd name="T52" fmla="*/ 684 w 916"/>
                  <a:gd name="T53" fmla="*/ 668 h 808"/>
                  <a:gd name="T54" fmla="*/ 606 w 916"/>
                  <a:gd name="T55" fmla="*/ 549 h 808"/>
                  <a:gd name="T56" fmla="*/ 684 w 916"/>
                  <a:gd name="T57" fmla="*/ 668 h 808"/>
                  <a:gd name="T58" fmla="*/ 606 w 916"/>
                  <a:gd name="T59" fmla="*/ 482 h 808"/>
                  <a:gd name="T60" fmla="*/ 684 w 916"/>
                  <a:gd name="T61" fmla="*/ 365 h 808"/>
                  <a:gd name="T62" fmla="*/ 816 w 916"/>
                  <a:gd name="T63" fmla="*/ 668 h 808"/>
                  <a:gd name="T64" fmla="*/ 738 w 916"/>
                  <a:gd name="T65" fmla="*/ 549 h 808"/>
                  <a:gd name="T66" fmla="*/ 816 w 916"/>
                  <a:gd name="T67" fmla="*/ 668 h 808"/>
                  <a:gd name="T68" fmla="*/ 738 w 916"/>
                  <a:gd name="T69" fmla="*/ 482 h 808"/>
                  <a:gd name="T70" fmla="*/ 816 w 916"/>
                  <a:gd name="T71" fmla="*/ 365 h 8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16" h="808">
                    <a:moveTo>
                      <a:pt x="883" y="723"/>
                    </a:moveTo>
                    <a:lnTo>
                      <a:pt x="883" y="286"/>
                    </a:lnTo>
                    <a:lnTo>
                      <a:pt x="539" y="286"/>
                    </a:lnTo>
                    <a:lnTo>
                      <a:pt x="539" y="723"/>
                    </a:lnTo>
                    <a:lnTo>
                      <a:pt x="504" y="723"/>
                    </a:lnTo>
                    <a:lnTo>
                      <a:pt x="504" y="0"/>
                    </a:lnTo>
                    <a:lnTo>
                      <a:pt x="35" y="0"/>
                    </a:lnTo>
                    <a:lnTo>
                      <a:pt x="35" y="723"/>
                    </a:lnTo>
                    <a:lnTo>
                      <a:pt x="0" y="723"/>
                    </a:lnTo>
                    <a:lnTo>
                      <a:pt x="0" y="808"/>
                    </a:lnTo>
                    <a:lnTo>
                      <a:pt x="916" y="808"/>
                    </a:lnTo>
                    <a:lnTo>
                      <a:pt x="916" y="723"/>
                    </a:lnTo>
                    <a:lnTo>
                      <a:pt x="883" y="723"/>
                    </a:lnTo>
                    <a:close/>
                    <a:moveTo>
                      <a:pt x="229" y="665"/>
                    </a:moveTo>
                    <a:lnTo>
                      <a:pt x="109" y="665"/>
                    </a:lnTo>
                    <a:lnTo>
                      <a:pt x="109" y="596"/>
                    </a:lnTo>
                    <a:lnTo>
                      <a:pt x="229" y="596"/>
                    </a:lnTo>
                    <a:lnTo>
                      <a:pt x="229" y="665"/>
                    </a:lnTo>
                    <a:close/>
                    <a:moveTo>
                      <a:pt x="229" y="501"/>
                    </a:moveTo>
                    <a:lnTo>
                      <a:pt x="109" y="501"/>
                    </a:lnTo>
                    <a:lnTo>
                      <a:pt x="109" y="432"/>
                    </a:lnTo>
                    <a:lnTo>
                      <a:pt x="229" y="432"/>
                    </a:lnTo>
                    <a:lnTo>
                      <a:pt x="229" y="501"/>
                    </a:lnTo>
                    <a:close/>
                    <a:moveTo>
                      <a:pt x="229" y="337"/>
                    </a:moveTo>
                    <a:lnTo>
                      <a:pt x="109" y="337"/>
                    </a:lnTo>
                    <a:lnTo>
                      <a:pt x="109" y="267"/>
                    </a:lnTo>
                    <a:lnTo>
                      <a:pt x="229" y="267"/>
                    </a:lnTo>
                    <a:lnTo>
                      <a:pt x="229" y="337"/>
                    </a:lnTo>
                    <a:close/>
                    <a:moveTo>
                      <a:pt x="229" y="172"/>
                    </a:moveTo>
                    <a:lnTo>
                      <a:pt x="109" y="172"/>
                    </a:lnTo>
                    <a:lnTo>
                      <a:pt x="109" y="103"/>
                    </a:lnTo>
                    <a:lnTo>
                      <a:pt x="229" y="103"/>
                    </a:lnTo>
                    <a:lnTo>
                      <a:pt x="229" y="172"/>
                    </a:lnTo>
                    <a:close/>
                    <a:moveTo>
                      <a:pt x="428" y="665"/>
                    </a:moveTo>
                    <a:lnTo>
                      <a:pt x="307" y="665"/>
                    </a:lnTo>
                    <a:lnTo>
                      <a:pt x="307" y="596"/>
                    </a:lnTo>
                    <a:lnTo>
                      <a:pt x="428" y="596"/>
                    </a:lnTo>
                    <a:lnTo>
                      <a:pt x="428" y="665"/>
                    </a:lnTo>
                    <a:close/>
                    <a:moveTo>
                      <a:pt x="428" y="501"/>
                    </a:moveTo>
                    <a:lnTo>
                      <a:pt x="307" y="501"/>
                    </a:lnTo>
                    <a:lnTo>
                      <a:pt x="307" y="432"/>
                    </a:lnTo>
                    <a:lnTo>
                      <a:pt x="428" y="432"/>
                    </a:lnTo>
                    <a:lnTo>
                      <a:pt x="428" y="501"/>
                    </a:lnTo>
                    <a:close/>
                    <a:moveTo>
                      <a:pt x="428" y="337"/>
                    </a:moveTo>
                    <a:lnTo>
                      <a:pt x="307" y="337"/>
                    </a:lnTo>
                    <a:lnTo>
                      <a:pt x="307" y="267"/>
                    </a:lnTo>
                    <a:lnTo>
                      <a:pt x="428" y="267"/>
                    </a:lnTo>
                    <a:lnTo>
                      <a:pt x="428" y="337"/>
                    </a:lnTo>
                    <a:close/>
                    <a:moveTo>
                      <a:pt x="428" y="172"/>
                    </a:moveTo>
                    <a:lnTo>
                      <a:pt x="307" y="172"/>
                    </a:lnTo>
                    <a:lnTo>
                      <a:pt x="307" y="103"/>
                    </a:lnTo>
                    <a:lnTo>
                      <a:pt x="428" y="103"/>
                    </a:lnTo>
                    <a:lnTo>
                      <a:pt x="428" y="172"/>
                    </a:lnTo>
                    <a:close/>
                    <a:moveTo>
                      <a:pt x="684" y="668"/>
                    </a:moveTo>
                    <a:lnTo>
                      <a:pt x="606" y="668"/>
                    </a:lnTo>
                    <a:lnTo>
                      <a:pt x="606" y="549"/>
                    </a:lnTo>
                    <a:lnTo>
                      <a:pt x="684" y="549"/>
                    </a:lnTo>
                    <a:lnTo>
                      <a:pt x="684" y="668"/>
                    </a:lnTo>
                    <a:close/>
                    <a:moveTo>
                      <a:pt x="684" y="482"/>
                    </a:moveTo>
                    <a:lnTo>
                      <a:pt x="606" y="482"/>
                    </a:lnTo>
                    <a:lnTo>
                      <a:pt x="606" y="365"/>
                    </a:lnTo>
                    <a:lnTo>
                      <a:pt x="684" y="365"/>
                    </a:lnTo>
                    <a:lnTo>
                      <a:pt x="684" y="482"/>
                    </a:lnTo>
                    <a:close/>
                    <a:moveTo>
                      <a:pt x="816" y="668"/>
                    </a:moveTo>
                    <a:lnTo>
                      <a:pt x="738" y="668"/>
                    </a:lnTo>
                    <a:lnTo>
                      <a:pt x="738" y="549"/>
                    </a:lnTo>
                    <a:lnTo>
                      <a:pt x="816" y="549"/>
                    </a:lnTo>
                    <a:lnTo>
                      <a:pt x="816" y="668"/>
                    </a:lnTo>
                    <a:close/>
                    <a:moveTo>
                      <a:pt x="816" y="482"/>
                    </a:moveTo>
                    <a:lnTo>
                      <a:pt x="738" y="482"/>
                    </a:lnTo>
                    <a:lnTo>
                      <a:pt x="738" y="365"/>
                    </a:lnTo>
                    <a:lnTo>
                      <a:pt x="816" y="365"/>
                    </a:lnTo>
                    <a:lnTo>
                      <a:pt x="816" y="482"/>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grpSp>
        <p:sp>
          <p:nvSpPr>
            <p:cNvPr id="86" name="TextBox 85"/>
            <p:cNvSpPr txBox="1"/>
            <p:nvPr/>
          </p:nvSpPr>
          <p:spPr>
            <a:xfrm>
              <a:off x="83345" y="113808"/>
              <a:ext cx="2532630" cy="627864"/>
            </a:xfrm>
            <a:prstGeom prst="rect">
              <a:avLst/>
            </a:prstGeom>
            <a:noFill/>
          </p:spPr>
          <p:txBody>
            <a:bodyPr wrap="square" lIns="182880" tIns="146304" rIns="182880" bIns="146304" rtlCol="0">
              <a:spAutoFit/>
            </a:bodyPr>
            <a:lstStyle>
              <a:defPPr>
                <a:defRPr lang="en-US"/>
              </a:defPPr>
              <a:lvl1pPr>
                <a:lnSpc>
                  <a:spcPct val="90000"/>
                </a:lnSpc>
                <a:spcAft>
                  <a:spcPts val="600"/>
                </a:spcAft>
                <a:defRPr sz="2800" b="1">
                  <a:solidFill>
                    <a:srgbClr val="F2C812"/>
                  </a:solidFill>
                  <a:latin typeface="Segoe UI Light"/>
                </a:defRPr>
              </a:lvl1p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400" b="1" i="0" u="none" strike="noStrike" kern="1200" cap="none" spc="0" normalizeH="0" baseline="0" noProof="0">
                  <a:ln>
                    <a:noFill/>
                  </a:ln>
                  <a:solidFill>
                    <a:srgbClr val="F2C812"/>
                  </a:solidFill>
                  <a:effectLst/>
                  <a:uLnTx/>
                  <a:uFillTx/>
                  <a:latin typeface="Segoe UI Light"/>
                  <a:ea typeface="+mn-ea"/>
                  <a:cs typeface="+mn-cs"/>
                </a:rPr>
                <a:t>Power BI Service</a:t>
              </a:r>
              <a:endParaRPr kumimoji="0" lang="en-US" sz="2800" b="1" i="0" u="none" strike="noStrike" kern="1200" cap="none" spc="0" normalizeH="0" baseline="0" noProof="0">
                <a:ln>
                  <a:noFill/>
                </a:ln>
                <a:solidFill>
                  <a:srgbClr val="F2C812"/>
                </a:solidFill>
                <a:effectLst/>
                <a:uLnTx/>
                <a:uFillTx/>
                <a:latin typeface="Segoe UI Light"/>
                <a:ea typeface="+mn-ea"/>
                <a:cs typeface="+mn-cs"/>
              </a:endParaRPr>
            </a:p>
          </p:txBody>
        </p:sp>
        <p:grpSp>
          <p:nvGrpSpPr>
            <p:cNvPr id="87" name="Group 86"/>
            <p:cNvGrpSpPr/>
            <p:nvPr/>
          </p:nvGrpSpPr>
          <p:grpSpPr>
            <a:xfrm>
              <a:off x="219373" y="3621383"/>
              <a:ext cx="433844" cy="645668"/>
              <a:chOff x="280990" y="3358164"/>
              <a:chExt cx="433844" cy="645668"/>
            </a:xfrm>
          </p:grpSpPr>
          <p:sp>
            <p:nvSpPr>
              <p:cNvPr id="93" name="Oval 1083"/>
              <p:cNvSpPr/>
              <p:nvPr/>
            </p:nvSpPr>
            <p:spPr bwMode="auto">
              <a:xfrm>
                <a:off x="280990" y="3358164"/>
                <a:ext cx="433844" cy="433847"/>
              </a:xfrm>
              <a:prstGeom prst="ellipse">
                <a:avLst/>
              </a:prstGeom>
              <a:solidFill>
                <a:srgbClr val="F2C812"/>
              </a:solidFill>
              <a:ln>
                <a:solidFill>
                  <a:srgbClr val="FFCC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94" name="Group 379"/>
              <p:cNvGrpSpPr/>
              <p:nvPr/>
            </p:nvGrpSpPr>
            <p:grpSpPr>
              <a:xfrm>
                <a:off x="453702" y="3910852"/>
                <a:ext cx="175660" cy="92980"/>
                <a:chOff x="3895793" y="7466656"/>
                <a:chExt cx="785810" cy="415941"/>
              </a:xfrm>
              <a:solidFill>
                <a:srgbClr val="00BCF2"/>
              </a:solidFill>
            </p:grpSpPr>
            <p:sp>
              <p:nvSpPr>
                <p:cNvPr id="95" name="Freeform 132"/>
                <p:cNvSpPr>
                  <a:spLocks/>
                </p:cNvSpPr>
                <p:nvPr/>
              </p:nvSpPr>
              <p:spPr bwMode="auto">
                <a:xfrm>
                  <a:off x="4125979" y="7688918"/>
                  <a:ext cx="0" cy="6353"/>
                </a:xfrm>
                <a:custGeom>
                  <a:avLst/>
                  <a:gdLst>
                    <a:gd name="T0" fmla="*/ 1 w 1"/>
                    <a:gd name="T1" fmla="*/ 0 h 8"/>
                    <a:gd name="T2" fmla="*/ 0 w 1"/>
                    <a:gd name="T3" fmla="*/ 0 h 8"/>
                    <a:gd name="T4" fmla="*/ 1 w 1"/>
                    <a:gd name="T5" fmla="*/ 8 h 8"/>
                    <a:gd name="T6" fmla="*/ 1 w 1"/>
                    <a:gd name="T7" fmla="*/ 0 h 8"/>
                  </a:gdLst>
                  <a:ahLst/>
                  <a:cxnLst>
                    <a:cxn ang="0">
                      <a:pos x="T0" y="T1"/>
                    </a:cxn>
                    <a:cxn ang="0">
                      <a:pos x="T2" y="T3"/>
                    </a:cxn>
                    <a:cxn ang="0">
                      <a:pos x="T4" y="T5"/>
                    </a:cxn>
                    <a:cxn ang="0">
                      <a:pos x="T6" y="T7"/>
                    </a:cxn>
                  </a:cxnLst>
                  <a:rect l="0" t="0" r="r" b="b"/>
                  <a:pathLst>
                    <a:path w="1" h="8">
                      <a:moveTo>
                        <a:pt x="1" y="0"/>
                      </a:moveTo>
                      <a:cubicBezTo>
                        <a:pt x="0" y="0"/>
                        <a:pt x="0" y="0"/>
                        <a:pt x="0" y="0"/>
                      </a:cubicBezTo>
                      <a:cubicBezTo>
                        <a:pt x="0" y="3"/>
                        <a:pt x="1" y="5"/>
                        <a:pt x="1" y="8"/>
                      </a:cubicBezTo>
                      <a:lnTo>
                        <a:pt x="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96" name="Freeform 133"/>
                <p:cNvSpPr>
                  <a:spLocks/>
                </p:cNvSpPr>
                <p:nvPr/>
              </p:nvSpPr>
              <p:spPr bwMode="auto">
                <a:xfrm>
                  <a:off x="3895793" y="7812745"/>
                  <a:ext cx="219078" cy="69852"/>
                </a:xfrm>
                <a:custGeom>
                  <a:avLst/>
                  <a:gdLst>
                    <a:gd name="T0" fmla="*/ 186 w 238"/>
                    <a:gd name="T1" fmla="*/ 9 h 76"/>
                    <a:gd name="T2" fmla="*/ 131 w 238"/>
                    <a:gd name="T3" fmla="*/ 22 h 76"/>
                    <a:gd name="T4" fmla="*/ 60 w 238"/>
                    <a:gd name="T5" fmla="*/ 0 h 76"/>
                    <a:gd name="T6" fmla="*/ 0 w 238"/>
                    <a:gd name="T7" fmla="*/ 42 h 76"/>
                    <a:gd name="T8" fmla="*/ 0 w 238"/>
                    <a:gd name="T9" fmla="*/ 76 h 76"/>
                    <a:gd name="T10" fmla="*/ 238 w 238"/>
                    <a:gd name="T11" fmla="*/ 76 h 76"/>
                    <a:gd name="T12" fmla="*/ 236 w 238"/>
                    <a:gd name="T13" fmla="*/ 53 h 76"/>
                    <a:gd name="T14" fmla="*/ 236 w 238"/>
                    <a:gd name="T15" fmla="*/ 49 h 76"/>
                    <a:gd name="T16" fmla="*/ 186 w 238"/>
                    <a:gd name="T17" fmla="*/ 9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8" h="76">
                      <a:moveTo>
                        <a:pt x="186" y="9"/>
                      </a:moveTo>
                      <a:cubicBezTo>
                        <a:pt x="169" y="18"/>
                        <a:pt x="150" y="22"/>
                        <a:pt x="131" y="22"/>
                      </a:cubicBezTo>
                      <a:cubicBezTo>
                        <a:pt x="105" y="22"/>
                        <a:pt x="80" y="14"/>
                        <a:pt x="60" y="0"/>
                      </a:cubicBezTo>
                      <a:cubicBezTo>
                        <a:pt x="0" y="42"/>
                        <a:pt x="0" y="42"/>
                        <a:pt x="0" y="42"/>
                      </a:cubicBezTo>
                      <a:cubicBezTo>
                        <a:pt x="0" y="76"/>
                        <a:pt x="0" y="76"/>
                        <a:pt x="0" y="76"/>
                      </a:cubicBezTo>
                      <a:cubicBezTo>
                        <a:pt x="238" y="76"/>
                        <a:pt x="238" y="76"/>
                        <a:pt x="238" y="76"/>
                      </a:cubicBezTo>
                      <a:cubicBezTo>
                        <a:pt x="237" y="68"/>
                        <a:pt x="236" y="61"/>
                        <a:pt x="236" y="53"/>
                      </a:cubicBezTo>
                      <a:cubicBezTo>
                        <a:pt x="236" y="51"/>
                        <a:pt x="236" y="50"/>
                        <a:pt x="236" y="49"/>
                      </a:cubicBezTo>
                      <a:lnTo>
                        <a:pt x="186" y="9"/>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97" name="Freeform 137"/>
                <p:cNvSpPr>
                  <a:spLocks/>
                </p:cNvSpPr>
                <p:nvPr/>
              </p:nvSpPr>
              <p:spPr bwMode="auto">
                <a:xfrm>
                  <a:off x="4338704" y="7809561"/>
                  <a:ext cx="65090" cy="73028"/>
                </a:xfrm>
                <a:custGeom>
                  <a:avLst/>
                  <a:gdLst>
                    <a:gd name="T0" fmla="*/ 71 w 71"/>
                    <a:gd name="T1" fmla="*/ 79 h 79"/>
                    <a:gd name="T2" fmla="*/ 71 w 71"/>
                    <a:gd name="T3" fmla="*/ 0 h 79"/>
                    <a:gd name="T4" fmla="*/ 2 w 71"/>
                    <a:gd name="T5" fmla="*/ 53 h 79"/>
                    <a:gd name="T6" fmla="*/ 2 w 71"/>
                    <a:gd name="T7" fmla="*/ 56 h 79"/>
                    <a:gd name="T8" fmla="*/ 0 w 71"/>
                    <a:gd name="T9" fmla="*/ 79 h 79"/>
                    <a:gd name="T10" fmla="*/ 71 w 71"/>
                    <a:gd name="T11" fmla="*/ 79 h 79"/>
                  </a:gdLst>
                  <a:ahLst/>
                  <a:cxnLst>
                    <a:cxn ang="0">
                      <a:pos x="T0" y="T1"/>
                    </a:cxn>
                    <a:cxn ang="0">
                      <a:pos x="T2" y="T3"/>
                    </a:cxn>
                    <a:cxn ang="0">
                      <a:pos x="T4" y="T5"/>
                    </a:cxn>
                    <a:cxn ang="0">
                      <a:pos x="T6" y="T7"/>
                    </a:cxn>
                    <a:cxn ang="0">
                      <a:pos x="T8" y="T9"/>
                    </a:cxn>
                    <a:cxn ang="0">
                      <a:pos x="T10" y="T11"/>
                    </a:cxn>
                  </a:cxnLst>
                  <a:rect l="0" t="0" r="r" b="b"/>
                  <a:pathLst>
                    <a:path w="71" h="79">
                      <a:moveTo>
                        <a:pt x="71" y="79"/>
                      </a:moveTo>
                      <a:cubicBezTo>
                        <a:pt x="71" y="0"/>
                        <a:pt x="71" y="0"/>
                        <a:pt x="71" y="0"/>
                      </a:cubicBezTo>
                      <a:cubicBezTo>
                        <a:pt x="2" y="53"/>
                        <a:pt x="2" y="53"/>
                        <a:pt x="2" y="53"/>
                      </a:cubicBezTo>
                      <a:cubicBezTo>
                        <a:pt x="2" y="54"/>
                        <a:pt x="2" y="55"/>
                        <a:pt x="2" y="56"/>
                      </a:cubicBezTo>
                      <a:cubicBezTo>
                        <a:pt x="2" y="64"/>
                        <a:pt x="1" y="71"/>
                        <a:pt x="0" y="79"/>
                      </a:cubicBezTo>
                      <a:lnTo>
                        <a:pt x="71" y="79"/>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98" name="Freeform 140"/>
                <p:cNvSpPr>
                  <a:spLocks/>
                </p:cNvSpPr>
                <p:nvPr/>
              </p:nvSpPr>
              <p:spPr bwMode="auto">
                <a:xfrm>
                  <a:off x="4600643" y="7622229"/>
                  <a:ext cx="80960" cy="38099"/>
                </a:xfrm>
                <a:custGeom>
                  <a:avLst/>
                  <a:gdLst>
                    <a:gd name="T0" fmla="*/ 0 w 51"/>
                    <a:gd name="T1" fmla="*/ 24 h 24"/>
                    <a:gd name="T2" fmla="*/ 51 w 51"/>
                    <a:gd name="T3" fmla="*/ 24 h 24"/>
                    <a:gd name="T4" fmla="*/ 32 w 51"/>
                    <a:gd name="T5" fmla="*/ 0 h 24"/>
                    <a:gd name="T6" fmla="*/ 0 w 51"/>
                    <a:gd name="T7" fmla="*/ 24 h 24"/>
                  </a:gdLst>
                  <a:ahLst/>
                  <a:cxnLst>
                    <a:cxn ang="0">
                      <a:pos x="T0" y="T1"/>
                    </a:cxn>
                    <a:cxn ang="0">
                      <a:pos x="T2" y="T3"/>
                    </a:cxn>
                    <a:cxn ang="0">
                      <a:pos x="T4" y="T5"/>
                    </a:cxn>
                    <a:cxn ang="0">
                      <a:pos x="T6" y="T7"/>
                    </a:cxn>
                  </a:cxnLst>
                  <a:rect l="0" t="0" r="r" b="b"/>
                  <a:pathLst>
                    <a:path w="51" h="24">
                      <a:moveTo>
                        <a:pt x="0" y="24"/>
                      </a:moveTo>
                      <a:lnTo>
                        <a:pt x="51" y="24"/>
                      </a:lnTo>
                      <a:lnTo>
                        <a:pt x="32" y="0"/>
                      </a:lnTo>
                      <a:lnTo>
                        <a:pt x="0" y="24"/>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99" name="Freeform 141"/>
                <p:cNvSpPr>
                  <a:spLocks/>
                </p:cNvSpPr>
                <p:nvPr/>
              </p:nvSpPr>
              <p:spPr bwMode="auto">
                <a:xfrm>
                  <a:off x="4449825" y="7466656"/>
                  <a:ext cx="119065" cy="139703"/>
                </a:xfrm>
                <a:custGeom>
                  <a:avLst/>
                  <a:gdLst>
                    <a:gd name="T0" fmla="*/ 52 w 75"/>
                    <a:gd name="T1" fmla="*/ 0 h 88"/>
                    <a:gd name="T2" fmla="*/ 0 w 75"/>
                    <a:gd name="T3" fmla="*/ 0 h 88"/>
                    <a:gd name="T4" fmla="*/ 0 w 75"/>
                    <a:gd name="T5" fmla="*/ 88 h 88"/>
                    <a:gd name="T6" fmla="*/ 75 w 75"/>
                    <a:gd name="T7" fmla="*/ 30 h 88"/>
                    <a:gd name="T8" fmla="*/ 52 w 75"/>
                    <a:gd name="T9" fmla="*/ 0 h 88"/>
                  </a:gdLst>
                  <a:ahLst/>
                  <a:cxnLst>
                    <a:cxn ang="0">
                      <a:pos x="T0" y="T1"/>
                    </a:cxn>
                    <a:cxn ang="0">
                      <a:pos x="T2" y="T3"/>
                    </a:cxn>
                    <a:cxn ang="0">
                      <a:pos x="T4" y="T5"/>
                    </a:cxn>
                    <a:cxn ang="0">
                      <a:pos x="T6" y="T7"/>
                    </a:cxn>
                    <a:cxn ang="0">
                      <a:pos x="T8" y="T9"/>
                    </a:cxn>
                  </a:cxnLst>
                  <a:rect l="0" t="0" r="r" b="b"/>
                  <a:pathLst>
                    <a:path w="75" h="88">
                      <a:moveTo>
                        <a:pt x="52" y="0"/>
                      </a:moveTo>
                      <a:lnTo>
                        <a:pt x="0" y="0"/>
                      </a:lnTo>
                      <a:lnTo>
                        <a:pt x="0" y="88"/>
                      </a:lnTo>
                      <a:lnTo>
                        <a:pt x="75" y="30"/>
                      </a:lnTo>
                      <a:lnTo>
                        <a:pt x="52"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grpSp>
        </p:grpSp>
        <p:sp>
          <p:nvSpPr>
            <p:cNvPr id="88" name="Rectangle 152"/>
            <p:cNvSpPr/>
            <p:nvPr/>
          </p:nvSpPr>
          <p:spPr bwMode="auto">
            <a:xfrm>
              <a:off x="712458" y="3628917"/>
              <a:ext cx="1805162" cy="37532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2C812"/>
                  </a:solidFill>
                  <a:effectLst/>
                  <a:uLnTx/>
                  <a:uFillTx/>
                  <a:latin typeface="Segoe UI"/>
                  <a:ea typeface="+mn-ea"/>
                  <a:cs typeface="Segoe UI Light" panose="020B0502040204020203" pitchFamily="34" charset="0"/>
                </a:rPr>
                <a:t>Q&amp;A and </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2C812"/>
                  </a:solidFill>
                  <a:effectLst/>
                  <a:uLnTx/>
                  <a:uFillTx/>
                  <a:latin typeface="Segoe UI"/>
                  <a:ea typeface="+mn-ea"/>
                  <a:cs typeface="Segoe UI Light" panose="020B0502040204020203" pitchFamily="34" charset="0"/>
                </a:rPr>
                <a:t>Quick Insights</a:t>
              </a:r>
              <a:endParaRPr kumimoji="0" lang="en-US" sz="1200" b="1" i="0" u="none" strike="noStrike" kern="1200" cap="none" spc="0" normalizeH="0" baseline="0" noProof="0">
                <a:ln>
                  <a:noFill/>
                </a:ln>
                <a:solidFill>
                  <a:srgbClr val="F2C812"/>
                </a:solidFill>
                <a:effectLst/>
                <a:uLnTx/>
                <a:uFillTx/>
                <a:latin typeface="Segoe UI"/>
                <a:ea typeface="+mn-ea"/>
                <a:cs typeface="Segoe UI Light" panose="020B0502040204020203" pitchFamily="34" charset="0"/>
              </a:endParaRPr>
            </a:p>
          </p:txBody>
        </p:sp>
        <p:sp>
          <p:nvSpPr>
            <p:cNvPr id="89" name="Oval 162"/>
            <p:cNvSpPr/>
            <p:nvPr/>
          </p:nvSpPr>
          <p:spPr bwMode="auto">
            <a:xfrm>
              <a:off x="226619" y="4551712"/>
              <a:ext cx="433844" cy="433844"/>
            </a:xfrm>
            <a:prstGeom prst="ellipse">
              <a:avLst/>
            </a:prstGeom>
            <a:solidFill>
              <a:srgbClr val="F2C812"/>
            </a:solidFill>
            <a:ln>
              <a:solidFill>
                <a:srgbClr val="FFCC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0" name="Rectangle 152"/>
            <p:cNvSpPr/>
            <p:nvPr/>
          </p:nvSpPr>
          <p:spPr bwMode="auto">
            <a:xfrm>
              <a:off x="738443" y="4596194"/>
              <a:ext cx="1884825" cy="30233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2C812"/>
                  </a:solidFill>
                  <a:effectLst/>
                  <a:uLnTx/>
                  <a:uFillTx/>
                  <a:latin typeface="Segoe UI"/>
                  <a:ea typeface="+mn-ea"/>
                  <a:cs typeface="Segoe UI Light" panose="020B0502040204020203" pitchFamily="34" charset="0"/>
                </a:rPr>
                <a:t>Sharing</a:t>
              </a:r>
              <a:endParaRPr kumimoji="0" lang="en-US" sz="1200" b="1" i="1" u="none" strike="noStrike" kern="1200" cap="none" spc="0" normalizeH="0" baseline="0" noProof="0">
                <a:ln>
                  <a:noFill/>
                </a:ln>
                <a:solidFill>
                  <a:srgbClr val="F2C812"/>
                </a:solidFill>
                <a:effectLst/>
                <a:uLnTx/>
                <a:uFillTx/>
                <a:latin typeface="Segoe UI"/>
                <a:ea typeface="+mn-ea"/>
                <a:cs typeface="Segoe UI Light" panose="020B0502040204020203" pitchFamily="34" charset="0"/>
              </a:endParaRPr>
            </a:p>
          </p:txBody>
        </p:sp>
        <p:sp>
          <p:nvSpPr>
            <p:cNvPr id="91" name="Rectangle 145"/>
            <p:cNvSpPr/>
            <p:nvPr/>
          </p:nvSpPr>
          <p:spPr bwMode="auto">
            <a:xfrm>
              <a:off x="697198" y="1847637"/>
              <a:ext cx="1821468" cy="3831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2C812"/>
                  </a:solidFill>
                  <a:effectLst/>
                  <a:uLnTx/>
                  <a:uFillTx/>
                  <a:latin typeface="Segoe UI"/>
                  <a:ea typeface="+mn-ea"/>
                  <a:cs typeface="Segoe UI Light" panose="020B0502040204020203" pitchFamily="34" charset="0"/>
                </a:rPr>
                <a:t>Pinning and Navigation</a:t>
              </a:r>
            </a:p>
          </p:txBody>
        </p:sp>
        <p:sp>
          <p:nvSpPr>
            <p:cNvPr id="92" name="Oval 162"/>
            <p:cNvSpPr/>
            <p:nvPr/>
          </p:nvSpPr>
          <p:spPr bwMode="auto">
            <a:xfrm>
              <a:off x="224136" y="1813606"/>
              <a:ext cx="433844" cy="433844"/>
            </a:xfrm>
            <a:prstGeom prst="ellipse">
              <a:avLst/>
            </a:prstGeom>
            <a:solidFill>
              <a:srgbClr val="FFCC00"/>
            </a:solidFill>
            <a:ln>
              <a:solidFill>
                <a:srgbClr val="F2C81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pic>
        <p:nvPicPr>
          <p:cNvPr id="106" name="Picture 105"/>
          <p:cNvPicPr>
            <a:picLocks noChangeAspect="1"/>
          </p:cNvPicPr>
          <p:nvPr/>
        </p:nvPicPr>
        <p:blipFill rotWithShape="1">
          <a:blip r:embed="rId6"/>
          <a:srcRect l="6503" t="21287" r="74698" b="20220"/>
          <a:stretch/>
        </p:blipFill>
        <p:spPr>
          <a:xfrm>
            <a:off x="339111" y="1946110"/>
            <a:ext cx="228600" cy="231962"/>
          </a:xfrm>
          <a:prstGeom prst="rect">
            <a:avLst/>
          </a:prstGeom>
        </p:spPr>
      </p:pic>
      <p:pic>
        <p:nvPicPr>
          <p:cNvPr id="107" name="Picture 106"/>
          <p:cNvPicPr>
            <a:picLocks noChangeAspect="1"/>
          </p:cNvPicPr>
          <p:nvPr/>
        </p:nvPicPr>
        <p:blipFill>
          <a:blip r:embed="rId7"/>
          <a:stretch>
            <a:fillRect/>
          </a:stretch>
        </p:blipFill>
        <p:spPr>
          <a:xfrm>
            <a:off x="284769" y="3673076"/>
            <a:ext cx="311766" cy="303106"/>
          </a:xfrm>
          <a:prstGeom prst="rect">
            <a:avLst/>
          </a:prstGeom>
        </p:spPr>
      </p:pic>
      <p:sp>
        <p:nvSpPr>
          <p:cNvPr id="108" name="Rectangle 145"/>
          <p:cNvSpPr/>
          <p:nvPr/>
        </p:nvSpPr>
        <p:spPr bwMode="auto">
          <a:xfrm>
            <a:off x="718897" y="5436715"/>
            <a:ext cx="1821468" cy="3831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2C812"/>
                </a:solidFill>
                <a:effectLst/>
                <a:uLnTx/>
                <a:uFillTx/>
                <a:latin typeface="Segoe UI"/>
                <a:ea typeface="+mn-ea"/>
                <a:cs typeface="Segoe UI Light" panose="020B0502040204020203" pitchFamily="34" charset="0"/>
              </a:rPr>
              <a:t>Connect from Excel</a:t>
            </a:r>
          </a:p>
        </p:txBody>
      </p:sp>
      <p:sp>
        <p:nvSpPr>
          <p:cNvPr id="109" name="Oval 162"/>
          <p:cNvSpPr/>
          <p:nvPr/>
        </p:nvSpPr>
        <p:spPr bwMode="auto">
          <a:xfrm>
            <a:off x="231441" y="5429649"/>
            <a:ext cx="433844" cy="433844"/>
          </a:xfrm>
          <a:prstGeom prst="ellipse">
            <a:avLst/>
          </a:prstGeom>
          <a:solidFill>
            <a:srgbClr val="FFCC00"/>
          </a:solidFill>
          <a:ln>
            <a:solidFill>
              <a:srgbClr val="F2C81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10" name="Picture 109"/>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flipH="1">
            <a:off x="283763" y="4596680"/>
            <a:ext cx="357484" cy="357484"/>
          </a:xfrm>
          <a:prstGeom prst="rect">
            <a:avLst/>
          </a:prstGeom>
        </p:spPr>
      </p:pic>
      <p:sp>
        <p:nvSpPr>
          <p:cNvPr id="111" name="Oval 162"/>
          <p:cNvSpPr/>
          <p:nvPr/>
        </p:nvSpPr>
        <p:spPr bwMode="auto">
          <a:xfrm>
            <a:off x="233032" y="6267344"/>
            <a:ext cx="433844" cy="433844"/>
          </a:xfrm>
          <a:prstGeom prst="ellipse">
            <a:avLst/>
          </a:prstGeom>
          <a:solidFill>
            <a:srgbClr val="FFCC00"/>
          </a:solidFill>
          <a:ln>
            <a:solidFill>
              <a:srgbClr val="F2C81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2" name="Rectangle 145"/>
          <p:cNvSpPr/>
          <p:nvPr/>
        </p:nvSpPr>
        <p:spPr bwMode="auto">
          <a:xfrm>
            <a:off x="701416" y="6289969"/>
            <a:ext cx="1821468" cy="3831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2C812"/>
                </a:solidFill>
                <a:effectLst/>
                <a:uLnTx/>
                <a:uFillTx/>
                <a:latin typeface="Segoe UI"/>
                <a:ea typeface="+mn-ea"/>
                <a:cs typeface="Segoe UI Light" panose="020B0502040204020203" pitchFamily="34" charset="0"/>
              </a:rPr>
              <a:t>Mobile Reports</a:t>
            </a:r>
          </a:p>
        </p:txBody>
      </p:sp>
      <p:pic>
        <p:nvPicPr>
          <p:cNvPr id="113" name="Picture 112"/>
          <p:cNvPicPr>
            <a:picLocks noChangeAspect="1"/>
          </p:cNvPicPr>
          <p:nvPr/>
        </p:nvPicPr>
        <p:blipFill>
          <a:blip r:embed="rId9" cstate="print">
            <a:extLst>
              <a:ext uri="{BEBA8EAE-BF5A-486C-A8C5-ECC9F3942E4B}">
                <a14:imgProps xmlns:a14="http://schemas.microsoft.com/office/drawing/2010/main">
                  <a14:imgLayer r:embed="rId10">
                    <a14:imgEffect>
                      <a14:saturation sat="0"/>
                    </a14:imgEffect>
                  </a14:imgLayer>
                </a14:imgProps>
              </a:ext>
              <a:ext uri="{28A0092B-C50C-407E-A947-70E740481C1C}">
                <a14:useLocalDpi xmlns:a14="http://schemas.microsoft.com/office/drawing/2010/main" val="0"/>
              </a:ext>
            </a:extLst>
          </a:blip>
          <a:stretch>
            <a:fillRect/>
          </a:stretch>
        </p:blipFill>
        <p:spPr>
          <a:xfrm>
            <a:off x="391946" y="6350039"/>
            <a:ext cx="133350" cy="251587"/>
          </a:xfrm>
          <a:prstGeom prst="rect">
            <a:avLst/>
          </a:prstGeom>
        </p:spPr>
      </p:pic>
      <p:pic>
        <p:nvPicPr>
          <p:cNvPr id="114" name="Picture 113"/>
          <p:cNvPicPr>
            <a:picLocks noChangeAspect="1"/>
          </p:cNvPicPr>
          <p:nvPr/>
        </p:nvPicPr>
        <p:blipFill>
          <a:blip r:embed="rId11" cstate="print">
            <a:biLevel thresh="50000"/>
            <a:extLst>
              <a:ext uri="{28A0092B-C50C-407E-A947-70E740481C1C}">
                <a14:useLocalDpi xmlns:a14="http://schemas.microsoft.com/office/drawing/2010/main" val="0"/>
              </a:ext>
            </a:extLst>
          </a:blip>
          <a:stretch>
            <a:fillRect/>
          </a:stretch>
        </p:blipFill>
        <p:spPr>
          <a:xfrm>
            <a:off x="332658" y="5538489"/>
            <a:ext cx="268940" cy="268940"/>
          </a:xfrm>
          <a:prstGeom prst="rect">
            <a:avLst/>
          </a:prstGeom>
        </p:spPr>
      </p:pic>
      <p:sp>
        <p:nvSpPr>
          <p:cNvPr id="115" name="Rectangle 114"/>
          <p:cNvSpPr/>
          <p:nvPr/>
        </p:nvSpPr>
        <p:spPr bwMode="auto">
          <a:xfrm>
            <a:off x="35912" y="2594112"/>
            <a:ext cx="2464420" cy="4194313"/>
          </a:xfrm>
          <a:prstGeom prst="rect">
            <a:avLst/>
          </a:prstGeom>
          <a:solidFill>
            <a:srgbClr val="000000">
              <a:alpha val="6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6" name="Rectangle 115"/>
          <p:cNvSpPr/>
          <p:nvPr/>
        </p:nvSpPr>
        <p:spPr bwMode="auto">
          <a:xfrm>
            <a:off x="95936" y="731576"/>
            <a:ext cx="2464420" cy="880187"/>
          </a:xfrm>
          <a:prstGeom prst="rect">
            <a:avLst/>
          </a:prstGeom>
          <a:solidFill>
            <a:srgbClr val="000000">
              <a:alpha val="6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10298548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4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3" grpId="0" animBg="1"/>
    </p:bldLst>
  </p:timing>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 name="Title 10"/>
          <p:cNvSpPr txBox="1">
            <a:spLocks/>
          </p:cNvSpPr>
          <p:nvPr/>
        </p:nvSpPr>
        <p:spPr>
          <a:xfrm>
            <a:off x="2849060" y="0"/>
            <a:ext cx="9342940" cy="665151"/>
          </a:xfrm>
          <a:prstGeom prst="rect">
            <a:avLst/>
          </a:prstGeom>
          <a:noFill/>
        </p:spPr>
        <p:txBody>
          <a:bodyPr vert="horz" wrap="square" lIns="0" tIns="91440" rIns="0" bIns="91440" rtlCol="0" anchor="t">
            <a:noAutofit/>
          </a:bodyPr>
          <a:lstStyle>
            <a:lvl1pPr defTabSz="914367">
              <a:lnSpc>
                <a:spcPct val="90000"/>
              </a:lnSpc>
              <a:spcBef>
                <a:spcPct val="0"/>
              </a:spcBef>
              <a:buNone/>
              <a:defRPr lang="en-US" sz="5294" b="0" cap="none" spc="-100" baseline="0" dirty="0" smtClean="0">
                <a:ln w="3175">
                  <a:noFill/>
                </a:ln>
                <a:solidFill>
                  <a:schemeClr val="tx2"/>
                </a:solidFill>
                <a:effectLst/>
                <a:latin typeface="+mj-lt"/>
                <a:cs typeface="Segoe UI" pitchFamily="34" charset="0"/>
              </a:defRPr>
            </a:lvl1pPr>
          </a:lstStyle>
          <a:p>
            <a:pPr marL="168275" marR="0" lvl="0" indent="0" algn="l" defTabSz="914367" rtl="0" eaLnBrk="1" fontAlgn="auto" latinLnBrk="0" hangingPunct="1">
              <a:lnSpc>
                <a:spcPct val="90000"/>
              </a:lnSpc>
              <a:spcBef>
                <a:spcPct val="0"/>
              </a:spcBef>
              <a:spcAft>
                <a:spcPts val="0"/>
              </a:spcAft>
              <a:buClrTx/>
              <a:buSzTx/>
              <a:buFontTx/>
              <a:buNone/>
              <a:tabLst/>
              <a:defRPr/>
            </a:pPr>
            <a:r>
              <a:rPr kumimoji="0" lang="en-US" sz="3600" b="0" i="0" u="none" strike="noStrike" kern="1200" cap="none" spc="-100" normalizeH="0" baseline="0" noProof="0">
                <a:ln w="3175">
                  <a:noFill/>
                </a:ln>
                <a:solidFill>
                  <a:prstClr val="black"/>
                </a:solidFill>
                <a:effectLst/>
                <a:uLnTx/>
                <a:uFillTx/>
                <a:latin typeface="Segoe UI Light"/>
                <a:ea typeface="+mn-ea"/>
                <a:cs typeface="Segoe UI" pitchFamily="34" charset="0"/>
              </a:rPr>
              <a:t>Pinning and Navigation</a:t>
            </a:r>
            <a:endParaRPr kumimoji="0" lang="en-IN" sz="3600" b="0" i="0" u="none" strike="noStrike" kern="1200" cap="none" spc="-100" normalizeH="0" baseline="0" noProof="0">
              <a:ln w="3175">
                <a:noFill/>
              </a:ln>
              <a:solidFill>
                <a:prstClr val="black"/>
              </a:solidFill>
              <a:effectLst/>
              <a:uLnTx/>
              <a:uFillTx/>
              <a:latin typeface="Segoe UI Light"/>
              <a:ea typeface="+mn-ea"/>
              <a:cs typeface="Segoe UI" pitchFamily="34" charset="0"/>
            </a:endParaRPr>
          </a:p>
        </p:txBody>
      </p:sp>
      <p:sp>
        <p:nvSpPr>
          <p:cNvPr id="41" name="Rectangle 3"/>
          <p:cNvSpPr/>
          <p:nvPr/>
        </p:nvSpPr>
        <p:spPr bwMode="auto">
          <a:xfrm>
            <a:off x="3202216" y="665151"/>
            <a:ext cx="8105312" cy="44435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PT" sz="2000" b="0" i="1" u="none" strike="noStrike" kern="1200" cap="none" spc="0" normalizeH="0" baseline="0" noProof="0">
                <a:ln>
                  <a:noFill/>
                </a:ln>
                <a:solidFill>
                  <a:prstClr val="black"/>
                </a:solidFill>
                <a:effectLst/>
                <a:uLnTx/>
                <a:uFillTx/>
                <a:latin typeface="Segoe UI Light"/>
                <a:ea typeface="+mn-ea"/>
                <a:cs typeface="+mn-cs"/>
              </a:rPr>
              <a:t>Report</a:t>
            </a:r>
            <a:endParaRPr kumimoji="0" lang="en-US" sz="2000" b="0" i="1" u="none" strike="noStrike" kern="1200" cap="none" spc="0" normalizeH="0" baseline="0" noProof="0">
              <a:ln>
                <a:noFill/>
              </a:ln>
              <a:solidFill>
                <a:prstClr val="black"/>
              </a:solidFill>
              <a:effectLst/>
              <a:uLnTx/>
              <a:uFillTx/>
              <a:latin typeface="Segoe UI Light"/>
              <a:ea typeface="+mn-ea"/>
              <a:cs typeface="+mn-cs"/>
            </a:endParaRPr>
          </a:p>
        </p:txBody>
      </p:sp>
      <p:pic>
        <p:nvPicPr>
          <p:cNvPr id="2" name="Picture 1"/>
          <p:cNvPicPr>
            <a:picLocks noChangeAspect="1"/>
          </p:cNvPicPr>
          <p:nvPr/>
        </p:nvPicPr>
        <p:blipFill rotWithShape="1">
          <a:blip r:embed="rId3"/>
          <a:srcRect r="2072"/>
          <a:stretch/>
        </p:blipFill>
        <p:spPr>
          <a:xfrm>
            <a:off x="4040346" y="1299129"/>
            <a:ext cx="7409532" cy="5320182"/>
          </a:xfrm>
          <a:prstGeom prst="rect">
            <a:avLst/>
          </a:prstGeom>
        </p:spPr>
      </p:pic>
      <p:pic>
        <p:nvPicPr>
          <p:cNvPr id="3" name="Picture 2"/>
          <p:cNvPicPr>
            <a:picLocks noChangeAspect="1"/>
          </p:cNvPicPr>
          <p:nvPr/>
        </p:nvPicPr>
        <p:blipFill rotWithShape="1">
          <a:blip r:embed="rId4"/>
          <a:srcRect b="68299"/>
          <a:stretch/>
        </p:blipFill>
        <p:spPr>
          <a:xfrm>
            <a:off x="4073249" y="3890937"/>
            <a:ext cx="1127488" cy="1375257"/>
          </a:xfrm>
          <a:prstGeom prst="rect">
            <a:avLst/>
          </a:prstGeom>
        </p:spPr>
      </p:pic>
      <p:pic>
        <p:nvPicPr>
          <p:cNvPr id="6" name="Picture 5"/>
          <p:cNvPicPr>
            <a:picLocks noChangeAspect="1"/>
          </p:cNvPicPr>
          <p:nvPr/>
        </p:nvPicPr>
        <p:blipFill rotWithShape="1">
          <a:blip r:embed="rId4"/>
          <a:srcRect t="75412"/>
          <a:stretch/>
        </p:blipFill>
        <p:spPr>
          <a:xfrm>
            <a:off x="4040346" y="5217355"/>
            <a:ext cx="1160391" cy="1097810"/>
          </a:xfrm>
          <a:prstGeom prst="rect">
            <a:avLst/>
          </a:prstGeom>
        </p:spPr>
      </p:pic>
      <p:sp>
        <p:nvSpPr>
          <p:cNvPr id="42" name="Rectangle 41"/>
          <p:cNvSpPr/>
          <p:nvPr/>
        </p:nvSpPr>
        <p:spPr bwMode="auto">
          <a:xfrm>
            <a:off x="5303656" y="1564417"/>
            <a:ext cx="6146222" cy="5054894"/>
          </a:xfrm>
          <a:prstGeom prst="rect">
            <a:avLst/>
          </a:prstGeom>
          <a:solidFill>
            <a:srgbClr val="000000">
              <a:alpha val="89804"/>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3" name="Rectangle 42"/>
          <p:cNvSpPr/>
          <p:nvPr/>
        </p:nvSpPr>
        <p:spPr bwMode="auto">
          <a:xfrm>
            <a:off x="4073249" y="3890937"/>
            <a:ext cx="1127488" cy="1375257"/>
          </a:xfrm>
          <a:prstGeom prst="rect">
            <a:avLst/>
          </a:prstGeom>
          <a:noFill/>
          <a:ln w="38100">
            <a:solidFill>
              <a:srgbClr val="FF00F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1" name="Text Placeholder 2"/>
          <p:cNvSpPr txBox="1">
            <a:spLocks/>
          </p:cNvSpPr>
          <p:nvPr/>
        </p:nvSpPr>
        <p:spPr>
          <a:xfrm>
            <a:off x="5200737" y="1697659"/>
            <a:ext cx="6106791" cy="897374"/>
          </a:xfrm>
          <a:prstGeom prst="rect">
            <a:avLst/>
          </a:prstGeom>
        </p:spPr>
        <p:txBody>
          <a:bodyPr vert="horz" wrap="square" lIns="182880" tIns="146304" rIns="182880" bIns="146304" rtlCol="0">
            <a:noAutofit/>
          </a:bodyPr>
          <a:lstStyle>
            <a:lvl1pPr marL="182845" marR="0"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3921" kern="1200" spc="0" baseline="0">
                <a:gradFill>
                  <a:gsLst>
                    <a:gs pos="1250">
                      <a:schemeClr val="tx2"/>
                    </a:gs>
                    <a:gs pos="99000">
                      <a:schemeClr val="tx2"/>
                    </a:gs>
                  </a:gsLst>
                  <a:lin ang="5400000" scaled="0"/>
                </a:gradFill>
                <a:latin typeface="+mj-lt"/>
                <a:ea typeface="+mn-ea"/>
                <a:cs typeface="+mn-cs"/>
              </a:defRPr>
            </a:lvl1pPr>
            <a:lvl2pPr marL="365690" marR="0"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2400" kern="1200" spc="0" baseline="0">
                <a:solidFill>
                  <a:schemeClr val="tx2"/>
                </a:solidFill>
                <a:latin typeface="+mj-lt"/>
                <a:ea typeface="+mn-ea"/>
                <a:cs typeface="+mn-cs"/>
              </a:defRPr>
            </a:lvl2pPr>
            <a:lvl3pPr marL="548535" marR="0"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2000" kern="1200" spc="0" baseline="0">
                <a:solidFill>
                  <a:schemeClr val="tx2"/>
                </a:solidFill>
                <a:latin typeface="+mj-lt"/>
                <a:ea typeface="+mn-ea"/>
                <a:cs typeface="+mn-cs"/>
              </a:defRPr>
            </a:lvl3pPr>
            <a:lvl4pPr marL="733802" marR="0" indent="-28569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1765" kern="1200" spc="0" baseline="0">
                <a:solidFill>
                  <a:schemeClr val="tx2"/>
                </a:solidFill>
                <a:latin typeface="+mn-lt"/>
                <a:ea typeface="+mn-ea"/>
                <a:cs typeface="+mn-cs"/>
              </a:defRPr>
            </a:lvl4pPr>
            <a:lvl5pPr marL="957856" marR="0" indent="-28569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1765" kern="1200" spc="0" baseline="0">
                <a:solidFill>
                  <a:schemeClr val="tx2"/>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r>
              <a:rPr kumimoji="0" lang="en-US" sz="2000" b="0" i="0" u="none" strike="noStrike" kern="1200" cap="none" spc="0" normalizeH="0" baseline="0" noProof="0">
                <a:ln>
                  <a:noFill/>
                </a:ln>
                <a:solidFill>
                  <a:prstClr val="white"/>
                </a:solidFill>
                <a:effectLst/>
                <a:uLnTx/>
                <a:uFillTx/>
                <a:latin typeface="Segoe UI Light"/>
                <a:ea typeface="+mn-ea"/>
                <a:cs typeface="Times New Roman" panose="02020603050405020304" pitchFamily="18" charset="0"/>
              </a:rPr>
              <a:t>A report is composed of </a:t>
            </a:r>
            <a:r>
              <a:rPr kumimoji="0" lang="en-US" sz="2000" b="1" i="0" u="none" strike="noStrike" kern="1200" cap="none" spc="0" normalizeH="0" baseline="0" noProof="0">
                <a:ln>
                  <a:noFill/>
                </a:ln>
                <a:solidFill>
                  <a:prstClr val="white"/>
                </a:solidFill>
                <a:effectLst/>
                <a:uLnTx/>
                <a:uFillTx/>
                <a:latin typeface="Segoe UI Light"/>
                <a:ea typeface="+mn-ea"/>
                <a:cs typeface="Times New Roman" panose="02020603050405020304" pitchFamily="18" charset="0"/>
              </a:rPr>
              <a:t>one or more pages of visualizations</a:t>
            </a: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1" i="0" u="none" strike="noStrike" kern="1200" cap="none" spc="0" normalizeH="0" baseline="0" noProof="0">
              <a:ln>
                <a:noFill/>
              </a:ln>
              <a:solidFill>
                <a:prstClr val="white"/>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r>
              <a:rPr kumimoji="0" lang="en-US" sz="2000" b="0" i="0" u="none" strike="noStrike" kern="1200" cap="none" spc="0" normalizeH="0" baseline="0" noProof="0">
                <a:ln>
                  <a:noFill/>
                </a:ln>
                <a:solidFill>
                  <a:prstClr val="white"/>
                </a:solidFill>
                <a:effectLst/>
                <a:uLnTx/>
                <a:uFillTx/>
                <a:latin typeface="Segoe UI Light"/>
                <a:ea typeface="+mn-ea"/>
                <a:cs typeface="Times New Roman" panose="02020603050405020304" pitchFamily="18" charset="0"/>
              </a:rPr>
              <a:t>Can be </a:t>
            </a:r>
            <a:r>
              <a:rPr kumimoji="0" lang="en-US" sz="2000" b="1" i="0" u="none" strike="noStrike" kern="1200" cap="none" spc="0" normalizeH="0" baseline="0" noProof="0">
                <a:ln>
                  <a:noFill/>
                </a:ln>
                <a:solidFill>
                  <a:prstClr val="white"/>
                </a:solidFill>
                <a:effectLst/>
                <a:uLnTx/>
                <a:uFillTx/>
                <a:latin typeface="Segoe UI Light"/>
                <a:ea typeface="+mn-ea"/>
                <a:cs typeface="Times New Roman" panose="02020603050405020304" pitchFamily="18" charset="0"/>
              </a:rPr>
              <a:t>developed</a:t>
            </a:r>
            <a:r>
              <a:rPr kumimoji="0" lang="en-US" sz="2000" b="0" i="0" u="none" strike="noStrike" kern="1200" cap="none" spc="0" normalizeH="0" baseline="0" noProof="0">
                <a:ln>
                  <a:noFill/>
                </a:ln>
                <a:solidFill>
                  <a:prstClr val="white"/>
                </a:solidFill>
                <a:effectLst/>
                <a:uLnTx/>
                <a:uFillTx/>
                <a:latin typeface="Segoe UI Light"/>
                <a:ea typeface="+mn-ea"/>
                <a:cs typeface="Times New Roman" panose="02020603050405020304" pitchFamily="18" charset="0"/>
              </a:rPr>
              <a:t> in </a:t>
            </a:r>
            <a:r>
              <a:rPr kumimoji="0" lang="en-US" sz="2000" b="1" i="0" u="none" strike="noStrike" kern="1200" cap="none" spc="0" normalizeH="0" baseline="0" noProof="0">
                <a:ln>
                  <a:noFill/>
                </a:ln>
                <a:solidFill>
                  <a:prstClr val="white"/>
                </a:solidFill>
                <a:effectLst/>
                <a:uLnTx/>
                <a:uFillTx/>
                <a:latin typeface="Segoe UI Light"/>
                <a:ea typeface="+mn-ea"/>
                <a:cs typeface="Times New Roman" panose="02020603050405020304" pitchFamily="18" charset="0"/>
              </a:rPr>
              <a:t>Desktop</a:t>
            </a:r>
            <a:r>
              <a:rPr kumimoji="0" lang="en-US" sz="2000" b="0" i="0" u="none" strike="noStrike" kern="1200" cap="none" spc="0" normalizeH="0" baseline="0" noProof="0">
                <a:ln>
                  <a:noFill/>
                </a:ln>
                <a:solidFill>
                  <a:prstClr val="white"/>
                </a:solidFill>
                <a:effectLst/>
                <a:uLnTx/>
                <a:uFillTx/>
                <a:latin typeface="Segoe UI Light"/>
                <a:ea typeface="+mn-ea"/>
                <a:cs typeface="Times New Roman" panose="02020603050405020304" pitchFamily="18" charset="0"/>
              </a:rPr>
              <a:t> (or Excel) or in the </a:t>
            </a:r>
            <a:r>
              <a:rPr kumimoji="0" lang="en-US" sz="2000" b="1" i="0" u="none" strike="noStrike" kern="1200" cap="none" spc="0" normalizeH="0" baseline="0" noProof="0">
                <a:ln>
                  <a:noFill/>
                </a:ln>
                <a:solidFill>
                  <a:prstClr val="white"/>
                </a:solidFill>
                <a:effectLst/>
                <a:uLnTx/>
                <a:uFillTx/>
                <a:latin typeface="Segoe UI Light"/>
                <a:ea typeface="+mn-ea"/>
                <a:cs typeface="Times New Roman" panose="02020603050405020304" pitchFamily="18" charset="0"/>
              </a:rPr>
              <a:t>service</a:t>
            </a: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1" i="0" u="none" strike="noStrike" kern="1200" cap="none" spc="0" normalizeH="0" baseline="0" noProof="0">
              <a:ln>
                <a:noFill/>
              </a:ln>
              <a:solidFill>
                <a:prstClr val="white"/>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r>
              <a:rPr kumimoji="0" lang="en-US" sz="2000" b="0" i="0" u="none" strike="noStrike" kern="1200" cap="none" spc="0" normalizeH="0" baseline="0" noProof="0">
                <a:ln>
                  <a:noFill/>
                </a:ln>
                <a:solidFill>
                  <a:prstClr val="white"/>
                </a:solidFill>
                <a:effectLst/>
                <a:uLnTx/>
                <a:uFillTx/>
                <a:latin typeface="Segoe UI Light"/>
                <a:ea typeface="+mn-ea"/>
                <a:cs typeface="Times New Roman" panose="02020603050405020304" pitchFamily="18" charset="0"/>
              </a:rPr>
              <a:t>Gets its </a:t>
            </a:r>
            <a:r>
              <a:rPr kumimoji="0" lang="en-US" sz="2000" b="1" i="0" u="none" strike="noStrike" kern="1200" cap="none" spc="0" normalizeH="0" baseline="0" noProof="0">
                <a:ln>
                  <a:noFill/>
                </a:ln>
                <a:solidFill>
                  <a:prstClr val="white"/>
                </a:solidFill>
                <a:effectLst/>
                <a:uLnTx/>
                <a:uFillTx/>
                <a:latin typeface="Segoe UI Light"/>
                <a:ea typeface="+mn-ea"/>
                <a:cs typeface="Times New Roman" panose="02020603050405020304" pitchFamily="18" charset="0"/>
              </a:rPr>
              <a:t>data from one dataset</a:t>
            </a: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0" i="0" u="none" strike="noStrike" kern="1200" cap="none" spc="0" normalizeH="0" baseline="0" noProof="0">
              <a:ln>
                <a:noFill/>
              </a:ln>
              <a:solidFill>
                <a:prstClr val="white"/>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r>
              <a:rPr kumimoji="0" lang="en-US" sz="2000" b="0" i="0" u="none" strike="noStrike" kern="1200" cap="none" spc="0" normalizeH="0" baseline="0" noProof="0">
                <a:ln>
                  <a:noFill/>
                </a:ln>
                <a:solidFill>
                  <a:prstClr val="white"/>
                </a:solidFill>
                <a:effectLst/>
                <a:uLnTx/>
                <a:uFillTx/>
                <a:latin typeface="Segoe UI Light"/>
                <a:ea typeface="+mn-ea"/>
                <a:cs typeface="Times New Roman" panose="02020603050405020304" pitchFamily="18" charset="0"/>
              </a:rPr>
              <a:t>Can be used for building dashboards as a whole or bit by bit</a:t>
            </a: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0" i="0" u="none" strike="noStrike" kern="1200" cap="none" spc="0" normalizeH="0" baseline="0" noProof="0">
              <a:ln>
                <a:noFill/>
              </a:ln>
              <a:solidFill>
                <a:prstClr val="white"/>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0" i="0" u="none" strike="noStrike" kern="1200" cap="none" spc="0" normalizeH="0" baseline="0" noProof="0">
              <a:ln>
                <a:noFill/>
              </a:ln>
              <a:solidFill>
                <a:prstClr val="white"/>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1" i="0" u="none" strike="noStrike" kern="1200" cap="none" spc="0" normalizeH="0" baseline="0" noProof="0">
              <a:ln>
                <a:noFill/>
              </a:ln>
              <a:solidFill>
                <a:prstClr val="white"/>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1" i="0" u="none" strike="noStrike" kern="1200" cap="none" spc="0" normalizeH="0" baseline="0" noProof="0">
              <a:ln>
                <a:noFill/>
              </a:ln>
              <a:solidFill>
                <a:prstClr val="white"/>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1" i="0" u="none" strike="noStrike" kern="1200" cap="none" spc="0" normalizeH="0" baseline="0" noProof="0">
              <a:ln>
                <a:noFill/>
              </a:ln>
              <a:solidFill>
                <a:prstClr val="white"/>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1" i="0" u="none" strike="noStrike" kern="1200" cap="none" spc="0" normalizeH="0" baseline="0" noProof="0">
              <a:ln>
                <a:noFill/>
              </a:ln>
              <a:solidFill>
                <a:prstClr val="white"/>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1" i="0" u="none" strike="noStrike" kern="1200" cap="none" spc="0" normalizeH="0" baseline="0" noProof="0">
              <a:ln>
                <a:noFill/>
              </a:ln>
              <a:solidFill>
                <a:prstClr val="white"/>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1" i="0" u="none" strike="noStrike" kern="1200" cap="none" spc="0" normalizeH="0" baseline="0" noProof="0">
              <a:ln>
                <a:noFill/>
              </a:ln>
              <a:solidFill>
                <a:prstClr val="white"/>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1" i="0" u="none" strike="noStrike" kern="1200" cap="none" spc="0" normalizeH="0" baseline="0" noProof="0">
              <a:ln>
                <a:noFill/>
              </a:ln>
              <a:solidFill>
                <a:prstClr val="white"/>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1"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p:txBody>
      </p:sp>
      <p:pic>
        <p:nvPicPr>
          <p:cNvPr id="5" name="Picture 4"/>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481339" y="5034894"/>
            <a:ext cx="1790855" cy="1280271"/>
          </a:xfrm>
          <a:prstGeom prst="rect">
            <a:avLst/>
          </a:prstGeom>
        </p:spPr>
      </p:pic>
      <p:grpSp>
        <p:nvGrpSpPr>
          <p:cNvPr id="80" name="Group 79"/>
          <p:cNvGrpSpPr/>
          <p:nvPr/>
        </p:nvGrpSpPr>
        <p:grpSpPr>
          <a:xfrm>
            <a:off x="-2887" y="973"/>
            <a:ext cx="2849058" cy="6857027"/>
            <a:chOff x="2" y="487"/>
            <a:chExt cx="2849058" cy="6857027"/>
          </a:xfrm>
        </p:grpSpPr>
        <p:sp>
          <p:nvSpPr>
            <p:cNvPr id="81" name="Rectangle 15"/>
            <p:cNvSpPr/>
            <p:nvPr/>
          </p:nvSpPr>
          <p:spPr bwMode="auto">
            <a:xfrm>
              <a:off x="2" y="487"/>
              <a:ext cx="2849058" cy="685702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2" name="Rectangle 145"/>
            <p:cNvSpPr/>
            <p:nvPr/>
          </p:nvSpPr>
          <p:spPr bwMode="auto">
            <a:xfrm>
              <a:off x="696152" y="956997"/>
              <a:ext cx="1821468" cy="3831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2C812"/>
                  </a:solidFill>
                  <a:effectLst/>
                  <a:uLnTx/>
                  <a:uFillTx/>
                  <a:latin typeface="Segoe UI"/>
                  <a:ea typeface="+mn-ea"/>
                  <a:cs typeface="Segoe UI Light" panose="020B0502040204020203" pitchFamily="34" charset="0"/>
                </a:rPr>
                <a:t>Get Data</a:t>
              </a:r>
              <a:endParaRPr kumimoji="0" lang="en-US" sz="1200" b="1" i="1" u="none" strike="noStrike" kern="1200" cap="none" spc="0" normalizeH="0" baseline="0" noProof="0">
                <a:ln>
                  <a:noFill/>
                </a:ln>
                <a:solidFill>
                  <a:srgbClr val="F2C812"/>
                </a:solidFill>
                <a:effectLst/>
                <a:uLnTx/>
                <a:uFillTx/>
                <a:latin typeface="Segoe UI"/>
                <a:ea typeface="+mn-ea"/>
                <a:cs typeface="Segoe UI Light" panose="020B0502040204020203" pitchFamily="34" charset="0"/>
              </a:endParaRPr>
            </a:p>
          </p:txBody>
        </p:sp>
        <p:grpSp>
          <p:nvGrpSpPr>
            <p:cNvPr id="83" name="Group 82"/>
            <p:cNvGrpSpPr/>
            <p:nvPr/>
          </p:nvGrpSpPr>
          <p:grpSpPr>
            <a:xfrm>
              <a:off x="219373" y="934583"/>
              <a:ext cx="433844" cy="433844"/>
              <a:chOff x="440005" y="997815"/>
              <a:chExt cx="296322" cy="296322"/>
            </a:xfrm>
          </p:grpSpPr>
          <p:sp>
            <p:nvSpPr>
              <p:cNvPr id="102" name="Oval 147"/>
              <p:cNvSpPr/>
              <p:nvPr/>
            </p:nvSpPr>
            <p:spPr bwMode="auto">
              <a:xfrm>
                <a:off x="440005" y="997815"/>
                <a:ext cx="296322" cy="296322"/>
              </a:xfrm>
              <a:prstGeom prst="ellipse">
                <a:avLst/>
              </a:prstGeom>
              <a:solidFill>
                <a:srgbClr val="FFCC00"/>
              </a:solidFill>
              <a:ln>
                <a:solidFill>
                  <a:srgbClr val="F2C81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03" name="Group 332"/>
              <p:cNvGrpSpPr/>
              <p:nvPr/>
            </p:nvGrpSpPr>
            <p:grpSpPr>
              <a:xfrm>
                <a:off x="482167" y="1059311"/>
                <a:ext cx="211997" cy="173292"/>
                <a:chOff x="2123129" y="293070"/>
                <a:chExt cx="2472585" cy="2021178"/>
              </a:xfrm>
            </p:grpSpPr>
            <p:sp>
              <p:nvSpPr>
                <p:cNvPr id="104" name="Freeform 13"/>
                <p:cNvSpPr>
                  <a:spLocks/>
                </p:cNvSpPr>
                <p:nvPr/>
              </p:nvSpPr>
              <p:spPr bwMode="auto">
                <a:xfrm rot="20700000">
                  <a:off x="3155853" y="872796"/>
                  <a:ext cx="1439861" cy="1441452"/>
                </a:xfrm>
                <a:custGeom>
                  <a:avLst/>
                  <a:gdLst>
                    <a:gd name="T0" fmla="*/ 138 w 441"/>
                    <a:gd name="T1" fmla="*/ 341 h 441"/>
                    <a:gd name="T2" fmla="*/ 183 w 441"/>
                    <a:gd name="T3" fmla="*/ 374 h 441"/>
                    <a:gd name="T4" fmla="*/ 220 w 441"/>
                    <a:gd name="T5" fmla="*/ 423 h 441"/>
                    <a:gd name="T6" fmla="*/ 422 w 441"/>
                    <a:gd name="T7" fmla="*/ 220 h 441"/>
                    <a:gd name="T8" fmla="*/ 373 w 441"/>
                    <a:gd name="T9" fmla="*/ 184 h 441"/>
                    <a:gd name="T10" fmla="*/ 341 w 441"/>
                    <a:gd name="T11" fmla="*/ 139 h 441"/>
                    <a:gd name="T12" fmla="*/ 382 w 441"/>
                    <a:gd name="T13" fmla="*/ 58 h 441"/>
                    <a:gd name="T14" fmla="*/ 302 w 441"/>
                    <a:gd name="T15" fmla="*/ 100 h 441"/>
                    <a:gd name="T16" fmla="*/ 257 w 441"/>
                    <a:gd name="T17" fmla="*/ 67 h 441"/>
                    <a:gd name="T18" fmla="*/ 220 w 441"/>
                    <a:gd name="T19" fmla="*/ 18 h 441"/>
                    <a:gd name="T20" fmla="*/ 171 w 441"/>
                    <a:gd name="T21" fmla="*/ 55 h 441"/>
                    <a:gd name="T22" fmla="*/ 138 w 441"/>
                    <a:gd name="T23" fmla="*/ 100 h 441"/>
                    <a:gd name="T24" fmla="*/ 180 w 441"/>
                    <a:gd name="T25" fmla="*/ 181 h 441"/>
                    <a:gd name="T26" fmla="*/ 100 w 441"/>
                    <a:gd name="T27" fmla="*/ 139 h 441"/>
                    <a:gd name="T28" fmla="*/ 55 w 441"/>
                    <a:gd name="T29" fmla="*/ 171 h 441"/>
                    <a:gd name="T30" fmla="*/ 18 w 441"/>
                    <a:gd name="T31" fmla="*/ 220 h 441"/>
                    <a:gd name="T32" fmla="*/ 67 w 441"/>
                    <a:gd name="T33" fmla="*/ 257 h 441"/>
                    <a:gd name="T34" fmla="*/ 100 w 441"/>
                    <a:gd name="T35" fmla="*/ 302 h 441"/>
                    <a:gd name="T36" fmla="*/ 58 w 441"/>
                    <a:gd name="T37" fmla="*/ 383 h 441"/>
                    <a:gd name="T38" fmla="*/ 138 w 441"/>
                    <a:gd name="T39" fmla="*/ 341 h 4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41" h="441">
                      <a:moveTo>
                        <a:pt x="138" y="341"/>
                      </a:moveTo>
                      <a:cubicBezTo>
                        <a:pt x="147" y="337"/>
                        <a:pt x="171" y="361"/>
                        <a:pt x="183" y="374"/>
                      </a:cubicBezTo>
                      <a:cubicBezTo>
                        <a:pt x="196" y="386"/>
                        <a:pt x="220" y="423"/>
                        <a:pt x="220" y="423"/>
                      </a:cubicBezTo>
                      <a:cubicBezTo>
                        <a:pt x="422" y="220"/>
                        <a:pt x="422" y="220"/>
                        <a:pt x="422" y="220"/>
                      </a:cubicBezTo>
                      <a:cubicBezTo>
                        <a:pt x="422" y="220"/>
                        <a:pt x="386" y="196"/>
                        <a:pt x="373" y="184"/>
                      </a:cubicBezTo>
                      <a:cubicBezTo>
                        <a:pt x="361" y="171"/>
                        <a:pt x="338" y="149"/>
                        <a:pt x="341" y="139"/>
                      </a:cubicBezTo>
                      <a:cubicBezTo>
                        <a:pt x="343" y="129"/>
                        <a:pt x="441" y="116"/>
                        <a:pt x="382" y="58"/>
                      </a:cubicBezTo>
                      <a:cubicBezTo>
                        <a:pt x="324" y="0"/>
                        <a:pt x="310" y="96"/>
                        <a:pt x="302" y="100"/>
                      </a:cubicBezTo>
                      <a:cubicBezTo>
                        <a:pt x="294" y="104"/>
                        <a:pt x="269" y="80"/>
                        <a:pt x="257" y="67"/>
                      </a:cubicBezTo>
                      <a:cubicBezTo>
                        <a:pt x="245" y="55"/>
                        <a:pt x="220" y="18"/>
                        <a:pt x="220" y="18"/>
                      </a:cubicBezTo>
                      <a:cubicBezTo>
                        <a:pt x="220" y="18"/>
                        <a:pt x="183" y="43"/>
                        <a:pt x="171" y="55"/>
                      </a:cubicBezTo>
                      <a:cubicBezTo>
                        <a:pt x="159" y="67"/>
                        <a:pt x="134" y="92"/>
                        <a:pt x="138" y="100"/>
                      </a:cubicBezTo>
                      <a:cubicBezTo>
                        <a:pt x="142" y="108"/>
                        <a:pt x="238" y="122"/>
                        <a:pt x="180" y="181"/>
                      </a:cubicBezTo>
                      <a:cubicBezTo>
                        <a:pt x="122" y="239"/>
                        <a:pt x="110" y="141"/>
                        <a:pt x="100" y="139"/>
                      </a:cubicBezTo>
                      <a:cubicBezTo>
                        <a:pt x="89" y="137"/>
                        <a:pt x="67" y="159"/>
                        <a:pt x="55" y="171"/>
                      </a:cubicBezTo>
                      <a:cubicBezTo>
                        <a:pt x="42" y="184"/>
                        <a:pt x="18" y="220"/>
                        <a:pt x="18" y="220"/>
                      </a:cubicBezTo>
                      <a:cubicBezTo>
                        <a:pt x="18" y="220"/>
                        <a:pt x="55" y="245"/>
                        <a:pt x="67" y="257"/>
                      </a:cubicBezTo>
                      <a:cubicBezTo>
                        <a:pt x="79" y="269"/>
                        <a:pt x="102" y="292"/>
                        <a:pt x="100" y="302"/>
                      </a:cubicBezTo>
                      <a:cubicBezTo>
                        <a:pt x="98" y="312"/>
                        <a:pt x="0" y="325"/>
                        <a:pt x="58" y="383"/>
                      </a:cubicBezTo>
                      <a:cubicBezTo>
                        <a:pt x="116" y="441"/>
                        <a:pt x="130" y="345"/>
                        <a:pt x="138" y="341"/>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105" name="Freeform 14"/>
                <p:cNvSpPr>
                  <a:spLocks/>
                </p:cNvSpPr>
                <p:nvPr/>
              </p:nvSpPr>
              <p:spPr bwMode="auto">
                <a:xfrm rot="9900000">
                  <a:off x="2123129" y="293070"/>
                  <a:ext cx="1377948" cy="1377947"/>
                </a:xfrm>
                <a:custGeom>
                  <a:avLst/>
                  <a:gdLst>
                    <a:gd name="T0" fmla="*/ 422 w 422"/>
                    <a:gd name="T1" fmla="*/ 220 h 422"/>
                    <a:gd name="T2" fmla="*/ 386 w 422"/>
                    <a:gd name="T3" fmla="*/ 171 h 422"/>
                    <a:gd name="T4" fmla="*/ 341 w 422"/>
                    <a:gd name="T5" fmla="*/ 138 h 422"/>
                    <a:gd name="T6" fmla="*/ 260 w 422"/>
                    <a:gd name="T7" fmla="*/ 180 h 422"/>
                    <a:gd name="T8" fmla="*/ 302 w 422"/>
                    <a:gd name="T9" fmla="*/ 100 h 422"/>
                    <a:gd name="T10" fmla="*/ 269 w 422"/>
                    <a:gd name="T11" fmla="*/ 55 h 422"/>
                    <a:gd name="T12" fmla="*/ 220 w 422"/>
                    <a:gd name="T13" fmla="*/ 18 h 422"/>
                    <a:gd name="T14" fmla="*/ 183 w 422"/>
                    <a:gd name="T15" fmla="*/ 67 h 422"/>
                    <a:gd name="T16" fmla="*/ 138 w 422"/>
                    <a:gd name="T17" fmla="*/ 100 h 422"/>
                    <a:gd name="T18" fmla="*/ 58 w 422"/>
                    <a:gd name="T19" fmla="*/ 58 h 422"/>
                    <a:gd name="T20" fmla="*/ 100 w 422"/>
                    <a:gd name="T21" fmla="*/ 138 h 422"/>
                    <a:gd name="T22" fmla="*/ 67 w 422"/>
                    <a:gd name="T23" fmla="*/ 183 h 422"/>
                    <a:gd name="T24" fmla="*/ 18 w 422"/>
                    <a:gd name="T25" fmla="*/ 220 h 422"/>
                    <a:gd name="T26" fmla="*/ 55 w 422"/>
                    <a:gd name="T27" fmla="*/ 269 h 422"/>
                    <a:gd name="T28" fmla="*/ 100 w 422"/>
                    <a:gd name="T29" fmla="*/ 302 h 422"/>
                    <a:gd name="T30" fmla="*/ 180 w 422"/>
                    <a:gd name="T31" fmla="*/ 260 h 422"/>
                    <a:gd name="T32" fmla="*/ 138 w 422"/>
                    <a:gd name="T33" fmla="*/ 341 h 422"/>
                    <a:gd name="T34" fmla="*/ 171 w 422"/>
                    <a:gd name="T35" fmla="*/ 386 h 422"/>
                    <a:gd name="T36" fmla="*/ 220 w 422"/>
                    <a:gd name="T37" fmla="*/ 422 h 422"/>
                    <a:gd name="T38" fmla="*/ 422 w 422"/>
                    <a:gd name="T39" fmla="*/ 220 h 4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22" h="422">
                      <a:moveTo>
                        <a:pt x="422" y="220"/>
                      </a:moveTo>
                      <a:cubicBezTo>
                        <a:pt x="422" y="220"/>
                        <a:pt x="398" y="183"/>
                        <a:pt x="386" y="171"/>
                      </a:cubicBezTo>
                      <a:cubicBezTo>
                        <a:pt x="373" y="159"/>
                        <a:pt x="349" y="134"/>
                        <a:pt x="341" y="138"/>
                      </a:cubicBezTo>
                      <a:cubicBezTo>
                        <a:pt x="332" y="142"/>
                        <a:pt x="318" y="239"/>
                        <a:pt x="260" y="180"/>
                      </a:cubicBezTo>
                      <a:cubicBezTo>
                        <a:pt x="202" y="122"/>
                        <a:pt x="300" y="110"/>
                        <a:pt x="302" y="100"/>
                      </a:cubicBezTo>
                      <a:cubicBezTo>
                        <a:pt x="304" y="90"/>
                        <a:pt x="281" y="67"/>
                        <a:pt x="269" y="55"/>
                      </a:cubicBezTo>
                      <a:cubicBezTo>
                        <a:pt x="257" y="42"/>
                        <a:pt x="220" y="18"/>
                        <a:pt x="220" y="18"/>
                      </a:cubicBezTo>
                      <a:cubicBezTo>
                        <a:pt x="220" y="18"/>
                        <a:pt x="196" y="55"/>
                        <a:pt x="183" y="67"/>
                      </a:cubicBezTo>
                      <a:cubicBezTo>
                        <a:pt x="171" y="79"/>
                        <a:pt x="149" y="102"/>
                        <a:pt x="138" y="100"/>
                      </a:cubicBezTo>
                      <a:cubicBezTo>
                        <a:pt x="128" y="98"/>
                        <a:pt x="116" y="0"/>
                        <a:pt x="58" y="58"/>
                      </a:cubicBezTo>
                      <a:cubicBezTo>
                        <a:pt x="0" y="116"/>
                        <a:pt x="96" y="130"/>
                        <a:pt x="100" y="138"/>
                      </a:cubicBezTo>
                      <a:cubicBezTo>
                        <a:pt x="104" y="147"/>
                        <a:pt x="79" y="171"/>
                        <a:pt x="67" y="183"/>
                      </a:cubicBezTo>
                      <a:cubicBezTo>
                        <a:pt x="55" y="196"/>
                        <a:pt x="18" y="220"/>
                        <a:pt x="18" y="220"/>
                      </a:cubicBezTo>
                      <a:cubicBezTo>
                        <a:pt x="18" y="220"/>
                        <a:pt x="42" y="257"/>
                        <a:pt x="55" y="269"/>
                      </a:cubicBezTo>
                      <a:cubicBezTo>
                        <a:pt x="67" y="281"/>
                        <a:pt x="91" y="306"/>
                        <a:pt x="100" y="302"/>
                      </a:cubicBezTo>
                      <a:cubicBezTo>
                        <a:pt x="108" y="298"/>
                        <a:pt x="122" y="202"/>
                        <a:pt x="180" y="260"/>
                      </a:cubicBezTo>
                      <a:cubicBezTo>
                        <a:pt x="238" y="318"/>
                        <a:pt x="140" y="330"/>
                        <a:pt x="138" y="341"/>
                      </a:cubicBezTo>
                      <a:cubicBezTo>
                        <a:pt x="136" y="351"/>
                        <a:pt x="159" y="373"/>
                        <a:pt x="171" y="386"/>
                      </a:cubicBezTo>
                      <a:cubicBezTo>
                        <a:pt x="183" y="398"/>
                        <a:pt x="220" y="422"/>
                        <a:pt x="220" y="422"/>
                      </a:cubicBezTo>
                      <a:lnTo>
                        <a:pt x="422" y="22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grpSp>
        </p:grpSp>
        <p:sp>
          <p:nvSpPr>
            <p:cNvPr id="84" name="Rectangle 152"/>
            <p:cNvSpPr/>
            <p:nvPr/>
          </p:nvSpPr>
          <p:spPr bwMode="auto">
            <a:xfrm>
              <a:off x="669652" y="2738277"/>
              <a:ext cx="1805162" cy="37532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2C812"/>
                  </a:solidFill>
                  <a:effectLst/>
                  <a:uLnTx/>
                  <a:uFillTx/>
                  <a:latin typeface="Segoe UI"/>
                  <a:ea typeface="+mn-ea"/>
                  <a:cs typeface="Segoe UI Light" panose="020B0502040204020203" pitchFamily="34" charset="0"/>
                </a:rPr>
                <a:t>Keeping Data Current</a:t>
              </a:r>
            </a:p>
          </p:txBody>
        </p:sp>
        <p:grpSp>
          <p:nvGrpSpPr>
            <p:cNvPr id="85" name="Group 84"/>
            <p:cNvGrpSpPr/>
            <p:nvPr/>
          </p:nvGrpSpPr>
          <p:grpSpPr>
            <a:xfrm>
              <a:off x="199649" y="2692629"/>
              <a:ext cx="433844" cy="433844"/>
              <a:chOff x="342620" y="2228265"/>
              <a:chExt cx="433844" cy="433844"/>
            </a:xfrm>
            <a:solidFill>
              <a:schemeClr val="bg1"/>
            </a:solidFill>
          </p:grpSpPr>
          <p:sp>
            <p:nvSpPr>
              <p:cNvPr id="100" name="Oval 154"/>
              <p:cNvSpPr/>
              <p:nvPr/>
            </p:nvSpPr>
            <p:spPr bwMode="auto">
              <a:xfrm>
                <a:off x="342620" y="2228265"/>
                <a:ext cx="433844" cy="433844"/>
              </a:xfrm>
              <a:prstGeom prst="ellipse">
                <a:avLst/>
              </a:prstGeom>
              <a:solidFill>
                <a:srgbClr val="FFC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1" name="Freeform 30"/>
              <p:cNvSpPr>
                <a:spLocks noEditPoints="1"/>
              </p:cNvSpPr>
              <p:nvPr/>
            </p:nvSpPr>
            <p:spPr bwMode="auto">
              <a:xfrm>
                <a:off x="444786" y="2340040"/>
                <a:ext cx="238402" cy="210293"/>
              </a:xfrm>
              <a:custGeom>
                <a:avLst/>
                <a:gdLst>
                  <a:gd name="T0" fmla="*/ 883 w 916"/>
                  <a:gd name="T1" fmla="*/ 286 h 808"/>
                  <a:gd name="T2" fmla="*/ 539 w 916"/>
                  <a:gd name="T3" fmla="*/ 723 h 808"/>
                  <a:gd name="T4" fmla="*/ 504 w 916"/>
                  <a:gd name="T5" fmla="*/ 0 h 808"/>
                  <a:gd name="T6" fmla="*/ 35 w 916"/>
                  <a:gd name="T7" fmla="*/ 723 h 808"/>
                  <a:gd name="T8" fmla="*/ 0 w 916"/>
                  <a:gd name="T9" fmla="*/ 808 h 808"/>
                  <a:gd name="T10" fmla="*/ 916 w 916"/>
                  <a:gd name="T11" fmla="*/ 723 h 808"/>
                  <a:gd name="T12" fmla="*/ 229 w 916"/>
                  <a:gd name="T13" fmla="*/ 665 h 808"/>
                  <a:gd name="T14" fmla="*/ 109 w 916"/>
                  <a:gd name="T15" fmla="*/ 596 h 808"/>
                  <a:gd name="T16" fmla="*/ 229 w 916"/>
                  <a:gd name="T17" fmla="*/ 665 h 808"/>
                  <a:gd name="T18" fmla="*/ 109 w 916"/>
                  <a:gd name="T19" fmla="*/ 501 h 808"/>
                  <a:gd name="T20" fmla="*/ 229 w 916"/>
                  <a:gd name="T21" fmla="*/ 432 h 808"/>
                  <a:gd name="T22" fmla="*/ 229 w 916"/>
                  <a:gd name="T23" fmla="*/ 337 h 808"/>
                  <a:gd name="T24" fmla="*/ 109 w 916"/>
                  <a:gd name="T25" fmla="*/ 267 h 808"/>
                  <a:gd name="T26" fmla="*/ 229 w 916"/>
                  <a:gd name="T27" fmla="*/ 337 h 808"/>
                  <a:gd name="T28" fmla="*/ 109 w 916"/>
                  <a:gd name="T29" fmla="*/ 172 h 808"/>
                  <a:gd name="T30" fmla="*/ 229 w 916"/>
                  <a:gd name="T31" fmla="*/ 103 h 808"/>
                  <a:gd name="T32" fmla="*/ 428 w 916"/>
                  <a:gd name="T33" fmla="*/ 665 h 808"/>
                  <a:gd name="T34" fmla="*/ 307 w 916"/>
                  <a:gd name="T35" fmla="*/ 596 h 808"/>
                  <a:gd name="T36" fmla="*/ 428 w 916"/>
                  <a:gd name="T37" fmla="*/ 665 h 808"/>
                  <a:gd name="T38" fmla="*/ 307 w 916"/>
                  <a:gd name="T39" fmla="*/ 501 h 808"/>
                  <a:gd name="T40" fmla="*/ 428 w 916"/>
                  <a:gd name="T41" fmla="*/ 432 h 808"/>
                  <a:gd name="T42" fmla="*/ 428 w 916"/>
                  <a:gd name="T43" fmla="*/ 337 h 808"/>
                  <a:gd name="T44" fmla="*/ 307 w 916"/>
                  <a:gd name="T45" fmla="*/ 267 h 808"/>
                  <a:gd name="T46" fmla="*/ 428 w 916"/>
                  <a:gd name="T47" fmla="*/ 337 h 808"/>
                  <a:gd name="T48" fmla="*/ 307 w 916"/>
                  <a:gd name="T49" fmla="*/ 172 h 808"/>
                  <a:gd name="T50" fmla="*/ 428 w 916"/>
                  <a:gd name="T51" fmla="*/ 103 h 808"/>
                  <a:gd name="T52" fmla="*/ 684 w 916"/>
                  <a:gd name="T53" fmla="*/ 668 h 808"/>
                  <a:gd name="T54" fmla="*/ 606 w 916"/>
                  <a:gd name="T55" fmla="*/ 549 h 808"/>
                  <a:gd name="T56" fmla="*/ 684 w 916"/>
                  <a:gd name="T57" fmla="*/ 668 h 808"/>
                  <a:gd name="T58" fmla="*/ 606 w 916"/>
                  <a:gd name="T59" fmla="*/ 482 h 808"/>
                  <a:gd name="T60" fmla="*/ 684 w 916"/>
                  <a:gd name="T61" fmla="*/ 365 h 808"/>
                  <a:gd name="T62" fmla="*/ 816 w 916"/>
                  <a:gd name="T63" fmla="*/ 668 h 808"/>
                  <a:gd name="T64" fmla="*/ 738 w 916"/>
                  <a:gd name="T65" fmla="*/ 549 h 808"/>
                  <a:gd name="T66" fmla="*/ 816 w 916"/>
                  <a:gd name="T67" fmla="*/ 668 h 808"/>
                  <a:gd name="T68" fmla="*/ 738 w 916"/>
                  <a:gd name="T69" fmla="*/ 482 h 808"/>
                  <a:gd name="T70" fmla="*/ 816 w 916"/>
                  <a:gd name="T71" fmla="*/ 365 h 8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16" h="808">
                    <a:moveTo>
                      <a:pt x="883" y="723"/>
                    </a:moveTo>
                    <a:lnTo>
                      <a:pt x="883" y="286"/>
                    </a:lnTo>
                    <a:lnTo>
                      <a:pt x="539" y="286"/>
                    </a:lnTo>
                    <a:lnTo>
                      <a:pt x="539" y="723"/>
                    </a:lnTo>
                    <a:lnTo>
                      <a:pt x="504" y="723"/>
                    </a:lnTo>
                    <a:lnTo>
                      <a:pt x="504" y="0"/>
                    </a:lnTo>
                    <a:lnTo>
                      <a:pt x="35" y="0"/>
                    </a:lnTo>
                    <a:lnTo>
                      <a:pt x="35" y="723"/>
                    </a:lnTo>
                    <a:lnTo>
                      <a:pt x="0" y="723"/>
                    </a:lnTo>
                    <a:lnTo>
                      <a:pt x="0" y="808"/>
                    </a:lnTo>
                    <a:lnTo>
                      <a:pt x="916" y="808"/>
                    </a:lnTo>
                    <a:lnTo>
                      <a:pt x="916" y="723"/>
                    </a:lnTo>
                    <a:lnTo>
                      <a:pt x="883" y="723"/>
                    </a:lnTo>
                    <a:close/>
                    <a:moveTo>
                      <a:pt x="229" y="665"/>
                    </a:moveTo>
                    <a:lnTo>
                      <a:pt x="109" y="665"/>
                    </a:lnTo>
                    <a:lnTo>
                      <a:pt x="109" y="596"/>
                    </a:lnTo>
                    <a:lnTo>
                      <a:pt x="229" y="596"/>
                    </a:lnTo>
                    <a:lnTo>
                      <a:pt x="229" y="665"/>
                    </a:lnTo>
                    <a:close/>
                    <a:moveTo>
                      <a:pt x="229" y="501"/>
                    </a:moveTo>
                    <a:lnTo>
                      <a:pt x="109" y="501"/>
                    </a:lnTo>
                    <a:lnTo>
                      <a:pt x="109" y="432"/>
                    </a:lnTo>
                    <a:lnTo>
                      <a:pt x="229" y="432"/>
                    </a:lnTo>
                    <a:lnTo>
                      <a:pt x="229" y="501"/>
                    </a:lnTo>
                    <a:close/>
                    <a:moveTo>
                      <a:pt x="229" y="337"/>
                    </a:moveTo>
                    <a:lnTo>
                      <a:pt x="109" y="337"/>
                    </a:lnTo>
                    <a:lnTo>
                      <a:pt x="109" y="267"/>
                    </a:lnTo>
                    <a:lnTo>
                      <a:pt x="229" y="267"/>
                    </a:lnTo>
                    <a:lnTo>
                      <a:pt x="229" y="337"/>
                    </a:lnTo>
                    <a:close/>
                    <a:moveTo>
                      <a:pt x="229" y="172"/>
                    </a:moveTo>
                    <a:lnTo>
                      <a:pt x="109" y="172"/>
                    </a:lnTo>
                    <a:lnTo>
                      <a:pt x="109" y="103"/>
                    </a:lnTo>
                    <a:lnTo>
                      <a:pt x="229" y="103"/>
                    </a:lnTo>
                    <a:lnTo>
                      <a:pt x="229" y="172"/>
                    </a:lnTo>
                    <a:close/>
                    <a:moveTo>
                      <a:pt x="428" y="665"/>
                    </a:moveTo>
                    <a:lnTo>
                      <a:pt x="307" y="665"/>
                    </a:lnTo>
                    <a:lnTo>
                      <a:pt x="307" y="596"/>
                    </a:lnTo>
                    <a:lnTo>
                      <a:pt x="428" y="596"/>
                    </a:lnTo>
                    <a:lnTo>
                      <a:pt x="428" y="665"/>
                    </a:lnTo>
                    <a:close/>
                    <a:moveTo>
                      <a:pt x="428" y="501"/>
                    </a:moveTo>
                    <a:lnTo>
                      <a:pt x="307" y="501"/>
                    </a:lnTo>
                    <a:lnTo>
                      <a:pt x="307" y="432"/>
                    </a:lnTo>
                    <a:lnTo>
                      <a:pt x="428" y="432"/>
                    </a:lnTo>
                    <a:lnTo>
                      <a:pt x="428" y="501"/>
                    </a:lnTo>
                    <a:close/>
                    <a:moveTo>
                      <a:pt x="428" y="337"/>
                    </a:moveTo>
                    <a:lnTo>
                      <a:pt x="307" y="337"/>
                    </a:lnTo>
                    <a:lnTo>
                      <a:pt x="307" y="267"/>
                    </a:lnTo>
                    <a:lnTo>
                      <a:pt x="428" y="267"/>
                    </a:lnTo>
                    <a:lnTo>
                      <a:pt x="428" y="337"/>
                    </a:lnTo>
                    <a:close/>
                    <a:moveTo>
                      <a:pt x="428" y="172"/>
                    </a:moveTo>
                    <a:lnTo>
                      <a:pt x="307" y="172"/>
                    </a:lnTo>
                    <a:lnTo>
                      <a:pt x="307" y="103"/>
                    </a:lnTo>
                    <a:lnTo>
                      <a:pt x="428" y="103"/>
                    </a:lnTo>
                    <a:lnTo>
                      <a:pt x="428" y="172"/>
                    </a:lnTo>
                    <a:close/>
                    <a:moveTo>
                      <a:pt x="684" y="668"/>
                    </a:moveTo>
                    <a:lnTo>
                      <a:pt x="606" y="668"/>
                    </a:lnTo>
                    <a:lnTo>
                      <a:pt x="606" y="549"/>
                    </a:lnTo>
                    <a:lnTo>
                      <a:pt x="684" y="549"/>
                    </a:lnTo>
                    <a:lnTo>
                      <a:pt x="684" y="668"/>
                    </a:lnTo>
                    <a:close/>
                    <a:moveTo>
                      <a:pt x="684" y="482"/>
                    </a:moveTo>
                    <a:lnTo>
                      <a:pt x="606" y="482"/>
                    </a:lnTo>
                    <a:lnTo>
                      <a:pt x="606" y="365"/>
                    </a:lnTo>
                    <a:lnTo>
                      <a:pt x="684" y="365"/>
                    </a:lnTo>
                    <a:lnTo>
                      <a:pt x="684" y="482"/>
                    </a:lnTo>
                    <a:close/>
                    <a:moveTo>
                      <a:pt x="816" y="668"/>
                    </a:moveTo>
                    <a:lnTo>
                      <a:pt x="738" y="668"/>
                    </a:lnTo>
                    <a:lnTo>
                      <a:pt x="738" y="549"/>
                    </a:lnTo>
                    <a:lnTo>
                      <a:pt x="816" y="549"/>
                    </a:lnTo>
                    <a:lnTo>
                      <a:pt x="816" y="668"/>
                    </a:lnTo>
                    <a:close/>
                    <a:moveTo>
                      <a:pt x="816" y="482"/>
                    </a:moveTo>
                    <a:lnTo>
                      <a:pt x="738" y="482"/>
                    </a:lnTo>
                    <a:lnTo>
                      <a:pt x="738" y="365"/>
                    </a:lnTo>
                    <a:lnTo>
                      <a:pt x="816" y="365"/>
                    </a:lnTo>
                    <a:lnTo>
                      <a:pt x="816" y="482"/>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grpSp>
        <p:sp>
          <p:nvSpPr>
            <p:cNvPr id="86" name="TextBox 85"/>
            <p:cNvSpPr txBox="1"/>
            <p:nvPr/>
          </p:nvSpPr>
          <p:spPr>
            <a:xfrm>
              <a:off x="83345" y="113808"/>
              <a:ext cx="2532630" cy="627864"/>
            </a:xfrm>
            <a:prstGeom prst="rect">
              <a:avLst/>
            </a:prstGeom>
            <a:noFill/>
          </p:spPr>
          <p:txBody>
            <a:bodyPr wrap="square" lIns="182880" tIns="146304" rIns="182880" bIns="146304" rtlCol="0">
              <a:spAutoFit/>
            </a:bodyPr>
            <a:lstStyle>
              <a:defPPr>
                <a:defRPr lang="en-US"/>
              </a:defPPr>
              <a:lvl1pPr>
                <a:lnSpc>
                  <a:spcPct val="90000"/>
                </a:lnSpc>
                <a:spcAft>
                  <a:spcPts val="600"/>
                </a:spcAft>
                <a:defRPr sz="2800" b="1">
                  <a:solidFill>
                    <a:srgbClr val="F2C812"/>
                  </a:solidFill>
                  <a:latin typeface="Segoe UI Light"/>
                </a:defRPr>
              </a:lvl1p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400" b="1" i="0" u="none" strike="noStrike" kern="1200" cap="none" spc="0" normalizeH="0" baseline="0" noProof="0">
                  <a:ln>
                    <a:noFill/>
                  </a:ln>
                  <a:solidFill>
                    <a:srgbClr val="F2C812"/>
                  </a:solidFill>
                  <a:effectLst/>
                  <a:uLnTx/>
                  <a:uFillTx/>
                  <a:latin typeface="Segoe UI Light"/>
                  <a:ea typeface="+mn-ea"/>
                  <a:cs typeface="+mn-cs"/>
                </a:rPr>
                <a:t>Power BI Service</a:t>
              </a:r>
              <a:endParaRPr kumimoji="0" lang="en-US" sz="2800" b="1" i="0" u="none" strike="noStrike" kern="1200" cap="none" spc="0" normalizeH="0" baseline="0" noProof="0">
                <a:ln>
                  <a:noFill/>
                </a:ln>
                <a:solidFill>
                  <a:srgbClr val="F2C812"/>
                </a:solidFill>
                <a:effectLst/>
                <a:uLnTx/>
                <a:uFillTx/>
                <a:latin typeface="Segoe UI Light"/>
                <a:ea typeface="+mn-ea"/>
                <a:cs typeface="+mn-cs"/>
              </a:endParaRPr>
            </a:p>
          </p:txBody>
        </p:sp>
        <p:grpSp>
          <p:nvGrpSpPr>
            <p:cNvPr id="87" name="Group 86"/>
            <p:cNvGrpSpPr/>
            <p:nvPr/>
          </p:nvGrpSpPr>
          <p:grpSpPr>
            <a:xfrm>
              <a:off x="219373" y="3621383"/>
              <a:ext cx="433844" cy="645668"/>
              <a:chOff x="280990" y="3358164"/>
              <a:chExt cx="433844" cy="645668"/>
            </a:xfrm>
          </p:grpSpPr>
          <p:sp>
            <p:nvSpPr>
              <p:cNvPr id="93" name="Oval 1083"/>
              <p:cNvSpPr/>
              <p:nvPr/>
            </p:nvSpPr>
            <p:spPr bwMode="auto">
              <a:xfrm>
                <a:off x="280990" y="3358164"/>
                <a:ext cx="433844" cy="433847"/>
              </a:xfrm>
              <a:prstGeom prst="ellipse">
                <a:avLst/>
              </a:prstGeom>
              <a:solidFill>
                <a:srgbClr val="F2C812"/>
              </a:solidFill>
              <a:ln>
                <a:solidFill>
                  <a:srgbClr val="FFCC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94" name="Group 379"/>
              <p:cNvGrpSpPr/>
              <p:nvPr/>
            </p:nvGrpSpPr>
            <p:grpSpPr>
              <a:xfrm>
                <a:off x="453702" y="3910852"/>
                <a:ext cx="175660" cy="92980"/>
                <a:chOff x="3895793" y="7466656"/>
                <a:chExt cx="785810" cy="415941"/>
              </a:xfrm>
              <a:solidFill>
                <a:srgbClr val="00BCF2"/>
              </a:solidFill>
            </p:grpSpPr>
            <p:sp>
              <p:nvSpPr>
                <p:cNvPr id="95" name="Freeform 132"/>
                <p:cNvSpPr>
                  <a:spLocks/>
                </p:cNvSpPr>
                <p:nvPr/>
              </p:nvSpPr>
              <p:spPr bwMode="auto">
                <a:xfrm>
                  <a:off x="4125979" y="7688918"/>
                  <a:ext cx="0" cy="6353"/>
                </a:xfrm>
                <a:custGeom>
                  <a:avLst/>
                  <a:gdLst>
                    <a:gd name="T0" fmla="*/ 1 w 1"/>
                    <a:gd name="T1" fmla="*/ 0 h 8"/>
                    <a:gd name="T2" fmla="*/ 0 w 1"/>
                    <a:gd name="T3" fmla="*/ 0 h 8"/>
                    <a:gd name="T4" fmla="*/ 1 w 1"/>
                    <a:gd name="T5" fmla="*/ 8 h 8"/>
                    <a:gd name="T6" fmla="*/ 1 w 1"/>
                    <a:gd name="T7" fmla="*/ 0 h 8"/>
                  </a:gdLst>
                  <a:ahLst/>
                  <a:cxnLst>
                    <a:cxn ang="0">
                      <a:pos x="T0" y="T1"/>
                    </a:cxn>
                    <a:cxn ang="0">
                      <a:pos x="T2" y="T3"/>
                    </a:cxn>
                    <a:cxn ang="0">
                      <a:pos x="T4" y="T5"/>
                    </a:cxn>
                    <a:cxn ang="0">
                      <a:pos x="T6" y="T7"/>
                    </a:cxn>
                  </a:cxnLst>
                  <a:rect l="0" t="0" r="r" b="b"/>
                  <a:pathLst>
                    <a:path w="1" h="8">
                      <a:moveTo>
                        <a:pt x="1" y="0"/>
                      </a:moveTo>
                      <a:cubicBezTo>
                        <a:pt x="0" y="0"/>
                        <a:pt x="0" y="0"/>
                        <a:pt x="0" y="0"/>
                      </a:cubicBezTo>
                      <a:cubicBezTo>
                        <a:pt x="0" y="3"/>
                        <a:pt x="1" y="5"/>
                        <a:pt x="1" y="8"/>
                      </a:cubicBezTo>
                      <a:lnTo>
                        <a:pt x="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96" name="Freeform 133"/>
                <p:cNvSpPr>
                  <a:spLocks/>
                </p:cNvSpPr>
                <p:nvPr/>
              </p:nvSpPr>
              <p:spPr bwMode="auto">
                <a:xfrm>
                  <a:off x="3895793" y="7812745"/>
                  <a:ext cx="219078" cy="69852"/>
                </a:xfrm>
                <a:custGeom>
                  <a:avLst/>
                  <a:gdLst>
                    <a:gd name="T0" fmla="*/ 186 w 238"/>
                    <a:gd name="T1" fmla="*/ 9 h 76"/>
                    <a:gd name="T2" fmla="*/ 131 w 238"/>
                    <a:gd name="T3" fmla="*/ 22 h 76"/>
                    <a:gd name="T4" fmla="*/ 60 w 238"/>
                    <a:gd name="T5" fmla="*/ 0 h 76"/>
                    <a:gd name="T6" fmla="*/ 0 w 238"/>
                    <a:gd name="T7" fmla="*/ 42 h 76"/>
                    <a:gd name="T8" fmla="*/ 0 w 238"/>
                    <a:gd name="T9" fmla="*/ 76 h 76"/>
                    <a:gd name="T10" fmla="*/ 238 w 238"/>
                    <a:gd name="T11" fmla="*/ 76 h 76"/>
                    <a:gd name="T12" fmla="*/ 236 w 238"/>
                    <a:gd name="T13" fmla="*/ 53 h 76"/>
                    <a:gd name="T14" fmla="*/ 236 w 238"/>
                    <a:gd name="T15" fmla="*/ 49 h 76"/>
                    <a:gd name="T16" fmla="*/ 186 w 238"/>
                    <a:gd name="T17" fmla="*/ 9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8" h="76">
                      <a:moveTo>
                        <a:pt x="186" y="9"/>
                      </a:moveTo>
                      <a:cubicBezTo>
                        <a:pt x="169" y="18"/>
                        <a:pt x="150" y="22"/>
                        <a:pt x="131" y="22"/>
                      </a:cubicBezTo>
                      <a:cubicBezTo>
                        <a:pt x="105" y="22"/>
                        <a:pt x="80" y="14"/>
                        <a:pt x="60" y="0"/>
                      </a:cubicBezTo>
                      <a:cubicBezTo>
                        <a:pt x="0" y="42"/>
                        <a:pt x="0" y="42"/>
                        <a:pt x="0" y="42"/>
                      </a:cubicBezTo>
                      <a:cubicBezTo>
                        <a:pt x="0" y="76"/>
                        <a:pt x="0" y="76"/>
                        <a:pt x="0" y="76"/>
                      </a:cubicBezTo>
                      <a:cubicBezTo>
                        <a:pt x="238" y="76"/>
                        <a:pt x="238" y="76"/>
                        <a:pt x="238" y="76"/>
                      </a:cubicBezTo>
                      <a:cubicBezTo>
                        <a:pt x="237" y="68"/>
                        <a:pt x="236" y="61"/>
                        <a:pt x="236" y="53"/>
                      </a:cubicBezTo>
                      <a:cubicBezTo>
                        <a:pt x="236" y="51"/>
                        <a:pt x="236" y="50"/>
                        <a:pt x="236" y="49"/>
                      </a:cubicBezTo>
                      <a:lnTo>
                        <a:pt x="186" y="9"/>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97" name="Freeform 137"/>
                <p:cNvSpPr>
                  <a:spLocks/>
                </p:cNvSpPr>
                <p:nvPr/>
              </p:nvSpPr>
              <p:spPr bwMode="auto">
                <a:xfrm>
                  <a:off x="4338704" y="7809561"/>
                  <a:ext cx="65090" cy="73028"/>
                </a:xfrm>
                <a:custGeom>
                  <a:avLst/>
                  <a:gdLst>
                    <a:gd name="T0" fmla="*/ 71 w 71"/>
                    <a:gd name="T1" fmla="*/ 79 h 79"/>
                    <a:gd name="T2" fmla="*/ 71 w 71"/>
                    <a:gd name="T3" fmla="*/ 0 h 79"/>
                    <a:gd name="T4" fmla="*/ 2 w 71"/>
                    <a:gd name="T5" fmla="*/ 53 h 79"/>
                    <a:gd name="T6" fmla="*/ 2 w 71"/>
                    <a:gd name="T7" fmla="*/ 56 h 79"/>
                    <a:gd name="T8" fmla="*/ 0 w 71"/>
                    <a:gd name="T9" fmla="*/ 79 h 79"/>
                    <a:gd name="T10" fmla="*/ 71 w 71"/>
                    <a:gd name="T11" fmla="*/ 79 h 79"/>
                  </a:gdLst>
                  <a:ahLst/>
                  <a:cxnLst>
                    <a:cxn ang="0">
                      <a:pos x="T0" y="T1"/>
                    </a:cxn>
                    <a:cxn ang="0">
                      <a:pos x="T2" y="T3"/>
                    </a:cxn>
                    <a:cxn ang="0">
                      <a:pos x="T4" y="T5"/>
                    </a:cxn>
                    <a:cxn ang="0">
                      <a:pos x="T6" y="T7"/>
                    </a:cxn>
                    <a:cxn ang="0">
                      <a:pos x="T8" y="T9"/>
                    </a:cxn>
                    <a:cxn ang="0">
                      <a:pos x="T10" y="T11"/>
                    </a:cxn>
                  </a:cxnLst>
                  <a:rect l="0" t="0" r="r" b="b"/>
                  <a:pathLst>
                    <a:path w="71" h="79">
                      <a:moveTo>
                        <a:pt x="71" y="79"/>
                      </a:moveTo>
                      <a:cubicBezTo>
                        <a:pt x="71" y="0"/>
                        <a:pt x="71" y="0"/>
                        <a:pt x="71" y="0"/>
                      </a:cubicBezTo>
                      <a:cubicBezTo>
                        <a:pt x="2" y="53"/>
                        <a:pt x="2" y="53"/>
                        <a:pt x="2" y="53"/>
                      </a:cubicBezTo>
                      <a:cubicBezTo>
                        <a:pt x="2" y="54"/>
                        <a:pt x="2" y="55"/>
                        <a:pt x="2" y="56"/>
                      </a:cubicBezTo>
                      <a:cubicBezTo>
                        <a:pt x="2" y="64"/>
                        <a:pt x="1" y="71"/>
                        <a:pt x="0" y="79"/>
                      </a:cubicBezTo>
                      <a:lnTo>
                        <a:pt x="71" y="79"/>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98" name="Freeform 140"/>
                <p:cNvSpPr>
                  <a:spLocks/>
                </p:cNvSpPr>
                <p:nvPr/>
              </p:nvSpPr>
              <p:spPr bwMode="auto">
                <a:xfrm>
                  <a:off x="4600643" y="7622229"/>
                  <a:ext cx="80960" cy="38099"/>
                </a:xfrm>
                <a:custGeom>
                  <a:avLst/>
                  <a:gdLst>
                    <a:gd name="T0" fmla="*/ 0 w 51"/>
                    <a:gd name="T1" fmla="*/ 24 h 24"/>
                    <a:gd name="T2" fmla="*/ 51 w 51"/>
                    <a:gd name="T3" fmla="*/ 24 h 24"/>
                    <a:gd name="T4" fmla="*/ 32 w 51"/>
                    <a:gd name="T5" fmla="*/ 0 h 24"/>
                    <a:gd name="T6" fmla="*/ 0 w 51"/>
                    <a:gd name="T7" fmla="*/ 24 h 24"/>
                  </a:gdLst>
                  <a:ahLst/>
                  <a:cxnLst>
                    <a:cxn ang="0">
                      <a:pos x="T0" y="T1"/>
                    </a:cxn>
                    <a:cxn ang="0">
                      <a:pos x="T2" y="T3"/>
                    </a:cxn>
                    <a:cxn ang="0">
                      <a:pos x="T4" y="T5"/>
                    </a:cxn>
                    <a:cxn ang="0">
                      <a:pos x="T6" y="T7"/>
                    </a:cxn>
                  </a:cxnLst>
                  <a:rect l="0" t="0" r="r" b="b"/>
                  <a:pathLst>
                    <a:path w="51" h="24">
                      <a:moveTo>
                        <a:pt x="0" y="24"/>
                      </a:moveTo>
                      <a:lnTo>
                        <a:pt x="51" y="24"/>
                      </a:lnTo>
                      <a:lnTo>
                        <a:pt x="32" y="0"/>
                      </a:lnTo>
                      <a:lnTo>
                        <a:pt x="0" y="24"/>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99" name="Freeform 141"/>
                <p:cNvSpPr>
                  <a:spLocks/>
                </p:cNvSpPr>
                <p:nvPr/>
              </p:nvSpPr>
              <p:spPr bwMode="auto">
                <a:xfrm>
                  <a:off x="4449825" y="7466656"/>
                  <a:ext cx="119065" cy="139703"/>
                </a:xfrm>
                <a:custGeom>
                  <a:avLst/>
                  <a:gdLst>
                    <a:gd name="T0" fmla="*/ 52 w 75"/>
                    <a:gd name="T1" fmla="*/ 0 h 88"/>
                    <a:gd name="T2" fmla="*/ 0 w 75"/>
                    <a:gd name="T3" fmla="*/ 0 h 88"/>
                    <a:gd name="T4" fmla="*/ 0 w 75"/>
                    <a:gd name="T5" fmla="*/ 88 h 88"/>
                    <a:gd name="T6" fmla="*/ 75 w 75"/>
                    <a:gd name="T7" fmla="*/ 30 h 88"/>
                    <a:gd name="T8" fmla="*/ 52 w 75"/>
                    <a:gd name="T9" fmla="*/ 0 h 88"/>
                  </a:gdLst>
                  <a:ahLst/>
                  <a:cxnLst>
                    <a:cxn ang="0">
                      <a:pos x="T0" y="T1"/>
                    </a:cxn>
                    <a:cxn ang="0">
                      <a:pos x="T2" y="T3"/>
                    </a:cxn>
                    <a:cxn ang="0">
                      <a:pos x="T4" y="T5"/>
                    </a:cxn>
                    <a:cxn ang="0">
                      <a:pos x="T6" y="T7"/>
                    </a:cxn>
                    <a:cxn ang="0">
                      <a:pos x="T8" y="T9"/>
                    </a:cxn>
                  </a:cxnLst>
                  <a:rect l="0" t="0" r="r" b="b"/>
                  <a:pathLst>
                    <a:path w="75" h="88">
                      <a:moveTo>
                        <a:pt x="52" y="0"/>
                      </a:moveTo>
                      <a:lnTo>
                        <a:pt x="0" y="0"/>
                      </a:lnTo>
                      <a:lnTo>
                        <a:pt x="0" y="88"/>
                      </a:lnTo>
                      <a:lnTo>
                        <a:pt x="75" y="30"/>
                      </a:lnTo>
                      <a:lnTo>
                        <a:pt x="52"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grpSp>
        </p:grpSp>
        <p:sp>
          <p:nvSpPr>
            <p:cNvPr id="88" name="Rectangle 152"/>
            <p:cNvSpPr/>
            <p:nvPr/>
          </p:nvSpPr>
          <p:spPr bwMode="auto">
            <a:xfrm>
              <a:off x="712458" y="3628917"/>
              <a:ext cx="1805162" cy="37532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2C812"/>
                  </a:solidFill>
                  <a:effectLst/>
                  <a:uLnTx/>
                  <a:uFillTx/>
                  <a:latin typeface="Segoe UI"/>
                  <a:ea typeface="+mn-ea"/>
                  <a:cs typeface="Segoe UI Light" panose="020B0502040204020203" pitchFamily="34" charset="0"/>
                </a:rPr>
                <a:t>Q&amp;A and </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2C812"/>
                  </a:solidFill>
                  <a:effectLst/>
                  <a:uLnTx/>
                  <a:uFillTx/>
                  <a:latin typeface="Segoe UI"/>
                  <a:ea typeface="+mn-ea"/>
                  <a:cs typeface="Segoe UI Light" panose="020B0502040204020203" pitchFamily="34" charset="0"/>
                </a:rPr>
                <a:t>Quick Insights</a:t>
              </a:r>
              <a:endParaRPr kumimoji="0" lang="en-US" sz="1200" b="1" i="0" u="none" strike="noStrike" kern="1200" cap="none" spc="0" normalizeH="0" baseline="0" noProof="0">
                <a:ln>
                  <a:noFill/>
                </a:ln>
                <a:solidFill>
                  <a:srgbClr val="F2C812"/>
                </a:solidFill>
                <a:effectLst/>
                <a:uLnTx/>
                <a:uFillTx/>
                <a:latin typeface="Segoe UI"/>
                <a:ea typeface="+mn-ea"/>
                <a:cs typeface="Segoe UI Light" panose="020B0502040204020203" pitchFamily="34" charset="0"/>
              </a:endParaRPr>
            </a:p>
          </p:txBody>
        </p:sp>
        <p:sp>
          <p:nvSpPr>
            <p:cNvPr id="89" name="Oval 162"/>
            <p:cNvSpPr/>
            <p:nvPr/>
          </p:nvSpPr>
          <p:spPr bwMode="auto">
            <a:xfrm>
              <a:off x="226619" y="4551712"/>
              <a:ext cx="433844" cy="433844"/>
            </a:xfrm>
            <a:prstGeom prst="ellipse">
              <a:avLst/>
            </a:prstGeom>
            <a:solidFill>
              <a:srgbClr val="F2C812"/>
            </a:solidFill>
            <a:ln>
              <a:solidFill>
                <a:srgbClr val="FFCC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0" name="Rectangle 152"/>
            <p:cNvSpPr/>
            <p:nvPr/>
          </p:nvSpPr>
          <p:spPr bwMode="auto">
            <a:xfrm>
              <a:off x="738443" y="4596194"/>
              <a:ext cx="1884825" cy="30233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2C812"/>
                  </a:solidFill>
                  <a:effectLst/>
                  <a:uLnTx/>
                  <a:uFillTx/>
                  <a:latin typeface="Segoe UI"/>
                  <a:ea typeface="+mn-ea"/>
                  <a:cs typeface="Segoe UI Light" panose="020B0502040204020203" pitchFamily="34" charset="0"/>
                </a:rPr>
                <a:t>Sharing</a:t>
              </a:r>
              <a:endParaRPr kumimoji="0" lang="en-US" sz="1200" b="1" i="1" u="none" strike="noStrike" kern="1200" cap="none" spc="0" normalizeH="0" baseline="0" noProof="0">
                <a:ln>
                  <a:noFill/>
                </a:ln>
                <a:solidFill>
                  <a:srgbClr val="F2C812"/>
                </a:solidFill>
                <a:effectLst/>
                <a:uLnTx/>
                <a:uFillTx/>
                <a:latin typeface="Segoe UI"/>
                <a:ea typeface="+mn-ea"/>
                <a:cs typeface="Segoe UI Light" panose="020B0502040204020203" pitchFamily="34" charset="0"/>
              </a:endParaRPr>
            </a:p>
          </p:txBody>
        </p:sp>
        <p:sp>
          <p:nvSpPr>
            <p:cNvPr id="91" name="Rectangle 145"/>
            <p:cNvSpPr/>
            <p:nvPr/>
          </p:nvSpPr>
          <p:spPr bwMode="auto">
            <a:xfrm>
              <a:off x="697198" y="1847637"/>
              <a:ext cx="1821468" cy="3831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2C812"/>
                  </a:solidFill>
                  <a:effectLst/>
                  <a:uLnTx/>
                  <a:uFillTx/>
                  <a:latin typeface="Segoe UI"/>
                  <a:ea typeface="+mn-ea"/>
                  <a:cs typeface="Segoe UI Light" panose="020B0502040204020203" pitchFamily="34" charset="0"/>
                </a:rPr>
                <a:t>Pinning and Navigation</a:t>
              </a:r>
            </a:p>
          </p:txBody>
        </p:sp>
        <p:sp>
          <p:nvSpPr>
            <p:cNvPr id="92" name="Oval 162"/>
            <p:cNvSpPr/>
            <p:nvPr/>
          </p:nvSpPr>
          <p:spPr bwMode="auto">
            <a:xfrm>
              <a:off x="224136" y="1813606"/>
              <a:ext cx="433844" cy="433844"/>
            </a:xfrm>
            <a:prstGeom prst="ellipse">
              <a:avLst/>
            </a:prstGeom>
            <a:solidFill>
              <a:srgbClr val="FFCC00"/>
            </a:solidFill>
            <a:ln>
              <a:solidFill>
                <a:srgbClr val="F2C81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pic>
        <p:nvPicPr>
          <p:cNvPr id="106" name="Picture 105"/>
          <p:cNvPicPr>
            <a:picLocks noChangeAspect="1"/>
          </p:cNvPicPr>
          <p:nvPr/>
        </p:nvPicPr>
        <p:blipFill rotWithShape="1">
          <a:blip r:embed="rId6"/>
          <a:srcRect l="6503" t="21287" r="74698" b="20220"/>
          <a:stretch/>
        </p:blipFill>
        <p:spPr>
          <a:xfrm>
            <a:off x="339111" y="1946110"/>
            <a:ext cx="228600" cy="231962"/>
          </a:xfrm>
          <a:prstGeom prst="rect">
            <a:avLst/>
          </a:prstGeom>
        </p:spPr>
      </p:pic>
      <p:pic>
        <p:nvPicPr>
          <p:cNvPr id="107" name="Picture 106"/>
          <p:cNvPicPr>
            <a:picLocks noChangeAspect="1"/>
          </p:cNvPicPr>
          <p:nvPr/>
        </p:nvPicPr>
        <p:blipFill>
          <a:blip r:embed="rId7"/>
          <a:stretch>
            <a:fillRect/>
          </a:stretch>
        </p:blipFill>
        <p:spPr>
          <a:xfrm>
            <a:off x="284769" y="3673076"/>
            <a:ext cx="311766" cy="303106"/>
          </a:xfrm>
          <a:prstGeom prst="rect">
            <a:avLst/>
          </a:prstGeom>
        </p:spPr>
      </p:pic>
      <p:sp>
        <p:nvSpPr>
          <p:cNvPr id="108" name="Rectangle 145"/>
          <p:cNvSpPr/>
          <p:nvPr/>
        </p:nvSpPr>
        <p:spPr bwMode="auto">
          <a:xfrm>
            <a:off x="718897" y="5436715"/>
            <a:ext cx="1821468" cy="3831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2C812"/>
                </a:solidFill>
                <a:effectLst/>
                <a:uLnTx/>
                <a:uFillTx/>
                <a:latin typeface="Segoe UI"/>
                <a:ea typeface="+mn-ea"/>
                <a:cs typeface="Segoe UI Light" panose="020B0502040204020203" pitchFamily="34" charset="0"/>
              </a:rPr>
              <a:t>Connect from Excel</a:t>
            </a:r>
          </a:p>
        </p:txBody>
      </p:sp>
      <p:sp>
        <p:nvSpPr>
          <p:cNvPr id="109" name="Oval 162"/>
          <p:cNvSpPr/>
          <p:nvPr/>
        </p:nvSpPr>
        <p:spPr bwMode="auto">
          <a:xfrm>
            <a:off x="231441" y="5429649"/>
            <a:ext cx="433844" cy="433844"/>
          </a:xfrm>
          <a:prstGeom prst="ellipse">
            <a:avLst/>
          </a:prstGeom>
          <a:solidFill>
            <a:srgbClr val="FFCC00"/>
          </a:solidFill>
          <a:ln>
            <a:solidFill>
              <a:srgbClr val="F2C81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10" name="Picture 109"/>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flipH="1">
            <a:off x="283763" y="4596680"/>
            <a:ext cx="357484" cy="357484"/>
          </a:xfrm>
          <a:prstGeom prst="rect">
            <a:avLst/>
          </a:prstGeom>
        </p:spPr>
      </p:pic>
      <p:sp>
        <p:nvSpPr>
          <p:cNvPr id="111" name="Oval 162"/>
          <p:cNvSpPr/>
          <p:nvPr/>
        </p:nvSpPr>
        <p:spPr bwMode="auto">
          <a:xfrm>
            <a:off x="233032" y="6267344"/>
            <a:ext cx="433844" cy="433844"/>
          </a:xfrm>
          <a:prstGeom prst="ellipse">
            <a:avLst/>
          </a:prstGeom>
          <a:solidFill>
            <a:srgbClr val="FFCC00"/>
          </a:solidFill>
          <a:ln>
            <a:solidFill>
              <a:srgbClr val="F2C81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2" name="Rectangle 145"/>
          <p:cNvSpPr/>
          <p:nvPr/>
        </p:nvSpPr>
        <p:spPr bwMode="auto">
          <a:xfrm>
            <a:off x="701416" y="6289969"/>
            <a:ext cx="1821468" cy="3831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2C812"/>
                </a:solidFill>
                <a:effectLst/>
                <a:uLnTx/>
                <a:uFillTx/>
                <a:latin typeface="Segoe UI"/>
                <a:ea typeface="+mn-ea"/>
                <a:cs typeface="Segoe UI Light" panose="020B0502040204020203" pitchFamily="34" charset="0"/>
              </a:rPr>
              <a:t>Mobile Reports</a:t>
            </a:r>
          </a:p>
        </p:txBody>
      </p:sp>
      <p:pic>
        <p:nvPicPr>
          <p:cNvPr id="113" name="Picture 112"/>
          <p:cNvPicPr>
            <a:picLocks noChangeAspect="1"/>
          </p:cNvPicPr>
          <p:nvPr/>
        </p:nvPicPr>
        <p:blipFill>
          <a:blip r:embed="rId9" cstate="print">
            <a:extLst>
              <a:ext uri="{BEBA8EAE-BF5A-486C-A8C5-ECC9F3942E4B}">
                <a14:imgProps xmlns:a14="http://schemas.microsoft.com/office/drawing/2010/main">
                  <a14:imgLayer r:embed="rId10">
                    <a14:imgEffect>
                      <a14:saturation sat="0"/>
                    </a14:imgEffect>
                  </a14:imgLayer>
                </a14:imgProps>
              </a:ext>
              <a:ext uri="{28A0092B-C50C-407E-A947-70E740481C1C}">
                <a14:useLocalDpi xmlns:a14="http://schemas.microsoft.com/office/drawing/2010/main" val="0"/>
              </a:ext>
            </a:extLst>
          </a:blip>
          <a:stretch>
            <a:fillRect/>
          </a:stretch>
        </p:blipFill>
        <p:spPr>
          <a:xfrm>
            <a:off x="391946" y="6350039"/>
            <a:ext cx="133350" cy="251587"/>
          </a:xfrm>
          <a:prstGeom prst="rect">
            <a:avLst/>
          </a:prstGeom>
        </p:spPr>
      </p:pic>
      <p:pic>
        <p:nvPicPr>
          <p:cNvPr id="114" name="Picture 113"/>
          <p:cNvPicPr>
            <a:picLocks noChangeAspect="1"/>
          </p:cNvPicPr>
          <p:nvPr/>
        </p:nvPicPr>
        <p:blipFill>
          <a:blip r:embed="rId11" cstate="print">
            <a:biLevel thresh="50000"/>
            <a:extLst>
              <a:ext uri="{28A0092B-C50C-407E-A947-70E740481C1C}">
                <a14:useLocalDpi xmlns:a14="http://schemas.microsoft.com/office/drawing/2010/main" val="0"/>
              </a:ext>
            </a:extLst>
          </a:blip>
          <a:stretch>
            <a:fillRect/>
          </a:stretch>
        </p:blipFill>
        <p:spPr>
          <a:xfrm>
            <a:off x="332658" y="5538489"/>
            <a:ext cx="268940" cy="268940"/>
          </a:xfrm>
          <a:prstGeom prst="rect">
            <a:avLst/>
          </a:prstGeom>
        </p:spPr>
      </p:pic>
      <p:sp>
        <p:nvSpPr>
          <p:cNvPr id="115" name="Rectangle 114"/>
          <p:cNvSpPr/>
          <p:nvPr/>
        </p:nvSpPr>
        <p:spPr bwMode="auto">
          <a:xfrm>
            <a:off x="35912" y="2594112"/>
            <a:ext cx="2464420" cy="4194313"/>
          </a:xfrm>
          <a:prstGeom prst="rect">
            <a:avLst/>
          </a:prstGeom>
          <a:solidFill>
            <a:srgbClr val="000000">
              <a:alpha val="6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6" name="Rectangle 115"/>
          <p:cNvSpPr/>
          <p:nvPr/>
        </p:nvSpPr>
        <p:spPr bwMode="auto">
          <a:xfrm>
            <a:off x="95936" y="731576"/>
            <a:ext cx="2464420" cy="880187"/>
          </a:xfrm>
          <a:prstGeom prst="rect">
            <a:avLst/>
          </a:prstGeom>
          <a:solidFill>
            <a:srgbClr val="000000">
              <a:alpha val="6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23709736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4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3" grpId="0" animBg="1"/>
    </p:bldLst>
  </p:timing>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stretch>
            <a:fillRect/>
          </a:stretch>
        </p:blipFill>
        <p:spPr>
          <a:xfrm>
            <a:off x="3188867" y="1330302"/>
            <a:ext cx="8663326" cy="4737795"/>
          </a:xfrm>
          <a:prstGeom prst="rect">
            <a:avLst/>
          </a:prstGeom>
        </p:spPr>
      </p:pic>
      <p:sp>
        <p:nvSpPr>
          <p:cNvPr id="53" name="Title 10"/>
          <p:cNvSpPr txBox="1">
            <a:spLocks/>
          </p:cNvSpPr>
          <p:nvPr/>
        </p:nvSpPr>
        <p:spPr>
          <a:xfrm>
            <a:off x="2849060" y="0"/>
            <a:ext cx="9342940" cy="665151"/>
          </a:xfrm>
          <a:prstGeom prst="rect">
            <a:avLst/>
          </a:prstGeom>
          <a:noFill/>
        </p:spPr>
        <p:txBody>
          <a:bodyPr vert="horz" wrap="square" lIns="0" tIns="91440" rIns="0" bIns="91440" rtlCol="0" anchor="t">
            <a:noAutofit/>
          </a:bodyPr>
          <a:lstStyle>
            <a:lvl1pPr defTabSz="914367">
              <a:lnSpc>
                <a:spcPct val="90000"/>
              </a:lnSpc>
              <a:spcBef>
                <a:spcPct val="0"/>
              </a:spcBef>
              <a:buNone/>
              <a:defRPr lang="en-US" sz="5294" b="0" cap="none" spc="-100" baseline="0" dirty="0" smtClean="0">
                <a:ln w="3175">
                  <a:noFill/>
                </a:ln>
                <a:solidFill>
                  <a:schemeClr val="tx2"/>
                </a:solidFill>
                <a:effectLst/>
                <a:latin typeface="+mj-lt"/>
                <a:cs typeface="Segoe UI" pitchFamily="34" charset="0"/>
              </a:defRPr>
            </a:lvl1pPr>
          </a:lstStyle>
          <a:p>
            <a:pPr marL="168275" marR="0" lvl="0" indent="0" algn="l" defTabSz="914367" rtl="0" eaLnBrk="1" fontAlgn="auto" latinLnBrk="0" hangingPunct="1">
              <a:lnSpc>
                <a:spcPct val="90000"/>
              </a:lnSpc>
              <a:spcBef>
                <a:spcPct val="0"/>
              </a:spcBef>
              <a:spcAft>
                <a:spcPts val="0"/>
              </a:spcAft>
              <a:buClrTx/>
              <a:buSzTx/>
              <a:buFontTx/>
              <a:buNone/>
              <a:tabLst/>
              <a:defRPr/>
            </a:pPr>
            <a:r>
              <a:rPr kumimoji="0" lang="en-US" sz="3600" b="0" i="0" u="none" strike="noStrike" kern="1200" cap="none" spc="-100" normalizeH="0" baseline="0" noProof="0">
                <a:ln w="3175">
                  <a:noFill/>
                </a:ln>
                <a:solidFill>
                  <a:prstClr val="black"/>
                </a:solidFill>
                <a:effectLst/>
                <a:uLnTx/>
                <a:uFillTx/>
                <a:latin typeface="Segoe UI Light"/>
                <a:ea typeface="+mn-ea"/>
                <a:cs typeface="Segoe UI" pitchFamily="34" charset="0"/>
              </a:rPr>
              <a:t>Pinning and Navigation</a:t>
            </a:r>
            <a:endParaRPr kumimoji="0" lang="en-IN" sz="3600" b="0" i="0" u="none" strike="noStrike" kern="1200" cap="none" spc="-100" normalizeH="0" baseline="0" noProof="0">
              <a:ln w="3175">
                <a:noFill/>
              </a:ln>
              <a:solidFill>
                <a:prstClr val="black"/>
              </a:solidFill>
              <a:effectLst/>
              <a:uLnTx/>
              <a:uFillTx/>
              <a:latin typeface="Segoe UI Light"/>
              <a:ea typeface="+mn-ea"/>
              <a:cs typeface="Segoe UI" pitchFamily="34" charset="0"/>
            </a:endParaRPr>
          </a:p>
        </p:txBody>
      </p:sp>
      <p:sp>
        <p:nvSpPr>
          <p:cNvPr id="41" name="Rectangle 3"/>
          <p:cNvSpPr/>
          <p:nvPr/>
        </p:nvSpPr>
        <p:spPr bwMode="auto">
          <a:xfrm>
            <a:off x="3202216" y="665151"/>
            <a:ext cx="8105312" cy="44435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PT" sz="2000" b="0" i="1" u="none" strike="noStrike" kern="1200" cap="none" spc="0" normalizeH="0" baseline="0" noProof="0">
                <a:ln>
                  <a:noFill/>
                </a:ln>
                <a:solidFill>
                  <a:prstClr val="black"/>
                </a:solidFill>
                <a:effectLst/>
                <a:uLnTx/>
                <a:uFillTx/>
                <a:latin typeface="Segoe UI Light"/>
                <a:ea typeface="+mn-ea"/>
                <a:cs typeface="+mn-cs"/>
              </a:rPr>
              <a:t>Report</a:t>
            </a:r>
            <a:endParaRPr kumimoji="0" lang="en-US" sz="2000" b="0" i="1" u="none" strike="noStrike" kern="1200" cap="none" spc="0" normalizeH="0" baseline="0" noProof="0">
              <a:ln>
                <a:noFill/>
              </a:ln>
              <a:solidFill>
                <a:prstClr val="black"/>
              </a:solidFill>
              <a:effectLst/>
              <a:uLnTx/>
              <a:uFillTx/>
              <a:latin typeface="Segoe UI Light"/>
              <a:ea typeface="+mn-ea"/>
              <a:cs typeface="+mn-cs"/>
            </a:endParaRPr>
          </a:p>
        </p:txBody>
      </p:sp>
      <p:grpSp>
        <p:nvGrpSpPr>
          <p:cNvPr id="42" name="Group 41"/>
          <p:cNvGrpSpPr/>
          <p:nvPr/>
        </p:nvGrpSpPr>
        <p:grpSpPr>
          <a:xfrm>
            <a:off x="-2887" y="973"/>
            <a:ext cx="2849058" cy="6857027"/>
            <a:chOff x="2" y="487"/>
            <a:chExt cx="2849058" cy="6857027"/>
          </a:xfrm>
        </p:grpSpPr>
        <p:sp>
          <p:nvSpPr>
            <p:cNvPr id="43" name="Rectangle 15"/>
            <p:cNvSpPr/>
            <p:nvPr/>
          </p:nvSpPr>
          <p:spPr bwMode="auto">
            <a:xfrm>
              <a:off x="2" y="487"/>
              <a:ext cx="2849058" cy="685702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0" name="Rectangle 145"/>
            <p:cNvSpPr/>
            <p:nvPr/>
          </p:nvSpPr>
          <p:spPr bwMode="auto">
            <a:xfrm>
              <a:off x="696152" y="956997"/>
              <a:ext cx="1821468" cy="3831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2C812"/>
                  </a:solidFill>
                  <a:effectLst/>
                  <a:uLnTx/>
                  <a:uFillTx/>
                  <a:latin typeface="Segoe UI"/>
                  <a:ea typeface="+mn-ea"/>
                  <a:cs typeface="Segoe UI Light" panose="020B0502040204020203" pitchFamily="34" charset="0"/>
                </a:rPr>
                <a:t>Get Data</a:t>
              </a:r>
              <a:endParaRPr kumimoji="0" lang="en-US" sz="1200" b="1" i="1" u="none" strike="noStrike" kern="1200" cap="none" spc="0" normalizeH="0" baseline="0" noProof="0">
                <a:ln>
                  <a:noFill/>
                </a:ln>
                <a:solidFill>
                  <a:srgbClr val="F2C812"/>
                </a:solidFill>
                <a:effectLst/>
                <a:uLnTx/>
                <a:uFillTx/>
                <a:latin typeface="Segoe UI"/>
                <a:ea typeface="+mn-ea"/>
                <a:cs typeface="Segoe UI Light" panose="020B0502040204020203" pitchFamily="34" charset="0"/>
              </a:endParaRPr>
            </a:p>
          </p:txBody>
        </p:sp>
        <p:grpSp>
          <p:nvGrpSpPr>
            <p:cNvPr id="82" name="Group 81"/>
            <p:cNvGrpSpPr/>
            <p:nvPr/>
          </p:nvGrpSpPr>
          <p:grpSpPr>
            <a:xfrm>
              <a:off x="219373" y="934583"/>
              <a:ext cx="433844" cy="433844"/>
              <a:chOff x="440005" y="997815"/>
              <a:chExt cx="296322" cy="296322"/>
            </a:xfrm>
          </p:grpSpPr>
          <p:sp>
            <p:nvSpPr>
              <p:cNvPr id="101" name="Oval 147"/>
              <p:cNvSpPr/>
              <p:nvPr/>
            </p:nvSpPr>
            <p:spPr bwMode="auto">
              <a:xfrm>
                <a:off x="440005" y="997815"/>
                <a:ext cx="296322" cy="296322"/>
              </a:xfrm>
              <a:prstGeom prst="ellipse">
                <a:avLst/>
              </a:prstGeom>
              <a:solidFill>
                <a:srgbClr val="FFCC00"/>
              </a:solidFill>
              <a:ln>
                <a:solidFill>
                  <a:srgbClr val="F2C81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02" name="Group 332"/>
              <p:cNvGrpSpPr/>
              <p:nvPr/>
            </p:nvGrpSpPr>
            <p:grpSpPr>
              <a:xfrm>
                <a:off x="482167" y="1059311"/>
                <a:ext cx="211997" cy="173292"/>
                <a:chOff x="2123129" y="293070"/>
                <a:chExt cx="2472585" cy="2021178"/>
              </a:xfrm>
            </p:grpSpPr>
            <p:sp>
              <p:nvSpPr>
                <p:cNvPr id="103" name="Freeform 13"/>
                <p:cNvSpPr>
                  <a:spLocks/>
                </p:cNvSpPr>
                <p:nvPr/>
              </p:nvSpPr>
              <p:spPr bwMode="auto">
                <a:xfrm rot="20700000">
                  <a:off x="3155853" y="872796"/>
                  <a:ext cx="1439861" cy="1441452"/>
                </a:xfrm>
                <a:custGeom>
                  <a:avLst/>
                  <a:gdLst>
                    <a:gd name="T0" fmla="*/ 138 w 441"/>
                    <a:gd name="T1" fmla="*/ 341 h 441"/>
                    <a:gd name="T2" fmla="*/ 183 w 441"/>
                    <a:gd name="T3" fmla="*/ 374 h 441"/>
                    <a:gd name="T4" fmla="*/ 220 w 441"/>
                    <a:gd name="T5" fmla="*/ 423 h 441"/>
                    <a:gd name="T6" fmla="*/ 422 w 441"/>
                    <a:gd name="T7" fmla="*/ 220 h 441"/>
                    <a:gd name="T8" fmla="*/ 373 w 441"/>
                    <a:gd name="T9" fmla="*/ 184 h 441"/>
                    <a:gd name="T10" fmla="*/ 341 w 441"/>
                    <a:gd name="T11" fmla="*/ 139 h 441"/>
                    <a:gd name="T12" fmla="*/ 382 w 441"/>
                    <a:gd name="T13" fmla="*/ 58 h 441"/>
                    <a:gd name="T14" fmla="*/ 302 w 441"/>
                    <a:gd name="T15" fmla="*/ 100 h 441"/>
                    <a:gd name="T16" fmla="*/ 257 w 441"/>
                    <a:gd name="T17" fmla="*/ 67 h 441"/>
                    <a:gd name="T18" fmla="*/ 220 w 441"/>
                    <a:gd name="T19" fmla="*/ 18 h 441"/>
                    <a:gd name="T20" fmla="*/ 171 w 441"/>
                    <a:gd name="T21" fmla="*/ 55 h 441"/>
                    <a:gd name="T22" fmla="*/ 138 w 441"/>
                    <a:gd name="T23" fmla="*/ 100 h 441"/>
                    <a:gd name="T24" fmla="*/ 180 w 441"/>
                    <a:gd name="T25" fmla="*/ 181 h 441"/>
                    <a:gd name="T26" fmla="*/ 100 w 441"/>
                    <a:gd name="T27" fmla="*/ 139 h 441"/>
                    <a:gd name="T28" fmla="*/ 55 w 441"/>
                    <a:gd name="T29" fmla="*/ 171 h 441"/>
                    <a:gd name="T30" fmla="*/ 18 w 441"/>
                    <a:gd name="T31" fmla="*/ 220 h 441"/>
                    <a:gd name="T32" fmla="*/ 67 w 441"/>
                    <a:gd name="T33" fmla="*/ 257 h 441"/>
                    <a:gd name="T34" fmla="*/ 100 w 441"/>
                    <a:gd name="T35" fmla="*/ 302 h 441"/>
                    <a:gd name="T36" fmla="*/ 58 w 441"/>
                    <a:gd name="T37" fmla="*/ 383 h 441"/>
                    <a:gd name="T38" fmla="*/ 138 w 441"/>
                    <a:gd name="T39" fmla="*/ 341 h 4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41" h="441">
                      <a:moveTo>
                        <a:pt x="138" y="341"/>
                      </a:moveTo>
                      <a:cubicBezTo>
                        <a:pt x="147" y="337"/>
                        <a:pt x="171" y="361"/>
                        <a:pt x="183" y="374"/>
                      </a:cubicBezTo>
                      <a:cubicBezTo>
                        <a:pt x="196" y="386"/>
                        <a:pt x="220" y="423"/>
                        <a:pt x="220" y="423"/>
                      </a:cubicBezTo>
                      <a:cubicBezTo>
                        <a:pt x="422" y="220"/>
                        <a:pt x="422" y="220"/>
                        <a:pt x="422" y="220"/>
                      </a:cubicBezTo>
                      <a:cubicBezTo>
                        <a:pt x="422" y="220"/>
                        <a:pt x="386" y="196"/>
                        <a:pt x="373" y="184"/>
                      </a:cubicBezTo>
                      <a:cubicBezTo>
                        <a:pt x="361" y="171"/>
                        <a:pt x="338" y="149"/>
                        <a:pt x="341" y="139"/>
                      </a:cubicBezTo>
                      <a:cubicBezTo>
                        <a:pt x="343" y="129"/>
                        <a:pt x="441" y="116"/>
                        <a:pt x="382" y="58"/>
                      </a:cubicBezTo>
                      <a:cubicBezTo>
                        <a:pt x="324" y="0"/>
                        <a:pt x="310" y="96"/>
                        <a:pt x="302" y="100"/>
                      </a:cubicBezTo>
                      <a:cubicBezTo>
                        <a:pt x="294" y="104"/>
                        <a:pt x="269" y="80"/>
                        <a:pt x="257" y="67"/>
                      </a:cubicBezTo>
                      <a:cubicBezTo>
                        <a:pt x="245" y="55"/>
                        <a:pt x="220" y="18"/>
                        <a:pt x="220" y="18"/>
                      </a:cubicBezTo>
                      <a:cubicBezTo>
                        <a:pt x="220" y="18"/>
                        <a:pt x="183" y="43"/>
                        <a:pt x="171" y="55"/>
                      </a:cubicBezTo>
                      <a:cubicBezTo>
                        <a:pt x="159" y="67"/>
                        <a:pt x="134" y="92"/>
                        <a:pt x="138" y="100"/>
                      </a:cubicBezTo>
                      <a:cubicBezTo>
                        <a:pt x="142" y="108"/>
                        <a:pt x="238" y="122"/>
                        <a:pt x="180" y="181"/>
                      </a:cubicBezTo>
                      <a:cubicBezTo>
                        <a:pt x="122" y="239"/>
                        <a:pt x="110" y="141"/>
                        <a:pt x="100" y="139"/>
                      </a:cubicBezTo>
                      <a:cubicBezTo>
                        <a:pt x="89" y="137"/>
                        <a:pt x="67" y="159"/>
                        <a:pt x="55" y="171"/>
                      </a:cubicBezTo>
                      <a:cubicBezTo>
                        <a:pt x="42" y="184"/>
                        <a:pt x="18" y="220"/>
                        <a:pt x="18" y="220"/>
                      </a:cubicBezTo>
                      <a:cubicBezTo>
                        <a:pt x="18" y="220"/>
                        <a:pt x="55" y="245"/>
                        <a:pt x="67" y="257"/>
                      </a:cubicBezTo>
                      <a:cubicBezTo>
                        <a:pt x="79" y="269"/>
                        <a:pt x="102" y="292"/>
                        <a:pt x="100" y="302"/>
                      </a:cubicBezTo>
                      <a:cubicBezTo>
                        <a:pt x="98" y="312"/>
                        <a:pt x="0" y="325"/>
                        <a:pt x="58" y="383"/>
                      </a:cubicBezTo>
                      <a:cubicBezTo>
                        <a:pt x="116" y="441"/>
                        <a:pt x="130" y="345"/>
                        <a:pt x="138" y="341"/>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104" name="Freeform 14"/>
                <p:cNvSpPr>
                  <a:spLocks/>
                </p:cNvSpPr>
                <p:nvPr/>
              </p:nvSpPr>
              <p:spPr bwMode="auto">
                <a:xfrm rot="9900000">
                  <a:off x="2123129" y="293070"/>
                  <a:ext cx="1377948" cy="1377947"/>
                </a:xfrm>
                <a:custGeom>
                  <a:avLst/>
                  <a:gdLst>
                    <a:gd name="T0" fmla="*/ 422 w 422"/>
                    <a:gd name="T1" fmla="*/ 220 h 422"/>
                    <a:gd name="T2" fmla="*/ 386 w 422"/>
                    <a:gd name="T3" fmla="*/ 171 h 422"/>
                    <a:gd name="T4" fmla="*/ 341 w 422"/>
                    <a:gd name="T5" fmla="*/ 138 h 422"/>
                    <a:gd name="T6" fmla="*/ 260 w 422"/>
                    <a:gd name="T7" fmla="*/ 180 h 422"/>
                    <a:gd name="T8" fmla="*/ 302 w 422"/>
                    <a:gd name="T9" fmla="*/ 100 h 422"/>
                    <a:gd name="T10" fmla="*/ 269 w 422"/>
                    <a:gd name="T11" fmla="*/ 55 h 422"/>
                    <a:gd name="T12" fmla="*/ 220 w 422"/>
                    <a:gd name="T13" fmla="*/ 18 h 422"/>
                    <a:gd name="T14" fmla="*/ 183 w 422"/>
                    <a:gd name="T15" fmla="*/ 67 h 422"/>
                    <a:gd name="T16" fmla="*/ 138 w 422"/>
                    <a:gd name="T17" fmla="*/ 100 h 422"/>
                    <a:gd name="T18" fmla="*/ 58 w 422"/>
                    <a:gd name="T19" fmla="*/ 58 h 422"/>
                    <a:gd name="T20" fmla="*/ 100 w 422"/>
                    <a:gd name="T21" fmla="*/ 138 h 422"/>
                    <a:gd name="T22" fmla="*/ 67 w 422"/>
                    <a:gd name="T23" fmla="*/ 183 h 422"/>
                    <a:gd name="T24" fmla="*/ 18 w 422"/>
                    <a:gd name="T25" fmla="*/ 220 h 422"/>
                    <a:gd name="T26" fmla="*/ 55 w 422"/>
                    <a:gd name="T27" fmla="*/ 269 h 422"/>
                    <a:gd name="T28" fmla="*/ 100 w 422"/>
                    <a:gd name="T29" fmla="*/ 302 h 422"/>
                    <a:gd name="T30" fmla="*/ 180 w 422"/>
                    <a:gd name="T31" fmla="*/ 260 h 422"/>
                    <a:gd name="T32" fmla="*/ 138 w 422"/>
                    <a:gd name="T33" fmla="*/ 341 h 422"/>
                    <a:gd name="T34" fmla="*/ 171 w 422"/>
                    <a:gd name="T35" fmla="*/ 386 h 422"/>
                    <a:gd name="T36" fmla="*/ 220 w 422"/>
                    <a:gd name="T37" fmla="*/ 422 h 422"/>
                    <a:gd name="T38" fmla="*/ 422 w 422"/>
                    <a:gd name="T39" fmla="*/ 220 h 4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22" h="422">
                      <a:moveTo>
                        <a:pt x="422" y="220"/>
                      </a:moveTo>
                      <a:cubicBezTo>
                        <a:pt x="422" y="220"/>
                        <a:pt x="398" y="183"/>
                        <a:pt x="386" y="171"/>
                      </a:cubicBezTo>
                      <a:cubicBezTo>
                        <a:pt x="373" y="159"/>
                        <a:pt x="349" y="134"/>
                        <a:pt x="341" y="138"/>
                      </a:cubicBezTo>
                      <a:cubicBezTo>
                        <a:pt x="332" y="142"/>
                        <a:pt x="318" y="239"/>
                        <a:pt x="260" y="180"/>
                      </a:cubicBezTo>
                      <a:cubicBezTo>
                        <a:pt x="202" y="122"/>
                        <a:pt x="300" y="110"/>
                        <a:pt x="302" y="100"/>
                      </a:cubicBezTo>
                      <a:cubicBezTo>
                        <a:pt x="304" y="90"/>
                        <a:pt x="281" y="67"/>
                        <a:pt x="269" y="55"/>
                      </a:cubicBezTo>
                      <a:cubicBezTo>
                        <a:pt x="257" y="42"/>
                        <a:pt x="220" y="18"/>
                        <a:pt x="220" y="18"/>
                      </a:cubicBezTo>
                      <a:cubicBezTo>
                        <a:pt x="220" y="18"/>
                        <a:pt x="196" y="55"/>
                        <a:pt x="183" y="67"/>
                      </a:cubicBezTo>
                      <a:cubicBezTo>
                        <a:pt x="171" y="79"/>
                        <a:pt x="149" y="102"/>
                        <a:pt x="138" y="100"/>
                      </a:cubicBezTo>
                      <a:cubicBezTo>
                        <a:pt x="128" y="98"/>
                        <a:pt x="116" y="0"/>
                        <a:pt x="58" y="58"/>
                      </a:cubicBezTo>
                      <a:cubicBezTo>
                        <a:pt x="0" y="116"/>
                        <a:pt x="96" y="130"/>
                        <a:pt x="100" y="138"/>
                      </a:cubicBezTo>
                      <a:cubicBezTo>
                        <a:pt x="104" y="147"/>
                        <a:pt x="79" y="171"/>
                        <a:pt x="67" y="183"/>
                      </a:cubicBezTo>
                      <a:cubicBezTo>
                        <a:pt x="55" y="196"/>
                        <a:pt x="18" y="220"/>
                        <a:pt x="18" y="220"/>
                      </a:cubicBezTo>
                      <a:cubicBezTo>
                        <a:pt x="18" y="220"/>
                        <a:pt x="42" y="257"/>
                        <a:pt x="55" y="269"/>
                      </a:cubicBezTo>
                      <a:cubicBezTo>
                        <a:pt x="67" y="281"/>
                        <a:pt x="91" y="306"/>
                        <a:pt x="100" y="302"/>
                      </a:cubicBezTo>
                      <a:cubicBezTo>
                        <a:pt x="108" y="298"/>
                        <a:pt x="122" y="202"/>
                        <a:pt x="180" y="260"/>
                      </a:cubicBezTo>
                      <a:cubicBezTo>
                        <a:pt x="238" y="318"/>
                        <a:pt x="140" y="330"/>
                        <a:pt x="138" y="341"/>
                      </a:cubicBezTo>
                      <a:cubicBezTo>
                        <a:pt x="136" y="351"/>
                        <a:pt x="159" y="373"/>
                        <a:pt x="171" y="386"/>
                      </a:cubicBezTo>
                      <a:cubicBezTo>
                        <a:pt x="183" y="398"/>
                        <a:pt x="220" y="422"/>
                        <a:pt x="220" y="422"/>
                      </a:cubicBezTo>
                      <a:lnTo>
                        <a:pt x="422" y="22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grpSp>
        </p:grpSp>
        <p:sp>
          <p:nvSpPr>
            <p:cNvPr id="83" name="Rectangle 152"/>
            <p:cNvSpPr/>
            <p:nvPr/>
          </p:nvSpPr>
          <p:spPr bwMode="auto">
            <a:xfrm>
              <a:off x="669652" y="2738277"/>
              <a:ext cx="1805162" cy="37532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2C812"/>
                  </a:solidFill>
                  <a:effectLst/>
                  <a:uLnTx/>
                  <a:uFillTx/>
                  <a:latin typeface="Segoe UI"/>
                  <a:ea typeface="+mn-ea"/>
                  <a:cs typeface="Segoe UI Light" panose="020B0502040204020203" pitchFamily="34" charset="0"/>
                </a:rPr>
                <a:t>Keeping Data Current</a:t>
              </a:r>
            </a:p>
          </p:txBody>
        </p:sp>
        <p:grpSp>
          <p:nvGrpSpPr>
            <p:cNvPr id="84" name="Group 83"/>
            <p:cNvGrpSpPr/>
            <p:nvPr/>
          </p:nvGrpSpPr>
          <p:grpSpPr>
            <a:xfrm>
              <a:off x="199649" y="2692629"/>
              <a:ext cx="433844" cy="433844"/>
              <a:chOff x="342620" y="2228265"/>
              <a:chExt cx="433844" cy="433844"/>
            </a:xfrm>
            <a:solidFill>
              <a:schemeClr val="bg1"/>
            </a:solidFill>
          </p:grpSpPr>
          <p:sp>
            <p:nvSpPr>
              <p:cNvPr id="99" name="Oval 154"/>
              <p:cNvSpPr/>
              <p:nvPr/>
            </p:nvSpPr>
            <p:spPr bwMode="auto">
              <a:xfrm>
                <a:off x="342620" y="2228265"/>
                <a:ext cx="433844" cy="433844"/>
              </a:xfrm>
              <a:prstGeom prst="ellipse">
                <a:avLst/>
              </a:prstGeom>
              <a:solidFill>
                <a:srgbClr val="FFC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0" name="Freeform 30"/>
              <p:cNvSpPr>
                <a:spLocks noEditPoints="1"/>
              </p:cNvSpPr>
              <p:nvPr/>
            </p:nvSpPr>
            <p:spPr bwMode="auto">
              <a:xfrm>
                <a:off x="444786" y="2340040"/>
                <a:ext cx="238402" cy="210293"/>
              </a:xfrm>
              <a:custGeom>
                <a:avLst/>
                <a:gdLst>
                  <a:gd name="T0" fmla="*/ 883 w 916"/>
                  <a:gd name="T1" fmla="*/ 286 h 808"/>
                  <a:gd name="T2" fmla="*/ 539 w 916"/>
                  <a:gd name="T3" fmla="*/ 723 h 808"/>
                  <a:gd name="T4" fmla="*/ 504 w 916"/>
                  <a:gd name="T5" fmla="*/ 0 h 808"/>
                  <a:gd name="T6" fmla="*/ 35 w 916"/>
                  <a:gd name="T7" fmla="*/ 723 h 808"/>
                  <a:gd name="T8" fmla="*/ 0 w 916"/>
                  <a:gd name="T9" fmla="*/ 808 h 808"/>
                  <a:gd name="T10" fmla="*/ 916 w 916"/>
                  <a:gd name="T11" fmla="*/ 723 h 808"/>
                  <a:gd name="T12" fmla="*/ 229 w 916"/>
                  <a:gd name="T13" fmla="*/ 665 h 808"/>
                  <a:gd name="T14" fmla="*/ 109 w 916"/>
                  <a:gd name="T15" fmla="*/ 596 h 808"/>
                  <a:gd name="T16" fmla="*/ 229 w 916"/>
                  <a:gd name="T17" fmla="*/ 665 h 808"/>
                  <a:gd name="T18" fmla="*/ 109 w 916"/>
                  <a:gd name="T19" fmla="*/ 501 h 808"/>
                  <a:gd name="T20" fmla="*/ 229 w 916"/>
                  <a:gd name="T21" fmla="*/ 432 h 808"/>
                  <a:gd name="T22" fmla="*/ 229 w 916"/>
                  <a:gd name="T23" fmla="*/ 337 h 808"/>
                  <a:gd name="T24" fmla="*/ 109 w 916"/>
                  <a:gd name="T25" fmla="*/ 267 h 808"/>
                  <a:gd name="T26" fmla="*/ 229 w 916"/>
                  <a:gd name="T27" fmla="*/ 337 h 808"/>
                  <a:gd name="T28" fmla="*/ 109 w 916"/>
                  <a:gd name="T29" fmla="*/ 172 h 808"/>
                  <a:gd name="T30" fmla="*/ 229 w 916"/>
                  <a:gd name="T31" fmla="*/ 103 h 808"/>
                  <a:gd name="T32" fmla="*/ 428 w 916"/>
                  <a:gd name="T33" fmla="*/ 665 h 808"/>
                  <a:gd name="T34" fmla="*/ 307 w 916"/>
                  <a:gd name="T35" fmla="*/ 596 h 808"/>
                  <a:gd name="T36" fmla="*/ 428 w 916"/>
                  <a:gd name="T37" fmla="*/ 665 h 808"/>
                  <a:gd name="T38" fmla="*/ 307 w 916"/>
                  <a:gd name="T39" fmla="*/ 501 h 808"/>
                  <a:gd name="T40" fmla="*/ 428 w 916"/>
                  <a:gd name="T41" fmla="*/ 432 h 808"/>
                  <a:gd name="T42" fmla="*/ 428 w 916"/>
                  <a:gd name="T43" fmla="*/ 337 h 808"/>
                  <a:gd name="T44" fmla="*/ 307 w 916"/>
                  <a:gd name="T45" fmla="*/ 267 h 808"/>
                  <a:gd name="T46" fmla="*/ 428 w 916"/>
                  <a:gd name="T47" fmla="*/ 337 h 808"/>
                  <a:gd name="T48" fmla="*/ 307 w 916"/>
                  <a:gd name="T49" fmla="*/ 172 h 808"/>
                  <a:gd name="T50" fmla="*/ 428 w 916"/>
                  <a:gd name="T51" fmla="*/ 103 h 808"/>
                  <a:gd name="T52" fmla="*/ 684 w 916"/>
                  <a:gd name="T53" fmla="*/ 668 h 808"/>
                  <a:gd name="T54" fmla="*/ 606 w 916"/>
                  <a:gd name="T55" fmla="*/ 549 h 808"/>
                  <a:gd name="T56" fmla="*/ 684 w 916"/>
                  <a:gd name="T57" fmla="*/ 668 h 808"/>
                  <a:gd name="T58" fmla="*/ 606 w 916"/>
                  <a:gd name="T59" fmla="*/ 482 h 808"/>
                  <a:gd name="T60" fmla="*/ 684 w 916"/>
                  <a:gd name="T61" fmla="*/ 365 h 808"/>
                  <a:gd name="T62" fmla="*/ 816 w 916"/>
                  <a:gd name="T63" fmla="*/ 668 h 808"/>
                  <a:gd name="T64" fmla="*/ 738 w 916"/>
                  <a:gd name="T65" fmla="*/ 549 h 808"/>
                  <a:gd name="T66" fmla="*/ 816 w 916"/>
                  <a:gd name="T67" fmla="*/ 668 h 808"/>
                  <a:gd name="T68" fmla="*/ 738 w 916"/>
                  <a:gd name="T69" fmla="*/ 482 h 808"/>
                  <a:gd name="T70" fmla="*/ 816 w 916"/>
                  <a:gd name="T71" fmla="*/ 365 h 8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16" h="808">
                    <a:moveTo>
                      <a:pt x="883" y="723"/>
                    </a:moveTo>
                    <a:lnTo>
                      <a:pt x="883" y="286"/>
                    </a:lnTo>
                    <a:lnTo>
                      <a:pt x="539" y="286"/>
                    </a:lnTo>
                    <a:lnTo>
                      <a:pt x="539" y="723"/>
                    </a:lnTo>
                    <a:lnTo>
                      <a:pt x="504" y="723"/>
                    </a:lnTo>
                    <a:lnTo>
                      <a:pt x="504" y="0"/>
                    </a:lnTo>
                    <a:lnTo>
                      <a:pt x="35" y="0"/>
                    </a:lnTo>
                    <a:lnTo>
                      <a:pt x="35" y="723"/>
                    </a:lnTo>
                    <a:lnTo>
                      <a:pt x="0" y="723"/>
                    </a:lnTo>
                    <a:lnTo>
                      <a:pt x="0" y="808"/>
                    </a:lnTo>
                    <a:lnTo>
                      <a:pt x="916" y="808"/>
                    </a:lnTo>
                    <a:lnTo>
                      <a:pt x="916" y="723"/>
                    </a:lnTo>
                    <a:lnTo>
                      <a:pt x="883" y="723"/>
                    </a:lnTo>
                    <a:close/>
                    <a:moveTo>
                      <a:pt x="229" y="665"/>
                    </a:moveTo>
                    <a:lnTo>
                      <a:pt x="109" y="665"/>
                    </a:lnTo>
                    <a:lnTo>
                      <a:pt x="109" y="596"/>
                    </a:lnTo>
                    <a:lnTo>
                      <a:pt x="229" y="596"/>
                    </a:lnTo>
                    <a:lnTo>
                      <a:pt x="229" y="665"/>
                    </a:lnTo>
                    <a:close/>
                    <a:moveTo>
                      <a:pt x="229" y="501"/>
                    </a:moveTo>
                    <a:lnTo>
                      <a:pt x="109" y="501"/>
                    </a:lnTo>
                    <a:lnTo>
                      <a:pt x="109" y="432"/>
                    </a:lnTo>
                    <a:lnTo>
                      <a:pt x="229" y="432"/>
                    </a:lnTo>
                    <a:lnTo>
                      <a:pt x="229" y="501"/>
                    </a:lnTo>
                    <a:close/>
                    <a:moveTo>
                      <a:pt x="229" y="337"/>
                    </a:moveTo>
                    <a:lnTo>
                      <a:pt x="109" y="337"/>
                    </a:lnTo>
                    <a:lnTo>
                      <a:pt x="109" y="267"/>
                    </a:lnTo>
                    <a:lnTo>
                      <a:pt x="229" y="267"/>
                    </a:lnTo>
                    <a:lnTo>
                      <a:pt x="229" y="337"/>
                    </a:lnTo>
                    <a:close/>
                    <a:moveTo>
                      <a:pt x="229" y="172"/>
                    </a:moveTo>
                    <a:lnTo>
                      <a:pt x="109" y="172"/>
                    </a:lnTo>
                    <a:lnTo>
                      <a:pt x="109" y="103"/>
                    </a:lnTo>
                    <a:lnTo>
                      <a:pt x="229" y="103"/>
                    </a:lnTo>
                    <a:lnTo>
                      <a:pt x="229" y="172"/>
                    </a:lnTo>
                    <a:close/>
                    <a:moveTo>
                      <a:pt x="428" y="665"/>
                    </a:moveTo>
                    <a:lnTo>
                      <a:pt x="307" y="665"/>
                    </a:lnTo>
                    <a:lnTo>
                      <a:pt x="307" y="596"/>
                    </a:lnTo>
                    <a:lnTo>
                      <a:pt x="428" y="596"/>
                    </a:lnTo>
                    <a:lnTo>
                      <a:pt x="428" y="665"/>
                    </a:lnTo>
                    <a:close/>
                    <a:moveTo>
                      <a:pt x="428" y="501"/>
                    </a:moveTo>
                    <a:lnTo>
                      <a:pt x="307" y="501"/>
                    </a:lnTo>
                    <a:lnTo>
                      <a:pt x="307" y="432"/>
                    </a:lnTo>
                    <a:lnTo>
                      <a:pt x="428" y="432"/>
                    </a:lnTo>
                    <a:lnTo>
                      <a:pt x="428" y="501"/>
                    </a:lnTo>
                    <a:close/>
                    <a:moveTo>
                      <a:pt x="428" y="337"/>
                    </a:moveTo>
                    <a:lnTo>
                      <a:pt x="307" y="337"/>
                    </a:lnTo>
                    <a:lnTo>
                      <a:pt x="307" y="267"/>
                    </a:lnTo>
                    <a:lnTo>
                      <a:pt x="428" y="267"/>
                    </a:lnTo>
                    <a:lnTo>
                      <a:pt x="428" y="337"/>
                    </a:lnTo>
                    <a:close/>
                    <a:moveTo>
                      <a:pt x="428" y="172"/>
                    </a:moveTo>
                    <a:lnTo>
                      <a:pt x="307" y="172"/>
                    </a:lnTo>
                    <a:lnTo>
                      <a:pt x="307" y="103"/>
                    </a:lnTo>
                    <a:lnTo>
                      <a:pt x="428" y="103"/>
                    </a:lnTo>
                    <a:lnTo>
                      <a:pt x="428" y="172"/>
                    </a:lnTo>
                    <a:close/>
                    <a:moveTo>
                      <a:pt x="684" y="668"/>
                    </a:moveTo>
                    <a:lnTo>
                      <a:pt x="606" y="668"/>
                    </a:lnTo>
                    <a:lnTo>
                      <a:pt x="606" y="549"/>
                    </a:lnTo>
                    <a:lnTo>
                      <a:pt x="684" y="549"/>
                    </a:lnTo>
                    <a:lnTo>
                      <a:pt x="684" y="668"/>
                    </a:lnTo>
                    <a:close/>
                    <a:moveTo>
                      <a:pt x="684" y="482"/>
                    </a:moveTo>
                    <a:lnTo>
                      <a:pt x="606" y="482"/>
                    </a:lnTo>
                    <a:lnTo>
                      <a:pt x="606" y="365"/>
                    </a:lnTo>
                    <a:lnTo>
                      <a:pt x="684" y="365"/>
                    </a:lnTo>
                    <a:lnTo>
                      <a:pt x="684" y="482"/>
                    </a:lnTo>
                    <a:close/>
                    <a:moveTo>
                      <a:pt x="816" y="668"/>
                    </a:moveTo>
                    <a:lnTo>
                      <a:pt x="738" y="668"/>
                    </a:lnTo>
                    <a:lnTo>
                      <a:pt x="738" y="549"/>
                    </a:lnTo>
                    <a:lnTo>
                      <a:pt x="816" y="549"/>
                    </a:lnTo>
                    <a:lnTo>
                      <a:pt x="816" y="668"/>
                    </a:lnTo>
                    <a:close/>
                    <a:moveTo>
                      <a:pt x="816" y="482"/>
                    </a:moveTo>
                    <a:lnTo>
                      <a:pt x="738" y="482"/>
                    </a:lnTo>
                    <a:lnTo>
                      <a:pt x="738" y="365"/>
                    </a:lnTo>
                    <a:lnTo>
                      <a:pt x="816" y="365"/>
                    </a:lnTo>
                    <a:lnTo>
                      <a:pt x="816" y="482"/>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grpSp>
        <p:sp>
          <p:nvSpPr>
            <p:cNvPr id="85" name="TextBox 84"/>
            <p:cNvSpPr txBox="1"/>
            <p:nvPr/>
          </p:nvSpPr>
          <p:spPr>
            <a:xfrm>
              <a:off x="83345" y="113808"/>
              <a:ext cx="2532630" cy="627864"/>
            </a:xfrm>
            <a:prstGeom prst="rect">
              <a:avLst/>
            </a:prstGeom>
            <a:noFill/>
          </p:spPr>
          <p:txBody>
            <a:bodyPr wrap="square" lIns="182880" tIns="146304" rIns="182880" bIns="146304" rtlCol="0">
              <a:spAutoFit/>
            </a:bodyPr>
            <a:lstStyle>
              <a:defPPr>
                <a:defRPr lang="en-US"/>
              </a:defPPr>
              <a:lvl1pPr>
                <a:lnSpc>
                  <a:spcPct val="90000"/>
                </a:lnSpc>
                <a:spcAft>
                  <a:spcPts val="600"/>
                </a:spcAft>
                <a:defRPr sz="2800" b="1">
                  <a:solidFill>
                    <a:srgbClr val="F2C812"/>
                  </a:solidFill>
                  <a:latin typeface="Segoe UI Light"/>
                </a:defRPr>
              </a:lvl1p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400" b="1" i="0" u="none" strike="noStrike" kern="1200" cap="none" spc="0" normalizeH="0" baseline="0" noProof="0">
                  <a:ln>
                    <a:noFill/>
                  </a:ln>
                  <a:solidFill>
                    <a:srgbClr val="F2C812"/>
                  </a:solidFill>
                  <a:effectLst/>
                  <a:uLnTx/>
                  <a:uFillTx/>
                  <a:latin typeface="Segoe UI Light"/>
                  <a:ea typeface="+mn-ea"/>
                  <a:cs typeface="+mn-cs"/>
                </a:rPr>
                <a:t>Power BI Service</a:t>
              </a:r>
              <a:endParaRPr kumimoji="0" lang="en-US" sz="2800" b="1" i="0" u="none" strike="noStrike" kern="1200" cap="none" spc="0" normalizeH="0" baseline="0" noProof="0">
                <a:ln>
                  <a:noFill/>
                </a:ln>
                <a:solidFill>
                  <a:srgbClr val="F2C812"/>
                </a:solidFill>
                <a:effectLst/>
                <a:uLnTx/>
                <a:uFillTx/>
                <a:latin typeface="Segoe UI Light"/>
                <a:ea typeface="+mn-ea"/>
                <a:cs typeface="+mn-cs"/>
              </a:endParaRPr>
            </a:p>
          </p:txBody>
        </p:sp>
        <p:grpSp>
          <p:nvGrpSpPr>
            <p:cNvPr id="86" name="Group 85"/>
            <p:cNvGrpSpPr/>
            <p:nvPr/>
          </p:nvGrpSpPr>
          <p:grpSpPr>
            <a:xfrm>
              <a:off x="219373" y="3621383"/>
              <a:ext cx="433844" cy="645668"/>
              <a:chOff x="280990" y="3358164"/>
              <a:chExt cx="433844" cy="645668"/>
            </a:xfrm>
          </p:grpSpPr>
          <p:sp>
            <p:nvSpPr>
              <p:cNvPr id="92" name="Oval 1083"/>
              <p:cNvSpPr/>
              <p:nvPr/>
            </p:nvSpPr>
            <p:spPr bwMode="auto">
              <a:xfrm>
                <a:off x="280990" y="3358164"/>
                <a:ext cx="433844" cy="433847"/>
              </a:xfrm>
              <a:prstGeom prst="ellipse">
                <a:avLst/>
              </a:prstGeom>
              <a:solidFill>
                <a:srgbClr val="F2C812"/>
              </a:solidFill>
              <a:ln>
                <a:solidFill>
                  <a:srgbClr val="FFCC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93" name="Group 379"/>
              <p:cNvGrpSpPr/>
              <p:nvPr/>
            </p:nvGrpSpPr>
            <p:grpSpPr>
              <a:xfrm>
                <a:off x="453702" y="3910852"/>
                <a:ext cx="175660" cy="92980"/>
                <a:chOff x="3895793" y="7466656"/>
                <a:chExt cx="785810" cy="415941"/>
              </a:xfrm>
              <a:solidFill>
                <a:srgbClr val="00BCF2"/>
              </a:solidFill>
            </p:grpSpPr>
            <p:sp>
              <p:nvSpPr>
                <p:cNvPr id="94" name="Freeform 132"/>
                <p:cNvSpPr>
                  <a:spLocks/>
                </p:cNvSpPr>
                <p:nvPr/>
              </p:nvSpPr>
              <p:spPr bwMode="auto">
                <a:xfrm>
                  <a:off x="4125979" y="7688918"/>
                  <a:ext cx="0" cy="6353"/>
                </a:xfrm>
                <a:custGeom>
                  <a:avLst/>
                  <a:gdLst>
                    <a:gd name="T0" fmla="*/ 1 w 1"/>
                    <a:gd name="T1" fmla="*/ 0 h 8"/>
                    <a:gd name="T2" fmla="*/ 0 w 1"/>
                    <a:gd name="T3" fmla="*/ 0 h 8"/>
                    <a:gd name="T4" fmla="*/ 1 w 1"/>
                    <a:gd name="T5" fmla="*/ 8 h 8"/>
                    <a:gd name="T6" fmla="*/ 1 w 1"/>
                    <a:gd name="T7" fmla="*/ 0 h 8"/>
                  </a:gdLst>
                  <a:ahLst/>
                  <a:cxnLst>
                    <a:cxn ang="0">
                      <a:pos x="T0" y="T1"/>
                    </a:cxn>
                    <a:cxn ang="0">
                      <a:pos x="T2" y="T3"/>
                    </a:cxn>
                    <a:cxn ang="0">
                      <a:pos x="T4" y="T5"/>
                    </a:cxn>
                    <a:cxn ang="0">
                      <a:pos x="T6" y="T7"/>
                    </a:cxn>
                  </a:cxnLst>
                  <a:rect l="0" t="0" r="r" b="b"/>
                  <a:pathLst>
                    <a:path w="1" h="8">
                      <a:moveTo>
                        <a:pt x="1" y="0"/>
                      </a:moveTo>
                      <a:cubicBezTo>
                        <a:pt x="0" y="0"/>
                        <a:pt x="0" y="0"/>
                        <a:pt x="0" y="0"/>
                      </a:cubicBezTo>
                      <a:cubicBezTo>
                        <a:pt x="0" y="3"/>
                        <a:pt x="1" y="5"/>
                        <a:pt x="1" y="8"/>
                      </a:cubicBezTo>
                      <a:lnTo>
                        <a:pt x="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95" name="Freeform 133"/>
                <p:cNvSpPr>
                  <a:spLocks/>
                </p:cNvSpPr>
                <p:nvPr/>
              </p:nvSpPr>
              <p:spPr bwMode="auto">
                <a:xfrm>
                  <a:off x="3895793" y="7812745"/>
                  <a:ext cx="219078" cy="69852"/>
                </a:xfrm>
                <a:custGeom>
                  <a:avLst/>
                  <a:gdLst>
                    <a:gd name="T0" fmla="*/ 186 w 238"/>
                    <a:gd name="T1" fmla="*/ 9 h 76"/>
                    <a:gd name="T2" fmla="*/ 131 w 238"/>
                    <a:gd name="T3" fmla="*/ 22 h 76"/>
                    <a:gd name="T4" fmla="*/ 60 w 238"/>
                    <a:gd name="T5" fmla="*/ 0 h 76"/>
                    <a:gd name="T6" fmla="*/ 0 w 238"/>
                    <a:gd name="T7" fmla="*/ 42 h 76"/>
                    <a:gd name="T8" fmla="*/ 0 w 238"/>
                    <a:gd name="T9" fmla="*/ 76 h 76"/>
                    <a:gd name="T10" fmla="*/ 238 w 238"/>
                    <a:gd name="T11" fmla="*/ 76 h 76"/>
                    <a:gd name="T12" fmla="*/ 236 w 238"/>
                    <a:gd name="T13" fmla="*/ 53 h 76"/>
                    <a:gd name="T14" fmla="*/ 236 w 238"/>
                    <a:gd name="T15" fmla="*/ 49 h 76"/>
                    <a:gd name="T16" fmla="*/ 186 w 238"/>
                    <a:gd name="T17" fmla="*/ 9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8" h="76">
                      <a:moveTo>
                        <a:pt x="186" y="9"/>
                      </a:moveTo>
                      <a:cubicBezTo>
                        <a:pt x="169" y="18"/>
                        <a:pt x="150" y="22"/>
                        <a:pt x="131" y="22"/>
                      </a:cubicBezTo>
                      <a:cubicBezTo>
                        <a:pt x="105" y="22"/>
                        <a:pt x="80" y="14"/>
                        <a:pt x="60" y="0"/>
                      </a:cubicBezTo>
                      <a:cubicBezTo>
                        <a:pt x="0" y="42"/>
                        <a:pt x="0" y="42"/>
                        <a:pt x="0" y="42"/>
                      </a:cubicBezTo>
                      <a:cubicBezTo>
                        <a:pt x="0" y="76"/>
                        <a:pt x="0" y="76"/>
                        <a:pt x="0" y="76"/>
                      </a:cubicBezTo>
                      <a:cubicBezTo>
                        <a:pt x="238" y="76"/>
                        <a:pt x="238" y="76"/>
                        <a:pt x="238" y="76"/>
                      </a:cubicBezTo>
                      <a:cubicBezTo>
                        <a:pt x="237" y="68"/>
                        <a:pt x="236" y="61"/>
                        <a:pt x="236" y="53"/>
                      </a:cubicBezTo>
                      <a:cubicBezTo>
                        <a:pt x="236" y="51"/>
                        <a:pt x="236" y="50"/>
                        <a:pt x="236" y="49"/>
                      </a:cubicBezTo>
                      <a:lnTo>
                        <a:pt x="186" y="9"/>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96" name="Freeform 137"/>
                <p:cNvSpPr>
                  <a:spLocks/>
                </p:cNvSpPr>
                <p:nvPr/>
              </p:nvSpPr>
              <p:spPr bwMode="auto">
                <a:xfrm>
                  <a:off x="4338704" y="7809561"/>
                  <a:ext cx="65090" cy="73028"/>
                </a:xfrm>
                <a:custGeom>
                  <a:avLst/>
                  <a:gdLst>
                    <a:gd name="T0" fmla="*/ 71 w 71"/>
                    <a:gd name="T1" fmla="*/ 79 h 79"/>
                    <a:gd name="T2" fmla="*/ 71 w 71"/>
                    <a:gd name="T3" fmla="*/ 0 h 79"/>
                    <a:gd name="T4" fmla="*/ 2 w 71"/>
                    <a:gd name="T5" fmla="*/ 53 h 79"/>
                    <a:gd name="T6" fmla="*/ 2 w 71"/>
                    <a:gd name="T7" fmla="*/ 56 h 79"/>
                    <a:gd name="T8" fmla="*/ 0 w 71"/>
                    <a:gd name="T9" fmla="*/ 79 h 79"/>
                    <a:gd name="T10" fmla="*/ 71 w 71"/>
                    <a:gd name="T11" fmla="*/ 79 h 79"/>
                  </a:gdLst>
                  <a:ahLst/>
                  <a:cxnLst>
                    <a:cxn ang="0">
                      <a:pos x="T0" y="T1"/>
                    </a:cxn>
                    <a:cxn ang="0">
                      <a:pos x="T2" y="T3"/>
                    </a:cxn>
                    <a:cxn ang="0">
                      <a:pos x="T4" y="T5"/>
                    </a:cxn>
                    <a:cxn ang="0">
                      <a:pos x="T6" y="T7"/>
                    </a:cxn>
                    <a:cxn ang="0">
                      <a:pos x="T8" y="T9"/>
                    </a:cxn>
                    <a:cxn ang="0">
                      <a:pos x="T10" y="T11"/>
                    </a:cxn>
                  </a:cxnLst>
                  <a:rect l="0" t="0" r="r" b="b"/>
                  <a:pathLst>
                    <a:path w="71" h="79">
                      <a:moveTo>
                        <a:pt x="71" y="79"/>
                      </a:moveTo>
                      <a:cubicBezTo>
                        <a:pt x="71" y="0"/>
                        <a:pt x="71" y="0"/>
                        <a:pt x="71" y="0"/>
                      </a:cubicBezTo>
                      <a:cubicBezTo>
                        <a:pt x="2" y="53"/>
                        <a:pt x="2" y="53"/>
                        <a:pt x="2" y="53"/>
                      </a:cubicBezTo>
                      <a:cubicBezTo>
                        <a:pt x="2" y="54"/>
                        <a:pt x="2" y="55"/>
                        <a:pt x="2" y="56"/>
                      </a:cubicBezTo>
                      <a:cubicBezTo>
                        <a:pt x="2" y="64"/>
                        <a:pt x="1" y="71"/>
                        <a:pt x="0" y="79"/>
                      </a:cubicBezTo>
                      <a:lnTo>
                        <a:pt x="71" y="79"/>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97" name="Freeform 140"/>
                <p:cNvSpPr>
                  <a:spLocks/>
                </p:cNvSpPr>
                <p:nvPr/>
              </p:nvSpPr>
              <p:spPr bwMode="auto">
                <a:xfrm>
                  <a:off x="4600643" y="7622229"/>
                  <a:ext cx="80960" cy="38099"/>
                </a:xfrm>
                <a:custGeom>
                  <a:avLst/>
                  <a:gdLst>
                    <a:gd name="T0" fmla="*/ 0 w 51"/>
                    <a:gd name="T1" fmla="*/ 24 h 24"/>
                    <a:gd name="T2" fmla="*/ 51 w 51"/>
                    <a:gd name="T3" fmla="*/ 24 h 24"/>
                    <a:gd name="T4" fmla="*/ 32 w 51"/>
                    <a:gd name="T5" fmla="*/ 0 h 24"/>
                    <a:gd name="T6" fmla="*/ 0 w 51"/>
                    <a:gd name="T7" fmla="*/ 24 h 24"/>
                  </a:gdLst>
                  <a:ahLst/>
                  <a:cxnLst>
                    <a:cxn ang="0">
                      <a:pos x="T0" y="T1"/>
                    </a:cxn>
                    <a:cxn ang="0">
                      <a:pos x="T2" y="T3"/>
                    </a:cxn>
                    <a:cxn ang="0">
                      <a:pos x="T4" y="T5"/>
                    </a:cxn>
                    <a:cxn ang="0">
                      <a:pos x="T6" y="T7"/>
                    </a:cxn>
                  </a:cxnLst>
                  <a:rect l="0" t="0" r="r" b="b"/>
                  <a:pathLst>
                    <a:path w="51" h="24">
                      <a:moveTo>
                        <a:pt x="0" y="24"/>
                      </a:moveTo>
                      <a:lnTo>
                        <a:pt x="51" y="24"/>
                      </a:lnTo>
                      <a:lnTo>
                        <a:pt x="32" y="0"/>
                      </a:lnTo>
                      <a:lnTo>
                        <a:pt x="0" y="24"/>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98" name="Freeform 141"/>
                <p:cNvSpPr>
                  <a:spLocks/>
                </p:cNvSpPr>
                <p:nvPr/>
              </p:nvSpPr>
              <p:spPr bwMode="auto">
                <a:xfrm>
                  <a:off x="4449825" y="7466656"/>
                  <a:ext cx="119065" cy="139703"/>
                </a:xfrm>
                <a:custGeom>
                  <a:avLst/>
                  <a:gdLst>
                    <a:gd name="T0" fmla="*/ 52 w 75"/>
                    <a:gd name="T1" fmla="*/ 0 h 88"/>
                    <a:gd name="T2" fmla="*/ 0 w 75"/>
                    <a:gd name="T3" fmla="*/ 0 h 88"/>
                    <a:gd name="T4" fmla="*/ 0 w 75"/>
                    <a:gd name="T5" fmla="*/ 88 h 88"/>
                    <a:gd name="T6" fmla="*/ 75 w 75"/>
                    <a:gd name="T7" fmla="*/ 30 h 88"/>
                    <a:gd name="T8" fmla="*/ 52 w 75"/>
                    <a:gd name="T9" fmla="*/ 0 h 88"/>
                  </a:gdLst>
                  <a:ahLst/>
                  <a:cxnLst>
                    <a:cxn ang="0">
                      <a:pos x="T0" y="T1"/>
                    </a:cxn>
                    <a:cxn ang="0">
                      <a:pos x="T2" y="T3"/>
                    </a:cxn>
                    <a:cxn ang="0">
                      <a:pos x="T4" y="T5"/>
                    </a:cxn>
                    <a:cxn ang="0">
                      <a:pos x="T6" y="T7"/>
                    </a:cxn>
                    <a:cxn ang="0">
                      <a:pos x="T8" y="T9"/>
                    </a:cxn>
                  </a:cxnLst>
                  <a:rect l="0" t="0" r="r" b="b"/>
                  <a:pathLst>
                    <a:path w="75" h="88">
                      <a:moveTo>
                        <a:pt x="52" y="0"/>
                      </a:moveTo>
                      <a:lnTo>
                        <a:pt x="0" y="0"/>
                      </a:lnTo>
                      <a:lnTo>
                        <a:pt x="0" y="88"/>
                      </a:lnTo>
                      <a:lnTo>
                        <a:pt x="75" y="30"/>
                      </a:lnTo>
                      <a:lnTo>
                        <a:pt x="52"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grpSp>
        </p:grpSp>
        <p:sp>
          <p:nvSpPr>
            <p:cNvPr id="87" name="Rectangle 152"/>
            <p:cNvSpPr/>
            <p:nvPr/>
          </p:nvSpPr>
          <p:spPr bwMode="auto">
            <a:xfrm>
              <a:off x="712458" y="3628917"/>
              <a:ext cx="1805162" cy="37532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2C812"/>
                  </a:solidFill>
                  <a:effectLst/>
                  <a:uLnTx/>
                  <a:uFillTx/>
                  <a:latin typeface="Segoe UI"/>
                  <a:ea typeface="+mn-ea"/>
                  <a:cs typeface="Segoe UI Light" panose="020B0502040204020203" pitchFamily="34" charset="0"/>
                </a:rPr>
                <a:t>Q&amp;A and </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2C812"/>
                  </a:solidFill>
                  <a:effectLst/>
                  <a:uLnTx/>
                  <a:uFillTx/>
                  <a:latin typeface="Segoe UI"/>
                  <a:ea typeface="+mn-ea"/>
                  <a:cs typeface="Segoe UI Light" panose="020B0502040204020203" pitchFamily="34" charset="0"/>
                </a:rPr>
                <a:t>Quick Insights</a:t>
              </a:r>
              <a:endParaRPr kumimoji="0" lang="en-US" sz="1200" b="1" i="0" u="none" strike="noStrike" kern="1200" cap="none" spc="0" normalizeH="0" baseline="0" noProof="0">
                <a:ln>
                  <a:noFill/>
                </a:ln>
                <a:solidFill>
                  <a:srgbClr val="F2C812"/>
                </a:solidFill>
                <a:effectLst/>
                <a:uLnTx/>
                <a:uFillTx/>
                <a:latin typeface="Segoe UI"/>
                <a:ea typeface="+mn-ea"/>
                <a:cs typeface="Segoe UI Light" panose="020B0502040204020203" pitchFamily="34" charset="0"/>
              </a:endParaRPr>
            </a:p>
          </p:txBody>
        </p:sp>
        <p:sp>
          <p:nvSpPr>
            <p:cNvPr id="88" name="Oval 162"/>
            <p:cNvSpPr/>
            <p:nvPr/>
          </p:nvSpPr>
          <p:spPr bwMode="auto">
            <a:xfrm>
              <a:off x="226619" y="4551712"/>
              <a:ext cx="433844" cy="433844"/>
            </a:xfrm>
            <a:prstGeom prst="ellipse">
              <a:avLst/>
            </a:prstGeom>
            <a:solidFill>
              <a:srgbClr val="F2C812"/>
            </a:solidFill>
            <a:ln>
              <a:solidFill>
                <a:srgbClr val="FFCC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9" name="Rectangle 152"/>
            <p:cNvSpPr/>
            <p:nvPr/>
          </p:nvSpPr>
          <p:spPr bwMode="auto">
            <a:xfrm>
              <a:off x="738443" y="4596194"/>
              <a:ext cx="1884825" cy="30233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2C812"/>
                  </a:solidFill>
                  <a:effectLst/>
                  <a:uLnTx/>
                  <a:uFillTx/>
                  <a:latin typeface="Segoe UI"/>
                  <a:ea typeface="+mn-ea"/>
                  <a:cs typeface="Segoe UI Light" panose="020B0502040204020203" pitchFamily="34" charset="0"/>
                </a:rPr>
                <a:t>Sharing</a:t>
              </a:r>
              <a:endParaRPr kumimoji="0" lang="en-US" sz="1200" b="1" i="1" u="none" strike="noStrike" kern="1200" cap="none" spc="0" normalizeH="0" baseline="0" noProof="0">
                <a:ln>
                  <a:noFill/>
                </a:ln>
                <a:solidFill>
                  <a:srgbClr val="F2C812"/>
                </a:solidFill>
                <a:effectLst/>
                <a:uLnTx/>
                <a:uFillTx/>
                <a:latin typeface="Segoe UI"/>
                <a:ea typeface="+mn-ea"/>
                <a:cs typeface="Segoe UI Light" panose="020B0502040204020203" pitchFamily="34" charset="0"/>
              </a:endParaRPr>
            </a:p>
          </p:txBody>
        </p:sp>
        <p:sp>
          <p:nvSpPr>
            <p:cNvPr id="90" name="Rectangle 145"/>
            <p:cNvSpPr/>
            <p:nvPr/>
          </p:nvSpPr>
          <p:spPr bwMode="auto">
            <a:xfrm>
              <a:off x="697198" y="1847637"/>
              <a:ext cx="1821468" cy="3831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2C812"/>
                  </a:solidFill>
                  <a:effectLst/>
                  <a:uLnTx/>
                  <a:uFillTx/>
                  <a:latin typeface="Segoe UI"/>
                  <a:ea typeface="+mn-ea"/>
                  <a:cs typeface="Segoe UI Light" panose="020B0502040204020203" pitchFamily="34" charset="0"/>
                </a:rPr>
                <a:t>Pinning and Navigation</a:t>
              </a:r>
            </a:p>
          </p:txBody>
        </p:sp>
        <p:sp>
          <p:nvSpPr>
            <p:cNvPr id="91" name="Oval 162"/>
            <p:cNvSpPr/>
            <p:nvPr/>
          </p:nvSpPr>
          <p:spPr bwMode="auto">
            <a:xfrm>
              <a:off x="224136" y="1813606"/>
              <a:ext cx="433844" cy="433844"/>
            </a:xfrm>
            <a:prstGeom prst="ellipse">
              <a:avLst/>
            </a:prstGeom>
            <a:solidFill>
              <a:srgbClr val="FFCC00"/>
            </a:solidFill>
            <a:ln>
              <a:solidFill>
                <a:srgbClr val="F2C81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pic>
        <p:nvPicPr>
          <p:cNvPr id="105" name="Picture 104"/>
          <p:cNvPicPr>
            <a:picLocks noChangeAspect="1"/>
          </p:cNvPicPr>
          <p:nvPr/>
        </p:nvPicPr>
        <p:blipFill rotWithShape="1">
          <a:blip r:embed="rId4"/>
          <a:srcRect l="6503" t="21287" r="74698" b="20220"/>
          <a:stretch/>
        </p:blipFill>
        <p:spPr>
          <a:xfrm>
            <a:off x="339111" y="1946110"/>
            <a:ext cx="228600" cy="231962"/>
          </a:xfrm>
          <a:prstGeom prst="rect">
            <a:avLst/>
          </a:prstGeom>
        </p:spPr>
      </p:pic>
      <p:pic>
        <p:nvPicPr>
          <p:cNvPr id="106" name="Picture 105"/>
          <p:cNvPicPr>
            <a:picLocks noChangeAspect="1"/>
          </p:cNvPicPr>
          <p:nvPr/>
        </p:nvPicPr>
        <p:blipFill>
          <a:blip r:embed="rId5"/>
          <a:stretch>
            <a:fillRect/>
          </a:stretch>
        </p:blipFill>
        <p:spPr>
          <a:xfrm>
            <a:off x="284769" y="3673076"/>
            <a:ext cx="311766" cy="303106"/>
          </a:xfrm>
          <a:prstGeom prst="rect">
            <a:avLst/>
          </a:prstGeom>
        </p:spPr>
      </p:pic>
      <p:sp>
        <p:nvSpPr>
          <p:cNvPr id="107" name="Rectangle 145"/>
          <p:cNvSpPr/>
          <p:nvPr/>
        </p:nvSpPr>
        <p:spPr bwMode="auto">
          <a:xfrm>
            <a:off x="718897" y="5436715"/>
            <a:ext cx="1821468" cy="3831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2C812"/>
                </a:solidFill>
                <a:effectLst/>
                <a:uLnTx/>
                <a:uFillTx/>
                <a:latin typeface="Segoe UI"/>
                <a:ea typeface="+mn-ea"/>
                <a:cs typeface="Segoe UI Light" panose="020B0502040204020203" pitchFamily="34" charset="0"/>
              </a:rPr>
              <a:t>Connect from Excel</a:t>
            </a:r>
          </a:p>
        </p:txBody>
      </p:sp>
      <p:sp>
        <p:nvSpPr>
          <p:cNvPr id="108" name="Oval 162"/>
          <p:cNvSpPr/>
          <p:nvPr/>
        </p:nvSpPr>
        <p:spPr bwMode="auto">
          <a:xfrm>
            <a:off x="231441" y="5429649"/>
            <a:ext cx="433844" cy="433844"/>
          </a:xfrm>
          <a:prstGeom prst="ellipse">
            <a:avLst/>
          </a:prstGeom>
          <a:solidFill>
            <a:srgbClr val="FFCC00"/>
          </a:solidFill>
          <a:ln>
            <a:solidFill>
              <a:srgbClr val="F2C81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09" name="Picture 108"/>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flipH="1">
            <a:off x="283763" y="4596680"/>
            <a:ext cx="357484" cy="357484"/>
          </a:xfrm>
          <a:prstGeom prst="rect">
            <a:avLst/>
          </a:prstGeom>
        </p:spPr>
      </p:pic>
      <p:sp>
        <p:nvSpPr>
          <p:cNvPr id="110" name="Oval 162"/>
          <p:cNvSpPr/>
          <p:nvPr/>
        </p:nvSpPr>
        <p:spPr bwMode="auto">
          <a:xfrm>
            <a:off x="233032" y="6267344"/>
            <a:ext cx="433844" cy="433844"/>
          </a:xfrm>
          <a:prstGeom prst="ellipse">
            <a:avLst/>
          </a:prstGeom>
          <a:solidFill>
            <a:srgbClr val="FFCC00"/>
          </a:solidFill>
          <a:ln>
            <a:solidFill>
              <a:srgbClr val="F2C81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1" name="Rectangle 145"/>
          <p:cNvSpPr/>
          <p:nvPr/>
        </p:nvSpPr>
        <p:spPr bwMode="auto">
          <a:xfrm>
            <a:off x="701416" y="6289969"/>
            <a:ext cx="1821468" cy="3831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2C812"/>
                </a:solidFill>
                <a:effectLst/>
                <a:uLnTx/>
                <a:uFillTx/>
                <a:latin typeface="Segoe UI"/>
                <a:ea typeface="+mn-ea"/>
                <a:cs typeface="Segoe UI Light" panose="020B0502040204020203" pitchFamily="34" charset="0"/>
              </a:rPr>
              <a:t>Mobile Reports</a:t>
            </a:r>
          </a:p>
        </p:txBody>
      </p:sp>
      <p:pic>
        <p:nvPicPr>
          <p:cNvPr id="112" name="Picture 111"/>
          <p:cNvPicPr>
            <a:picLocks noChangeAspect="1"/>
          </p:cNvPicPr>
          <p:nvPr/>
        </p:nvPicPr>
        <p:blipFill>
          <a:blip r:embed="rId7" cstate="print">
            <a:extLst>
              <a:ext uri="{BEBA8EAE-BF5A-486C-A8C5-ECC9F3942E4B}">
                <a14:imgProps xmlns:a14="http://schemas.microsoft.com/office/drawing/2010/main">
                  <a14:imgLayer r:embed="rId8">
                    <a14:imgEffect>
                      <a14:saturation sat="0"/>
                    </a14:imgEffect>
                  </a14:imgLayer>
                </a14:imgProps>
              </a:ext>
              <a:ext uri="{28A0092B-C50C-407E-A947-70E740481C1C}">
                <a14:useLocalDpi xmlns:a14="http://schemas.microsoft.com/office/drawing/2010/main" val="0"/>
              </a:ext>
            </a:extLst>
          </a:blip>
          <a:stretch>
            <a:fillRect/>
          </a:stretch>
        </p:blipFill>
        <p:spPr>
          <a:xfrm>
            <a:off x="391946" y="6350039"/>
            <a:ext cx="133350" cy="251587"/>
          </a:xfrm>
          <a:prstGeom prst="rect">
            <a:avLst/>
          </a:prstGeom>
        </p:spPr>
      </p:pic>
      <p:pic>
        <p:nvPicPr>
          <p:cNvPr id="113" name="Picture 112"/>
          <p:cNvPicPr>
            <a:picLocks noChangeAspect="1"/>
          </p:cNvPicPr>
          <p:nvPr/>
        </p:nvPicPr>
        <p:blipFill>
          <a:blip r:embed="rId9" cstate="print">
            <a:biLevel thresh="50000"/>
            <a:extLst>
              <a:ext uri="{28A0092B-C50C-407E-A947-70E740481C1C}">
                <a14:useLocalDpi xmlns:a14="http://schemas.microsoft.com/office/drawing/2010/main" val="0"/>
              </a:ext>
            </a:extLst>
          </a:blip>
          <a:stretch>
            <a:fillRect/>
          </a:stretch>
        </p:blipFill>
        <p:spPr>
          <a:xfrm>
            <a:off x="332658" y="5538489"/>
            <a:ext cx="268940" cy="268940"/>
          </a:xfrm>
          <a:prstGeom prst="rect">
            <a:avLst/>
          </a:prstGeom>
        </p:spPr>
      </p:pic>
      <p:sp>
        <p:nvSpPr>
          <p:cNvPr id="114" name="Rectangle 113"/>
          <p:cNvSpPr/>
          <p:nvPr/>
        </p:nvSpPr>
        <p:spPr bwMode="auto">
          <a:xfrm>
            <a:off x="35912" y="2594112"/>
            <a:ext cx="2464420" cy="4194313"/>
          </a:xfrm>
          <a:prstGeom prst="rect">
            <a:avLst/>
          </a:prstGeom>
          <a:solidFill>
            <a:srgbClr val="000000">
              <a:alpha val="6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5" name="Rectangle 114"/>
          <p:cNvSpPr/>
          <p:nvPr/>
        </p:nvSpPr>
        <p:spPr bwMode="auto">
          <a:xfrm>
            <a:off x="95936" y="731576"/>
            <a:ext cx="2464420" cy="880187"/>
          </a:xfrm>
          <a:prstGeom prst="rect">
            <a:avLst/>
          </a:prstGeom>
          <a:solidFill>
            <a:srgbClr val="000000">
              <a:alpha val="6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3" name="Picture 2"/>
          <p:cNvPicPr>
            <a:picLocks noChangeAspect="1"/>
          </p:cNvPicPr>
          <p:nvPr/>
        </p:nvPicPr>
        <p:blipFill>
          <a:blip r:embed="rId10"/>
          <a:stretch>
            <a:fillRect/>
          </a:stretch>
        </p:blipFill>
        <p:spPr>
          <a:xfrm>
            <a:off x="3188867" y="1503226"/>
            <a:ext cx="2631019" cy="2203645"/>
          </a:xfrm>
          <a:prstGeom prst="rect">
            <a:avLst/>
          </a:prstGeom>
        </p:spPr>
      </p:pic>
    </p:spTree>
    <p:extLst>
      <p:ext uri="{BB962C8B-B14F-4D97-AF65-F5344CB8AC3E}">
        <p14:creationId xmlns:p14="http://schemas.microsoft.com/office/powerpoint/2010/main" val="9909257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 name="Title 10"/>
          <p:cNvSpPr txBox="1">
            <a:spLocks/>
          </p:cNvSpPr>
          <p:nvPr/>
        </p:nvSpPr>
        <p:spPr>
          <a:xfrm>
            <a:off x="2849060" y="0"/>
            <a:ext cx="9342940" cy="665151"/>
          </a:xfrm>
          <a:prstGeom prst="rect">
            <a:avLst/>
          </a:prstGeom>
          <a:noFill/>
        </p:spPr>
        <p:txBody>
          <a:bodyPr vert="horz" wrap="square" lIns="0" tIns="91440" rIns="0" bIns="91440" rtlCol="0" anchor="t">
            <a:noAutofit/>
          </a:bodyPr>
          <a:lstStyle>
            <a:lvl1pPr defTabSz="914367">
              <a:lnSpc>
                <a:spcPct val="90000"/>
              </a:lnSpc>
              <a:spcBef>
                <a:spcPct val="0"/>
              </a:spcBef>
              <a:buNone/>
              <a:defRPr lang="en-US" sz="5294" b="0" cap="none" spc="-100" baseline="0" dirty="0" smtClean="0">
                <a:ln w="3175">
                  <a:noFill/>
                </a:ln>
                <a:solidFill>
                  <a:schemeClr val="tx2"/>
                </a:solidFill>
                <a:effectLst/>
                <a:latin typeface="+mj-lt"/>
                <a:cs typeface="Segoe UI" pitchFamily="34" charset="0"/>
              </a:defRPr>
            </a:lvl1pPr>
          </a:lstStyle>
          <a:p>
            <a:pPr marL="168275" marR="0" lvl="0" indent="0" algn="l" defTabSz="914367" rtl="0" eaLnBrk="1" fontAlgn="auto" latinLnBrk="0" hangingPunct="1">
              <a:lnSpc>
                <a:spcPct val="90000"/>
              </a:lnSpc>
              <a:spcBef>
                <a:spcPct val="0"/>
              </a:spcBef>
              <a:spcAft>
                <a:spcPts val="0"/>
              </a:spcAft>
              <a:buClrTx/>
              <a:buSzTx/>
              <a:buFontTx/>
              <a:buNone/>
              <a:tabLst/>
              <a:defRPr/>
            </a:pPr>
            <a:r>
              <a:rPr kumimoji="0" lang="en-US" sz="3600" b="0" i="0" u="none" strike="noStrike" kern="1200" cap="none" spc="-100" normalizeH="0" baseline="0" noProof="0">
                <a:ln w="3175">
                  <a:noFill/>
                </a:ln>
                <a:solidFill>
                  <a:prstClr val="black"/>
                </a:solidFill>
                <a:effectLst/>
                <a:uLnTx/>
                <a:uFillTx/>
                <a:latin typeface="Segoe UI Light"/>
                <a:ea typeface="+mn-ea"/>
                <a:cs typeface="Segoe UI" pitchFamily="34" charset="0"/>
              </a:rPr>
              <a:t>Pinning and Navigation</a:t>
            </a:r>
            <a:endParaRPr kumimoji="0" lang="en-IN" sz="3600" b="0" i="0" u="none" strike="noStrike" kern="1200" cap="none" spc="-100" normalizeH="0" baseline="0" noProof="0">
              <a:ln w="3175">
                <a:noFill/>
              </a:ln>
              <a:solidFill>
                <a:prstClr val="black"/>
              </a:solidFill>
              <a:effectLst/>
              <a:uLnTx/>
              <a:uFillTx/>
              <a:latin typeface="Segoe UI Light"/>
              <a:ea typeface="+mn-ea"/>
              <a:cs typeface="Segoe UI" pitchFamily="34" charset="0"/>
            </a:endParaRPr>
          </a:p>
        </p:txBody>
      </p:sp>
      <p:sp>
        <p:nvSpPr>
          <p:cNvPr id="41" name="Rectangle 3"/>
          <p:cNvSpPr/>
          <p:nvPr/>
        </p:nvSpPr>
        <p:spPr bwMode="auto">
          <a:xfrm>
            <a:off x="3202216" y="665151"/>
            <a:ext cx="8105312" cy="44435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PT" sz="2000" b="0" i="1" u="none" strike="noStrike" kern="1200" cap="none" spc="0" normalizeH="0" baseline="0" noProof="0">
                <a:ln>
                  <a:noFill/>
                </a:ln>
                <a:solidFill>
                  <a:prstClr val="black"/>
                </a:solidFill>
                <a:effectLst/>
                <a:uLnTx/>
                <a:uFillTx/>
                <a:latin typeface="Segoe UI Light"/>
                <a:ea typeface="+mn-ea"/>
                <a:cs typeface="+mn-cs"/>
              </a:rPr>
              <a:t>Report</a:t>
            </a:r>
            <a:endParaRPr kumimoji="0" lang="en-US" sz="2000" b="0" i="1" u="none" strike="noStrike" kern="1200" cap="none" spc="0" normalizeH="0" baseline="0" noProof="0">
              <a:ln>
                <a:noFill/>
              </a:ln>
              <a:solidFill>
                <a:prstClr val="black"/>
              </a:solidFill>
              <a:effectLst/>
              <a:uLnTx/>
              <a:uFillTx/>
              <a:latin typeface="Segoe UI Light"/>
              <a:ea typeface="+mn-ea"/>
              <a:cs typeface="+mn-cs"/>
            </a:endParaRPr>
          </a:p>
        </p:txBody>
      </p:sp>
      <p:sp>
        <p:nvSpPr>
          <p:cNvPr id="51" name="Text Placeholder 2"/>
          <p:cNvSpPr txBox="1">
            <a:spLocks/>
          </p:cNvSpPr>
          <p:nvPr/>
        </p:nvSpPr>
        <p:spPr>
          <a:xfrm>
            <a:off x="5200737" y="1697659"/>
            <a:ext cx="6106791" cy="897374"/>
          </a:xfrm>
          <a:prstGeom prst="rect">
            <a:avLst/>
          </a:prstGeom>
        </p:spPr>
        <p:txBody>
          <a:bodyPr vert="horz" wrap="square" lIns="182880" tIns="146304" rIns="182880" bIns="146304" rtlCol="0">
            <a:noAutofit/>
          </a:bodyPr>
          <a:lstStyle>
            <a:lvl1pPr marL="182845" marR="0"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3921" kern="1200" spc="0" baseline="0">
                <a:gradFill>
                  <a:gsLst>
                    <a:gs pos="1250">
                      <a:schemeClr val="tx2"/>
                    </a:gs>
                    <a:gs pos="99000">
                      <a:schemeClr val="tx2"/>
                    </a:gs>
                  </a:gsLst>
                  <a:lin ang="5400000" scaled="0"/>
                </a:gradFill>
                <a:latin typeface="+mj-lt"/>
                <a:ea typeface="+mn-ea"/>
                <a:cs typeface="+mn-cs"/>
              </a:defRPr>
            </a:lvl1pPr>
            <a:lvl2pPr marL="365690" marR="0"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2400" kern="1200" spc="0" baseline="0">
                <a:solidFill>
                  <a:schemeClr val="tx2"/>
                </a:solidFill>
                <a:latin typeface="+mj-lt"/>
                <a:ea typeface="+mn-ea"/>
                <a:cs typeface="+mn-cs"/>
              </a:defRPr>
            </a:lvl2pPr>
            <a:lvl3pPr marL="548535" marR="0"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2000" kern="1200" spc="0" baseline="0">
                <a:solidFill>
                  <a:schemeClr val="tx2"/>
                </a:solidFill>
                <a:latin typeface="+mj-lt"/>
                <a:ea typeface="+mn-ea"/>
                <a:cs typeface="+mn-cs"/>
              </a:defRPr>
            </a:lvl3pPr>
            <a:lvl4pPr marL="733802" marR="0" indent="-28569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1765" kern="1200" spc="0" baseline="0">
                <a:solidFill>
                  <a:schemeClr val="tx2"/>
                </a:solidFill>
                <a:latin typeface="+mn-lt"/>
                <a:ea typeface="+mn-ea"/>
                <a:cs typeface="+mn-cs"/>
              </a:defRPr>
            </a:lvl4pPr>
            <a:lvl5pPr marL="957856" marR="0" indent="-28569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1765" kern="1200" spc="0" baseline="0">
                <a:solidFill>
                  <a:schemeClr val="tx2"/>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r>
              <a:rPr kumimoji="0" lang="en-US" sz="2000" b="0" i="0" u="none" strike="noStrike" kern="1200" cap="none" spc="0" normalizeH="0" baseline="0" noProof="0">
                <a:ln>
                  <a:noFill/>
                </a:ln>
                <a:solidFill>
                  <a:prstClr val="white"/>
                </a:solidFill>
                <a:effectLst/>
                <a:uLnTx/>
                <a:uFillTx/>
                <a:latin typeface="Segoe UI Light"/>
                <a:ea typeface="+mn-ea"/>
                <a:cs typeface="Times New Roman" panose="02020603050405020304" pitchFamily="18" charset="0"/>
              </a:rPr>
              <a:t>A report is composed of </a:t>
            </a:r>
            <a:r>
              <a:rPr kumimoji="0" lang="en-US" sz="2000" b="1" i="0" u="none" strike="noStrike" kern="1200" cap="none" spc="0" normalizeH="0" baseline="0" noProof="0">
                <a:ln>
                  <a:noFill/>
                </a:ln>
                <a:solidFill>
                  <a:prstClr val="white"/>
                </a:solidFill>
                <a:effectLst/>
                <a:uLnTx/>
                <a:uFillTx/>
                <a:latin typeface="Segoe UI Light"/>
                <a:ea typeface="+mn-ea"/>
                <a:cs typeface="Times New Roman" panose="02020603050405020304" pitchFamily="18" charset="0"/>
              </a:rPr>
              <a:t>one or more pages of visualizations</a:t>
            </a: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1" i="0" u="none" strike="noStrike" kern="1200" cap="none" spc="0" normalizeH="0" baseline="0" noProof="0">
              <a:ln>
                <a:noFill/>
              </a:ln>
              <a:solidFill>
                <a:prstClr val="white"/>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r>
              <a:rPr kumimoji="0" lang="en-US" sz="2000" b="0" i="0" u="none" strike="noStrike" kern="1200" cap="none" spc="0" normalizeH="0" baseline="0" noProof="0">
                <a:ln>
                  <a:noFill/>
                </a:ln>
                <a:solidFill>
                  <a:prstClr val="white"/>
                </a:solidFill>
                <a:effectLst/>
                <a:uLnTx/>
                <a:uFillTx/>
                <a:latin typeface="Segoe UI Light"/>
                <a:ea typeface="+mn-ea"/>
                <a:cs typeface="Times New Roman" panose="02020603050405020304" pitchFamily="18" charset="0"/>
              </a:rPr>
              <a:t>Can be </a:t>
            </a:r>
            <a:r>
              <a:rPr kumimoji="0" lang="en-US" sz="2000" b="1" i="0" u="none" strike="noStrike" kern="1200" cap="none" spc="0" normalizeH="0" baseline="0" noProof="0">
                <a:ln>
                  <a:noFill/>
                </a:ln>
                <a:solidFill>
                  <a:prstClr val="white"/>
                </a:solidFill>
                <a:effectLst/>
                <a:uLnTx/>
                <a:uFillTx/>
                <a:latin typeface="Segoe UI Light"/>
                <a:ea typeface="+mn-ea"/>
                <a:cs typeface="Times New Roman" panose="02020603050405020304" pitchFamily="18" charset="0"/>
              </a:rPr>
              <a:t>developed</a:t>
            </a:r>
            <a:r>
              <a:rPr kumimoji="0" lang="en-US" sz="2000" b="0" i="0" u="none" strike="noStrike" kern="1200" cap="none" spc="0" normalizeH="0" baseline="0" noProof="0">
                <a:ln>
                  <a:noFill/>
                </a:ln>
                <a:solidFill>
                  <a:prstClr val="white"/>
                </a:solidFill>
                <a:effectLst/>
                <a:uLnTx/>
                <a:uFillTx/>
                <a:latin typeface="Segoe UI Light"/>
                <a:ea typeface="+mn-ea"/>
                <a:cs typeface="Times New Roman" panose="02020603050405020304" pitchFamily="18" charset="0"/>
              </a:rPr>
              <a:t> in </a:t>
            </a:r>
            <a:r>
              <a:rPr kumimoji="0" lang="en-US" sz="2000" b="1" i="0" u="none" strike="noStrike" kern="1200" cap="none" spc="0" normalizeH="0" baseline="0" noProof="0">
                <a:ln>
                  <a:noFill/>
                </a:ln>
                <a:solidFill>
                  <a:prstClr val="white"/>
                </a:solidFill>
                <a:effectLst/>
                <a:uLnTx/>
                <a:uFillTx/>
                <a:latin typeface="Segoe UI Light"/>
                <a:ea typeface="+mn-ea"/>
                <a:cs typeface="Times New Roman" panose="02020603050405020304" pitchFamily="18" charset="0"/>
              </a:rPr>
              <a:t>Desktop</a:t>
            </a:r>
            <a:r>
              <a:rPr kumimoji="0" lang="en-US" sz="2000" b="0" i="0" u="none" strike="noStrike" kern="1200" cap="none" spc="0" normalizeH="0" baseline="0" noProof="0">
                <a:ln>
                  <a:noFill/>
                </a:ln>
                <a:solidFill>
                  <a:prstClr val="white"/>
                </a:solidFill>
                <a:effectLst/>
                <a:uLnTx/>
                <a:uFillTx/>
                <a:latin typeface="Segoe UI Light"/>
                <a:ea typeface="+mn-ea"/>
                <a:cs typeface="Times New Roman" panose="02020603050405020304" pitchFamily="18" charset="0"/>
              </a:rPr>
              <a:t> (or Excel) or in the </a:t>
            </a:r>
            <a:r>
              <a:rPr kumimoji="0" lang="en-US" sz="2000" b="1" i="0" u="none" strike="noStrike" kern="1200" cap="none" spc="0" normalizeH="0" baseline="0" noProof="0">
                <a:ln>
                  <a:noFill/>
                </a:ln>
                <a:solidFill>
                  <a:prstClr val="white"/>
                </a:solidFill>
                <a:effectLst/>
                <a:uLnTx/>
                <a:uFillTx/>
                <a:latin typeface="Segoe UI Light"/>
                <a:ea typeface="+mn-ea"/>
                <a:cs typeface="Times New Roman" panose="02020603050405020304" pitchFamily="18" charset="0"/>
              </a:rPr>
              <a:t>service</a:t>
            </a: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r>
              <a:rPr kumimoji="0" lang="en-US" sz="2000" b="0" i="0" u="none" strike="noStrike" kern="1200" cap="none" spc="0" normalizeH="0" baseline="0" noProof="0">
                <a:ln>
                  <a:noFill/>
                </a:ln>
                <a:solidFill>
                  <a:prstClr val="white"/>
                </a:solidFill>
                <a:effectLst/>
                <a:uLnTx/>
                <a:uFillTx/>
                <a:latin typeface="Segoe UI Light"/>
                <a:ea typeface="+mn-ea"/>
                <a:cs typeface="Times New Roman" panose="02020603050405020304" pitchFamily="18" charset="0"/>
              </a:rPr>
              <a:t>Gets its </a:t>
            </a:r>
            <a:r>
              <a:rPr kumimoji="0" lang="en-US" sz="2000" b="1" i="0" u="none" strike="noStrike" kern="1200" cap="none" spc="0" normalizeH="0" baseline="0" noProof="0">
                <a:ln>
                  <a:noFill/>
                </a:ln>
                <a:solidFill>
                  <a:prstClr val="white"/>
                </a:solidFill>
                <a:effectLst/>
                <a:uLnTx/>
                <a:uFillTx/>
                <a:latin typeface="Segoe UI Light"/>
                <a:ea typeface="+mn-ea"/>
                <a:cs typeface="Times New Roman" panose="02020603050405020304" pitchFamily="18" charset="0"/>
              </a:rPr>
              <a:t>data from one dataset</a:t>
            </a: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0" i="0" u="none" strike="noStrike" kern="1200" cap="none" spc="0" normalizeH="0" baseline="0" noProof="0">
              <a:ln>
                <a:noFill/>
              </a:ln>
              <a:solidFill>
                <a:prstClr val="white"/>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r>
              <a:rPr kumimoji="0" lang="en-US" sz="2000" b="0" i="0" u="none" strike="noStrike" kern="1200" cap="none" spc="0" normalizeH="0" baseline="0" noProof="0">
                <a:ln>
                  <a:noFill/>
                </a:ln>
                <a:solidFill>
                  <a:prstClr val="white"/>
                </a:solidFill>
                <a:effectLst/>
                <a:uLnTx/>
                <a:uFillTx/>
                <a:latin typeface="Segoe UI Light"/>
                <a:ea typeface="+mn-ea"/>
                <a:cs typeface="Times New Roman" panose="02020603050405020304" pitchFamily="18" charset="0"/>
              </a:rPr>
              <a:t>Can be used for building dashboards as a whole or bit by bit</a:t>
            </a: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0" i="0" u="none" strike="noStrike" kern="1200" cap="none" spc="0" normalizeH="0" baseline="0" noProof="0">
              <a:ln>
                <a:noFill/>
              </a:ln>
              <a:solidFill>
                <a:prstClr val="white"/>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r>
              <a:rPr kumimoji="0" lang="en-US" sz="2000" b="0" i="0" u="none" strike="noStrike" kern="1200" cap="none" spc="0" normalizeH="0" baseline="0" noProof="0">
                <a:ln>
                  <a:noFill/>
                </a:ln>
                <a:solidFill>
                  <a:prstClr val="white"/>
                </a:solidFill>
                <a:effectLst/>
                <a:uLnTx/>
                <a:uFillTx/>
                <a:latin typeface="Segoe UI Light"/>
                <a:ea typeface="+mn-ea"/>
                <a:cs typeface="Times New Roman" panose="02020603050405020304" pitchFamily="18" charset="0"/>
              </a:rPr>
              <a:t>Reports can be consumed in </a:t>
            </a:r>
            <a:r>
              <a:rPr kumimoji="0" lang="en-US" sz="2000" b="1" i="0" u="none" strike="noStrike" kern="1200" cap="none" spc="0" normalizeH="0" baseline="0" noProof="0">
                <a:ln>
                  <a:noFill/>
                </a:ln>
                <a:solidFill>
                  <a:prstClr val="white"/>
                </a:solidFill>
                <a:effectLst/>
                <a:uLnTx/>
                <a:uFillTx/>
                <a:latin typeface="Segoe UI Light"/>
                <a:ea typeface="+mn-ea"/>
                <a:cs typeface="Times New Roman" panose="02020603050405020304" pitchFamily="18" charset="0"/>
              </a:rPr>
              <a:t>Reading View</a:t>
            </a:r>
            <a:r>
              <a:rPr kumimoji="0" lang="en-US" sz="2000" b="0" i="0" u="none" strike="noStrike" kern="1200" cap="none" spc="0" normalizeH="0" baseline="0" noProof="0">
                <a:ln>
                  <a:noFill/>
                </a:ln>
                <a:solidFill>
                  <a:prstClr val="white"/>
                </a:solidFill>
                <a:effectLst/>
                <a:uLnTx/>
                <a:uFillTx/>
                <a:latin typeface="Segoe UI Light"/>
                <a:ea typeface="+mn-ea"/>
                <a:cs typeface="Times New Roman" panose="02020603050405020304" pitchFamily="18" charset="0"/>
              </a:rPr>
              <a:t> or </a:t>
            </a:r>
            <a:r>
              <a:rPr kumimoji="0" lang="en-US" sz="2000" b="1" i="0" u="none" strike="noStrike" kern="1200" cap="none" spc="0" normalizeH="0" baseline="0" noProof="0">
                <a:ln>
                  <a:noFill/>
                </a:ln>
                <a:solidFill>
                  <a:prstClr val="white"/>
                </a:solidFill>
                <a:effectLst/>
                <a:uLnTx/>
                <a:uFillTx/>
                <a:latin typeface="Segoe UI Light"/>
                <a:ea typeface="+mn-ea"/>
                <a:cs typeface="Times New Roman" panose="02020603050405020304" pitchFamily="18" charset="0"/>
              </a:rPr>
              <a:t>Editing View</a:t>
            </a:r>
            <a:endParaRPr kumimoji="0" lang="en-US" sz="2000" b="0" i="0" u="none" strike="noStrike" kern="1200" cap="none" spc="0" normalizeH="0" baseline="0" noProof="0">
              <a:ln>
                <a:noFill/>
              </a:ln>
              <a:solidFill>
                <a:prstClr val="white"/>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0" i="0" u="none" strike="noStrike" kern="1200" cap="none" spc="0" normalizeH="0" baseline="0" noProof="0">
              <a:ln>
                <a:noFill/>
              </a:ln>
              <a:solidFill>
                <a:prstClr val="white"/>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0" i="0" u="none" strike="noStrike" kern="1200" cap="none" spc="0" normalizeH="0" baseline="0" noProof="0">
              <a:ln>
                <a:noFill/>
              </a:ln>
              <a:solidFill>
                <a:prstClr val="white"/>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1" i="0" u="none" strike="noStrike" kern="1200" cap="none" spc="0" normalizeH="0" baseline="0" noProof="0">
              <a:ln>
                <a:noFill/>
              </a:ln>
              <a:solidFill>
                <a:prstClr val="white"/>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1" i="0" u="none" strike="noStrike" kern="1200" cap="none" spc="0" normalizeH="0" baseline="0" noProof="0">
              <a:ln>
                <a:noFill/>
              </a:ln>
              <a:solidFill>
                <a:prstClr val="white"/>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1" i="0" u="none" strike="noStrike" kern="1200" cap="none" spc="0" normalizeH="0" baseline="0" noProof="0">
              <a:ln>
                <a:noFill/>
              </a:ln>
              <a:solidFill>
                <a:prstClr val="white"/>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1" i="0" u="none" strike="noStrike" kern="1200" cap="none" spc="0" normalizeH="0" baseline="0" noProof="0">
              <a:ln>
                <a:noFill/>
              </a:ln>
              <a:solidFill>
                <a:prstClr val="white"/>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1" i="0" u="none" strike="noStrike" kern="1200" cap="none" spc="0" normalizeH="0" baseline="0" noProof="0">
              <a:ln>
                <a:noFill/>
              </a:ln>
              <a:solidFill>
                <a:prstClr val="white"/>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1" i="0" u="none" strike="noStrike" kern="1200" cap="none" spc="0" normalizeH="0" baseline="0" noProof="0">
              <a:ln>
                <a:noFill/>
              </a:ln>
              <a:solidFill>
                <a:prstClr val="white"/>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1" i="0" u="none" strike="noStrike" kern="1200" cap="none" spc="0" normalizeH="0" baseline="0" noProof="0">
              <a:ln>
                <a:noFill/>
              </a:ln>
              <a:solidFill>
                <a:prstClr val="white"/>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1"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p:txBody>
      </p:sp>
      <p:pic>
        <p:nvPicPr>
          <p:cNvPr id="4" name="Picture 3"/>
          <p:cNvPicPr>
            <a:picLocks noChangeAspect="1"/>
          </p:cNvPicPr>
          <p:nvPr/>
        </p:nvPicPr>
        <p:blipFill>
          <a:blip r:embed="rId3"/>
          <a:stretch>
            <a:fillRect/>
          </a:stretch>
        </p:blipFill>
        <p:spPr>
          <a:xfrm>
            <a:off x="3202216" y="1564417"/>
            <a:ext cx="8659912" cy="4543164"/>
          </a:xfrm>
          <a:prstGeom prst="rect">
            <a:avLst/>
          </a:prstGeom>
        </p:spPr>
      </p:pic>
      <p:sp>
        <p:nvSpPr>
          <p:cNvPr id="81" name="Rectangle 80"/>
          <p:cNvSpPr/>
          <p:nvPr/>
        </p:nvSpPr>
        <p:spPr bwMode="auto">
          <a:xfrm>
            <a:off x="10676776" y="1912605"/>
            <a:ext cx="1185352" cy="1137343"/>
          </a:xfrm>
          <a:prstGeom prst="rect">
            <a:avLst/>
          </a:prstGeom>
          <a:noFill/>
          <a:ln w="38100">
            <a:solidFill>
              <a:srgbClr val="FF00F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42" name="Group 41"/>
          <p:cNvGrpSpPr/>
          <p:nvPr/>
        </p:nvGrpSpPr>
        <p:grpSpPr>
          <a:xfrm>
            <a:off x="-2887" y="973"/>
            <a:ext cx="2849058" cy="6857027"/>
            <a:chOff x="2" y="487"/>
            <a:chExt cx="2849058" cy="6857027"/>
          </a:xfrm>
        </p:grpSpPr>
        <p:sp>
          <p:nvSpPr>
            <p:cNvPr id="43" name="Rectangle 15"/>
            <p:cNvSpPr/>
            <p:nvPr/>
          </p:nvSpPr>
          <p:spPr bwMode="auto">
            <a:xfrm>
              <a:off x="2" y="487"/>
              <a:ext cx="2849058" cy="685702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0" name="Rectangle 145"/>
            <p:cNvSpPr/>
            <p:nvPr/>
          </p:nvSpPr>
          <p:spPr bwMode="auto">
            <a:xfrm>
              <a:off x="696152" y="956997"/>
              <a:ext cx="1821468" cy="3831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2C812"/>
                  </a:solidFill>
                  <a:effectLst/>
                  <a:uLnTx/>
                  <a:uFillTx/>
                  <a:latin typeface="Segoe UI"/>
                  <a:ea typeface="+mn-ea"/>
                  <a:cs typeface="Segoe UI Light" panose="020B0502040204020203" pitchFamily="34" charset="0"/>
                </a:rPr>
                <a:t>Get Data</a:t>
              </a:r>
              <a:endParaRPr kumimoji="0" lang="en-US" sz="1200" b="1" i="1" u="none" strike="noStrike" kern="1200" cap="none" spc="0" normalizeH="0" baseline="0" noProof="0">
                <a:ln>
                  <a:noFill/>
                </a:ln>
                <a:solidFill>
                  <a:srgbClr val="F2C812"/>
                </a:solidFill>
                <a:effectLst/>
                <a:uLnTx/>
                <a:uFillTx/>
                <a:latin typeface="Segoe UI"/>
                <a:ea typeface="+mn-ea"/>
                <a:cs typeface="Segoe UI Light" panose="020B0502040204020203" pitchFamily="34" charset="0"/>
              </a:endParaRPr>
            </a:p>
          </p:txBody>
        </p:sp>
        <p:grpSp>
          <p:nvGrpSpPr>
            <p:cNvPr id="82" name="Group 81"/>
            <p:cNvGrpSpPr/>
            <p:nvPr/>
          </p:nvGrpSpPr>
          <p:grpSpPr>
            <a:xfrm>
              <a:off x="219373" y="934583"/>
              <a:ext cx="433844" cy="433844"/>
              <a:chOff x="440005" y="997815"/>
              <a:chExt cx="296322" cy="296322"/>
            </a:xfrm>
          </p:grpSpPr>
          <p:sp>
            <p:nvSpPr>
              <p:cNvPr id="101" name="Oval 147"/>
              <p:cNvSpPr/>
              <p:nvPr/>
            </p:nvSpPr>
            <p:spPr bwMode="auto">
              <a:xfrm>
                <a:off x="440005" y="997815"/>
                <a:ext cx="296322" cy="296322"/>
              </a:xfrm>
              <a:prstGeom prst="ellipse">
                <a:avLst/>
              </a:prstGeom>
              <a:solidFill>
                <a:srgbClr val="FFCC00"/>
              </a:solidFill>
              <a:ln>
                <a:solidFill>
                  <a:srgbClr val="F2C81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02" name="Group 332"/>
              <p:cNvGrpSpPr/>
              <p:nvPr/>
            </p:nvGrpSpPr>
            <p:grpSpPr>
              <a:xfrm>
                <a:off x="482167" y="1059311"/>
                <a:ext cx="211997" cy="173292"/>
                <a:chOff x="2123129" y="293070"/>
                <a:chExt cx="2472585" cy="2021178"/>
              </a:xfrm>
            </p:grpSpPr>
            <p:sp>
              <p:nvSpPr>
                <p:cNvPr id="103" name="Freeform 13"/>
                <p:cNvSpPr>
                  <a:spLocks/>
                </p:cNvSpPr>
                <p:nvPr/>
              </p:nvSpPr>
              <p:spPr bwMode="auto">
                <a:xfrm rot="20700000">
                  <a:off x="3155853" y="872796"/>
                  <a:ext cx="1439861" cy="1441452"/>
                </a:xfrm>
                <a:custGeom>
                  <a:avLst/>
                  <a:gdLst>
                    <a:gd name="T0" fmla="*/ 138 w 441"/>
                    <a:gd name="T1" fmla="*/ 341 h 441"/>
                    <a:gd name="T2" fmla="*/ 183 w 441"/>
                    <a:gd name="T3" fmla="*/ 374 h 441"/>
                    <a:gd name="T4" fmla="*/ 220 w 441"/>
                    <a:gd name="T5" fmla="*/ 423 h 441"/>
                    <a:gd name="T6" fmla="*/ 422 w 441"/>
                    <a:gd name="T7" fmla="*/ 220 h 441"/>
                    <a:gd name="T8" fmla="*/ 373 w 441"/>
                    <a:gd name="T9" fmla="*/ 184 h 441"/>
                    <a:gd name="T10" fmla="*/ 341 w 441"/>
                    <a:gd name="T11" fmla="*/ 139 h 441"/>
                    <a:gd name="T12" fmla="*/ 382 w 441"/>
                    <a:gd name="T13" fmla="*/ 58 h 441"/>
                    <a:gd name="T14" fmla="*/ 302 w 441"/>
                    <a:gd name="T15" fmla="*/ 100 h 441"/>
                    <a:gd name="T16" fmla="*/ 257 w 441"/>
                    <a:gd name="T17" fmla="*/ 67 h 441"/>
                    <a:gd name="T18" fmla="*/ 220 w 441"/>
                    <a:gd name="T19" fmla="*/ 18 h 441"/>
                    <a:gd name="T20" fmla="*/ 171 w 441"/>
                    <a:gd name="T21" fmla="*/ 55 h 441"/>
                    <a:gd name="T22" fmla="*/ 138 w 441"/>
                    <a:gd name="T23" fmla="*/ 100 h 441"/>
                    <a:gd name="T24" fmla="*/ 180 w 441"/>
                    <a:gd name="T25" fmla="*/ 181 h 441"/>
                    <a:gd name="T26" fmla="*/ 100 w 441"/>
                    <a:gd name="T27" fmla="*/ 139 h 441"/>
                    <a:gd name="T28" fmla="*/ 55 w 441"/>
                    <a:gd name="T29" fmla="*/ 171 h 441"/>
                    <a:gd name="T30" fmla="*/ 18 w 441"/>
                    <a:gd name="T31" fmla="*/ 220 h 441"/>
                    <a:gd name="T32" fmla="*/ 67 w 441"/>
                    <a:gd name="T33" fmla="*/ 257 h 441"/>
                    <a:gd name="T34" fmla="*/ 100 w 441"/>
                    <a:gd name="T35" fmla="*/ 302 h 441"/>
                    <a:gd name="T36" fmla="*/ 58 w 441"/>
                    <a:gd name="T37" fmla="*/ 383 h 441"/>
                    <a:gd name="T38" fmla="*/ 138 w 441"/>
                    <a:gd name="T39" fmla="*/ 341 h 4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41" h="441">
                      <a:moveTo>
                        <a:pt x="138" y="341"/>
                      </a:moveTo>
                      <a:cubicBezTo>
                        <a:pt x="147" y="337"/>
                        <a:pt x="171" y="361"/>
                        <a:pt x="183" y="374"/>
                      </a:cubicBezTo>
                      <a:cubicBezTo>
                        <a:pt x="196" y="386"/>
                        <a:pt x="220" y="423"/>
                        <a:pt x="220" y="423"/>
                      </a:cubicBezTo>
                      <a:cubicBezTo>
                        <a:pt x="422" y="220"/>
                        <a:pt x="422" y="220"/>
                        <a:pt x="422" y="220"/>
                      </a:cubicBezTo>
                      <a:cubicBezTo>
                        <a:pt x="422" y="220"/>
                        <a:pt x="386" y="196"/>
                        <a:pt x="373" y="184"/>
                      </a:cubicBezTo>
                      <a:cubicBezTo>
                        <a:pt x="361" y="171"/>
                        <a:pt x="338" y="149"/>
                        <a:pt x="341" y="139"/>
                      </a:cubicBezTo>
                      <a:cubicBezTo>
                        <a:pt x="343" y="129"/>
                        <a:pt x="441" y="116"/>
                        <a:pt x="382" y="58"/>
                      </a:cubicBezTo>
                      <a:cubicBezTo>
                        <a:pt x="324" y="0"/>
                        <a:pt x="310" y="96"/>
                        <a:pt x="302" y="100"/>
                      </a:cubicBezTo>
                      <a:cubicBezTo>
                        <a:pt x="294" y="104"/>
                        <a:pt x="269" y="80"/>
                        <a:pt x="257" y="67"/>
                      </a:cubicBezTo>
                      <a:cubicBezTo>
                        <a:pt x="245" y="55"/>
                        <a:pt x="220" y="18"/>
                        <a:pt x="220" y="18"/>
                      </a:cubicBezTo>
                      <a:cubicBezTo>
                        <a:pt x="220" y="18"/>
                        <a:pt x="183" y="43"/>
                        <a:pt x="171" y="55"/>
                      </a:cubicBezTo>
                      <a:cubicBezTo>
                        <a:pt x="159" y="67"/>
                        <a:pt x="134" y="92"/>
                        <a:pt x="138" y="100"/>
                      </a:cubicBezTo>
                      <a:cubicBezTo>
                        <a:pt x="142" y="108"/>
                        <a:pt x="238" y="122"/>
                        <a:pt x="180" y="181"/>
                      </a:cubicBezTo>
                      <a:cubicBezTo>
                        <a:pt x="122" y="239"/>
                        <a:pt x="110" y="141"/>
                        <a:pt x="100" y="139"/>
                      </a:cubicBezTo>
                      <a:cubicBezTo>
                        <a:pt x="89" y="137"/>
                        <a:pt x="67" y="159"/>
                        <a:pt x="55" y="171"/>
                      </a:cubicBezTo>
                      <a:cubicBezTo>
                        <a:pt x="42" y="184"/>
                        <a:pt x="18" y="220"/>
                        <a:pt x="18" y="220"/>
                      </a:cubicBezTo>
                      <a:cubicBezTo>
                        <a:pt x="18" y="220"/>
                        <a:pt x="55" y="245"/>
                        <a:pt x="67" y="257"/>
                      </a:cubicBezTo>
                      <a:cubicBezTo>
                        <a:pt x="79" y="269"/>
                        <a:pt x="102" y="292"/>
                        <a:pt x="100" y="302"/>
                      </a:cubicBezTo>
                      <a:cubicBezTo>
                        <a:pt x="98" y="312"/>
                        <a:pt x="0" y="325"/>
                        <a:pt x="58" y="383"/>
                      </a:cubicBezTo>
                      <a:cubicBezTo>
                        <a:pt x="116" y="441"/>
                        <a:pt x="130" y="345"/>
                        <a:pt x="138" y="341"/>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104" name="Freeform 14"/>
                <p:cNvSpPr>
                  <a:spLocks/>
                </p:cNvSpPr>
                <p:nvPr/>
              </p:nvSpPr>
              <p:spPr bwMode="auto">
                <a:xfrm rot="9900000">
                  <a:off x="2123129" y="293070"/>
                  <a:ext cx="1377948" cy="1377947"/>
                </a:xfrm>
                <a:custGeom>
                  <a:avLst/>
                  <a:gdLst>
                    <a:gd name="T0" fmla="*/ 422 w 422"/>
                    <a:gd name="T1" fmla="*/ 220 h 422"/>
                    <a:gd name="T2" fmla="*/ 386 w 422"/>
                    <a:gd name="T3" fmla="*/ 171 h 422"/>
                    <a:gd name="T4" fmla="*/ 341 w 422"/>
                    <a:gd name="T5" fmla="*/ 138 h 422"/>
                    <a:gd name="T6" fmla="*/ 260 w 422"/>
                    <a:gd name="T7" fmla="*/ 180 h 422"/>
                    <a:gd name="T8" fmla="*/ 302 w 422"/>
                    <a:gd name="T9" fmla="*/ 100 h 422"/>
                    <a:gd name="T10" fmla="*/ 269 w 422"/>
                    <a:gd name="T11" fmla="*/ 55 h 422"/>
                    <a:gd name="T12" fmla="*/ 220 w 422"/>
                    <a:gd name="T13" fmla="*/ 18 h 422"/>
                    <a:gd name="T14" fmla="*/ 183 w 422"/>
                    <a:gd name="T15" fmla="*/ 67 h 422"/>
                    <a:gd name="T16" fmla="*/ 138 w 422"/>
                    <a:gd name="T17" fmla="*/ 100 h 422"/>
                    <a:gd name="T18" fmla="*/ 58 w 422"/>
                    <a:gd name="T19" fmla="*/ 58 h 422"/>
                    <a:gd name="T20" fmla="*/ 100 w 422"/>
                    <a:gd name="T21" fmla="*/ 138 h 422"/>
                    <a:gd name="T22" fmla="*/ 67 w 422"/>
                    <a:gd name="T23" fmla="*/ 183 h 422"/>
                    <a:gd name="T24" fmla="*/ 18 w 422"/>
                    <a:gd name="T25" fmla="*/ 220 h 422"/>
                    <a:gd name="T26" fmla="*/ 55 w 422"/>
                    <a:gd name="T27" fmla="*/ 269 h 422"/>
                    <a:gd name="T28" fmla="*/ 100 w 422"/>
                    <a:gd name="T29" fmla="*/ 302 h 422"/>
                    <a:gd name="T30" fmla="*/ 180 w 422"/>
                    <a:gd name="T31" fmla="*/ 260 h 422"/>
                    <a:gd name="T32" fmla="*/ 138 w 422"/>
                    <a:gd name="T33" fmla="*/ 341 h 422"/>
                    <a:gd name="T34" fmla="*/ 171 w 422"/>
                    <a:gd name="T35" fmla="*/ 386 h 422"/>
                    <a:gd name="T36" fmla="*/ 220 w 422"/>
                    <a:gd name="T37" fmla="*/ 422 h 422"/>
                    <a:gd name="T38" fmla="*/ 422 w 422"/>
                    <a:gd name="T39" fmla="*/ 220 h 4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22" h="422">
                      <a:moveTo>
                        <a:pt x="422" y="220"/>
                      </a:moveTo>
                      <a:cubicBezTo>
                        <a:pt x="422" y="220"/>
                        <a:pt x="398" y="183"/>
                        <a:pt x="386" y="171"/>
                      </a:cubicBezTo>
                      <a:cubicBezTo>
                        <a:pt x="373" y="159"/>
                        <a:pt x="349" y="134"/>
                        <a:pt x="341" y="138"/>
                      </a:cubicBezTo>
                      <a:cubicBezTo>
                        <a:pt x="332" y="142"/>
                        <a:pt x="318" y="239"/>
                        <a:pt x="260" y="180"/>
                      </a:cubicBezTo>
                      <a:cubicBezTo>
                        <a:pt x="202" y="122"/>
                        <a:pt x="300" y="110"/>
                        <a:pt x="302" y="100"/>
                      </a:cubicBezTo>
                      <a:cubicBezTo>
                        <a:pt x="304" y="90"/>
                        <a:pt x="281" y="67"/>
                        <a:pt x="269" y="55"/>
                      </a:cubicBezTo>
                      <a:cubicBezTo>
                        <a:pt x="257" y="42"/>
                        <a:pt x="220" y="18"/>
                        <a:pt x="220" y="18"/>
                      </a:cubicBezTo>
                      <a:cubicBezTo>
                        <a:pt x="220" y="18"/>
                        <a:pt x="196" y="55"/>
                        <a:pt x="183" y="67"/>
                      </a:cubicBezTo>
                      <a:cubicBezTo>
                        <a:pt x="171" y="79"/>
                        <a:pt x="149" y="102"/>
                        <a:pt x="138" y="100"/>
                      </a:cubicBezTo>
                      <a:cubicBezTo>
                        <a:pt x="128" y="98"/>
                        <a:pt x="116" y="0"/>
                        <a:pt x="58" y="58"/>
                      </a:cubicBezTo>
                      <a:cubicBezTo>
                        <a:pt x="0" y="116"/>
                        <a:pt x="96" y="130"/>
                        <a:pt x="100" y="138"/>
                      </a:cubicBezTo>
                      <a:cubicBezTo>
                        <a:pt x="104" y="147"/>
                        <a:pt x="79" y="171"/>
                        <a:pt x="67" y="183"/>
                      </a:cubicBezTo>
                      <a:cubicBezTo>
                        <a:pt x="55" y="196"/>
                        <a:pt x="18" y="220"/>
                        <a:pt x="18" y="220"/>
                      </a:cubicBezTo>
                      <a:cubicBezTo>
                        <a:pt x="18" y="220"/>
                        <a:pt x="42" y="257"/>
                        <a:pt x="55" y="269"/>
                      </a:cubicBezTo>
                      <a:cubicBezTo>
                        <a:pt x="67" y="281"/>
                        <a:pt x="91" y="306"/>
                        <a:pt x="100" y="302"/>
                      </a:cubicBezTo>
                      <a:cubicBezTo>
                        <a:pt x="108" y="298"/>
                        <a:pt x="122" y="202"/>
                        <a:pt x="180" y="260"/>
                      </a:cubicBezTo>
                      <a:cubicBezTo>
                        <a:pt x="238" y="318"/>
                        <a:pt x="140" y="330"/>
                        <a:pt x="138" y="341"/>
                      </a:cubicBezTo>
                      <a:cubicBezTo>
                        <a:pt x="136" y="351"/>
                        <a:pt x="159" y="373"/>
                        <a:pt x="171" y="386"/>
                      </a:cubicBezTo>
                      <a:cubicBezTo>
                        <a:pt x="183" y="398"/>
                        <a:pt x="220" y="422"/>
                        <a:pt x="220" y="422"/>
                      </a:cubicBezTo>
                      <a:lnTo>
                        <a:pt x="422" y="22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grpSp>
        </p:grpSp>
        <p:sp>
          <p:nvSpPr>
            <p:cNvPr id="83" name="Rectangle 152"/>
            <p:cNvSpPr/>
            <p:nvPr/>
          </p:nvSpPr>
          <p:spPr bwMode="auto">
            <a:xfrm>
              <a:off x="669652" y="2738277"/>
              <a:ext cx="1805162" cy="37532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2C812"/>
                  </a:solidFill>
                  <a:effectLst/>
                  <a:uLnTx/>
                  <a:uFillTx/>
                  <a:latin typeface="Segoe UI"/>
                  <a:ea typeface="+mn-ea"/>
                  <a:cs typeface="Segoe UI Light" panose="020B0502040204020203" pitchFamily="34" charset="0"/>
                </a:rPr>
                <a:t>Keeping Data Current</a:t>
              </a:r>
            </a:p>
          </p:txBody>
        </p:sp>
        <p:grpSp>
          <p:nvGrpSpPr>
            <p:cNvPr id="84" name="Group 83"/>
            <p:cNvGrpSpPr/>
            <p:nvPr/>
          </p:nvGrpSpPr>
          <p:grpSpPr>
            <a:xfrm>
              <a:off x="199649" y="2692629"/>
              <a:ext cx="433844" cy="433844"/>
              <a:chOff x="342620" y="2228265"/>
              <a:chExt cx="433844" cy="433844"/>
            </a:xfrm>
            <a:solidFill>
              <a:schemeClr val="bg1"/>
            </a:solidFill>
          </p:grpSpPr>
          <p:sp>
            <p:nvSpPr>
              <p:cNvPr id="99" name="Oval 154"/>
              <p:cNvSpPr/>
              <p:nvPr/>
            </p:nvSpPr>
            <p:spPr bwMode="auto">
              <a:xfrm>
                <a:off x="342620" y="2228265"/>
                <a:ext cx="433844" cy="433844"/>
              </a:xfrm>
              <a:prstGeom prst="ellipse">
                <a:avLst/>
              </a:prstGeom>
              <a:solidFill>
                <a:srgbClr val="FFC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0" name="Freeform 30"/>
              <p:cNvSpPr>
                <a:spLocks noEditPoints="1"/>
              </p:cNvSpPr>
              <p:nvPr/>
            </p:nvSpPr>
            <p:spPr bwMode="auto">
              <a:xfrm>
                <a:off x="444786" y="2340040"/>
                <a:ext cx="238402" cy="210293"/>
              </a:xfrm>
              <a:custGeom>
                <a:avLst/>
                <a:gdLst>
                  <a:gd name="T0" fmla="*/ 883 w 916"/>
                  <a:gd name="T1" fmla="*/ 286 h 808"/>
                  <a:gd name="T2" fmla="*/ 539 w 916"/>
                  <a:gd name="T3" fmla="*/ 723 h 808"/>
                  <a:gd name="T4" fmla="*/ 504 w 916"/>
                  <a:gd name="T5" fmla="*/ 0 h 808"/>
                  <a:gd name="T6" fmla="*/ 35 w 916"/>
                  <a:gd name="T7" fmla="*/ 723 h 808"/>
                  <a:gd name="T8" fmla="*/ 0 w 916"/>
                  <a:gd name="T9" fmla="*/ 808 h 808"/>
                  <a:gd name="T10" fmla="*/ 916 w 916"/>
                  <a:gd name="T11" fmla="*/ 723 h 808"/>
                  <a:gd name="T12" fmla="*/ 229 w 916"/>
                  <a:gd name="T13" fmla="*/ 665 h 808"/>
                  <a:gd name="T14" fmla="*/ 109 w 916"/>
                  <a:gd name="T15" fmla="*/ 596 h 808"/>
                  <a:gd name="T16" fmla="*/ 229 w 916"/>
                  <a:gd name="T17" fmla="*/ 665 h 808"/>
                  <a:gd name="T18" fmla="*/ 109 w 916"/>
                  <a:gd name="T19" fmla="*/ 501 h 808"/>
                  <a:gd name="T20" fmla="*/ 229 w 916"/>
                  <a:gd name="T21" fmla="*/ 432 h 808"/>
                  <a:gd name="T22" fmla="*/ 229 w 916"/>
                  <a:gd name="T23" fmla="*/ 337 h 808"/>
                  <a:gd name="T24" fmla="*/ 109 w 916"/>
                  <a:gd name="T25" fmla="*/ 267 h 808"/>
                  <a:gd name="T26" fmla="*/ 229 w 916"/>
                  <a:gd name="T27" fmla="*/ 337 h 808"/>
                  <a:gd name="T28" fmla="*/ 109 w 916"/>
                  <a:gd name="T29" fmla="*/ 172 h 808"/>
                  <a:gd name="T30" fmla="*/ 229 w 916"/>
                  <a:gd name="T31" fmla="*/ 103 h 808"/>
                  <a:gd name="T32" fmla="*/ 428 w 916"/>
                  <a:gd name="T33" fmla="*/ 665 h 808"/>
                  <a:gd name="T34" fmla="*/ 307 w 916"/>
                  <a:gd name="T35" fmla="*/ 596 h 808"/>
                  <a:gd name="T36" fmla="*/ 428 w 916"/>
                  <a:gd name="T37" fmla="*/ 665 h 808"/>
                  <a:gd name="T38" fmla="*/ 307 w 916"/>
                  <a:gd name="T39" fmla="*/ 501 h 808"/>
                  <a:gd name="T40" fmla="*/ 428 w 916"/>
                  <a:gd name="T41" fmla="*/ 432 h 808"/>
                  <a:gd name="T42" fmla="*/ 428 w 916"/>
                  <a:gd name="T43" fmla="*/ 337 h 808"/>
                  <a:gd name="T44" fmla="*/ 307 w 916"/>
                  <a:gd name="T45" fmla="*/ 267 h 808"/>
                  <a:gd name="T46" fmla="*/ 428 w 916"/>
                  <a:gd name="T47" fmla="*/ 337 h 808"/>
                  <a:gd name="T48" fmla="*/ 307 w 916"/>
                  <a:gd name="T49" fmla="*/ 172 h 808"/>
                  <a:gd name="T50" fmla="*/ 428 w 916"/>
                  <a:gd name="T51" fmla="*/ 103 h 808"/>
                  <a:gd name="T52" fmla="*/ 684 w 916"/>
                  <a:gd name="T53" fmla="*/ 668 h 808"/>
                  <a:gd name="T54" fmla="*/ 606 w 916"/>
                  <a:gd name="T55" fmla="*/ 549 h 808"/>
                  <a:gd name="T56" fmla="*/ 684 w 916"/>
                  <a:gd name="T57" fmla="*/ 668 h 808"/>
                  <a:gd name="T58" fmla="*/ 606 w 916"/>
                  <a:gd name="T59" fmla="*/ 482 h 808"/>
                  <a:gd name="T60" fmla="*/ 684 w 916"/>
                  <a:gd name="T61" fmla="*/ 365 h 808"/>
                  <a:gd name="T62" fmla="*/ 816 w 916"/>
                  <a:gd name="T63" fmla="*/ 668 h 808"/>
                  <a:gd name="T64" fmla="*/ 738 w 916"/>
                  <a:gd name="T65" fmla="*/ 549 h 808"/>
                  <a:gd name="T66" fmla="*/ 816 w 916"/>
                  <a:gd name="T67" fmla="*/ 668 h 808"/>
                  <a:gd name="T68" fmla="*/ 738 w 916"/>
                  <a:gd name="T69" fmla="*/ 482 h 808"/>
                  <a:gd name="T70" fmla="*/ 816 w 916"/>
                  <a:gd name="T71" fmla="*/ 365 h 8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16" h="808">
                    <a:moveTo>
                      <a:pt x="883" y="723"/>
                    </a:moveTo>
                    <a:lnTo>
                      <a:pt x="883" y="286"/>
                    </a:lnTo>
                    <a:lnTo>
                      <a:pt x="539" y="286"/>
                    </a:lnTo>
                    <a:lnTo>
                      <a:pt x="539" y="723"/>
                    </a:lnTo>
                    <a:lnTo>
                      <a:pt x="504" y="723"/>
                    </a:lnTo>
                    <a:lnTo>
                      <a:pt x="504" y="0"/>
                    </a:lnTo>
                    <a:lnTo>
                      <a:pt x="35" y="0"/>
                    </a:lnTo>
                    <a:lnTo>
                      <a:pt x="35" y="723"/>
                    </a:lnTo>
                    <a:lnTo>
                      <a:pt x="0" y="723"/>
                    </a:lnTo>
                    <a:lnTo>
                      <a:pt x="0" y="808"/>
                    </a:lnTo>
                    <a:lnTo>
                      <a:pt x="916" y="808"/>
                    </a:lnTo>
                    <a:lnTo>
                      <a:pt x="916" y="723"/>
                    </a:lnTo>
                    <a:lnTo>
                      <a:pt x="883" y="723"/>
                    </a:lnTo>
                    <a:close/>
                    <a:moveTo>
                      <a:pt x="229" y="665"/>
                    </a:moveTo>
                    <a:lnTo>
                      <a:pt x="109" y="665"/>
                    </a:lnTo>
                    <a:lnTo>
                      <a:pt x="109" y="596"/>
                    </a:lnTo>
                    <a:lnTo>
                      <a:pt x="229" y="596"/>
                    </a:lnTo>
                    <a:lnTo>
                      <a:pt x="229" y="665"/>
                    </a:lnTo>
                    <a:close/>
                    <a:moveTo>
                      <a:pt x="229" y="501"/>
                    </a:moveTo>
                    <a:lnTo>
                      <a:pt x="109" y="501"/>
                    </a:lnTo>
                    <a:lnTo>
                      <a:pt x="109" y="432"/>
                    </a:lnTo>
                    <a:lnTo>
                      <a:pt x="229" y="432"/>
                    </a:lnTo>
                    <a:lnTo>
                      <a:pt x="229" y="501"/>
                    </a:lnTo>
                    <a:close/>
                    <a:moveTo>
                      <a:pt x="229" y="337"/>
                    </a:moveTo>
                    <a:lnTo>
                      <a:pt x="109" y="337"/>
                    </a:lnTo>
                    <a:lnTo>
                      <a:pt x="109" y="267"/>
                    </a:lnTo>
                    <a:lnTo>
                      <a:pt x="229" y="267"/>
                    </a:lnTo>
                    <a:lnTo>
                      <a:pt x="229" y="337"/>
                    </a:lnTo>
                    <a:close/>
                    <a:moveTo>
                      <a:pt x="229" y="172"/>
                    </a:moveTo>
                    <a:lnTo>
                      <a:pt x="109" y="172"/>
                    </a:lnTo>
                    <a:lnTo>
                      <a:pt x="109" y="103"/>
                    </a:lnTo>
                    <a:lnTo>
                      <a:pt x="229" y="103"/>
                    </a:lnTo>
                    <a:lnTo>
                      <a:pt x="229" y="172"/>
                    </a:lnTo>
                    <a:close/>
                    <a:moveTo>
                      <a:pt x="428" y="665"/>
                    </a:moveTo>
                    <a:lnTo>
                      <a:pt x="307" y="665"/>
                    </a:lnTo>
                    <a:lnTo>
                      <a:pt x="307" y="596"/>
                    </a:lnTo>
                    <a:lnTo>
                      <a:pt x="428" y="596"/>
                    </a:lnTo>
                    <a:lnTo>
                      <a:pt x="428" y="665"/>
                    </a:lnTo>
                    <a:close/>
                    <a:moveTo>
                      <a:pt x="428" y="501"/>
                    </a:moveTo>
                    <a:lnTo>
                      <a:pt x="307" y="501"/>
                    </a:lnTo>
                    <a:lnTo>
                      <a:pt x="307" y="432"/>
                    </a:lnTo>
                    <a:lnTo>
                      <a:pt x="428" y="432"/>
                    </a:lnTo>
                    <a:lnTo>
                      <a:pt x="428" y="501"/>
                    </a:lnTo>
                    <a:close/>
                    <a:moveTo>
                      <a:pt x="428" y="337"/>
                    </a:moveTo>
                    <a:lnTo>
                      <a:pt x="307" y="337"/>
                    </a:lnTo>
                    <a:lnTo>
                      <a:pt x="307" y="267"/>
                    </a:lnTo>
                    <a:lnTo>
                      <a:pt x="428" y="267"/>
                    </a:lnTo>
                    <a:lnTo>
                      <a:pt x="428" y="337"/>
                    </a:lnTo>
                    <a:close/>
                    <a:moveTo>
                      <a:pt x="428" y="172"/>
                    </a:moveTo>
                    <a:lnTo>
                      <a:pt x="307" y="172"/>
                    </a:lnTo>
                    <a:lnTo>
                      <a:pt x="307" y="103"/>
                    </a:lnTo>
                    <a:lnTo>
                      <a:pt x="428" y="103"/>
                    </a:lnTo>
                    <a:lnTo>
                      <a:pt x="428" y="172"/>
                    </a:lnTo>
                    <a:close/>
                    <a:moveTo>
                      <a:pt x="684" y="668"/>
                    </a:moveTo>
                    <a:lnTo>
                      <a:pt x="606" y="668"/>
                    </a:lnTo>
                    <a:lnTo>
                      <a:pt x="606" y="549"/>
                    </a:lnTo>
                    <a:lnTo>
                      <a:pt x="684" y="549"/>
                    </a:lnTo>
                    <a:lnTo>
                      <a:pt x="684" y="668"/>
                    </a:lnTo>
                    <a:close/>
                    <a:moveTo>
                      <a:pt x="684" y="482"/>
                    </a:moveTo>
                    <a:lnTo>
                      <a:pt x="606" y="482"/>
                    </a:lnTo>
                    <a:lnTo>
                      <a:pt x="606" y="365"/>
                    </a:lnTo>
                    <a:lnTo>
                      <a:pt x="684" y="365"/>
                    </a:lnTo>
                    <a:lnTo>
                      <a:pt x="684" y="482"/>
                    </a:lnTo>
                    <a:close/>
                    <a:moveTo>
                      <a:pt x="816" y="668"/>
                    </a:moveTo>
                    <a:lnTo>
                      <a:pt x="738" y="668"/>
                    </a:lnTo>
                    <a:lnTo>
                      <a:pt x="738" y="549"/>
                    </a:lnTo>
                    <a:lnTo>
                      <a:pt x="816" y="549"/>
                    </a:lnTo>
                    <a:lnTo>
                      <a:pt x="816" y="668"/>
                    </a:lnTo>
                    <a:close/>
                    <a:moveTo>
                      <a:pt x="816" y="482"/>
                    </a:moveTo>
                    <a:lnTo>
                      <a:pt x="738" y="482"/>
                    </a:lnTo>
                    <a:lnTo>
                      <a:pt x="738" y="365"/>
                    </a:lnTo>
                    <a:lnTo>
                      <a:pt x="816" y="365"/>
                    </a:lnTo>
                    <a:lnTo>
                      <a:pt x="816" y="482"/>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grpSp>
        <p:sp>
          <p:nvSpPr>
            <p:cNvPr id="85" name="TextBox 84"/>
            <p:cNvSpPr txBox="1"/>
            <p:nvPr/>
          </p:nvSpPr>
          <p:spPr>
            <a:xfrm>
              <a:off x="83345" y="113808"/>
              <a:ext cx="2532630" cy="627864"/>
            </a:xfrm>
            <a:prstGeom prst="rect">
              <a:avLst/>
            </a:prstGeom>
            <a:noFill/>
          </p:spPr>
          <p:txBody>
            <a:bodyPr wrap="square" lIns="182880" tIns="146304" rIns="182880" bIns="146304" rtlCol="0">
              <a:spAutoFit/>
            </a:bodyPr>
            <a:lstStyle>
              <a:defPPr>
                <a:defRPr lang="en-US"/>
              </a:defPPr>
              <a:lvl1pPr>
                <a:lnSpc>
                  <a:spcPct val="90000"/>
                </a:lnSpc>
                <a:spcAft>
                  <a:spcPts val="600"/>
                </a:spcAft>
                <a:defRPr sz="2800" b="1">
                  <a:solidFill>
                    <a:srgbClr val="F2C812"/>
                  </a:solidFill>
                  <a:latin typeface="Segoe UI Light"/>
                </a:defRPr>
              </a:lvl1p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400" b="1" i="0" u="none" strike="noStrike" kern="1200" cap="none" spc="0" normalizeH="0" baseline="0" noProof="0">
                  <a:ln>
                    <a:noFill/>
                  </a:ln>
                  <a:solidFill>
                    <a:srgbClr val="F2C812"/>
                  </a:solidFill>
                  <a:effectLst/>
                  <a:uLnTx/>
                  <a:uFillTx/>
                  <a:latin typeface="Segoe UI Light"/>
                  <a:ea typeface="+mn-ea"/>
                  <a:cs typeface="+mn-cs"/>
                </a:rPr>
                <a:t>Power BI Service</a:t>
              </a:r>
              <a:endParaRPr kumimoji="0" lang="en-US" sz="2800" b="1" i="0" u="none" strike="noStrike" kern="1200" cap="none" spc="0" normalizeH="0" baseline="0" noProof="0">
                <a:ln>
                  <a:noFill/>
                </a:ln>
                <a:solidFill>
                  <a:srgbClr val="F2C812"/>
                </a:solidFill>
                <a:effectLst/>
                <a:uLnTx/>
                <a:uFillTx/>
                <a:latin typeface="Segoe UI Light"/>
                <a:ea typeface="+mn-ea"/>
                <a:cs typeface="+mn-cs"/>
              </a:endParaRPr>
            </a:p>
          </p:txBody>
        </p:sp>
        <p:grpSp>
          <p:nvGrpSpPr>
            <p:cNvPr id="86" name="Group 85"/>
            <p:cNvGrpSpPr/>
            <p:nvPr/>
          </p:nvGrpSpPr>
          <p:grpSpPr>
            <a:xfrm>
              <a:off x="219373" y="3621383"/>
              <a:ext cx="433844" cy="645668"/>
              <a:chOff x="280990" y="3358164"/>
              <a:chExt cx="433844" cy="645668"/>
            </a:xfrm>
          </p:grpSpPr>
          <p:sp>
            <p:nvSpPr>
              <p:cNvPr id="92" name="Oval 1083"/>
              <p:cNvSpPr/>
              <p:nvPr/>
            </p:nvSpPr>
            <p:spPr bwMode="auto">
              <a:xfrm>
                <a:off x="280990" y="3358164"/>
                <a:ext cx="433844" cy="433847"/>
              </a:xfrm>
              <a:prstGeom prst="ellipse">
                <a:avLst/>
              </a:prstGeom>
              <a:solidFill>
                <a:srgbClr val="F2C812"/>
              </a:solidFill>
              <a:ln>
                <a:solidFill>
                  <a:srgbClr val="FFCC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93" name="Group 379"/>
              <p:cNvGrpSpPr/>
              <p:nvPr/>
            </p:nvGrpSpPr>
            <p:grpSpPr>
              <a:xfrm>
                <a:off x="453702" y="3910852"/>
                <a:ext cx="175660" cy="92980"/>
                <a:chOff x="3895793" y="7466656"/>
                <a:chExt cx="785810" cy="415941"/>
              </a:xfrm>
              <a:solidFill>
                <a:srgbClr val="00BCF2"/>
              </a:solidFill>
            </p:grpSpPr>
            <p:sp>
              <p:nvSpPr>
                <p:cNvPr id="94" name="Freeform 132"/>
                <p:cNvSpPr>
                  <a:spLocks/>
                </p:cNvSpPr>
                <p:nvPr/>
              </p:nvSpPr>
              <p:spPr bwMode="auto">
                <a:xfrm>
                  <a:off x="4125979" y="7688918"/>
                  <a:ext cx="0" cy="6353"/>
                </a:xfrm>
                <a:custGeom>
                  <a:avLst/>
                  <a:gdLst>
                    <a:gd name="T0" fmla="*/ 1 w 1"/>
                    <a:gd name="T1" fmla="*/ 0 h 8"/>
                    <a:gd name="T2" fmla="*/ 0 w 1"/>
                    <a:gd name="T3" fmla="*/ 0 h 8"/>
                    <a:gd name="T4" fmla="*/ 1 w 1"/>
                    <a:gd name="T5" fmla="*/ 8 h 8"/>
                    <a:gd name="T6" fmla="*/ 1 w 1"/>
                    <a:gd name="T7" fmla="*/ 0 h 8"/>
                  </a:gdLst>
                  <a:ahLst/>
                  <a:cxnLst>
                    <a:cxn ang="0">
                      <a:pos x="T0" y="T1"/>
                    </a:cxn>
                    <a:cxn ang="0">
                      <a:pos x="T2" y="T3"/>
                    </a:cxn>
                    <a:cxn ang="0">
                      <a:pos x="T4" y="T5"/>
                    </a:cxn>
                    <a:cxn ang="0">
                      <a:pos x="T6" y="T7"/>
                    </a:cxn>
                  </a:cxnLst>
                  <a:rect l="0" t="0" r="r" b="b"/>
                  <a:pathLst>
                    <a:path w="1" h="8">
                      <a:moveTo>
                        <a:pt x="1" y="0"/>
                      </a:moveTo>
                      <a:cubicBezTo>
                        <a:pt x="0" y="0"/>
                        <a:pt x="0" y="0"/>
                        <a:pt x="0" y="0"/>
                      </a:cubicBezTo>
                      <a:cubicBezTo>
                        <a:pt x="0" y="3"/>
                        <a:pt x="1" y="5"/>
                        <a:pt x="1" y="8"/>
                      </a:cubicBezTo>
                      <a:lnTo>
                        <a:pt x="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95" name="Freeform 133"/>
                <p:cNvSpPr>
                  <a:spLocks/>
                </p:cNvSpPr>
                <p:nvPr/>
              </p:nvSpPr>
              <p:spPr bwMode="auto">
                <a:xfrm>
                  <a:off x="3895793" y="7812745"/>
                  <a:ext cx="219078" cy="69852"/>
                </a:xfrm>
                <a:custGeom>
                  <a:avLst/>
                  <a:gdLst>
                    <a:gd name="T0" fmla="*/ 186 w 238"/>
                    <a:gd name="T1" fmla="*/ 9 h 76"/>
                    <a:gd name="T2" fmla="*/ 131 w 238"/>
                    <a:gd name="T3" fmla="*/ 22 h 76"/>
                    <a:gd name="T4" fmla="*/ 60 w 238"/>
                    <a:gd name="T5" fmla="*/ 0 h 76"/>
                    <a:gd name="T6" fmla="*/ 0 w 238"/>
                    <a:gd name="T7" fmla="*/ 42 h 76"/>
                    <a:gd name="T8" fmla="*/ 0 w 238"/>
                    <a:gd name="T9" fmla="*/ 76 h 76"/>
                    <a:gd name="T10" fmla="*/ 238 w 238"/>
                    <a:gd name="T11" fmla="*/ 76 h 76"/>
                    <a:gd name="T12" fmla="*/ 236 w 238"/>
                    <a:gd name="T13" fmla="*/ 53 h 76"/>
                    <a:gd name="T14" fmla="*/ 236 w 238"/>
                    <a:gd name="T15" fmla="*/ 49 h 76"/>
                    <a:gd name="T16" fmla="*/ 186 w 238"/>
                    <a:gd name="T17" fmla="*/ 9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8" h="76">
                      <a:moveTo>
                        <a:pt x="186" y="9"/>
                      </a:moveTo>
                      <a:cubicBezTo>
                        <a:pt x="169" y="18"/>
                        <a:pt x="150" y="22"/>
                        <a:pt x="131" y="22"/>
                      </a:cubicBezTo>
                      <a:cubicBezTo>
                        <a:pt x="105" y="22"/>
                        <a:pt x="80" y="14"/>
                        <a:pt x="60" y="0"/>
                      </a:cubicBezTo>
                      <a:cubicBezTo>
                        <a:pt x="0" y="42"/>
                        <a:pt x="0" y="42"/>
                        <a:pt x="0" y="42"/>
                      </a:cubicBezTo>
                      <a:cubicBezTo>
                        <a:pt x="0" y="76"/>
                        <a:pt x="0" y="76"/>
                        <a:pt x="0" y="76"/>
                      </a:cubicBezTo>
                      <a:cubicBezTo>
                        <a:pt x="238" y="76"/>
                        <a:pt x="238" y="76"/>
                        <a:pt x="238" y="76"/>
                      </a:cubicBezTo>
                      <a:cubicBezTo>
                        <a:pt x="237" y="68"/>
                        <a:pt x="236" y="61"/>
                        <a:pt x="236" y="53"/>
                      </a:cubicBezTo>
                      <a:cubicBezTo>
                        <a:pt x="236" y="51"/>
                        <a:pt x="236" y="50"/>
                        <a:pt x="236" y="49"/>
                      </a:cubicBezTo>
                      <a:lnTo>
                        <a:pt x="186" y="9"/>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96" name="Freeform 137"/>
                <p:cNvSpPr>
                  <a:spLocks/>
                </p:cNvSpPr>
                <p:nvPr/>
              </p:nvSpPr>
              <p:spPr bwMode="auto">
                <a:xfrm>
                  <a:off x="4338704" y="7809561"/>
                  <a:ext cx="65090" cy="73028"/>
                </a:xfrm>
                <a:custGeom>
                  <a:avLst/>
                  <a:gdLst>
                    <a:gd name="T0" fmla="*/ 71 w 71"/>
                    <a:gd name="T1" fmla="*/ 79 h 79"/>
                    <a:gd name="T2" fmla="*/ 71 w 71"/>
                    <a:gd name="T3" fmla="*/ 0 h 79"/>
                    <a:gd name="T4" fmla="*/ 2 w 71"/>
                    <a:gd name="T5" fmla="*/ 53 h 79"/>
                    <a:gd name="T6" fmla="*/ 2 w 71"/>
                    <a:gd name="T7" fmla="*/ 56 h 79"/>
                    <a:gd name="T8" fmla="*/ 0 w 71"/>
                    <a:gd name="T9" fmla="*/ 79 h 79"/>
                    <a:gd name="T10" fmla="*/ 71 w 71"/>
                    <a:gd name="T11" fmla="*/ 79 h 79"/>
                  </a:gdLst>
                  <a:ahLst/>
                  <a:cxnLst>
                    <a:cxn ang="0">
                      <a:pos x="T0" y="T1"/>
                    </a:cxn>
                    <a:cxn ang="0">
                      <a:pos x="T2" y="T3"/>
                    </a:cxn>
                    <a:cxn ang="0">
                      <a:pos x="T4" y="T5"/>
                    </a:cxn>
                    <a:cxn ang="0">
                      <a:pos x="T6" y="T7"/>
                    </a:cxn>
                    <a:cxn ang="0">
                      <a:pos x="T8" y="T9"/>
                    </a:cxn>
                    <a:cxn ang="0">
                      <a:pos x="T10" y="T11"/>
                    </a:cxn>
                  </a:cxnLst>
                  <a:rect l="0" t="0" r="r" b="b"/>
                  <a:pathLst>
                    <a:path w="71" h="79">
                      <a:moveTo>
                        <a:pt x="71" y="79"/>
                      </a:moveTo>
                      <a:cubicBezTo>
                        <a:pt x="71" y="0"/>
                        <a:pt x="71" y="0"/>
                        <a:pt x="71" y="0"/>
                      </a:cubicBezTo>
                      <a:cubicBezTo>
                        <a:pt x="2" y="53"/>
                        <a:pt x="2" y="53"/>
                        <a:pt x="2" y="53"/>
                      </a:cubicBezTo>
                      <a:cubicBezTo>
                        <a:pt x="2" y="54"/>
                        <a:pt x="2" y="55"/>
                        <a:pt x="2" y="56"/>
                      </a:cubicBezTo>
                      <a:cubicBezTo>
                        <a:pt x="2" y="64"/>
                        <a:pt x="1" y="71"/>
                        <a:pt x="0" y="79"/>
                      </a:cubicBezTo>
                      <a:lnTo>
                        <a:pt x="71" y="79"/>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97" name="Freeform 140"/>
                <p:cNvSpPr>
                  <a:spLocks/>
                </p:cNvSpPr>
                <p:nvPr/>
              </p:nvSpPr>
              <p:spPr bwMode="auto">
                <a:xfrm>
                  <a:off x="4600643" y="7622229"/>
                  <a:ext cx="80960" cy="38099"/>
                </a:xfrm>
                <a:custGeom>
                  <a:avLst/>
                  <a:gdLst>
                    <a:gd name="T0" fmla="*/ 0 w 51"/>
                    <a:gd name="T1" fmla="*/ 24 h 24"/>
                    <a:gd name="T2" fmla="*/ 51 w 51"/>
                    <a:gd name="T3" fmla="*/ 24 h 24"/>
                    <a:gd name="T4" fmla="*/ 32 w 51"/>
                    <a:gd name="T5" fmla="*/ 0 h 24"/>
                    <a:gd name="T6" fmla="*/ 0 w 51"/>
                    <a:gd name="T7" fmla="*/ 24 h 24"/>
                  </a:gdLst>
                  <a:ahLst/>
                  <a:cxnLst>
                    <a:cxn ang="0">
                      <a:pos x="T0" y="T1"/>
                    </a:cxn>
                    <a:cxn ang="0">
                      <a:pos x="T2" y="T3"/>
                    </a:cxn>
                    <a:cxn ang="0">
                      <a:pos x="T4" y="T5"/>
                    </a:cxn>
                    <a:cxn ang="0">
                      <a:pos x="T6" y="T7"/>
                    </a:cxn>
                  </a:cxnLst>
                  <a:rect l="0" t="0" r="r" b="b"/>
                  <a:pathLst>
                    <a:path w="51" h="24">
                      <a:moveTo>
                        <a:pt x="0" y="24"/>
                      </a:moveTo>
                      <a:lnTo>
                        <a:pt x="51" y="24"/>
                      </a:lnTo>
                      <a:lnTo>
                        <a:pt x="32" y="0"/>
                      </a:lnTo>
                      <a:lnTo>
                        <a:pt x="0" y="24"/>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98" name="Freeform 141"/>
                <p:cNvSpPr>
                  <a:spLocks/>
                </p:cNvSpPr>
                <p:nvPr/>
              </p:nvSpPr>
              <p:spPr bwMode="auto">
                <a:xfrm>
                  <a:off x="4449825" y="7466656"/>
                  <a:ext cx="119065" cy="139703"/>
                </a:xfrm>
                <a:custGeom>
                  <a:avLst/>
                  <a:gdLst>
                    <a:gd name="T0" fmla="*/ 52 w 75"/>
                    <a:gd name="T1" fmla="*/ 0 h 88"/>
                    <a:gd name="T2" fmla="*/ 0 w 75"/>
                    <a:gd name="T3" fmla="*/ 0 h 88"/>
                    <a:gd name="T4" fmla="*/ 0 w 75"/>
                    <a:gd name="T5" fmla="*/ 88 h 88"/>
                    <a:gd name="T6" fmla="*/ 75 w 75"/>
                    <a:gd name="T7" fmla="*/ 30 h 88"/>
                    <a:gd name="T8" fmla="*/ 52 w 75"/>
                    <a:gd name="T9" fmla="*/ 0 h 88"/>
                  </a:gdLst>
                  <a:ahLst/>
                  <a:cxnLst>
                    <a:cxn ang="0">
                      <a:pos x="T0" y="T1"/>
                    </a:cxn>
                    <a:cxn ang="0">
                      <a:pos x="T2" y="T3"/>
                    </a:cxn>
                    <a:cxn ang="0">
                      <a:pos x="T4" y="T5"/>
                    </a:cxn>
                    <a:cxn ang="0">
                      <a:pos x="T6" y="T7"/>
                    </a:cxn>
                    <a:cxn ang="0">
                      <a:pos x="T8" y="T9"/>
                    </a:cxn>
                  </a:cxnLst>
                  <a:rect l="0" t="0" r="r" b="b"/>
                  <a:pathLst>
                    <a:path w="75" h="88">
                      <a:moveTo>
                        <a:pt x="52" y="0"/>
                      </a:moveTo>
                      <a:lnTo>
                        <a:pt x="0" y="0"/>
                      </a:lnTo>
                      <a:lnTo>
                        <a:pt x="0" y="88"/>
                      </a:lnTo>
                      <a:lnTo>
                        <a:pt x="75" y="30"/>
                      </a:lnTo>
                      <a:lnTo>
                        <a:pt x="52"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grpSp>
        </p:grpSp>
        <p:sp>
          <p:nvSpPr>
            <p:cNvPr id="87" name="Rectangle 152"/>
            <p:cNvSpPr/>
            <p:nvPr/>
          </p:nvSpPr>
          <p:spPr bwMode="auto">
            <a:xfrm>
              <a:off x="712458" y="3628917"/>
              <a:ext cx="1805162" cy="37532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2C812"/>
                  </a:solidFill>
                  <a:effectLst/>
                  <a:uLnTx/>
                  <a:uFillTx/>
                  <a:latin typeface="Segoe UI"/>
                  <a:ea typeface="+mn-ea"/>
                  <a:cs typeface="Segoe UI Light" panose="020B0502040204020203" pitchFamily="34" charset="0"/>
                </a:rPr>
                <a:t>Q&amp;A and </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2C812"/>
                  </a:solidFill>
                  <a:effectLst/>
                  <a:uLnTx/>
                  <a:uFillTx/>
                  <a:latin typeface="Segoe UI"/>
                  <a:ea typeface="+mn-ea"/>
                  <a:cs typeface="Segoe UI Light" panose="020B0502040204020203" pitchFamily="34" charset="0"/>
                </a:rPr>
                <a:t>Quick Insights</a:t>
              </a:r>
              <a:endParaRPr kumimoji="0" lang="en-US" sz="1200" b="1" i="0" u="none" strike="noStrike" kern="1200" cap="none" spc="0" normalizeH="0" baseline="0" noProof="0">
                <a:ln>
                  <a:noFill/>
                </a:ln>
                <a:solidFill>
                  <a:srgbClr val="F2C812"/>
                </a:solidFill>
                <a:effectLst/>
                <a:uLnTx/>
                <a:uFillTx/>
                <a:latin typeface="Segoe UI"/>
                <a:ea typeface="+mn-ea"/>
                <a:cs typeface="Segoe UI Light" panose="020B0502040204020203" pitchFamily="34" charset="0"/>
              </a:endParaRPr>
            </a:p>
          </p:txBody>
        </p:sp>
        <p:sp>
          <p:nvSpPr>
            <p:cNvPr id="88" name="Oval 162"/>
            <p:cNvSpPr/>
            <p:nvPr/>
          </p:nvSpPr>
          <p:spPr bwMode="auto">
            <a:xfrm>
              <a:off x="226619" y="4551712"/>
              <a:ext cx="433844" cy="433844"/>
            </a:xfrm>
            <a:prstGeom prst="ellipse">
              <a:avLst/>
            </a:prstGeom>
            <a:solidFill>
              <a:srgbClr val="F2C812"/>
            </a:solidFill>
            <a:ln>
              <a:solidFill>
                <a:srgbClr val="FFCC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9" name="Rectangle 152"/>
            <p:cNvSpPr/>
            <p:nvPr/>
          </p:nvSpPr>
          <p:spPr bwMode="auto">
            <a:xfrm>
              <a:off x="738443" y="4596194"/>
              <a:ext cx="1884825" cy="30233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2C812"/>
                  </a:solidFill>
                  <a:effectLst/>
                  <a:uLnTx/>
                  <a:uFillTx/>
                  <a:latin typeface="Segoe UI"/>
                  <a:ea typeface="+mn-ea"/>
                  <a:cs typeface="Segoe UI Light" panose="020B0502040204020203" pitchFamily="34" charset="0"/>
                </a:rPr>
                <a:t>Sharing</a:t>
              </a:r>
              <a:endParaRPr kumimoji="0" lang="en-US" sz="1200" b="1" i="1" u="none" strike="noStrike" kern="1200" cap="none" spc="0" normalizeH="0" baseline="0" noProof="0">
                <a:ln>
                  <a:noFill/>
                </a:ln>
                <a:solidFill>
                  <a:srgbClr val="F2C812"/>
                </a:solidFill>
                <a:effectLst/>
                <a:uLnTx/>
                <a:uFillTx/>
                <a:latin typeface="Segoe UI"/>
                <a:ea typeface="+mn-ea"/>
                <a:cs typeface="Segoe UI Light" panose="020B0502040204020203" pitchFamily="34" charset="0"/>
              </a:endParaRPr>
            </a:p>
          </p:txBody>
        </p:sp>
        <p:sp>
          <p:nvSpPr>
            <p:cNvPr id="90" name="Rectangle 145"/>
            <p:cNvSpPr/>
            <p:nvPr/>
          </p:nvSpPr>
          <p:spPr bwMode="auto">
            <a:xfrm>
              <a:off x="697198" y="1847637"/>
              <a:ext cx="1821468" cy="3831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2C812"/>
                  </a:solidFill>
                  <a:effectLst/>
                  <a:uLnTx/>
                  <a:uFillTx/>
                  <a:latin typeface="Segoe UI"/>
                  <a:ea typeface="+mn-ea"/>
                  <a:cs typeface="Segoe UI Light" panose="020B0502040204020203" pitchFamily="34" charset="0"/>
                </a:rPr>
                <a:t>Pinning and Navigation</a:t>
              </a:r>
            </a:p>
          </p:txBody>
        </p:sp>
        <p:sp>
          <p:nvSpPr>
            <p:cNvPr id="91" name="Oval 162"/>
            <p:cNvSpPr/>
            <p:nvPr/>
          </p:nvSpPr>
          <p:spPr bwMode="auto">
            <a:xfrm>
              <a:off x="224136" y="1813606"/>
              <a:ext cx="433844" cy="433844"/>
            </a:xfrm>
            <a:prstGeom prst="ellipse">
              <a:avLst/>
            </a:prstGeom>
            <a:solidFill>
              <a:srgbClr val="FFCC00"/>
            </a:solidFill>
            <a:ln>
              <a:solidFill>
                <a:srgbClr val="F2C81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pic>
        <p:nvPicPr>
          <p:cNvPr id="105" name="Picture 104"/>
          <p:cNvPicPr>
            <a:picLocks noChangeAspect="1"/>
          </p:cNvPicPr>
          <p:nvPr/>
        </p:nvPicPr>
        <p:blipFill rotWithShape="1">
          <a:blip r:embed="rId4"/>
          <a:srcRect l="6503" t="21287" r="74698" b="20220"/>
          <a:stretch/>
        </p:blipFill>
        <p:spPr>
          <a:xfrm>
            <a:off x="339111" y="1946110"/>
            <a:ext cx="228600" cy="231962"/>
          </a:xfrm>
          <a:prstGeom prst="rect">
            <a:avLst/>
          </a:prstGeom>
        </p:spPr>
      </p:pic>
      <p:pic>
        <p:nvPicPr>
          <p:cNvPr id="106" name="Picture 105"/>
          <p:cNvPicPr>
            <a:picLocks noChangeAspect="1"/>
          </p:cNvPicPr>
          <p:nvPr/>
        </p:nvPicPr>
        <p:blipFill>
          <a:blip r:embed="rId5"/>
          <a:stretch>
            <a:fillRect/>
          </a:stretch>
        </p:blipFill>
        <p:spPr>
          <a:xfrm>
            <a:off x="284769" y="3673076"/>
            <a:ext cx="311766" cy="303106"/>
          </a:xfrm>
          <a:prstGeom prst="rect">
            <a:avLst/>
          </a:prstGeom>
        </p:spPr>
      </p:pic>
      <p:sp>
        <p:nvSpPr>
          <p:cNvPr id="107" name="Rectangle 145"/>
          <p:cNvSpPr/>
          <p:nvPr/>
        </p:nvSpPr>
        <p:spPr bwMode="auto">
          <a:xfrm>
            <a:off x="718897" y="5436715"/>
            <a:ext cx="1821468" cy="3831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2C812"/>
                </a:solidFill>
                <a:effectLst/>
                <a:uLnTx/>
                <a:uFillTx/>
                <a:latin typeface="Segoe UI"/>
                <a:ea typeface="+mn-ea"/>
                <a:cs typeface="Segoe UI Light" panose="020B0502040204020203" pitchFamily="34" charset="0"/>
              </a:rPr>
              <a:t>Connect from Excel</a:t>
            </a:r>
          </a:p>
        </p:txBody>
      </p:sp>
      <p:sp>
        <p:nvSpPr>
          <p:cNvPr id="108" name="Oval 162"/>
          <p:cNvSpPr/>
          <p:nvPr/>
        </p:nvSpPr>
        <p:spPr bwMode="auto">
          <a:xfrm>
            <a:off x="231441" y="5429649"/>
            <a:ext cx="433844" cy="433844"/>
          </a:xfrm>
          <a:prstGeom prst="ellipse">
            <a:avLst/>
          </a:prstGeom>
          <a:solidFill>
            <a:srgbClr val="FFCC00"/>
          </a:solidFill>
          <a:ln>
            <a:solidFill>
              <a:srgbClr val="F2C81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09" name="Picture 108"/>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flipH="1">
            <a:off x="283763" y="4596680"/>
            <a:ext cx="357484" cy="357484"/>
          </a:xfrm>
          <a:prstGeom prst="rect">
            <a:avLst/>
          </a:prstGeom>
        </p:spPr>
      </p:pic>
      <p:sp>
        <p:nvSpPr>
          <p:cNvPr id="110" name="Oval 162"/>
          <p:cNvSpPr/>
          <p:nvPr/>
        </p:nvSpPr>
        <p:spPr bwMode="auto">
          <a:xfrm>
            <a:off x="233032" y="6267344"/>
            <a:ext cx="433844" cy="433844"/>
          </a:xfrm>
          <a:prstGeom prst="ellipse">
            <a:avLst/>
          </a:prstGeom>
          <a:solidFill>
            <a:srgbClr val="FFCC00"/>
          </a:solidFill>
          <a:ln>
            <a:solidFill>
              <a:srgbClr val="F2C81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1" name="Rectangle 145"/>
          <p:cNvSpPr/>
          <p:nvPr/>
        </p:nvSpPr>
        <p:spPr bwMode="auto">
          <a:xfrm>
            <a:off x="701416" y="6289969"/>
            <a:ext cx="1821468" cy="3831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2C812"/>
                </a:solidFill>
                <a:effectLst/>
                <a:uLnTx/>
                <a:uFillTx/>
                <a:latin typeface="Segoe UI"/>
                <a:ea typeface="+mn-ea"/>
                <a:cs typeface="Segoe UI Light" panose="020B0502040204020203" pitchFamily="34" charset="0"/>
              </a:rPr>
              <a:t>Mobile Reports</a:t>
            </a:r>
          </a:p>
        </p:txBody>
      </p:sp>
      <p:pic>
        <p:nvPicPr>
          <p:cNvPr id="112" name="Picture 111"/>
          <p:cNvPicPr>
            <a:picLocks noChangeAspect="1"/>
          </p:cNvPicPr>
          <p:nvPr/>
        </p:nvPicPr>
        <p:blipFill>
          <a:blip r:embed="rId7" cstate="print">
            <a:extLst>
              <a:ext uri="{BEBA8EAE-BF5A-486C-A8C5-ECC9F3942E4B}">
                <a14:imgProps xmlns:a14="http://schemas.microsoft.com/office/drawing/2010/main">
                  <a14:imgLayer r:embed="rId8">
                    <a14:imgEffect>
                      <a14:saturation sat="0"/>
                    </a14:imgEffect>
                  </a14:imgLayer>
                </a14:imgProps>
              </a:ext>
              <a:ext uri="{28A0092B-C50C-407E-A947-70E740481C1C}">
                <a14:useLocalDpi xmlns:a14="http://schemas.microsoft.com/office/drawing/2010/main" val="0"/>
              </a:ext>
            </a:extLst>
          </a:blip>
          <a:stretch>
            <a:fillRect/>
          </a:stretch>
        </p:blipFill>
        <p:spPr>
          <a:xfrm>
            <a:off x="391946" y="6350039"/>
            <a:ext cx="133350" cy="251587"/>
          </a:xfrm>
          <a:prstGeom prst="rect">
            <a:avLst/>
          </a:prstGeom>
        </p:spPr>
      </p:pic>
      <p:pic>
        <p:nvPicPr>
          <p:cNvPr id="113" name="Picture 112"/>
          <p:cNvPicPr>
            <a:picLocks noChangeAspect="1"/>
          </p:cNvPicPr>
          <p:nvPr/>
        </p:nvPicPr>
        <p:blipFill>
          <a:blip r:embed="rId9" cstate="print">
            <a:biLevel thresh="50000"/>
            <a:extLst>
              <a:ext uri="{28A0092B-C50C-407E-A947-70E740481C1C}">
                <a14:useLocalDpi xmlns:a14="http://schemas.microsoft.com/office/drawing/2010/main" val="0"/>
              </a:ext>
            </a:extLst>
          </a:blip>
          <a:stretch>
            <a:fillRect/>
          </a:stretch>
        </p:blipFill>
        <p:spPr>
          <a:xfrm>
            <a:off x="332658" y="5538489"/>
            <a:ext cx="268940" cy="268940"/>
          </a:xfrm>
          <a:prstGeom prst="rect">
            <a:avLst/>
          </a:prstGeom>
        </p:spPr>
      </p:pic>
      <p:sp>
        <p:nvSpPr>
          <p:cNvPr id="114" name="Rectangle 113"/>
          <p:cNvSpPr/>
          <p:nvPr/>
        </p:nvSpPr>
        <p:spPr bwMode="auto">
          <a:xfrm>
            <a:off x="35912" y="2594112"/>
            <a:ext cx="2464420" cy="4194313"/>
          </a:xfrm>
          <a:prstGeom prst="rect">
            <a:avLst/>
          </a:prstGeom>
          <a:solidFill>
            <a:srgbClr val="000000">
              <a:alpha val="6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5" name="Rectangle 114"/>
          <p:cNvSpPr/>
          <p:nvPr/>
        </p:nvSpPr>
        <p:spPr bwMode="auto">
          <a:xfrm>
            <a:off x="95936" y="731576"/>
            <a:ext cx="2464420" cy="880187"/>
          </a:xfrm>
          <a:prstGeom prst="rect">
            <a:avLst/>
          </a:prstGeom>
          <a:solidFill>
            <a:srgbClr val="000000">
              <a:alpha val="6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16701239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8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1" grpId="0" animBg="1"/>
    </p:bldLst>
  </p:timing>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 name="Title 10"/>
          <p:cNvSpPr txBox="1">
            <a:spLocks/>
          </p:cNvSpPr>
          <p:nvPr/>
        </p:nvSpPr>
        <p:spPr>
          <a:xfrm>
            <a:off x="2849060" y="0"/>
            <a:ext cx="9342940" cy="665151"/>
          </a:xfrm>
          <a:prstGeom prst="rect">
            <a:avLst/>
          </a:prstGeom>
          <a:noFill/>
        </p:spPr>
        <p:txBody>
          <a:bodyPr vert="horz" wrap="square" lIns="0" tIns="91440" rIns="0" bIns="91440" rtlCol="0" anchor="t">
            <a:noAutofit/>
          </a:bodyPr>
          <a:lstStyle>
            <a:lvl1pPr defTabSz="914367">
              <a:lnSpc>
                <a:spcPct val="90000"/>
              </a:lnSpc>
              <a:spcBef>
                <a:spcPct val="0"/>
              </a:spcBef>
              <a:buNone/>
              <a:defRPr lang="en-US" sz="5294" b="0" cap="none" spc="-100" baseline="0" dirty="0" smtClean="0">
                <a:ln w="3175">
                  <a:noFill/>
                </a:ln>
                <a:solidFill>
                  <a:schemeClr val="tx2"/>
                </a:solidFill>
                <a:effectLst/>
                <a:latin typeface="+mj-lt"/>
                <a:cs typeface="Segoe UI" pitchFamily="34" charset="0"/>
              </a:defRPr>
            </a:lvl1pPr>
          </a:lstStyle>
          <a:p>
            <a:pPr marL="168275" marR="0" lvl="0" indent="0" algn="l" defTabSz="914367" rtl="0" eaLnBrk="1" fontAlgn="auto" latinLnBrk="0" hangingPunct="1">
              <a:lnSpc>
                <a:spcPct val="90000"/>
              </a:lnSpc>
              <a:spcBef>
                <a:spcPct val="0"/>
              </a:spcBef>
              <a:spcAft>
                <a:spcPts val="0"/>
              </a:spcAft>
              <a:buClrTx/>
              <a:buSzTx/>
              <a:buFontTx/>
              <a:buNone/>
              <a:tabLst/>
              <a:defRPr/>
            </a:pPr>
            <a:r>
              <a:rPr kumimoji="0" lang="en-US" sz="3600" b="0" i="0" u="none" strike="noStrike" kern="1200" cap="none" spc="-100" normalizeH="0" baseline="0" noProof="0">
                <a:ln w="3175">
                  <a:noFill/>
                </a:ln>
                <a:solidFill>
                  <a:prstClr val="black"/>
                </a:solidFill>
                <a:effectLst/>
                <a:uLnTx/>
                <a:uFillTx/>
                <a:latin typeface="Segoe UI Light"/>
                <a:ea typeface="+mn-ea"/>
                <a:cs typeface="Segoe UI" pitchFamily="34" charset="0"/>
              </a:rPr>
              <a:t>Pinning and Navigation</a:t>
            </a:r>
            <a:endParaRPr kumimoji="0" lang="en-IN" sz="3600" b="0" i="0" u="none" strike="noStrike" kern="1200" cap="none" spc="-100" normalizeH="0" baseline="0" noProof="0">
              <a:ln w="3175">
                <a:noFill/>
              </a:ln>
              <a:solidFill>
                <a:prstClr val="black"/>
              </a:solidFill>
              <a:effectLst/>
              <a:uLnTx/>
              <a:uFillTx/>
              <a:latin typeface="Segoe UI Light"/>
              <a:ea typeface="+mn-ea"/>
              <a:cs typeface="Segoe UI" pitchFamily="34" charset="0"/>
            </a:endParaRPr>
          </a:p>
        </p:txBody>
      </p:sp>
      <p:sp>
        <p:nvSpPr>
          <p:cNvPr id="41" name="Rectangle 3"/>
          <p:cNvSpPr/>
          <p:nvPr/>
        </p:nvSpPr>
        <p:spPr bwMode="auto">
          <a:xfrm>
            <a:off x="3202216" y="665151"/>
            <a:ext cx="8105312" cy="44435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PT" sz="2000" b="0" i="1" u="none" strike="noStrike" kern="1200" cap="none" spc="0" normalizeH="0" baseline="0" noProof="0">
                <a:ln>
                  <a:noFill/>
                </a:ln>
                <a:solidFill>
                  <a:prstClr val="black"/>
                </a:solidFill>
                <a:effectLst/>
                <a:uLnTx/>
                <a:uFillTx/>
                <a:latin typeface="Segoe UI Light"/>
                <a:ea typeface="+mn-ea"/>
                <a:cs typeface="+mn-cs"/>
              </a:rPr>
              <a:t>Report</a:t>
            </a:r>
            <a:endParaRPr kumimoji="0" lang="en-US" sz="2000" b="0" i="1" u="none" strike="noStrike" kern="1200" cap="none" spc="0" normalizeH="0" baseline="0" noProof="0">
              <a:ln>
                <a:noFill/>
              </a:ln>
              <a:solidFill>
                <a:prstClr val="black"/>
              </a:solidFill>
              <a:effectLst/>
              <a:uLnTx/>
              <a:uFillTx/>
              <a:latin typeface="Segoe UI Light"/>
              <a:ea typeface="+mn-ea"/>
              <a:cs typeface="+mn-cs"/>
            </a:endParaRPr>
          </a:p>
        </p:txBody>
      </p:sp>
      <p:sp>
        <p:nvSpPr>
          <p:cNvPr id="51" name="Text Placeholder 2"/>
          <p:cNvSpPr txBox="1">
            <a:spLocks/>
          </p:cNvSpPr>
          <p:nvPr/>
        </p:nvSpPr>
        <p:spPr>
          <a:xfrm>
            <a:off x="5200737" y="1697659"/>
            <a:ext cx="6106791" cy="897374"/>
          </a:xfrm>
          <a:prstGeom prst="rect">
            <a:avLst/>
          </a:prstGeom>
        </p:spPr>
        <p:txBody>
          <a:bodyPr vert="horz" wrap="square" lIns="182880" tIns="146304" rIns="182880" bIns="146304" rtlCol="0">
            <a:noAutofit/>
          </a:bodyPr>
          <a:lstStyle>
            <a:lvl1pPr marL="182845" marR="0"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3921" kern="1200" spc="0" baseline="0">
                <a:gradFill>
                  <a:gsLst>
                    <a:gs pos="1250">
                      <a:schemeClr val="tx2"/>
                    </a:gs>
                    <a:gs pos="99000">
                      <a:schemeClr val="tx2"/>
                    </a:gs>
                  </a:gsLst>
                  <a:lin ang="5400000" scaled="0"/>
                </a:gradFill>
                <a:latin typeface="+mj-lt"/>
                <a:ea typeface="+mn-ea"/>
                <a:cs typeface="+mn-cs"/>
              </a:defRPr>
            </a:lvl1pPr>
            <a:lvl2pPr marL="365690" marR="0"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2400" kern="1200" spc="0" baseline="0">
                <a:solidFill>
                  <a:schemeClr val="tx2"/>
                </a:solidFill>
                <a:latin typeface="+mj-lt"/>
                <a:ea typeface="+mn-ea"/>
                <a:cs typeface="+mn-cs"/>
              </a:defRPr>
            </a:lvl2pPr>
            <a:lvl3pPr marL="548535" marR="0"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2000" kern="1200" spc="0" baseline="0">
                <a:solidFill>
                  <a:schemeClr val="tx2"/>
                </a:solidFill>
                <a:latin typeface="+mj-lt"/>
                <a:ea typeface="+mn-ea"/>
                <a:cs typeface="+mn-cs"/>
              </a:defRPr>
            </a:lvl3pPr>
            <a:lvl4pPr marL="733802" marR="0" indent="-28569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1765" kern="1200" spc="0" baseline="0">
                <a:solidFill>
                  <a:schemeClr val="tx2"/>
                </a:solidFill>
                <a:latin typeface="+mn-lt"/>
                <a:ea typeface="+mn-ea"/>
                <a:cs typeface="+mn-cs"/>
              </a:defRPr>
            </a:lvl4pPr>
            <a:lvl5pPr marL="957856" marR="0" indent="-28569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1765" kern="1200" spc="0" baseline="0">
                <a:solidFill>
                  <a:schemeClr val="tx2"/>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r>
              <a:rPr kumimoji="0" lang="en-US" sz="2000" b="0" i="0" u="none" strike="noStrike" kern="1200" cap="none" spc="0" normalizeH="0" baseline="0" noProof="0">
                <a:ln>
                  <a:noFill/>
                </a:ln>
                <a:solidFill>
                  <a:prstClr val="white"/>
                </a:solidFill>
                <a:effectLst/>
                <a:uLnTx/>
                <a:uFillTx/>
                <a:latin typeface="Segoe UI Light"/>
                <a:ea typeface="+mn-ea"/>
                <a:cs typeface="Times New Roman" panose="02020603050405020304" pitchFamily="18" charset="0"/>
              </a:rPr>
              <a:t>A report is composed of </a:t>
            </a:r>
            <a:r>
              <a:rPr kumimoji="0" lang="en-US" sz="2000" b="1" i="0" u="none" strike="noStrike" kern="1200" cap="none" spc="0" normalizeH="0" baseline="0" noProof="0">
                <a:ln>
                  <a:noFill/>
                </a:ln>
                <a:solidFill>
                  <a:prstClr val="white"/>
                </a:solidFill>
                <a:effectLst/>
                <a:uLnTx/>
                <a:uFillTx/>
                <a:latin typeface="Segoe UI Light"/>
                <a:ea typeface="+mn-ea"/>
                <a:cs typeface="Times New Roman" panose="02020603050405020304" pitchFamily="18" charset="0"/>
              </a:rPr>
              <a:t>one or more pages of visualizations</a:t>
            </a: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1" i="0" u="none" strike="noStrike" kern="1200" cap="none" spc="0" normalizeH="0" baseline="0" noProof="0">
              <a:ln>
                <a:noFill/>
              </a:ln>
              <a:solidFill>
                <a:prstClr val="white"/>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r>
              <a:rPr kumimoji="0" lang="en-US" sz="2000" b="0" i="0" u="none" strike="noStrike" kern="1200" cap="none" spc="0" normalizeH="0" baseline="0" noProof="0">
                <a:ln>
                  <a:noFill/>
                </a:ln>
                <a:solidFill>
                  <a:prstClr val="white"/>
                </a:solidFill>
                <a:effectLst/>
                <a:uLnTx/>
                <a:uFillTx/>
                <a:latin typeface="Segoe UI Light"/>
                <a:ea typeface="+mn-ea"/>
                <a:cs typeface="Times New Roman" panose="02020603050405020304" pitchFamily="18" charset="0"/>
              </a:rPr>
              <a:t>Can be </a:t>
            </a:r>
            <a:r>
              <a:rPr kumimoji="0" lang="en-US" sz="2000" b="1" i="0" u="none" strike="noStrike" kern="1200" cap="none" spc="0" normalizeH="0" baseline="0" noProof="0">
                <a:ln>
                  <a:noFill/>
                </a:ln>
                <a:solidFill>
                  <a:prstClr val="white"/>
                </a:solidFill>
                <a:effectLst/>
                <a:uLnTx/>
                <a:uFillTx/>
                <a:latin typeface="Segoe UI Light"/>
                <a:ea typeface="+mn-ea"/>
                <a:cs typeface="Times New Roman" panose="02020603050405020304" pitchFamily="18" charset="0"/>
              </a:rPr>
              <a:t>developed</a:t>
            </a:r>
            <a:r>
              <a:rPr kumimoji="0" lang="en-US" sz="2000" b="0" i="0" u="none" strike="noStrike" kern="1200" cap="none" spc="0" normalizeH="0" baseline="0" noProof="0">
                <a:ln>
                  <a:noFill/>
                </a:ln>
                <a:solidFill>
                  <a:prstClr val="white"/>
                </a:solidFill>
                <a:effectLst/>
                <a:uLnTx/>
                <a:uFillTx/>
                <a:latin typeface="Segoe UI Light"/>
                <a:ea typeface="+mn-ea"/>
                <a:cs typeface="Times New Roman" panose="02020603050405020304" pitchFamily="18" charset="0"/>
              </a:rPr>
              <a:t> in </a:t>
            </a:r>
            <a:r>
              <a:rPr kumimoji="0" lang="en-US" sz="2000" b="1" i="0" u="none" strike="noStrike" kern="1200" cap="none" spc="0" normalizeH="0" baseline="0" noProof="0">
                <a:ln>
                  <a:noFill/>
                </a:ln>
                <a:solidFill>
                  <a:prstClr val="white"/>
                </a:solidFill>
                <a:effectLst/>
                <a:uLnTx/>
                <a:uFillTx/>
                <a:latin typeface="Segoe UI Light"/>
                <a:ea typeface="+mn-ea"/>
                <a:cs typeface="Times New Roman" panose="02020603050405020304" pitchFamily="18" charset="0"/>
              </a:rPr>
              <a:t>Desktop</a:t>
            </a:r>
            <a:r>
              <a:rPr kumimoji="0" lang="en-US" sz="2000" b="0" i="0" u="none" strike="noStrike" kern="1200" cap="none" spc="0" normalizeH="0" baseline="0" noProof="0">
                <a:ln>
                  <a:noFill/>
                </a:ln>
                <a:solidFill>
                  <a:prstClr val="white"/>
                </a:solidFill>
                <a:effectLst/>
                <a:uLnTx/>
                <a:uFillTx/>
                <a:latin typeface="Segoe UI Light"/>
                <a:ea typeface="+mn-ea"/>
                <a:cs typeface="Times New Roman" panose="02020603050405020304" pitchFamily="18" charset="0"/>
              </a:rPr>
              <a:t> (or Excel) or in the </a:t>
            </a:r>
            <a:r>
              <a:rPr kumimoji="0" lang="en-US" sz="2000" b="1" i="0" u="none" strike="noStrike" kern="1200" cap="none" spc="0" normalizeH="0" baseline="0" noProof="0">
                <a:ln>
                  <a:noFill/>
                </a:ln>
                <a:solidFill>
                  <a:prstClr val="white"/>
                </a:solidFill>
                <a:effectLst/>
                <a:uLnTx/>
                <a:uFillTx/>
                <a:latin typeface="Segoe UI Light"/>
                <a:ea typeface="+mn-ea"/>
                <a:cs typeface="Times New Roman" panose="02020603050405020304" pitchFamily="18" charset="0"/>
              </a:rPr>
              <a:t>service</a:t>
            </a: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r>
              <a:rPr kumimoji="0" lang="en-US" sz="2000" b="0" i="0" u="none" strike="noStrike" kern="1200" cap="none" spc="0" normalizeH="0" baseline="0" noProof="0">
                <a:ln>
                  <a:noFill/>
                </a:ln>
                <a:solidFill>
                  <a:prstClr val="white"/>
                </a:solidFill>
                <a:effectLst/>
                <a:uLnTx/>
                <a:uFillTx/>
                <a:latin typeface="Segoe UI Light"/>
                <a:ea typeface="+mn-ea"/>
                <a:cs typeface="Times New Roman" panose="02020603050405020304" pitchFamily="18" charset="0"/>
              </a:rPr>
              <a:t>Gets its </a:t>
            </a:r>
            <a:r>
              <a:rPr kumimoji="0" lang="en-US" sz="2000" b="1" i="0" u="none" strike="noStrike" kern="1200" cap="none" spc="0" normalizeH="0" baseline="0" noProof="0">
                <a:ln>
                  <a:noFill/>
                </a:ln>
                <a:solidFill>
                  <a:prstClr val="white"/>
                </a:solidFill>
                <a:effectLst/>
                <a:uLnTx/>
                <a:uFillTx/>
                <a:latin typeface="Segoe UI Light"/>
                <a:ea typeface="+mn-ea"/>
                <a:cs typeface="Times New Roman" panose="02020603050405020304" pitchFamily="18" charset="0"/>
              </a:rPr>
              <a:t>data from one dataset</a:t>
            </a: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0" i="0" u="none" strike="noStrike" kern="1200" cap="none" spc="0" normalizeH="0" baseline="0" noProof="0">
              <a:ln>
                <a:noFill/>
              </a:ln>
              <a:solidFill>
                <a:prstClr val="white"/>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r>
              <a:rPr kumimoji="0" lang="en-US" sz="2000" b="0" i="0" u="none" strike="noStrike" kern="1200" cap="none" spc="0" normalizeH="0" baseline="0" noProof="0">
                <a:ln>
                  <a:noFill/>
                </a:ln>
                <a:solidFill>
                  <a:prstClr val="white"/>
                </a:solidFill>
                <a:effectLst/>
                <a:uLnTx/>
                <a:uFillTx/>
                <a:latin typeface="Segoe UI Light"/>
                <a:ea typeface="+mn-ea"/>
                <a:cs typeface="Times New Roman" panose="02020603050405020304" pitchFamily="18" charset="0"/>
              </a:rPr>
              <a:t>Can be used for building dashboards as a whole or bit by bit</a:t>
            </a: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0" i="0" u="none" strike="noStrike" kern="1200" cap="none" spc="0" normalizeH="0" baseline="0" noProof="0">
              <a:ln>
                <a:noFill/>
              </a:ln>
              <a:solidFill>
                <a:prstClr val="white"/>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r>
              <a:rPr kumimoji="0" lang="en-US" sz="2000" b="0" i="0" u="none" strike="noStrike" kern="1200" cap="none" spc="0" normalizeH="0" baseline="0" noProof="0">
                <a:ln>
                  <a:noFill/>
                </a:ln>
                <a:solidFill>
                  <a:prstClr val="white"/>
                </a:solidFill>
                <a:effectLst/>
                <a:uLnTx/>
                <a:uFillTx/>
                <a:latin typeface="Segoe UI Light"/>
                <a:ea typeface="+mn-ea"/>
                <a:cs typeface="Times New Roman" panose="02020603050405020304" pitchFamily="18" charset="0"/>
              </a:rPr>
              <a:t>Reports can be consumed in </a:t>
            </a:r>
            <a:r>
              <a:rPr kumimoji="0" lang="en-US" sz="2000" b="1" i="0" u="none" strike="noStrike" kern="1200" cap="none" spc="0" normalizeH="0" baseline="0" noProof="0">
                <a:ln>
                  <a:noFill/>
                </a:ln>
                <a:solidFill>
                  <a:prstClr val="white"/>
                </a:solidFill>
                <a:effectLst/>
                <a:uLnTx/>
                <a:uFillTx/>
                <a:latin typeface="Segoe UI Light"/>
                <a:ea typeface="+mn-ea"/>
                <a:cs typeface="Times New Roman" panose="02020603050405020304" pitchFamily="18" charset="0"/>
              </a:rPr>
              <a:t>Reading View</a:t>
            </a:r>
            <a:r>
              <a:rPr kumimoji="0" lang="en-US" sz="2000" b="0" i="0" u="none" strike="noStrike" kern="1200" cap="none" spc="0" normalizeH="0" baseline="0" noProof="0">
                <a:ln>
                  <a:noFill/>
                </a:ln>
                <a:solidFill>
                  <a:prstClr val="white"/>
                </a:solidFill>
                <a:effectLst/>
                <a:uLnTx/>
                <a:uFillTx/>
                <a:latin typeface="Segoe UI Light"/>
                <a:ea typeface="+mn-ea"/>
                <a:cs typeface="Times New Roman" panose="02020603050405020304" pitchFamily="18" charset="0"/>
              </a:rPr>
              <a:t> or </a:t>
            </a:r>
            <a:r>
              <a:rPr kumimoji="0" lang="en-US" sz="2000" b="1" i="0" u="none" strike="noStrike" kern="1200" cap="none" spc="0" normalizeH="0" baseline="0" noProof="0">
                <a:ln>
                  <a:noFill/>
                </a:ln>
                <a:solidFill>
                  <a:prstClr val="white"/>
                </a:solidFill>
                <a:effectLst/>
                <a:uLnTx/>
                <a:uFillTx/>
                <a:latin typeface="Segoe UI Light"/>
                <a:ea typeface="+mn-ea"/>
                <a:cs typeface="Times New Roman" panose="02020603050405020304" pitchFamily="18" charset="0"/>
              </a:rPr>
              <a:t>Editing View</a:t>
            </a:r>
            <a:endParaRPr kumimoji="0" lang="en-US" sz="2000" b="0" i="0" u="none" strike="noStrike" kern="1200" cap="none" spc="0" normalizeH="0" baseline="0" noProof="0">
              <a:ln>
                <a:noFill/>
              </a:ln>
              <a:solidFill>
                <a:prstClr val="white"/>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0" i="0" u="none" strike="noStrike" kern="1200" cap="none" spc="0" normalizeH="0" baseline="0" noProof="0">
              <a:ln>
                <a:noFill/>
              </a:ln>
              <a:solidFill>
                <a:prstClr val="white"/>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0" i="0" u="none" strike="noStrike" kern="1200" cap="none" spc="0" normalizeH="0" baseline="0" noProof="0">
              <a:ln>
                <a:noFill/>
              </a:ln>
              <a:solidFill>
                <a:prstClr val="white"/>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1" i="0" u="none" strike="noStrike" kern="1200" cap="none" spc="0" normalizeH="0" baseline="0" noProof="0">
              <a:ln>
                <a:noFill/>
              </a:ln>
              <a:solidFill>
                <a:prstClr val="white"/>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1" i="0" u="none" strike="noStrike" kern="1200" cap="none" spc="0" normalizeH="0" baseline="0" noProof="0">
              <a:ln>
                <a:noFill/>
              </a:ln>
              <a:solidFill>
                <a:prstClr val="white"/>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1" i="0" u="none" strike="noStrike" kern="1200" cap="none" spc="0" normalizeH="0" baseline="0" noProof="0">
              <a:ln>
                <a:noFill/>
              </a:ln>
              <a:solidFill>
                <a:prstClr val="white"/>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1" i="0" u="none" strike="noStrike" kern="1200" cap="none" spc="0" normalizeH="0" baseline="0" noProof="0">
              <a:ln>
                <a:noFill/>
              </a:ln>
              <a:solidFill>
                <a:prstClr val="white"/>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1" i="0" u="none" strike="noStrike" kern="1200" cap="none" spc="0" normalizeH="0" baseline="0" noProof="0">
              <a:ln>
                <a:noFill/>
              </a:ln>
              <a:solidFill>
                <a:prstClr val="white"/>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1" i="0" u="none" strike="noStrike" kern="1200" cap="none" spc="0" normalizeH="0" baseline="0" noProof="0">
              <a:ln>
                <a:noFill/>
              </a:ln>
              <a:solidFill>
                <a:prstClr val="white"/>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1" i="0" u="none" strike="noStrike" kern="1200" cap="none" spc="0" normalizeH="0" baseline="0" noProof="0">
              <a:ln>
                <a:noFill/>
              </a:ln>
              <a:solidFill>
                <a:prstClr val="white"/>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1"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p:txBody>
      </p:sp>
      <p:pic>
        <p:nvPicPr>
          <p:cNvPr id="4" name="Picture 3"/>
          <p:cNvPicPr>
            <a:picLocks noChangeAspect="1"/>
          </p:cNvPicPr>
          <p:nvPr/>
        </p:nvPicPr>
        <p:blipFill>
          <a:blip r:embed="rId3"/>
          <a:stretch>
            <a:fillRect/>
          </a:stretch>
        </p:blipFill>
        <p:spPr>
          <a:xfrm>
            <a:off x="3202216" y="1564417"/>
            <a:ext cx="8659912" cy="4543164"/>
          </a:xfrm>
          <a:prstGeom prst="rect">
            <a:avLst/>
          </a:prstGeom>
        </p:spPr>
      </p:pic>
      <p:sp>
        <p:nvSpPr>
          <p:cNvPr id="81" name="Rectangle 80"/>
          <p:cNvSpPr/>
          <p:nvPr/>
        </p:nvSpPr>
        <p:spPr bwMode="auto">
          <a:xfrm>
            <a:off x="4107011" y="1597552"/>
            <a:ext cx="519248" cy="196979"/>
          </a:xfrm>
          <a:prstGeom prst="rect">
            <a:avLst/>
          </a:prstGeom>
          <a:noFill/>
          <a:ln w="38100">
            <a:solidFill>
              <a:srgbClr val="FF00F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42" name="Group 41"/>
          <p:cNvGrpSpPr/>
          <p:nvPr/>
        </p:nvGrpSpPr>
        <p:grpSpPr>
          <a:xfrm>
            <a:off x="-2887" y="973"/>
            <a:ext cx="2849058" cy="6857027"/>
            <a:chOff x="2" y="487"/>
            <a:chExt cx="2849058" cy="6857027"/>
          </a:xfrm>
        </p:grpSpPr>
        <p:sp>
          <p:nvSpPr>
            <p:cNvPr id="43" name="Rectangle 15"/>
            <p:cNvSpPr/>
            <p:nvPr/>
          </p:nvSpPr>
          <p:spPr bwMode="auto">
            <a:xfrm>
              <a:off x="2" y="487"/>
              <a:ext cx="2849058" cy="685702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0" name="Rectangle 145"/>
            <p:cNvSpPr/>
            <p:nvPr/>
          </p:nvSpPr>
          <p:spPr bwMode="auto">
            <a:xfrm>
              <a:off x="696152" y="956997"/>
              <a:ext cx="1821468" cy="3831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2C812"/>
                  </a:solidFill>
                  <a:effectLst/>
                  <a:uLnTx/>
                  <a:uFillTx/>
                  <a:latin typeface="Segoe UI"/>
                  <a:ea typeface="+mn-ea"/>
                  <a:cs typeface="Segoe UI Light" panose="020B0502040204020203" pitchFamily="34" charset="0"/>
                </a:rPr>
                <a:t>Get Data</a:t>
              </a:r>
              <a:endParaRPr kumimoji="0" lang="en-US" sz="1200" b="1" i="1" u="none" strike="noStrike" kern="1200" cap="none" spc="0" normalizeH="0" baseline="0" noProof="0">
                <a:ln>
                  <a:noFill/>
                </a:ln>
                <a:solidFill>
                  <a:srgbClr val="F2C812"/>
                </a:solidFill>
                <a:effectLst/>
                <a:uLnTx/>
                <a:uFillTx/>
                <a:latin typeface="Segoe UI"/>
                <a:ea typeface="+mn-ea"/>
                <a:cs typeface="Segoe UI Light" panose="020B0502040204020203" pitchFamily="34" charset="0"/>
              </a:endParaRPr>
            </a:p>
          </p:txBody>
        </p:sp>
        <p:grpSp>
          <p:nvGrpSpPr>
            <p:cNvPr id="82" name="Group 81"/>
            <p:cNvGrpSpPr/>
            <p:nvPr/>
          </p:nvGrpSpPr>
          <p:grpSpPr>
            <a:xfrm>
              <a:off x="219373" y="934583"/>
              <a:ext cx="433844" cy="433844"/>
              <a:chOff x="440005" y="997815"/>
              <a:chExt cx="296322" cy="296322"/>
            </a:xfrm>
          </p:grpSpPr>
          <p:sp>
            <p:nvSpPr>
              <p:cNvPr id="101" name="Oval 147"/>
              <p:cNvSpPr/>
              <p:nvPr/>
            </p:nvSpPr>
            <p:spPr bwMode="auto">
              <a:xfrm>
                <a:off x="440005" y="997815"/>
                <a:ext cx="296322" cy="296322"/>
              </a:xfrm>
              <a:prstGeom prst="ellipse">
                <a:avLst/>
              </a:prstGeom>
              <a:solidFill>
                <a:srgbClr val="FFCC00"/>
              </a:solidFill>
              <a:ln>
                <a:solidFill>
                  <a:srgbClr val="F2C81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02" name="Group 332"/>
              <p:cNvGrpSpPr/>
              <p:nvPr/>
            </p:nvGrpSpPr>
            <p:grpSpPr>
              <a:xfrm>
                <a:off x="482167" y="1059311"/>
                <a:ext cx="211997" cy="173292"/>
                <a:chOff x="2123129" y="293070"/>
                <a:chExt cx="2472585" cy="2021178"/>
              </a:xfrm>
            </p:grpSpPr>
            <p:sp>
              <p:nvSpPr>
                <p:cNvPr id="103" name="Freeform 13"/>
                <p:cNvSpPr>
                  <a:spLocks/>
                </p:cNvSpPr>
                <p:nvPr/>
              </p:nvSpPr>
              <p:spPr bwMode="auto">
                <a:xfrm rot="20700000">
                  <a:off x="3155853" y="872796"/>
                  <a:ext cx="1439861" cy="1441452"/>
                </a:xfrm>
                <a:custGeom>
                  <a:avLst/>
                  <a:gdLst>
                    <a:gd name="T0" fmla="*/ 138 w 441"/>
                    <a:gd name="T1" fmla="*/ 341 h 441"/>
                    <a:gd name="T2" fmla="*/ 183 w 441"/>
                    <a:gd name="T3" fmla="*/ 374 h 441"/>
                    <a:gd name="T4" fmla="*/ 220 w 441"/>
                    <a:gd name="T5" fmla="*/ 423 h 441"/>
                    <a:gd name="T6" fmla="*/ 422 w 441"/>
                    <a:gd name="T7" fmla="*/ 220 h 441"/>
                    <a:gd name="T8" fmla="*/ 373 w 441"/>
                    <a:gd name="T9" fmla="*/ 184 h 441"/>
                    <a:gd name="T10" fmla="*/ 341 w 441"/>
                    <a:gd name="T11" fmla="*/ 139 h 441"/>
                    <a:gd name="T12" fmla="*/ 382 w 441"/>
                    <a:gd name="T13" fmla="*/ 58 h 441"/>
                    <a:gd name="T14" fmla="*/ 302 w 441"/>
                    <a:gd name="T15" fmla="*/ 100 h 441"/>
                    <a:gd name="T16" fmla="*/ 257 w 441"/>
                    <a:gd name="T17" fmla="*/ 67 h 441"/>
                    <a:gd name="T18" fmla="*/ 220 w 441"/>
                    <a:gd name="T19" fmla="*/ 18 h 441"/>
                    <a:gd name="T20" fmla="*/ 171 w 441"/>
                    <a:gd name="T21" fmla="*/ 55 h 441"/>
                    <a:gd name="T22" fmla="*/ 138 w 441"/>
                    <a:gd name="T23" fmla="*/ 100 h 441"/>
                    <a:gd name="T24" fmla="*/ 180 w 441"/>
                    <a:gd name="T25" fmla="*/ 181 h 441"/>
                    <a:gd name="T26" fmla="*/ 100 w 441"/>
                    <a:gd name="T27" fmla="*/ 139 h 441"/>
                    <a:gd name="T28" fmla="*/ 55 w 441"/>
                    <a:gd name="T29" fmla="*/ 171 h 441"/>
                    <a:gd name="T30" fmla="*/ 18 w 441"/>
                    <a:gd name="T31" fmla="*/ 220 h 441"/>
                    <a:gd name="T32" fmla="*/ 67 w 441"/>
                    <a:gd name="T33" fmla="*/ 257 h 441"/>
                    <a:gd name="T34" fmla="*/ 100 w 441"/>
                    <a:gd name="T35" fmla="*/ 302 h 441"/>
                    <a:gd name="T36" fmla="*/ 58 w 441"/>
                    <a:gd name="T37" fmla="*/ 383 h 441"/>
                    <a:gd name="T38" fmla="*/ 138 w 441"/>
                    <a:gd name="T39" fmla="*/ 341 h 4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41" h="441">
                      <a:moveTo>
                        <a:pt x="138" y="341"/>
                      </a:moveTo>
                      <a:cubicBezTo>
                        <a:pt x="147" y="337"/>
                        <a:pt x="171" y="361"/>
                        <a:pt x="183" y="374"/>
                      </a:cubicBezTo>
                      <a:cubicBezTo>
                        <a:pt x="196" y="386"/>
                        <a:pt x="220" y="423"/>
                        <a:pt x="220" y="423"/>
                      </a:cubicBezTo>
                      <a:cubicBezTo>
                        <a:pt x="422" y="220"/>
                        <a:pt x="422" y="220"/>
                        <a:pt x="422" y="220"/>
                      </a:cubicBezTo>
                      <a:cubicBezTo>
                        <a:pt x="422" y="220"/>
                        <a:pt x="386" y="196"/>
                        <a:pt x="373" y="184"/>
                      </a:cubicBezTo>
                      <a:cubicBezTo>
                        <a:pt x="361" y="171"/>
                        <a:pt x="338" y="149"/>
                        <a:pt x="341" y="139"/>
                      </a:cubicBezTo>
                      <a:cubicBezTo>
                        <a:pt x="343" y="129"/>
                        <a:pt x="441" y="116"/>
                        <a:pt x="382" y="58"/>
                      </a:cubicBezTo>
                      <a:cubicBezTo>
                        <a:pt x="324" y="0"/>
                        <a:pt x="310" y="96"/>
                        <a:pt x="302" y="100"/>
                      </a:cubicBezTo>
                      <a:cubicBezTo>
                        <a:pt x="294" y="104"/>
                        <a:pt x="269" y="80"/>
                        <a:pt x="257" y="67"/>
                      </a:cubicBezTo>
                      <a:cubicBezTo>
                        <a:pt x="245" y="55"/>
                        <a:pt x="220" y="18"/>
                        <a:pt x="220" y="18"/>
                      </a:cubicBezTo>
                      <a:cubicBezTo>
                        <a:pt x="220" y="18"/>
                        <a:pt x="183" y="43"/>
                        <a:pt x="171" y="55"/>
                      </a:cubicBezTo>
                      <a:cubicBezTo>
                        <a:pt x="159" y="67"/>
                        <a:pt x="134" y="92"/>
                        <a:pt x="138" y="100"/>
                      </a:cubicBezTo>
                      <a:cubicBezTo>
                        <a:pt x="142" y="108"/>
                        <a:pt x="238" y="122"/>
                        <a:pt x="180" y="181"/>
                      </a:cubicBezTo>
                      <a:cubicBezTo>
                        <a:pt x="122" y="239"/>
                        <a:pt x="110" y="141"/>
                        <a:pt x="100" y="139"/>
                      </a:cubicBezTo>
                      <a:cubicBezTo>
                        <a:pt x="89" y="137"/>
                        <a:pt x="67" y="159"/>
                        <a:pt x="55" y="171"/>
                      </a:cubicBezTo>
                      <a:cubicBezTo>
                        <a:pt x="42" y="184"/>
                        <a:pt x="18" y="220"/>
                        <a:pt x="18" y="220"/>
                      </a:cubicBezTo>
                      <a:cubicBezTo>
                        <a:pt x="18" y="220"/>
                        <a:pt x="55" y="245"/>
                        <a:pt x="67" y="257"/>
                      </a:cubicBezTo>
                      <a:cubicBezTo>
                        <a:pt x="79" y="269"/>
                        <a:pt x="102" y="292"/>
                        <a:pt x="100" y="302"/>
                      </a:cubicBezTo>
                      <a:cubicBezTo>
                        <a:pt x="98" y="312"/>
                        <a:pt x="0" y="325"/>
                        <a:pt x="58" y="383"/>
                      </a:cubicBezTo>
                      <a:cubicBezTo>
                        <a:pt x="116" y="441"/>
                        <a:pt x="130" y="345"/>
                        <a:pt x="138" y="341"/>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104" name="Freeform 14"/>
                <p:cNvSpPr>
                  <a:spLocks/>
                </p:cNvSpPr>
                <p:nvPr/>
              </p:nvSpPr>
              <p:spPr bwMode="auto">
                <a:xfrm rot="9900000">
                  <a:off x="2123129" y="293070"/>
                  <a:ext cx="1377948" cy="1377947"/>
                </a:xfrm>
                <a:custGeom>
                  <a:avLst/>
                  <a:gdLst>
                    <a:gd name="T0" fmla="*/ 422 w 422"/>
                    <a:gd name="T1" fmla="*/ 220 h 422"/>
                    <a:gd name="T2" fmla="*/ 386 w 422"/>
                    <a:gd name="T3" fmla="*/ 171 h 422"/>
                    <a:gd name="T4" fmla="*/ 341 w 422"/>
                    <a:gd name="T5" fmla="*/ 138 h 422"/>
                    <a:gd name="T6" fmla="*/ 260 w 422"/>
                    <a:gd name="T7" fmla="*/ 180 h 422"/>
                    <a:gd name="T8" fmla="*/ 302 w 422"/>
                    <a:gd name="T9" fmla="*/ 100 h 422"/>
                    <a:gd name="T10" fmla="*/ 269 w 422"/>
                    <a:gd name="T11" fmla="*/ 55 h 422"/>
                    <a:gd name="T12" fmla="*/ 220 w 422"/>
                    <a:gd name="T13" fmla="*/ 18 h 422"/>
                    <a:gd name="T14" fmla="*/ 183 w 422"/>
                    <a:gd name="T15" fmla="*/ 67 h 422"/>
                    <a:gd name="T16" fmla="*/ 138 w 422"/>
                    <a:gd name="T17" fmla="*/ 100 h 422"/>
                    <a:gd name="T18" fmla="*/ 58 w 422"/>
                    <a:gd name="T19" fmla="*/ 58 h 422"/>
                    <a:gd name="T20" fmla="*/ 100 w 422"/>
                    <a:gd name="T21" fmla="*/ 138 h 422"/>
                    <a:gd name="T22" fmla="*/ 67 w 422"/>
                    <a:gd name="T23" fmla="*/ 183 h 422"/>
                    <a:gd name="T24" fmla="*/ 18 w 422"/>
                    <a:gd name="T25" fmla="*/ 220 h 422"/>
                    <a:gd name="T26" fmla="*/ 55 w 422"/>
                    <a:gd name="T27" fmla="*/ 269 h 422"/>
                    <a:gd name="T28" fmla="*/ 100 w 422"/>
                    <a:gd name="T29" fmla="*/ 302 h 422"/>
                    <a:gd name="T30" fmla="*/ 180 w 422"/>
                    <a:gd name="T31" fmla="*/ 260 h 422"/>
                    <a:gd name="T32" fmla="*/ 138 w 422"/>
                    <a:gd name="T33" fmla="*/ 341 h 422"/>
                    <a:gd name="T34" fmla="*/ 171 w 422"/>
                    <a:gd name="T35" fmla="*/ 386 h 422"/>
                    <a:gd name="T36" fmla="*/ 220 w 422"/>
                    <a:gd name="T37" fmla="*/ 422 h 422"/>
                    <a:gd name="T38" fmla="*/ 422 w 422"/>
                    <a:gd name="T39" fmla="*/ 220 h 4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22" h="422">
                      <a:moveTo>
                        <a:pt x="422" y="220"/>
                      </a:moveTo>
                      <a:cubicBezTo>
                        <a:pt x="422" y="220"/>
                        <a:pt x="398" y="183"/>
                        <a:pt x="386" y="171"/>
                      </a:cubicBezTo>
                      <a:cubicBezTo>
                        <a:pt x="373" y="159"/>
                        <a:pt x="349" y="134"/>
                        <a:pt x="341" y="138"/>
                      </a:cubicBezTo>
                      <a:cubicBezTo>
                        <a:pt x="332" y="142"/>
                        <a:pt x="318" y="239"/>
                        <a:pt x="260" y="180"/>
                      </a:cubicBezTo>
                      <a:cubicBezTo>
                        <a:pt x="202" y="122"/>
                        <a:pt x="300" y="110"/>
                        <a:pt x="302" y="100"/>
                      </a:cubicBezTo>
                      <a:cubicBezTo>
                        <a:pt x="304" y="90"/>
                        <a:pt x="281" y="67"/>
                        <a:pt x="269" y="55"/>
                      </a:cubicBezTo>
                      <a:cubicBezTo>
                        <a:pt x="257" y="42"/>
                        <a:pt x="220" y="18"/>
                        <a:pt x="220" y="18"/>
                      </a:cubicBezTo>
                      <a:cubicBezTo>
                        <a:pt x="220" y="18"/>
                        <a:pt x="196" y="55"/>
                        <a:pt x="183" y="67"/>
                      </a:cubicBezTo>
                      <a:cubicBezTo>
                        <a:pt x="171" y="79"/>
                        <a:pt x="149" y="102"/>
                        <a:pt x="138" y="100"/>
                      </a:cubicBezTo>
                      <a:cubicBezTo>
                        <a:pt x="128" y="98"/>
                        <a:pt x="116" y="0"/>
                        <a:pt x="58" y="58"/>
                      </a:cubicBezTo>
                      <a:cubicBezTo>
                        <a:pt x="0" y="116"/>
                        <a:pt x="96" y="130"/>
                        <a:pt x="100" y="138"/>
                      </a:cubicBezTo>
                      <a:cubicBezTo>
                        <a:pt x="104" y="147"/>
                        <a:pt x="79" y="171"/>
                        <a:pt x="67" y="183"/>
                      </a:cubicBezTo>
                      <a:cubicBezTo>
                        <a:pt x="55" y="196"/>
                        <a:pt x="18" y="220"/>
                        <a:pt x="18" y="220"/>
                      </a:cubicBezTo>
                      <a:cubicBezTo>
                        <a:pt x="18" y="220"/>
                        <a:pt x="42" y="257"/>
                        <a:pt x="55" y="269"/>
                      </a:cubicBezTo>
                      <a:cubicBezTo>
                        <a:pt x="67" y="281"/>
                        <a:pt x="91" y="306"/>
                        <a:pt x="100" y="302"/>
                      </a:cubicBezTo>
                      <a:cubicBezTo>
                        <a:pt x="108" y="298"/>
                        <a:pt x="122" y="202"/>
                        <a:pt x="180" y="260"/>
                      </a:cubicBezTo>
                      <a:cubicBezTo>
                        <a:pt x="238" y="318"/>
                        <a:pt x="140" y="330"/>
                        <a:pt x="138" y="341"/>
                      </a:cubicBezTo>
                      <a:cubicBezTo>
                        <a:pt x="136" y="351"/>
                        <a:pt x="159" y="373"/>
                        <a:pt x="171" y="386"/>
                      </a:cubicBezTo>
                      <a:cubicBezTo>
                        <a:pt x="183" y="398"/>
                        <a:pt x="220" y="422"/>
                        <a:pt x="220" y="422"/>
                      </a:cubicBezTo>
                      <a:lnTo>
                        <a:pt x="422" y="22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grpSp>
        </p:grpSp>
        <p:sp>
          <p:nvSpPr>
            <p:cNvPr id="83" name="Rectangle 152"/>
            <p:cNvSpPr/>
            <p:nvPr/>
          </p:nvSpPr>
          <p:spPr bwMode="auto">
            <a:xfrm>
              <a:off x="669652" y="2738277"/>
              <a:ext cx="1805162" cy="37532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2C812"/>
                  </a:solidFill>
                  <a:effectLst/>
                  <a:uLnTx/>
                  <a:uFillTx/>
                  <a:latin typeface="Segoe UI"/>
                  <a:ea typeface="+mn-ea"/>
                  <a:cs typeface="Segoe UI Light" panose="020B0502040204020203" pitchFamily="34" charset="0"/>
                </a:rPr>
                <a:t>Keeping Data Current</a:t>
              </a:r>
            </a:p>
          </p:txBody>
        </p:sp>
        <p:grpSp>
          <p:nvGrpSpPr>
            <p:cNvPr id="84" name="Group 83"/>
            <p:cNvGrpSpPr/>
            <p:nvPr/>
          </p:nvGrpSpPr>
          <p:grpSpPr>
            <a:xfrm>
              <a:off x="199649" y="2692629"/>
              <a:ext cx="433844" cy="433844"/>
              <a:chOff x="342620" y="2228265"/>
              <a:chExt cx="433844" cy="433844"/>
            </a:xfrm>
            <a:solidFill>
              <a:schemeClr val="bg1"/>
            </a:solidFill>
          </p:grpSpPr>
          <p:sp>
            <p:nvSpPr>
              <p:cNvPr id="99" name="Oval 154"/>
              <p:cNvSpPr/>
              <p:nvPr/>
            </p:nvSpPr>
            <p:spPr bwMode="auto">
              <a:xfrm>
                <a:off x="342620" y="2228265"/>
                <a:ext cx="433844" cy="433844"/>
              </a:xfrm>
              <a:prstGeom prst="ellipse">
                <a:avLst/>
              </a:prstGeom>
              <a:solidFill>
                <a:srgbClr val="FFC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0" name="Freeform 30"/>
              <p:cNvSpPr>
                <a:spLocks noEditPoints="1"/>
              </p:cNvSpPr>
              <p:nvPr/>
            </p:nvSpPr>
            <p:spPr bwMode="auto">
              <a:xfrm>
                <a:off x="444786" y="2340040"/>
                <a:ext cx="238402" cy="210293"/>
              </a:xfrm>
              <a:custGeom>
                <a:avLst/>
                <a:gdLst>
                  <a:gd name="T0" fmla="*/ 883 w 916"/>
                  <a:gd name="T1" fmla="*/ 286 h 808"/>
                  <a:gd name="T2" fmla="*/ 539 w 916"/>
                  <a:gd name="T3" fmla="*/ 723 h 808"/>
                  <a:gd name="T4" fmla="*/ 504 w 916"/>
                  <a:gd name="T5" fmla="*/ 0 h 808"/>
                  <a:gd name="T6" fmla="*/ 35 w 916"/>
                  <a:gd name="T7" fmla="*/ 723 h 808"/>
                  <a:gd name="T8" fmla="*/ 0 w 916"/>
                  <a:gd name="T9" fmla="*/ 808 h 808"/>
                  <a:gd name="T10" fmla="*/ 916 w 916"/>
                  <a:gd name="T11" fmla="*/ 723 h 808"/>
                  <a:gd name="T12" fmla="*/ 229 w 916"/>
                  <a:gd name="T13" fmla="*/ 665 h 808"/>
                  <a:gd name="T14" fmla="*/ 109 w 916"/>
                  <a:gd name="T15" fmla="*/ 596 h 808"/>
                  <a:gd name="T16" fmla="*/ 229 w 916"/>
                  <a:gd name="T17" fmla="*/ 665 h 808"/>
                  <a:gd name="T18" fmla="*/ 109 w 916"/>
                  <a:gd name="T19" fmla="*/ 501 h 808"/>
                  <a:gd name="T20" fmla="*/ 229 w 916"/>
                  <a:gd name="T21" fmla="*/ 432 h 808"/>
                  <a:gd name="T22" fmla="*/ 229 w 916"/>
                  <a:gd name="T23" fmla="*/ 337 h 808"/>
                  <a:gd name="T24" fmla="*/ 109 w 916"/>
                  <a:gd name="T25" fmla="*/ 267 h 808"/>
                  <a:gd name="T26" fmla="*/ 229 w 916"/>
                  <a:gd name="T27" fmla="*/ 337 h 808"/>
                  <a:gd name="T28" fmla="*/ 109 w 916"/>
                  <a:gd name="T29" fmla="*/ 172 h 808"/>
                  <a:gd name="T30" fmla="*/ 229 w 916"/>
                  <a:gd name="T31" fmla="*/ 103 h 808"/>
                  <a:gd name="T32" fmla="*/ 428 w 916"/>
                  <a:gd name="T33" fmla="*/ 665 h 808"/>
                  <a:gd name="T34" fmla="*/ 307 w 916"/>
                  <a:gd name="T35" fmla="*/ 596 h 808"/>
                  <a:gd name="T36" fmla="*/ 428 w 916"/>
                  <a:gd name="T37" fmla="*/ 665 h 808"/>
                  <a:gd name="T38" fmla="*/ 307 w 916"/>
                  <a:gd name="T39" fmla="*/ 501 h 808"/>
                  <a:gd name="T40" fmla="*/ 428 w 916"/>
                  <a:gd name="T41" fmla="*/ 432 h 808"/>
                  <a:gd name="T42" fmla="*/ 428 w 916"/>
                  <a:gd name="T43" fmla="*/ 337 h 808"/>
                  <a:gd name="T44" fmla="*/ 307 w 916"/>
                  <a:gd name="T45" fmla="*/ 267 h 808"/>
                  <a:gd name="T46" fmla="*/ 428 w 916"/>
                  <a:gd name="T47" fmla="*/ 337 h 808"/>
                  <a:gd name="T48" fmla="*/ 307 w 916"/>
                  <a:gd name="T49" fmla="*/ 172 h 808"/>
                  <a:gd name="T50" fmla="*/ 428 w 916"/>
                  <a:gd name="T51" fmla="*/ 103 h 808"/>
                  <a:gd name="T52" fmla="*/ 684 w 916"/>
                  <a:gd name="T53" fmla="*/ 668 h 808"/>
                  <a:gd name="T54" fmla="*/ 606 w 916"/>
                  <a:gd name="T55" fmla="*/ 549 h 808"/>
                  <a:gd name="T56" fmla="*/ 684 w 916"/>
                  <a:gd name="T57" fmla="*/ 668 h 808"/>
                  <a:gd name="T58" fmla="*/ 606 w 916"/>
                  <a:gd name="T59" fmla="*/ 482 h 808"/>
                  <a:gd name="T60" fmla="*/ 684 w 916"/>
                  <a:gd name="T61" fmla="*/ 365 h 808"/>
                  <a:gd name="T62" fmla="*/ 816 w 916"/>
                  <a:gd name="T63" fmla="*/ 668 h 808"/>
                  <a:gd name="T64" fmla="*/ 738 w 916"/>
                  <a:gd name="T65" fmla="*/ 549 h 808"/>
                  <a:gd name="T66" fmla="*/ 816 w 916"/>
                  <a:gd name="T67" fmla="*/ 668 h 808"/>
                  <a:gd name="T68" fmla="*/ 738 w 916"/>
                  <a:gd name="T69" fmla="*/ 482 h 808"/>
                  <a:gd name="T70" fmla="*/ 816 w 916"/>
                  <a:gd name="T71" fmla="*/ 365 h 8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16" h="808">
                    <a:moveTo>
                      <a:pt x="883" y="723"/>
                    </a:moveTo>
                    <a:lnTo>
                      <a:pt x="883" y="286"/>
                    </a:lnTo>
                    <a:lnTo>
                      <a:pt x="539" y="286"/>
                    </a:lnTo>
                    <a:lnTo>
                      <a:pt x="539" y="723"/>
                    </a:lnTo>
                    <a:lnTo>
                      <a:pt x="504" y="723"/>
                    </a:lnTo>
                    <a:lnTo>
                      <a:pt x="504" y="0"/>
                    </a:lnTo>
                    <a:lnTo>
                      <a:pt x="35" y="0"/>
                    </a:lnTo>
                    <a:lnTo>
                      <a:pt x="35" y="723"/>
                    </a:lnTo>
                    <a:lnTo>
                      <a:pt x="0" y="723"/>
                    </a:lnTo>
                    <a:lnTo>
                      <a:pt x="0" y="808"/>
                    </a:lnTo>
                    <a:lnTo>
                      <a:pt x="916" y="808"/>
                    </a:lnTo>
                    <a:lnTo>
                      <a:pt x="916" y="723"/>
                    </a:lnTo>
                    <a:lnTo>
                      <a:pt x="883" y="723"/>
                    </a:lnTo>
                    <a:close/>
                    <a:moveTo>
                      <a:pt x="229" y="665"/>
                    </a:moveTo>
                    <a:lnTo>
                      <a:pt x="109" y="665"/>
                    </a:lnTo>
                    <a:lnTo>
                      <a:pt x="109" y="596"/>
                    </a:lnTo>
                    <a:lnTo>
                      <a:pt x="229" y="596"/>
                    </a:lnTo>
                    <a:lnTo>
                      <a:pt x="229" y="665"/>
                    </a:lnTo>
                    <a:close/>
                    <a:moveTo>
                      <a:pt x="229" y="501"/>
                    </a:moveTo>
                    <a:lnTo>
                      <a:pt x="109" y="501"/>
                    </a:lnTo>
                    <a:lnTo>
                      <a:pt x="109" y="432"/>
                    </a:lnTo>
                    <a:lnTo>
                      <a:pt x="229" y="432"/>
                    </a:lnTo>
                    <a:lnTo>
                      <a:pt x="229" y="501"/>
                    </a:lnTo>
                    <a:close/>
                    <a:moveTo>
                      <a:pt x="229" y="337"/>
                    </a:moveTo>
                    <a:lnTo>
                      <a:pt x="109" y="337"/>
                    </a:lnTo>
                    <a:lnTo>
                      <a:pt x="109" y="267"/>
                    </a:lnTo>
                    <a:lnTo>
                      <a:pt x="229" y="267"/>
                    </a:lnTo>
                    <a:lnTo>
                      <a:pt x="229" y="337"/>
                    </a:lnTo>
                    <a:close/>
                    <a:moveTo>
                      <a:pt x="229" y="172"/>
                    </a:moveTo>
                    <a:lnTo>
                      <a:pt x="109" y="172"/>
                    </a:lnTo>
                    <a:lnTo>
                      <a:pt x="109" y="103"/>
                    </a:lnTo>
                    <a:lnTo>
                      <a:pt x="229" y="103"/>
                    </a:lnTo>
                    <a:lnTo>
                      <a:pt x="229" y="172"/>
                    </a:lnTo>
                    <a:close/>
                    <a:moveTo>
                      <a:pt x="428" y="665"/>
                    </a:moveTo>
                    <a:lnTo>
                      <a:pt x="307" y="665"/>
                    </a:lnTo>
                    <a:lnTo>
                      <a:pt x="307" y="596"/>
                    </a:lnTo>
                    <a:lnTo>
                      <a:pt x="428" y="596"/>
                    </a:lnTo>
                    <a:lnTo>
                      <a:pt x="428" y="665"/>
                    </a:lnTo>
                    <a:close/>
                    <a:moveTo>
                      <a:pt x="428" y="501"/>
                    </a:moveTo>
                    <a:lnTo>
                      <a:pt x="307" y="501"/>
                    </a:lnTo>
                    <a:lnTo>
                      <a:pt x="307" y="432"/>
                    </a:lnTo>
                    <a:lnTo>
                      <a:pt x="428" y="432"/>
                    </a:lnTo>
                    <a:lnTo>
                      <a:pt x="428" y="501"/>
                    </a:lnTo>
                    <a:close/>
                    <a:moveTo>
                      <a:pt x="428" y="337"/>
                    </a:moveTo>
                    <a:lnTo>
                      <a:pt x="307" y="337"/>
                    </a:lnTo>
                    <a:lnTo>
                      <a:pt x="307" y="267"/>
                    </a:lnTo>
                    <a:lnTo>
                      <a:pt x="428" y="267"/>
                    </a:lnTo>
                    <a:lnTo>
                      <a:pt x="428" y="337"/>
                    </a:lnTo>
                    <a:close/>
                    <a:moveTo>
                      <a:pt x="428" y="172"/>
                    </a:moveTo>
                    <a:lnTo>
                      <a:pt x="307" y="172"/>
                    </a:lnTo>
                    <a:lnTo>
                      <a:pt x="307" y="103"/>
                    </a:lnTo>
                    <a:lnTo>
                      <a:pt x="428" y="103"/>
                    </a:lnTo>
                    <a:lnTo>
                      <a:pt x="428" y="172"/>
                    </a:lnTo>
                    <a:close/>
                    <a:moveTo>
                      <a:pt x="684" y="668"/>
                    </a:moveTo>
                    <a:lnTo>
                      <a:pt x="606" y="668"/>
                    </a:lnTo>
                    <a:lnTo>
                      <a:pt x="606" y="549"/>
                    </a:lnTo>
                    <a:lnTo>
                      <a:pt x="684" y="549"/>
                    </a:lnTo>
                    <a:lnTo>
                      <a:pt x="684" y="668"/>
                    </a:lnTo>
                    <a:close/>
                    <a:moveTo>
                      <a:pt x="684" y="482"/>
                    </a:moveTo>
                    <a:lnTo>
                      <a:pt x="606" y="482"/>
                    </a:lnTo>
                    <a:lnTo>
                      <a:pt x="606" y="365"/>
                    </a:lnTo>
                    <a:lnTo>
                      <a:pt x="684" y="365"/>
                    </a:lnTo>
                    <a:lnTo>
                      <a:pt x="684" y="482"/>
                    </a:lnTo>
                    <a:close/>
                    <a:moveTo>
                      <a:pt x="816" y="668"/>
                    </a:moveTo>
                    <a:lnTo>
                      <a:pt x="738" y="668"/>
                    </a:lnTo>
                    <a:lnTo>
                      <a:pt x="738" y="549"/>
                    </a:lnTo>
                    <a:lnTo>
                      <a:pt x="816" y="549"/>
                    </a:lnTo>
                    <a:lnTo>
                      <a:pt x="816" y="668"/>
                    </a:lnTo>
                    <a:close/>
                    <a:moveTo>
                      <a:pt x="816" y="482"/>
                    </a:moveTo>
                    <a:lnTo>
                      <a:pt x="738" y="482"/>
                    </a:lnTo>
                    <a:lnTo>
                      <a:pt x="738" y="365"/>
                    </a:lnTo>
                    <a:lnTo>
                      <a:pt x="816" y="365"/>
                    </a:lnTo>
                    <a:lnTo>
                      <a:pt x="816" y="482"/>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grpSp>
        <p:sp>
          <p:nvSpPr>
            <p:cNvPr id="85" name="TextBox 84"/>
            <p:cNvSpPr txBox="1"/>
            <p:nvPr/>
          </p:nvSpPr>
          <p:spPr>
            <a:xfrm>
              <a:off x="83345" y="113808"/>
              <a:ext cx="2532630" cy="627864"/>
            </a:xfrm>
            <a:prstGeom prst="rect">
              <a:avLst/>
            </a:prstGeom>
            <a:noFill/>
          </p:spPr>
          <p:txBody>
            <a:bodyPr wrap="square" lIns="182880" tIns="146304" rIns="182880" bIns="146304" rtlCol="0">
              <a:spAutoFit/>
            </a:bodyPr>
            <a:lstStyle>
              <a:defPPr>
                <a:defRPr lang="en-US"/>
              </a:defPPr>
              <a:lvl1pPr>
                <a:lnSpc>
                  <a:spcPct val="90000"/>
                </a:lnSpc>
                <a:spcAft>
                  <a:spcPts val="600"/>
                </a:spcAft>
                <a:defRPr sz="2800" b="1">
                  <a:solidFill>
                    <a:srgbClr val="F2C812"/>
                  </a:solidFill>
                  <a:latin typeface="Segoe UI Light"/>
                </a:defRPr>
              </a:lvl1p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400" b="1" i="0" u="none" strike="noStrike" kern="1200" cap="none" spc="0" normalizeH="0" baseline="0" noProof="0">
                  <a:ln>
                    <a:noFill/>
                  </a:ln>
                  <a:solidFill>
                    <a:srgbClr val="F2C812"/>
                  </a:solidFill>
                  <a:effectLst/>
                  <a:uLnTx/>
                  <a:uFillTx/>
                  <a:latin typeface="Segoe UI Light"/>
                  <a:ea typeface="+mn-ea"/>
                  <a:cs typeface="+mn-cs"/>
                </a:rPr>
                <a:t>Power BI Service</a:t>
              </a:r>
              <a:endParaRPr kumimoji="0" lang="en-US" sz="2800" b="1" i="0" u="none" strike="noStrike" kern="1200" cap="none" spc="0" normalizeH="0" baseline="0" noProof="0">
                <a:ln>
                  <a:noFill/>
                </a:ln>
                <a:solidFill>
                  <a:srgbClr val="F2C812"/>
                </a:solidFill>
                <a:effectLst/>
                <a:uLnTx/>
                <a:uFillTx/>
                <a:latin typeface="Segoe UI Light"/>
                <a:ea typeface="+mn-ea"/>
                <a:cs typeface="+mn-cs"/>
              </a:endParaRPr>
            </a:p>
          </p:txBody>
        </p:sp>
        <p:grpSp>
          <p:nvGrpSpPr>
            <p:cNvPr id="86" name="Group 85"/>
            <p:cNvGrpSpPr/>
            <p:nvPr/>
          </p:nvGrpSpPr>
          <p:grpSpPr>
            <a:xfrm>
              <a:off x="219373" y="3621383"/>
              <a:ext cx="433844" cy="645668"/>
              <a:chOff x="280990" y="3358164"/>
              <a:chExt cx="433844" cy="645668"/>
            </a:xfrm>
          </p:grpSpPr>
          <p:sp>
            <p:nvSpPr>
              <p:cNvPr id="92" name="Oval 1083"/>
              <p:cNvSpPr/>
              <p:nvPr/>
            </p:nvSpPr>
            <p:spPr bwMode="auto">
              <a:xfrm>
                <a:off x="280990" y="3358164"/>
                <a:ext cx="433844" cy="433847"/>
              </a:xfrm>
              <a:prstGeom prst="ellipse">
                <a:avLst/>
              </a:prstGeom>
              <a:solidFill>
                <a:srgbClr val="F2C812"/>
              </a:solidFill>
              <a:ln>
                <a:solidFill>
                  <a:srgbClr val="FFCC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93" name="Group 379"/>
              <p:cNvGrpSpPr/>
              <p:nvPr/>
            </p:nvGrpSpPr>
            <p:grpSpPr>
              <a:xfrm>
                <a:off x="453702" y="3910852"/>
                <a:ext cx="175660" cy="92980"/>
                <a:chOff x="3895793" y="7466656"/>
                <a:chExt cx="785810" cy="415941"/>
              </a:xfrm>
              <a:solidFill>
                <a:srgbClr val="00BCF2"/>
              </a:solidFill>
            </p:grpSpPr>
            <p:sp>
              <p:nvSpPr>
                <p:cNvPr id="94" name="Freeform 132"/>
                <p:cNvSpPr>
                  <a:spLocks/>
                </p:cNvSpPr>
                <p:nvPr/>
              </p:nvSpPr>
              <p:spPr bwMode="auto">
                <a:xfrm>
                  <a:off x="4125979" y="7688918"/>
                  <a:ext cx="0" cy="6353"/>
                </a:xfrm>
                <a:custGeom>
                  <a:avLst/>
                  <a:gdLst>
                    <a:gd name="T0" fmla="*/ 1 w 1"/>
                    <a:gd name="T1" fmla="*/ 0 h 8"/>
                    <a:gd name="T2" fmla="*/ 0 w 1"/>
                    <a:gd name="T3" fmla="*/ 0 h 8"/>
                    <a:gd name="T4" fmla="*/ 1 w 1"/>
                    <a:gd name="T5" fmla="*/ 8 h 8"/>
                    <a:gd name="T6" fmla="*/ 1 w 1"/>
                    <a:gd name="T7" fmla="*/ 0 h 8"/>
                  </a:gdLst>
                  <a:ahLst/>
                  <a:cxnLst>
                    <a:cxn ang="0">
                      <a:pos x="T0" y="T1"/>
                    </a:cxn>
                    <a:cxn ang="0">
                      <a:pos x="T2" y="T3"/>
                    </a:cxn>
                    <a:cxn ang="0">
                      <a:pos x="T4" y="T5"/>
                    </a:cxn>
                    <a:cxn ang="0">
                      <a:pos x="T6" y="T7"/>
                    </a:cxn>
                  </a:cxnLst>
                  <a:rect l="0" t="0" r="r" b="b"/>
                  <a:pathLst>
                    <a:path w="1" h="8">
                      <a:moveTo>
                        <a:pt x="1" y="0"/>
                      </a:moveTo>
                      <a:cubicBezTo>
                        <a:pt x="0" y="0"/>
                        <a:pt x="0" y="0"/>
                        <a:pt x="0" y="0"/>
                      </a:cubicBezTo>
                      <a:cubicBezTo>
                        <a:pt x="0" y="3"/>
                        <a:pt x="1" y="5"/>
                        <a:pt x="1" y="8"/>
                      </a:cubicBezTo>
                      <a:lnTo>
                        <a:pt x="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95" name="Freeform 133"/>
                <p:cNvSpPr>
                  <a:spLocks/>
                </p:cNvSpPr>
                <p:nvPr/>
              </p:nvSpPr>
              <p:spPr bwMode="auto">
                <a:xfrm>
                  <a:off x="3895793" y="7812745"/>
                  <a:ext cx="219078" cy="69852"/>
                </a:xfrm>
                <a:custGeom>
                  <a:avLst/>
                  <a:gdLst>
                    <a:gd name="T0" fmla="*/ 186 w 238"/>
                    <a:gd name="T1" fmla="*/ 9 h 76"/>
                    <a:gd name="T2" fmla="*/ 131 w 238"/>
                    <a:gd name="T3" fmla="*/ 22 h 76"/>
                    <a:gd name="T4" fmla="*/ 60 w 238"/>
                    <a:gd name="T5" fmla="*/ 0 h 76"/>
                    <a:gd name="T6" fmla="*/ 0 w 238"/>
                    <a:gd name="T7" fmla="*/ 42 h 76"/>
                    <a:gd name="T8" fmla="*/ 0 w 238"/>
                    <a:gd name="T9" fmla="*/ 76 h 76"/>
                    <a:gd name="T10" fmla="*/ 238 w 238"/>
                    <a:gd name="T11" fmla="*/ 76 h 76"/>
                    <a:gd name="T12" fmla="*/ 236 w 238"/>
                    <a:gd name="T13" fmla="*/ 53 h 76"/>
                    <a:gd name="T14" fmla="*/ 236 w 238"/>
                    <a:gd name="T15" fmla="*/ 49 h 76"/>
                    <a:gd name="T16" fmla="*/ 186 w 238"/>
                    <a:gd name="T17" fmla="*/ 9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8" h="76">
                      <a:moveTo>
                        <a:pt x="186" y="9"/>
                      </a:moveTo>
                      <a:cubicBezTo>
                        <a:pt x="169" y="18"/>
                        <a:pt x="150" y="22"/>
                        <a:pt x="131" y="22"/>
                      </a:cubicBezTo>
                      <a:cubicBezTo>
                        <a:pt x="105" y="22"/>
                        <a:pt x="80" y="14"/>
                        <a:pt x="60" y="0"/>
                      </a:cubicBezTo>
                      <a:cubicBezTo>
                        <a:pt x="0" y="42"/>
                        <a:pt x="0" y="42"/>
                        <a:pt x="0" y="42"/>
                      </a:cubicBezTo>
                      <a:cubicBezTo>
                        <a:pt x="0" y="76"/>
                        <a:pt x="0" y="76"/>
                        <a:pt x="0" y="76"/>
                      </a:cubicBezTo>
                      <a:cubicBezTo>
                        <a:pt x="238" y="76"/>
                        <a:pt x="238" y="76"/>
                        <a:pt x="238" y="76"/>
                      </a:cubicBezTo>
                      <a:cubicBezTo>
                        <a:pt x="237" y="68"/>
                        <a:pt x="236" y="61"/>
                        <a:pt x="236" y="53"/>
                      </a:cubicBezTo>
                      <a:cubicBezTo>
                        <a:pt x="236" y="51"/>
                        <a:pt x="236" y="50"/>
                        <a:pt x="236" y="49"/>
                      </a:cubicBezTo>
                      <a:lnTo>
                        <a:pt x="186" y="9"/>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96" name="Freeform 137"/>
                <p:cNvSpPr>
                  <a:spLocks/>
                </p:cNvSpPr>
                <p:nvPr/>
              </p:nvSpPr>
              <p:spPr bwMode="auto">
                <a:xfrm>
                  <a:off x="4338704" y="7809561"/>
                  <a:ext cx="65090" cy="73028"/>
                </a:xfrm>
                <a:custGeom>
                  <a:avLst/>
                  <a:gdLst>
                    <a:gd name="T0" fmla="*/ 71 w 71"/>
                    <a:gd name="T1" fmla="*/ 79 h 79"/>
                    <a:gd name="T2" fmla="*/ 71 w 71"/>
                    <a:gd name="T3" fmla="*/ 0 h 79"/>
                    <a:gd name="T4" fmla="*/ 2 w 71"/>
                    <a:gd name="T5" fmla="*/ 53 h 79"/>
                    <a:gd name="T6" fmla="*/ 2 w 71"/>
                    <a:gd name="T7" fmla="*/ 56 h 79"/>
                    <a:gd name="T8" fmla="*/ 0 w 71"/>
                    <a:gd name="T9" fmla="*/ 79 h 79"/>
                    <a:gd name="T10" fmla="*/ 71 w 71"/>
                    <a:gd name="T11" fmla="*/ 79 h 79"/>
                  </a:gdLst>
                  <a:ahLst/>
                  <a:cxnLst>
                    <a:cxn ang="0">
                      <a:pos x="T0" y="T1"/>
                    </a:cxn>
                    <a:cxn ang="0">
                      <a:pos x="T2" y="T3"/>
                    </a:cxn>
                    <a:cxn ang="0">
                      <a:pos x="T4" y="T5"/>
                    </a:cxn>
                    <a:cxn ang="0">
                      <a:pos x="T6" y="T7"/>
                    </a:cxn>
                    <a:cxn ang="0">
                      <a:pos x="T8" y="T9"/>
                    </a:cxn>
                    <a:cxn ang="0">
                      <a:pos x="T10" y="T11"/>
                    </a:cxn>
                  </a:cxnLst>
                  <a:rect l="0" t="0" r="r" b="b"/>
                  <a:pathLst>
                    <a:path w="71" h="79">
                      <a:moveTo>
                        <a:pt x="71" y="79"/>
                      </a:moveTo>
                      <a:cubicBezTo>
                        <a:pt x="71" y="0"/>
                        <a:pt x="71" y="0"/>
                        <a:pt x="71" y="0"/>
                      </a:cubicBezTo>
                      <a:cubicBezTo>
                        <a:pt x="2" y="53"/>
                        <a:pt x="2" y="53"/>
                        <a:pt x="2" y="53"/>
                      </a:cubicBezTo>
                      <a:cubicBezTo>
                        <a:pt x="2" y="54"/>
                        <a:pt x="2" y="55"/>
                        <a:pt x="2" y="56"/>
                      </a:cubicBezTo>
                      <a:cubicBezTo>
                        <a:pt x="2" y="64"/>
                        <a:pt x="1" y="71"/>
                        <a:pt x="0" y="79"/>
                      </a:cubicBezTo>
                      <a:lnTo>
                        <a:pt x="71" y="79"/>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97" name="Freeform 140"/>
                <p:cNvSpPr>
                  <a:spLocks/>
                </p:cNvSpPr>
                <p:nvPr/>
              </p:nvSpPr>
              <p:spPr bwMode="auto">
                <a:xfrm>
                  <a:off x="4600643" y="7622229"/>
                  <a:ext cx="80960" cy="38099"/>
                </a:xfrm>
                <a:custGeom>
                  <a:avLst/>
                  <a:gdLst>
                    <a:gd name="T0" fmla="*/ 0 w 51"/>
                    <a:gd name="T1" fmla="*/ 24 h 24"/>
                    <a:gd name="T2" fmla="*/ 51 w 51"/>
                    <a:gd name="T3" fmla="*/ 24 h 24"/>
                    <a:gd name="T4" fmla="*/ 32 w 51"/>
                    <a:gd name="T5" fmla="*/ 0 h 24"/>
                    <a:gd name="T6" fmla="*/ 0 w 51"/>
                    <a:gd name="T7" fmla="*/ 24 h 24"/>
                  </a:gdLst>
                  <a:ahLst/>
                  <a:cxnLst>
                    <a:cxn ang="0">
                      <a:pos x="T0" y="T1"/>
                    </a:cxn>
                    <a:cxn ang="0">
                      <a:pos x="T2" y="T3"/>
                    </a:cxn>
                    <a:cxn ang="0">
                      <a:pos x="T4" y="T5"/>
                    </a:cxn>
                    <a:cxn ang="0">
                      <a:pos x="T6" y="T7"/>
                    </a:cxn>
                  </a:cxnLst>
                  <a:rect l="0" t="0" r="r" b="b"/>
                  <a:pathLst>
                    <a:path w="51" h="24">
                      <a:moveTo>
                        <a:pt x="0" y="24"/>
                      </a:moveTo>
                      <a:lnTo>
                        <a:pt x="51" y="24"/>
                      </a:lnTo>
                      <a:lnTo>
                        <a:pt x="32" y="0"/>
                      </a:lnTo>
                      <a:lnTo>
                        <a:pt x="0" y="24"/>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98" name="Freeform 141"/>
                <p:cNvSpPr>
                  <a:spLocks/>
                </p:cNvSpPr>
                <p:nvPr/>
              </p:nvSpPr>
              <p:spPr bwMode="auto">
                <a:xfrm>
                  <a:off x="4449825" y="7466656"/>
                  <a:ext cx="119065" cy="139703"/>
                </a:xfrm>
                <a:custGeom>
                  <a:avLst/>
                  <a:gdLst>
                    <a:gd name="T0" fmla="*/ 52 w 75"/>
                    <a:gd name="T1" fmla="*/ 0 h 88"/>
                    <a:gd name="T2" fmla="*/ 0 w 75"/>
                    <a:gd name="T3" fmla="*/ 0 h 88"/>
                    <a:gd name="T4" fmla="*/ 0 w 75"/>
                    <a:gd name="T5" fmla="*/ 88 h 88"/>
                    <a:gd name="T6" fmla="*/ 75 w 75"/>
                    <a:gd name="T7" fmla="*/ 30 h 88"/>
                    <a:gd name="T8" fmla="*/ 52 w 75"/>
                    <a:gd name="T9" fmla="*/ 0 h 88"/>
                  </a:gdLst>
                  <a:ahLst/>
                  <a:cxnLst>
                    <a:cxn ang="0">
                      <a:pos x="T0" y="T1"/>
                    </a:cxn>
                    <a:cxn ang="0">
                      <a:pos x="T2" y="T3"/>
                    </a:cxn>
                    <a:cxn ang="0">
                      <a:pos x="T4" y="T5"/>
                    </a:cxn>
                    <a:cxn ang="0">
                      <a:pos x="T6" y="T7"/>
                    </a:cxn>
                    <a:cxn ang="0">
                      <a:pos x="T8" y="T9"/>
                    </a:cxn>
                  </a:cxnLst>
                  <a:rect l="0" t="0" r="r" b="b"/>
                  <a:pathLst>
                    <a:path w="75" h="88">
                      <a:moveTo>
                        <a:pt x="52" y="0"/>
                      </a:moveTo>
                      <a:lnTo>
                        <a:pt x="0" y="0"/>
                      </a:lnTo>
                      <a:lnTo>
                        <a:pt x="0" y="88"/>
                      </a:lnTo>
                      <a:lnTo>
                        <a:pt x="75" y="30"/>
                      </a:lnTo>
                      <a:lnTo>
                        <a:pt x="52"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grpSp>
        </p:grpSp>
        <p:sp>
          <p:nvSpPr>
            <p:cNvPr id="87" name="Rectangle 152"/>
            <p:cNvSpPr/>
            <p:nvPr/>
          </p:nvSpPr>
          <p:spPr bwMode="auto">
            <a:xfrm>
              <a:off x="712458" y="3628917"/>
              <a:ext cx="1805162" cy="37532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2C812"/>
                  </a:solidFill>
                  <a:effectLst/>
                  <a:uLnTx/>
                  <a:uFillTx/>
                  <a:latin typeface="Segoe UI"/>
                  <a:ea typeface="+mn-ea"/>
                  <a:cs typeface="Segoe UI Light" panose="020B0502040204020203" pitchFamily="34" charset="0"/>
                </a:rPr>
                <a:t>Q&amp;A and </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2C812"/>
                  </a:solidFill>
                  <a:effectLst/>
                  <a:uLnTx/>
                  <a:uFillTx/>
                  <a:latin typeface="Segoe UI"/>
                  <a:ea typeface="+mn-ea"/>
                  <a:cs typeface="Segoe UI Light" panose="020B0502040204020203" pitchFamily="34" charset="0"/>
                </a:rPr>
                <a:t>Quick Insights</a:t>
              </a:r>
              <a:endParaRPr kumimoji="0" lang="en-US" sz="1200" b="1" i="0" u="none" strike="noStrike" kern="1200" cap="none" spc="0" normalizeH="0" baseline="0" noProof="0">
                <a:ln>
                  <a:noFill/>
                </a:ln>
                <a:solidFill>
                  <a:srgbClr val="F2C812"/>
                </a:solidFill>
                <a:effectLst/>
                <a:uLnTx/>
                <a:uFillTx/>
                <a:latin typeface="Segoe UI"/>
                <a:ea typeface="+mn-ea"/>
                <a:cs typeface="Segoe UI Light" panose="020B0502040204020203" pitchFamily="34" charset="0"/>
              </a:endParaRPr>
            </a:p>
          </p:txBody>
        </p:sp>
        <p:sp>
          <p:nvSpPr>
            <p:cNvPr id="88" name="Oval 162"/>
            <p:cNvSpPr/>
            <p:nvPr/>
          </p:nvSpPr>
          <p:spPr bwMode="auto">
            <a:xfrm>
              <a:off x="226619" y="4551712"/>
              <a:ext cx="433844" cy="433844"/>
            </a:xfrm>
            <a:prstGeom prst="ellipse">
              <a:avLst/>
            </a:prstGeom>
            <a:solidFill>
              <a:srgbClr val="F2C812"/>
            </a:solidFill>
            <a:ln>
              <a:solidFill>
                <a:srgbClr val="FFCC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9" name="Rectangle 152"/>
            <p:cNvSpPr/>
            <p:nvPr/>
          </p:nvSpPr>
          <p:spPr bwMode="auto">
            <a:xfrm>
              <a:off x="738443" y="4596194"/>
              <a:ext cx="1884825" cy="30233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2C812"/>
                  </a:solidFill>
                  <a:effectLst/>
                  <a:uLnTx/>
                  <a:uFillTx/>
                  <a:latin typeface="Segoe UI"/>
                  <a:ea typeface="+mn-ea"/>
                  <a:cs typeface="Segoe UI Light" panose="020B0502040204020203" pitchFamily="34" charset="0"/>
                </a:rPr>
                <a:t>Sharing</a:t>
              </a:r>
              <a:endParaRPr kumimoji="0" lang="en-US" sz="1200" b="1" i="1" u="none" strike="noStrike" kern="1200" cap="none" spc="0" normalizeH="0" baseline="0" noProof="0">
                <a:ln>
                  <a:noFill/>
                </a:ln>
                <a:solidFill>
                  <a:srgbClr val="F2C812"/>
                </a:solidFill>
                <a:effectLst/>
                <a:uLnTx/>
                <a:uFillTx/>
                <a:latin typeface="Segoe UI"/>
                <a:ea typeface="+mn-ea"/>
                <a:cs typeface="Segoe UI Light" panose="020B0502040204020203" pitchFamily="34" charset="0"/>
              </a:endParaRPr>
            </a:p>
          </p:txBody>
        </p:sp>
        <p:sp>
          <p:nvSpPr>
            <p:cNvPr id="90" name="Rectangle 145"/>
            <p:cNvSpPr/>
            <p:nvPr/>
          </p:nvSpPr>
          <p:spPr bwMode="auto">
            <a:xfrm>
              <a:off x="697198" y="1847637"/>
              <a:ext cx="1821468" cy="3831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2C812"/>
                  </a:solidFill>
                  <a:effectLst/>
                  <a:uLnTx/>
                  <a:uFillTx/>
                  <a:latin typeface="Segoe UI"/>
                  <a:ea typeface="+mn-ea"/>
                  <a:cs typeface="Segoe UI Light" panose="020B0502040204020203" pitchFamily="34" charset="0"/>
                </a:rPr>
                <a:t>Pinning and Navigation</a:t>
              </a:r>
            </a:p>
          </p:txBody>
        </p:sp>
        <p:sp>
          <p:nvSpPr>
            <p:cNvPr id="91" name="Oval 162"/>
            <p:cNvSpPr/>
            <p:nvPr/>
          </p:nvSpPr>
          <p:spPr bwMode="auto">
            <a:xfrm>
              <a:off x="224136" y="1813606"/>
              <a:ext cx="433844" cy="433844"/>
            </a:xfrm>
            <a:prstGeom prst="ellipse">
              <a:avLst/>
            </a:prstGeom>
            <a:solidFill>
              <a:srgbClr val="FFCC00"/>
            </a:solidFill>
            <a:ln>
              <a:solidFill>
                <a:srgbClr val="F2C81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pic>
        <p:nvPicPr>
          <p:cNvPr id="105" name="Picture 104"/>
          <p:cNvPicPr>
            <a:picLocks noChangeAspect="1"/>
          </p:cNvPicPr>
          <p:nvPr/>
        </p:nvPicPr>
        <p:blipFill rotWithShape="1">
          <a:blip r:embed="rId4"/>
          <a:srcRect l="6503" t="21287" r="74698" b="20220"/>
          <a:stretch/>
        </p:blipFill>
        <p:spPr>
          <a:xfrm>
            <a:off x="339111" y="1946110"/>
            <a:ext cx="228600" cy="231962"/>
          </a:xfrm>
          <a:prstGeom prst="rect">
            <a:avLst/>
          </a:prstGeom>
        </p:spPr>
      </p:pic>
      <p:pic>
        <p:nvPicPr>
          <p:cNvPr id="106" name="Picture 105"/>
          <p:cNvPicPr>
            <a:picLocks noChangeAspect="1"/>
          </p:cNvPicPr>
          <p:nvPr/>
        </p:nvPicPr>
        <p:blipFill>
          <a:blip r:embed="rId5"/>
          <a:stretch>
            <a:fillRect/>
          </a:stretch>
        </p:blipFill>
        <p:spPr>
          <a:xfrm>
            <a:off x="284769" y="3673076"/>
            <a:ext cx="311766" cy="303106"/>
          </a:xfrm>
          <a:prstGeom prst="rect">
            <a:avLst/>
          </a:prstGeom>
        </p:spPr>
      </p:pic>
      <p:sp>
        <p:nvSpPr>
          <p:cNvPr id="107" name="Rectangle 145"/>
          <p:cNvSpPr/>
          <p:nvPr/>
        </p:nvSpPr>
        <p:spPr bwMode="auto">
          <a:xfrm>
            <a:off x="718897" y="5436715"/>
            <a:ext cx="1821468" cy="3831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2C812"/>
                </a:solidFill>
                <a:effectLst/>
                <a:uLnTx/>
                <a:uFillTx/>
                <a:latin typeface="Segoe UI"/>
                <a:ea typeface="+mn-ea"/>
                <a:cs typeface="Segoe UI Light" panose="020B0502040204020203" pitchFamily="34" charset="0"/>
              </a:rPr>
              <a:t>Connect from Excel</a:t>
            </a:r>
          </a:p>
        </p:txBody>
      </p:sp>
      <p:sp>
        <p:nvSpPr>
          <p:cNvPr id="108" name="Oval 162"/>
          <p:cNvSpPr/>
          <p:nvPr/>
        </p:nvSpPr>
        <p:spPr bwMode="auto">
          <a:xfrm>
            <a:off x="231441" y="5429649"/>
            <a:ext cx="433844" cy="433844"/>
          </a:xfrm>
          <a:prstGeom prst="ellipse">
            <a:avLst/>
          </a:prstGeom>
          <a:solidFill>
            <a:srgbClr val="FFCC00"/>
          </a:solidFill>
          <a:ln>
            <a:solidFill>
              <a:srgbClr val="F2C81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09" name="Picture 108"/>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flipH="1">
            <a:off x="283763" y="4596680"/>
            <a:ext cx="357484" cy="357484"/>
          </a:xfrm>
          <a:prstGeom prst="rect">
            <a:avLst/>
          </a:prstGeom>
        </p:spPr>
      </p:pic>
      <p:sp>
        <p:nvSpPr>
          <p:cNvPr id="110" name="Oval 162"/>
          <p:cNvSpPr/>
          <p:nvPr/>
        </p:nvSpPr>
        <p:spPr bwMode="auto">
          <a:xfrm>
            <a:off x="233032" y="6267344"/>
            <a:ext cx="433844" cy="433844"/>
          </a:xfrm>
          <a:prstGeom prst="ellipse">
            <a:avLst/>
          </a:prstGeom>
          <a:solidFill>
            <a:srgbClr val="FFCC00"/>
          </a:solidFill>
          <a:ln>
            <a:solidFill>
              <a:srgbClr val="F2C81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1" name="Rectangle 145"/>
          <p:cNvSpPr/>
          <p:nvPr/>
        </p:nvSpPr>
        <p:spPr bwMode="auto">
          <a:xfrm>
            <a:off x="701416" y="6289969"/>
            <a:ext cx="1821468" cy="3831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2C812"/>
                </a:solidFill>
                <a:effectLst/>
                <a:uLnTx/>
                <a:uFillTx/>
                <a:latin typeface="Segoe UI"/>
                <a:ea typeface="+mn-ea"/>
                <a:cs typeface="Segoe UI Light" panose="020B0502040204020203" pitchFamily="34" charset="0"/>
              </a:rPr>
              <a:t>Mobile Reports</a:t>
            </a:r>
          </a:p>
        </p:txBody>
      </p:sp>
      <p:pic>
        <p:nvPicPr>
          <p:cNvPr id="112" name="Picture 111"/>
          <p:cNvPicPr>
            <a:picLocks noChangeAspect="1"/>
          </p:cNvPicPr>
          <p:nvPr/>
        </p:nvPicPr>
        <p:blipFill>
          <a:blip r:embed="rId7" cstate="print">
            <a:extLst>
              <a:ext uri="{BEBA8EAE-BF5A-486C-A8C5-ECC9F3942E4B}">
                <a14:imgProps xmlns:a14="http://schemas.microsoft.com/office/drawing/2010/main">
                  <a14:imgLayer r:embed="rId8">
                    <a14:imgEffect>
                      <a14:saturation sat="0"/>
                    </a14:imgEffect>
                  </a14:imgLayer>
                </a14:imgProps>
              </a:ext>
              <a:ext uri="{28A0092B-C50C-407E-A947-70E740481C1C}">
                <a14:useLocalDpi xmlns:a14="http://schemas.microsoft.com/office/drawing/2010/main" val="0"/>
              </a:ext>
            </a:extLst>
          </a:blip>
          <a:stretch>
            <a:fillRect/>
          </a:stretch>
        </p:blipFill>
        <p:spPr>
          <a:xfrm>
            <a:off x="391946" y="6350039"/>
            <a:ext cx="133350" cy="251587"/>
          </a:xfrm>
          <a:prstGeom prst="rect">
            <a:avLst/>
          </a:prstGeom>
        </p:spPr>
      </p:pic>
      <p:pic>
        <p:nvPicPr>
          <p:cNvPr id="113" name="Picture 112"/>
          <p:cNvPicPr>
            <a:picLocks noChangeAspect="1"/>
          </p:cNvPicPr>
          <p:nvPr/>
        </p:nvPicPr>
        <p:blipFill>
          <a:blip r:embed="rId9" cstate="print">
            <a:biLevel thresh="50000"/>
            <a:extLst>
              <a:ext uri="{28A0092B-C50C-407E-A947-70E740481C1C}">
                <a14:useLocalDpi xmlns:a14="http://schemas.microsoft.com/office/drawing/2010/main" val="0"/>
              </a:ext>
            </a:extLst>
          </a:blip>
          <a:stretch>
            <a:fillRect/>
          </a:stretch>
        </p:blipFill>
        <p:spPr>
          <a:xfrm>
            <a:off x="332658" y="5538489"/>
            <a:ext cx="268940" cy="268940"/>
          </a:xfrm>
          <a:prstGeom prst="rect">
            <a:avLst/>
          </a:prstGeom>
        </p:spPr>
      </p:pic>
      <p:sp>
        <p:nvSpPr>
          <p:cNvPr id="114" name="Rectangle 113"/>
          <p:cNvSpPr/>
          <p:nvPr/>
        </p:nvSpPr>
        <p:spPr bwMode="auto">
          <a:xfrm>
            <a:off x="35912" y="2594112"/>
            <a:ext cx="2464420" cy="4194313"/>
          </a:xfrm>
          <a:prstGeom prst="rect">
            <a:avLst/>
          </a:prstGeom>
          <a:solidFill>
            <a:srgbClr val="000000">
              <a:alpha val="6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5" name="Rectangle 114"/>
          <p:cNvSpPr/>
          <p:nvPr/>
        </p:nvSpPr>
        <p:spPr bwMode="auto">
          <a:xfrm>
            <a:off x="95936" y="731576"/>
            <a:ext cx="2464420" cy="880187"/>
          </a:xfrm>
          <a:prstGeom prst="rect">
            <a:avLst/>
          </a:prstGeom>
          <a:solidFill>
            <a:srgbClr val="000000">
              <a:alpha val="6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32730472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8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1" grpId="0" animBg="1"/>
    </p:bldLst>
  </p:timing>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 name="Title 10"/>
          <p:cNvSpPr txBox="1">
            <a:spLocks/>
          </p:cNvSpPr>
          <p:nvPr/>
        </p:nvSpPr>
        <p:spPr>
          <a:xfrm>
            <a:off x="2849060" y="0"/>
            <a:ext cx="9342940" cy="665151"/>
          </a:xfrm>
          <a:prstGeom prst="rect">
            <a:avLst/>
          </a:prstGeom>
          <a:noFill/>
        </p:spPr>
        <p:txBody>
          <a:bodyPr vert="horz" wrap="square" lIns="0" tIns="91440" rIns="0" bIns="91440" rtlCol="0" anchor="t">
            <a:noAutofit/>
          </a:bodyPr>
          <a:lstStyle>
            <a:lvl1pPr defTabSz="914367">
              <a:lnSpc>
                <a:spcPct val="90000"/>
              </a:lnSpc>
              <a:spcBef>
                <a:spcPct val="0"/>
              </a:spcBef>
              <a:buNone/>
              <a:defRPr lang="en-US" sz="5294" b="0" cap="none" spc="-100" baseline="0" dirty="0" smtClean="0">
                <a:ln w="3175">
                  <a:noFill/>
                </a:ln>
                <a:solidFill>
                  <a:schemeClr val="tx2"/>
                </a:solidFill>
                <a:effectLst/>
                <a:latin typeface="+mj-lt"/>
                <a:cs typeface="Segoe UI" pitchFamily="34" charset="0"/>
              </a:defRPr>
            </a:lvl1pPr>
          </a:lstStyle>
          <a:p>
            <a:pPr marL="168275" marR="0" lvl="0" indent="0" algn="l" defTabSz="914367" rtl="0" eaLnBrk="1" fontAlgn="auto" latinLnBrk="0" hangingPunct="1">
              <a:lnSpc>
                <a:spcPct val="90000"/>
              </a:lnSpc>
              <a:spcBef>
                <a:spcPct val="0"/>
              </a:spcBef>
              <a:spcAft>
                <a:spcPts val="0"/>
              </a:spcAft>
              <a:buClrTx/>
              <a:buSzTx/>
              <a:buFontTx/>
              <a:buNone/>
              <a:tabLst/>
              <a:defRPr/>
            </a:pPr>
            <a:r>
              <a:rPr kumimoji="0" lang="en-US" sz="3600" b="0" i="0" u="none" strike="noStrike" kern="1200" cap="none" spc="-100" normalizeH="0" baseline="0" noProof="0">
                <a:ln w="3175">
                  <a:noFill/>
                </a:ln>
                <a:solidFill>
                  <a:prstClr val="black"/>
                </a:solidFill>
                <a:effectLst/>
                <a:uLnTx/>
                <a:uFillTx/>
                <a:latin typeface="Segoe UI Light"/>
                <a:ea typeface="+mn-ea"/>
                <a:cs typeface="Segoe UI" pitchFamily="34" charset="0"/>
              </a:rPr>
              <a:t>Pinning and Navigation</a:t>
            </a:r>
            <a:endParaRPr kumimoji="0" lang="en-IN" sz="3600" b="0" i="0" u="none" strike="noStrike" kern="1200" cap="none" spc="-100" normalizeH="0" baseline="0" noProof="0">
              <a:ln w="3175">
                <a:noFill/>
              </a:ln>
              <a:solidFill>
                <a:prstClr val="black"/>
              </a:solidFill>
              <a:effectLst/>
              <a:uLnTx/>
              <a:uFillTx/>
              <a:latin typeface="Segoe UI Light"/>
              <a:ea typeface="+mn-ea"/>
              <a:cs typeface="Segoe UI" pitchFamily="34" charset="0"/>
            </a:endParaRPr>
          </a:p>
        </p:txBody>
      </p:sp>
      <p:sp>
        <p:nvSpPr>
          <p:cNvPr id="41" name="Rectangle 3"/>
          <p:cNvSpPr/>
          <p:nvPr/>
        </p:nvSpPr>
        <p:spPr bwMode="auto">
          <a:xfrm>
            <a:off x="3202216" y="665151"/>
            <a:ext cx="8105312" cy="44435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PT" sz="2000" b="0" i="1" u="none" strike="noStrike" kern="1200" cap="none" spc="0" normalizeH="0" baseline="0" noProof="0">
                <a:ln>
                  <a:noFill/>
                </a:ln>
                <a:solidFill>
                  <a:prstClr val="black"/>
                </a:solidFill>
                <a:effectLst/>
                <a:uLnTx/>
                <a:uFillTx/>
                <a:latin typeface="Segoe UI Light"/>
                <a:ea typeface="+mn-ea"/>
                <a:cs typeface="+mn-cs"/>
              </a:rPr>
              <a:t>Report – Editing View</a:t>
            </a:r>
            <a:endParaRPr kumimoji="0" lang="en-US" sz="2000" b="0" i="1" u="none" strike="noStrike" kern="1200" cap="none" spc="0" normalizeH="0" baseline="0" noProof="0">
              <a:ln>
                <a:noFill/>
              </a:ln>
              <a:solidFill>
                <a:prstClr val="black"/>
              </a:solidFill>
              <a:effectLst/>
              <a:uLnTx/>
              <a:uFillTx/>
              <a:latin typeface="Segoe UI Light"/>
              <a:ea typeface="+mn-ea"/>
              <a:cs typeface="+mn-cs"/>
            </a:endParaRPr>
          </a:p>
        </p:txBody>
      </p:sp>
      <p:sp>
        <p:nvSpPr>
          <p:cNvPr id="51" name="Text Placeholder 2"/>
          <p:cNvSpPr txBox="1">
            <a:spLocks/>
          </p:cNvSpPr>
          <p:nvPr/>
        </p:nvSpPr>
        <p:spPr>
          <a:xfrm>
            <a:off x="5200737" y="1697659"/>
            <a:ext cx="6106791" cy="897374"/>
          </a:xfrm>
          <a:prstGeom prst="rect">
            <a:avLst/>
          </a:prstGeom>
        </p:spPr>
        <p:txBody>
          <a:bodyPr vert="horz" wrap="square" lIns="182880" tIns="146304" rIns="182880" bIns="146304" rtlCol="0">
            <a:noAutofit/>
          </a:bodyPr>
          <a:lstStyle>
            <a:lvl1pPr marL="182845" marR="0"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3921" kern="1200" spc="0" baseline="0">
                <a:gradFill>
                  <a:gsLst>
                    <a:gs pos="1250">
                      <a:schemeClr val="tx2"/>
                    </a:gs>
                    <a:gs pos="99000">
                      <a:schemeClr val="tx2"/>
                    </a:gs>
                  </a:gsLst>
                  <a:lin ang="5400000" scaled="0"/>
                </a:gradFill>
                <a:latin typeface="+mj-lt"/>
                <a:ea typeface="+mn-ea"/>
                <a:cs typeface="+mn-cs"/>
              </a:defRPr>
            </a:lvl1pPr>
            <a:lvl2pPr marL="365690" marR="0"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2400" kern="1200" spc="0" baseline="0">
                <a:solidFill>
                  <a:schemeClr val="tx2"/>
                </a:solidFill>
                <a:latin typeface="+mj-lt"/>
                <a:ea typeface="+mn-ea"/>
                <a:cs typeface="+mn-cs"/>
              </a:defRPr>
            </a:lvl2pPr>
            <a:lvl3pPr marL="548535" marR="0"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2000" kern="1200" spc="0" baseline="0">
                <a:solidFill>
                  <a:schemeClr val="tx2"/>
                </a:solidFill>
                <a:latin typeface="+mj-lt"/>
                <a:ea typeface="+mn-ea"/>
                <a:cs typeface="+mn-cs"/>
              </a:defRPr>
            </a:lvl3pPr>
            <a:lvl4pPr marL="733802" marR="0" indent="-28569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1765" kern="1200" spc="0" baseline="0">
                <a:solidFill>
                  <a:schemeClr val="tx2"/>
                </a:solidFill>
                <a:latin typeface="+mn-lt"/>
                <a:ea typeface="+mn-ea"/>
                <a:cs typeface="+mn-cs"/>
              </a:defRPr>
            </a:lvl4pPr>
            <a:lvl5pPr marL="957856" marR="0" indent="-28569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1765" kern="1200" spc="0" baseline="0">
                <a:solidFill>
                  <a:schemeClr val="tx2"/>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r>
              <a:rPr kumimoji="0" lang="en-US" sz="2000" b="0" i="0" u="none" strike="noStrike" kern="1200" cap="none" spc="0" normalizeH="0" baseline="0" noProof="0">
                <a:ln>
                  <a:noFill/>
                </a:ln>
                <a:solidFill>
                  <a:prstClr val="white"/>
                </a:solidFill>
                <a:effectLst/>
                <a:uLnTx/>
                <a:uFillTx/>
                <a:latin typeface="Segoe UI Light"/>
                <a:ea typeface="+mn-ea"/>
                <a:cs typeface="Times New Roman" panose="02020603050405020304" pitchFamily="18" charset="0"/>
              </a:rPr>
              <a:t>A report is composed of </a:t>
            </a:r>
            <a:r>
              <a:rPr kumimoji="0" lang="en-US" sz="2000" b="1" i="0" u="none" strike="noStrike" kern="1200" cap="none" spc="0" normalizeH="0" baseline="0" noProof="0">
                <a:ln>
                  <a:noFill/>
                </a:ln>
                <a:solidFill>
                  <a:prstClr val="white"/>
                </a:solidFill>
                <a:effectLst/>
                <a:uLnTx/>
                <a:uFillTx/>
                <a:latin typeface="Segoe UI Light"/>
                <a:ea typeface="+mn-ea"/>
                <a:cs typeface="Times New Roman" panose="02020603050405020304" pitchFamily="18" charset="0"/>
              </a:rPr>
              <a:t>one or more pages of visualizations</a:t>
            </a: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1" i="0" u="none" strike="noStrike" kern="1200" cap="none" spc="0" normalizeH="0" baseline="0" noProof="0">
              <a:ln>
                <a:noFill/>
              </a:ln>
              <a:solidFill>
                <a:prstClr val="white"/>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r>
              <a:rPr kumimoji="0" lang="en-US" sz="2000" b="0" i="0" u="none" strike="noStrike" kern="1200" cap="none" spc="0" normalizeH="0" baseline="0" noProof="0">
                <a:ln>
                  <a:noFill/>
                </a:ln>
                <a:solidFill>
                  <a:prstClr val="white"/>
                </a:solidFill>
                <a:effectLst/>
                <a:uLnTx/>
                <a:uFillTx/>
                <a:latin typeface="Segoe UI Light"/>
                <a:ea typeface="+mn-ea"/>
                <a:cs typeface="Times New Roman" panose="02020603050405020304" pitchFamily="18" charset="0"/>
              </a:rPr>
              <a:t>Can be </a:t>
            </a:r>
            <a:r>
              <a:rPr kumimoji="0" lang="en-US" sz="2000" b="1" i="0" u="none" strike="noStrike" kern="1200" cap="none" spc="0" normalizeH="0" baseline="0" noProof="0">
                <a:ln>
                  <a:noFill/>
                </a:ln>
                <a:solidFill>
                  <a:prstClr val="white"/>
                </a:solidFill>
                <a:effectLst/>
                <a:uLnTx/>
                <a:uFillTx/>
                <a:latin typeface="Segoe UI Light"/>
                <a:ea typeface="+mn-ea"/>
                <a:cs typeface="Times New Roman" panose="02020603050405020304" pitchFamily="18" charset="0"/>
              </a:rPr>
              <a:t>developed</a:t>
            </a:r>
            <a:r>
              <a:rPr kumimoji="0" lang="en-US" sz="2000" b="0" i="0" u="none" strike="noStrike" kern="1200" cap="none" spc="0" normalizeH="0" baseline="0" noProof="0">
                <a:ln>
                  <a:noFill/>
                </a:ln>
                <a:solidFill>
                  <a:prstClr val="white"/>
                </a:solidFill>
                <a:effectLst/>
                <a:uLnTx/>
                <a:uFillTx/>
                <a:latin typeface="Segoe UI Light"/>
                <a:ea typeface="+mn-ea"/>
                <a:cs typeface="Times New Roman" panose="02020603050405020304" pitchFamily="18" charset="0"/>
              </a:rPr>
              <a:t> in </a:t>
            </a:r>
            <a:r>
              <a:rPr kumimoji="0" lang="en-US" sz="2000" b="1" i="0" u="none" strike="noStrike" kern="1200" cap="none" spc="0" normalizeH="0" baseline="0" noProof="0">
                <a:ln>
                  <a:noFill/>
                </a:ln>
                <a:solidFill>
                  <a:prstClr val="white"/>
                </a:solidFill>
                <a:effectLst/>
                <a:uLnTx/>
                <a:uFillTx/>
                <a:latin typeface="Segoe UI Light"/>
                <a:ea typeface="+mn-ea"/>
                <a:cs typeface="Times New Roman" panose="02020603050405020304" pitchFamily="18" charset="0"/>
              </a:rPr>
              <a:t>Desktop</a:t>
            </a:r>
            <a:r>
              <a:rPr kumimoji="0" lang="en-US" sz="2000" b="0" i="0" u="none" strike="noStrike" kern="1200" cap="none" spc="0" normalizeH="0" baseline="0" noProof="0">
                <a:ln>
                  <a:noFill/>
                </a:ln>
                <a:solidFill>
                  <a:prstClr val="white"/>
                </a:solidFill>
                <a:effectLst/>
                <a:uLnTx/>
                <a:uFillTx/>
                <a:latin typeface="Segoe UI Light"/>
                <a:ea typeface="+mn-ea"/>
                <a:cs typeface="Times New Roman" panose="02020603050405020304" pitchFamily="18" charset="0"/>
              </a:rPr>
              <a:t> (or Excel) or in the </a:t>
            </a:r>
            <a:r>
              <a:rPr kumimoji="0" lang="en-US" sz="2000" b="1" i="0" u="none" strike="noStrike" kern="1200" cap="none" spc="0" normalizeH="0" baseline="0" noProof="0">
                <a:ln>
                  <a:noFill/>
                </a:ln>
                <a:solidFill>
                  <a:prstClr val="white"/>
                </a:solidFill>
                <a:effectLst/>
                <a:uLnTx/>
                <a:uFillTx/>
                <a:latin typeface="Segoe UI Light"/>
                <a:ea typeface="+mn-ea"/>
                <a:cs typeface="Times New Roman" panose="02020603050405020304" pitchFamily="18" charset="0"/>
              </a:rPr>
              <a:t>service</a:t>
            </a: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r>
              <a:rPr kumimoji="0" lang="en-US" sz="2000" b="0" i="0" u="none" strike="noStrike" kern="1200" cap="none" spc="0" normalizeH="0" baseline="0" noProof="0">
                <a:ln>
                  <a:noFill/>
                </a:ln>
                <a:solidFill>
                  <a:prstClr val="white"/>
                </a:solidFill>
                <a:effectLst/>
                <a:uLnTx/>
                <a:uFillTx/>
                <a:latin typeface="Segoe UI Light"/>
                <a:ea typeface="+mn-ea"/>
                <a:cs typeface="Times New Roman" panose="02020603050405020304" pitchFamily="18" charset="0"/>
              </a:rPr>
              <a:t>Gets its </a:t>
            </a:r>
            <a:r>
              <a:rPr kumimoji="0" lang="en-US" sz="2000" b="1" i="0" u="none" strike="noStrike" kern="1200" cap="none" spc="0" normalizeH="0" baseline="0" noProof="0">
                <a:ln>
                  <a:noFill/>
                </a:ln>
                <a:solidFill>
                  <a:prstClr val="white"/>
                </a:solidFill>
                <a:effectLst/>
                <a:uLnTx/>
                <a:uFillTx/>
                <a:latin typeface="Segoe UI Light"/>
                <a:ea typeface="+mn-ea"/>
                <a:cs typeface="Times New Roman" panose="02020603050405020304" pitchFamily="18" charset="0"/>
              </a:rPr>
              <a:t>data from one dataset</a:t>
            </a: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0" i="0" u="none" strike="noStrike" kern="1200" cap="none" spc="0" normalizeH="0" baseline="0" noProof="0">
              <a:ln>
                <a:noFill/>
              </a:ln>
              <a:solidFill>
                <a:prstClr val="white"/>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r>
              <a:rPr kumimoji="0" lang="en-US" sz="2000" b="0" i="0" u="none" strike="noStrike" kern="1200" cap="none" spc="0" normalizeH="0" baseline="0" noProof="0">
                <a:ln>
                  <a:noFill/>
                </a:ln>
                <a:solidFill>
                  <a:prstClr val="white"/>
                </a:solidFill>
                <a:effectLst/>
                <a:uLnTx/>
                <a:uFillTx/>
                <a:latin typeface="Segoe UI Light"/>
                <a:ea typeface="+mn-ea"/>
                <a:cs typeface="Times New Roman" panose="02020603050405020304" pitchFamily="18" charset="0"/>
              </a:rPr>
              <a:t>Can be used for building dashboards as a whole or bit by bit</a:t>
            </a: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0" i="0" u="none" strike="noStrike" kern="1200" cap="none" spc="0" normalizeH="0" baseline="0" noProof="0">
              <a:ln>
                <a:noFill/>
              </a:ln>
              <a:solidFill>
                <a:prstClr val="white"/>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r>
              <a:rPr kumimoji="0" lang="en-US" sz="2000" b="0" i="0" u="none" strike="noStrike" kern="1200" cap="none" spc="0" normalizeH="0" baseline="0" noProof="0">
                <a:ln>
                  <a:noFill/>
                </a:ln>
                <a:solidFill>
                  <a:prstClr val="white"/>
                </a:solidFill>
                <a:effectLst/>
                <a:uLnTx/>
                <a:uFillTx/>
                <a:latin typeface="Segoe UI Light"/>
                <a:ea typeface="+mn-ea"/>
                <a:cs typeface="Times New Roman" panose="02020603050405020304" pitchFamily="18" charset="0"/>
              </a:rPr>
              <a:t>Reports can be consumed in </a:t>
            </a:r>
            <a:r>
              <a:rPr kumimoji="0" lang="en-US" sz="2000" b="1" i="0" u="none" strike="noStrike" kern="1200" cap="none" spc="0" normalizeH="0" baseline="0" noProof="0">
                <a:ln>
                  <a:noFill/>
                </a:ln>
                <a:solidFill>
                  <a:prstClr val="white"/>
                </a:solidFill>
                <a:effectLst/>
                <a:uLnTx/>
                <a:uFillTx/>
                <a:latin typeface="Segoe UI Light"/>
                <a:ea typeface="+mn-ea"/>
                <a:cs typeface="Times New Roman" panose="02020603050405020304" pitchFamily="18" charset="0"/>
              </a:rPr>
              <a:t>Reading View</a:t>
            </a:r>
            <a:r>
              <a:rPr kumimoji="0" lang="en-US" sz="2000" b="0" i="0" u="none" strike="noStrike" kern="1200" cap="none" spc="0" normalizeH="0" baseline="0" noProof="0">
                <a:ln>
                  <a:noFill/>
                </a:ln>
                <a:solidFill>
                  <a:prstClr val="white"/>
                </a:solidFill>
                <a:effectLst/>
                <a:uLnTx/>
                <a:uFillTx/>
                <a:latin typeface="Segoe UI Light"/>
                <a:ea typeface="+mn-ea"/>
                <a:cs typeface="Times New Roman" panose="02020603050405020304" pitchFamily="18" charset="0"/>
              </a:rPr>
              <a:t> or </a:t>
            </a:r>
            <a:r>
              <a:rPr kumimoji="0" lang="en-US" sz="2000" b="1" i="0" u="none" strike="noStrike" kern="1200" cap="none" spc="0" normalizeH="0" baseline="0" noProof="0">
                <a:ln>
                  <a:noFill/>
                </a:ln>
                <a:solidFill>
                  <a:prstClr val="white"/>
                </a:solidFill>
                <a:effectLst/>
                <a:uLnTx/>
                <a:uFillTx/>
                <a:latin typeface="Segoe UI Light"/>
                <a:ea typeface="+mn-ea"/>
                <a:cs typeface="Times New Roman" panose="02020603050405020304" pitchFamily="18" charset="0"/>
              </a:rPr>
              <a:t>Editing View</a:t>
            </a:r>
            <a:endParaRPr kumimoji="0" lang="en-US" sz="2000" b="0" i="0" u="none" strike="noStrike" kern="1200" cap="none" spc="0" normalizeH="0" baseline="0" noProof="0">
              <a:ln>
                <a:noFill/>
              </a:ln>
              <a:solidFill>
                <a:prstClr val="white"/>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0" i="0" u="none" strike="noStrike" kern="1200" cap="none" spc="0" normalizeH="0" baseline="0" noProof="0">
              <a:ln>
                <a:noFill/>
              </a:ln>
              <a:solidFill>
                <a:prstClr val="white"/>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0" i="0" u="none" strike="noStrike" kern="1200" cap="none" spc="0" normalizeH="0" baseline="0" noProof="0">
              <a:ln>
                <a:noFill/>
              </a:ln>
              <a:solidFill>
                <a:prstClr val="white"/>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1" i="0" u="none" strike="noStrike" kern="1200" cap="none" spc="0" normalizeH="0" baseline="0" noProof="0">
              <a:ln>
                <a:noFill/>
              </a:ln>
              <a:solidFill>
                <a:prstClr val="white"/>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1" i="0" u="none" strike="noStrike" kern="1200" cap="none" spc="0" normalizeH="0" baseline="0" noProof="0">
              <a:ln>
                <a:noFill/>
              </a:ln>
              <a:solidFill>
                <a:prstClr val="white"/>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1" i="0" u="none" strike="noStrike" kern="1200" cap="none" spc="0" normalizeH="0" baseline="0" noProof="0">
              <a:ln>
                <a:noFill/>
              </a:ln>
              <a:solidFill>
                <a:prstClr val="white"/>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1" i="0" u="none" strike="noStrike" kern="1200" cap="none" spc="0" normalizeH="0" baseline="0" noProof="0">
              <a:ln>
                <a:noFill/>
              </a:ln>
              <a:solidFill>
                <a:prstClr val="white"/>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1" i="0" u="none" strike="noStrike" kern="1200" cap="none" spc="0" normalizeH="0" baseline="0" noProof="0">
              <a:ln>
                <a:noFill/>
              </a:ln>
              <a:solidFill>
                <a:prstClr val="white"/>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1" i="0" u="none" strike="noStrike" kern="1200" cap="none" spc="0" normalizeH="0" baseline="0" noProof="0">
              <a:ln>
                <a:noFill/>
              </a:ln>
              <a:solidFill>
                <a:prstClr val="white"/>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1" i="0" u="none" strike="noStrike" kern="1200" cap="none" spc="0" normalizeH="0" baseline="0" noProof="0">
              <a:ln>
                <a:noFill/>
              </a:ln>
              <a:solidFill>
                <a:prstClr val="white"/>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1"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p:txBody>
      </p:sp>
      <p:pic>
        <p:nvPicPr>
          <p:cNvPr id="2" name="Picture 1"/>
          <p:cNvPicPr>
            <a:picLocks noChangeAspect="1"/>
          </p:cNvPicPr>
          <p:nvPr/>
        </p:nvPicPr>
        <p:blipFill>
          <a:blip r:embed="rId3"/>
          <a:stretch>
            <a:fillRect/>
          </a:stretch>
        </p:blipFill>
        <p:spPr>
          <a:xfrm>
            <a:off x="3048592" y="1564417"/>
            <a:ext cx="8974439" cy="4681365"/>
          </a:xfrm>
          <a:prstGeom prst="rect">
            <a:avLst/>
          </a:prstGeom>
        </p:spPr>
      </p:pic>
      <p:grpSp>
        <p:nvGrpSpPr>
          <p:cNvPr id="40" name="Group 39"/>
          <p:cNvGrpSpPr/>
          <p:nvPr/>
        </p:nvGrpSpPr>
        <p:grpSpPr>
          <a:xfrm>
            <a:off x="-2887" y="973"/>
            <a:ext cx="2849058" cy="6857027"/>
            <a:chOff x="2" y="487"/>
            <a:chExt cx="2849058" cy="6857027"/>
          </a:xfrm>
        </p:grpSpPr>
        <p:sp>
          <p:nvSpPr>
            <p:cNvPr id="42" name="Rectangle 15"/>
            <p:cNvSpPr/>
            <p:nvPr/>
          </p:nvSpPr>
          <p:spPr bwMode="auto">
            <a:xfrm>
              <a:off x="2" y="487"/>
              <a:ext cx="2849058" cy="685702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3" name="Rectangle 145"/>
            <p:cNvSpPr/>
            <p:nvPr/>
          </p:nvSpPr>
          <p:spPr bwMode="auto">
            <a:xfrm>
              <a:off x="696152" y="956997"/>
              <a:ext cx="1821468" cy="3831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2C812"/>
                  </a:solidFill>
                  <a:effectLst/>
                  <a:uLnTx/>
                  <a:uFillTx/>
                  <a:latin typeface="Segoe UI"/>
                  <a:ea typeface="+mn-ea"/>
                  <a:cs typeface="Segoe UI Light" panose="020B0502040204020203" pitchFamily="34" charset="0"/>
                </a:rPr>
                <a:t>Get Data</a:t>
              </a:r>
              <a:endParaRPr kumimoji="0" lang="en-US" sz="1200" b="1" i="1" u="none" strike="noStrike" kern="1200" cap="none" spc="0" normalizeH="0" baseline="0" noProof="0">
                <a:ln>
                  <a:noFill/>
                </a:ln>
                <a:solidFill>
                  <a:srgbClr val="F2C812"/>
                </a:solidFill>
                <a:effectLst/>
                <a:uLnTx/>
                <a:uFillTx/>
                <a:latin typeface="Segoe UI"/>
                <a:ea typeface="+mn-ea"/>
                <a:cs typeface="Segoe UI Light" panose="020B0502040204020203" pitchFamily="34" charset="0"/>
              </a:endParaRPr>
            </a:p>
          </p:txBody>
        </p:sp>
        <p:grpSp>
          <p:nvGrpSpPr>
            <p:cNvPr id="80" name="Group 79"/>
            <p:cNvGrpSpPr/>
            <p:nvPr/>
          </p:nvGrpSpPr>
          <p:grpSpPr>
            <a:xfrm>
              <a:off x="219373" y="934583"/>
              <a:ext cx="433844" cy="433844"/>
              <a:chOff x="440005" y="997815"/>
              <a:chExt cx="296322" cy="296322"/>
            </a:xfrm>
          </p:grpSpPr>
          <p:sp>
            <p:nvSpPr>
              <p:cNvPr id="99" name="Oval 147"/>
              <p:cNvSpPr/>
              <p:nvPr/>
            </p:nvSpPr>
            <p:spPr bwMode="auto">
              <a:xfrm>
                <a:off x="440005" y="997815"/>
                <a:ext cx="296322" cy="296322"/>
              </a:xfrm>
              <a:prstGeom prst="ellipse">
                <a:avLst/>
              </a:prstGeom>
              <a:solidFill>
                <a:srgbClr val="FFCC00"/>
              </a:solidFill>
              <a:ln>
                <a:solidFill>
                  <a:srgbClr val="F2C81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00" name="Group 332"/>
              <p:cNvGrpSpPr/>
              <p:nvPr/>
            </p:nvGrpSpPr>
            <p:grpSpPr>
              <a:xfrm>
                <a:off x="482167" y="1059311"/>
                <a:ext cx="211997" cy="173292"/>
                <a:chOff x="2123129" y="293070"/>
                <a:chExt cx="2472585" cy="2021178"/>
              </a:xfrm>
            </p:grpSpPr>
            <p:sp>
              <p:nvSpPr>
                <p:cNvPr id="101" name="Freeform 13"/>
                <p:cNvSpPr>
                  <a:spLocks/>
                </p:cNvSpPr>
                <p:nvPr/>
              </p:nvSpPr>
              <p:spPr bwMode="auto">
                <a:xfrm rot="20700000">
                  <a:off x="3155853" y="872796"/>
                  <a:ext cx="1439861" cy="1441452"/>
                </a:xfrm>
                <a:custGeom>
                  <a:avLst/>
                  <a:gdLst>
                    <a:gd name="T0" fmla="*/ 138 w 441"/>
                    <a:gd name="T1" fmla="*/ 341 h 441"/>
                    <a:gd name="T2" fmla="*/ 183 w 441"/>
                    <a:gd name="T3" fmla="*/ 374 h 441"/>
                    <a:gd name="T4" fmla="*/ 220 w 441"/>
                    <a:gd name="T5" fmla="*/ 423 h 441"/>
                    <a:gd name="T6" fmla="*/ 422 w 441"/>
                    <a:gd name="T7" fmla="*/ 220 h 441"/>
                    <a:gd name="T8" fmla="*/ 373 w 441"/>
                    <a:gd name="T9" fmla="*/ 184 h 441"/>
                    <a:gd name="T10" fmla="*/ 341 w 441"/>
                    <a:gd name="T11" fmla="*/ 139 h 441"/>
                    <a:gd name="T12" fmla="*/ 382 w 441"/>
                    <a:gd name="T13" fmla="*/ 58 h 441"/>
                    <a:gd name="T14" fmla="*/ 302 w 441"/>
                    <a:gd name="T15" fmla="*/ 100 h 441"/>
                    <a:gd name="T16" fmla="*/ 257 w 441"/>
                    <a:gd name="T17" fmla="*/ 67 h 441"/>
                    <a:gd name="T18" fmla="*/ 220 w 441"/>
                    <a:gd name="T19" fmla="*/ 18 h 441"/>
                    <a:gd name="T20" fmla="*/ 171 w 441"/>
                    <a:gd name="T21" fmla="*/ 55 h 441"/>
                    <a:gd name="T22" fmla="*/ 138 w 441"/>
                    <a:gd name="T23" fmla="*/ 100 h 441"/>
                    <a:gd name="T24" fmla="*/ 180 w 441"/>
                    <a:gd name="T25" fmla="*/ 181 h 441"/>
                    <a:gd name="T26" fmla="*/ 100 w 441"/>
                    <a:gd name="T27" fmla="*/ 139 h 441"/>
                    <a:gd name="T28" fmla="*/ 55 w 441"/>
                    <a:gd name="T29" fmla="*/ 171 h 441"/>
                    <a:gd name="T30" fmla="*/ 18 w 441"/>
                    <a:gd name="T31" fmla="*/ 220 h 441"/>
                    <a:gd name="T32" fmla="*/ 67 w 441"/>
                    <a:gd name="T33" fmla="*/ 257 h 441"/>
                    <a:gd name="T34" fmla="*/ 100 w 441"/>
                    <a:gd name="T35" fmla="*/ 302 h 441"/>
                    <a:gd name="T36" fmla="*/ 58 w 441"/>
                    <a:gd name="T37" fmla="*/ 383 h 441"/>
                    <a:gd name="T38" fmla="*/ 138 w 441"/>
                    <a:gd name="T39" fmla="*/ 341 h 4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41" h="441">
                      <a:moveTo>
                        <a:pt x="138" y="341"/>
                      </a:moveTo>
                      <a:cubicBezTo>
                        <a:pt x="147" y="337"/>
                        <a:pt x="171" y="361"/>
                        <a:pt x="183" y="374"/>
                      </a:cubicBezTo>
                      <a:cubicBezTo>
                        <a:pt x="196" y="386"/>
                        <a:pt x="220" y="423"/>
                        <a:pt x="220" y="423"/>
                      </a:cubicBezTo>
                      <a:cubicBezTo>
                        <a:pt x="422" y="220"/>
                        <a:pt x="422" y="220"/>
                        <a:pt x="422" y="220"/>
                      </a:cubicBezTo>
                      <a:cubicBezTo>
                        <a:pt x="422" y="220"/>
                        <a:pt x="386" y="196"/>
                        <a:pt x="373" y="184"/>
                      </a:cubicBezTo>
                      <a:cubicBezTo>
                        <a:pt x="361" y="171"/>
                        <a:pt x="338" y="149"/>
                        <a:pt x="341" y="139"/>
                      </a:cubicBezTo>
                      <a:cubicBezTo>
                        <a:pt x="343" y="129"/>
                        <a:pt x="441" y="116"/>
                        <a:pt x="382" y="58"/>
                      </a:cubicBezTo>
                      <a:cubicBezTo>
                        <a:pt x="324" y="0"/>
                        <a:pt x="310" y="96"/>
                        <a:pt x="302" y="100"/>
                      </a:cubicBezTo>
                      <a:cubicBezTo>
                        <a:pt x="294" y="104"/>
                        <a:pt x="269" y="80"/>
                        <a:pt x="257" y="67"/>
                      </a:cubicBezTo>
                      <a:cubicBezTo>
                        <a:pt x="245" y="55"/>
                        <a:pt x="220" y="18"/>
                        <a:pt x="220" y="18"/>
                      </a:cubicBezTo>
                      <a:cubicBezTo>
                        <a:pt x="220" y="18"/>
                        <a:pt x="183" y="43"/>
                        <a:pt x="171" y="55"/>
                      </a:cubicBezTo>
                      <a:cubicBezTo>
                        <a:pt x="159" y="67"/>
                        <a:pt x="134" y="92"/>
                        <a:pt x="138" y="100"/>
                      </a:cubicBezTo>
                      <a:cubicBezTo>
                        <a:pt x="142" y="108"/>
                        <a:pt x="238" y="122"/>
                        <a:pt x="180" y="181"/>
                      </a:cubicBezTo>
                      <a:cubicBezTo>
                        <a:pt x="122" y="239"/>
                        <a:pt x="110" y="141"/>
                        <a:pt x="100" y="139"/>
                      </a:cubicBezTo>
                      <a:cubicBezTo>
                        <a:pt x="89" y="137"/>
                        <a:pt x="67" y="159"/>
                        <a:pt x="55" y="171"/>
                      </a:cubicBezTo>
                      <a:cubicBezTo>
                        <a:pt x="42" y="184"/>
                        <a:pt x="18" y="220"/>
                        <a:pt x="18" y="220"/>
                      </a:cubicBezTo>
                      <a:cubicBezTo>
                        <a:pt x="18" y="220"/>
                        <a:pt x="55" y="245"/>
                        <a:pt x="67" y="257"/>
                      </a:cubicBezTo>
                      <a:cubicBezTo>
                        <a:pt x="79" y="269"/>
                        <a:pt x="102" y="292"/>
                        <a:pt x="100" y="302"/>
                      </a:cubicBezTo>
                      <a:cubicBezTo>
                        <a:pt x="98" y="312"/>
                        <a:pt x="0" y="325"/>
                        <a:pt x="58" y="383"/>
                      </a:cubicBezTo>
                      <a:cubicBezTo>
                        <a:pt x="116" y="441"/>
                        <a:pt x="130" y="345"/>
                        <a:pt x="138" y="341"/>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102" name="Freeform 14"/>
                <p:cNvSpPr>
                  <a:spLocks/>
                </p:cNvSpPr>
                <p:nvPr/>
              </p:nvSpPr>
              <p:spPr bwMode="auto">
                <a:xfrm rot="9900000">
                  <a:off x="2123129" y="293070"/>
                  <a:ext cx="1377948" cy="1377947"/>
                </a:xfrm>
                <a:custGeom>
                  <a:avLst/>
                  <a:gdLst>
                    <a:gd name="T0" fmla="*/ 422 w 422"/>
                    <a:gd name="T1" fmla="*/ 220 h 422"/>
                    <a:gd name="T2" fmla="*/ 386 w 422"/>
                    <a:gd name="T3" fmla="*/ 171 h 422"/>
                    <a:gd name="T4" fmla="*/ 341 w 422"/>
                    <a:gd name="T5" fmla="*/ 138 h 422"/>
                    <a:gd name="T6" fmla="*/ 260 w 422"/>
                    <a:gd name="T7" fmla="*/ 180 h 422"/>
                    <a:gd name="T8" fmla="*/ 302 w 422"/>
                    <a:gd name="T9" fmla="*/ 100 h 422"/>
                    <a:gd name="T10" fmla="*/ 269 w 422"/>
                    <a:gd name="T11" fmla="*/ 55 h 422"/>
                    <a:gd name="T12" fmla="*/ 220 w 422"/>
                    <a:gd name="T13" fmla="*/ 18 h 422"/>
                    <a:gd name="T14" fmla="*/ 183 w 422"/>
                    <a:gd name="T15" fmla="*/ 67 h 422"/>
                    <a:gd name="T16" fmla="*/ 138 w 422"/>
                    <a:gd name="T17" fmla="*/ 100 h 422"/>
                    <a:gd name="T18" fmla="*/ 58 w 422"/>
                    <a:gd name="T19" fmla="*/ 58 h 422"/>
                    <a:gd name="T20" fmla="*/ 100 w 422"/>
                    <a:gd name="T21" fmla="*/ 138 h 422"/>
                    <a:gd name="T22" fmla="*/ 67 w 422"/>
                    <a:gd name="T23" fmla="*/ 183 h 422"/>
                    <a:gd name="T24" fmla="*/ 18 w 422"/>
                    <a:gd name="T25" fmla="*/ 220 h 422"/>
                    <a:gd name="T26" fmla="*/ 55 w 422"/>
                    <a:gd name="T27" fmla="*/ 269 h 422"/>
                    <a:gd name="T28" fmla="*/ 100 w 422"/>
                    <a:gd name="T29" fmla="*/ 302 h 422"/>
                    <a:gd name="T30" fmla="*/ 180 w 422"/>
                    <a:gd name="T31" fmla="*/ 260 h 422"/>
                    <a:gd name="T32" fmla="*/ 138 w 422"/>
                    <a:gd name="T33" fmla="*/ 341 h 422"/>
                    <a:gd name="T34" fmla="*/ 171 w 422"/>
                    <a:gd name="T35" fmla="*/ 386 h 422"/>
                    <a:gd name="T36" fmla="*/ 220 w 422"/>
                    <a:gd name="T37" fmla="*/ 422 h 422"/>
                    <a:gd name="T38" fmla="*/ 422 w 422"/>
                    <a:gd name="T39" fmla="*/ 220 h 4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22" h="422">
                      <a:moveTo>
                        <a:pt x="422" y="220"/>
                      </a:moveTo>
                      <a:cubicBezTo>
                        <a:pt x="422" y="220"/>
                        <a:pt x="398" y="183"/>
                        <a:pt x="386" y="171"/>
                      </a:cubicBezTo>
                      <a:cubicBezTo>
                        <a:pt x="373" y="159"/>
                        <a:pt x="349" y="134"/>
                        <a:pt x="341" y="138"/>
                      </a:cubicBezTo>
                      <a:cubicBezTo>
                        <a:pt x="332" y="142"/>
                        <a:pt x="318" y="239"/>
                        <a:pt x="260" y="180"/>
                      </a:cubicBezTo>
                      <a:cubicBezTo>
                        <a:pt x="202" y="122"/>
                        <a:pt x="300" y="110"/>
                        <a:pt x="302" y="100"/>
                      </a:cubicBezTo>
                      <a:cubicBezTo>
                        <a:pt x="304" y="90"/>
                        <a:pt x="281" y="67"/>
                        <a:pt x="269" y="55"/>
                      </a:cubicBezTo>
                      <a:cubicBezTo>
                        <a:pt x="257" y="42"/>
                        <a:pt x="220" y="18"/>
                        <a:pt x="220" y="18"/>
                      </a:cubicBezTo>
                      <a:cubicBezTo>
                        <a:pt x="220" y="18"/>
                        <a:pt x="196" y="55"/>
                        <a:pt x="183" y="67"/>
                      </a:cubicBezTo>
                      <a:cubicBezTo>
                        <a:pt x="171" y="79"/>
                        <a:pt x="149" y="102"/>
                        <a:pt x="138" y="100"/>
                      </a:cubicBezTo>
                      <a:cubicBezTo>
                        <a:pt x="128" y="98"/>
                        <a:pt x="116" y="0"/>
                        <a:pt x="58" y="58"/>
                      </a:cubicBezTo>
                      <a:cubicBezTo>
                        <a:pt x="0" y="116"/>
                        <a:pt x="96" y="130"/>
                        <a:pt x="100" y="138"/>
                      </a:cubicBezTo>
                      <a:cubicBezTo>
                        <a:pt x="104" y="147"/>
                        <a:pt x="79" y="171"/>
                        <a:pt x="67" y="183"/>
                      </a:cubicBezTo>
                      <a:cubicBezTo>
                        <a:pt x="55" y="196"/>
                        <a:pt x="18" y="220"/>
                        <a:pt x="18" y="220"/>
                      </a:cubicBezTo>
                      <a:cubicBezTo>
                        <a:pt x="18" y="220"/>
                        <a:pt x="42" y="257"/>
                        <a:pt x="55" y="269"/>
                      </a:cubicBezTo>
                      <a:cubicBezTo>
                        <a:pt x="67" y="281"/>
                        <a:pt x="91" y="306"/>
                        <a:pt x="100" y="302"/>
                      </a:cubicBezTo>
                      <a:cubicBezTo>
                        <a:pt x="108" y="298"/>
                        <a:pt x="122" y="202"/>
                        <a:pt x="180" y="260"/>
                      </a:cubicBezTo>
                      <a:cubicBezTo>
                        <a:pt x="238" y="318"/>
                        <a:pt x="140" y="330"/>
                        <a:pt x="138" y="341"/>
                      </a:cubicBezTo>
                      <a:cubicBezTo>
                        <a:pt x="136" y="351"/>
                        <a:pt x="159" y="373"/>
                        <a:pt x="171" y="386"/>
                      </a:cubicBezTo>
                      <a:cubicBezTo>
                        <a:pt x="183" y="398"/>
                        <a:pt x="220" y="422"/>
                        <a:pt x="220" y="422"/>
                      </a:cubicBezTo>
                      <a:lnTo>
                        <a:pt x="422" y="22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grpSp>
        </p:grpSp>
        <p:sp>
          <p:nvSpPr>
            <p:cNvPr id="81" name="Rectangle 152"/>
            <p:cNvSpPr/>
            <p:nvPr/>
          </p:nvSpPr>
          <p:spPr bwMode="auto">
            <a:xfrm>
              <a:off x="669652" y="2738277"/>
              <a:ext cx="1805162" cy="37532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2C812"/>
                  </a:solidFill>
                  <a:effectLst/>
                  <a:uLnTx/>
                  <a:uFillTx/>
                  <a:latin typeface="Segoe UI"/>
                  <a:ea typeface="+mn-ea"/>
                  <a:cs typeface="Segoe UI Light" panose="020B0502040204020203" pitchFamily="34" charset="0"/>
                </a:rPr>
                <a:t>Keeping Data Current</a:t>
              </a:r>
            </a:p>
          </p:txBody>
        </p:sp>
        <p:grpSp>
          <p:nvGrpSpPr>
            <p:cNvPr id="82" name="Group 81"/>
            <p:cNvGrpSpPr/>
            <p:nvPr/>
          </p:nvGrpSpPr>
          <p:grpSpPr>
            <a:xfrm>
              <a:off x="199649" y="2692629"/>
              <a:ext cx="433844" cy="433844"/>
              <a:chOff x="342620" y="2228265"/>
              <a:chExt cx="433844" cy="433844"/>
            </a:xfrm>
            <a:solidFill>
              <a:schemeClr val="bg1"/>
            </a:solidFill>
          </p:grpSpPr>
          <p:sp>
            <p:nvSpPr>
              <p:cNvPr id="97" name="Oval 154"/>
              <p:cNvSpPr/>
              <p:nvPr/>
            </p:nvSpPr>
            <p:spPr bwMode="auto">
              <a:xfrm>
                <a:off x="342620" y="2228265"/>
                <a:ext cx="433844" cy="433844"/>
              </a:xfrm>
              <a:prstGeom prst="ellipse">
                <a:avLst/>
              </a:prstGeom>
              <a:solidFill>
                <a:srgbClr val="FFC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8" name="Freeform 30"/>
              <p:cNvSpPr>
                <a:spLocks noEditPoints="1"/>
              </p:cNvSpPr>
              <p:nvPr/>
            </p:nvSpPr>
            <p:spPr bwMode="auto">
              <a:xfrm>
                <a:off x="444786" y="2340040"/>
                <a:ext cx="238402" cy="210293"/>
              </a:xfrm>
              <a:custGeom>
                <a:avLst/>
                <a:gdLst>
                  <a:gd name="T0" fmla="*/ 883 w 916"/>
                  <a:gd name="T1" fmla="*/ 286 h 808"/>
                  <a:gd name="T2" fmla="*/ 539 w 916"/>
                  <a:gd name="T3" fmla="*/ 723 h 808"/>
                  <a:gd name="T4" fmla="*/ 504 w 916"/>
                  <a:gd name="T5" fmla="*/ 0 h 808"/>
                  <a:gd name="T6" fmla="*/ 35 w 916"/>
                  <a:gd name="T7" fmla="*/ 723 h 808"/>
                  <a:gd name="T8" fmla="*/ 0 w 916"/>
                  <a:gd name="T9" fmla="*/ 808 h 808"/>
                  <a:gd name="T10" fmla="*/ 916 w 916"/>
                  <a:gd name="T11" fmla="*/ 723 h 808"/>
                  <a:gd name="T12" fmla="*/ 229 w 916"/>
                  <a:gd name="T13" fmla="*/ 665 h 808"/>
                  <a:gd name="T14" fmla="*/ 109 w 916"/>
                  <a:gd name="T15" fmla="*/ 596 h 808"/>
                  <a:gd name="T16" fmla="*/ 229 w 916"/>
                  <a:gd name="T17" fmla="*/ 665 h 808"/>
                  <a:gd name="T18" fmla="*/ 109 w 916"/>
                  <a:gd name="T19" fmla="*/ 501 h 808"/>
                  <a:gd name="T20" fmla="*/ 229 w 916"/>
                  <a:gd name="T21" fmla="*/ 432 h 808"/>
                  <a:gd name="T22" fmla="*/ 229 w 916"/>
                  <a:gd name="T23" fmla="*/ 337 h 808"/>
                  <a:gd name="T24" fmla="*/ 109 w 916"/>
                  <a:gd name="T25" fmla="*/ 267 h 808"/>
                  <a:gd name="T26" fmla="*/ 229 w 916"/>
                  <a:gd name="T27" fmla="*/ 337 h 808"/>
                  <a:gd name="T28" fmla="*/ 109 w 916"/>
                  <a:gd name="T29" fmla="*/ 172 h 808"/>
                  <a:gd name="T30" fmla="*/ 229 w 916"/>
                  <a:gd name="T31" fmla="*/ 103 h 808"/>
                  <a:gd name="T32" fmla="*/ 428 w 916"/>
                  <a:gd name="T33" fmla="*/ 665 h 808"/>
                  <a:gd name="T34" fmla="*/ 307 w 916"/>
                  <a:gd name="T35" fmla="*/ 596 h 808"/>
                  <a:gd name="T36" fmla="*/ 428 w 916"/>
                  <a:gd name="T37" fmla="*/ 665 h 808"/>
                  <a:gd name="T38" fmla="*/ 307 w 916"/>
                  <a:gd name="T39" fmla="*/ 501 h 808"/>
                  <a:gd name="T40" fmla="*/ 428 w 916"/>
                  <a:gd name="T41" fmla="*/ 432 h 808"/>
                  <a:gd name="T42" fmla="*/ 428 w 916"/>
                  <a:gd name="T43" fmla="*/ 337 h 808"/>
                  <a:gd name="T44" fmla="*/ 307 w 916"/>
                  <a:gd name="T45" fmla="*/ 267 h 808"/>
                  <a:gd name="T46" fmla="*/ 428 w 916"/>
                  <a:gd name="T47" fmla="*/ 337 h 808"/>
                  <a:gd name="T48" fmla="*/ 307 w 916"/>
                  <a:gd name="T49" fmla="*/ 172 h 808"/>
                  <a:gd name="T50" fmla="*/ 428 w 916"/>
                  <a:gd name="T51" fmla="*/ 103 h 808"/>
                  <a:gd name="T52" fmla="*/ 684 w 916"/>
                  <a:gd name="T53" fmla="*/ 668 h 808"/>
                  <a:gd name="T54" fmla="*/ 606 w 916"/>
                  <a:gd name="T55" fmla="*/ 549 h 808"/>
                  <a:gd name="T56" fmla="*/ 684 w 916"/>
                  <a:gd name="T57" fmla="*/ 668 h 808"/>
                  <a:gd name="T58" fmla="*/ 606 w 916"/>
                  <a:gd name="T59" fmla="*/ 482 h 808"/>
                  <a:gd name="T60" fmla="*/ 684 w 916"/>
                  <a:gd name="T61" fmla="*/ 365 h 808"/>
                  <a:gd name="T62" fmla="*/ 816 w 916"/>
                  <a:gd name="T63" fmla="*/ 668 h 808"/>
                  <a:gd name="T64" fmla="*/ 738 w 916"/>
                  <a:gd name="T65" fmla="*/ 549 h 808"/>
                  <a:gd name="T66" fmla="*/ 816 w 916"/>
                  <a:gd name="T67" fmla="*/ 668 h 808"/>
                  <a:gd name="T68" fmla="*/ 738 w 916"/>
                  <a:gd name="T69" fmla="*/ 482 h 808"/>
                  <a:gd name="T70" fmla="*/ 816 w 916"/>
                  <a:gd name="T71" fmla="*/ 365 h 8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16" h="808">
                    <a:moveTo>
                      <a:pt x="883" y="723"/>
                    </a:moveTo>
                    <a:lnTo>
                      <a:pt x="883" y="286"/>
                    </a:lnTo>
                    <a:lnTo>
                      <a:pt x="539" y="286"/>
                    </a:lnTo>
                    <a:lnTo>
                      <a:pt x="539" y="723"/>
                    </a:lnTo>
                    <a:lnTo>
                      <a:pt x="504" y="723"/>
                    </a:lnTo>
                    <a:lnTo>
                      <a:pt x="504" y="0"/>
                    </a:lnTo>
                    <a:lnTo>
                      <a:pt x="35" y="0"/>
                    </a:lnTo>
                    <a:lnTo>
                      <a:pt x="35" y="723"/>
                    </a:lnTo>
                    <a:lnTo>
                      <a:pt x="0" y="723"/>
                    </a:lnTo>
                    <a:lnTo>
                      <a:pt x="0" y="808"/>
                    </a:lnTo>
                    <a:lnTo>
                      <a:pt x="916" y="808"/>
                    </a:lnTo>
                    <a:lnTo>
                      <a:pt x="916" y="723"/>
                    </a:lnTo>
                    <a:lnTo>
                      <a:pt x="883" y="723"/>
                    </a:lnTo>
                    <a:close/>
                    <a:moveTo>
                      <a:pt x="229" y="665"/>
                    </a:moveTo>
                    <a:lnTo>
                      <a:pt x="109" y="665"/>
                    </a:lnTo>
                    <a:lnTo>
                      <a:pt x="109" y="596"/>
                    </a:lnTo>
                    <a:lnTo>
                      <a:pt x="229" y="596"/>
                    </a:lnTo>
                    <a:lnTo>
                      <a:pt x="229" y="665"/>
                    </a:lnTo>
                    <a:close/>
                    <a:moveTo>
                      <a:pt x="229" y="501"/>
                    </a:moveTo>
                    <a:lnTo>
                      <a:pt x="109" y="501"/>
                    </a:lnTo>
                    <a:lnTo>
                      <a:pt x="109" y="432"/>
                    </a:lnTo>
                    <a:lnTo>
                      <a:pt x="229" y="432"/>
                    </a:lnTo>
                    <a:lnTo>
                      <a:pt x="229" y="501"/>
                    </a:lnTo>
                    <a:close/>
                    <a:moveTo>
                      <a:pt x="229" y="337"/>
                    </a:moveTo>
                    <a:lnTo>
                      <a:pt x="109" y="337"/>
                    </a:lnTo>
                    <a:lnTo>
                      <a:pt x="109" y="267"/>
                    </a:lnTo>
                    <a:lnTo>
                      <a:pt x="229" y="267"/>
                    </a:lnTo>
                    <a:lnTo>
                      <a:pt x="229" y="337"/>
                    </a:lnTo>
                    <a:close/>
                    <a:moveTo>
                      <a:pt x="229" y="172"/>
                    </a:moveTo>
                    <a:lnTo>
                      <a:pt x="109" y="172"/>
                    </a:lnTo>
                    <a:lnTo>
                      <a:pt x="109" y="103"/>
                    </a:lnTo>
                    <a:lnTo>
                      <a:pt x="229" y="103"/>
                    </a:lnTo>
                    <a:lnTo>
                      <a:pt x="229" y="172"/>
                    </a:lnTo>
                    <a:close/>
                    <a:moveTo>
                      <a:pt x="428" y="665"/>
                    </a:moveTo>
                    <a:lnTo>
                      <a:pt x="307" y="665"/>
                    </a:lnTo>
                    <a:lnTo>
                      <a:pt x="307" y="596"/>
                    </a:lnTo>
                    <a:lnTo>
                      <a:pt x="428" y="596"/>
                    </a:lnTo>
                    <a:lnTo>
                      <a:pt x="428" y="665"/>
                    </a:lnTo>
                    <a:close/>
                    <a:moveTo>
                      <a:pt x="428" y="501"/>
                    </a:moveTo>
                    <a:lnTo>
                      <a:pt x="307" y="501"/>
                    </a:lnTo>
                    <a:lnTo>
                      <a:pt x="307" y="432"/>
                    </a:lnTo>
                    <a:lnTo>
                      <a:pt x="428" y="432"/>
                    </a:lnTo>
                    <a:lnTo>
                      <a:pt x="428" y="501"/>
                    </a:lnTo>
                    <a:close/>
                    <a:moveTo>
                      <a:pt x="428" y="337"/>
                    </a:moveTo>
                    <a:lnTo>
                      <a:pt x="307" y="337"/>
                    </a:lnTo>
                    <a:lnTo>
                      <a:pt x="307" y="267"/>
                    </a:lnTo>
                    <a:lnTo>
                      <a:pt x="428" y="267"/>
                    </a:lnTo>
                    <a:lnTo>
                      <a:pt x="428" y="337"/>
                    </a:lnTo>
                    <a:close/>
                    <a:moveTo>
                      <a:pt x="428" y="172"/>
                    </a:moveTo>
                    <a:lnTo>
                      <a:pt x="307" y="172"/>
                    </a:lnTo>
                    <a:lnTo>
                      <a:pt x="307" y="103"/>
                    </a:lnTo>
                    <a:lnTo>
                      <a:pt x="428" y="103"/>
                    </a:lnTo>
                    <a:lnTo>
                      <a:pt x="428" y="172"/>
                    </a:lnTo>
                    <a:close/>
                    <a:moveTo>
                      <a:pt x="684" y="668"/>
                    </a:moveTo>
                    <a:lnTo>
                      <a:pt x="606" y="668"/>
                    </a:lnTo>
                    <a:lnTo>
                      <a:pt x="606" y="549"/>
                    </a:lnTo>
                    <a:lnTo>
                      <a:pt x="684" y="549"/>
                    </a:lnTo>
                    <a:lnTo>
                      <a:pt x="684" y="668"/>
                    </a:lnTo>
                    <a:close/>
                    <a:moveTo>
                      <a:pt x="684" y="482"/>
                    </a:moveTo>
                    <a:lnTo>
                      <a:pt x="606" y="482"/>
                    </a:lnTo>
                    <a:lnTo>
                      <a:pt x="606" y="365"/>
                    </a:lnTo>
                    <a:lnTo>
                      <a:pt x="684" y="365"/>
                    </a:lnTo>
                    <a:lnTo>
                      <a:pt x="684" y="482"/>
                    </a:lnTo>
                    <a:close/>
                    <a:moveTo>
                      <a:pt x="816" y="668"/>
                    </a:moveTo>
                    <a:lnTo>
                      <a:pt x="738" y="668"/>
                    </a:lnTo>
                    <a:lnTo>
                      <a:pt x="738" y="549"/>
                    </a:lnTo>
                    <a:lnTo>
                      <a:pt x="816" y="549"/>
                    </a:lnTo>
                    <a:lnTo>
                      <a:pt x="816" y="668"/>
                    </a:lnTo>
                    <a:close/>
                    <a:moveTo>
                      <a:pt x="816" y="482"/>
                    </a:moveTo>
                    <a:lnTo>
                      <a:pt x="738" y="482"/>
                    </a:lnTo>
                    <a:lnTo>
                      <a:pt x="738" y="365"/>
                    </a:lnTo>
                    <a:lnTo>
                      <a:pt x="816" y="365"/>
                    </a:lnTo>
                    <a:lnTo>
                      <a:pt x="816" y="482"/>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grpSp>
        <p:sp>
          <p:nvSpPr>
            <p:cNvPr id="83" name="TextBox 82"/>
            <p:cNvSpPr txBox="1"/>
            <p:nvPr/>
          </p:nvSpPr>
          <p:spPr>
            <a:xfrm>
              <a:off x="83345" y="113808"/>
              <a:ext cx="2532630" cy="627864"/>
            </a:xfrm>
            <a:prstGeom prst="rect">
              <a:avLst/>
            </a:prstGeom>
            <a:noFill/>
          </p:spPr>
          <p:txBody>
            <a:bodyPr wrap="square" lIns="182880" tIns="146304" rIns="182880" bIns="146304" rtlCol="0">
              <a:spAutoFit/>
            </a:bodyPr>
            <a:lstStyle>
              <a:defPPr>
                <a:defRPr lang="en-US"/>
              </a:defPPr>
              <a:lvl1pPr>
                <a:lnSpc>
                  <a:spcPct val="90000"/>
                </a:lnSpc>
                <a:spcAft>
                  <a:spcPts val="600"/>
                </a:spcAft>
                <a:defRPr sz="2800" b="1">
                  <a:solidFill>
                    <a:srgbClr val="F2C812"/>
                  </a:solidFill>
                  <a:latin typeface="Segoe UI Light"/>
                </a:defRPr>
              </a:lvl1p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400" b="1" i="0" u="none" strike="noStrike" kern="1200" cap="none" spc="0" normalizeH="0" baseline="0" noProof="0">
                  <a:ln>
                    <a:noFill/>
                  </a:ln>
                  <a:solidFill>
                    <a:srgbClr val="F2C812"/>
                  </a:solidFill>
                  <a:effectLst/>
                  <a:uLnTx/>
                  <a:uFillTx/>
                  <a:latin typeface="Segoe UI Light"/>
                  <a:ea typeface="+mn-ea"/>
                  <a:cs typeface="+mn-cs"/>
                </a:rPr>
                <a:t>Power BI Service</a:t>
              </a:r>
              <a:endParaRPr kumimoji="0" lang="en-US" sz="2800" b="1" i="0" u="none" strike="noStrike" kern="1200" cap="none" spc="0" normalizeH="0" baseline="0" noProof="0">
                <a:ln>
                  <a:noFill/>
                </a:ln>
                <a:solidFill>
                  <a:srgbClr val="F2C812"/>
                </a:solidFill>
                <a:effectLst/>
                <a:uLnTx/>
                <a:uFillTx/>
                <a:latin typeface="Segoe UI Light"/>
                <a:ea typeface="+mn-ea"/>
                <a:cs typeface="+mn-cs"/>
              </a:endParaRPr>
            </a:p>
          </p:txBody>
        </p:sp>
        <p:grpSp>
          <p:nvGrpSpPr>
            <p:cNvPr id="84" name="Group 83"/>
            <p:cNvGrpSpPr/>
            <p:nvPr/>
          </p:nvGrpSpPr>
          <p:grpSpPr>
            <a:xfrm>
              <a:off x="219373" y="3621383"/>
              <a:ext cx="433844" cy="645668"/>
              <a:chOff x="280990" y="3358164"/>
              <a:chExt cx="433844" cy="645668"/>
            </a:xfrm>
          </p:grpSpPr>
          <p:sp>
            <p:nvSpPr>
              <p:cNvPr id="90" name="Oval 1083"/>
              <p:cNvSpPr/>
              <p:nvPr/>
            </p:nvSpPr>
            <p:spPr bwMode="auto">
              <a:xfrm>
                <a:off x="280990" y="3358164"/>
                <a:ext cx="433844" cy="433847"/>
              </a:xfrm>
              <a:prstGeom prst="ellipse">
                <a:avLst/>
              </a:prstGeom>
              <a:solidFill>
                <a:srgbClr val="F2C812"/>
              </a:solidFill>
              <a:ln>
                <a:solidFill>
                  <a:srgbClr val="FFCC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91" name="Group 379"/>
              <p:cNvGrpSpPr/>
              <p:nvPr/>
            </p:nvGrpSpPr>
            <p:grpSpPr>
              <a:xfrm>
                <a:off x="453702" y="3910852"/>
                <a:ext cx="175660" cy="92980"/>
                <a:chOff x="3895793" y="7466656"/>
                <a:chExt cx="785810" cy="415941"/>
              </a:xfrm>
              <a:solidFill>
                <a:srgbClr val="00BCF2"/>
              </a:solidFill>
            </p:grpSpPr>
            <p:sp>
              <p:nvSpPr>
                <p:cNvPr id="92" name="Freeform 132"/>
                <p:cNvSpPr>
                  <a:spLocks/>
                </p:cNvSpPr>
                <p:nvPr/>
              </p:nvSpPr>
              <p:spPr bwMode="auto">
                <a:xfrm>
                  <a:off x="4125979" y="7688918"/>
                  <a:ext cx="0" cy="6353"/>
                </a:xfrm>
                <a:custGeom>
                  <a:avLst/>
                  <a:gdLst>
                    <a:gd name="T0" fmla="*/ 1 w 1"/>
                    <a:gd name="T1" fmla="*/ 0 h 8"/>
                    <a:gd name="T2" fmla="*/ 0 w 1"/>
                    <a:gd name="T3" fmla="*/ 0 h 8"/>
                    <a:gd name="T4" fmla="*/ 1 w 1"/>
                    <a:gd name="T5" fmla="*/ 8 h 8"/>
                    <a:gd name="T6" fmla="*/ 1 w 1"/>
                    <a:gd name="T7" fmla="*/ 0 h 8"/>
                  </a:gdLst>
                  <a:ahLst/>
                  <a:cxnLst>
                    <a:cxn ang="0">
                      <a:pos x="T0" y="T1"/>
                    </a:cxn>
                    <a:cxn ang="0">
                      <a:pos x="T2" y="T3"/>
                    </a:cxn>
                    <a:cxn ang="0">
                      <a:pos x="T4" y="T5"/>
                    </a:cxn>
                    <a:cxn ang="0">
                      <a:pos x="T6" y="T7"/>
                    </a:cxn>
                  </a:cxnLst>
                  <a:rect l="0" t="0" r="r" b="b"/>
                  <a:pathLst>
                    <a:path w="1" h="8">
                      <a:moveTo>
                        <a:pt x="1" y="0"/>
                      </a:moveTo>
                      <a:cubicBezTo>
                        <a:pt x="0" y="0"/>
                        <a:pt x="0" y="0"/>
                        <a:pt x="0" y="0"/>
                      </a:cubicBezTo>
                      <a:cubicBezTo>
                        <a:pt x="0" y="3"/>
                        <a:pt x="1" y="5"/>
                        <a:pt x="1" y="8"/>
                      </a:cubicBezTo>
                      <a:lnTo>
                        <a:pt x="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93" name="Freeform 133"/>
                <p:cNvSpPr>
                  <a:spLocks/>
                </p:cNvSpPr>
                <p:nvPr/>
              </p:nvSpPr>
              <p:spPr bwMode="auto">
                <a:xfrm>
                  <a:off x="3895793" y="7812745"/>
                  <a:ext cx="219078" cy="69852"/>
                </a:xfrm>
                <a:custGeom>
                  <a:avLst/>
                  <a:gdLst>
                    <a:gd name="T0" fmla="*/ 186 w 238"/>
                    <a:gd name="T1" fmla="*/ 9 h 76"/>
                    <a:gd name="T2" fmla="*/ 131 w 238"/>
                    <a:gd name="T3" fmla="*/ 22 h 76"/>
                    <a:gd name="T4" fmla="*/ 60 w 238"/>
                    <a:gd name="T5" fmla="*/ 0 h 76"/>
                    <a:gd name="T6" fmla="*/ 0 w 238"/>
                    <a:gd name="T7" fmla="*/ 42 h 76"/>
                    <a:gd name="T8" fmla="*/ 0 w 238"/>
                    <a:gd name="T9" fmla="*/ 76 h 76"/>
                    <a:gd name="T10" fmla="*/ 238 w 238"/>
                    <a:gd name="T11" fmla="*/ 76 h 76"/>
                    <a:gd name="T12" fmla="*/ 236 w 238"/>
                    <a:gd name="T13" fmla="*/ 53 h 76"/>
                    <a:gd name="T14" fmla="*/ 236 w 238"/>
                    <a:gd name="T15" fmla="*/ 49 h 76"/>
                    <a:gd name="T16" fmla="*/ 186 w 238"/>
                    <a:gd name="T17" fmla="*/ 9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8" h="76">
                      <a:moveTo>
                        <a:pt x="186" y="9"/>
                      </a:moveTo>
                      <a:cubicBezTo>
                        <a:pt x="169" y="18"/>
                        <a:pt x="150" y="22"/>
                        <a:pt x="131" y="22"/>
                      </a:cubicBezTo>
                      <a:cubicBezTo>
                        <a:pt x="105" y="22"/>
                        <a:pt x="80" y="14"/>
                        <a:pt x="60" y="0"/>
                      </a:cubicBezTo>
                      <a:cubicBezTo>
                        <a:pt x="0" y="42"/>
                        <a:pt x="0" y="42"/>
                        <a:pt x="0" y="42"/>
                      </a:cubicBezTo>
                      <a:cubicBezTo>
                        <a:pt x="0" y="76"/>
                        <a:pt x="0" y="76"/>
                        <a:pt x="0" y="76"/>
                      </a:cubicBezTo>
                      <a:cubicBezTo>
                        <a:pt x="238" y="76"/>
                        <a:pt x="238" y="76"/>
                        <a:pt x="238" y="76"/>
                      </a:cubicBezTo>
                      <a:cubicBezTo>
                        <a:pt x="237" y="68"/>
                        <a:pt x="236" y="61"/>
                        <a:pt x="236" y="53"/>
                      </a:cubicBezTo>
                      <a:cubicBezTo>
                        <a:pt x="236" y="51"/>
                        <a:pt x="236" y="50"/>
                        <a:pt x="236" y="49"/>
                      </a:cubicBezTo>
                      <a:lnTo>
                        <a:pt x="186" y="9"/>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94" name="Freeform 137"/>
                <p:cNvSpPr>
                  <a:spLocks/>
                </p:cNvSpPr>
                <p:nvPr/>
              </p:nvSpPr>
              <p:spPr bwMode="auto">
                <a:xfrm>
                  <a:off x="4338704" y="7809561"/>
                  <a:ext cx="65090" cy="73028"/>
                </a:xfrm>
                <a:custGeom>
                  <a:avLst/>
                  <a:gdLst>
                    <a:gd name="T0" fmla="*/ 71 w 71"/>
                    <a:gd name="T1" fmla="*/ 79 h 79"/>
                    <a:gd name="T2" fmla="*/ 71 w 71"/>
                    <a:gd name="T3" fmla="*/ 0 h 79"/>
                    <a:gd name="T4" fmla="*/ 2 w 71"/>
                    <a:gd name="T5" fmla="*/ 53 h 79"/>
                    <a:gd name="T6" fmla="*/ 2 w 71"/>
                    <a:gd name="T7" fmla="*/ 56 h 79"/>
                    <a:gd name="T8" fmla="*/ 0 w 71"/>
                    <a:gd name="T9" fmla="*/ 79 h 79"/>
                    <a:gd name="T10" fmla="*/ 71 w 71"/>
                    <a:gd name="T11" fmla="*/ 79 h 79"/>
                  </a:gdLst>
                  <a:ahLst/>
                  <a:cxnLst>
                    <a:cxn ang="0">
                      <a:pos x="T0" y="T1"/>
                    </a:cxn>
                    <a:cxn ang="0">
                      <a:pos x="T2" y="T3"/>
                    </a:cxn>
                    <a:cxn ang="0">
                      <a:pos x="T4" y="T5"/>
                    </a:cxn>
                    <a:cxn ang="0">
                      <a:pos x="T6" y="T7"/>
                    </a:cxn>
                    <a:cxn ang="0">
                      <a:pos x="T8" y="T9"/>
                    </a:cxn>
                    <a:cxn ang="0">
                      <a:pos x="T10" y="T11"/>
                    </a:cxn>
                  </a:cxnLst>
                  <a:rect l="0" t="0" r="r" b="b"/>
                  <a:pathLst>
                    <a:path w="71" h="79">
                      <a:moveTo>
                        <a:pt x="71" y="79"/>
                      </a:moveTo>
                      <a:cubicBezTo>
                        <a:pt x="71" y="0"/>
                        <a:pt x="71" y="0"/>
                        <a:pt x="71" y="0"/>
                      </a:cubicBezTo>
                      <a:cubicBezTo>
                        <a:pt x="2" y="53"/>
                        <a:pt x="2" y="53"/>
                        <a:pt x="2" y="53"/>
                      </a:cubicBezTo>
                      <a:cubicBezTo>
                        <a:pt x="2" y="54"/>
                        <a:pt x="2" y="55"/>
                        <a:pt x="2" y="56"/>
                      </a:cubicBezTo>
                      <a:cubicBezTo>
                        <a:pt x="2" y="64"/>
                        <a:pt x="1" y="71"/>
                        <a:pt x="0" y="79"/>
                      </a:cubicBezTo>
                      <a:lnTo>
                        <a:pt x="71" y="79"/>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95" name="Freeform 140"/>
                <p:cNvSpPr>
                  <a:spLocks/>
                </p:cNvSpPr>
                <p:nvPr/>
              </p:nvSpPr>
              <p:spPr bwMode="auto">
                <a:xfrm>
                  <a:off x="4600643" y="7622229"/>
                  <a:ext cx="80960" cy="38099"/>
                </a:xfrm>
                <a:custGeom>
                  <a:avLst/>
                  <a:gdLst>
                    <a:gd name="T0" fmla="*/ 0 w 51"/>
                    <a:gd name="T1" fmla="*/ 24 h 24"/>
                    <a:gd name="T2" fmla="*/ 51 w 51"/>
                    <a:gd name="T3" fmla="*/ 24 h 24"/>
                    <a:gd name="T4" fmla="*/ 32 w 51"/>
                    <a:gd name="T5" fmla="*/ 0 h 24"/>
                    <a:gd name="T6" fmla="*/ 0 w 51"/>
                    <a:gd name="T7" fmla="*/ 24 h 24"/>
                  </a:gdLst>
                  <a:ahLst/>
                  <a:cxnLst>
                    <a:cxn ang="0">
                      <a:pos x="T0" y="T1"/>
                    </a:cxn>
                    <a:cxn ang="0">
                      <a:pos x="T2" y="T3"/>
                    </a:cxn>
                    <a:cxn ang="0">
                      <a:pos x="T4" y="T5"/>
                    </a:cxn>
                    <a:cxn ang="0">
                      <a:pos x="T6" y="T7"/>
                    </a:cxn>
                  </a:cxnLst>
                  <a:rect l="0" t="0" r="r" b="b"/>
                  <a:pathLst>
                    <a:path w="51" h="24">
                      <a:moveTo>
                        <a:pt x="0" y="24"/>
                      </a:moveTo>
                      <a:lnTo>
                        <a:pt x="51" y="24"/>
                      </a:lnTo>
                      <a:lnTo>
                        <a:pt x="32" y="0"/>
                      </a:lnTo>
                      <a:lnTo>
                        <a:pt x="0" y="24"/>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96" name="Freeform 141"/>
                <p:cNvSpPr>
                  <a:spLocks/>
                </p:cNvSpPr>
                <p:nvPr/>
              </p:nvSpPr>
              <p:spPr bwMode="auto">
                <a:xfrm>
                  <a:off x="4449825" y="7466656"/>
                  <a:ext cx="119065" cy="139703"/>
                </a:xfrm>
                <a:custGeom>
                  <a:avLst/>
                  <a:gdLst>
                    <a:gd name="T0" fmla="*/ 52 w 75"/>
                    <a:gd name="T1" fmla="*/ 0 h 88"/>
                    <a:gd name="T2" fmla="*/ 0 w 75"/>
                    <a:gd name="T3" fmla="*/ 0 h 88"/>
                    <a:gd name="T4" fmla="*/ 0 w 75"/>
                    <a:gd name="T5" fmla="*/ 88 h 88"/>
                    <a:gd name="T6" fmla="*/ 75 w 75"/>
                    <a:gd name="T7" fmla="*/ 30 h 88"/>
                    <a:gd name="T8" fmla="*/ 52 w 75"/>
                    <a:gd name="T9" fmla="*/ 0 h 88"/>
                  </a:gdLst>
                  <a:ahLst/>
                  <a:cxnLst>
                    <a:cxn ang="0">
                      <a:pos x="T0" y="T1"/>
                    </a:cxn>
                    <a:cxn ang="0">
                      <a:pos x="T2" y="T3"/>
                    </a:cxn>
                    <a:cxn ang="0">
                      <a:pos x="T4" y="T5"/>
                    </a:cxn>
                    <a:cxn ang="0">
                      <a:pos x="T6" y="T7"/>
                    </a:cxn>
                    <a:cxn ang="0">
                      <a:pos x="T8" y="T9"/>
                    </a:cxn>
                  </a:cxnLst>
                  <a:rect l="0" t="0" r="r" b="b"/>
                  <a:pathLst>
                    <a:path w="75" h="88">
                      <a:moveTo>
                        <a:pt x="52" y="0"/>
                      </a:moveTo>
                      <a:lnTo>
                        <a:pt x="0" y="0"/>
                      </a:lnTo>
                      <a:lnTo>
                        <a:pt x="0" y="88"/>
                      </a:lnTo>
                      <a:lnTo>
                        <a:pt x="75" y="30"/>
                      </a:lnTo>
                      <a:lnTo>
                        <a:pt x="52"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grpSp>
        </p:grpSp>
        <p:sp>
          <p:nvSpPr>
            <p:cNvPr id="85" name="Rectangle 152"/>
            <p:cNvSpPr/>
            <p:nvPr/>
          </p:nvSpPr>
          <p:spPr bwMode="auto">
            <a:xfrm>
              <a:off x="712458" y="3628917"/>
              <a:ext cx="1805162" cy="37532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2C812"/>
                  </a:solidFill>
                  <a:effectLst/>
                  <a:uLnTx/>
                  <a:uFillTx/>
                  <a:latin typeface="Segoe UI"/>
                  <a:ea typeface="+mn-ea"/>
                  <a:cs typeface="Segoe UI Light" panose="020B0502040204020203" pitchFamily="34" charset="0"/>
                </a:rPr>
                <a:t>Q&amp;A and </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2C812"/>
                  </a:solidFill>
                  <a:effectLst/>
                  <a:uLnTx/>
                  <a:uFillTx/>
                  <a:latin typeface="Segoe UI"/>
                  <a:ea typeface="+mn-ea"/>
                  <a:cs typeface="Segoe UI Light" panose="020B0502040204020203" pitchFamily="34" charset="0"/>
                </a:rPr>
                <a:t>Quick Insights</a:t>
              </a:r>
              <a:endParaRPr kumimoji="0" lang="en-US" sz="1200" b="1" i="0" u="none" strike="noStrike" kern="1200" cap="none" spc="0" normalizeH="0" baseline="0" noProof="0">
                <a:ln>
                  <a:noFill/>
                </a:ln>
                <a:solidFill>
                  <a:srgbClr val="F2C812"/>
                </a:solidFill>
                <a:effectLst/>
                <a:uLnTx/>
                <a:uFillTx/>
                <a:latin typeface="Segoe UI"/>
                <a:ea typeface="+mn-ea"/>
                <a:cs typeface="Segoe UI Light" panose="020B0502040204020203" pitchFamily="34" charset="0"/>
              </a:endParaRPr>
            </a:p>
          </p:txBody>
        </p:sp>
        <p:sp>
          <p:nvSpPr>
            <p:cNvPr id="86" name="Oval 162"/>
            <p:cNvSpPr/>
            <p:nvPr/>
          </p:nvSpPr>
          <p:spPr bwMode="auto">
            <a:xfrm>
              <a:off x="226619" y="4551712"/>
              <a:ext cx="433844" cy="433844"/>
            </a:xfrm>
            <a:prstGeom prst="ellipse">
              <a:avLst/>
            </a:prstGeom>
            <a:solidFill>
              <a:srgbClr val="F2C812"/>
            </a:solidFill>
            <a:ln>
              <a:solidFill>
                <a:srgbClr val="FFCC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7" name="Rectangle 152"/>
            <p:cNvSpPr/>
            <p:nvPr/>
          </p:nvSpPr>
          <p:spPr bwMode="auto">
            <a:xfrm>
              <a:off x="738443" y="4596194"/>
              <a:ext cx="1884825" cy="30233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2C812"/>
                  </a:solidFill>
                  <a:effectLst/>
                  <a:uLnTx/>
                  <a:uFillTx/>
                  <a:latin typeface="Segoe UI"/>
                  <a:ea typeface="+mn-ea"/>
                  <a:cs typeface="Segoe UI Light" panose="020B0502040204020203" pitchFamily="34" charset="0"/>
                </a:rPr>
                <a:t>Sharing</a:t>
              </a:r>
              <a:endParaRPr kumimoji="0" lang="en-US" sz="1200" b="1" i="1" u="none" strike="noStrike" kern="1200" cap="none" spc="0" normalizeH="0" baseline="0" noProof="0">
                <a:ln>
                  <a:noFill/>
                </a:ln>
                <a:solidFill>
                  <a:srgbClr val="F2C812"/>
                </a:solidFill>
                <a:effectLst/>
                <a:uLnTx/>
                <a:uFillTx/>
                <a:latin typeface="Segoe UI"/>
                <a:ea typeface="+mn-ea"/>
                <a:cs typeface="Segoe UI Light" panose="020B0502040204020203" pitchFamily="34" charset="0"/>
              </a:endParaRPr>
            </a:p>
          </p:txBody>
        </p:sp>
        <p:sp>
          <p:nvSpPr>
            <p:cNvPr id="88" name="Rectangle 145"/>
            <p:cNvSpPr/>
            <p:nvPr/>
          </p:nvSpPr>
          <p:spPr bwMode="auto">
            <a:xfrm>
              <a:off x="697198" y="1847637"/>
              <a:ext cx="1821468" cy="3831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2C812"/>
                  </a:solidFill>
                  <a:effectLst/>
                  <a:uLnTx/>
                  <a:uFillTx/>
                  <a:latin typeface="Segoe UI"/>
                  <a:ea typeface="+mn-ea"/>
                  <a:cs typeface="Segoe UI Light" panose="020B0502040204020203" pitchFamily="34" charset="0"/>
                </a:rPr>
                <a:t>Pinning and Navigation</a:t>
              </a:r>
            </a:p>
          </p:txBody>
        </p:sp>
        <p:sp>
          <p:nvSpPr>
            <p:cNvPr id="89" name="Oval 162"/>
            <p:cNvSpPr/>
            <p:nvPr/>
          </p:nvSpPr>
          <p:spPr bwMode="auto">
            <a:xfrm>
              <a:off x="224136" y="1813606"/>
              <a:ext cx="433844" cy="433844"/>
            </a:xfrm>
            <a:prstGeom prst="ellipse">
              <a:avLst/>
            </a:prstGeom>
            <a:solidFill>
              <a:srgbClr val="FFCC00"/>
            </a:solidFill>
            <a:ln>
              <a:solidFill>
                <a:srgbClr val="F2C81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pic>
        <p:nvPicPr>
          <p:cNvPr id="103" name="Picture 102"/>
          <p:cNvPicPr>
            <a:picLocks noChangeAspect="1"/>
          </p:cNvPicPr>
          <p:nvPr/>
        </p:nvPicPr>
        <p:blipFill rotWithShape="1">
          <a:blip r:embed="rId4"/>
          <a:srcRect l="6503" t="21287" r="74698" b="20220"/>
          <a:stretch/>
        </p:blipFill>
        <p:spPr>
          <a:xfrm>
            <a:off x="339111" y="1946110"/>
            <a:ext cx="228600" cy="231962"/>
          </a:xfrm>
          <a:prstGeom prst="rect">
            <a:avLst/>
          </a:prstGeom>
        </p:spPr>
      </p:pic>
      <p:pic>
        <p:nvPicPr>
          <p:cNvPr id="104" name="Picture 103"/>
          <p:cNvPicPr>
            <a:picLocks noChangeAspect="1"/>
          </p:cNvPicPr>
          <p:nvPr/>
        </p:nvPicPr>
        <p:blipFill>
          <a:blip r:embed="rId5"/>
          <a:stretch>
            <a:fillRect/>
          </a:stretch>
        </p:blipFill>
        <p:spPr>
          <a:xfrm>
            <a:off x="284769" y="3673076"/>
            <a:ext cx="311766" cy="303106"/>
          </a:xfrm>
          <a:prstGeom prst="rect">
            <a:avLst/>
          </a:prstGeom>
        </p:spPr>
      </p:pic>
      <p:sp>
        <p:nvSpPr>
          <p:cNvPr id="105" name="Rectangle 145"/>
          <p:cNvSpPr/>
          <p:nvPr/>
        </p:nvSpPr>
        <p:spPr bwMode="auto">
          <a:xfrm>
            <a:off x="718897" y="5436715"/>
            <a:ext cx="1821468" cy="3831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2C812"/>
                </a:solidFill>
                <a:effectLst/>
                <a:uLnTx/>
                <a:uFillTx/>
                <a:latin typeface="Segoe UI"/>
                <a:ea typeface="+mn-ea"/>
                <a:cs typeface="Segoe UI Light" panose="020B0502040204020203" pitchFamily="34" charset="0"/>
              </a:rPr>
              <a:t>Connect from Excel</a:t>
            </a:r>
          </a:p>
        </p:txBody>
      </p:sp>
      <p:sp>
        <p:nvSpPr>
          <p:cNvPr id="106" name="Oval 162"/>
          <p:cNvSpPr/>
          <p:nvPr/>
        </p:nvSpPr>
        <p:spPr bwMode="auto">
          <a:xfrm>
            <a:off x="231441" y="5429649"/>
            <a:ext cx="433844" cy="433844"/>
          </a:xfrm>
          <a:prstGeom prst="ellipse">
            <a:avLst/>
          </a:prstGeom>
          <a:solidFill>
            <a:srgbClr val="FFCC00"/>
          </a:solidFill>
          <a:ln>
            <a:solidFill>
              <a:srgbClr val="F2C81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07" name="Picture 106"/>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flipH="1">
            <a:off x="283763" y="4596680"/>
            <a:ext cx="357484" cy="357484"/>
          </a:xfrm>
          <a:prstGeom prst="rect">
            <a:avLst/>
          </a:prstGeom>
        </p:spPr>
      </p:pic>
      <p:sp>
        <p:nvSpPr>
          <p:cNvPr id="108" name="Oval 162"/>
          <p:cNvSpPr/>
          <p:nvPr/>
        </p:nvSpPr>
        <p:spPr bwMode="auto">
          <a:xfrm>
            <a:off x="233032" y="6267344"/>
            <a:ext cx="433844" cy="433844"/>
          </a:xfrm>
          <a:prstGeom prst="ellipse">
            <a:avLst/>
          </a:prstGeom>
          <a:solidFill>
            <a:srgbClr val="FFCC00"/>
          </a:solidFill>
          <a:ln>
            <a:solidFill>
              <a:srgbClr val="F2C81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9" name="Rectangle 145"/>
          <p:cNvSpPr/>
          <p:nvPr/>
        </p:nvSpPr>
        <p:spPr bwMode="auto">
          <a:xfrm>
            <a:off x="701416" y="6289969"/>
            <a:ext cx="1821468" cy="3831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2C812"/>
                </a:solidFill>
                <a:effectLst/>
                <a:uLnTx/>
                <a:uFillTx/>
                <a:latin typeface="Segoe UI"/>
                <a:ea typeface="+mn-ea"/>
                <a:cs typeface="Segoe UI Light" panose="020B0502040204020203" pitchFamily="34" charset="0"/>
              </a:rPr>
              <a:t>Mobile Reports</a:t>
            </a:r>
          </a:p>
        </p:txBody>
      </p:sp>
      <p:pic>
        <p:nvPicPr>
          <p:cNvPr id="110" name="Picture 109"/>
          <p:cNvPicPr>
            <a:picLocks noChangeAspect="1"/>
          </p:cNvPicPr>
          <p:nvPr/>
        </p:nvPicPr>
        <p:blipFill>
          <a:blip r:embed="rId7" cstate="print">
            <a:extLst>
              <a:ext uri="{BEBA8EAE-BF5A-486C-A8C5-ECC9F3942E4B}">
                <a14:imgProps xmlns:a14="http://schemas.microsoft.com/office/drawing/2010/main">
                  <a14:imgLayer r:embed="rId8">
                    <a14:imgEffect>
                      <a14:saturation sat="0"/>
                    </a14:imgEffect>
                  </a14:imgLayer>
                </a14:imgProps>
              </a:ext>
              <a:ext uri="{28A0092B-C50C-407E-A947-70E740481C1C}">
                <a14:useLocalDpi xmlns:a14="http://schemas.microsoft.com/office/drawing/2010/main" val="0"/>
              </a:ext>
            </a:extLst>
          </a:blip>
          <a:stretch>
            <a:fillRect/>
          </a:stretch>
        </p:blipFill>
        <p:spPr>
          <a:xfrm>
            <a:off x="391946" y="6350039"/>
            <a:ext cx="133350" cy="251587"/>
          </a:xfrm>
          <a:prstGeom prst="rect">
            <a:avLst/>
          </a:prstGeom>
        </p:spPr>
      </p:pic>
      <p:pic>
        <p:nvPicPr>
          <p:cNvPr id="111" name="Picture 110"/>
          <p:cNvPicPr>
            <a:picLocks noChangeAspect="1"/>
          </p:cNvPicPr>
          <p:nvPr/>
        </p:nvPicPr>
        <p:blipFill>
          <a:blip r:embed="rId9" cstate="print">
            <a:biLevel thresh="50000"/>
            <a:extLst>
              <a:ext uri="{28A0092B-C50C-407E-A947-70E740481C1C}">
                <a14:useLocalDpi xmlns:a14="http://schemas.microsoft.com/office/drawing/2010/main" val="0"/>
              </a:ext>
            </a:extLst>
          </a:blip>
          <a:stretch>
            <a:fillRect/>
          </a:stretch>
        </p:blipFill>
        <p:spPr>
          <a:xfrm>
            <a:off x="332658" y="5538489"/>
            <a:ext cx="268940" cy="268940"/>
          </a:xfrm>
          <a:prstGeom prst="rect">
            <a:avLst/>
          </a:prstGeom>
        </p:spPr>
      </p:pic>
      <p:sp>
        <p:nvSpPr>
          <p:cNvPr id="112" name="Rectangle 111"/>
          <p:cNvSpPr/>
          <p:nvPr/>
        </p:nvSpPr>
        <p:spPr bwMode="auto">
          <a:xfrm>
            <a:off x="35912" y="2594112"/>
            <a:ext cx="2464420" cy="4194313"/>
          </a:xfrm>
          <a:prstGeom prst="rect">
            <a:avLst/>
          </a:prstGeom>
          <a:solidFill>
            <a:srgbClr val="000000">
              <a:alpha val="6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3" name="Rectangle 112"/>
          <p:cNvSpPr/>
          <p:nvPr/>
        </p:nvSpPr>
        <p:spPr bwMode="auto">
          <a:xfrm>
            <a:off x="95936" y="731576"/>
            <a:ext cx="2464420" cy="880187"/>
          </a:xfrm>
          <a:prstGeom prst="rect">
            <a:avLst/>
          </a:prstGeom>
          <a:solidFill>
            <a:srgbClr val="000000">
              <a:alpha val="6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23716119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 name="Title 10"/>
          <p:cNvSpPr txBox="1">
            <a:spLocks/>
          </p:cNvSpPr>
          <p:nvPr/>
        </p:nvSpPr>
        <p:spPr>
          <a:xfrm>
            <a:off x="2849060" y="0"/>
            <a:ext cx="9342940" cy="665151"/>
          </a:xfrm>
          <a:prstGeom prst="rect">
            <a:avLst/>
          </a:prstGeom>
          <a:noFill/>
        </p:spPr>
        <p:txBody>
          <a:bodyPr vert="horz" wrap="square" lIns="0" tIns="91440" rIns="0" bIns="91440" rtlCol="0" anchor="t">
            <a:noAutofit/>
          </a:bodyPr>
          <a:lstStyle>
            <a:lvl1pPr defTabSz="914367">
              <a:lnSpc>
                <a:spcPct val="90000"/>
              </a:lnSpc>
              <a:spcBef>
                <a:spcPct val="0"/>
              </a:spcBef>
              <a:buNone/>
              <a:defRPr lang="en-US" sz="5294" b="0" cap="none" spc="-100" baseline="0" dirty="0" smtClean="0">
                <a:ln w="3175">
                  <a:noFill/>
                </a:ln>
                <a:solidFill>
                  <a:schemeClr val="tx2"/>
                </a:solidFill>
                <a:effectLst/>
                <a:latin typeface="+mj-lt"/>
                <a:cs typeface="Segoe UI" pitchFamily="34" charset="0"/>
              </a:defRPr>
            </a:lvl1pPr>
          </a:lstStyle>
          <a:p>
            <a:pPr marL="168275" marR="0" lvl="0" indent="0" algn="l" defTabSz="914367" rtl="0" eaLnBrk="1" fontAlgn="auto" latinLnBrk="0" hangingPunct="1">
              <a:lnSpc>
                <a:spcPct val="90000"/>
              </a:lnSpc>
              <a:spcBef>
                <a:spcPct val="0"/>
              </a:spcBef>
              <a:spcAft>
                <a:spcPts val="0"/>
              </a:spcAft>
              <a:buClrTx/>
              <a:buSzTx/>
              <a:buFontTx/>
              <a:buNone/>
              <a:tabLst/>
              <a:defRPr/>
            </a:pPr>
            <a:r>
              <a:rPr kumimoji="0" lang="en-US" sz="3600" b="0" i="0" u="none" strike="noStrike" kern="1200" cap="none" spc="-100" normalizeH="0" baseline="0" noProof="0">
                <a:ln w="3175">
                  <a:noFill/>
                </a:ln>
                <a:solidFill>
                  <a:prstClr val="black"/>
                </a:solidFill>
                <a:effectLst/>
                <a:uLnTx/>
                <a:uFillTx/>
                <a:latin typeface="Segoe UI Light"/>
                <a:ea typeface="+mn-ea"/>
                <a:cs typeface="Segoe UI" pitchFamily="34" charset="0"/>
              </a:rPr>
              <a:t>Pinning and Navigation</a:t>
            </a:r>
            <a:endParaRPr kumimoji="0" lang="en-IN" sz="3600" b="0" i="0" u="none" strike="noStrike" kern="1200" cap="none" spc="-100" normalizeH="0" baseline="0" noProof="0">
              <a:ln w="3175">
                <a:noFill/>
              </a:ln>
              <a:solidFill>
                <a:prstClr val="black"/>
              </a:solidFill>
              <a:effectLst/>
              <a:uLnTx/>
              <a:uFillTx/>
              <a:latin typeface="Segoe UI Light"/>
              <a:ea typeface="+mn-ea"/>
              <a:cs typeface="Segoe UI" pitchFamily="34" charset="0"/>
            </a:endParaRPr>
          </a:p>
        </p:txBody>
      </p:sp>
      <p:sp>
        <p:nvSpPr>
          <p:cNvPr id="41" name="Rectangle 3"/>
          <p:cNvSpPr/>
          <p:nvPr/>
        </p:nvSpPr>
        <p:spPr bwMode="auto">
          <a:xfrm>
            <a:off x="3202216" y="665151"/>
            <a:ext cx="8105312" cy="44435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PT" sz="2000" b="0" i="1" u="none" strike="noStrike" kern="1200" cap="none" spc="0" normalizeH="0" baseline="0" noProof="0">
                <a:ln>
                  <a:noFill/>
                </a:ln>
                <a:solidFill>
                  <a:prstClr val="black"/>
                </a:solidFill>
                <a:effectLst/>
                <a:uLnTx/>
                <a:uFillTx/>
                <a:latin typeface="Segoe UI Light"/>
                <a:ea typeface="+mn-ea"/>
                <a:cs typeface="+mn-cs"/>
              </a:rPr>
              <a:t>Report – Editing View</a:t>
            </a:r>
            <a:endParaRPr kumimoji="0" lang="en-US" sz="2000" b="0" i="1" u="none" strike="noStrike" kern="1200" cap="none" spc="0" normalizeH="0" baseline="0" noProof="0">
              <a:ln>
                <a:noFill/>
              </a:ln>
              <a:solidFill>
                <a:prstClr val="black"/>
              </a:solidFill>
              <a:effectLst/>
              <a:uLnTx/>
              <a:uFillTx/>
              <a:latin typeface="Segoe UI Light"/>
              <a:ea typeface="+mn-ea"/>
              <a:cs typeface="+mn-cs"/>
            </a:endParaRPr>
          </a:p>
        </p:txBody>
      </p:sp>
      <p:sp>
        <p:nvSpPr>
          <p:cNvPr id="51" name="Text Placeholder 2"/>
          <p:cNvSpPr txBox="1">
            <a:spLocks/>
          </p:cNvSpPr>
          <p:nvPr/>
        </p:nvSpPr>
        <p:spPr>
          <a:xfrm>
            <a:off x="5200737" y="1697659"/>
            <a:ext cx="6106791" cy="897374"/>
          </a:xfrm>
          <a:prstGeom prst="rect">
            <a:avLst/>
          </a:prstGeom>
        </p:spPr>
        <p:txBody>
          <a:bodyPr vert="horz" wrap="square" lIns="182880" tIns="146304" rIns="182880" bIns="146304" rtlCol="0">
            <a:noAutofit/>
          </a:bodyPr>
          <a:lstStyle>
            <a:lvl1pPr marL="182845" marR="0"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3921" kern="1200" spc="0" baseline="0">
                <a:gradFill>
                  <a:gsLst>
                    <a:gs pos="1250">
                      <a:schemeClr val="tx2"/>
                    </a:gs>
                    <a:gs pos="99000">
                      <a:schemeClr val="tx2"/>
                    </a:gs>
                  </a:gsLst>
                  <a:lin ang="5400000" scaled="0"/>
                </a:gradFill>
                <a:latin typeface="+mj-lt"/>
                <a:ea typeface="+mn-ea"/>
                <a:cs typeface="+mn-cs"/>
              </a:defRPr>
            </a:lvl1pPr>
            <a:lvl2pPr marL="365690" marR="0"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2400" kern="1200" spc="0" baseline="0">
                <a:solidFill>
                  <a:schemeClr val="tx2"/>
                </a:solidFill>
                <a:latin typeface="+mj-lt"/>
                <a:ea typeface="+mn-ea"/>
                <a:cs typeface="+mn-cs"/>
              </a:defRPr>
            </a:lvl2pPr>
            <a:lvl3pPr marL="548535" marR="0"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2000" kern="1200" spc="0" baseline="0">
                <a:solidFill>
                  <a:schemeClr val="tx2"/>
                </a:solidFill>
                <a:latin typeface="+mj-lt"/>
                <a:ea typeface="+mn-ea"/>
                <a:cs typeface="+mn-cs"/>
              </a:defRPr>
            </a:lvl3pPr>
            <a:lvl4pPr marL="733802" marR="0" indent="-28569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1765" kern="1200" spc="0" baseline="0">
                <a:solidFill>
                  <a:schemeClr val="tx2"/>
                </a:solidFill>
                <a:latin typeface="+mn-lt"/>
                <a:ea typeface="+mn-ea"/>
                <a:cs typeface="+mn-cs"/>
              </a:defRPr>
            </a:lvl4pPr>
            <a:lvl5pPr marL="957856" marR="0" indent="-28569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1765" kern="1200" spc="0" baseline="0">
                <a:solidFill>
                  <a:schemeClr val="tx2"/>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r>
              <a:rPr kumimoji="0" lang="en-US" sz="2000" b="0" i="0" u="none" strike="noStrike" kern="1200" cap="none" spc="0" normalizeH="0" baseline="0" noProof="0">
                <a:ln>
                  <a:noFill/>
                </a:ln>
                <a:solidFill>
                  <a:prstClr val="white"/>
                </a:solidFill>
                <a:effectLst/>
                <a:uLnTx/>
                <a:uFillTx/>
                <a:latin typeface="Segoe UI Light"/>
                <a:ea typeface="+mn-ea"/>
                <a:cs typeface="Times New Roman" panose="02020603050405020304" pitchFamily="18" charset="0"/>
              </a:rPr>
              <a:t>A report is composed of </a:t>
            </a:r>
            <a:r>
              <a:rPr kumimoji="0" lang="en-US" sz="2000" b="1" i="0" u="none" strike="noStrike" kern="1200" cap="none" spc="0" normalizeH="0" baseline="0" noProof="0">
                <a:ln>
                  <a:noFill/>
                </a:ln>
                <a:solidFill>
                  <a:prstClr val="white"/>
                </a:solidFill>
                <a:effectLst/>
                <a:uLnTx/>
                <a:uFillTx/>
                <a:latin typeface="Segoe UI Light"/>
                <a:ea typeface="+mn-ea"/>
                <a:cs typeface="Times New Roman" panose="02020603050405020304" pitchFamily="18" charset="0"/>
              </a:rPr>
              <a:t>one or more pages of visualizations</a:t>
            </a: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1" i="0" u="none" strike="noStrike" kern="1200" cap="none" spc="0" normalizeH="0" baseline="0" noProof="0">
              <a:ln>
                <a:noFill/>
              </a:ln>
              <a:solidFill>
                <a:prstClr val="white"/>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r>
              <a:rPr kumimoji="0" lang="en-US" sz="2000" b="0" i="0" u="none" strike="noStrike" kern="1200" cap="none" spc="0" normalizeH="0" baseline="0" noProof="0">
                <a:ln>
                  <a:noFill/>
                </a:ln>
                <a:solidFill>
                  <a:prstClr val="white"/>
                </a:solidFill>
                <a:effectLst/>
                <a:uLnTx/>
                <a:uFillTx/>
                <a:latin typeface="Segoe UI Light"/>
                <a:ea typeface="+mn-ea"/>
                <a:cs typeface="Times New Roman" panose="02020603050405020304" pitchFamily="18" charset="0"/>
              </a:rPr>
              <a:t>Can be </a:t>
            </a:r>
            <a:r>
              <a:rPr kumimoji="0" lang="en-US" sz="2000" b="1" i="0" u="none" strike="noStrike" kern="1200" cap="none" spc="0" normalizeH="0" baseline="0" noProof="0">
                <a:ln>
                  <a:noFill/>
                </a:ln>
                <a:solidFill>
                  <a:prstClr val="white"/>
                </a:solidFill>
                <a:effectLst/>
                <a:uLnTx/>
                <a:uFillTx/>
                <a:latin typeface="Segoe UI Light"/>
                <a:ea typeface="+mn-ea"/>
                <a:cs typeface="Times New Roman" panose="02020603050405020304" pitchFamily="18" charset="0"/>
              </a:rPr>
              <a:t>developed</a:t>
            </a:r>
            <a:r>
              <a:rPr kumimoji="0" lang="en-US" sz="2000" b="0" i="0" u="none" strike="noStrike" kern="1200" cap="none" spc="0" normalizeH="0" baseline="0" noProof="0">
                <a:ln>
                  <a:noFill/>
                </a:ln>
                <a:solidFill>
                  <a:prstClr val="white"/>
                </a:solidFill>
                <a:effectLst/>
                <a:uLnTx/>
                <a:uFillTx/>
                <a:latin typeface="Segoe UI Light"/>
                <a:ea typeface="+mn-ea"/>
                <a:cs typeface="Times New Roman" panose="02020603050405020304" pitchFamily="18" charset="0"/>
              </a:rPr>
              <a:t> in </a:t>
            </a:r>
            <a:r>
              <a:rPr kumimoji="0" lang="en-US" sz="2000" b="1" i="0" u="none" strike="noStrike" kern="1200" cap="none" spc="0" normalizeH="0" baseline="0" noProof="0">
                <a:ln>
                  <a:noFill/>
                </a:ln>
                <a:solidFill>
                  <a:prstClr val="white"/>
                </a:solidFill>
                <a:effectLst/>
                <a:uLnTx/>
                <a:uFillTx/>
                <a:latin typeface="Segoe UI Light"/>
                <a:ea typeface="+mn-ea"/>
                <a:cs typeface="Times New Roman" panose="02020603050405020304" pitchFamily="18" charset="0"/>
              </a:rPr>
              <a:t>Desktop</a:t>
            </a:r>
            <a:r>
              <a:rPr kumimoji="0" lang="en-US" sz="2000" b="0" i="0" u="none" strike="noStrike" kern="1200" cap="none" spc="0" normalizeH="0" baseline="0" noProof="0">
                <a:ln>
                  <a:noFill/>
                </a:ln>
                <a:solidFill>
                  <a:prstClr val="white"/>
                </a:solidFill>
                <a:effectLst/>
                <a:uLnTx/>
                <a:uFillTx/>
                <a:latin typeface="Segoe UI Light"/>
                <a:ea typeface="+mn-ea"/>
                <a:cs typeface="Times New Roman" panose="02020603050405020304" pitchFamily="18" charset="0"/>
              </a:rPr>
              <a:t> (or Excel) or in the </a:t>
            </a:r>
            <a:r>
              <a:rPr kumimoji="0" lang="en-US" sz="2000" b="1" i="0" u="none" strike="noStrike" kern="1200" cap="none" spc="0" normalizeH="0" baseline="0" noProof="0">
                <a:ln>
                  <a:noFill/>
                </a:ln>
                <a:solidFill>
                  <a:prstClr val="white"/>
                </a:solidFill>
                <a:effectLst/>
                <a:uLnTx/>
                <a:uFillTx/>
                <a:latin typeface="Segoe UI Light"/>
                <a:ea typeface="+mn-ea"/>
                <a:cs typeface="Times New Roman" panose="02020603050405020304" pitchFamily="18" charset="0"/>
              </a:rPr>
              <a:t>service</a:t>
            </a: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r>
              <a:rPr kumimoji="0" lang="en-US" sz="2000" b="0" i="0" u="none" strike="noStrike" kern="1200" cap="none" spc="0" normalizeH="0" baseline="0" noProof="0">
                <a:ln>
                  <a:noFill/>
                </a:ln>
                <a:solidFill>
                  <a:prstClr val="white"/>
                </a:solidFill>
                <a:effectLst/>
                <a:uLnTx/>
                <a:uFillTx/>
                <a:latin typeface="Segoe UI Light"/>
                <a:ea typeface="+mn-ea"/>
                <a:cs typeface="Times New Roman" panose="02020603050405020304" pitchFamily="18" charset="0"/>
              </a:rPr>
              <a:t>Gets its </a:t>
            </a:r>
            <a:r>
              <a:rPr kumimoji="0" lang="en-US" sz="2000" b="1" i="0" u="none" strike="noStrike" kern="1200" cap="none" spc="0" normalizeH="0" baseline="0" noProof="0">
                <a:ln>
                  <a:noFill/>
                </a:ln>
                <a:solidFill>
                  <a:prstClr val="white"/>
                </a:solidFill>
                <a:effectLst/>
                <a:uLnTx/>
                <a:uFillTx/>
                <a:latin typeface="Segoe UI Light"/>
                <a:ea typeface="+mn-ea"/>
                <a:cs typeface="Times New Roman" panose="02020603050405020304" pitchFamily="18" charset="0"/>
              </a:rPr>
              <a:t>data from one dataset</a:t>
            </a: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0" i="0" u="none" strike="noStrike" kern="1200" cap="none" spc="0" normalizeH="0" baseline="0" noProof="0">
              <a:ln>
                <a:noFill/>
              </a:ln>
              <a:solidFill>
                <a:prstClr val="white"/>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r>
              <a:rPr kumimoji="0" lang="en-US" sz="2000" b="0" i="0" u="none" strike="noStrike" kern="1200" cap="none" spc="0" normalizeH="0" baseline="0" noProof="0">
                <a:ln>
                  <a:noFill/>
                </a:ln>
                <a:solidFill>
                  <a:prstClr val="white"/>
                </a:solidFill>
                <a:effectLst/>
                <a:uLnTx/>
                <a:uFillTx/>
                <a:latin typeface="Segoe UI Light"/>
                <a:ea typeface="+mn-ea"/>
                <a:cs typeface="Times New Roman" panose="02020603050405020304" pitchFamily="18" charset="0"/>
              </a:rPr>
              <a:t>Can be used for building dashboards as a whole or bit by bit</a:t>
            </a: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0" i="0" u="none" strike="noStrike" kern="1200" cap="none" spc="0" normalizeH="0" baseline="0" noProof="0">
              <a:ln>
                <a:noFill/>
              </a:ln>
              <a:solidFill>
                <a:prstClr val="white"/>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r>
              <a:rPr kumimoji="0" lang="en-US" sz="2000" b="0" i="0" u="none" strike="noStrike" kern="1200" cap="none" spc="0" normalizeH="0" baseline="0" noProof="0">
                <a:ln>
                  <a:noFill/>
                </a:ln>
                <a:solidFill>
                  <a:prstClr val="white"/>
                </a:solidFill>
                <a:effectLst/>
                <a:uLnTx/>
                <a:uFillTx/>
                <a:latin typeface="Segoe UI Light"/>
                <a:ea typeface="+mn-ea"/>
                <a:cs typeface="Times New Roman" panose="02020603050405020304" pitchFamily="18" charset="0"/>
              </a:rPr>
              <a:t>Reports can be consumed in </a:t>
            </a:r>
            <a:r>
              <a:rPr kumimoji="0" lang="en-US" sz="2000" b="1" i="0" u="none" strike="noStrike" kern="1200" cap="none" spc="0" normalizeH="0" baseline="0" noProof="0">
                <a:ln>
                  <a:noFill/>
                </a:ln>
                <a:solidFill>
                  <a:prstClr val="white"/>
                </a:solidFill>
                <a:effectLst/>
                <a:uLnTx/>
                <a:uFillTx/>
                <a:latin typeface="Segoe UI Light"/>
                <a:ea typeface="+mn-ea"/>
                <a:cs typeface="Times New Roman" panose="02020603050405020304" pitchFamily="18" charset="0"/>
              </a:rPr>
              <a:t>Reading View</a:t>
            </a:r>
            <a:r>
              <a:rPr kumimoji="0" lang="en-US" sz="2000" b="0" i="0" u="none" strike="noStrike" kern="1200" cap="none" spc="0" normalizeH="0" baseline="0" noProof="0">
                <a:ln>
                  <a:noFill/>
                </a:ln>
                <a:solidFill>
                  <a:prstClr val="white"/>
                </a:solidFill>
                <a:effectLst/>
                <a:uLnTx/>
                <a:uFillTx/>
                <a:latin typeface="Segoe UI Light"/>
                <a:ea typeface="+mn-ea"/>
                <a:cs typeface="Times New Roman" panose="02020603050405020304" pitchFamily="18" charset="0"/>
              </a:rPr>
              <a:t> or </a:t>
            </a:r>
            <a:r>
              <a:rPr kumimoji="0" lang="en-US" sz="2000" b="1" i="0" u="none" strike="noStrike" kern="1200" cap="none" spc="0" normalizeH="0" baseline="0" noProof="0">
                <a:ln>
                  <a:noFill/>
                </a:ln>
                <a:solidFill>
                  <a:prstClr val="white"/>
                </a:solidFill>
                <a:effectLst/>
                <a:uLnTx/>
                <a:uFillTx/>
                <a:latin typeface="Segoe UI Light"/>
                <a:ea typeface="+mn-ea"/>
                <a:cs typeface="Times New Roman" panose="02020603050405020304" pitchFamily="18" charset="0"/>
              </a:rPr>
              <a:t>Editing View</a:t>
            </a:r>
            <a:endParaRPr kumimoji="0" lang="en-US" sz="2000" b="0" i="0" u="none" strike="noStrike" kern="1200" cap="none" spc="0" normalizeH="0" baseline="0" noProof="0">
              <a:ln>
                <a:noFill/>
              </a:ln>
              <a:solidFill>
                <a:prstClr val="white"/>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0" i="0" u="none" strike="noStrike" kern="1200" cap="none" spc="0" normalizeH="0" baseline="0" noProof="0">
              <a:ln>
                <a:noFill/>
              </a:ln>
              <a:solidFill>
                <a:prstClr val="white"/>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0" i="0" u="none" strike="noStrike" kern="1200" cap="none" spc="0" normalizeH="0" baseline="0" noProof="0">
              <a:ln>
                <a:noFill/>
              </a:ln>
              <a:solidFill>
                <a:prstClr val="white"/>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1" i="0" u="none" strike="noStrike" kern="1200" cap="none" spc="0" normalizeH="0" baseline="0" noProof="0">
              <a:ln>
                <a:noFill/>
              </a:ln>
              <a:solidFill>
                <a:prstClr val="white"/>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1" i="0" u="none" strike="noStrike" kern="1200" cap="none" spc="0" normalizeH="0" baseline="0" noProof="0">
              <a:ln>
                <a:noFill/>
              </a:ln>
              <a:solidFill>
                <a:prstClr val="white"/>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1" i="0" u="none" strike="noStrike" kern="1200" cap="none" spc="0" normalizeH="0" baseline="0" noProof="0">
              <a:ln>
                <a:noFill/>
              </a:ln>
              <a:solidFill>
                <a:prstClr val="white"/>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1" i="0" u="none" strike="noStrike" kern="1200" cap="none" spc="0" normalizeH="0" baseline="0" noProof="0">
              <a:ln>
                <a:noFill/>
              </a:ln>
              <a:solidFill>
                <a:prstClr val="white"/>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1" i="0" u="none" strike="noStrike" kern="1200" cap="none" spc="0" normalizeH="0" baseline="0" noProof="0">
              <a:ln>
                <a:noFill/>
              </a:ln>
              <a:solidFill>
                <a:prstClr val="white"/>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1" i="0" u="none" strike="noStrike" kern="1200" cap="none" spc="0" normalizeH="0" baseline="0" noProof="0">
              <a:ln>
                <a:noFill/>
              </a:ln>
              <a:solidFill>
                <a:prstClr val="white"/>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1" i="0" u="none" strike="noStrike" kern="1200" cap="none" spc="0" normalizeH="0" baseline="0" noProof="0">
              <a:ln>
                <a:noFill/>
              </a:ln>
              <a:solidFill>
                <a:prstClr val="white"/>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1"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p:txBody>
      </p:sp>
      <p:sp>
        <p:nvSpPr>
          <p:cNvPr id="40" name="Text Placeholder 2"/>
          <p:cNvSpPr txBox="1">
            <a:spLocks/>
          </p:cNvSpPr>
          <p:nvPr/>
        </p:nvSpPr>
        <p:spPr>
          <a:xfrm>
            <a:off x="2846171" y="1340643"/>
            <a:ext cx="9031090" cy="897374"/>
          </a:xfrm>
          <a:prstGeom prst="rect">
            <a:avLst/>
          </a:prstGeom>
        </p:spPr>
        <p:txBody>
          <a:bodyPr vert="horz" wrap="square" lIns="182880" tIns="146304" rIns="182880" bIns="146304" rtlCol="0">
            <a:noAutofit/>
          </a:bodyPr>
          <a:lstStyle>
            <a:lvl1pPr marL="182845" marR="0"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3921" kern="1200" spc="0" baseline="0">
                <a:gradFill>
                  <a:gsLst>
                    <a:gs pos="1250">
                      <a:schemeClr val="tx2"/>
                    </a:gs>
                    <a:gs pos="99000">
                      <a:schemeClr val="tx2"/>
                    </a:gs>
                  </a:gsLst>
                  <a:lin ang="5400000" scaled="0"/>
                </a:gradFill>
                <a:latin typeface="+mj-lt"/>
                <a:ea typeface="+mn-ea"/>
                <a:cs typeface="+mn-cs"/>
              </a:defRPr>
            </a:lvl1pPr>
            <a:lvl2pPr marL="365690" marR="0"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2400" kern="1200" spc="0" baseline="0">
                <a:solidFill>
                  <a:schemeClr val="tx2"/>
                </a:solidFill>
                <a:latin typeface="+mj-lt"/>
                <a:ea typeface="+mn-ea"/>
                <a:cs typeface="+mn-cs"/>
              </a:defRPr>
            </a:lvl2pPr>
            <a:lvl3pPr marL="548535" marR="0"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2000" kern="1200" spc="0" baseline="0">
                <a:solidFill>
                  <a:schemeClr val="tx2"/>
                </a:solidFill>
                <a:latin typeface="+mj-lt"/>
                <a:ea typeface="+mn-ea"/>
                <a:cs typeface="+mn-cs"/>
              </a:defRPr>
            </a:lvl3pPr>
            <a:lvl4pPr marL="733802" marR="0" indent="-28569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1765" kern="1200" spc="0" baseline="0">
                <a:solidFill>
                  <a:schemeClr val="tx2"/>
                </a:solidFill>
                <a:latin typeface="+mn-lt"/>
                <a:ea typeface="+mn-ea"/>
                <a:cs typeface="+mn-cs"/>
              </a:defRPr>
            </a:lvl4pPr>
            <a:lvl5pPr marL="957856" marR="0" indent="-28569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1765" kern="1200" spc="0" baseline="0">
                <a:solidFill>
                  <a:schemeClr val="tx2"/>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r>
              <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rPr>
              <a:t>It is possible to </a:t>
            </a:r>
            <a:r>
              <a:rPr kumimoji="0" lang="en-US" sz="2000" b="1"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rPr>
              <a:t>alter</a:t>
            </a:r>
            <a:r>
              <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rPr>
              <a:t> an existing report page or to </a:t>
            </a:r>
            <a:r>
              <a:rPr kumimoji="0" lang="en-US" sz="2000" b="1"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rPr>
              <a:t>create</a:t>
            </a:r>
            <a:r>
              <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rPr>
              <a:t> new pages in Editing View</a:t>
            </a: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1"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r>
              <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rPr>
              <a:t>Similar reporting functionality to Power BI Desktop</a:t>
            </a: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r>
              <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rPr>
              <a:t>Can also use </a:t>
            </a:r>
            <a:r>
              <a:rPr kumimoji="0" lang="en-US" sz="2000" b="1"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rPr>
              <a:t>Custom Visualizations</a:t>
            </a: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r>
              <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rPr>
              <a:t>In the end a </a:t>
            </a:r>
            <a:r>
              <a:rPr kumimoji="0" lang="en-US" sz="2000" b="1"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rPr>
              <a:t>Save</a:t>
            </a:r>
            <a:r>
              <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rPr>
              <a:t> has to be done to commit the changes</a:t>
            </a: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r>
              <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rPr>
              <a:t>Click “Reading View” to return to that mode</a:t>
            </a:r>
          </a:p>
          <a:p>
            <a:pPr marL="182845" marR="0" lvl="1" indent="0" algn="l" defTabSz="914367" rtl="0" eaLnBrk="1" fontAlgn="auto" latinLnBrk="0" hangingPunct="1">
              <a:lnSpc>
                <a:spcPct val="90000"/>
              </a:lnSpc>
              <a:spcBef>
                <a:spcPct val="20000"/>
              </a:spcBef>
              <a:spcAft>
                <a:spcPts val="0"/>
              </a:spcAft>
              <a:buClrTx/>
              <a:buSzPct val="90000"/>
              <a:buFont typeface="Arial" panose="020B0604020202020204" pitchFamily="34" charset="0"/>
              <a:buNone/>
              <a:tabLst/>
              <a:defRPr/>
            </a:pPr>
            <a:endPar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1"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1"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1"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p:txBody>
      </p:sp>
      <p:pic>
        <p:nvPicPr>
          <p:cNvPr id="3" name="Picture 2"/>
          <p:cNvPicPr>
            <a:picLocks noChangeAspect="1"/>
          </p:cNvPicPr>
          <p:nvPr/>
        </p:nvPicPr>
        <p:blipFill>
          <a:blip r:embed="rId3"/>
          <a:stretch>
            <a:fillRect/>
          </a:stretch>
        </p:blipFill>
        <p:spPr>
          <a:xfrm>
            <a:off x="5416619" y="5049272"/>
            <a:ext cx="4638675" cy="1638300"/>
          </a:xfrm>
          <a:prstGeom prst="rect">
            <a:avLst/>
          </a:prstGeom>
        </p:spPr>
      </p:pic>
      <p:sp>
        <p:nvSpPr>
          <p:cNvPr id="42" name="Rectangle 41"/>
          <p:cNvSpPr/>
          <p:nvPr/>
        </p:nvSpPr>
        <p:spPr bwMode="auto">
          <a:xfrm>
            <a:off x="7131910" y="5210200"/>
            <a:ext cx="1147386" cy="273964"/>
          </a:xfrm>
          <a:prstGeom prst="rect">
            <a:avLst/>
          </a:prstGeom>
          <a:noFill/>
          <a:ln w="38100">
            <a:solidFill>
              <a:srgbClr val="FF00F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43" name="Group 42"/>
          <p:cNvGrpSpPr/>
          <p:nvPr/>
        </p:nvGrpSpPr>
        <p:grpSpPr>
          <a:xfrm>
            <a:off x="-2887" y="973"/>
            <a:ext cx="2849058" cy="6857027"/>
            <a:chOff x="2" y="487"/>
            <a:chExt cx="2849058" cy="6857027"/>
          </a:xfrm>
        </p:grpSpPr>
        <p:sp>
          <p:nvSpPr>
            <p:cNvPr id="80" name="Rectangle 15"/>
            <p:cNvSpPr/>
            <p:nvPr/>
          </p:nvSpPr>
          <p:spPr bwMode="auto">
            <a:xfrm>
              <a:off x="2" y="487"/>
              <a:ext cx="2849058" cy="685702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1" name="Rectangle 145"/>
            <p:cNvSpPr/>
            <p:nvPr/>
          </p:nvSpPr>
          <p:spPr bwMode="auto">
            <a:xfrm>
              <a:off x="696152" y="956997"/>
              <a:ext cx="1821468" cy="3831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2C812"/>
                  </a:solidFill>
                  <a:effectLst/>
                  <a:uLnTx/>
                  <a:uFillTx/>
                  <a:latin typeface="Segoe UI"/>
                  <a:ea typeface="+mn-ea"/>
                  <a:cs typeface="Segoe UI Light" panose="020B0502040204020203" pitchFamily="34" charset="0"/>
                </a:rPr>
                <a:t>Get Data</a:t>
              </a:r>
              <a:endParaRPr kumimoji="0" lang="en-US" sz="1200" b="1" i="1" u="none" strike="noStrike" kern="1200" cap="none" spc="0" normalizeH="0" baseline="0" noProof="0">
                <a:ln>
                  <a:noFill/>
                </a:ln>
                <a:solidFill>
                  <a:srgbClr val="F2C812"/>
                </a:solidFill>
                <a:effectLst/>
                <a:uLnTx/>
                <a:uFillTx/>
                <a:latin typeface="Segoe UI"/>
                <a:ea typeface="+mn-ea"/>
                <a:cs typeface="Segoe UI Light" panose="020B0502040204020203" pitchFamily="34" charset="0"/>
              </a:endParaRPr>
            </a:p>
          </p:txBody>
        </p:sp>
        <p:grpSp>
          <p:nvGrpSpPr>
            <p:cNvPr id="82" name="Group 81"/>
            <p:cNvGrpSpPr/>
            <p:nvPr/>
          </p:nvGrpSpPr>
          <p:grpSpPr>
            <a:xfrm>
              <a:off x="219373" y="934583"/>
              <a:ext cx="433844" cy="433844"/>
              <a:chOff x="440005" y="997815"/>
              <a:chExt cx="296322" cy="296322"/>
            </a:xfrm>
          </p:grpSpPr>
          <p:sp>
            <p:nvSpPr>
              <p:cNvPr id="101" name="Oval 147"/>
              <p:cNvSpPr/>
              <p:nvPr/>
            </p:nvSpPr>
            <p:spPr bwMode="auto">
              <a:xfrm>
                <a:off x="440005" y="997815"/>
                <a:ext cx="296322" cy="296322"/>
              </a:xfrm>
              <a:prstGeom prst="ellipse">
                <a:avLst/>
              </a:prstGeom>
              <a:solidFill>
                <a:srgbClr val="FFCC00"/>
              </a:solidFill>
              <a:ln>
                <a:solidFill>
                  <a:srgbClr val="F2C81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02" name="Group 332"/>
              <p:cNvGrpSpPr/>
              <p:nvPr/>
            </p:nvGrpSpPr>
            <p:grpSpPr>
              <a:xfrm>
                <a:off x="482167" y="1059311"/>
                <a:ext cx="211997" cy="173292"/>
                <a:chOff x="2123129" y="293070"/>
                <a:chExt cx="2472585" cy="2021178"/>
              </a:xfrm>
            </p:grpSpPr>
            <p:sp>
              <p:nvSpPr>
                <p:cNvPr id="103" name="Freeform 13"/>
                <p:cNvSpPr>
                  <a:spLocks/>
                </p:cNvSpPr>
                <p:nvPr/>
              </p:nvSpPr>
              <p:spPr bwMode="auto">
                <a:xfrm rot="20700000">
                  <a:off x="3155853" y="872796"/>
                  <a:ext cx="1439861" cy="1441452"/>
                </a:xfrm>
                <a:custGeom>
                  <a:avLst/>
                  <a:gdLst>
                    <a:gd name="T0" fmla="*/ 138 w 441"/>
                    <a:gd name="T1" fmla="*/ 341 h 441"/>
                    <a:gd name="T2" fmla="*/ 183 w 441"/>
                    <a:gd name="T3" fmla="*/ 374 h 441"/>
                    <a:gd name="T4" fmla="*/ 220 w 441"/>
                    <a:gd name="T5" fmla="*/ 423 h 441"/>
                    <a:gd name="T6" fmla="*/ 422 w 441"/>
                    <a:gd name="T7" fmla="*/ 220 h 441"/>
                    <a:gd name="T8" fmla="*/ 373 w 441"/>
                    <a:gd name="T9" fmla="*/ 184 h 441"/>
                    <a:gd name="T10" fmla="*/ 341 w 441"/>
                    <a:gd name="T11" fmla="*/ 139 h 441"/>
                    <a:gd name="T12" fmla="*/ 382 w 441"/>
                    <a:gd name="T13" fmla="*/ 58 h 441"/>
                    <a:gd name="T14" fmla="*/ 302 w 441"/>
                    <a:gd name="T15" fmla="*/ 100 h 441"/>
                    <a:gd name="T16" fmla="*/ 257 w 441"/>
                    <a:gd name="T17" fmla="*/ 67 h 441"/>
                    <a:gd name="T18" fmla="*/ 220 w 441"/>
                    <a:gd name="T19" fmla="*/ 18 h 441"/>
                    <a:gd name="T20" fmla="*/ 171 w 441"/>
                    <a:gd name="T21" fmla="*/ 55 h 441"/>
                    <a:gd name="T22" fmla="*/ 138 w 441"/>
                    <a:gd name="T23" fmla="*/ 100 h 441"/>
                    <a:gd name="T24" fmla="*/ 180 w 441"/>
                    <a:gd name="T25" fmla="*/ 181 h 441"/>
                    <a:gd name="T26" fmla="*/ 100 w 441"/>
                    <a:gd name="T27" fmla="*/ 139 h 441"/>
                    <a:gd name="T28" fmla="*/ 55 w 441"/>
                    <a:gd name="T29" fmla="*/ 171 h 441"/>
                    <a:gd name="T30" fmla="*/ 18 w 441"/>
                    <a:gd name="T31" fmla="*/ 220 h 441"/>
                    <a:gd name="T32" fmla="*/ 67 w 441"/>
                    <a:gd name="T33" fmla="*/ 257 h 441"/>
                    <a:gd name="T34" fmla="*/ 100 w 441"/>
                    <a:gd name="T35" fmla="*/ 302 h 441"/>
                    <a:gd name="T36" fmla="*/ 58 w 441"/>
                    <a:gd name="T37" fmla="*/ 383 h 441"/>
                    <a:gd name="T38" fmla="*/ 138 w 441"/>
                    <a:gd name="T39" fmla="*/ 341 h 4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41" h="441">
                      <a:moveTo>
                        <a:pt x="138" y="341"/>
                      </a:moveTo>
                      <a:cubicBezTo>
                        <a:pt x="147" y="337"/>
                        <a:pt x="171" y="361"/>
                        <a:pt x="183" y="374"/>
                      </a:cubicBezTo>
                      <a:cubicBezTo>
                        <a:pt x="196" y="386"/>
                        <a:pt x="220" y="423"/>
                        <a:pt x="220" y="423"/>
                      </a:cubicBezTo>
                      <a:cubicBezTo>
                        <a:pt x="422" y="220"/>
                        <a:pt x="422" y="220"/>
                        <a:pt x="422" y="220"/>
                      </a:cubicBezTo>
                      <a:cubicBezTo>
                        <a:pt x="422" y="220"/>
                        <a:pt x="386" y="196"/>
                        <a:pt x="373" y="184"/>
                      </a:cubicBezTo>
                      <a:cubicBezTo>
                        <a:pt x="361" y="171"/>
                        <a:pt x="338" y="149"/>
                        <a:pt x="341" y="139"/>
                      </a:cubicBezTo>
                      <a:cubicBezTo>
                        <a:pt x="343" y="129"/>
                        <a:pt x="441" y="116"/>
                        <a:pt x="382" y="58"/>
                      </a:cubicBezTo>
                      <a:cubicBezTo>
                        <a:pt x="324" y="0"/>
                        <a:pt x="310" y="96"/>
                        <a:pt x="302" y="100"/>
                      </a:cubicBezTo>
                      <a:cubicBezTo>
                        <a:pt x="294" y="104"/>
                        <a:pt x="269" y="80"/>
                        <a:pt x="257" y="67"/>
                      </a:cubicBezTo>
                      <a:cubicBezTo>
                        <a:pt x="245" y="55"/>
                        <a:pt x="220" y="18"/>
                        <a:pt x="220" y="18"/>
                      </a:cubicBezTo>
                      <a:cubicBezTo>
                        <a:pt x="220" y="18"/>
                        <a:pt x="183" y="43"/>
                        <a:pt x="171" y="55"/>
                      </a:cubicBezTo>
                      <a:cubicBezTo>
                        <a:pt x="159" y="67"/>
                        <a:pt x="134" y="92"/>
                        <a:pt x="138" y="100"/>
                      </a:cubicBezTo>
                      <a:cubicBezTo>
                        <a:pt x="142" y="108"/>
                        <a:pt x="238" y="122"/>
                        <a:pt x="180" y="181"/>
                      </a:cubicBezTo>
                      <a:cubicBezTo>
                        <a:pt x="122" y="239"/>
                        <a:pt x="110" y="141"/>
                        <a:pt x="100" y="139"/>
                      </a:cubicBezTo>
                      <a:cubicBezTo>
                        <a:pt x="89" y="137"/>
                        <a:pt x="67" y="159"/>
                        <a:pt x="55" y="171"/>
                      </a:cubicBezTo>
                      <a:cubicBezTo>
                        <a:pt x="42" y="184"/>
                        <a:pt x="18" y="220"/>
                        <a:pt x="18" y="220"/>
                      </a:cubicBezTo>
                      <a:cubicBezTo>
                        <a:pt x="18" y="220"/>
                        <a:pt x="55" y="245"/>
                        <a:pt x="67" y="257"/>
                      </a:cubicBezTo>
                      <a:cubicBezTo>
                        <a:pt x="79" y="269"/>
                        <a:pt x="102" y="292"/>
                        <a:pt x="100" y="302"/>
                      </a:cubicBezTo>
                      <a:cubicBezTo>
                        <a:pt x="98" y="312"/>
                        <a:pt x="0" y="325"/>
                        <a:pt x="58" y="383"/>
                      </a:cubicBezTo>
                      <a:cubicBezTo>
                        <a:pt x="116" y="441"/>
                        <a:pt x="130" y="345"/>
                        <a:pt x="138" y="341"/>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104" name="Freeform 14"/>
                <p:cNvSpPr>
                  <a:spLocks/>
                </p:cNvSpPr>
                <p:nvPr/>
              </p:nvSpPr>
              <p:spPr bwMode="auto">
                <a:xfrm rot="9900000">
                  <a:off x="2123129" y="293070"/>
                  <a:ext cx="1377948" cy="1377947"/>
                </a:xfrm>
                <a:custGeom>
                  <a:avLst/>
                  <a:gdLst>
                    <a:gd name="T0" fmla="*/ 422 w 422"/>
                    <a:gd name="T1" fmla="*/ 220 h 422"/>
                    <a:gd name="T2" fmla="*/ 386 w 422"/>
                    <a:gd name="T3" fmla="*/ 171 h 422"/>
                    <a:gd name="T4" fmla="*/ 341 w 422"/>
                    <a:gd name="T5" fmla="*/ 138 h 422"/>
                    <a:gd name="T6" fmla="*/ 260 w 422"/>
                    <a:gd name="T7" fmla="*/ 180 h 422"/>
                    <a:gd name="T8" fmla="*/ 302 w 422"/>
                    <a:gd name="T9" fmla="*/ 100 h 422"/>
                    <a:gd name="T10" fmla="*/ 269 w 422"/>
                    <a:gd name="T11" fmla="*/ 55 h 422"/>
                    <a:gd name="T12" fmla="*/ 220 w 422"/>
                    <a:gd name="T13" fmla="*/ 18 h 422"/>
                    <a:gd name="T14" fmla="*/ 183 w 422"/>
                    <a:gd name="T15" fmla="*/ 67 h 422"/>
                    <a:gd name="T16" fmla="*/ 138 w 422"/>
                    <a:gd name="T17" fmla="*/ 100 h 422"/>
                    <a:gd name="T18" fmla="*/ 58 w 422"/>
                    <a:gd name="T19" fmla="*/ 58 h 422"/>
                    <a:gd name="T20" fmla="*/ 100 w 422"/>
                    <a:gd name="T21" fmla="*/ 138 h 422"/>
                    <a:gd name="T22" fmla="*/ 67 w 422"/>
                    <a:gd name="T23" fmla="*/ 183 h 422"/>
                    <a:gd name="T24" fmla="*/ 18 w 422"/>
                    <a:gd name="T25" fmla="*/ 220 h 422"/>
                    <a:gd name="T26" fmla="*/ 55 w 422"/>
                    <a:gd name="T27" fmla="*/ 269 h 422"/>
                    <a:gd name="T28" fmla="*/ 100 w 422"/>
                    <a:gd name="T29" fmla="*/ 302 h 422"/>
                    <a:gd name="T30" fmla="*/ 180 w 422"/>
                    <a:gd name="T31" fmla="*/ 260 h 422"/>
                    <a:gd name="T32" fmla="*/ 138 w 422"/>
                    <a:gd name="T33" fmla="*/ 341 h 422"/>
                    <a:gd name="T34" fmla="*/ 171 w 422"/>
                    <a:gd name="T35" fmla="*/ 386 h 422"/>
                    <a:gd name="T36" fmla="*/ 220 w 422"/>
                    <a:gd name="T37" fmla="*/ 422 h 422"/>
                    <a:gd name="T38" fmla="*/ 422 w 422"/>
                    <a:gd name="T39" fmla="*/ 220 h 4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22" h="422">
                      <a:moveTo>
                        <a:pt x="422" y="220"/>
                      </a:moveTo>
                      <a:cubicBezTo>
                        <a:pt x="422" y="220"/>
                        <a:pt x="398" y="183"/>
                        <a:pt x="386" y="171"/>
                      </a:cubicBezTo>
                      <a:cubicBezTo>
                        <a:pt x="373" y="159"/>
                        <a:pt x="349" y="134"/>
                        <a:pt x="341" y="138"/>
                      </a:cubicBezTo>
                      <a:cubicBezTo>
                        <a:pt x="332" y="142"/>
                        <a:pt x="318" y="239"/>
                        <a:pt x="260" y="180"/>
                      </a:cubicBezTo>
                      <a:cubicBezTo>
                        <a:pt x="202" y="122"/>
                        <a:pt x="300" y="110"/>
                        <a:pt x="302" y="100"/>
                      </a:cubicBezTo>
                      <a:cubicBezTo>
                        <a:pt x="304" y="90"/>
                        <a:pt x="281" y="67"/>
                        <a:pt x="269" y="55"/>
                      </a:cubicBezTo>
                      <a:cubicBezTo>
                        <a:pt x="257" y="42"/>
                        <a:pt x="220" y="18"/>
                        <a:pt x="220" y="18"/>
                      </a:cubicBezTo>
                      <a:cubicBezTo>
                        <a:pt x="220" y="18"/>
                        <a:pt x="196" y="55"/>
                        <a:pt x="183" y="67"/>
                      </a:cubicBezTo>
                      <a:cubicBezTo>
                        <a:pt x="171" y="79"/>
                        <a:pt x="149" y="102"/>
                        <a:pt x="138" y="100"/>
                      </a:cubicBezTo>
                      <a:cubicBezTo>
                        <a:pt x="128" y="98"/>
                        <a:pt x="116" y="0"/>
                        <a:pt x="58" y="58"/>
                      </a:cubicBezTo>
                      <a:cubicBezTo>
                        <a:pt x="0" y="116"/>
                        <a:pt x="96" y="130"/>
                        <a:pt x="100" y="138"/>
                      </a:cubicBezTo>
                      <a:cubicBezTo>
                        <a:pt x="104" y="147"/>
                        <a:pt x="79" y="171"/>
                        <a:pt x="67" y="183"/>
                      </a:cubicBezTo>
                      <a:cubicBezTo>
                        <a:pt x="55" y="196"/>
                        <a:pt x="18" y="220"/>
                        <a:pt x="18" y="220"/>
                      </a:cubicBezTo>
                      <a:cubicBezTo>
                        <a:pt x="18" y="220"/>
                        <a:pt x="42" y="257"/>
                        <a:pt x="55" y="269"/>
                      </a:cubicBezTo>
                      <a:cubicBezTo>
                        <a:pt x="67" y="281"/>
                        <a:pt x="91" y="306"/>
                        <a:pt x="100" y="302"/>
                      </a:cubicBezTo>
                      <a:cubicBezTo>
                        <a:pt x="108" y="298"/>
                        <a:pt x="122" y="202"/>
                        <a:pt x="180" y="260"/>
                      </a:cubicBezTo>
                      <a:cubicBezTo>
                        <a:pt x="238" y="318"/>
                        <a:pt x="140" y="330"/>
                        <a:pt x="138" y="341"/>
                      </a:cubicBezTo>
                      <a:cubicBezTo>
                        <a:pt x="136" y="351"/>
                        <a:pt x="159" y="373"/>
                        <a:pt x="171" y="386"/>
                      </a:cubicBezTo>
                      <a:cubicBezTo>
                        <a:pt x="183" y="398"/>
                        <a:pt x="220" y="422"/>
                        <a:pt x="220" y="422"/>
                      </a:cubicBezTo>
                      <a:lnTo>
                        <a:pt x="422" y="22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grpSp>
        </p:grpSp>
        <p:sp>
          <p:nvSpPr>
            <p:cNvPr id="83" name="Rectangle 152"/>
            <p:cNvSpPr/>
            <p:nvPr/>
          </p:nvSpPr>
          <p:spPr bwMode="auto">
            <a:xfrm>
              <a:off x="669652" y="2738277"/>
              <a:ext cx="1805162" cy="37532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2C812"/>
                  </a:solidFill>
                  <a:effectLst/>
                  <a:uLnTx/>
                  <a:uFillTx/>
                  <a:latin typeface="Segoe UI"/>
                  <a:ea typeface="+mn-ea"/>
                  <a:cs typeface="Segoe UI Light" panose="020B0502040204020203" pitchFamily="34" charset="0"/>
                </a:rPr>
                <a:t>Keeping Data Current</a:t>
              </a:r>
            </a:p>
          </p:txBody>
        </p:sp>
        <p:grpSp>
          <p:nvGrpSpPr>
            <p:cNvPr id="84" name="Group 83"/>
            <p:cNvGrpSpPr/>
            <p:nvPr/>
          </p:nvGrpSpPr>
          <p:grpSpPr>
            <a:xfrm>
              <a:off x="199649" y="2692629"/>
              <a:ext cx="433844" cy="433844"/>
              <a:chOff x="342620" y="2228265"/>
              <a:chExt cx="433844" cy="433844"/>
            </a:xfrm>
            <a:solidFill>
              <a:schemeClr val="bg1"/>
            </a:solidFill>
          </p:grpSpPr>
          <p:sp>
            <p:nvSpPr>
              <p:cNvPr id="99" name="Oval 154"/>
              <p:cNvSpPr/>
              <p:nvPr/>
            </p:nvSpPr>
            <p:spPr bwMode="auto">
              <a:xfrm>
                <a:off x="342620" y="2228265"/>
                <a:ext cx="433844" cy="433844"/>
              </a:xfrm>
              <a:prstGeom prst="ellipse">
                <a:avLst/>
              </a:prstGeom>
              <a:solidFill>
                <a:srgbClr val="FFC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0" name="Freeform 30"/>
              <p:cNvSpPr>
                <a:spLocks noEditPoints="1"/>
              </p:cNvSpPr>
              <p:nvPr/>
            </p:nvSpPr>
            <p:spPr bwMode="auto">
              <a:xfrm>
                <a:off x="444786" y="2340040"/>
                <a:ext cx="238402" cy="210293"/>
              </a:xfrm>
              <a:custGeom>
                <a:avLst/>
                <a:gdLst>
                  <a:gd name="T0" fmla="*/ 883 w 916"/>
                  <a:gd name="T1" fmla="*/ 286 h 808"/>
                  <a:gd name="T2" fmla="*/ 539 w 916"/>
                  <a:gd name="T3" fmla="*/ 723 h 808"/>
                  <a:gd name="T4" fmla="*/ 504 w 916"/>
                  <a:gd name="T5" fmla="*/ 0 h 808"/>
                  <a:gd name="T6" fmla="*/ 35 w 916"/>
                  <a:gd name="T7" fmla="*/ 723 h 808"/>
                  <a:gd name="T8" fmla="*/ 0 w 916"/>
                  <a:gd name="T9" fmla="*/ 808 h 808"/>
                  <a:gd name="T10" fmla="*/ 916 w 916"/>
                  <a:gd name="T11" fmla="*/ 723 h 808"/>
                  <a:gd name="T12" fmla="*/ 229 w 916"/>
                  <a:gd name="T13" fmla="*/ 665 h 808"/>
                  <a:gd name="T14" fmla="*/ 109 w 916"/>
                  <a:gd name="T15" fmla="*/ 596 h 808"/>
                  <a:gd name="T16" fmla="*/ 229 w 916"/>
                  <a:gd name="T17" fmla="*/ 665 h 808"/>
                  <a:gd name="T18" fmla="*/ 109 w 916"/>
                  <a:gd name="T19" fmla="*/ 501 h 808"/>
                  <a:gd name="T20" fmla="*/ 229 w 916"/>
                  <a:gd name="T21" fmla="*/ 432 h 808"/>
                  <a:gd name="T22" fmla="*/ 229 w 916"/>
                  <a:gd name="T23" fmla="*/ 337 h 808"/>
                  <a:gd name="T24" fmla="*/ 109 w 916"/>
                  <a:gd name="T25" fmla="*/ 267 h 808"/>
                  <a:gd name="T26" fmla="*/ 229 w 916"/>
                  <a:gd name="T27" fmla="*/ 337 h 808"/>
                  <a:gd name="T28" fmla="*/ 109 w 916"/>
                  <a:gd name="T29" fmla="*/ 172 h 808"/>
                  <a:gd name="T30" fmla="*/ 229 w 916"/>
                  <a:gd name="T31" fmla="*/ 103 h 808"/>
                  <a:gd name="T32" fmla="*/ 428 w 916"/>
                  <a:gd name="T33" fmla="*/ 665 h 808"/>
                  <a:gd name="T34" fmla="*/ 307 w 916"/>
                  <a:gd name="T35" fmla="*/ 596 h 808"/>
                  <a:gd name="T36" fmla="*/ 428 w 916"/>
                  <a:gd name="T37" fmla="*/ 665 h 808"/>
                  <a:gd name="T38" fmla="*/ 307 w 916"/>
                  <a:gd name="T39" fmla="*/ 501 h 808"/>
                  <a:gd name="T40" fmla="*/ 428 w 916"/>
                  <a:gd name="T41" fmla="*/ 432 h 808"/>
                  <a:gd name="T42" fmla="*/ 428 w 916"/>
                  <a:gd name="T43" fmla="*/ 337 h 808"/>
                  <a:gd name="T44" fmla="*/ 307 w 916"/>
                  <a:gd name="T45" fmla="*/ 267 h 808"/>
                  <a:gd name="T46" fmla="*/ 428 w 916"/>
                  <a:gd name="T47" fmla="*/ 337 h 808"/>
                  <a:gd name="T48" fmla="*/ 307 w 916"/>
                  <a:gd name="T49" fmla="*/ 172 h 808"/>
                  <a:gd name="T50" fmla="*/ 428 w 916"/>
                  <a:gd name="T51" fmla="*/ 103 h 808"/>
                  <a:gd name="T52" fmla="*/ 684 w 916"/>
                  <a:gd name="T53" fmla="*/ 668 h 808"/>
                  <a:gd name="T54" fmla="*/ 606 w 916"/>
                  <a:gd name="T55" fmla="*/ 549 h 808"/>
                  <a:gd name="T56" fmla="*/ 684 w 916"/>
                  <a:gd name="T57" fmla="*/ 668 h 808"/>
                  <a:gd name="T58" fmla="*/ 606 w 916"/>
                  <a:gd name="T59" fmla="*/ 482 h 808"/>
                  <a:gd name="T60" fmla="*/ 684 w 916"/>
                  <a:gd name="T61" fmla="*/ 365 h 808"/>
                  <a:gd name="T62" fmla="*/ 816 w 916"/>
                  <a:gd name="T63" fmla="*/ 668 h 808"/>
                  <a:gd name="T64" fmla="*/ 738 w 916"/>
                  <a:gd name="T65" fmla="*/ 549 h 808"/>
                  <a:gd name="T66" fmla="*/ 816 w 916"/>
                  <a:gd name="T67" fmla="*/ 668 h 808"/>
                  <a:gd name="T68" fmla="*/ 738 w 916"/>
                  <a:gd name="T69" fmla="*/ 482 h 808"/>
                  <a:gd name="T70" fmla="*/ 816 w 916"/>
                  <a:gd name="T71" fmla="*/ 365 h 8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16" h="808">
                    <a:moveTo>
                      <a:pt x="883" y="723"/>
                    </a:moveTo>
                    <a:lnTo>
                      <a:pt x="883" y="286"/>
                    </a:lnTo>
                    <a:lnTo>
                      <a:pt x="539" y="286"/>
                    </a:lnTo>
                    <a:lnTo>
                      <a:pt x="539" y="723"/>
                    </a:lnTo>
                    <a:lnTo>
                      <a:pt x="504" y="723"/>
                    </a:lnTo>
                    <a:lnTo>
                      <a:pt x="504" y="0"/>
                    </a:lnTo>
                    <a:lnTo>
                      <a:pt x="35" y="0"/>
                    </a:lnTo>
                    <a:lnTo>
                      <a:pt x="35" y="723"/>
                    </a:lnTo>
                    <a:lnTo>
                      <a:pt x="0" y="723"/>
                    </a:lnTo>
                    <a:lnTo>
                      <a:pt x="0" y="808"/>
                    </a:lnTo>
                    <a:lnTo>
                      <a:pt x="916" y="808"/>
                    </a:lnTo>
                    <a:lnTo>
                      <a:pt x="916" y="723"/>
                    </a:lnTo>
                    <a:lnTo>
                      <a:pt x="883" y="723"/>
                    </a:lnTo>
                    <a:close/>
                    <a:moveTo>
                      <a:pt x="229" y="665"/>
                    </a:moveTo>
                    <a:lnTo>
                      <a:pt x="109" y="665"/>
                    </a:lnTo>
                    <a:lnTo>
                      <a:pt x="109" y="596"/>
                    </a:lnTo>
                    <a:lnTo>
                      <a:pt x="229" y="596"/>
                    </a:lnTo>
                    <a:lnTo>
                      <a:pt x="229" y="665"/>
                    </a:lnTo>
                    <a:close/>
                    <a:moveTo>
                      <a:pt x="229" y="501"/>
                    </a:moveTo>
                    <a:lnTo>
                      <a:pt x="109" y="501"/>
                    </a:lnTo>
                    <a:lnTo>
                      <a:pt x="109" y="432"/>
                    </a:lnTo>
                    <a:lnTo>
                      <a:pt x="229" y="432"/>
                    </a:lnTo>
                    <a:lnTo>
                      <a:pt x="229" y="501"/>
                    </a:lnTo>
                    <a:close/>
                    <a:moveTo>
                      <a:pt x="229" y="337"/>
                    </a:moveTo>
                    <a:lnTo>
                      <a:pt x="109" y="337"/>
                    </a:lnTo>
                    <a:lnTo>
                      <a:pt x="109" y="267"/>
                    </a:lnTo>
                    <a:lnTo>
                      <a:pt x="229" y="267"/>
                    </a:lnTo>
                    <a:lnTo>
                      <a:pt x="229" y="337"/>
                    </a:lnTo>
                    <a:close/>
                    <a:moveTo>
                      <a:pt x="229" y="172"/>
                    </a:moveTo>
                    <a:lnTo>
                      <a:pt x="109" y="172"/>
                    </a:lnTo>
                    <a:lnTo>
                      <a:pt x="109" y="103"/>
                    </a:lnTo>
                    <a:lnTo>
                      <a:pt x="229" y="103"/>
                    </a:lnTo>
                    <a:lnTo>
                      <a:pt x="229" y="172"/>
                    </a:lnTo>
                    <a:close/>
                    <a:moveTo>
                      <a:pt x="428" y="665"/>
                    </a:moveTo>
                    <a:lnTo>
                      <a:pt x="307" y="665"/>
                    </a:lnTo>
                    <a:lnTo>
                      <a:pt x="307" y="596"/>
                    </a:lnTo>
                    <a:lnTo>
                      <a:pt x="428" y="596"/>
                    </a:lnTo>
                    <a:lnTo>
                      <a:pt x="428" y="665"/>
                    </a:lnTo>
                    <a:close/>
                    <a:moveTo>
                      <a:pt x="428" y="501"/>
                    </a:moveTo>
                    <a:lnTo>
                      <a:pt x="307" y="501"/>
                    </a:lnTo>
                    <a:lnTo>
                      <a:pt x="307" y="432"/>
                    </a:lnTo>
                    <a:lnTo>
                      <a:pt x="428" y="432"/>
                    </a:lnTo>
                    <a:lnTo>
                      <a:pt x="428" y="501"/>
                    </a:lnTo>
                    <a:close/>
                    <a:moveTo>
                      <a:pt x="428" y="337"/>
                    </a:moveTo>
                    <a:lnTo>
                      <a:pt x="307" y="337"/>
                    </a:lnTo>
                    <a:lnTo>
                      <a:pt x="307" y="267"/>
                    </a:lnTo>
                    <a:lnTo>
                      <a:pt x="428" y="267"/>
                    </a:lnTo>
                    <a:lnTo>
                      <a:pt x="428" y="337"/>
                    </a:lnTo>
                    <a:close/>
                    <a:moveTo>
                      <a:pt x="428" y="172"/>
                    </a:moveTo>
                    <a:lnTo>
                      <a:pt x="307" y="172"/>
                    </a:lnTo>
                    <a:lnTo>
                      <a:pt x="307" y="103"/>
                    </a:lnTo>
                    <a:lnTo>
                      <a:pt x="428" y="103"/>
                    </a:lnTo>
                    <a:lnTo>
                      <a:pt x="428" y="172"/>
                    </a:lnTo>
                    <a:close/>
                    <a:moveTo>
                      <a:pt x="684" y="668"/>
                    </a:moveTo>
                    <a:lnTo>
                      <a:pt x="606" y="668"/>
                    </a:lnTo>
                    <a:lnTo>
                      <a:pt x="606" y="549"/>
                    </a:lnTo>
                    <a:lnTo>
                      <a:pt x="684" y="549"/>
                    </a:lnTo>
                    <a:lnTo>
                      <a:pt x="684" y="668"/>
                    </a:lnTo>
                    <a:close/>
                    <a:moveTo>
                      <a:pt x="684" y="482"/>
                    </a:moveTo>
                    <a:lnTo>
                      <a:pt x="606" y="482"/>
                    </a:lnTo>
                    <a:lnTo>
                      <a:pt x="606" y="365"/>
                    </a:lnTo>
                    <a:lnTo>
                      <a:pt x="684" y="365"/>
                    </a:lnTo>
                    <a:lnTo>
                      <a:pt x="684" y="482"/>
                    </a:lnTo>
                    <a:close/>
                    <a:moveTo>
                      <a:pt x="816" y="668"/>
                    </a:moveTo>
                    <a:lnTo>
                      <a:pt x="738" y="668"/>
                    </a:lnTo>
                    <a:lnTo>
                      <a:pt x="738" y="549"/>
                    </a:lnTo>
                    <a:lnTo>
                      <a:pt x="816" y="549"/>
                    </a:lnTo>
                    <a:lnTo>
                      <a:pt x="816" y="668"/>
                    </a:lnTo>
                    <a:close/>
                    <a:moveTo>
                      <a:pt x="816" y="482"/>
                    </a:moveTo>
                    <a:lnTo>
                      <a:pt x="738" y="482"/>
                    </a:lnTo>
                    <a:lnTo>
                      <a:pt x="738" y="365"/>
                    </a:lnTo>
                    <a:lnTo>
                      <a:pt x="816" y="365"/>
                    </a:lnTo>
                    <a:lnTo>
                      <a:pt x="816" y="482"/>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grpSp>
        <p:sp>
          <p:nvSpPr>
            <p:cNvPr id="85" name="TextBox 84"/>
            <p:cNvSpPr txBox="1"/>
            <p:nvPr/>
          </p:nvSpPr>
          <p:spPr>
            <a:xfrm>
              <a:off x="83345" y="113808"/>
              <a:ext cx="2532630" cy="627864"/>
            </a:xfrm>
            <a:prstGeom prst="rect">
              <a:avLst/>
            </a:prstGeom>
            <a:noFill/>
          </p:spPr>
          <p:txBody>
            <a:bodyPr wrap="square" lIns="182880" tIns="146304" rIns="182880" bIns="146304" rtlCol="0">
              <a:spAutoFit/>
            </a:bodyPr>
            <a:lstStyle>
              <a:defPPr>
                <a:defRPr lang="en-US"/>
              </a:defPPr>
              <a:lvl1pPr>
                <a:lnSpc>
                  <a:spcPct val="90000"/>
                </a:lnSpc>
                <a:spcAft>
                  <a:spcPts val="600"/>
                </a:spcAft>
                <a:defRPr sz="2800" b="1">
                  <a:solidFill>
                    <a:srgbClr val="F2C812"/>
                  </a:solidFill>
                  <a:latin typeface="Segoe UI Light"/>
                </a:defRPr>
              </a:lvl1p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400" b="1" i="0" u="none" strike="noStrike" kern="1200" cap="none" spc="0" normalizeH="0" baseline="0" noProof="0">
                  <a:ln>
                    <a:noFill/>
                  </a:ln>
                  <a:solidFill>
                    <a:srgbClr val="F2C812"/>
                  </a:solidFill>
                  <a:effectLst/>
                  <a:uLnTx/>
                  <a:uFillTx/>
                  <a:latin typeface="Segoe UI Light"/>
                  <a:ea typeface="+mn-ea"/>
                  <a:cs typeface="+mn-cs"/>
                </a:rPr>
                <a:t>Power BI Service</a:t>
              </a:r>
              <a:endParaRPr kumimoji="0" lang="en-US" sz="2800" b="1" i="0" u="none" strike="noStrike" kern="1200" cap="none" spc="0" normalizeH="0" baseline="0" noProof="0">
                <a:ln>
                  <a:noFill/>
                </a:ln>
                <a:solidFill>
                  <a:srgbClr val="F2C812"/>
                </a:solidFill>
                <a:effectLst/>
                <a:uLnTx/>
                <a:uFillTx/>
                <a:latin typeface="Segoe UI Light"/>
                <a:ea typeface="+mn-ea"/>
                <a:cs typeface="+mn-cs"/>
              </a:endParaRPr>
            </a:p>
          </p:txBody>
        </p:sp>
        <p:grpSp>
          <p:nvGrpSpPr>
            <p:cNvPr id="86" name="Group 85"/>
            <p:cNvGrpSpPr/>
            <p:nvPr/>
          </p:nvGrpSpPr>
          <p:grpSpPr>
            <a:xfrm>
              <a:off x="219373" y="3621383"/>
              <a:ext cx="433844" cy="645668"/>
              <a:chOff x="280990" y="3358164"/>
              <a:chExt cx="433844" cy="645668"/>
            </a:xfrm>
          </p:grpSpPr>
          <p:sp>
            <p:nvSpPr>
              <p:cNvPr id="92" name="Oval 1083"/>
              <p:cNvSpPr/>
              <p:nvPr/>
            </p:nvSpPr>
            <p:spPr bwMode="auto">
              <a:xfrm>
                <a:off x="280990" y="3358164"/>
                <a:ext cx="433844" cy="433847"/>
              </a:xfrm>
              <a:prstGeom prst="ellipse">
                <a:avLst/>
              </a:prstGeom>
              <a:solidFill>
                <a:srgbClr val="F2C812"/>
              </a:solidFill>
              <a:ln>
                <a:solidFill>
                  <a:srgbClr val="FFCC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93" name="Group 379"/>
              <p:cNvGrpSpPr/>
              <p:nvPr/>
            </p:nvGrpSpPr>
            <p:grpSpPr>
              <a:xfrm>
                <a:off x="453702" y="3910852"/>
                <a:ext cx="175660" cy="92980"/>
                <a:chOff x="3895793" y="7466656"/>
                <a:chExt cx="785810" cy="415941"/>
              </a:xfrm>
              <a:solidFill>
                <a:srgbClr val="00BCF2"/>
              </a:solidFill>
            </p:grpSpPr>
            <p:sp>
              <p:nvSpPr>
                <p:cNvPr id="94" name="Freeform 132"/>
                <p:cNvSpPr>
                  <a:spLocks/>
                </p:cNvSpPr>
                <p:nvPr/>
              </p:nvSpPr>
              <p:spPr bwMode="auto">
                <a:xfrm>
                  <a:off x="4125979" y="7688918"/>
                  <a:ext cx="0" cy="6353"/>
                </a:xfrm>
                <a:custGeom>
                  <a:avLst/>
                  <a:gdLst>
                    <a:gd name="T0" fmla="*/ 1 w 1"/>
                    <a:gd name="T1" fmla="*/ 0 h 8"/>
                    <a:gd name="T2" fmla="*/ 0 w 1"/>
                    <a:gd name="T3" fmla="*/ 0 h 8"/>
                    <a:gd name="T4" fmla="*/ 1 w 1"/>
                    <a:gd name="T5" fmla="*/ 8 h 8"/>
                    <a:gd name="T6" fmla="*/ 1 w 1"/>
                    <a:gd name="T7" fmla="*/ 0 h 8"/>
                  </a:gdLst>
                  <a:ahLst/>
                  <a:cxnLst>
                    <a:cxn ang="0">
                      <a:pos x="T0" y="T1"/>
                    </a:cxn>
                    <a:cxn ang="0">
                      <a:pos x="T2" y="T3"/>
                    </a:cxn>
                    <a:cxn ang="0">
                      <a:pos x="T4" y="T5"/>
                    </a:cxn>
                    <a:cxn ang="0">
                      <a:pos x="T6" y="T7"/>
                    </a:cxn>
                  </a:cxnLst>
                  <a:rect l="0" t="0" r="r" b="b"/>
                  <a:pathLst>
                    <a:path w="1" h="8">
                      <a:moveTo>
                        <a:pt x="1" y="0"/>
                      </a:moveTo>
                      <a:cubicBezTo>
                        <a:pt x="0" y="0"/>
                        <a:pt x="0" y="0"/>
                        <a:pt x="0" y="0"/>
                      </a:cubicBezTo>
                      <a:cubicBezTo>
                        <a:pt x="0" y="3"/>
                        <a:pt x="1" y="5"/>
                        <a:pt x="1" y="8"/>
                      </a:cubicBezTo>
                      <a:lnTo>
                        <a:pt x="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95" name="Freeform 133"/>
                <p:cNvSpPr>
                  <a:spLocks/>
                </p:cNvSpPr>
                <p:nvPr/>
              </p:nvSpPr>
              <p:spPr bwMode="auto">
                <a:xfrm>
                  <a:off x="3895793" y="7812745"/>
                  <a:ext cx="219078" cy="69852"/>
                </a:xfrm>
                <a:custGeom>
                  <a:avLst/>
                  <a:gdLst>
                    <a:gd name="T0" fmla="*/ 186 w 238"/>
                    <a:gd name="T1" fmla="*/ 9 h 76"/>
                    <a:gd name="T2" fmla="*/ 131 w 238"/>
                    <a:gd name="T3" fmla="*/ 22 h 76"/>
                    <a:gd name="T4" fmla="*/ 60 w 238"/>
                    <a:gd name="T5" fmla="*/ 0 h 76"/>
                    <a:gd name="T6" fmla="*/ 0 w 238"/>
                    <a:gd name="T7" fmla="*/ 42 h 76"/>
                    <a:gd name="T8" fmla="*/ 0 w 238"/>
                    <a:gd name="T9" fmla="*/ 76 h 76"/>
                    <a:gd name="T10" fmla="*/ 238 w 238"/>
                    <a:gd name="T11" fmla="*/ 76 h 76"/>
                    <a:gd name="T12" fmla="*/ 236 w 238"/>
                    <a:gd name="T13" fmla="*/ 53 h 76"/>
                    <a:gd name="T14" fmla="*/ 236 w 238"/>
                    <a:gd name="T15" fmla="*/ 49 h 76"/>
                    <a:gd name="T16" fmla="*/ 186 w 238"/>
                    <a:gd name="T17" fmla="*/ 9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8" h="76">
                      <a:moveTo>
                        <a:pt x="186" y="9"/>
                      </a:moveTo>
                      <a:cubicBezTo>
                        <a:pt x="169" y="18"/>
                        <a:pt x="150" y="22"/>
                        <a:pt x="131" y="22"/>
                      </a:cubicBezTo>
                      <a:cubicBezTo>
                        <a:pt x="105" y="22"/>
                        <a:pt x="80" y="14"/>
                        <a:pt x="60" y="0"/>
                      </a:cubicBezTo>
                      <a:cubicBezTo>
                        <a:pt x="0" y="42"/>
                        <a:pt x="0" y="42"/>
                        <a:pt x="0" y="42"/>
                      </a:cubicBezTo>
                      <a:cubicBezTo>
                        <a:pt x="0" y="76"/>
                        <a:pt x="0" y="76"/>
                        <a:pt x="0" y="76"/>
                      </a:cubicBezTo>
                      <a:cubicBezTo>
                        <a:pt x="238" y="76"/>
                        <a:pt x="238" y="76"/>
                        <a:pt x="238" y="76"/>
                      </a:cubicBezTo>
                      <a:cubicBezTo>
                        <a:pt x="237" y="68"/>
                        <a:pt x="236" y="61"/>
                        <a:pt x="236" y="53"/>
                      </a:cubicBezTo>
                      <a:cubicBezTo>
                        <a:pt x="236" y="51"/>
                        <a:pt x="236" y="50"/>
                        <a:pt x="236" y="49"/>
                      </a:cubicBezTo>
                      <a:lnTo>
                        <a:pt x="186" y="9"/>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96" name="Freeform 137"/>
                <p:cNvSpPr>
                  <a:spLocks/>
                </p:cNvSpPr>
                <p:nvPr/>
              </p:nvSpPr>
              <p:spPr bwMode="auto">
                <a:xfrm>
                  <a:off x="4338704" y="7809561"/>
                  <a:ext cx="65090" cy="73028"/>
                </a:xfrm>
                <a:custGeom>
                  <a:avLst/>
                  <a:gdLst>
                    <a:gd name="T0" fmla="*/ 71 w 71"/>
                    <a:gd name="T1" fmla="*/ 79 h 79"/>
                    <a:gd name="T2" fmla="*/ 71 w 71"/>
                    <a:gd name="T3" fmla="*/ 0 h 79"/>
                    <a:gd name="T4" fmla="*/ 2 w 71"/>
                    <a:gd name="T5" fmla="*/ 53 h 79"/>
                    <a:gd name="T6" fmla="*/ 2 w 71"/>
                    <a:gd name="T7" fmla="*/ 56 h 79"/>
                    <a:gd name="T8" fmla="*/ 0 w 71"/>
                    <a:gd name="T9" fmla="*/ 79 h 79"/>
                    <a:gd name="T10" fmla="*/ 71 w 71"/>
                    <a:gd name="T11" fmla="*/ 79 h 79"/>
                  </a:gdLst>
                  <a:ahLst/>
                  <a:cxnLst>
                    <a:cxn ang="0">
                      <a:pos x="T0" y="T1"/>
                    </a:cxn>
                    <a:cxn ang="0">
                      <a:pos x="T2" y="T3"/>
                    </a:cxn>
                    <a:cxn ang="0">
                      <a:pos x="T4" y="T5"/>
                    </a:cxn>
                    <a:cxn ang="0">
                      <a:pos x="T6" y="T7"/>
                    </a:cxn>
                    <a:cxn ang="0">
                      <a:pos x="T8" y="T9"/>
                    </a:cxn>
                    <a:cxn ang="0">
                      <a:pos x="T10" y="T11"/>
                    </a:cxn>
                  </a:cxnLst>
                  <a:rect l="0" t="0" r="r" b="b"/>
                  <a:pathLst>
                    <a:path w="71" h="79">
                      <a:moveTo>
                        <a:pt x="71" y="79"/>
                      </a:moveTo>
                      <a:cubicBezTo>
                        <a:pt x="71" y="0"/>
                        <a:pt x="71" y="0"/>
                        <a:pt x="71" y="0"/>
                      </a:cubicBezTo>
                      <a:cubicBezTo>
                        <a:pt x="2" y="53"/>
                        <a:pt x="2" y="53"/>
                        <a:pt x="2" y="53"/>
                      </a:cubicBezTo>
                      <a:cubicBezTo>
                        <a:pt x="2" y="54"/>
                        <a:pt x="2" y="55"/>
                        <a:pt x="2" y="56"/>
                      </a:cubicBezTo>
                      <a:cubicBezTo>
                        <a:pt x="2" y="64"/>
                        <a:pt x="1" y="71"/>
                        <a:pt x="0" y="79"/>
                      </a:cubicBezTo>
                      <a:lnTo>
                        <a:pt x="71" y="79"/>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97" name="Freeform 140"/>
                <p:cNvSpPr>
                  <a:spLocks/>
                </p:cNvSpPr>
                <p:nvPr/>
              </p:nvSpPr>
              <p:spPr bwMode="auto">
                <a:xfrm>
                  <a:off x="4600643" y="7622229"/>
                  <a:ext cx="80960" cy="38099"/>
                </a:xfrm>
                <a:custGeom>
                  <a:avLst/>
                  <a:gdLst>
                    <a:gd name="T0" fmla="*/ 0 w 51"/>
                    <a:gd name="T1" fmla="*/ 24 h 24"/>
                    <a:gd name="T2" fmla="*/ 51 w 51"/>
                    <a:gd name="T3" fmla="*/ 24 h 24"/>
                    <a:gd name="T4" fmla="*/ 32 w 51"/>
                    <a:gd name="T5" fmla="*/ 0 h 24"/>
                    <a:gd name="T6" fmla="*/ 0 w 51"/>
                    <a:gd name="T7" fmla="*/ 24 h 24"/>
                  </a:gdLst>
                  <a:ahLst/>
                  <a:cxnLst>
                    <a:cxn ang="0">
                      <a:pos x="T0" y="T1"/>
                    </a:cxn>
                    <a:cxn ang="0">
                      <a:pos x="T2" y="T3"/>
                    </a:cxn>
                    <a:cxn ang="0">
                      <a:pos x="T4" y="T5"/>
                    </a:cxn>
                    <a:cxn ang="0">
                      <a:pos x="T6" y="T7"/>
                    </a:cxn>
                  </a:cxnLst>
                  <a:rect l="0" t="0" r="r" b="b"/>
                  <a:pathLst>
                    <a:path w="51" h="24">
                      <a:moveTo>
                        <a:pt x="0" y="24"/>
                      </a:moveTo>
                      <a:lnTo>
                        <a:pt x="51" y="24"/>
                      </a:lnTo>
                      <a:lnTo>
                        <a:pt x="32" y="0"/>
                      </a:lnTo>
                      <a:lnTo>
                        <a:pt x="0" y="24"/>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98" name="Freeform 141"/>
                <p:cNvSpPr>
                  <a:spLocks/>
                </p:cNvSpPr>
                <p:nvPr/>
              </p:nvSpPr>
              <p:spPr bwMode="auto">
                <a:xfrm>
                  <a:off x="4449825" y="7466656"/>
                  <a:ext cx="119065" cy="139703"/>
                </a:xfrm>
                <a:custGeom>
                  <a:avLst/>
                  <a:gdLst>
                    <a:gd name="T0" fmla="*/ 52 w 75"/>
                    <a:gd name="T1" fmla="*/ 0 h 88"/>
                    <a:gd name="T2" fmla="*/ 0 w 75"/>
                    <a:gd name="T3" fmla="*/ 0 h 88"/>
                    <a:gd name="T4" fmla="*/ 0 w 75"/>
                    <a:gd name="T5" fmla="*/ 88 h 88"/>
                    <a:gd name="T6" fmla="*/ 75 w 75"/>
                    <a:gd name="T7" fmla="*/ 30 h 88"/>
                    <a:gd name="T8" fmla="*/ 52 w 75"/>
                    <a:gd name="T9" fmla="*/ 0 h 88"/>
                  </a:gdLst>
                  <a:ahLst/>
                  <a:cxnLst>
                    <a:cxn ang="0">
                      <a:pos x="T0" y="T1"/>
                    </a:cxn>
                    <a:cxn ang="0">
                      <a:pos x="T2" y="T3"/>
                    </a:cxn>
                    <a:cxn ang="0">
                      <a:pos x="T4" y="T5"/>
                    </a:cxn>
                    <a:cxn ang="0">
                      <a:pos x="T6" y="T7"/>
                    </a:cxn>
                    <a:cxn ang="0">
                      <a:pos x="T8" y="T9"/>
                    </a:cxn>
                  </a:cxnLst>
                  <a:rect l="0" t="0" r="r" b="b"/>
                  <a:pathLst>
                    <a:path w="75" h="88">
                      <a:moveTo>
                        <a:pt x="52" y="0"/>
                      </a:moveTo>
                      <a:lnTo>
                        <a:pt x="0" y="0"/>
                      </a:lnTo>
                      <a:lnTo>
                        <a:pt x="0" y="88"/>
                      </a:lnTo>
                      <a:lnTo>
                        <a:pt x="75" y="30"/>
                      </a:lnTo>
                      <a:lnTo>
                        <a:pt x="52"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grpSp>
        </p:grpSp>
        <p:sp>
          <p:nvSpPr>
            <p:cNvPr id="87" name="Rectangle 152"/>
            <p:cNvSpPr/>
            <p:nvPr/>
          </p:nvSpPr>
          <p:spPr bwMode="auto">
            <a:xfrm>
              <a:off x="712458" y="3628917"/>
              <a:ext cx="1805162" cy="37532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2C812"/>
                  </a:solidFill>
                  <a:effectLst/>
                  <a:uLnTx/>
                  <a:uFillTx/>
                  <a:latin typeface="Segoe UI"/>
                  <a:ea typeface="+mn-ea"/>
                  <a:cs typeface="Segoe UI Light" panose="020B0502040204020203" pitchFamily="34" charset="0"/>
                </a:rPr>
                <a:t>Q&amp;A and </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2C812"/>
                  </a:solidFill>
                  <a:effectLst/>
                  <a:uLnTx/>
                  <a:uFillTx/>
                  <a:latin typeface="Segoe UI"/>
                  <a:ea typeface="+mn-ea"/>
                  <a:cs typeface="Segoe UI Light" panose="020B0502040204020203" pitchFamily="34" charset="0"/>
                </a:rPr>
                <a:t>Quick Insights</a:t>
              </a:r>
              <a:endParaRPr kumimoji="0" lang="en-US" sz="1200" b="1" i="0" u="none" strike="noStrike" kern="1200" cap="none" spc="0" normalizeH="0" baseline="0" noProof="0">
                <a:ln>
                  <a:noFill/>
                </a:ln>
                <a:solidFill>
                  <a:srgbClr val="F2C812"/>
                </a:solidFill>
                <a:effectLst/>
                <a:uLnTx/>
                <a:uFillTx/>
                <a:latin typeface="Segoe UI"/>
                <a:ea typeface="+mn-ea"/>
                <a:cs typeface="Segoe UI Light" panose="020B0502040204020203" pitchFamily="34" charset="0"/>
              </a:endParaRPr>
            </a:p>
          </p:txBody>
        </p:sp>
        <p:sp>
          <p:nvSpPr>
            <p:cNvPr id="88" name="Oval 162"/>
            <p:cNvSpPr/>
            <p:nvPr/>
          </p:nvSpPr>
          <p:spPr bwMode="auto">
            <a:xfrm>
              <a:off x="226619" y="4551712"/>
              <a:ext cx="433844" cy="433844"/>
            </a:xfrm>
            <a:prstGeom prst="ellipse">
              <a:avLst/>
            </a:prstGeom>
            <a:solidFill>
              <a:srgbClr val="F2C812"/>
            </a:solidFill>
            <a:ln>
              <a:solidFill>
                <a:srgbClr val="FFCC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9" name="Rectangle 152"/>
            <p:cNvSpPr/>
            <p:nvPr/>
          </p:nvSpPr>
          <p:spPr bwMode="auto">
            <a:xfrm>
              <a:off x="738443" y="4596194"/>
              <a:ext cx="1884825" cy="30233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2C812"/>
                  </a:solidFill>
                  <a:effectLst/>
                  <a:uLnTx/>
                  <a:uFillTx/>
                  <a:latin typeface="Segoe UI"/>
                  <a:ea typeface="+mn-ea"/>
                  <a:cs typeface="Segoe UI Light" panose="020B0502040204020203" pitchFamily="34" charset="0"/>
                </a:rPr>
                <a:t>Sharing</a:t>
              </a:r>
              <a:endParaRPr kumimoji="0" lang="en-US" sz="1200" b="1" i="1" u="none" strike="noStrike" kern="1200" cap="none" spc="0" normalizeH="0" baseline="0" noProof="0">
                <a:ln>
                  <a:noFill/>
                </a:ln>
                <a:solidFill>
                  <a:srgbClr val="F2C812"/>
                </a:solidFill>
                <a:effectLst/>
                <a:uLnTx/>
                <a:uFillTx/>
                <a:latin typeface="Segoe UI"/>
                <a:ea typeface="+mn-ea"/>
                <a:cs typeface="Segoe UI Light" panose="020B0502040204020203" pitchFamily="34" charset="0"/>
              </a:endParaRPr>
            </a:p>
          </p:txBody>
        </p:sp>
        <p:sp>
          <p:nvSpPr>
            <p:cNvPr id="90" name="Rectangle 145"/>
            <p:cNvSpPr/>
            <p:nvPr/>
          </p:nvSpPr>
          <p:spPr bwMode="auto">
            <a:xfrm>
              <a:off x="697198" y="1847637"/>
              <a:ext cx="1821468" cy="3831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2C812"/>
                  </a:solidFill>
                  <a:effectLst/>
                  <a:uLnTx/>
                  <a:uFillTx/>
                  <a:latin typeface="Segoe UI"/>
                  <a:ea typeface="+mn-ea"/>
                  <a:cs typeface="Segoe UI Light" panose="020B0502040204020203" pitchFamily="34" charset="0"/>
                </a:rPr>
                <a:t>Pinning and Navigation</a:t>
              </a:r>
            </a:p>
          </p:txBody>
        </p:sp>
        <p:sp>
          <p:nvSpPr>
            <p:cNvPr id="91" name="Oval 162"/>
            <p:cNvSpPr/>
            <p:nvPr/>
          </p:nvSpPr>
          <p:spPr bwMode="auto">
            <a:xfrm>
              <a:off x="224136" y="1813606"/>
              <a:ext cx="433844" cy="433844"/>
            </a:xfrm>
            <a:prstGeom prst="ellipse">
              <a:avLst/>
            </a:prstGeom>
            <a:solidFill>
              <a:srgbClr val="FFCC00"/>
            </a:solidFill>
            <a:ln>
              <a:solidFill>
                <a:srgbClr val="F2C81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pic>
        <p:nvPicPr>
          <p:cNvPr id="105" name="Picture 104"/>
          <p:cNvPicPr>
            <a:picLocks noChangeAspect="1"/>
          </p:cNvPicPr>
          <p:nvPr/>
        </p:nvPicPr>
        <p:blipFill rotWithShape="1">
          <a:blip r:embed="rId4"/>
          <a:srcRect l="6503" t="21287" r="74698" b="20220"/>
          <a:stretch/>
        </p:blipFill>
        <p:spPr>
          <a:xfrm>
            <a:off x="339111" y="1946110"/>
            <a:ext cx="228600" cy="231962"/>
          </a:xfrm>
          <a:prstGeom prst="rect">
            <a:avLst/>
          </a:prstGeom>
        </p:spPr>
      </p:pic>
      <p:pic>
        <p:nvPicPr>
          <p:cNvPr id="106" name="Picture 105"/>
          <p:cNvPicPr>
            <a:picLocks noChangeAspect="1"/>
          </p:cNvPicPr>
          <p:nvPr/>
        </p:nvPicPr>
        <p:blipFill>
          <a:blip r:embed="rId5"/>
          <a:stretch>
            <a:fillRect/>
          </a:stretch>
        </p:blipFill>
        <p:spPr>
          <a:xfrm>
            <a:off x="284769" y="3673076"/>
            <a:ext cx="311766" cy="303106"/>
          </a:xfrm>
          <a:prstGeom prst="rect">
            <a:avLst/>
          </a:prstGeom>
        </p:spPr>
      </p:pic>
      <p:sp>
        <p:nvSpPr>
          <p:cNvPr id="107" name="Rectangle 145"/>
          <p:cNvSpPr/>
          <p:nvPr/>
        </p:nvSpPr>
        <p:spPr bwMode="auto">
          <a:xfrm>
            <a:off x="718897" y="5436715"/>
            <a:ext cx="1821468" cy="3831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2C812"/>
                </a:solidFill>
                <a:effectLst/>
                <a:uLnTx/>
                <a:uFillTx/>
                <a:latin typeface="Segoe UI"/>
                <a:ea typeface="+mn-ea"/>
                <a:cs typeface="Segoe UI Light" panose="020B0502040204020203" pitchFamily="34" charset="0"/>
              </a:rPr>
              <a:t>Connect from Excel</a:t>
            </a:r>
          </a:p>
        </p:txBody>
      </p:sp>
      <p:sp>
        <p:nvSpPr>
          <p:cNvPr id="108" name="Oval 162"/>
          <p:cNvSpPr/>
          <p:nvPr/>
        </p:nvSpPr>
        <p:spPr bwMode="auto">
          <a:xfrm>
            <a:off x="231441" y="5429649"/>
            <a:ext cx="433844" cy="433844"/>
          </a:xfrm>
          <a:prstGeom prst="ellipse">
            <a:avLst/>
          </a:prstGeom>
          <a:solidFill>
            <a:srgbClr val="FFCC00"/>
          </a:solidFill>
          <a:ln>
            <a:solidFill>
              <a:srgbClr val="F2C81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09" name="Picture 108"/>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flipH="1">
            <a:off x="283763" y="4596680"/>
            <a:ext cx="357484" cy="357484"/>
          </a:xfrm>
          <a:prstGeom prst="rect">
            <a:avLst/>
          </a:prstGeom>
        </p:spPr>
      </p:pic>
      <p:sp>
        <p:nvSpPr>
          <p:cNvPr id="110" name="Oval 162"/>
          <p:cNvSpPr/>
          <p:nvPr/>
        </p:nvSpPr>
        <p:spPr bwMode="auto">
          <a:xfrm>
            <a:off x="233032" y="6267344"/>
            <a:ext cx="433844" cy="433844"/>
          </a:xfrm>
          <a:prstGeom prst="ellipse">
            <a:avLst/>
          </a:prstGeom>
          <a:solidFill>
            <a:srgbClr val="FFCC00"/>
          </a:solidFill>
          <a:ln>
            <a:solidFill>
              <a:srgbClr val="F2C81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1" name="Rectangle 145"/>
          <p:cNvSpPr/>
          <p:nvPr/>
        </p:nvSpPr>
        <p:spPr bwMode="auto">
          <a:xfrm>
            <a:off x="701416" y="6289969"/>
            <a:ext cx="1821468" cy="3831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2C812"/>
                </a:solidFill>
                <a:effectLst/>
                <a:uLnTx/>
                <a:uFillTx/>
                <a:latin typeface="Segoe UI"/>
                <a:ea typeface="+mn-ea"/>
                <a:cs typeface="Segoe UI Light" panose="020B0502040204020203" pitchFamily="34" charset="0"/>
              </a:rPr>
              <a:t>Mobile Reports</a:t>
            </a:r>
          </a:p>
        </p:txBody>
      </p:sp>
      <p:pic>
        <p:nvPicPr>
          <p:cNvPr id="112" name="Picture 111"/>
          <p:cNvPicPr>
            <a:picLocks noChangeAspect="1"/>
          </p:cNvPicPr>
          <p:nvPr/>
        </p:nvPicPr>
        <p:blipFill>
          <a:blip r:embed="rId7" cstate="print">
            <a:extLst>
              <a:ext uri="{BEBA8EAE-BF5A-486C-A8C5-ECC9F3942E4B}">
                <a14:imgProps xmlns:a14="http://schemas.microsoft.com/office/drawing/2010/main">
                  <a14:imgLayer r:embed="rId8">
                    <a14:imgEffect>
                      <a14:saturation sat="0"/>
                    </a14:imgEffect>
                  </a14:imgLayer>
                </a14:imgProps>
              </a:ext>
              <a:ext uri="{28A0092B-C50C-407E-A947-70E740481C1C}">
                <a14:useLocalDpi xmlns:a14="http://schemas.microsoft.com/office/drawing/2010/main" val="0"/>
              </a:ext>
            </a:extLst>
          </a:blip>
          <a:stretch>
            <a:fillRect/>
          </a:stretch>
        </p:blipFill>
        <p:spPr>
          <a:xfrm>
            <a:off x="391946" y="6350039"/>
            <a:ext cx="133350" cy="251587"/>
          </a:xfrm>
          <a:prstGeom prst="rect">
            <a:avLst/>
          </a:prstGeom>
        </p:spPr>
      </p:pic>
      <p:pic>
        <p:nvPicPr>
          <p:cNvPr id="113" name="Picture 112"/>
          <p:cNvPicPr>
            <a:picLocks noChangeAspect="1"/>
          </p:cNvPicPr>
          <p:nvPr/>
        </p:nvPicPr>
        <p:blipFill>
          <a:blip r:embed="rId9" cstate="print">
            <a:biLevel thresh="50000"/>
            <a:extLst>
              <a:ext uri="{28A0092B-C50C-407E-A947-70E740481C1C}">
                <a14:useLocalDpi xmlns:a14="http://schemas.microsoft.com/office/drawing/2010/main" val="0"/>
              </a:ext>
            </a:extLst>
          </a:blip>
          <a:stretch>
            <a:fillRect/>
          </a:stretch>
        </p:blipFill>
        <p:spPr>
          <a:xfrm>
            <a:off x="332658" y="5538489"/>
            <a:ext cx="268940" cy="268940"/>
          </a:xfrm>
          <a:prstGeom prst="rect">
            <a:avLst/>
          </a:prstGeom>
        </p:spPr>
      </p:pic>
      <p:sp>
        <p:nvSpPr>
          <p:cNvPr id="114" name="Rectangle 113"/>
          <p:cNvSpPr/>
          <p:nvPr/>
        </p:nvSpPr>
        <p:spPr bwMode="auto">
          <a:xfrm>
            <a:off x="35912" y="2594112"/>
            <a:ext cx="2464420" cy="4194313"/>
          </a:xfrm>
          <a:prstGeom prst="rect">
            <a:avLst/>
          </a:prstGeom>
          <a:solidFill>
            <a:srgbClr val="000000">
              <a:alpha val="6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5" name="Rectangle 114"/>
          <p:cNvSpPr/>
          <p:nvPr/>
        </p:nvSpPr>
        <p:spPr bwMode="auto">
          <a:xfrm>
            <a:off x="95936" y="731576"/>
            <a:ext cx="2464420" cy="880187"/>
          </a:xfrm>
          <a:prstGeom prst="rect">
            <a:avLst/>
          </a:prstGeom>
          <a:solidFill>
            <a:srgbClr val="000000">
              <a:alpha val="6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34383086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4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2"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 name="Title 10"/>
          <p:cNvSpPr txBox="1">
            <a:spLocks/>
          </p:cNvSpPr>
          <p:nvPr/>
        </p:nvSpPr>
        <p:spPr>
          <a:xfrm>
            <a:off x="2982006" y="9056"/>
            <a:ext cx="9092764" cy="665151"/>
          </a:xfrm>
          <a:prstGeom prst="rect">
            <a:avLst/>
          </a:prstGeom>
          <a:noFill/>
        </p:spPr>
        <p:txBody>
          <a:bodyPr vert="horz" wrap="square" lIns="0" tIns="91440" rIns="0" bIns="91440" rtlCol="0" anchor="t">
            <a:noAutofit/>
          </a:bodyPr>
          <a:lstStyle>
            <a:lvl1pPr defTabSz="914367">
              <a:lnSpc>
                <a:spcPct val="90000"/>
              </a:lnSpc>
              <a:spcBef>
                <a:spcPct val="0"/>
              </a:spcBef>
              <a:buNone/>
              <a:defRPr lang="en-US" sz="5294" b="0" cap="none" spc="-100" baseline="0" dirty="0" smtClean="0">
                <a:ln w="3175">
                  <a:noFill/>
                </a:ln>
                <a:solidFill>
                  <a:schemeClr val="tx2"/>
                </a:solidFill>
                <a:effectLst/>
                <a:latin typeface="+mj-lt"/>
                <a:cs typeface="Segoe UI" pitchFamily="34" charset="0"/>
              </a:defRPr>
            </a:lvl1pPr>
          </a:lstStyle>
          <a:p>
            <a:pPr marL="168275"/>
            <a:r>
              <a:rPr lang="en-US" sz="3600">
                <a:solidFill>
                  <a:srgbClr val="000000"/>
                </a:solidFill>
              </a:rPr>
              <a:t>Consume structured/unstructured data using other Azure services</a:t>
            </a:r>
          </a:p>
          <a:p>
            <a:pPr marL="168275"/>
            <a:endParaRPr lang="en-US" sz="3600">
              <a:solidFill>
                <a:schemeClr val="tx1"/>
              </a:solidFill>
            </a:endParaRPr>
          </a:p>
          <a:p>
            <a:pPr marL="168275"/>
            <a:endParaRPr lang="en-US" sz="3600" b="1">
              <a:solidFill>
                <a:schemeClr val="tx1"/>
              </a:solidFill>
            </a:endParaRPr>
          </a:p>
          <a:p>
            <a:pPr marL="168275"/>
            <a:endParaRPr lang="en-IN" sz="3600">
              <a:solidFill>
                <a:schemeClr val="tx1"/>
              </a:solidFill>
            </a:endParaRPr>
          </a:p>
        </p:txBody>
      </p:sp>
      <p:sp>
        <p:nvSpPr>
          <p:cNvPr id="37" name="Rectangle 15"/>
          <p:cNvSpPr/>
          <p:nvPr/>
        </p:nvSpPr>
        <p:spPr bwMode="auto">
          <a:xfrm>
            <a:off x="2" y="487"/>
            <a:ext cx="2815441" cy="685702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38" name="TextBox 37"/>
          <p:cNvSpPr txBox="1"/>
          <p:nvPr/>
        </p:nvSpPr>
        <p:spPr>
          <a:xfrm>
            <a:off x="2" y="487"/>
            <a:ext cx="2815441" cy="683264"/>
          </a:xfrm>
          <a:prstGeom prst="rect">
            <a:avLst/>
          </a:prstGeom>
          <a:noFill/>
        </p:spPr>
        <p:txBody>
          <a:bodyPr wrap="square" lIns="182880" tIns="146304" rIns="182880" bIns="146304" rtlCol="0">
            <a:spAutoFit/>
          </a:bodyPr>
          <a:lstStyle>
            <a:defPPr>
              <a:defRPr lang="en-US"/>
            </a:defPPr>
            <a:lvl1pPr>
              <a:lnSpc>
                <a:spcPct val="90000"/>
              </a:lnSpc>
              <a:spcAft>
                <a:spcPts val="600"/>
              </a:spcAft>
              <a:defRPr sz="2800" b="1">
                <a:solidFill>
                  <a:srgbClr val="F2C812"/>
                </a:solidFill>
                <a:latin typeface="Segoe UI Light"/>
              </a:defRPr>
            </a:lvl1pPr>
          </a:lstStyle>
          <a:p>
            <a:r>
              <a:rPr lang="en-US"/>
              <a:t>IT challenges</a:t>
            </a:r>
          </a:p>
        </p:txBody>
      </p:sp>
      <p:grpSp>
        <p:nvGrpSpPr>
          <p:cNvPr id="39" name="Group 38"/>
          <p:cNvGrpSpPr/>
          <p:nvPr/>
        </p:nvGrpSpPr>
        <p:grpSpPr>
          <a:xfrm>
            <a:off x="151322" y="867914"/>
            <a:ext cx="2636411" cy="548640"/>
            <a:chOff x="179032" y="1123407"/>
            <a:chExt cx="2636411" cy="548640"/>
          </a:xfrm>
        </p:grpSpPr>
        <p:sp>
          <p:nvSpPr>
            <p:cNvPr id="40" name="Oval 147"/>
            <p:cNvSpPr/>
            <p:nvPr/>
          </p:nvSpPr>
          <p:spPr bwMode="auto">
            <a:xfrm>
              <a:off x="179032" y="1123407"/>
              <a:ext cx="548640" cy="548640"/>
            </a:xfrm>
            <a:prstGeom prst="ellipse">
              <a:avLst/>
            </a:prstGeom>
            <a:solidFill>
              <a:srgbClr val="FFCC00"/>
            </a:solidFill>
            <a:ln>
              <a:solidFill>
                <a:srgbClr val="F2C81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err="1">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145"/>
            <p:cNvSpPr/>
            <p:nvPr/>
          </p:nvSpPr>
          <p:spPr bwMode="auto">
            <a:xfrm>
              <a:off x="805048" y="1206147"/>
              <a:ext cx="2010395" cy="3831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14367"/>
              <a:r>
                <a:rPr lang="en-US" sz="1400" b="1">
                  <a:solidFill>
                    <a:srgbClr val="F2C812"/>
                  </a:solidFill>
                  <a:cs typeface="Segoe UI Light" panose="020B0502040204020203" pitchFamily="34" charset="0"/>
                </a:rPr>
                <a:t>Management of BI systems</a:t>
              </a:r>
              <a:endParaRPr lang="en-US" sz="1200" b="1" i="1">
                <a:solidFill>
                  <a:srgbClr val="F2C812"/>
                </a:solidFill>
                <a:cs typeface="Segoe UI Light" panose="020B0502040204020203" pitchFamily="34" charset="0"/>
              </a:endParaRPr>
            </a:p>
          </p:txBody>
        </p:sp>
      </p:grpSp>
      <p:grpSp>
        <p:nvGrpSpPr>
          <p:cNvPr id="42" name="Group 41"/>
          <p:cNvGrpSpPr/>
          <p:nvPr/>
        </p:nvGrpSpPr>
        <p:grpSpPr>
          <a:xfrm>
            <a:off x="151322" y="1832204"/>
            <a:ext cx="2636411" cy="548640"/>
            <a:chOff x="212649" y="1959486"/>
            <a:chExt cx="2636411" cy="548640"/>
          </a:xfrm>
        </p:grpSpPr>
        <p:sp>
          <p:nvSpPr>
            <p:cNvPr id="43" name="Oval 147"/>
            <p:cNvSpPr/>
            <p:nvPr/>
          </p:nvSpPr>
          <p:spPr bwMode="auto">
            <a:xfrm>
              <a:off x="212649" y="1959486"/>
              <a:ext cx="548640" cy="548640"/>
            </a:xfrm>
            <a:prstGeom prst="ellipse">
              <a:avLst/>
            </a:prstGeom>
            <a:solidFill>
              <a:srgbClr val="FFCC00"/>
            </a:solidFill>
            <a:ln>
              <a:solidFill>
                <a:srgbClr val="F2C81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err="1">
                <a:gradFill>
                  <a:gsLst>
                    <a:gs pos="0">
                      <a:srgbClr val="FFFFFF"/>
                    </a:gs>
                    <a:gs pos="100000">
                      <a:srgbClr val="FFFFFF"/>
                    </a:gs>
                  </a:gsLst>
                  <a:lin ang="5400000" scaled="0"/>
                </a:gradFill>
                <a:ea typeface="Segoe UI" pitchFamily="34" charset="0"/>
                <a:cs typeface="Segoe UI" pitchFamily="34" charset="0"/>
              </a:endParaRPr>
            </a:p>
          </p:txBody>
        </p:sp>
        <p:sp>
          <p:nvSpPr>
            <p:cNvPr id="44" name="Rectangle 145"/>
            <p:cNvSpPr/>
            <p:nvPr/>
          </p:nvSpPr>
          <p:spPr bwMode="auto">
            <a:xfrm>
              <a:off x="838665" y="2042226"/>
              <a:ext cx="2010395" cy="3831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14367"/>
              <a:r>
                <a:rPr lang="en-US" sz="1400" b="1">
                  <a:solidFill>
                    <a:srgbClr val="F2C812"/>
                  </a:solidFill>
                  <a:cs typeface="Segoe UI Light" panose="020B0502040204020203" pitchFamily="34" charset="0"/>
                </a:rPr>
                <a:t>Variety of data sources</a:t>
              </a:r>
              <a:endParaRPr lang="en-US" sz="1200" b="1" i="1">
                <a:solidFill>
                  <a:srgbClr val="F2C812"/>
                </a:solidFill>
                <a:cs typeface="Segoe UI Light" panose="020B0502040204020203" pitchFamily="34" charset="0"/>
              </a:endParaRPr>
            </a:p>
          </p:txBody>
        </p:sp>
      </p:grpSp>
      <p:grpSp>
        <p:nvGrpSpPr>
          <p:cNvPr id="45" name="Group 44"/>
          <p:cNvGrpSpPr/>
          <p:nvPr/>
        </p:nvGrpSpPr>
        <p:grpSpPr>
          <a:xfrm>
            <a:off x="151322" y="2796494"/>
            <a:ext cx="2636411" cy="548640"/>
            <a:chOff x="179032" y="1123407"/>
            <a:chExt cx="2636411" cy="548640"/>
          </a:xfrm>
        </p:grpSpPr>
        <p:sp>
          <p:nvSpPr>
            <p:cNvPr id="46" name="Oval 147"/>
            <p:cNvSpPr/>
            <p:nvPr/>
          </p:nvSpPr>
          <p:spPr bwMode="auto">
            <a:xfrm>
              <a:off x="179032" y="1123407"/>
              <a:ext cx="548640" cy="548640"/>
            </a:xfrm>
            <a:prstGeom prst="ellipse">
              <a:avLst/>
            </a:prstGeom>
            <a:solidFill>
              <a:srgbClr val="FFCC00"/>
            </a:solidFill>
            <a:ln>
              <a:solidFill>
                <a:srgbClr val="F2C81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err="1">
                <a:gradFill>
                  <a:gsLst>
                    <a:gs pos="0">
                      <a:srgbClr val="FFFFFF"/>
                    </a:gs>
                    <a:gs pos="100000">
                      <a:srgbClr val="FFFFFF"/>
                    </a:gs>
                  </a:gsLst>
                  <a:lin ang="5400000" scaled="0"/>
                </a:gradFill>
                <a:ea typeface="Segoe UI" pitchFamily="34" charset="0"/>
                <a:cs typeface="Segoe UI" pitchFamily="34" charset="0"/>
              </a:endParaRPr>
            </a:p>
          </p:txBody>
        </p:sp>
        <p:sp>
          <p:nvSpPr>
            <p:cNvPr id="47" name="Rectangle 145"/>
            <p:cNvSpPr/>
            <p:nvPr/>
          </p:nvSpPr>
          <p:spPr bwMode="auto">
            <a:xfrm>
              <a:off x="805048" y="1206147"/>
              <a:ext cx="2010395" cy="3831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14367"/>
              <a:r>
                <a:rPr lang="en-US" sz="1400" b="1">
                  <a:solidFill>
                    <a:srgbClr val="F2C812"/>
                  </a:solidFill>
                  <a:cs typeface="Segoe UI Light" panose="020B0502040204020203" pitchFamily="34" charset="0"/>
                </a:rPr>
                <a:t>Managing data in the cloud</a:t>
              </a:r>
              <a:endParaRPr lang="en-US" sz="1200" b="1" i="1">
                <a:solidFill>
                  <a:srgbClr val="F2C812"/>
                </a:solidFill>
                <a:cs typeface="Segoe UI Light" panose="020B0502040204020203" pitchFamily="34" charset="0"/>
              </a:endParaRPr>
            </a:p>
          </p:txBody>
        </p:sp>
      </p:grpSp>
      <p:grpSp>
        <p:nvGrpSpPr>
          <p:cNvPr id="48" name="Group 47"/>
          <p:cNvGrpSpPr/>
          <p:nvPr/>
        </p:nvGrpSpPr>
        <p:grpSpPr>
          <a:xfrm>
            <a:off x="151322" y="3760784"/>
            <a:ext cx="2636411" cy="548640"/>
            <a:chOff x="179032" y="1123407"/>
            <a:chExt cx="2636411" cy="548640"/>
          </a:xfrm>
        </p:grpSpPr>
        <p:sp>
          <p:nvSpPr>
            <p:cNvPr id="50" name="Oval 147"/>
            <p:cNvSpPr/>
            <p:nvPr/>
          </p:nvSpPr>
          <p:spPr bwMode="auto">
            <a:xfrm>
              <a:off x="179032" y="1123407"/>
              <a:ext cx="548640" cy="548640"/>
            </a:xfrm>
            <a:prstGeom prst="ellipse">
              <a:avLst/>
            </a:prstGeom>
            <a:solidFill>
              <a:srgbClr val="FFCC00"/>
            </a:solidFill>
            <a:ln>
              <a:solidFill>
                <a:srgbClr val="F2C81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err="1">
                <a:gradFill>
                  <a:gsLst>
                    <a:gs pos="0">
                      <a:srgbClr val="FFFFFF"/>
                    </a:gs>
                    <a:gs pos="100000">
                      <a:srgbClr val="FFFFFF"/>
                    </a:gs>
                  </a:gsLst>
                  <a:lin ang="5400000" scaled="0"/>
                </a:gradFill>
                <a:ea typeface="Segoe UI" pitchFamily="34" charset="0"/>
                <a:cs typeface="Segoe UI" pitchFamily="34" charset="0"/>
              </a:endParaRPr>
            </a:p>
          </p:txBody>
        </p:sp>
        <p:sp>
          <p:nvSpPr>
            <p:cNvPr id="51" name="Rectangle 145"/>
            <p:cNvSpPr/>
            <p:nvPr/>
          </p:nvSpPr>
          <p:spPr bwMode="auto">
            <a:xfrm>
              <a:off x="805048" y="1206147"/>
              <a:ext cx="2010395" cy="3831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14367"/>
              <a:r>
                <a:rPr lang="en-US" sz="1400" b="1">
                  <a:solidFill>
                    <a:srgbClr val="F2C812"/>
                  </a:solidFill>
                  <a:cs typeface="Segoe UI Light" panose="020B0502040204020203" pitchFamily="34" charset="0"/>
                </a:rPr>
                <a:t>Integration with existing environment</a:t>
              </a:r>
              <a:endParaRPr lang="en-US" sz="1200" b="1" i="1">
                <a:solidFill>
                  <a:srgbClr val="F2C812"/>
                </a:solidFill>
                <a:cs typeface="Segoe UI Light" panose="020B0502040204020203" pitchFamily="34" charset="0"/>
              </a:endParaRPr>
            </a:p>
          </p:txBody>
        </p:sp>
      </p:grpSp>
      <p:grpSp>
        <p:nvGrpSpPr>
          <p:cNvPr id="52" name="Group 51"/>
          <p:cNvGrpSpPr/>
          <p:nvPr/>
        </p:nvGrpSpPr>
        <p:grpSpPr>
          <a:xfrm>
            <a:off x="132176" y="4725074"/>
            <a:ext cx="2655557" cy="548640"/>
            <a:chOff x="159886" y="1123407"/>
            <a:chExt cx="2655557" cy="548640"/>
          </a:xfrm>
        </p:grpSpPr>
        <p:sp>
          <p:nvSpPr>
            <p:cNvPr id="54" name="Oval 147"/>
            <p:cNvSpPr/>
            <p:nvPr/>
          </p:nvSpPr>
          <p:spPr bwMode="auto">
            <a:xfrm>
              <a:off x="159886" y="1123407"/>
              <a:ext cx="548640" cy="548640"/>
            </a:xfrm>
            <a:prstGeom prst="ellipse">
              <a:avLst/>
            </a:prstGeom>
            <a:solidFill>
              <a:srgbClr val="FFCC00"/>
            </a:solidFill>
            <a:ln>
              <a:solidFill>
                <a:srgbClr val="F2C81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err="1">
                <a:gradFill>
                  <a:gsLst>
                    <a:gs pos="0">
                      <a:srgbClr val="FFFFFF"/>
                    </a:gs>
                    <a:gs pos="100000">
                      <a:srgbClr val="FFFFFF"/>
                    </a:gs>
                  </a:gsLst>
                  <a:lin ang="5400000" scaled="0"/>
                </a:gradFill>
                <a:ea typeface="Segoe UI" pitchFamily="34" charset="0"/>
                <a:cs typeface="Segoe UI" pitchFamily="34" charset="0"/>
              </a:endParaRPr>
            </a:p>
          </p:txBody>
        </p:sp>
        <p:sp>
          <p:nvSpPr>
            <p:cNvPr id="55" name="Rectangle 145"/>
            <p:cNvSpPr/>
            <p:nvPr/>
          </p:nvSpPr>
          <p:spPr bwMode="auto">
            <a:xfrm>
              <a:off x="805048" y="1206147"/>
              <a:ext cx="2010395" cy="3831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14367"/>
              <a:r>
                <a:rPr lang="en-US" sz="1400" b="1">
                  <a:solidFill>
                    <a:srgbClr val="F2C812"/>
                  </a:solidFill>
                  <a:cs typeface="Segoe UI Light" panose="020B0502040204020203" pitchFamily="34" charset="0"/>
                </a:rPr>
                <a:t>Keeping data current</a:t>
              </a:r>
              <a:endParaRPr lang="en-US" sz="1200" b="1" i="1">
                <a:solidFill>
                  <a:srgbClr val="F2C812"/>
                </a:solidFill>
                <a:cs typeface="Segoe UI Light" panose="020B0502040204020203" pitchFamily="34" charset="0"/>
              </a:endParaRPr>
            </a:p>
          </p:txBody>
        </p:sp>
      </p:grpSp>
      <p:grpSp>
        <p:nvGrpSpPr>
          <p:cNvPr id="56" name="Group 55"/>
          <p:cNvGrpSpPr/>
          <p:nvPr/>
        </p:nvGrpSpPr>
        <p:grpSpPr>
          <a:xfrm>
            <a:off x="151322" y="5689364"/>
            <a:ext cx="2636411" cy="548640"/>
            <a:chOff x="179032" y="1123407"/>
            <a:chExt cx="2636411" cy="548640"/>
          </a:xfrm>
        </p:grpSpPr>
        <p:sp>
          <p:nvSpPr>
            <p:cNvPr id="57" name="Oval 147"/>
            <p:cNvSpPr/>
            <p:nvPr/>
          </p:nvSpPr>
          <p:spPr bwMode="auto">
            <a:xfrm>
              <a:off x="179032" y="1123407"/>
              <a:ext cx="548640" cy="548640"/>
            </a:xfrm>
            <a:prstGeom prst="ellipse">
              <a:avLst/>
            </a:prstGeom>
            <a:solidFill>
              <a:srgbClr val="FFCC00"/>
            </a:solidFill>
            <a:ln>
              <a:solidFill>
                <a:srgbClr val="F2C81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err="1">
                <a:gradFill>
                  <a:gsLst>
                    <a:gs pos="0">
                      <a:srgbClr val="FFFFFF"/>
                    </a:gs>
                    <a:gs pos="100000">
                      <a:srgbClr val="FFFFFF"/>
                    </a:gs>
                  </a:gsLst>
                  <a:lin ang="5400000" scaled="0"/>
                </a:gradFill>
                <a:ea typeface="Segoe UI" pitchFamily="34" charset="0"/>
                <a:cs typeface="Segoe UI" pitchFamily="34" charset="0"/>
              </a:endParaRPr>
            </a:p>
          </p:txBody>
        </p:sp>
        <p:sp>
          <p:nvSpPr>
            <p:cNvPr id="58" name="Rectangle 145"/>
            <p:cNvSpPr/>
            <p:nvPr/>
          </p:nvSpPr>
          <p:spPr bwMode="auto">
            <a:xfrm>
              <a:off x="805048" y="1206147"/>
              <a:ext cx="2010395" cy="3831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14367"/>
              <a:r>
                <a:rPr lang="en-US" sz="1400" b="1">
                  <a:solidFill>
                    <a:srgbClr val="F2C812"/>
                  </a:solidFill>
                  <a:cs typeface="Segoe UI Light" panose="020B0502040204020203" pitchFamily="34" charset="0"/>
                </a:rPr>
                <a:t>Ease of use and adoption</a:t>
              </a:r>
              <a:endParaRPr lang="en-US" sz="1200" b="1" i="1">
                <a:solidFill>
                  <a:srgbClr val="F2C812"/>
                </a:solidFill>
                <a:cs typeface="Segoe UI Light" panose="020B0502040204020203" pitchFamily="34" charset="0"/>
              </a:endParaRPr>
            </a:p>
          </p:txBody>
        </p:sp>
      </p:grpSp>
      <p:sp>
        <p:nvSpPr>
          <p:cNvPr id="59" name="Freeform 58"/>
          <p:cNvSpPr>
            <a:spLocks noChangeAspect="1"/>
          </p:cNvSpPr>
          <p:nvPr/>
        </p:nvSpPr>
        <p:spPr bwMode="black">
          <a:xfrm>
            <a:off x="242762" y="1024112"/>
            <a:ext cx="365760" cy="236244"/>
          </a:xfrm>
          <a:custGeom>
            <a:avLst/>
            <a:gdLst>
              <a:gd name="connsiteX0" fmla="*/ 93529 w 794079"/>
              <a:gd name="connsiteY0" fmla="*/ 409985 h 512894"/>
              <a:gd name="connsiteX1" fmla="*/ 57350 w 794079"/>
              <a:gd name="connsiteY1" fmla="*/ 446163 h 512894"/>
              <a:gd name="connsiteX2" fmla="*/ 93529 w 794079"/>
              <a:gd name="connsiteY2" fmla="*/ 482342 h 512894"/>
              <a:gd name="connsiteX3" fmla="*/ 129707 w 794079"/>
              <a:gd name="connsiteY3" fmla="*/ 446163 h 512894"/>
              <a:gd name="connsiteX4" fmla="*/ 93529 w 794079"/>
              <a:gd name="connsiteY4" fmla="*/ 409985 h 512894"/>
              <a:gd name="connsiteX5" fmla="*/ 22935 w 794079"/>
              <a:gd name="connsiteY5" fmla="*/ 375286 h 512894"/>
              <a:gd name="connsiteX6" fmla="*/ 771144 w 794079"/>
              <a:gd name="connsiteY6" fmla="*/ 375286 h 512894"/>
              <a:gd name="connsiteX7" fmla="*/ 794079 w 794079"/>
              <a:gd name="connsiteY7" fmla="*/ 398221 h 512894"/>
              <a:gd name="connsiteX8" fmla="*/ 794079 w 794079"/>
              <a:gd name="connsiteY8" fmla="*/ 489959 h 512894"/>
              <a:gd name="connsiteX9" fmla="*/ 771144 w 794079"/>
              <a:gd name="connsiteY9" fmla="*/ 512894 h 512894"/>
              <a:gd name="connsiteX10" fmla="*/ 22935 w 794079"/>
              <a:gd name="connsiteY10" fmla="*/ 512894 h 512894"/>
              <a:gd name="connsiteX11" fmla="*/ 0 w 794079"/>
              <a:gd name="connsiteY11" fmla="*/ 489959 h 512894"/>
              <a:gd name="connsiteX12" fmla="*/ 0 w 794079"/>
              <a:gd name="connsiteY12" fmla="*/ 398221 h 512894"/>
              <a:gd name="connsiteX13" fmla="*/ 22935 w 794079"/>
              <a:gd name="connsiteY13" fmla="*/ 375286 h 512894"/>
              <a:gd name="connsiteX14" fmla="*/ 93529 w 794079"/>
              <a:gd name="connsiteY14" fmla="*/ 222341 h 512894"/>
              <a:gd name="connsiteX15" fmla="*/ 57350 w 794079"/>
              <a:gd name="connsiteY15" fmla="*/ 258520 h 512894"/>
              <a:gd name="connsiteX16" fmla="*/ 93529 w 794079"/>
              <a:gd name="connsiteY16" fmla="*/ 294699 h 512894"/>
              <a:gd name="connsiteX17" fmla="*/ 129707 w 794079"/>
              <a:gd name="connsiteY17" fmla="*/ 258520 h 512894"/>
              <a:gd name="connsiteX18" fmla="*/ 93529 w 794079"/>
              <a:gd name="connsiteY18" fmla="*/ 222341 h 512894"/>
              <a:gd name="connsiteX19" fmla="*/ 22935 w 794079"/>
              <a:gd name="connsiteY19" fmla="*/ 187643 h 512894"/>
              <a:gd name="connsiteX20" fmla="*/ 771144 w 794079"/>
              <a:gd name="connsiteY20" fmla="*/ 187643 h 512894"/>
              <a:gd name="connsiteX21" fmla="*/ 794079 w 794079"/>
              <a:gd name="connsiteY21" fmla="*/ 210578 h 512894"/>
              <a:gd name="connsiteX22" fmla="*/ 794079 w 794079"/>
              <a:gd name="connsiteY22" fmla="*/ 302316 h 512894"/>
              <a:gd name="connsiteX23" fmla="*/ 771144 w 794079"/>
              <a:gd name="connsiteY23" fmla="*/ 325251 h 512894"/>
              <a:gd name="connsiteX24" fmla="*/ 22935 w 794079"/>
              <a:gd name="connsiteY24" fmla="*/ 325251 h 512894"/>
              <a:gd name="connsiteX25" fmla="*/ 0 w 794079"/>
              <a:gd name="connsiteY25" fmla="*/ 302316 h 512894"/>
              <a:gd name="connsiteX26" fmla="*/ 0 w 794079"/>
              <a:gd name="connsiteY26" fmla="*/ 210578 h 512894"/>
              <a:gd name="connsiteX27" fmla="*/ 22935 w 794079"/>
              <a:gd name="connsiteY27" fmla="*/ 187643 h 512894"/>
              <a:gd name="connsiteX28" fmla="*/ 93529 w 794079"/>
              <a:gd name="connsiteY28" fmla="*/ 34698 h 512894"/>
              <a:gd name="connsiteX29" fmla="*/ 57350 w 794079"/>
              <a:gd name="connsiteY29" fmla="*/ 70877 h 512894"/>
              <a:gd name="connsiteX30" fmla="*/ 93529 w 794079"/>
              <a:gd name="connsiteY30" fmla="*/ 107056 h 512894"/>
              <a:gd name="connsiteX31" fmla="*/ 129707 w 794079"/>
              <a:gd name="connsiteY31" fmla="*/ 70877 h 512894"/>
              <a:gd name="connsiteX32" fmla="*/ 93529 w 794079"/>
              <a:gd name="connsiteY32" fmla="*/ 34698 h 512894"/>
              <a:gd name="connsiteX33" fmla="*/ 22935 w 794079"/>
              <a:gd name="connsiteY33" fmla="*/ 0 h 512894"/>
              <a:gd name="connsiteX34" fmla="*/ 771144 w 794079"/>
              <a:gd name="connsiteY34" fmla="*/ 0 h 512894"/>
              <a:gd name="connsiteX35" fmla="*/ 794079 w 794079"/>
              <a:gd name="connsiteY35" fmla="*/ 22935 h 512894"/>
              <a:gd name="connsiteX36" fmla="*/ 794079 w 794079"/>
              <a:gd name="connsiteY36" fmla="*/ 114673 h 512894"/>
              <a:gd name="connsiteX37" fmla="*/ 771144 w 794079"/>
              <a:gd name="connsiteY37" fmla="*/ 137608 h 512894"/>
              <a:gd name="connsiteX38" fmla="*/ 22935 w 794079"/>
              <a:gd name="connsiteY38" fmla="*/ 137608 h 512894"/>
              <a:gd name="connsiteX39" fmla="*/ 0 w 794079"/>
              <a:gd name="connsiteY39" fmla="*/ 114673 h 512894"/>
              <a:gd name="connsiteX40" fmla="*/ 0 w 794079"/>
              <a:gd name="connsiteY40" fmla="*/ 22935 h 512894"/>
              <a:gd name="connsiteX41" fmla="*/ 22935 w 794079"/>
              <a:gd name="connsiteY41" fmla="*/ 0 h 5128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794079" h="512894">
                <a:moveTo>
                  <a:pt x="93529" y="409985"/>
                </a:moveTo>
                <a:cubicBezTo>
                  <a:pt x="73548" y="409985"/>
                  <a:pt x="57350" y="426182"/>
                  <a:pt x="57350" y="446163"/>
                </a:cubicBezTo>
                <a:cubicBezTo>
                  <a:pt x="57350" y="466144"/>
                  <a:pt x="73548" y="482342"/>
                  <a:pt x="93529" y="482342"/>
                </a:cubicBezTo>
                <a:cubicBezTo>
                  <a:pt x="113510" y="482342"/>
                  <a:pt x="129707" y="466144"/>
                  <a:pt x="129707" y="446163"/>
                </a:cubicBezTo>
                <a:cubicBezTo>
                  <a:pt x="129707" y="426182"/>
                  <a:pt x="113510" y="409985"/>
                  <a:pt x="93529" y="409985"/>
                </a:cubicBezTo>
                <a:close/>
                <a:moveTo>
                  <a:pt x="22935" y="375286"/>
                </a:moveTo>
                <a:lnTo>
                  <a:pt x="771144" y="375286"/>
                </a:lnTo>
                <a:cubicBezTo>
                  <a:pt x="783811" y="375286"/>
                  <a:pt x="794079" y="385555"/>
                  <a:pt x="794079" y="398221"/>
                </a:cubicBezTo>
                <a:lnTo>
                  <a:pt x="794079" y="489959"/>
                </a:lnTo>
                <a:cubicBezTo>
                  <a:pt x="794079" y="502626"/>
                  <a:pt x="783811" y="512894"/>
                  <a:pt x="771144" y="512894"/>
                </a:cubicBezTo>
                <a:lnTo>
                  <a:pt x="22935" y="512894"/>
                </a:lnTo>
                <a:cubicBezTo>
                  <a:pt x="10269" y="512894"/>
                  <a:pt x="0" y="502626"/>
                  <a:pt x="0" y="489959"/>
                </a:cubicBezTo>
                <a:lnTo>
                  <a:pt x="0" y="398221"/>
                </a:lnTo>
                <a:cubicBezTo>
                  <a:pt x="0" y="385555"/>
                  <a:pt x="10269" y="375286"/>
                  <a:pt x="22935" y="375286"/>
                </a:cubicBezTo>
                <a:close/>
                <a:moveTo>
                  <a:pt x="93529" y="222341"/>
                </a:moveTo>
                <a:cubicBezTo>
                  <a:pt x="73548" y="222341"/>
                  <a:pt x="57350" y="238539"/>
                  <a:pt x="57350" y="258520"/>
                </a:cubicBezTo>
                <a:cubicBezTo>
                  <a:pt x="57350" y="278501"/>
                  <a:pt x="73548" y="294699"/>
                  <a:pt x="93529" y="294699"/>
                </a:cubicBezTo>
                <a:cubicBezTo>
                  <a:pt x="113510" y="294699"/>
                  <a:pt x="129707" y="278501"/>
                  <a:pt x="129707" y="258520"/>
                </a:cubicBezTo>
                <a:cubicBezTo>
                  <a:pt x="129707" y="238539"/>
                  <a:pt x="113510" y="222341"/>
                  <a:pt x="93529" y="222341"/>
                </a:cubicBezTo>
                <a:close/>
                <a:moveTo>
                  <a:pt x="22935" y="187643"/>
                </a:moveTo>
                <a:lnTo>
                  <a:pt x="771144" y="187643"/>
                </a:lnTo>
                <a:cubicBezTo>
                  <a:pt x="783811" y="187643"/>
                  <a:pt x="794079" y="197911"/>
                  <a:pt x="794079" y="210578"/>
                </a:cubicBezTo>
                <a:lnTo>
                  <a:pt x="794079" y="302316"/>
                </a:lnTo>
                <a:cubicBezTo>
                  <a:pt x="794079" y="314982"/>
                  <a:pt x="783811" y="325251"/>
                  <a:pt x="771144" y="325251"/>
                </a:cubicBezTo>
                <a:lnTo>
                  <a:pt x="22935" y="325251"/>
                </a:lnTo>
                <a:cubicBezTo>
                  <a:pt x="10269" y="325251"/>
                  <a:pt x="0" y="314982"/>
                  <a:pt x="0" y="302316"/>
                </a:cubicBezTo>
                <a:lnTo>
                  <a:pt x="0" y="210578"/>
                </a:lnTo>
                <a:cubicBezTo>
                  <a:pt x="0" y="197911"/>
                  <a:pt x="10269" y="187643"/>
                  <a:pt x="22935" y="187643"/>
                </a:cubicBezTo>
                <a:close/>
                <a:moveTo>
                  <a:pt x="93529" y="34698"/>
                </a:moveTo>
                <a:cubicBezTo>
                  <a:pt x="73548" y="34698"/>
                  <a:pt x="57350" y="50896"/>
                  <a:pt x="57350" y="70877"/>
                </a:cubicBezTo>
                <a:cubicBezTo>
                  <a:pt x="57350" y="90858"/>
                  <a:pt x="73548" y="107056"/>
                  <a:pt x="93529" y="107056"/>
                </a:cubicBezTo>
                <a:cubicBezTo>
                  <a:pt x="113510" y="107056"/>
                  <a:pt x="129707" y="90858"/>
                  <a:pt x="129707" y="70877"/>
                </a:cubicBezTo>
                <a:cubicBezTo>
                  <a:pt x="129707" y="50896"/>
                  <a:pt x="113510" y="34698"/>
                  <a:pt x="93529" y="34698"/>
                </a:cubicBezTo>
                <a:close/>
                <a:moveTo>
                  <a:pt x="22935" y="0"/>
                </a:moveTo>
                <a:lnTo>
                  <a:pt x="771144" y="0"/>
                </a:lnTo>
                <a:cubicBezTo>
                  <a:pt x="783811" y="0"/>
                  <a:pt x="794079" y="10268"/>
                  <a:pt x="794079" y="22935"/>
                </a:cubicBezTo>
                <a:lnTo>
                  <a:pt x="794079" y="114673"/>
                </a:lnTo>
                <a:cubicBezTo>
                  <a:pt x="794079" y="127339"/>
                  <a:pt x="783811" y="137608"/>
                  <a:pt x="771144" y="137608"/>
                </a:cubicBezTo>
                <a:lnTo>
                  <a:pt x="22935" y="137608"/>
                </a:lnTo>
                <a:cubicBezTo>
                  <a:pt x="10269" y="137608"/>
                  <a:pt x="0" y="127339"/>
                  <a:pt x="0" y="114673"/>
                </a:cubicBezTo>
                <a:lnTo>
                  <a:pt x="0" y="22935"/>
                </a:lnTo>
                <a:cubicBezTo>
                  <a:pt x="0" y="10268"/>
                  <a:pt x="10269" y="0"/>
                  <a:pt x="22935"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8" tIns="109719" rIns="137148" bIns="109719" numCol="1" spcCol="0" rtlCol="0" fromWordArt="0" anchor="t" anchorCtr="0" forceAA="0" compatLnSpc="1">
            <a:prstTxWarp prst="textNoShape">
              <a:avLst/>
            </a:prstTxWarp>
            <a:noAutofit/>
          </a:bodyPr>
          <a:lstStyle/>
          <a:p>
            <a:pPr algn="ctr" defTabSz="699261" fontAlgn="base">
              <a:lnSpc>
                <a:spcPct val="90000"/>
              </a:lnSpc>
              <a:spcBef>
                <a:spcPct val="0"/>
              </a:spcBef>
              <a:spcAft>
                <a:spcPct val="0"/>
              </a:spcAft>
            </a:pPr>
            <a:endParaRPr lang="en-US">
              <a:gradFill>
                <a:gsLst>
                  <a:gs pos="0">
                    <a:srgbClr val="FFFFFF"/>
                  </a:gs>
                  <a:gs pos="100000">
                    <a:srgbClr val="FFFFFF"/>
                  </a:gs>
                </a:gsLst>
                <a:lin ang="5400000" scaled="0"/>
              </a:gradFill>
              <a:ea typeface="Segoe UI" pitchFamily="34" charset="0"/>
              <a:cs typeface="Segoe UI" pitchFamily="34" charset="0"/>
            </a:endParaRPr>
          </a:p>
        </p:txBody>
      </p:sp>
      <p:grpSp>
        <p:nvGrpSpPr>
          <p:cNvPr id="60" name="Group 59"/>
          <p:cNvGrpSpPr>
            <a:grpSpLocks noChangeAspect="1"/>
          </p:cNvGrpSpPr>
          <p:nvPr/>
        </p:nvGrpSpPr>
        <p:grpSpPr>
          <a:xfrm>
            <a:off x="284268" y="1947738"/>
            <a:ext cx="314004" cy="320040"/>
            <a:chOff x="810855" y="2271601"/>
            <a:chExt cx="457200" cy="465990"/>
          </a:xfrm>
        </p:grpSpPr>
        <p:sp>
          <p:nvSpPr>
            <p:cNvPr id="61" name="Freeform 5"/>
            <p:cNvSpPr>
              <a:spLocks noEditPoints="1"/>
            </p:cNvSpPr>
            <p:nvPr/>
          </p:nvSpPr>
          <p:spPr bwMode="black">
            <a:xfrm>
              <a:off x="892260" y="2271601"/>
              <a:ext cx="375795" cy="291633"/>
            </a:xfrm>
            <a:custGeom>
              <a:avLst/>
              <a:gdLst>
                <a:gd name="T0" fmla="*/ 22 w 277"/>
                <a:gd name="T1" fmla="*/ 1 h 215"/>
                <a:gd name="T2" fmla="*/ 22 w 277"/>
                <a:gd name="T3" fmla="*/ 10 h 215"/>
                <a:gd name="T4" fmla="*/ 22 w 277"/>
                <a:gd name="T5" fmla="*/ 10 h 215"/>
                <a:gd name="T6" fmla="*/ 66 w 277"/>
                <a:gd name="T7" fmla="*/ 15 h 215"/>
                <a:gd name="T8" fmla="*/ 54 w 277"/>
                <a:gd name="T9" fmla="*/ 20 h 215"/>
                <a:gd name="T10" fmla="*/ 79 w 277"/>
                <a:gd name="T11" fmla="*/ 0 h 215"/>
                <a:gd name="T12" fmla="*/ 118 w 277"/>
                <a:gd name="T13" fmla="*/ 1 h 215"/>
                <a:gd name="T14" fmla="*/ 118 w 277"/>
                <a:gd name="T15" fmla="*/ 10 h 215"/>
                <a:gd name="T16" fmla="*/ 118 w 277"/>
                <a:gd name="T17" fmla="*/ 10 h 215"/>
                <a:gd name="T18" fmla="*/ 163 w 277"/>
                <a:gd name="T19" fmla="*/ 15 h 215"/>
                <a:gd name="T20" fmla="*/ 150 w 277"/>
                <a:gd name="T21" fmla="*/ 20 h 215"/>
                <a:gd name="T22" fmla="*/ 176 w 277"/>
                <a:gd name="T23" fmla="*/ 0 h 215"/>
                <a:gd name="T24" fmla="*/ 215 w 277"/>
                <a:gd name="T25" fmla="*/ 1 h 215"/>
                <a:gd name="T26" fmla="*/ 214 w 277"/>
                <a:gd name="T27" fmla="*/ 10 h 215"/>
                <a:gd name="T28" fmla="*/ 214 w 277"/>
                <a:gd name="T29" fmla="*/ 10 h 215"/>
                <a:gd name="T30" fmla="*/ 259 w 277"/>
                <a:gd name="T31" fmla="*/ 15 h 215"/>
                <a:gd name="T32" fmla="*/ 247 w 277"/>
                <a:gd name="T33" fmla="*/ 20 h 215"/>
                <a:gd name="T34" fmla="*/ 272 w 277"/>
                <a:gd name="T35" fmla="*/ 0 h 215"/>
                <a:gd name="T36" fmla="*/ 12 w 277"/>
                <a:gd name="T37" fmla="*/ 92 h 215"/>
                <a:gd name="T38" fmla="*/ 0 w 277"/>
                <a:gd name="T39" fmla="*/ 97 h 215"/>
                <a:gd name="T40" fmla="*/ 25 w 277"/>
                <a:gd name="T41" fmla="*/ 77 h 215"/>
                <a:gd name="T42" fmla="*/ 64 w 277"/>
                <a:gd name="T43" fmla="*/ 77 h 215"/>
                <a:gd name="T44" fmla="*/ 64 w 277"/>
                <a:gd name="T45" fmla="*/ 87 h 215"/>
                <a:gd name="T46" fmla="*/ 64 w 277"/>
                <a:gd name="T47" fmla="*/ 87 h 215"/>
                <a:gd name="T48" fmla="*/ 109 w 277"/>
                <a:gd name="T49" fmla="*/ 92 h 215"/>
                <a:gd name="T50" fmla="*/ 96 w 277"/>
                <a:gd name="T51" fmla="*/ 97 h 215"/>
                <a:gd name="T52" fmla="*/ 122 w 277"/>
                <a:gd name="T53" fmla="*/ 77 h 215"/>
                <a:gd name="T54" fmla="*/ 161 w 277"/>
                <a:gd name="T55" fmla="*/ 77 h 215"/>
                <a:gd name="T56" fmla="*/ 160 w 277"/>
                <a:gd name="T57" fmla="*/ 87 h 215"/>
                <a:gd name="T58" fmla="*/ 160 w 277"/>
                <a:gd name="T59" fmla="*/ 87 h 215"/>
                <a:gd name="T60" fmla="*/ 205 w 277"/>
                <a:gd name="T61" fmla="*/ 92 h 215"/>
                <a:gd name="T62" fmla="*/ 192 w 277"/>
                <a:gd name="T63" fmla="*/ 97 h 215"/>
                <a:gd name="T64" fmla="*/ 218 w 277"/>
                <a:gd name="T65" fmla="*/ 77 h 215"/>
                <a:gd name="T66" fmla="*/ 257 w 277"/>
                <a:gd name="T67" fmla="*/ 77 h 215"/>
                <a:gd name="T68" fmla="*/ 256 w 277"/>
                <a:gd name="T69" fmla="*/ 87 h 215"/>
                <a:gd name="T70" fmla="*/ 256 w 277"/>
                <a:gd name="T71" fmla="*/ 87 h 215"/>
                <a:gd name="T72" fmla="*/ 22 w 277"/>
                <a:gd name="T73" fmla="*/ 154 h 215"/>
                <a:gd name="T74" fmla="*/ 22 w 277"/>
                <a:gd name="T75" fmla="*/ 164 h 215"/>
                <a:gd name="T76" fmla="*/ 22 w 277"/>
                <a:gd name="T77" fmla="*/ 164 h 215"/>
                <a:gd name="T78" fmla="*/ 66 w 277"/>
                <a:gd name="T79" fmla="*/ 168 h 215"/>
                <a:gd name="T80" fmla="*/ 54 w 277"/>
                <a:gd name="T81" fmla="*/ 173 h 215"/>
                <a:gd name="T82" fmla="*/ 79 w 277"/>
                <a:gd name="T83" fmla="*/ 154 h 215"/>
                <a:gd name="T84" fmla="*/ 118 w 277"/>
                <a:gd name="T85" fmla="*/ 154 h 215"/>
                <a:gd name="T86" fmla="*/ 118 w 277"/>
                <a:gd name="T87" fmla="*/ 164 h 215"/>
                <a:gd name="T88" fmla="*/ 118 w 277"/>
                <a:gd name="T89" fmla="*/ 164 h 215"/>
                <a:gd name="T90" fmla="*/ 163 w 277"/>
                <a:gd name="T91" fmla="*/ 168 h 215"/>
                <a:gd name="T92" fmla="*/ 150 w 277"/>
                <a:gd name="T93" fmla="*/ 173 h 215"/>
                <a:gd name="T94" fmla="*/ 176 w 277"/>
                <a:gd name="T95" fmla="*/ 154 h 215"/>
                <a:gd name="T96" fmla="*/ 215 w 277"/>
                <a:gd name="T97" fmla="*/ 154 h 215"/>
                <a:gd name="T98" fmla="*/ 214 w 277"/>
                <a:gd name="T99" fmla="*/ 164 h 215"/>
                <a:gd name="T100" fmla="*/ 214 w 277"/>
                <a:gd name="T101" fmla="*/ 164 h 215"/>
                <a:gd name="T102" fmla="*/ 259 w 277"/>
                <a:gd name="T103" fmla="*/ 168 h 215"/>
                <a:gd name="T104" fmla="*/ 247 w 277"/>
                <a:gd name="T105" fmla="*/ 173 h 215"/>
                <a:gd name="T106" fmla="*/ 272 w 277"/>
                <a:gd name="T107" fmla="*/ 154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77" h="215">
                  <a:moveTo>
                    <a:pt x="21" y="61"/>
                  </a:moveTo>
                  <a:cubicBezTo>
                    <a:pt x="7" y="61"/>
                    <a:pt x="0" y="51"/>
                    <a:pt x="0" y="32"/>
                  </a:cubicBezTo>
                  <a:cubicBezTo>
                    <a:pt x="0" y="22"/>
                    <a:pt x="2" y="14"/>
                    <a:pt x="6" y="9"/>
                  </a:cubicBezTo>
                  <a:cubicBezTo>
                    <a:pt x="9" y="3"/>
                    <a:pt x="15" y="1"/>
                    <a:pt x="22" y="1"/>
                  </a:cubicBezTo>
                  <a:cubicBezTo>
                    <a:pt x="36" y="1"/>
                    <a:pt x="43" y="11"/>
                    <a:pt x="43" y="30"/>
                  </a:cubicBezTo>
                  <a:cubicBezTo>
                    <a:pt x="43" y="40"/>
                    <a:pt x="41" y="48"/>
                    <a:pt x="37" y="53"/>
                  </a:cubicBezTo>
                  <a:cubicBezTo>
                    <a:pt x="33" y="59"/>
                    <a:pt x="28" y="61"/>
                    <a:pt x="21" y="61"/>
                  </a:cubicBezTo>
                  <a:close/>
                  <a:moveTo>
                    <a:pt x="22" y="10"/>
                  </a:moveTo>
                  <a:cubicBezTo>
                    <a:pt x="16" y="10"/>
                    <a:pt x="13" y="17"/>
                    <a:pt x="13" y="32"/>
                  </a:cubicBezTo>
                  <a:cubicBezTo>
                    <a:pt x="13" y="45"/>
                    <a:pt x="16" y="51"/>
                    <a:pt x="21" y="51"/>
                  </a:cubicBezTo>
                  <a:cubicBezTo>
                    <a:pt x="27" y="51"/>
                    <a:pt x="29" y="45"/>
                    <a:pt x="29" y="31"/>
                  </a:cubicBezTo>
                  <a:cubicBezTo>
                    <a:pt x="29" y="17"/>
                    <a:pt x="27" y="10"/>
                    <a:pt x="22" y="10"/>
                  </a:cubicBezTo>
                  <a:close/>
                  <a:moveTo>
                    <a:pt x="79" y="0"/>
                  </a:moveTo>
                  <a:cubicBezTo>
                    <a:pt x="79" y="60"/>
                    <a:pt x="79" y="60"/>
                    <a:pt x="79" y="60"/>
                  </a:cubicBezTo>
                  <a:cubicBezTo>
                    <a:pt x="66" y="60"/>
                    <a:pt x="66" y="60"/>
                    <a:pt x="66" y="60"/>
                  </a:cubicBezTo>
                  <a:cubicBezTo>
                    <a:pt x="66" y="15"/>
                    <a:pt x="66" y="15"/>
                    <a:pt x="66" y="15"/>
                  </a:cubicBezTo>
                  <a:cubicBezTo>
                    <a:pt x="66" y="15"/>
                    <a:pt x="65" y="16"/>
                    <a:pt x="64" y="17"/>
                  </a:cubicBezTo>
                  <a:cubicBezTo>
                    <a:pt x="63" y="17"/>
                    <a:pt x="62" y="18"/>
                    <a:pt x="61" y="18"/>
                  </a:cubicBezTo>
                  <a:cubicBezTo>
                    <a:pt x="60" y="19"/>
                    <a:pt x="59" y="19"/>
                    <a:pt x="57" y="19"/>
                  </a:cubicBezTo>
                  <a:cubicBezTo>
                    <a:pt x="56" y="20"/>
                    <a:pt x="55" y="20"/>
                    <a:pt x="54" y="20"/>
                  </a:cubicBezTo>
                  <a:cubicBezTo>
                    <a:pt x="54" y="9"/>
                    <a:pt x="54" y="9"/>
                    <a:pt x="54" y="9"/>
                  </a:cubicBezTo>
                  <a:cubicBezTo>
                    <a:pt x="57" y="8"/>
                    <a:pt x="61" y="7"/>
                    <a:pt x="64" y="5"/>
                  </a:cubicBezTo>
                  <a:cubicBezTo>
                    <a:pt x="66" y="4"/>
                    <a:pt x="69" y="2"/>
                    <a:pt x="72" y="0"/>
                  </a:cubicBezTo>
                  <a:lnTo>
                    <a:pt x="79" y="0"/>
                  </a:lnTo>
                  <a:close/>
                  <a:moveTo>
                    <a:pt x="117" y="61"/>
                  </a:moveTo>
                  <a:cubicBezTo>
                    <a:pt x="103" y="61"/>
                    <a:pt x="96" y="51"/>
                    <a:pt x="96" y="32"/>
                  </a:cubicBezTo>
                  <a:cubicBezTo>
                    <a:pt x="96" y="22"/>
                    <a:pt x="98" y="14"/>
                    <a:pt x="102" y="9"/>
                  </a:cubicBezTo>
                  <a:cubicBezTo>
                    <a:pt x="106" y="3"/>
                    <a:pt x="111" y="1"/>
                    <a:pt x="118" y="1"/>
                  </a:cubicBezTo>
                  <a:cubicBezTo>
                    <a:pt x="132" y="1"/>
                    <a:pt x="139" y="11"/>
                    <a:pt x="139" y="30"/>
                  </a:cubicBezTo>
                  <a:cubicBezTo>
                    <a:pt x="139" y="40"/>
                    <a:pt x="137" y="48"/>
                    <a:pt x="133" y="53"/>
                  </a:cubicBezTo>
                  <a:cubicBezTo>
                    <a:pt x="130" y="59"/>
                    <a:pt x="124" y="61"/>
                    <a:pt x="117" y="61"/>
                  </a:cubicBezTo>
                  <a:close/>
                  <a:moveTo>
                    <a:pt x="118" y="10"/>
                  </a:moveTo>
                  <a:cubicBezTo>
                    <a:pt x="112" y="10"/>
                    <a:pt x="109" y="17"/>
                    <a:pt x="109" y="32"/>
                  </a:cubicBezTo>
                  <a:cubicBezTo>
                    <a:pt x="109" y="45"/>
                    <a:pt x="112" y="51"/>
                    <a:pt x="118" y="51"/>
                  </a:cubicBezTo>
                  <a:cubicBezTo>
                    <a:pt x="123" y="51"/>
                    <a:pt x="126" y="45"/>
                    <a:pt x="126" y="31"/>
                  </a:cubicBezTo>
                  <a:cubicBezTo>
                    <a:pt x="126" y="17"/>
                    <a:pt x="123" y="10"/>
                    <a:pt x="118" y="10"/>
                  </a:cubicBezTo>
                  <a:close/>
                  <a:moveTo>
                    <a:pt x="176" y="0"/>
                  </a:moveTo>
                  <a:cubicBezTo>
                    <a:pt x="176" y="60"/>
                    <a:pt x="176" y="60"/>
                    <a:pt x="176" y="60"/>
                  </a:cubicBezTo>
                  <a:cubicBezTo>
                    <a:pt x="163" y="60"/>
                    <a:pt x="163" y="60"/>
                    <a:pt x="163" y="60"/>
                  </a:cubicBezTo>
                  <a:cubicBezTo>
                    <a:pt x="163" y="15"/>
                    <a:pt x="163" y="15"/>
                    <a:pt x="163" y="15"/>
                  </a:cubicBezTo>
                  <a:cubicBezTo>
                    <a:pt x="162" y="15"/>
                    <a:pt x="161" y="16"/>
                    <a:pt x="160" y="17"/>
                  </a:cubicBezTo>
                  <a:cubicBezTo>
                    <a:pt x="159" y="17"/>
                    <a:pt x="158" y="18"/>
                    <a:pt x="157" y="18"/>
                  </a:cubicBezTo>
                  <a:cubicBezTo>
                    <a:pt x="156" y="19"/>
                    <a:pt x="155" y="19"/>
                    <a:pt x="154" y="19"/>
                  </a:cubicBezTo>
                  <a:cubicBezTo>
                    <a:pt x="153" y="20"/>
                    <a:pt x="151" y="20"/>
                    <a:pt x="150" y="20"/>
                  </a:cubicBezTo>
                  <a:cubicBezTo>
                    <a:pt x="150" y="9"/>
                    <a:pt x="150" y="9"/>
                    <a:pt x="150" y="9"/>
                  </a:cubicBezTo>
                  <a:cubicBezTo>
                    <a:pt x="154" y="8"/>
                    <a:pt x="157" y="7"/>
                    <a:pt x="160" y="5"/>
                  </a:cubicBezTo>
                  <a:cubicBezTo>
                    <a:pt x="163" y="4"/>
                    <a:pt x="165" y="2"/>
                    <a:pt x="168" y="0"/>
                  </a:cubicBezTo>
                  <a:lnTo>
                    <a:pt x="176" y="0"/>
                  </a:lnTo>
                  <a:close/>
                  <a:moveTo>
                    <a:pt x="214" y="61"/>
                  </a:moveTo>
                  <a:cubicBezTo>
                    <a:pt x="200" y="61"/>
                    <a:pt x="193" y="51"/>
                    <a:pt x="193" y="32"/>
                  </a:cubicBezTo>
                  <a:cubicBezTo>
                    <a:pt x="193" y="22"/>
                    <a:pt x="195" y="14"/>
                    <a:pt x="198" y="9"/>
                  </a:cubicBezTo>
                  <a:cubicBezTo>
                    <a:pt x="202" y="3"/>
                    <a:pt x="208" y="1"/>
                    <a:pt x="215" y="1"/>
                  </a:cubicBezTo>
                  <a:cubicBezTo>
                    <a:pt x="228" y="1"/>
                    <a:pt x="235" y="11"/>
                    <a:pt x="235" y="30"/>
                  </a:cubicBezTo>
                  <a:cubicBezTo>
                    <a:pt x="235" y="40"/>
                    <a:pt x="233" y="48"/>
                    <a:pt x="230" y="53"/>
                  </a:cubicBezTo>
                  <a:cubicBezTo>
                    <a:pt x="226" y="59"/>
                    <a:pt x="221" y="61"/>
                    <a:pt x="214" y="61"/>
                  </a:cubicBezTo>
                  <a:close/>
                  <a:moveTo>
                    <a:pt x="214" y="10"/>
                  </a:moveTo>
                  <a:cubicBezTo>
                    <a:pt x="209" y="10"/>
                    <a:pt x="206" y="17"/>
                    <a:pt x="206" y="32"/>
                  </a:cubicBezTo>
                  <a:cubicBezTo>
                    <a:pt x="206" y="45"/>
                    <a:pt x="209" y="51"/>
                    <a:pt x="214" y="51"/>
                  </a:cubicBezTo>
                  <a:cubicBezTo>
                    <a:pt x="219" y="51"/>
                    <a:pt x="222" y="45"/>
                    <a:pt x="222" y="31"/>
                  </a:cubicBezTo>
                  <a:cubicBezTo>
                    <a:pt x="222" y="17"/>
                    <a:pt x="219" y="10"/>
                    <a:pt x="214" y="10"/>
                  </a:cubicBezTo>
                  <a:close/>
                  <a:moveTo>
                    <a:pt x="272" y="0"/>
                  </a:moveTo>
                  <a:cubicBezTo>
                    <a:pt x="272" y="60"/>
                    <a:pt x="272" y="60"/>
                    <a:pt x="272" y="60"/>
                  </a:cubicBezTo>
                  <a:cubicBezTo>
                    <a:pt x="259" y="60"/>
                    <a:pt x="259" y="60"/>
                    <a:pt x="259" y="60"/>
                  </a:cubicBezTo>
                  <a:cubicBezTo>
                    <a:pt x="259" y="15"/>
                    <a:pt x="259" y="15"/>
                    <a:pt x="259" y="15"/>
                  </a:cubicBezTo>
                  <a:cubicBezTo>
                    <a:pt x="258" y="15"/>
                    <a:pt x="258" y="16"/>
                    <a:pt x="257" y="17"/>
                  </a:cubicBezTo>
                  <a:cubicBezTo>
                    <a:pt x="256" y="17"/>
                    <a:pt x="255" y="18"/>
                    <a:pt x="254" y="18"/>
                  </a:cubicBezTo>
                  <a:cubicBezTo>
                    <a:pt x="252" y="19"/>
                    <a:pt x="251" y="19"/>
                    <a:pt x="250" y="19"/>
                  </a:cubicBezTo>
                  <a:cubicBezTo>
                    <a:pt x="249" y="20"/>
                    <a:pt x="248" y="20"/>
                    <a:pt x="247" y="20"/>
                  </a:cubicBezTo>
                  <a:cubicBezTo>
                    <a:pt x="247" y="9"/>
                    <a:pt x="247" y="9"/>
                    <a:pt x="247" y="9"/>
                  </a:cubicBezTo>
                  <a:cubicBezTo>
                    <a:pt x="250" y="8"/>
                    <a:pt x="253" y="7"/>
                    <a:pt x="256" y="5"/>
                  </a:cubicBezTo>
                  <a:cubicBezTo>
                    <a:pt x="259" y="4"/>
                    <a:pt x="262" y="2"/>
                    <a:pt x="264" y="0"/>
                  </a:cubicBezTo>
                  <a:lnTo>
                    <a:pt x="272" y="0"/>
                  </a:lnTo>
                  <a:close/>
                  <a:moveTo>
                    <a:pt x="25" y="77"/>
                  </a:moveTo>
                  <a:cubicBezTo>
                    <a:pt x="25" y="137"/>
                    <a:pt x="25" y="137"/>
                    <a:pt x="25" y="137"/>
                  </a:cubicBezTo>
                  <a:cubicBezTo>
                    <a:pt x="12" y="137"/>
                    <a:pt x="12" y="137"/>
                    <a:pt x="12" y="137"/>
                  </a:cubicBezTo>
                  <a:cubicBezTo>
                    <a:pt x="12" y="92"/>
                    <a:pt x="12" y="92"/>
                    <a:pt x="12" y="92"/>
                  </a:cubicBezTo>
                  <a:cubicBezTo>
                    <a:pt x="12" y="92"/>
                    <a:pt x="11" y="93"/>
                    <a:pt x="10" y="93"/>
                  </a:cubicBezTo>
                  <a:cubicBezTo>
                    <a:pt x="9" y="94"/>
                    <a:pt x="8" y="94"/>
                    <a:pt x="7" y="95"/>
                  </a:cubicBezTo>
                  <a:cubicBezTo>
                    <a:pt x="6" y="95"/>
                    <a:pt x="5" y="96"/>
                    <a:pt x="3" y="96"/>
                  </a:cubicBezTo>
                  <a:cubicBezTo>
                    <a:pt x="2" y="96"/>
                    <a:pt x="1" y="97"/>
                    <a:pt x="0" y="97"/>
                  </a:cubicBezTo>
                  <a:cubicBezTo>
                    <a:pt x="0" y="86"/>
                    <a:pt x="0" y="86"/>
                    <a:pt x="0" y="86"/>
                  </a:cubicBezTo>
                  <a:cubicBezTo>
                    <a:pt x="3" y="85"/>
                    <a:pt x="6" y="84"/>
                    <a:pt x="9" y="82"/>
                  </a:cubicBezTo>
                  <a:cubicBezTo>
                    <a:pt x="12" y="81"/>
                    <a:pt x="15" y="79"/>
                    <a:pt x="17" y="77"/>
                  </a:cubicBezTo>
                  <a:lnTo>
                    <a:pt x="25" y="77"/>
                  </a:lnTo>
                  <a:close/>
                  <a:moveTo>
                    <a:pt x="63" y="138"/>
                  </a:moveTo>
                  <a:cubicBezTo>
                    <a:pt x="49" y="138"/>
                    <a:pt x="42" y="128"/>
                    <a:pt x="42" y="109"/>
                  </a:cubicBezTo>
                  <a:cubicBezTo>
                    <a:pt x="42" y="98"/>
                    <a:pt x="44" y="91"/>
                    <a:pt x="48" y="85"/>
                  </a:cubicBezTo>
                  <a:cubicBezTo>
                    <a:pt x="52" y="80"/>
                    <a:pt x="57" y="77"/>
                    <a:pt x="64" y="77"/>
                  </a:cubicBezTo>
                  <a:cubicBezTo>
                    <a:pt x="78" y="77"/>
                    <a:pt x="85" y="87"/>
                    <a:pt x="85" y="107"/>
                  </a:cubicBezTo>
                  <a:cubicBezTo>
                    <a:pt x="85" y="117"/>
                    <a:pt x="83" y="125"/>
                    <a:pt x="79" y="130"/>
                  </a:cubicBezTo>
                  <a:cubicBezTo>
                    <a:pt x="75" y="135"/>
                    <a:pt x="70" y="138"/>
                    <a:pt x="63" y="138"/>
                  </a:cubicBezTo>
                  <a:close/>
                  <a:moveTo>
                    <a:pt x="64" y="87"/>
                  </a:moveTo>
                  <a:cubicBezTo>
                    <a:pt x="58" y="87"/>
                    <a:pt x="55" y="94"/>
                    <a:pt x="55" y="108"/>
                  </a:cubicBezTo>
                  <a:cubicBezTo>
                    <a:pt x="55" y="121"/>
                    <a:pt x="58" y="128"/>
                    <a:pt x="64" y="128"/>
                  </a:cubicBezTo>
                  <a:cubicBezTo>
                    <a:pt x="69" y="128"/>
                    <a:pt x="72" y="121"/>
                    <a:pt x="72" y="108"/>
                  </a:cubicBezTo>
                  <a:cubicBezTo>
                    <a:pt x="72" y="94"/>
                    <a:pt x="69" y="87"/>
                    <a:pt x="64" y="87"/>
                  </a:cubicBezTo>
                  <a:close/>
                  <a:moveTo>
                    <a:pt x="122" y="77"/>
                  </a:moveTo>
                  <a:cubicBezTo>
                    <a:pt x="122" y="137"/>
                    <a:pt x="122" y="137"/>
                    <a:pt x="122" y="137"/>
                  </a:cubicBezTo>
                  <a:cubicBezTo>
                    <a:pt x="109" y="137"/>
                    <a:pt x="109" y="137"/>
                    <a:pt x="109" y="137"/>
                  </a:cubicBezTo>
                  <a:cubicBezTo>
                    <a:pt x="109" y="92"/>
                    <a:pt x="109" y="92"/>
                    <a:pt x="109" y="92"/>
                  </a:cubicBezTo>
                  <a:cubicBezTo>
                    <a:pt x="108" y="92"/>
                    <a:pt x="107" y="93"/>
                    <a:pt x="106" y="93"/>
                  </a:cubicBezTo>
                  <a:cubicBezTo>
                    <a:pt x="105" y="94"/>
                    <a:pt x="104" y="94"/>
                    <a:pt x="103" y="95"/>
                  </a:cubicBezTo>
                  <a:cubicBezTo>
                    <a:pt x="102" y="95"/>
                    <a:pt x="101" y="96"/>
                    <a:pt x="100" y="96"/>
                  </a:cubicBezTo>
                  <a:cubicBezTo>
                    <a:pt x="98" y="96"/>
                    <a:pt x="97" y="97"/>
                    <a:pt x="96" y="97"/>
                  </a:cubicBezTo>
                  <a:cubicBezTo>
                    <a:pt x="96" y="86"/>
                    <a:pt x="96" y="86"/>
                    <a:pt x="96" y="86"/>
                  </a:cubicBezTo>
                  <a:cubicBezTo>
                    <a:pt x="100" y="85"/>
                    <a:pt x="103" y="84"/>
                    <a:pt x="106" y="82"/>
                  </a:cubicBezTo>
                  <a:cubicBezTo>
                    <a:pt x="109" y="81"/>
                    <a:pt x="111" y="79"/>
                    <a:pt x="114" y="77"/>
                  </a:cubicBezTo>
                  <a:lnTo>
                    <a:pt x="122" y="77"/>
                  </a:lnTo>
                  <a:close/>
                  <a:moveTo>
                    <a:pt x="159" y="138"/>
                  </a:moveTo>
                  <a:cubicBezTo>
                    <a:pt x="145" y="138"/>
                    <a:pt x="138" y="128"/>
                    <a:pt x="138" y="109"/>
                  </a:cubicBezTo>
                  <a:cubicBezTo>
                    <a:pt x="138" y="98"/>
                    <a:pt x="140" y="91"/>
                    <a:pt x="144" y="85"/>
                  </a:cubicBezTo>
                  <a:cubicBezTo>
                    <a:pt x="148" y="80"/>
                    <a:pt x="153" y="77"/>
                    <a:pt x="161" y="77"/>
                  </a:cubicBezTo>
                  <a:cubicBezTo>
                    <a:pt x="174" y="77"/>
                    <a:pt x="181" y="87"/>
                    <a:pt x="181" y="107"/>
                  </a:cubicBezTo>
                  <a:cubicBezTo>
                    <a:pt x="181" y="117"/>
                    <a:pt x="179" y="125"/>
                    <a:pt x="175" y="130"/>
                  </a:cubicBezTo>
                  <a:cubicBezTo>
                    <a:pt x="172" y="135"/>
                    <a:pt x="166" y="138"/>
                    <a:pt x="159" y="138"/>
                  </a:cubicBezTo>
                  <a:close/>
                  <a:moveTo>
                    <a:pt x="160" y="87"/>
                  </a:moveTo>
                  <a:cubicBezTo>
                    <a:pt x="154" y="87"/>
                    <a:pt x="152" y="94"/>
                    <a:pt x="152" y="108"/>
                  </a:cubicBezTo>
                  <a:cubicBezTo>
                    <a:pt x="152" y="121"/>
                    <a:pt x="154" y="128"/>
                    <a:pt x="160" y="128"/>
                  </a:cubicBezTo>
                  <a:cubicBezTo>
                    <a:pt x="165" y="128"/>
                    <a:pt x="168" y="121"/>
                    <a:pt x="168" y="108"/>
                  </a:cubicBezTo>
                  <a:cubicBezTo>
                    <a:pt x="168" y="94"/>
                    <a:pt x="165" y="87"/>
                    <a:pt x="160" y="87"/>
                  </a:cubicBezTo>
                  <a:close/>
                  <a:moveTo>
                    <a:pt x="218" y="77"/>
                  </a:moveTo>
                  <a:cubicBezTo>
                    <a:pt x="218" y="137"/>
                    <a:pt x="218" y="137"/>
                    <a:pt x="218" y="137"/>
                  </a:cubicBezTo>
                  <a:cubicBezTo>
                    <a:pt x="205" y="137"/>
                    <a:pt x="205" y="137"/>
                    <a:pt x="205" y="137"/>
                  </a:cubicBezTo>
                  <a:cubicBezTo>
                    <a:pt x="205" y="92"/>
                    <a:pt x="205" y="92"/>
                    <a:pt x="205" y="92"/>
                  </a:cubicBezTo>
                  <a:cubicBezTo>
                    <a:pt x="204" y="92"/>
                    <a:pt x="203" y="93"/>
                    <a:pt x="202" y="93"/>
                  </a:cubicBezTo>
                  <a:cubicBezTo>
                    <a:pt x="201" y="94"/>
                    <a:pt x="200" y="94"/>
                    <a:pt x="199" y="95"/>
                  </a:cubicBezTo>
                  <a:cubicBezTo>
                    <a:pt x="198" y="95"/>
                    <a:pt x="197" y="96"/>
                    <a:pt x="196" y="96"/>
                  </a:cubicBezTo>
                  <a:cubicBezTo>
                    <a:pt x="195" y="96"/>
                    <a:pt x="194" y="97"/>
                    <a:pt x="192" y="97"/>
                  </a:cubicBezTo>
                  <a:cubicBezTo>
                    <a:pt x="192" y="86"/>
                    <a:pt x="192" y="86"/>
                    <a:pt x="192" y="86"/>
                  </a:cubicBezTo>
                  <a:cubicBezTo>
                    <a:pt x="196" y="85"/>
                    <a:pt x="199" y="84"/>
                    <a:pt x="202" y="82"/>
                  </a:cubicBezTo>
                  <a:cubicBezTo>
                    <a:pt x="205" y="81"/>
                    <a:pt x="208" y="79"/>
                    <a:pt x="210" y="77"/>
                  </a:cubicBezTo>
                  <a:lnTo>
                    <a:pt x="218" y="77"/>
                  </a:lnTo>
                  <a:close/>
                  <a:moveTo>
                    <a:pt x="256" y="138"/>
                  </a:moveTo>
                  <a:cubicBezTo>
                    <a:pt x="242" y="138"/>
                    <a:pt x="235" y="128"/>
                    <a:pt x="235" y="109"/>
                  </a:cubicBezTo>
                  <a:cubicBezTo>
                    <a:pt x="235" y="98"/>
                    <a:pt x="237" y="91"/>
                    <a:pt x="240" y="85"/>
                  </a:cubicBezTo>
                  <a:cubicBezTo>
                    <a:pt x="244" y="80"/>
                    <a:pt x="250" y="77"/>
                    <a:pt x="257" y="77"/>
                  </a:cubicBezTo>
                  <a:cubicBezTo>
                    <a:pt x="270" y="77"/>
                    <a:pt x="277" y="87"/>
                    <a:pt x="277" y="107"/>
                  </a:cubicBezTo>
                  <a:cubicBezTo>
                    <a:pt x="277" y="117"/>
                    <a:pt x="275" y="125"/>
                    <a:pt x="272" y="130"/>
                  </a:cubicBezTo>
                  <a:cubicBezTo>
                    <a:pt x="268" y="135"/>
                    <a:pt x="263" y="138"/>
                    <a:pt x="256" y="138"/>
                  </a:cubicBezTo>
                  <a:close/>
                  <a:moveTo>
                    <a:pt x="256" y="87"/>
                  </a:moveTo>
                  <a:cubicBezTo>
                    <a:pt x="251" y="87"/>
                    <a:pt x="248" y="94"/>
                    <a:pt x="248" y="108"/>
                  </a:cubicBezTo>
                  <a:cubicBezTo>
                    <a:pt x="248" y="121"/>
                    <a:pt x="251" y="128"/>
                    <a:pt x="256" y="128"/>
                  </a:cubicBezTo>
                  <a:cubicBezTo>
                    <a:pt x="261" y="128"/>
                    <a:pt x="264" y="121"/>
                    <a:pt x="264" y="108"/>
                  </a:cubicBezTo>
                  <a:cubicBezTo>
                    <a:pt x="264" y="94"/>
                    <a:pt x="262" y="87"/>
                    <a:pt x="256" y="87"/>
                  </a:cubicBezTo>
                  <a:close/>
                  <a:moveTo>
                    <a:pt x="21" y="215"/>
                  </a:moveTo>
                  <a:cubicBezTo>
                    <a:pt x="7" y="215"/>
                    <a:pt x="0" y="205"/>
                    <a:pt x="0" y="185"/>
                  </a:cubicBezTo>
                  <a:cubicBezTo>
                    <a:pt x="0" y="175"/>
                    <a:pt x="2" y="167"/>
                    <a:pt x="6" y="162"/>
                  </a:cubicBezTo>
                  <a:cubicBezTo>
                    <a:pt x="9" y="157"/>
                    <a:pt x="15" y="154"/>
                    <a:pt x="22" y="154"/>
                  </a:cubicBezTo>
                  <a:cubicBezTo>
                    <a:pt x="36" y="154"/>
                    <a:pt x="43" y="164"/>
                    <a:pt x="43" y="184"/>
                  </a:cubicBezTo>
                  <a:cubicBezTo>
                    <a:pt x="43" y="194"/>
                    <a:pt x="41" y="201"/>
                    <a:pt x="37" y="207"/>
                  </a:cubicBezTo>
                  <a:cubicBezTo>
                    <a:pt x="33" y="212"/>
                    <a:pt x="28" y="215"/>
                    <a:pt x="21" y="215"/>
                  </a:cubicBezTo>
                  <a:close/>
                  <a:moveTo>
                    <a:pt x="22" y="164"/>
                  </a:moveTo>
                  <a:cubicBezTo>
                    <a:pt x="16" y="164"/>
                    <a:pt x="13" y="171"/>
                    <a:pt x="13" y="185"/>
                  </a:cubicBezTo>
                  <a:cubicBezTo>
                    <a:pt x="13" y="198"/>
                    <a:pt x="16" y="205"/>
                    <a:pt x="21" y="205"/>
                  </a:cubicBezTo>
                  <a:cubicBezTo>
                    <a:pt x="27" y="205"/>
                    <a:pt x="29" y="198"/>
                    <a:pt x="29" y="184"/>
                  </a:cubicBezTo>
                  <a:cubicBezTo>
                    <a:pt x="29" y="171"/>
                    <a:pt x="27" y="164"/>
                    <a:pt x="22" y="164"/>
                  </a:cubicBezTo>
                  <a:close/>
                  <a:moveTo>
                    <a:pt x="79" y="154"/>
                  </a:moveTo>
                  <a:cubicBezTo>
                    <a:pt x="79" y="214"/>
                    <a:pt x="79" y="214"/>
                    <a:pt x="79" y="214"/>
                  </a:cubicBezTo>
                  <a:cubicBezTo>
                    <a:pt x="66" y="214"/>
                    <a:pt x="66" y="214"/>
                    <a:pt x="66" y="214"/>
                  </a:cubicBezTo>
                  <a:cubicBezTo>
                    <a:pt x="66" y="168"/>
                    <a:pt x="66" y="168"/>
                    <a:pt x="66" y="168"/>
                  </a:cubicBezTo>
                  <a:cubicBezTo>
                    <a:pt x="66" y="169"/>
                    <a:pt x="65" y="170"/>
                    <a:pt x="64" y="170"/>
                  </a:cubicBezTo>
                  <a:cubicBezTo>
                    <a:pt x="63" y="171"/>
                    <a:pt x="62" y="171"/>
                    <a:pt x="61" y="172"/>
                  </a:cubicBezTo>
                  <a:cubicBezTo>
                    <a:pt x="60" y="172"/>
                    <a:pt x="59" y="172"/>
                    <a:pt x="57" y="173"/>
                  </a:cubicBezTo>
                  <a:cubicBezTo>
                    <a:pt x="56" y="173"/>
                    <a:pt x="55" y="173"/>
                    <a:pt x="54" y="173"/>
                  </a:cubicBezTo>
                  <a:cubicBezTo>
                    <a:pt x="54" y="163"/>
                    <a:pt x="54" y="163"/>
                    <a:pt x="54" y="163"/>
                  </a:cubicBezTo>
                  <a:cubicBezTo>
                    <a:pt x="57" y="162"/>
                    <a:pt x="61" y="160"/>
                    <a:pt x="64" y="159"/>
                  </a:cubicBezTo>
                  <a:cubicBezTo>
                    <a:pt x="66" y="157"/>
                    <a:pt x="69" y="156"/>
                    <a:pt x="72" y="154"/>
                  </a:cubicBezTo>
                  <a:lnTo>
                    <a:pt x="79" y="154"/>
                  </a:lnTo>
                  <a:close/>
                  <a:moveTo>
                    <a:pt x="117" y="215"/>
                  </a:moveTo>
                  <a:cubicBezTo>
                    <a:pt x="103" y="215"/>
                    <a:pt x="96" y="205"/>
                    <a:pt x="96" y="185"/>
                  </a:cubicBezTo>
                  <a:cubicBezTo>
                    <a:pt x="96" y="175"/>
                    <a:pt x="98" y="167"/>
                    <a:pt x="102" y="162"/>
                  </a:cubicBezTo>
                  <a:cubicBezTo>
                    <a:pt x="106" y="157"/>
                    <a:pt x="111" y="154"/>
                    <a:pt x="118" y="154"/>
                  </a:cubicBezTo>
                  <a:cubicBezTo>
                    <a:pt x="132" y="154"/>
                    <a:pt x="139" y="164"/>
                    <a:pt x="139" y="184"/>
                  </a:cubicBezTo>
                  <a:cubicBezTo>
                    <a:pt x="139" y="194"/>
                    <a:pt x="137" y="201"/>
                    <a:pt x="133" y="207"/>
                  </a:cubicBezTo>
                  <a:cubicBezTo>
                    <a:pt x="130" y="212"/>
                    <a:pt x="124" y="215"/>
                    <a:pt x="117" y="215"/>
                  </a:cubicBezTo>
                  <a:close/>
                  <a:moveTo>
                    <a:pt x="118" y="164"/>
                  </a:moveTo>
                  <a:cubicBezTo>
                    <a:pt x="112" y="164"/>
                    <a:pt x="109" y="171"/>
                    <a:pt x="109" y="185"/>
                  </a:cubicBezTo>
                  <a:cubicBezTo>
                    <a:pt x="109" y="198"/>
                    <a:pt x="112" y="205"/>
                    <a:pt x="118" y="205"/>
                  </a:cubicBezTo>
                  <a:cubicBezTo>
                    <a:pt x="123" y="205"/>
                    <a:pt x="126" y="198"/>
                    <a:pt x="126" y="184"/>
                  </a:cubicBezTo>
                  <a:cubicBezTo>
                    <a:pt x="126" y="171"/>
                    <a:pt x="123" y="164"/>
                    <a:pt x="118" y="164"/>
                  </a:cubicBezTo>
                  <a:close/>
                  <a:moveTo>
                    <a:pt x="176" y="154"/>
                  </a:moveTo>
                  <a:cubicBezTo>
                    <a:pt x="176" y="214"/>
                    <a:pt x="176" y="214"/>
                    <a:pt x="176" y="214"/>
                  </a:cubicBezTo>
                  <a:cubicBezTo>
                    <a:pt x="163" y="214"/>
                    <a:pt x="163" y="214"/>
                    <a:pt x="163" y="214"/>
                  </a:cubicBezTo>
                  <a:cubicBezTo>
                    <a:pt x="163" y="168"/>
                    <a:pt x="163" y="168"/>
                    <a:pt x="163" y="168"/>
                  </a:cubicBezTo>
                  <a:cubicBezTo>
                    <a:pt x="162" y="169"/>
                    <a:pt x="161" y="170"/>
                    <a:pt x="160" y="170"/>
                  </a:cubicBezTo>
                  <a:cubicBezTo>
                    <a:pt x="159" y="171"/>
                    <a:pt x="158" y="171"/>
                    <a:pt x="157" y="172"/>
                  </a:cubicBezTo>
                  <a:cubicBezTo>
                    <a:pt x="156" y="172"/>
                    <a:pt x="155" y="172"/>
                    <a:pt x="154" y="173"/>
                  </a:cubicBezTo>
                  <a:cubicBezTo>
                    <a:pt x="153" y="173"/>
                    <a:pt x="151" y="173"/>
                    <a:pt x="150" y="173"/>
                  </a:cubicBezTo>
                  <a:cubicBezTo>
                    <a:pt x="150" y="163"/>
                    <a:pt x="150" y="163"/>
                    <a:pt x="150" y="163"/>
                  </a:cubicBezTo>
                  <a:cubicBezTo>
                    <a:pt x="154" y="162"/>
                    <a:pt x="157" y="160"/>
                    <a:pt x="160" y="159"/>
                  </a:cubicBezTo>
                  <a:cubicBezTo>
                    <a:pt x="163" y="157"/>
                    <a:pt x="165" y="156"/>
                    <a:pt x="168" y="154"/>
                  </a:cubicBezTo>
                  <a:lnTo>
                    <a:pt x="176" y="154"/>
                  </a:lnTo>
                  <a:close/>
                  <a:moveTo>
                    <a:pt x="214" y="215"/>
                  </a:moveTo>
                  <a:cubicBezTo>
                    <a:pt x="200" y="215"/>
                    <a:pt x="193" y="205"/>
                    <a:pt x="193" y="185"/>
                  </a:cubicBezTo>
                  <a:cubicBezTo>
                    <a:pt x="193" y="175"/>
                    <a:pt x="195" y="167"/>
                    <a:pt x="198" y="162"/>
                  </a:cubicBezTo>
                  <a:cubicBezTo>
                    <a:pt x="202" y="157"/>
                    <a:pt x="208" y="154"/>
                    <a:pt x="215" y="154"/>
                  </a:cubicBezTo>
                  <a:cubicBezTo>
                    <a:pt x="228" y="154"/>
                    <a:pt x="235" y="164"/>
                    <a:pt x="235" y="184"/>
                  </a:cubicBezTo>
                  <a:cubicBezTo>
                    <a:pt x="235" y="194"/>
                    <a:pt x="233" y="201"/>
                    <a:pt x="230" y="207"/>
                  </a:cubicBezTo>
                  <a:cubicBezTo>
                    <a:pt x="226" y="212"/>
                    <a:pt x="221" y="215"/>
                    <a:pt x="214" y="215"/>
                  </a:cubicBezTo>
                  <a:close/>
                  <a:moveTo>
                    <a:pt x="214" y="164"/>
                  </a:moveTo>
                  <a:cubicBezTo>
                    <a:pt x="209" y="164"/>
                    <a:pt x="206" y="171"/>
                    <a:pt x="206" y="185"/>
                  </a:cubicBezTo>
                  <a:cubicBezTo>
                    <a:pt x="206" y="198"/>
                    <a:pt x="209" y="205"/>
                    <a:pt x="214" y="205"/>
                  </a:cubicBezTo>
                  <a:cubicBezTo>
                    <a:pt x="219" y="205"/>
                    <a:pt x="222" y="198"/>
                    <a:pt x="222" y="184"/>
                  </a:cubicBezTo>
                  <a:cubicBezTo>
                    <a:pt x="222" y="171"/>
                    <a:pt x="219" y="164"/>
                    <a:pt x="214" y="164"/>
                  </a:cubicBezTo>
                  <a:close/>
                  <a:moveTo>
                    <a:pt x="272" y="154"/>
                  </a:moveTo>
                  <a:cubicBezTo>
                    <a:pt x="272" y="214"/>
                    <a:pt x="272" y="214"/>
                    <a:pt x="272" y="214"/>
                  </a:cubicBezTo>
                  <a:cubicBezTo>
                    <a:pt x="259" y="214"/>
                    <a:pt x="259" y="214"/>
                    <a:pt x="259" y="214"/>
                  </a:cubicBezTo>
                  <a:cubicBezTo>
                    <a:pt x="259" y="168"/>
                    <a:pt x="259" y="168"/>
                    <a:pt x="259" y="168"/>
                  </a:cubicBezTo>
                  <a:cubicBezTo>
                    <a:pt x="258" y="169"/>
                    <a:pt x="258" y="170"/>
                    <a:pt x="257" y="170"/>
                  </a:cubicBezTo>
                  <a:cubicBezTo>
                    <a:pt x="256" y="171"/>
                    <a:pt x="255" y="171"/>
                    <a:pt x="254" y="172"/>
                  </a:cubicBezTo>
                  <a:cubicBezTo>
                    <a:pt x="252" y="172"/>
                    <a:pt x="251" y="172"/>
                    <a:pt x="250" y="173"/>
                  </a:cubicBezTo>
                  <a:cubicBezTo>
                    <a:pt x="249" y="173"/>
                    <a:pt x="248" y="173"/>
                    <a:pt x="247" y="173"/>
                  </a:cubicBezTo>
                  <a:cubicBezTo>
                    <a:pt x="247" y="163"/>
                    <a:pt x="247" y="163"/>
                    <a:pt x="247" y="163"/>
                  </a:cubicBezTo>
                  <a:cubicBezTo>
                    <a:pt x="250" y="162"/>
                    <a:pt x="253" y="160"/>
                    <a:pt x="256" y="159"/>
                  </a:cubicBezTo>
                  <a:cubicBezTo>
                    <a:pt x="259" y="157"/>
                    <a:pt x="262" y="156"/>
                    <a:pt x="264" y="154"/>
                  </a:cubicBezTo>
                  <a:lnTo>
                    <a:pt x="272" y="154"/>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62" name="Freeform 61"/>
            <p:cNvSpPr>
              <a:spLocks noChangeAspect="1"/>
            </p:cNvSpPr>
            <p:nvPr/>
          </p:nvSpPr>
          <p:spPr bwMode="black">
            <a:xfrm>
              <a:off x="810855" y="2476645"/>
              <a:ext cx="373866" cy="260946"/>
            </a:xfrm>
            <a:custGeom>
              <a:avLst/>
              <a:gdLst>
                <a:gd name="connsiteX0" fmla="*/ 541228 w 979570"/>
                <a:gd name="connsiteY0" fmla="*/ 531962 h 887227"/>
                <a:gd name="connsiteX1" fmla="*/ 547155 w 979570"/>
                <a:gd name="connsiteY1" fmla="*/ 538150 h 887227"/>
                <a:gd name="connsiteX2" fmla="*/ 760399 w 979570"/>
                <a:gd name="connsiteY2" fmla="*/ 601984 h 887227"/>
                <a:gd name="connsiteX3" fmla="*/ 973643 w 979570"/>
                <a:gd name="connsiteY3" fmla="*/ 538150 h 887227"/>
                <a:gd name="connsiteX4" fmla="*/ 979570 w 979570"/>
                <a:gd name="connsiteY4" fmla="*/ 531962 h 887227"/>
                <a:gd name="connsiteX5" fmla="*/ 979570 w 979570"/>
                <a:gd name="connsiteY5" fmla="*/ 776991 h 887227"/>
                <a:gd name="connsiteX6" fmla="*/ 979570 w 979570"/>
                <a:gd name="connsiteY6" fmla="*/ 776993 h 887227"/>
                <a:gd name="connsiteX7" fmla="*/ 760399 w 979570"/>
                <a:gd name="connsiteY7" fmla="*/ 887227 h 887227"/>
                <a:gd name="connsiteX8" fmla="*/ 541228 w 979570"/>
                <a:gd name="connsiteY8" fmla="*/ 776993 h 887227"/>
                <a:gd name="connsiteX9" fmla="*/ 541228 w 979570"/>
                <a:gd name="connsiteY9" fmla="*/ 776993 h 887227"/>
                <a:gd name="connsiteX10" fmla="*/ 0 w 979570"/>
                <a:gd name="connsiteY10" fmla="*/ 531962 h 887227"/>
                <a:gd name="connsiteX11" fmla="*/ 5927 w 979570"/>
                <a:gd name="connsiteY11" fmla="*/ 538150 h 887227"/>
                <a:gd name="connsiteX12" fmla="*/ 219171 w 979570"/>
                <a:gd name="connsiteY12" fmla="*/ 601984 h 887227"/>
                <a:gd name="connsiteX13" fmla="*/ 432415 w 979570"/>
                <a:gd name="connsiteY13" fmla="*/ 538150 h 887227"/>
                <a:gd name="connsiteX14" fmla="*/ 438342 w 979570"/>
                <a:gd name="connsiteY14" fmla="*/ 531962 h 887227"/>
                <a:gd name="connsiteX15" fmla="*/ 438342 w 979570"/>
                <a:gd name="connsiteY15" fmla="*/ 776991 h 887227"/>
                <a:gd name="connsiteX16" fmla="*/ 438342 w 979570"/>
                <a:gd name="connsiteY16" fmla="*/ 776993 h 887227"/>
                <a:gd name="connsiteX17" fmla="*/ 219171 w 979570"/>
                <a:gd name="connsiteY17" fmla="*/ 887227 h 887227"/>
                <a:gd name="connsiteX18" fmla="*/ 0 w 979570"/>
                <a:gd name="connsiteY18" fmla="*/ 776993 h 887227"/>
                <a:gd name="connsiteX19" fmla="*/ 0 w 979570"/>
                <a:gd name="connsiteY19" fmla="*/ 776993 h 887227"/>
                <a:gd name="connsiteX20" fmla="*/ 760036 w 979570"/>
                <a:gd name="connsiteY20" fmla="*/ 322411 h 887227"/>
                <a:gd name="connsiteX21" fmla="*/ 978844 w 979570"/>
                <a:gd name="connsiteY21" fmla="*/ 444386 h 887227"/>
                <a:gd name="connsiteX22" fmla="*/ 760036 w 979570"/>
                <a:gd name="connsiteY22" fmla="*/ 566361 h 887227"/>
                <a:gd name="connsiteX23" fmla="*/ 541228 w 979570"/>
                <a:gd name="connsiteY23" fmla="*/ 444386 h 887227"/>
                <a:gd name="connsiteX24" fmla="*/ 760036 w 979570"/>
                <a:gd name="connsiteY24" fmla="*/ 322411 h 887227"/>
                <a:gd name="connsiteX25" fmla="*/ 0 w 979570"/>
                <a:gd name="connsiteY25" fmla="*/ 209552 h 887227"/>
                <a:gd name="connsiteX26" fmla="*/ 5927 w 979570"/>
                <a:gd name="connsiteY26" fmla="*/ 215739 h 887227"/>
                <a:gd name="connsiteX27" fmla="*/ 219171 w 979570"/>
                <a:gd name="connsiteY27" fmla="*/ 279574 h 887227"/>
                <a:gd name="connsiteX28" fmla="*/ 432415 w 979570"/>
                <a:gd name="connsiteY28" fmla="*/ 215739 h 887227"/>
                <a:gd name="connsiteX29" fmla="*/ 438342 w 979570"/>
                <a:gd name="connsiteY29" fmla="*/ 209552 h 887227"/>
                <a:gd name="connsiteX30" fmla="*/ 438342 w 979570"/>
                <a:gd name="connsiteY30" fmla="*/ 454580 h 887227"/>
                <a:gd name="connsiteX31" fmla="*/ 438342 w 979570"/>
                <a:gd name="connsiteY31" fmla="*/ 454583 h 887227"/>
                <a:gd name="connsiteX32" fmla="*/ 219171 w 979570"/>
                <a:gd name="connsiteY32" fmla="*/ 564817 h 887227"/>
                <a:gd name="connsiteX33" fmla="*/ 0 w 979570"/>
                <a:gd name="connsiteY33" fmla="*/ 454583 h 887227"/>
                <a:gd name="connsiteX34" fmla="*/ 0 w 979570"/>
                <a:gd name="connsiteY34" fmla="*/ 454582 h 887227"/>
                <a:gd name="connsiteX35" fmla="*/ 218808 w 979570"/>
                <a:gd name="connsiteY35" fmla="*/ 0 h 887227"/>
                <a:gd name="connsiteX36" fmla="*/ 437616 w 979570"/>
                <a:gd name="connsiteY36" fmla="*/ 121975 h 887227"/>
                <a:gd name="connsiteX37" fmla="*/ 218808 w 979570"/>
                <a:gd name="connsiteY37" fmla="*/ 243950 h 887227"/>
                <a:gd name="connsiteX38" fmla="*/ 0 w 979570"/>
                <a:gd name="connsiteY38" fmla="*/ 121975 h 887227"/>
                <a:gd name="connsiteX39" fmla="*/ 218808 w 979570"/>
                <a:gd name="connsiteY39" fmla="*/ 0 h 8872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979570" h="887227">
                  <a:moveTo>
                    <a:pt x="541228" y="531962"/>
                  </a:moveTo>
                  <a:lnTo>
                    <a:pt x="547155" y="538150"/>
                  </a:lnTo>
                  <a:cubicBezTo>
                    <a:pt x="588222" y="576173"/>
                    <a:pt x="668317" y="601984"/>
                    <a:pt x="760399" y="601984"/>
                  </a:cubicBezTo>
                  <a:cubicBezTo>
                    <a:pt x="852481" y="601984"/>
                    <a:pt x="932576" y="576173"/>
                    <a:pt x="973643" y="538150"/>
                  </a:cubicBezTo>
                  <a:lnTo>
                    <a:pt x="979570" y="531962"/>
                  </a:lnTo>
                  <a:lnTo>
                    <a:pt x="979570" y="776991"/>
                  </a:lnTo>
                  <a:lnTo>
                    <a:pt x="979570" y="776993"/>
                  </a:lnTo>
                  <a:cubicBezTo>
                    <a:pt x="979570" y="837874"/>
                    <a:pt x="881444" y="887227"/>
                    <a:pt x="760399" y="887227"/>
                  </a:cubicBezTo>
                  <a:cubicBezTo>
                    <a:pt x="639354" y="887227"/>
                    <a:pt x="541228" y="837874"/>
                    <a:pt x="541228" y="776993"/>
                  </a:cubicBezTo>
                  <a:lnTo>
                    <a:pt x="541228" y="776993"/>
                  </a:lnTo>
                  <a:close/>
                  <a:moveTo>
                    <a:pt x="0" y="531962"/>
                  </a:moveTo>
                  <a:lnTo>
                    <a:pt x="5927" y="538150"/>
                  </a:lnTo>
                  <a:cubicBezTo>
                    <a:pt x="46994" y="576173"/>
                    <a:pt x="127089" y="601984"/>
                    <a:pt x="219171" y="601984"/>
                  </a:cubicBezTo>
                  <a:cubicBezTo>
                    <a:pt x="311253" y="601984"/>
                    <a:pt x="391348" y="576173"/>
                    <a:pt x="432415" y="538150"/>
                  </a:cubicBezTo>
                  <a:lnTo>
                    <a:pt x="438342" y="531962"/>
                  </a:lnTo>
                  <a:lnTo>
                    <a:pt x="438342" y="776991"/>
                  </a:lnTo>
                  <a:lnTo>
                    <a:pt x="438342" y="776993"/>
                  </a:lnTo>
                  <a:cubicBezTo>
                    <a:pt x="438342" y="837874"/>
                    <a:pt x="340216" y="887227"/>
                    <a:pt x="219171" y="887227"/>
                  </a:cubicBezTo>
                  <a:cubicBezTo>
                    <a:pt x="98126" y="887227"/>
                    <a:pt x="0" y="837874"/>
                    <a:pt x="0" y="776993"/>
                  </a:cubicBezTo>
                  <a:lnTo>
                    <a:pt x="0" y="776993"/>
                  </a:lnTo>
                  <a:close/>
                  <a:moveTo>
                    <a:pt x="760036" y="322411"/>
                  </a:moveTo>
                  <a:cubicBezTo>
                    <a:pt x="880880" y="322411"/>
                    <a:pt x="978844" y="377021"/>
                    <a:pt x="978844" y="444386"/>
                  </a:cubicBezTo>
                  <a:cubicBezTo>
                    <a:pt x="978844" y="511751"/>
                    <a:pt x="880880" y="566361"/>
                    <a:pt x="760036" y="566361"/>
                  </a:cubicBezTo>
                  <a:cubicBezTo>
                    <a:pt x="639192" y="566361"/>
                    <a:pt x="541228" y="511751"/>
                    <a:pt x="541228" y="444386"/>
                  </a:cubicBezTo>
                  <a:cubicBezTo>
                    <a:pt x="541228" y="377021"/>
                    <a:pt x="639192" y="322411"/>
                    <a:pt x="760036" y="322411"/>
                  </a:cubicBezTo>
                  <a:close/>
                  <a:moveTo>
                    <a:pt x="0" y="209552"/>
                  </a:moveTo>
                  <a:lnTo>
                    <a:pt x="5927" y="215739"/>
                  </a:lnTo>
                  <a:cubicBezTo>
                    <a:pt x="46994" y="253762"/>
                    <a:pt x="127089" y="279574"/>
                    <a:pt x="219171" y="279574"/>
                  </a:cubicBezTo>
                  <a:cubicBezTo>
                    <a:pt x="311253" y="279574"/>
                    <a:pt x="391348" y="253762"/>
                    <a:pt x="432415" y="215739"/>
                  </a:cubicBezTo>
                  <a:lnTo>
                    <a:pt x="438342" y="209552"/>
                  </a:lnTo>
                  <a:lnTo>
                    <a:pt x="438342" y="454580"/>
                  </a:lnTo>
                  <a:lnTo>
                    <a:pt x="438342" y="454583"/>
                  </a:lnTo>
                  <a:cubicBezTo>
                    <a:pt x="438342" y="515463"/>
                    <a:pt x="340216" y="564817"/>
                    <a:pt x="219171" y="564817"/>
                  </a:cubicBezTo>
                  <a:cubicBezTo>
                    <a:pt x="98126" y="564817"/>
                    <a:pt x="0" y="515463"/>
                    <a:pt x="0" y="454583"/>
                  </a:cubicBezTo>
                  <a:lnTo>
                    <a:pt x="0" y="454582"/>
                  </a:lnTo>
                  <a:close/>
                  <a:moveTo>
                    <a:pt x="218808" y="0"/>
                  </a:moveTo>
                  <a:cubicBezTo>
                    <a:pt x="339652" y="0"/>
                    <a:pt x="437616" y="54610"/>
                    <a:pt x="437616" y="121975"/>
                  </a:cubicBezTo>
                  <a:cubicBezTo>
                    <a:pt x="437616" y="189340"/>
                    <a:pt x="339652" y="243950"/>
                    <a:pt x="218808" y="243950"/>
                  </a:cubicBezTo>
                  <a:cubicBezTo>
                    <a:pt x="97964" y="243950"/>
                    <a:pt x="0" y="189340"/>
                    <a:pt x="0" y="121975"/>
                  </a:cubicBezTo>
                  <a:cubicBezTo>
                    <a:pt x="0" y="54610"/>
                    <a:pt x="97964" y="0"/>
                    <a:pt x="218808"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8" tIns="109719" rIns="137148" bIns="109719" numCol="1" spcCol="0" rtlCol="0" fromWordArt="0" anchor="t" anchorCtr="0" forceAA="0" compatLnSpc="1">
              <a:prstTxWarp prst="textNoShape">
                <a:avLst/>
              </a:prstTxWarp>
              <a:noAutofit/>
            </a:bodyPr>
            <a:lstStyle/>
            <a:p>
              <a:pPr algn="ctr" defTabSz="699261" fontAlgn="base">
                <a:lnSpc>
                  <a:spcPct val="90000"/>
                </a:lnSpc>
                <a:spcBef>
                  <a:spcPct val="0"/>
                </a:spcBef>
                <a:spcAft>
                  <a:spcPct val="0"/>
                </a:spcAft>
              </a:pPr>
              <a:endParaRPr lang="en-US">
                <a:gradFill>
                  <a:gsLst>
                    <a:gs pos="0">
                      <a:srgbClr val="FFFFFF"/>
                    </a:gs>
                    <a:gs pos="100000">
                      <a:srgbClr val="FFFFFF"/>
                    </a:gs>
                  </a:gsLst>
                  <a:lin ang="5400000" scaled="0"/>
                </a:gradFill>
                <a:ea typeface="Segoe UI" pitchFamily="34" charset="0"/>
                <a:cs typeface="Segoe UI" pitchFamily="34" charset="0"/>
              </a:endParaRPr>
            </a:p>
          </p:txBody>
        </p:sp>
      </p:grpSp>
      <p:grpSp>
        <p:nvGrpSpPr>
          <p:cNvPr id="63" name="Group 62"/>
          <p:cNvGrpSpPr>
            <a:grpSpLocks noChangeAspect="1"/>
          </p:cNvGrpSpPr>
          <p:nvPr/>
        </p:nvGrpSpPr>
        <p:grpSpPr>
          <a:xfrm>
            <a:off x="197042" y="2842214"/>
            <a:ext cx="457200" cy="457200"/>
            <a:chOff x="719415" y="3138080"/>
            <a:chExt cx="640080" cy="640080"/>
          </a:xfrm>
        </p:grpSpPr>
        <p:pic>
          <p:nvPicPr>
            <p:cNvPr id="64" name="Picture 6" descr="\\MAGNUM\Projects\Microsoft\Cloud Power FY12\Design\ICONS_PNG\Cloud.png"/>
            <p:cNvPicPr>
              <a:picLocks noChangeAspect="1" noChangeArrowheads="1"/>
            </p:cNvPicPr>
            <p:nvPr/>
          </p:nvPicPr>
          <p:blipFill>
            <a:blip r:embed="rId3" cstate="print">
              <a:biLevel thresh="75000"/>
            </a:blip>
            <a:srcRect/>
            <a:stretch>
              <a:fillRect/>
            </a:stretch>
          </p:blipFill>
          <p:spPr bwMode="auto">
            <a:xfrm>
              <a:off x="719415" y="3138080"/>
              <a:ext cx="640080" cy="640080"/>
            </a:xfrm>
            <a:prstGeom prst="rect">
              <a:avLst/>
            </a:prstGeom>
            <a:noFill/>
          </p:spPr>
        </p:pic>
        <p:pic>
          <p:nvPicPr>
            <p:cNvPr id="68" name="Picture 67"/>
            <p:cNvPicPr>
              <a:picLocks noChangeAspect="1"/>
            </p:cNvPicPr>
            <p:nvPr/>
          </p:nvPicPr>
          <p:blipFill>
            <a:blip r:embed="rId4"/>
            <a:stretch>
              <a:fillRect/>
            </a:stretch>
          </p:blipFill>
          <p:spPr>
            <a:xfrm flipH="1">
              <a:off x="975955" y="3370303"/>
              <a:ext cx="127000" cy="175846"/>
            </a:xfrm>
            <a:prstGeom prst="rect">
              <a:avLst/>
            </a:prstGeom>
          </p:spPr>
        </p:pic>
      </p:grpSp>
      <p:sp>
        <p:nvSpPr>
          <p:cNvPr id="69" name="Freeform 122"/>
          <p:cNvSpPr>
            <a:spLocks noChangeAspect="1"/>
          </p:cNvSpPr>
          <p:nvPr/>
        </p:nvSpPr>
        <p:spPr bwMode="black">
          <a:xfrm>
            <a:off x="266989" y="4843626"/>
            <a:ext cx="317305" cy="320040"/>
          </a:xfrm>
          <a:custGeom>
            <a:avLst/>
            <a:gdLst>
              <a:gd name="T0" fmla="*/ 61 w 70"/>
              <a:gd name="T1" fmla="*/ 11 h 71"/>
              <a:gd name="T2" fmla="*/ 60 w 70"/>
              <a:gd name="T3" fmla="*/ 11 h 71"/>
              <a:gd name="T4" fmla="*/ 53 w 70"/>
              <a:gd name="T5" fmla="*/ 18 h 71"/>
              <a:gd name="T6" fmla="*/ 53 w 70"/>
              <a:gd name="T7" fmla="*/ 19 h 71"/>
              <a:gd name="T8" fmla="*/ 53 w 70"/>
              <a:gd name="T9" fmla="*/ 19 h 71"/>
              <a:gd name="T10" fmla="*/ 60 w 70"/>
              <a:gd name="T11" fmla="*/ 35 h 71"/>
              <a:gd name="T12" fmla="*/ 35 w 70"/>
              <a:gd name="T13" fmla="*/ 60 h 71"/>
              <a:gd name="T14" fmla="*/ 10 w 70"/>
              <a:gd name="T15" fmla="*/ 36 h 71"/>
              <a:gd name="T16" fmla="*/ 16 w 70"/>
              <a:gd name="T17" fmla="*/ 21 h 71"/>
              <a:gd name="T18" fmla="*/ 18 w 70"/>
              <a:gd name="T19" fmla="*/ 18 h 71"/>
              <a:gd name="T20" fmla="*/ 25 w 70"/>
              <a:gd name="T21" fmla="*/ 26 h 71"/>
              <a:gd name="T22" fmla="*/ 30 w 70"/>
              <a:gd name="T23" fmla="*/ 0 h 71"/>
              <a:gd name="T24" fmla="*/ 4 w 70"/>
              <a:gd name="T25" fmla="*/ 2 h 71"/>
              <a:gd name="T26" fmla="*/ 11 w 70"/>
              <a:gd name="T27" fmla="*/ 10 h 71"/>
              <a:gd name="T28" fmla="*/ 9 w 70"/>
              <a:gd name="T29" fmla="*/ 12 h 71"/>
              <a:gd name="T30" fmla="*/ 0 w 70"/>
              <a:gd name="T31" fmla="*/ 36 h 71"/>
              <a:gd name="T32" fmla="*/ 35 w 70"/>
              <a:gd name="T33" fmla="*/ 71 h 71"/>
              <a:gd name="T34" fmla="*/ 35 w 70"/>
              <a:gd name="T35" fmla="*/ 71 h 71"/>
              <a:gd name="T36" fmla="*/ 70 w 70"/>
              <a:gd name="T37" fmla="*/ 35 h 71"/>
              <a:gd name="T38" fmla="*/ 61 w 70"/>
              <a:gd name="T39" fmla="*/ 1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0" h="71">
                <a:moveTo>
                  <a:pt x="61" y="11"/>
                </a:moveTo>
                <a:cubicBezTo>
                  <a:pt x="60" y="11"/>
                  <a:pt x="60" y="11"/>
                  <a:pt x="60" y="11"/>
                </a:cubicBezTo>
                <a:cubicBezTo>
                  <a:pt x="53" y="18"/>
                  <a:pt x="53" y="18"/>
                  <a:pt x="53" y="18"/>
                </a:cubicBezTo>
                <a:cubicBezTo>
                  <a:pt x="53" y="19"/>
                  <a:pt x="53" y="19"/>
                  <a:pt x="53" y="19"/>
                </a:cubicBezTo>
                <a:cubicBezTo>
                  <a:pt x="53" y="19"/>
                  <a:pt x="53" y="19"/>
                  <a:pt x="53" y="19"/>
                </a:cubicBezTo>
                <a:cubicBezTo>
                  <a:pt x="57" y="23"/>
                  <a:pt x="60" y="29"/>
                  <a:pt x="60" y="35"/>
                </a:cubicBezTo>
                <a:cubicBezTo>
                  <a:pt x="60" y="49"/>
                  <a:pt x="49" y="60"/>
                  <a:pt x="35" y="60"/>
                </a:cubicBezTo>
                <a:cubicBezTo>
                  <a:pt x="22" y="60"/>
                  <a:pt x="11" y="49"/>
                  <a:pt x="10" y="36"/>
                </a:cubicBezTo>
                <a:cubicBezTo>
                  <a:pt x="10" y="30"/>
                  <a:pt x="12" y="25"/>
                  <a:pt x="16" y="21"/>
                </a:cubicBezTo>
                <a:cubicBezTo>
                  <a:pt x="18" y="18"/>
                  <a:pt x="18" y="18"/>
                  <a:pt x="18" y="18"/>
                </a:cubicBezTo>
                <a:cubicBezTo>
                  <a:pt x="25" y="26"/>
                  <a:pt x="25" y="26"/>
                  <a:pt x="25" y="26"/>
                </a:cubicBezTo>
                <a:cubicBezTo>
                  <a:pt x="30" y="0"/>
                  <a:pt x="30" y="0"/>
                  <a:pt x="30" y="0"/>
                </a:cubicBezTo>
                <a:cubicBezTo>
                  <a:pt x="4" y="2"/>
                  <a:pt x="4" y="2"/>
                  <a:pt x="4" y="2"/>
                </a:cubicBezTo>
                <a:cubicBezTo>
                  <a:pt x="11" y="10"/>
                  <a:pt x="11" y="10"/>
                  <a:pt x="11" y="10"/>
                </a:cubicBezTo>
                <a:cubicBezTo>
                  <a:pt x="9" y="12"/>
                  <a:pt x="9" y="12"/>
                  <a:pt x="9" y="12"/>
                </a:cubicBezTo>
                <a:cubicBezTo>
                  <a:pt x="3" y="19"/>
                  <a:pt x="0" y="27"/>
                  <a:pt x="0" y="36"/>
                </a:cubicBezTo>
                <a:cubicBezTo>
                  <a:pt x="0" y="55"/>
                  <a:pt x="16" y="71"/>
                  <a:pt x="35" y="71"/>
                </a:cubicBezTo>
                <a:cubicBezTo>
                  <a:pt x="35" y="71"/>
                  <a:pt x="35" y="71"/>
                  <a:pt x="35" y="71"/>
                </a:cubicBezTo>
                <a:cubicBezTo>
                  <a:pt x="55" y="71"/>
                  <a:pt x="70" y="55"/>
                  <a:pt x="70" y="35"/>
                </a:cubicBezTo>
                <a:cubicBezTo>
                  <a:pt x="70" y="26"/>
                  <a:pt x="67" y="18"/>
                  <a:pt x="61" y="11"/>
                </a:cubicBezTo>
              </a:path>
            </a:pathLst>
          </a:custGeom>
          <a:solidFill>
            <a:schemeClr val="tx1"/>
          </a:solidFill>
          <a:ln>
            <a:noFill/>
          </a:ln>
        </p:spPr>
        <p:txBody>
          <a:bodyPr vert="horz" wrap="square" lIns="69953" tIns="34976" rIns="69953" bIns="34976" numCol="1" anchor="t" anchorCtr="0" compatLnSpc="1">
            <a:prstTxWarp prst="textNoShape">
              <a:avLst/>
            </a:prstTxWarp>
          </a:bodyPr>
          <a:lstStyle/>
          <a:p>
            <a:endParaRPr lang="en-US" sz="1350">
              <a:solidFill>
                <a:srgbClr val="000000"/>
              </a:solidFill>
            </a:endParaRPr>
          </a:p>
        </p:txBody>
      </p:sp>
      <p:sp>
        <p:nvSpPr>
          <p:cNvPr id="70" name="Freeform 21"/>
          <p:cNvSpPr>
            <a:spLocks noChangeAspect="1" noEditPoints="1"/>
          </p:cNvSpPr>
          <p:nvPr/>
        </p:nvSpPr>
        <p:spPr bwMode="black">
          <a:xfrm>
            <a:off x="242762" y="3875709"/>
            <a:ext cx="365760" cy="318790"/>
          </a:xfrm>
          <a:custGeom>
            <a:avLst/>
            <a:gdLst>
              <a:gd name="T0" fmla="*/ 1220 w 1220"/>
              <a:gd name="T1" fmla="*/ 204 h 1063"/>
              <a:gd name="T2" fmla="*/ 1096 w 1220"/>
              <a:gd name="T3" fmla="*/ 79 h 1063"/>
              <a:gd name="T4" fmla="*/ 978 w 1220"/>
              <a:gd name="T5" fmla="*/ 164 h 1063"/>
              <a:gd name="T6" fmla="*/ 589 w 1220"/>
              <a:gd name="T7" fmla="*/ 115 h 1063"/>
              <a:gd name="T8" fmla="*/ 465 w 1220"/>
              <a:gd name="T9" fmla="*/ 0 h 1063"/>
              <a:gd name="T10" fmla="*/ 340 w 1220"/>
              <a:gd name="T11" fmla="*/ 124 h 1063"/>
              <a:gd name="T12" fmla="*/ 370 w 1220"/>
              <a:gd name="T13" fmla="*/ 205 h 1063"/>
              <a:gd name="T14" fmla="*/ 180 w 1220"/>
              <a:gd name="T15" fmla="*/ 453 h 1063"/>
              <a:gd name="T16" fmla="*/ 125 w 1220"/>
              <a:gd name="T17" fmla="*/ 440 h 1063"/>
              <a:gd name="T18" fmla="*/ 0 w 1220"/>
              <a:gd name="T19" fmla="*/ 564 h 1063"/>
              <a:gd name="T20" fmla="*/ 125 w 1220"/>
              <a:gd name="T21" fmla="*/ 689 h 1063"/>
              <a:gd name="T22" fmla="*/ 197 w 1220"/>
              <a:gd name="T23" fmla="*/ 666 h 1063"/>
              <a:gd name="T24" fmla="*/ 416 w 1220"/>
              <a:gd name="T25" fmla="*/ 872 h 1063"/>
              <a:gd name="T26" fmla="*/ 397 w 1220"/>
              <a:gd name="T27" fmla="*/ 938 h 1063"/>
              <a:gd name="T28" fmla="*/ 521 w 1220"/>
              <a:gd name="T29" fmla="*/ 1063 h 1063"/>
              <a:gd name="T30" fmla="*/ 646 w 1220"/>
              <a:gd name="T31" fmla="*/ 938 h 1063"/>
              <a:gd name="T32" fmla="*/ 642 w 1220"/>
              <a:gd name="T33" fmla="*/ 908 h 1063"/>
              <a:gd name="T34" fmla="*/ 948 w 1220"/>
              <a:gd name="T35" fmla="*/ 763 h 1063"/>
              <a:gd name="T36" fmla="*/ 1048 w 1220"/>
              <a:gd name="T37" fmla="*/ 814 h 1063"/>
              <a:gd name="T38" fmla="*/ 1173 w 1220"/>
              <a:gd name="T39" fmla="*/ 689 h 1063"/>
              <a:gd name="T40" fmla="*/ 1084 w 1220"/>
              <a:gd name="T41" fmla="*/ 570 h 1063"/>
              <a:gd name="T42" fmla="*/ 1108 w 1220"/>
              <a:gd name="T43" fmla="*/ 327 h 1063"/>
              <a:gd name="T44" fmla="*/ 1220 w 1220"/>
              <a:gd name="T45" fmla="*/ 204 h 1063"/>
              <a:gd name="T46" fmla="*/ 521 w 1220"/>
              <a:gd name="T47" fmla="*/ 594 h 1063"/>
              <a:gd name="T48" fmla="*/ 493 w 1220"/>
              <a:gd name="T49" fmla="*/ 245 h 1063"/>
              <a:gd name="T50" fmla="*/ 535 w 1220"/>
              <a:gd name="T51" fmla="*/ 226 h 1063"/>
              <a:gd name="T52" fmla="*/ 944 w 1220"/>
              <a:gd name="T53" fmla="*/ 621 h 1063"/>
              <a:gd name="T54" fmla="*/ 930 w 1220"/>
              <a:gd name="T55" fmla="*/ 649 h 1063"/>
              <a:gd name="T56" fmla="*/ 521 w 1220"/>
              <a:gd name="T57" fmla="*/ 594 h 1063"/>
              <a:gd name="T58" fmla="*/ 490 w 1220"/>
              <a:gd name="T59" fmla="*/ 818 h 1063"/>
              <a:gd name="T60" fmla="*/ 449 w 1220"/>
              <a:gd name="T61" fmla="*/ 837 h 1063"/>
              <a:gd name="T62" fmla="*/ 230 w 1220"/>
              <a:gd name="T63" fmla="*/ 631 h 1063"/>
              <a:gd name="T64" fmla="*/ 242 w 1220"/>
              <a:gd name="T65" fmla="*/ 605 h 1063"/>
              <a:gd name="T66" fmla="*/ 476 w 1220"/>
              <a:gd name="T67" fmla="*/ 636 h 1063"/>
              <a:gd name="T68" fmla="*/ 490 w 1220"/>
              <a:gd name="T69" fmla="*/ 818 h 1063"/>
              <a:gd name="T70" fmla="*/ 249 w 1220"/>
              <a:gd name="T71" fmla="*/ 558 h 1063"/>
              <a:gd name="T72" fmla="*/ 218 w 1220"/>
              <a:gd name="T73" fmla="*/ 482 h 1063"/>
              <a:gd name="T74" fmla="*/ 408 w 1220"/>
              <a:gd name="T75" fmla="*/ 235 h 1063"/>
              <a:gd name="T76" fmla="*/ 445 w 1220"/>
              <a:gd name="T77" fmla="*/ 247 h 1063"/>
              <a:gd name="T78" fmla="*/ 472 w 1220"/>
              <a:gd name="T79" fmla="*/ 587 h 1063"/>
              <a:gd name="T80" fmla="*/ 249 w 1220"/>
              <a:gd name="T81" fmla="*/ 558 h 1063"/>
              <a:gd name="T82" fmla="*/ 977 w 1220"/>
              <a:gd name="T83" fmla="*/ 587 h 1063"/>
              <a:gd name="T84" fmla="*/ 569 w 1220"/>
              <a:gd name="T85" fmla="*/ 192 h 1063"/>
              <a:gd name="T86" fmla="*/ 583 w 1220"/>
              <a:gd name="T87" fmla="*/ 163 h 1063"/>
              <a:gd name="T88" fmla="*/ 972 w 1220"/>
              <a:gd name="T89" fmla="*/ 212 h 1063"/>
              <a:gd name="T90" fmla="*/ 1060 w 1220"/>
              <a:gd name="T91" fmla="*/ 323 h 1063"/>
              <a:gd name="T92" fmla="*/ 1036 w 1220"/>
              <a:gd name="T93" fmla="*/ 566 h 1063"/>
              <a:gd name="T94" fmla="*/ 977 w 1220"/>
              <a:gd name="T95" fmla="*/ 587 h 1063"/>
              <a:gd name="T96" fmla="*/ 621 w 1220"/>
              <a:gd name="T97" fmla="*/ 864 h 1063"/>
              <a:gd name="T98" fmla="*/ 538 w 1220"/>
              <a:gd name="T99" fmla="*/ 815 h 1063"/>
              <a:gd name="T100" fmla="*/ 524 w 1220"/>
              <a:gd name="T101" fmla="*/ 643 h 1063"/>
              <a:gd name="T102" fmla="*/ 924 w 1220"/>
              <a:gd name="T103" fmla="*/ 696 h 1063"/>
              <a:gd name="T104" fmla="*/ 927 w 1220"/>
              <a:gd name="T105" fmla="*/ 720 h 1063"/>
              <a:gd name="T106" fmla="*/ 621 w 1220"/>
              <a:gd name="T107" fmla="*/ 864 h 10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220" h="1063">
                <a:moveTo>
                  <a:pt x="1220" y="204"/>
                </a:moveTo>
                <a:cubicBezTo>
                  <a:pt x="1220" y="135"/>
                  <a:pt x="1164" y="79"/>
                  <a:pt x="1096" y="79"/>
                </a:cubicBezTo>
                <a:cubicBezTo>
                  <a:pt x="1041" y="79"/>
                  <a:pt x="994" y="115"/>
                  <a:pt x="978" y="164"/>
                </a:cubicBezTo>
                <a:cubicBezTo>
                  <a:pt x="589" y="115"/>
                  <a:pt x="589" y="115"/>
                  <a:pt x="589" y="115"/>
                </a:cubicBezTo>
                <a:cubicBezTo>
                  <a:pt x="584" y="51"/>
                  <a:pt x="530" y="0"/>
                  <a:pt x="465" y="0"/>
                </a:cubicBezTo>
                <a:cubicBezTo>
                  <a:pt x="396" y="0"/>
                  <a:pt x="340" y="55"/>
                  <a:pt x="340" y="124"/>
                </a:cubicBezTo>
                <a:cubicBezTo>
                  <a:pt x="340" y="155"/>
                  <a:pt x="352" y="183"/>
                  <a:pt x="370" y="205"/>
                </a:cubicBezTo>
                <a:cubicBezTo>
                  <a:pt x="180" y="453"/>
                  <a:pt x="180" y="453"/>
                  <a:pt x="180" y="453"/>
                </a:cubicBezTo>
                <a:cubicBezTo>
                  <a:pt x="163" y="445"/>
                  <a:pt x="145" y="440"/>
                  <a:pt x="125" y="440"/>
                </a:cubicBezTo>
                <a:cubicBezTo>
                  <a:pt x="56" y="440"/>
                  <a:pt x="0" y="496"/>
                  <a:pt x="0" y="564"/>
                </a:cubicBezTo>
                <a:cubicBezTo>
                  <a:pt x="0" y="633"/>
                  <a:pt x="56" y="689"/>
                  <a:pt x="125" y="689"/>
                </a:cubicBezTo>
                <a:cubicBezTo>
                  <a:pt x="152" y="689"/>
                  <a:pt x="177" y="680"/>
                  <a:pt x="197" y="666"/>
                </a:cubicBezTo>
                <a:cubicBezTo>
                  <a:pt x="416" y="872"/>
                  <a:pt x="416" y="872"/>
                  <a:pt x="416" y="872"/>
                </a:cubicBezTo>
                <a:cubicBezTo>
                  <a:pt x="404" y="891"/>
                  <a:pt x="397" y="914"/>
                  <a:pt x="397" y="938"/>
                </a:cubicBezTo>
                <a:cubicBezTo>
                  <a:pt x="397" y="1007"/>
                  <a:pt x="453" y="1063"/>
                  <a:pt x="521" y="1063"/>
                </a:cubicBezTo>
                <a:cubicBezTo>
                  <a:pt x="590" y="1063"/>
                  <a:pt x="646" y="1007"/>
                  <a:pt x="646" y="938"/>
                </a:cubicBezTo>
                <a:cubicBezTo>
                  <a:pt x="646" y="928"/>
                  <a:pt x="644" y="918"/>
                  <a:pt x="642" y="908"/>
                </a:cubicBezTo>
                <a:cubicBezTo>
                  <a:pt x="948" y="763"/>
                  <a:pt x="948" y="763"/>
                  <a:pt x="948" y="763"/>
                </a:cubicBezTo>
                <a:cubicBezTo>
                  <a:pt x="970" y="794"/>
                  <a:pt x="1007" y="814"/>
                  <a:pt x="1048" y="814"/>
                </a:cubicBezTo>
                <a:cubicBezTo>
                  <a:pt x="1117" y="814"/>
                  <a:pt x="1173" y="758"/>
                  <a:pt x="1173" y="689"/>
                </a:cubicBezTo>
                <a:cubicBezTo>
                  <a:pt x="1173" y="633"/>
                  <a:pt x="1135" y="586"/>
                  <a:pt x="1084" y="570"/>
                </a:cubicBezTo>
                <a:cubicBezTo>
                  <a:pt x="1108" y="327"/>
                  <a:pt x="1108" y="327"/>
                  <a:pt x="1108" y="327"/>
                </a:cubicBezTo>
                <a:cubicBezTo>
                  <a:pt x="1171" y="321"/>
                  <a:pt x="1220" y="268"/>
                  <a:pt x="1220" y="204"/>
                </a:cubicBezTo>
                <a:close/>
                <a:moveTo>
                  <a:pt x="521" y="594"/>
                </a:moveTo>
                <a:cubicBezTo>
                  <a:pt x="493" y="245"/>
                  <a:pt x="493" y="245"/>
                  <a:pt x="493" y="245"/>
                </a:cubicBezTo>
                <a:cubicBezTo>
                  <a:pt x="509" y="241"/>
                  <a:pt x="523" y="235"/>
                  <a:pt x="535" y="226"/>
                </a:cubicBezTo>
                <a:cubicBezTo>
                  <a:pt x="944" y="621"/>
                  <a:pt x="944" y="621"/>
                  <a:pt x="944" y="621"/>
                </a:cubicBezTo>
                <a:cubicBezTo>
                  <a:pt x="938" y="630"/>
                  <a:pt x="934" y="639"/>
                  <a:pt x="930" y="649"/>
                </a:cubicBezTo>
                <a:lnTo>
                  <a:pt x="521" y="594"/>
                </a:lnTo>
                <a:close/>
                <a:moveTo>
                  <a:pt x="490" y="818"/>
                </a:moveTo>
                <a:cubicBezTo>
                  <a:pt x="475" y="822"/>
                  <a:pt x="461" y="828"/>
                  <a:pt x="449" y="837"/>
                </a:cubicBezTo>
                <a:cubicBezTo>
                  <a:pt x="230" y="631"/>
                  <a:pt x="230" y="631"/>
                  <a:pt x="230" y="631"/>
                </a:cubicBezTo>
                <a:cubicBezTo>
                  <a:pt x="235" y="623"/>
                  <a:pt x="239" y="614"/>
                  <a:pt x="242" y="605"/>
                </a:cubicBezTo>
                <a:cubicBezTo>
                  <a:pt x="476" y="636"/>
                  <a:pt x="476" y="636"/>
                  <a:pt x="476" y="636"/>
                </a:cubicBezTo>
                <a:lnTo>
                  <a:pt x="490" y="818"/>
                </a:lnTo>
                <a:close/>
                <a:moveTo>
                  <a:pt x="249" y="558"/>
                </a:moveTo>
                <a:cubicBezTo>
                  <a:pt x="247" y="529"/>
                  <a:pt x="236" y="502"/>
                  <a:pt x="218" y="482"/>
                </a:cubicBezTo>
                <a:cubicBezTo>
                  <a:pt x="408" y="235"/>
                  <a:pt x="408" y="235"/>
                  <a:pt x="408" y="235"/>
                </a:cubicBezTo>
                <a:cubicBezTo>
                  <a:pt x="420" y="241"/>
                  <a:pt x="432" y="245"/>
                  <a:pt x="445" y="247"/>
                </a:cubicBezTo>
                <a:cubicBezTo>
                  <a:pt x="472" y="587"/>
                  <a:pt x="472" y="587"/>
                  <a:pt x="472" y="587"/>
                </a:cubicBezTo>
                <a:lnTo>
                  <a:pt x="249" y="558"/>
                </a:lnTo>
                <a:close/>
                <a:moveTo>
                  <a:pt x="977" y="587"/>
                </a:moveTo>
                <a:cubicBezTo>
                  <a:pt x="569" y="192"/>
                  <a:pt x="569" y="192"/>
                  <a:pt x="569" y="192"/>
                </a:cubicBezTo>
                <a:cubicBezTo>
                  <a:pt x="575" y="183"/>
                  <a:pt x="579" y="173"/>
                  <a:pt x="583" y="163"/>
                </a:cubicBezTo>
                <a:cubicBezTo>
                  <a:pt x="972" y="212"/>
                  <a:pt x="972" y="212"/>
                  <a:pt x="972" y="212"/>
                </a:cubicBezTo>
                <a:cubicBezTo>
                  <a:pt x="975" y="265"/>
                  <a:pt x="1011" y="308"/>
                  <a:pt x="1060" y="323"/>
                </a:cubicBezTo>
                <a:cubicBezTo>
                  <a:pt x="1036" y="566"/>
                  <a:pt x="1036" y="566"/>
                  <a:pt x="1036" y="566"/>
                </a:cubicBezTo>
                <a:cubicBezTo>
                  <a:pt x="1015" y="568"/>
                  <a:pt x="994" y="575"/>
                  <a:pt x="977" y="587"/>
                </a:cubicBezTo>
                <a:close/>
                <a:moveTo>
                  <a:pt x="621" y="864"/>
                </a:moveTo>
                <a:cubicBezTo>
                  <a:pt x="602" y="838"/>
                  <a:pt x="572" y="819"/>
                  <a:pt x="538" y="815"/>
                </a:cubicBezTo>
                <a:cubicBezTo>
                  <a:pt x="524" y="643"/>
                  <a:pt x="524" y="643"/>
                  <a:pt x="524" y="643"/>
                </a:cubicBezTo>
                <a:cubicBezTo>
                  <a:pt x="924" y="696"/>
                  <a:pt x="924" y="696"/>
                  <a:pt x="924" y="696"/>
                </a:cubicBezTo>
                <a:cubicBezTo>
                  <a:pt x="924" y="704"/>
                  <a:pt x="925" y="712"/>
                  <a:pt x="927" y="720"/>
                </a:cubicBezTo>
                <a:lnTo>
                  <a:pt x="621" y="864"/>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1177" tIns="56942" rIns="71177" bIns="56942" numCol="1" spcCol="0" rtlCol="0" fromWordArt="0" anchor="t" anchorCtr="0" forceAA="0" compatLnSpc="1">
            <a:prstTxWarp prst="textNoShape">
              <a:avLst/>
            </a:prstTxWarp>
            <a:noAutofit/>
          </a:bodyPr>
          <a:lstStyle/>
          <a:p>
            <a:pPr algn="ctr" defTabSz="362895" fontAlgn="base">
              <a:lnSpc>
                <a:spcPct val="90000"/>
              </a:lnSpc>
              <a:spcBef>
                <a:spcPct val="0"/>
              </a:spcBef>
              <a:spcAft>
                <a:spcPct val="0"/>
              </a:spcAft>
            </a:pPr>
            <a:endParaRPr lang="en-US" sz="934">
              <a:gradFill>
                <a:gsLst>
                  <a:gs pos="0">
                    <a:srgbClr val="FFFFFF"/>
                  </a:gs>
                  <a:gs pos="100000">
                    <a:srgbClr val="FFFFFF"/>
                  </a:gs>
                </a:gsLst>
                <a:lin ang="5400000" scaled="0"/>
              </a:gradFill>
              <a:ea typeface="Segoe UI" pitchFamily="34" charset="0"/>
              <a:cs typeface="Segoe UI" pitchFamily="34" charset="0"/>
            </a:endParaRPr>
          </a:p>
        </p:txBody>
      </p:sp>
      <p:sp>
        <p:nvSpPr>
          <p:cNvPr id="71" name="Freeform 70"/>
          <p:cNvSpPr>
            <a:spLocks noChangeAspect="1"/>
          </p:cNvSpPr>
          <p:nvPr/>
        </p:nvSpPr>
        <p:spPr bwMode="black">
          <a:xfrm>
            <a:off x="242762" y="5803220"/>
            <a:ext cx="365760" cy="320928"/>
          </a:xfrm>
          <a:custGeom>
            <a:avLst/>
            <a:gdLst/>
            <a:ahLst/>
            <a:cxnLst/>
            <a:rect l="l" t="t" r="r" b="b"/>
            <a:pathLst>
              <a:path w="4740335" h="4048081">
                <a:moveTo>
                  <a:pt x="3683614" y="1098549"/>
                </a:moveTo>
                <a:cubicBezTo>
                  <a:pt x="3683654" y="1098549"/>
                  <a:pt x="3689354" y="1098549"/>
                  <a:pt x="4502870" y="1098549"/>
                </a:cubicBezTo>
                <a:cubicBezTo>
                  <a:pt x="4633477" y="1098549"/>
                  <a:pt x="4740335" y="1205183"/>
                  <a:pt x="4740335" y="1335514"/>
                </a:cubicBezTo>
                <a:cubicBezTo>
                  <a:pt x="4740335" y="1335569"/>
                  <a:pt x="4740335" y="1343335"/>
                  <a:pt x="4740335" y="2449249"/>
                </a:cubicBezTo>
                <a:cubicBezTo>
                  <a:pt x="4740335" y="2579580"/>
                  <a:pt x="4633477" y="2686214"/>
                  <a:pt x="4502870" y="2686214"/>
                </a:cubicBezTo>
                <a:cubicBezTo>
                  <a:pt x="4502870" y="2686253"/>
                  <a:pt x="4502870" y="2691777"/>
                  <a:pt x="4502870" y="3480046"/>
                </a:cubicBezTo>
                <a:cubicBezTo>
                  <a:pt x="4502870" y="3610377"/>
                  <a:pt x="4396011" y="3717011"/>
                  <a:pt x="4265405" y="3717011"/>
                </a:cubicBezTo>
                <a:cubicBezTo>
                  <a:pt x="4265376" y="3717011"/>
                  <a:pt x="4262133" y="3717011"/>
                  <a:pt x="3909206" y="3717011"/>
                </a:cubicBezTo>
                <a:cubicBezTo>
                  <a:pt x="3790473" y="3717011"/>
                  <a:pt x="3683614" y="3610377"/>
                  <a:pt x="3683614" y="3480046"/>
                </a:cubicBezTo>
                <a:cubicBezTo>
                  <a:pt x="3683614" y="3480010"/>
                  <a:pt x="3683614" y="3474701"/>
                  <a:pt x="3683614" y="2686214"/>
                </a:cubicBezTo>
                <a:cubicBezTo>
                  <a:pt x="3553008" y="2686214"/>
                  <a:pt x="3446148" y="2579580"/>
                  <a:pt x="3446148" y="2449249"/>
                </a:cubicBezTo>
                <a:cubicBezTo>
                  <a:pt x="3446148" y="2449192"/>
                  <a:pt x="3446148" y="2441288"/>
                  <a:pt x="3446148" y="1335514"/>
                </a:cubicBezTo>
                <a:cubicBezTo>
                  <a:pt x="3446148" y="1205183"/>
                  <a:pt x="3553008" y="1098549"/>
                  <a:pt x="3683614" y="1098549"/>
                </a:cubicBezTo>
                <a:close/>
                <a:moveTo>
                  <a:pt x="236546" y="1098549"/>
                </a:moveTo>
                <a:cubicBezTo>
                  <a:pt x="236570" y="1098549"/>
                  <a:pt x="240947" y="1098549"/>
                  <a:pt x="1052628" y="1098549"/>
                </a:cubicBezTo>
                <a:cubicBezTo>
                  <a:pt x="1182728" y="1098549"/>
                  <a:pt x="1289174" y="1205183"/>
                  <a:pt x="1289174" y="1335514"/>
                </a:cubicBezTo>
                <a:cubicBezTo>
                  <a:pt x="1289174" y="1335532"/>
                  <a:pt x="1289174" y="1340039"/>
                  <a:pt x="1289174" y="2449249"/>
                </a:cubicBezTo>
                <a:cubicBezTo>
                  <a:pt x="1289174" y="2579580"/>
                  <a:pt x="1182728" y="2686214"/>
                  <a:pt x="1052628" y="2686214"/>
                </a:cubicBezTo>
                <a:cubicBezTo>
                  <a:pt x="1052628" y="2686235"/>
                  <a:pt x="1052628" y="2690268"/>
                  <a:pt x="1052628" y="3480046"/>
                </a:cubicBezTo>
                <a:cubicBezTo>
                  <a:pt x="1052628" y="3610377"/>
                  <a:pt x="946183" y="3717011"/>
                  <a:pt x="827910" y="3717011"/>
                </a:cubicBezTo>
                <a:cubicBezTo>
                  <a:pt x="827894" y="3717011"/>
                  <a:pt x="825508" y="3717011"/>
                  <a:pt x="473091" y="3717011"/>
                </a:cubicBezTo>
                <a:cubicBezTo>
                  <a:pt x="342991" y="3717011"/>
                  <a:pt x="236546" y="3610377"/>
                  <a:pt x="236546" y="3480046"/>
                </a:cubicBezTo>
                <a:cubicBezTo>
                  <a:pt x="236546" y="3480026"/>
                  <a:pt x="236546" y="3476021"/>
                  <a:pt x="236546" y="2686214"/>
                </a:cubicBezTo>
                <a:cubicBezTo>
                  <a:pt x="106446" y="2686214"/>
                  <a:pt x="0" y="2579580"/>
                  <a:pt x="0" y="2449249"/>
                </a:cubicBezTo>
                <a:cubicBezTo>
                  <a:pt x="0" y="2449230"/>
                  <a:pt x="0" y="2444630"/>
                  <a:pt x="0" y="1335514"/>
                </a:cubicBezTo>
                <a:cubicBezTo>
                  <a:pt x="0" y="1205183"/>
                  <a:pt x="106446" y="1098549"/>
                  <a:pt x="236546" y="1098549"/>
                </a:cubicBezTo>
                <a:close/>
                <a:moveTo>
                  <a:pt x="1895194" y="993211"/>
                </a:moveTo>
                <a:cubicBezTo>
                  <a:pt x="1895245" y="993211"/>
                  <a:pt x="1902161" y="993211"/>
                  <a:pt x="2845141" y="993211"/>
                </a:cubicBezTo>
                <a:cubicBezTo>
                  <a:pt x="2999507" y="993211"/>
                  <a:pt x="3130125" y="1123457"/>
                  <a:pt x="3130125" y="1277385"/>
                </a:cubicBezTo>
                <a:cubicBezTo>
                  <a:pt x="3130125" y="1277420"/>
                  <a:pt x="3130125" y="1284134"/>
                  <a:pt x="3130125" y="2568008"/>
                </a:cubicBezTo>
                <a:cubicBezTo>
                  <a:pt x="3130125" y="2721936"/>
                  <a:pt x="2999507" y="2852182"/>
                  <a:pt x="2845141" y="2852182"/>
                </a:cubicBezTo>
                <a:cubicBezTo>
                  <a:pt x="2845141" y="2852231"/>
                  <a:pt x="2845141" y="2858826"/>
                  <a:pt x="2845141" y="3763907"/>
                </a:cubicBezTo>
                <a:cubicBezTo>
                  <a:pt x="2845141" y="3917835"/>
                  <a:pt x="2726398" y="4048081"/>
                  <a:pt x="2572031" y="4048081"/>
                </a:cubicBezTo>
                <a:cubicBezTo>
                  <a:pt x="2571992" y="4048081"/>
                  <a:pt x="2568051" y="4048081"/>
                  <a:pt x="2168304" y="4048081"/>
                </a:cubicBezTo>
                <a:cubicBezTo>
                  <a:pt x="2013937" y="4048081"/>
                  <a:pt x="1895194" y="3917835"/>
                  <a:pt x="1895194" y="3763907"/>
                </a:cubicBezTo>
                <a:cubicBezTo>
                  <a:pt x="1895194" y="3763858"/>
                  <a:pt x="1895194" y="3757193"/>
                  <a:pt x="1895194" y="2852182"/>
                </a:cubicBezTo>
                <a:cubicBezTo>
                  <a:pt x="1740828" y="2852182"/>
                  <a:pt x="1610210" y="2721936"/>
                  <a:pt x="1610210" y="2568008"/>
                </a:cubicBezTo>
                <a:cubicBezTo>
                  <a:pt x="1610210" y="2567966"/>
                  <a:pt x="1610210" y="2560581"/>
                  <a:pt x="1610210" y="1277385"/>
                </a:cubicBezTo>
                <a:cubicBezTo>
                  <a:pt x="1610210" y="1123457"/>
                  <a:pt x="1740828" y="993211"/>
                  <a:pt x="1895194" y="993211"/>
                </a:cubicBezTo>
                <a:close/>
                <a:moveTo>
                  <a:pt x="4093246" y="245790"/>
                </a:moveTo>
                <a:cubicBezTo>
                  <a:pt x="4306565" y="245790"/>
                  <a:pt x="4479495" y="420965"/>
                  <a:pt x="4479495" y="637055"/>
                </a:cubicBezTo>
                <a:cubicBezTo>
                  <a:pt x="4479495" y="853145"/>
                  <a:pt x="4306565" y="1028320"/>
                  <a:pt x="4093246" y="1028320"/>
                </a:cubicBezTo>
                <a:cubicBezTo>
                  <a:pt x="3879927" y="1028320"/>
                  <a:pt x="3706997" y="853145"/>
                  <a:pt x="3706997" y="637055"/>
                </a:cubicBezTo>
                <a:cubicBezTo>
                  <a:pt x="3706997" y="420965"/>
                  <a:pt x="3879927" y="245790"/>
                  <a:pt x="4093246" y="245790"/>
                </a:cubicBezTo>
                <a:close/>
                <a:moveTo>
                  <a:pt x="644584" y="245790"/>
                </a:moveTo>
                <a:cubicBezTo>
                  <a:pt x="856519" y="245790"/>
                  <a:pt x="1028326" y="420965"/>
                  <a:pt x="1028326" y="637055"/>
                </a:cubicBezTo>
                <a:cubicBezTo>
                  <a:pt x="1028326" y="853145"/>
                  <a:pt x="856519" y="1028320"/>
                  <a:pt x="644584" y="1028320"/>
                </a:cubicBezTo>
                <a:cubicBezTo>
                  <a:pt x="432649" y="1028320"/>
                  <a:pt x="260842" y="853145"/>
                  <a:pt x="260842" y="637055"/>
                </a:cubicBezTo>
                <a:cubicBezTo>
                  <a:pt x="260842" y="420965"/>
                  <a:pt x="432649" y="245790"/>
                  <a:pt x="644584" y="245790"/>
                </a:cubicBezTo>
                <a:close/>
                <a:moveTo>
                  <a:pt x="2367657" y="0"/>
                </a:moveTo>
                <a:cubicBezTo>
                  <a:pt x="2616992" y="0"/>
                  <a:pt x="2819118" y="203249"/>
                  <a:pt x="2819118" y="453969"/>
                </a:cubicBezTo>
                <a:cubicBezTo>
                  <a:pt x="2819118" y="704689"/>
                  <a:pt x="2616992" y="907938"/>
                  <a:pt x="2367657" y="907938"/>
                </a:cubicBezTo>
                <a:cubicBezTo>
                  <a:pt x="2118322" y="907938"/>
                  <a:pt x="1916196" y="704689"/>
                  <a:pt x="1916196" y="453969"/>
                </a:cubicBezTo>
                <a:cubicBezTo>
                  <a:pt x="1916196" y="203249"/>
                  <a:pt x="2118322" y="0"/>
                  <a:pt x="2367657"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37148" tIns="109719" rIns="137148" bIns="109719"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699261" fontAlgn="base">
              <a:lnSpc>
                <a:spcPct val="90000"/>
              </a:lnSpc>
              <a:spcBef>
                <a:spcPct val="0"/>
              </a:spcBef>
              <a:spcAft>
                <a:spcPct val="0"/>
              </a:spcAft>
            </a:pPr>
            <a:endParaRPr lang="en-US">
              <a:gradFill>
                <a:gsLst>
                  <a:gs pos="0">
                    <a:srgbClr val="FFFFFF"/>
                  </a:gs>
                  <a:gs pos="100000">
                    <a:srgbClr val="FFFFFF"/>
                  </a:gs>
                </a:gsLst>
                <a:lin ang="5400000" scaled="0"/>
              </a:gradFill>
              <a:ea typeface="Segoe UI" pitchFamily="34" charset="0"/>
              <a:cs typeface="Segoe UI" pitchFamily="34" charset="0"/>
            </a:endParaRPr>
          </a:p>
        </p:txBody>
      </p:sp>
      <p:sp>
        <p:nvSpPr>
          <p:cNvPr id="73" name="Rectangle 72"/>
          <p:cNvSpPr/>
          <p:nvPr/>
        </p:nvSpPr>
        <p:spPr bwMode="auto">
          <a:xfrm>
            <a:off x="-1464" y="2637201"/>
            <a:ext cx="2816907" cy="4220799"/>
          </a:xfrm>
          <a:prstGeom prst="rect">
            <a:avLst/>
          </a:prstGeom>
          <a:solidFill>
            <a:schemeClr val="tx1">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74" name="Rectangle 73"/>
          <p:cNvSpPr/>
          <p:nvPr/>
        </p:nvSpPr>
        <p:spPr bwMode="auto">
          <a:xfrm>
            <a:off x="0" y="657643"/>
            <a:ext cx="2815443" cy="874445"/>
          </a:xfrm>
          <a:prstGeom prst="rect">
            <a:avLst/>
          </a:prstGeom>
          <a:solidFill>
            <a:schemeClr val="tx1">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31" name="Rectangle 130"/>
          <p:cNvSpPr/>
          <p:nvPr/>
        </p:nvSpPr>
        <p:spPr>
          <a:xfrm>
            <a:off x="2878466" y="1175261"/>
            <a:ext cx="5542877" cy="3600986"/>
          </a:xfrm>
          <a:prstGeom prst="rect">
            <a:avLst/>
          </a:prstGeom>
        </p:spPr>
        <p:txBody>
          <a:bodyPr wrap="square">
            <a:spAutoFit/>
          </a:bodyPr>
          <a:lstStyle/>
          <a:p>
            <a:pPr marL="342900" marR="0" lvl="0" indent="-342900">
              <a:spcBef>
                <a:spcPts val="600"/>
              </a:spcBef>
              <a:spcAft>
                <a:spcPts val="600"/>
              </a:spcAft>
              <a:buFont typeface="Symbol" panose="05050102010706020507" pitchFamily="18" charset="2"/>
              <a:buChar char=""/>
            </a:pPr>
            <a:r>
              <a:rPr lang="en-US" sz="2000">
                <a:latin typeface="+mj-lt"/>
                <a:ea typeface="Calibri" panose="020F0502020204030204" pitchFamily="34" charset="0"/>
                <a:cs typeface="Times New Roman" panose="02020603050405020304" pitchFamily="18" charset="0"/>
              </a:rPr>
              <a:t>Connect directly to data from Azure services, including</a:t>
            </a:r>
          </a:p>
          <a:p>
            <a:pPr marL="800100" lvl="1" indent="-342900">
              <a:buFont typeface="Courier New" panose="02070309020205020404" pitchFamily="49" charset="0"/>
              <a:buChar char="o"/>
            </a:pPr>
            <a:r>
              <a:rPr lang="en-US" sz="1600">
                <a:latin typeface="+mj-lt"/>
                <a:ea typeface="Calibri" panose="020F0502020204030204" pitchFamily="34" charset="0"/>
                <a:cs typeface="Times New Roman" panose="02020603050405020304" pitchFamily="18" charset="0"/>
              </a:rPr>
              <a:t>Azure SQL Database</a:t>
            </a:r>
          </a:p>
          <a:p>
            <a:pPr marL="800100" lvl="1" indent="-342900">
              <a:buFont typeface="Courier New" panose="02070309020205020404" pitchFamily="49" charset="0"/>
              <a:buChar char="o"/>
            </a:pPr>
            <a:r>
              <a:rPr lang="en-US" sz="1600">
                <a:latin typeface="+mj-lt"/>
                <a:ea typeface="Calibri" panose="020F0502020204030204" pitchFamily="34" charset="0"/>
                <a:cs typeface="Times New Roman" panose="02020603050405020304" pitchFamily="18" charset="0"/>
              </a:rPr>
              <a:t>Azure SQL Data Warehouse</a:t>
            </a:r>
          </a:p>
          <a:p>
            <a:pPr marL="800100" lvl="1" indent="-342900">
              <a:buFont typeface="Courier New" panose="02070309020205020404" pitchFamily="49" charset="0"/>
              <a:buChar char="o"/>
            </a:pPr>
            <a:r>
              <a:rPr lang="en-US" sz="1600">
                <a:latin typeface="+mj-lt"/>
                <a:ea typeface="Calibri" panose="020F0502020204030204" pitchFamily="34" charset="0"/>
                <a:cs typeface="Times New Roman" panose="02020603050405020304" pitchFamily="18" charset="0"/>
              </a:rPr>
              <a:t>Spark on HDInsight</a:t>
            </a:r>
          </a:p>
          <a:p>
            <a:pPr marL="342900" marR="0" lvl="0" indent="-342900">
              <a:spcBef>
                <a:spcPts val="600"/>
              </a:spcBef>
              <a:spcAft>
                <a:spcPts val="600"/>
              </a:spcAft>
              <a:buFont typeface="Symbol" panose="05050102010706020507" pitchFamily="18" charset="2"/>
              <a:buChar char=""/>
            </a:pPr>
            <a:r>
              <a:rPr lang="en-US" sz="2000">
                <a:latin typeface="+mj-lt"/>
                <a:ea typeface="Calibri" panose="020F0502020204030204" pitchFamily="34" charset="0"/>
                <a:cs typeface="Times New Roman" panose="02020603050405020304" pitchFamily="18" charset="0"/>
              </a:rPr>
              <a:t>Push live, streaming data from Azure Stream Analytics with built-in destination for Power BI for real-time dashboards at any scale</a:t>
            </a:r>
          </a:p>
          <a:p>
            <a:pPr marL="342900" marR="0" lvl="0" indent="-342900">
              <a:spcBef>
                <a:spcPts val="600"/>
              </a:spcBef>
              <a:spcAft>
                <a:spcPts val="600"/>
              </a:spcAft>
              <a:buFont typeface="Symbol" panose="05050102010706020507" pitchFamily="18" charset="2"/>
              <a:buChar char=""/>
            </a:pPr>
            <a:r>
              <a:rPr lang="en-US" sz="2000">
                <a:latin typeface="+mj-lt"/>
                <a:ea typeface="Calibri" panose="020F0502020204030204" pitchFamily="34" charset="0"/>
                <a:cs typeface="Times New Roman" panose="02020603050405020304" pitchFamily="18" charset="0"/>
              </a:rPr>
              <a:t>Integration with other Azure services, including Azure ML, opens up new scenarios, without writing thousands of lines of code</a:t>
            </a:r>
          </a:p>
        </p:txBody>
      </p:sp>
      <p:sp>
        <p:nvSpPr>
          <p:cNvPr id="65" name="Rectangle 64"/>
          <p:cNvSpPr/>
          <p:nvPr/>
        </p:nvSpPr>
        <p:spPr bwMode="auto">
          <a:xfrm>
            <a:off x="8541694" y="1557251"/>
            <a:ext cx="3242256" cy="4308956"/>
          </a:xfrm>
          <a:prstGeom prst="rect">
            <a:avLst/>
          </a:prstGeom>
          <a:solidFill>
            <a:srgbClr val="EDC30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nvGrpSpPr>
          <p:cNvPr id="66" name="Group 65"/>
          <p:cNvGrpSpPr/>
          <p:nvPr/>
        </p:nvGrpSpPr>
        <p:grpSpPr>
          <a:xfrm>
            <a:off x="9856978" y="4751760"/>
            <a:ext cx="943424" cy="756782"/>
            <a:chOff x="10233165" y="3488430"/>
            <a:chExt cx="943424" cy="756782"/>
          </a:xfrm>
        </p:grpSpPr>
        <p:pic>
          <p:nvPicPr>
            <p:cNvPr id="67" name="Picture 66"/>
            <p:cNvPicPr>
              <a:picLocks noChangeAspect="1"/>
            </p:cNvPicPr>
            <p:nvPr/>
          </p:nvPicPr>
          <p:blipFill>
            <a:blip r:embed="rId5" cstate="print">
              <a:biLevel thresh="25000"/>
              <a:extLst>
                <a:ext uri="{28A0092B-C50C-407E-A947-70E740481C1C}">
                  <a14:useLocalDpi xmlns:a14="http://schemas.microsoft.com/office/drawing/2010/main" val="0"/>
                </a:ext>
              </a:extLst>
            </a:blip>
            <a:stretch>
              <a:fillRect/>
            </a:stretch>
          </p:blipFill>
          <p:spPr>
            <a:xfrm>
              <a:off x="10476277" y="3488430"/>
              <a:ext cx="457200" cy="457200"/>
            </a:xfrm>
            <a:prstGeom prst="rect">
              <a:avLst/>
            </a:prstGeom>
          </p:spPr>
        </p:pic>
        <p:sp>
          <p:nvSpPr>
            <p:cNvPr id="72" name="TextBox 71"/>
            <p:cNvSpPr txBox="1"/>
            <p:nvPr/>
          </p:nvSpPr>
          <p:spPr>
            <a:xfrm>
              <a:off x="10233165" y="3811247"/>
              <a:ext cx="943424" cy="433965"/>
            </a:xfrm>
            <a:prstGeom prst="rect">
              <a:avLst/>
            </a:prstGeom>
            <a:noFill/>
          </p:spPr>
          <p:txBody>
            <a:bodyPr wrap="square" lIns="182880" tIns="146304" rIns="182880" bIns="146304" rtlCol="0">
              <a:spAutoFit/>
            </a:bodyPr>
            <a:lstStyle/>
            <a:p>
              <a:pPr>
                <a:lnSpc>
                  <a:spcPct val="90000"/>
                </a:lnSpc>
                <a:spcAft>
                  <a:spcPts val="600"/>
                </a:spcAft>
              </a:pPr>
              <a:r>
                <a:rPr lang="en-US" sz="1000"/>
                <a:t>HDInsight</a:t>
              </a:r>
            </a:p>
          </p:txBody>
        </p:sp>
      </p:grpSp>
      <p:grpSp>
        <p:nvGrpSpPr>
          <p:cNvPr id="75" name="Group 74"/>
          <p:cNvGrpSpPr/>
          <p:nvPr/>
        </p:nvGrpSpPr>
        <p:grpSpPr>
          <a:xfrm>
            <a:off x="8684240" y="3735604"/>
            <a:ext cx="943424" cy="786554"/>
            <a:chOff x="8600989" y="2320219"/>
            <a:chExt cx="943424" cy="786554"/>
          </a:xfrm>
        </p:grpSpPr>
        <p:pic>
          <p:nvPicPr>
            <p:cNvPr id="76" name="Picture 75"/>
            <p:cNvPicPr>
              <a:picLocks noChangeAspect="1"/>
            </p:cNvPicPr>
            <p:nvPr/>
          </p:nvPicPr>
          <p:blipFill>
            <a:blip r:embed="rId6" cstate="print">
              <a:biLevel thresh="25000"/>
              <a:extLst>
                <a:ext uri="{28A0092B-C50C-407E-A947-70E740481C1C}">
                  <a14:useLocalDpi xmlns:a14="http://schemas.microsoft.com/office/drawing/2010/main" val="0"/>
                </a:ext>
              </a:extLst>
            </a:blip>
            <a:stretch>
              <a:fillRect/>
            </a:stretch>
          </p:blipFill>
          <p:spPr>
            <a:xfrm>
              <a:off x="8844101" y="2320219"/>
              <a:ext cx="457200" cy="457200"/>
            </a:xfrm>
            <a:prstGeom prst="rect">
              <a:avLst/>
            </a:prstGeom>
          </p:spPr>
        </p:pic>
        <p:sp>
          <p:nvSpPr>
            <p:cNvPr id="77" name="TextBox 76"/>
            <p:cNvSpPr txBox="1"/>
            <p:nvPr/>
          </p:nvSpPr>
          <p:spPr>
            <a:xfrm>
              <a:off x="8600989" y="2672808"/>
              <a:ext cx="943424" cy="433965"/>
            </a:xfrm>
            <a:prstGeom prst="rect">
              <a:avLst/>
            </a:prstGeom>
            <a:noFill/>
          </p:spPr>
          <p:txBody>
            <a:bodyPr wrap="square" lIns="182880" tIns="146304" rIns="182880" bIns="146304" rtlCol="0">
              <a:spAutoFit/>
            </a:bodyPr>
            <a:lstStyle/>
            <a:p>
              <a:pPr algn="ctr">
                <a:lnSpc>
                  <a:spcPct val="90000"/>
                </a:lnSpc>
                <a:spcAft>
                  <a:spcPts val="600"/>
                </a:spcAft>
              </a:pPr>
              <a:r>
                <a:rPr lang="en-US" sz="1000"/>
                <a:t>Storage</a:t>
              </a:r>
            </a:p>
          </p:txBody>
        </p:sp>
      </p:grpSp>
      <p:grpSp>
        <p:nvGrpSpPr>
          <p:cNvPr id="78" name="Group 77"/>
          <p:cNvGrpSpPr/>
          <p:nvPr/>
        </p:nvGrpSpPr>
        <p:grpSpPr>
          <a:xfrm>
            <a:off x="9850497" y="1846951"/>
            <a:ext cx="943424" cy="950812"/>
            <a:chOff x="10610076" y="2020001"/>
            <a:chExt cx="943424" cy="950812"/>
          </a:xfrm>
        </p:grpSpPr>
        <p:pic>
          <p:nvPicPr>
            <p:cNvPr id="79" name="Picture 78"/>
            <p:cNvPicPr>
              <a:picLocks noChangeAspect="1"/>
            </p:cNvPicPr>
            <p:nvPr/>
          </p:nvPicPr>
          <p:blipFill>
            <a:blip r:embed="rId7" cstate="print">
              <a:biLevel thresh="25000"/>
              <a:extLst>
                <a:ext uri="{28A0092B-C50C-407E-A947-70E740481C1C}">
                  <a14:useLocalDpi xmlns:a14="http://schemas.microsoft.com/office/drawing/2010/main" val="0"/>
                </a:ext>
              </a:extLst>
            </a:blip>
            <a:stretch>
              <a:fillRect/>
            </a:stretch>
          </p:blipFill>
          <p:spPr>
            <a:xfrm>
              <a:off x="10853188" y="2020001"/>
              <a:ext cx="457200" cy="457200"/>
            </a:xfrm>
            <a:prstGeom prst="rect">
              <a:avLst/>
            </a:prstGeom>
          </p:spPr>
        </p:pic>
        <p:sp>
          <p:nvSpPr>
            <p:cNvPr id="80" name="TextBox 79"/>
            <p:cNvSpPr txBox="1"/>
            <p:nvPr/>
          </p:nvSpPr>
          <p:spPr>
            <a:xfrm>
              <a:off x="10610076" y="2398349"/>
              <a:ext cx="943424" cy="572464"/>
            </a:xfrm>
            <a:prstGeom prst="rect">
              <a:avLst/>
            </a:prstGeom>
            <a:noFill/>
          </p:spPr>
          <p:txBody>
            <a:bodyPr wrap="square" lIns="182880" tIns="146304" rIns="182880" bIns="146304" rtlCol="0">
              <a:spAutoFit/>
            </a:bodyPr>
            <a:lstStyle/>
            <a:p>
              <a:pPr algn="ctr">
                <a:lnSpc>
                  <a:spcPct val="90000"/>
                </a:lnSpc>
                <a:spcAft>
                  <a:spcPts val="600"/>
                </a:spcAft>
              </a:pPr>
              <a:r>
                <a:rPr lang="en-US" sz="1000"/>
                <a:t>Event Hubs</a:t>
              </a:r>
            </a:p>
          </p:txBody>
        </p:sp>
      </p:grpSp>
      <p:grpSp>
        <p:nvGrpSpPr>
          <p:cNvPr id="104" name="Group 103"/>
          <p:cNvGrpSpPr/>
          <p:nvPr/>
        </p:nvGrpSpPr>
        <p:grpSpPr>
          <a:xfrm>
            <a:off x="8652707" y="2759970"/>
            <a:ext cx="943424" cy="948116"/>
            <a:chOff x="9002661" y="3227014"/>
            <a:chExt cx="943424" cy="948116"/>
          </a:xfrm>
        </p:grpSpPr>
        <p:pic>
          <p:nvPicPr>
            <p:cNvPr id="105" name="Picture 104"/>
            <p:cNvPicPr>
              <a:picLocks noChangeAspect="1"/>
            </p:cNvPicPr>
            <p:nvPr/>
          </p:nvPicPr>
          <p:blipFill>
            <a:blip r:embed="rId8" cstate="print">
              <a:biLevel thresh="25000"/>
              <a:extLst>
                <a:ext uri="{28A0092B-C50C-407E-A947-70E740481C1C}">
                  <a14:useLocalDpi xmlns:a14="http://schemas.microsoft.com/office/drawing/2010/main" val="0"/>
                </a:ext>
              </a:extLst>
            </a:blip>
            <a:stretch>
              <a:fillRect/>
            </a:stretch>
          </p:blipFill>
          <p:spPr>
            <a:xfrm>
              <a:off x="9234246" y="3227014"/>
              <a:ext cx="457200" cy="457200"/>
            </a:xfrm>
            <a:prstGeom prst="rect">
              <a:avLst/>
            </a:prstGeom>
          </p:spPr>
        </p:pic>
        <p:sp>
          <p:nvSpPr>
            <p:cNvPr id="106" name="TextBox 105"/>
            <p:cNvSpPr txBox="1"/>
            <p:nvPr/>
          </p:nvSpPr>
          <p:spPr>
            <a:xfrm>
              <a:off x="9002661" y="3602666"/>
              <a:ext cx="943424" cy="572464"/>
            </a:xfrm>
            <a:prstGeom prst="rect">
              <a:avLst/>
            </a:prstGeom>
            <a:noFill/>
          </p:spPr>
          <p:txBody>
            <a:bodyPr wrap="square" lIns="182880" tIns="146304" rIns="182880" bIns="146304" rtlCol="0">
              <a:spAutoFit/>
            </a:bodyPr>
            <a:lstStyle/>
            <a:p>
              <a:pPr algn="ctr">
                <a:lnSpc>
                  <a:spcPct val="90000"/>
                </a:lnSpc>
                <a:spcAft>
                  <a:spcPts val="600"/>
                </a:spcAft>
              </a:pPr>
              <a:r>
                <a:rPr lang="en-US" sz="1000"/>
                <a:t>Machine Learning</a:t>
              </a:r>
            </a:p>
          </p:txBody>
        </p:sp>
      </p:grpSp>
      <p:grpSp>
        <p:nvGrpSpPr>
          <p:cNvPr id="107" name="Group 106"/>
          <p:cNvGrpSpPr/>
          <p:nvPr/>
        </p:nvGrpSpPr>
        <p:grpSpPr>
          <a:xfrm>
            <a:off x="9119823" y="4344290"/>
            <a:ext cx="1015682" cy="842205"/>
            <a:chOff x="10601932" y="1930074"/>
            <a:chExt cx="1015682" cy="842205"/>
          </a:xfrm>
        </p:grpSpPr>
        <p:pic>
          <p:nvPicPr>
            <p:cNvPr id="108" name="Picture 107"/>
            <p:cNvPicPr>
              <a:picLocks noChangeAspect="1"/>
            </p:cNvPicPr>
            <p:nvPr/>
          </p:nvPicPr>
          <p:blipFill>
            <a:blip r:embed="rId9" cstate="print">
              <a:biLevel thresh="25000"/>
              <a:extLst>
                <a:ext uri="{28A0092B-C50C-407E-A947-70E740481C1C}">
                  <a14:useLocalDpi xmlns:a14="http://schemas.microsoft.com/office/drawing/2010/main" val="0"/>
                </a:ext>
              </a:extLst>
            </a:blip>
            <a:stretch>
              <a:fillRect/>
            </a:stretch>
          </p:blipFill>
          <p:spPr>
            <a:xfrm>
              <a:off x="10866422" y="1930074"/>
              <a:ext cx="457200" cy="457200"/>
            </a:xfrm>
            <a:prstGeom prst="rect">
              <a:avLst/>
            </a:prstGeom>
          </p:spPr>
        </p:pic>
        <p:sp>
          <p:nvSpPr>
            <p:cNvPr id="109" name="TextBox 108"/>
            <p:cNvSpPr txBox="1"/>
            <p:nvPr/>
          </p:nvSpPr>
          <p:spPr>
            <a:xfrm>
              <a:off x="10601932" y="2338314"/>
              <a:ext cx="1015682" cy="433965"/>
            </a:xfrm>
            <a:prstGeom prst="rect">
              <a:avLst/>
            </a:prstGeom>
            <a:noFill/>
          </p:spPr>
          <p:txBody>
            <a:bodyPr wrap="square" lIns="182880" tIns="146304" rIns="182880" bIns="146304" rtlCol="0">
              <a:spAutoFit/>
            </a:bodyPr>
            <a:lstStyle/>
            <a:p>
              <a:pPr algn="ctr">
                <a:lnSpc>
                  <a:spcPct val="90000"/>
                </a:lnSpc>
                <a:spcAft>
                  <a:spcPts val="600"/>
                </a:spcAft>
              </a:pPr>
              <a:r>
                <a:rPr lang="en-US" sz="1000"/>
                <a:t>SQL Server</a:t>
              </a:r>
            </a:p>
          </p:txBody>
        </p:sp>
      </p:grpSp>
      <p:grpSp>
        <p:nvGrpSpPr>
          <p:cNvPr id="110" name="Group 109"/>
          <p:cNvGrpSpPr/>
          <p:nvPr/>
        </p:nvGrpSpPr>
        <p:grpSpPr>
          <a:xfrm>
            <a:off x="9124419" y="1941060"/>
            <a:ext cx="943424" cy="887242"/>
            <a:chOff x="9002242" y="1575399"/>
            <a:chExt cx="943424" cy="887242"/>
          </a:xfrm>
        </p:grpSpPr>
        <p:pic>
          <p:nvPicPr>
            <p:cNvPr id="111" name="Picture 110"/>
            <p:cNvPicPr>
              <a:picLocks noChangeAspect="1"/>
            </p:cNvPicPr>
            <p:nvPr/>
          </p:nvPicPr>
          <p:blipFill>
            <a:blip r:embed="rId10" cstate="print">
              <a:biLevel thresh="25000"/>
              <a:extLst>
                <a:ext uri="{28A0092B-C50C-407E-A947-70E740481C1C}">
                  <a14:useLocalDpi xmlns:a14="http://schemas.microsoft.com/office/drawing/2010/main" val="0"/>
                </a:ext>
              </a:extLst>
            </a:blip>
            <a:stretch>
              <a:fillRect/>
            </a:stretch>
          </p:blipFill>
          <p:spPr>
            <a:xfrm>
              <a:off x="9245773" y="1575399"/>
              <a:ext cx="457200" cy="457200"/>
            </a:xfrm>
            <a:prstGeom prst="rect">
              <a:avLst/>
            </a:prstGeom>
          </p:spPr>
        </p:pic>
        <p:sp>
          <p:nvSpPr>
            <p:cNvPr id="112" name="TextBox 111"/>
            <p:cNvSpPr txBox="1"/>
            <p:nvPr/>
          </p:nvSpPr>
          <p:spPr>
            <a:xfrm>
              <a:off x="9002242" y="1890177"/>
              <a:ext cx="943424" cy="572464"/>
            </a:xfrm>
            <a:prstGeom prst="rect">
              <a:avLst/>
            </a:prstGeom>
            <a:noFill/>
          </p:spPr>
          <p:txBody>
            <a:bodyPr wrap="square" lIns="182880" tIns="146304" rIns="182880" bIns="146304" rtlCol="0">
              <a:spAutoFit/>
            </a:bodyPr>
            <a:lstStyle/>
            <a:p>
              <a:pPr algn="ctr">
                <a:lnSpc>
                  <a:spcPct val="90000"/>
                </a:lnSpc>
                <a:spcAft>
                  <a:spcPts val="600"/>
                </a:spcAft>
              </a:pPr>
              <a:r>
                <a:rPr lang="en-US" sz="1000"/>
                <a:t>Stream Analytics</a:t>
              </a:r>
            </a:p>
          </p:txBody>
        </p:sp>
      </p:grpSp>
      <p:pic>
        <p:nvPicPr>
          <p:cNvPr id="113" name="Picture 112"/>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10578271" y="3228912"/>
            <a:ext cx="640080" cy="674100"/>
          </a:xfrm>
          <a:prstGeom prst="rect">
            <a:avLst/>
          </a:prstGeom>
        </p:spPr>
      </p:pic>
      <p:sp>
        <p:nvSpPr>
          <p:cNvPr id="114" name="TextBox 113"/>
          <p:cNvSpPr txBox="1"/>
          <p:nvPr/>
        </p:nvSpPr>
        <p:spPr>
          <a:xfrm>
            <a:off x="10388654" y="3778425"/>
            <a:ext cx="1087964" cy="489365"/>
          </a:xfrm>
          <a:prstGeom prst="rect">
            <a:avLst/>
          </a:prstGeom>
          <a:noFill/>
        </p:spPr>
        <p:txBody>
          <a:bodyPr wrap="square" lIns="182880" tIns="146304" rIns="182880" bIns="146304" rtlCol="0">
            <a:spAutoFit/>
          </a:bodyPr>
          <a:lstStyle/>
          <a:p>
            <a:pPr algn="ctr">
              <a:lnSpc>
                <a:spcPct val="90000"/>
              </a:lnSpc>
              <a:spcAft>
                <a:spcPts val="600"/>
              </a:spcAft>
            </a:pPr>
            <a:r>
              <a:rPr lang="en-US" sz="1400"/>
              <a:t>Power BI</a:t>
            </a:r>
          </a:p>
        </p:txBody>
      </p:sp>
      <p:cxnSp>
        <p:nvCxnSpPr>
          <p:cNvPr id="115" name="Straight Arrow Connector 114"/>
          <p:cNvCxnSpPr/>
          <p:nvPr/>
        </p:nvCxnSpPr>
        <p:spPr>
          <a:xfrm>
            <a:off x="10067843" y="2759970"/>
            <a:ext cx="267392" cy="298704"/>
          </a:xfrm>
          <a:prstGeom prst="straightConnector1">
            <a:avLst/>
          </a:prstGeom>
          <a:ln w="381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16" name="Straight Arrow Connector 115"/>
          <p:cNvCxnSpPr/>
          <p:nvPr/>
        </p:nvCxnSpPr>
        <p:spPr>
          <a:xfrm flipV="1">
            <a:off x="9627664" y="3614383"/>
            <a:ext cx="541705" cy="2"/>
          </a:xfrm>
          <a:prstGeom prst="straightConnector1">
            <a:avLst/>
          </a:prstGeom>
          <a:ln w="381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17" name="Straight Arrow Connector 116"/>
          <p:cNvCxnSpPr/>
          <p:nvPr/>
        </p:nvCxnSpPr>
        <p:spPr>
          <a:xfrm flipV="1">
            <a:off x="10093609" y="4192804"/>
            <a:ext cx="295045" cy="357390"/>
          </a:xfrm>
          <a:prstGeom prst="straightConnector1">
            <a:avLst/>
          </a:prstGeom>
          <a:ln w="381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878788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 name="Title 10"/>
          <p:cNvSpPr txBox="1">
            <a:spLocks/>
          </p:cNvSpPr>
          <p:nvPr/>
        </p:nvSpPr>
        <p:spPr>
          <a:xfrm>
            <a:off x="2849060" y="0"/>
            <a:ext cx="9342940" cy="665151"/>
          </a:xfrm>
          <a:prstGeom prst="rect">
            <a:avLst/>
          </a:prstGeom>
          <a:noFill/>
        </p:spPr>
        <p:txBody>
          <a:bodyPr vert="horz" wrap="square" lIns="0" tIns="91440" rIns="0" bIns="91440" rtlCol="0" anchor="t">
            <a:noAutofit/>
          </a:bodyPr>
          <a:lstStyle>
            <a:lvl1pPr defTabSz="914367">
              <a:lnSpc>
                <a:spcPct val="90000"/>
              </a:lnSpc>
              <a:spcBef>
                <a:spcPct val="0"/>
              </a:spcBef>
              <a:buNone/>
              <a:defRPr lang="en-US" sz="5294" b="0" cap="none" spc="-100" baseline="0" dirty="0" smtClean="0">
                <a:ln w="3175">
                  <a:noFill/>
                </a:ln>
                <a:solidFill>
                  <a:schemeClr val="tx2"/>
                </a:solidFill>
                <a:effectLst/>
                <a:latin typeface="+mj-lt"/>
                <a:cs typeface="Segoe UI" pitchFamily="34" charset="0"/>
              </a:defRPr>
            </a:lvl1pPr>
          </a:lstStyle>
          <a:p>
            <a:pPr marL="168275" marR="0" lvl="0" indent="0" algn="l" defTabSz="914367" rtl="0" eaLnBrk="1" fontAlgn="auto" latinLnBrk="0" hangingPunct="1">
              <a:lnSpc>
                <a:spcPct val="90000"/>
              </a:lnSpc>
              <a:spcBef>
                <a:spcPct val="0"/>
              </a:spcBef>
              <a:spcAft>
                <a:spcPts val="0"/>
              </a:spcAft>
              <a:buClrTx/>
              <a:buSzTx/>
              <a:buFontTx/>
              <a:buNone/>
              <a:tabLst/>
              <a:defRPr/>
            </a:pPr>
            <a:r>
              <a:rPr kumimoji="0" lang="en-US" sz="3600" b="0" i="0" u="none" strike="noStrike" kern="1200" cap="none" spc="-100" normalizeH="0" baseline="0" noProof="0">
                <a:ln w="3175">
                  <a:noFill/>
                </a:ln>
                <a:solidFill>
                  <a:prstClr val="black"/>
                </a:solidFill>
                <a:effectLst/>
                <a:uLnTx/>
                <a:uFillTx/>
                <a:latin typeface="Segoe UI Light"/>
                <a:ea typeface="+mn-ea"/>
                <a:cs typeface="Segoe UI" pitchFamily="34" charset="0"/>
              </a:rPr>
              <a:t>Pinning and Navigation</a:t>
            </a:r>
            <a:endParaRPr kumimoji="0" lang="en-IN" sz="3600" b="0" i="0" u="none" strike="noStrike" kern="1200" cap="none" spc="-100" normalizeH="0" baseline="0" noProof="0">
              <a:ln w="3175">
                <a:noFill/>
              </a:ln>
              <a:solidFill>
                <a:prstClr val="black"/>
              </a:solidFill>
              <a:effectLst/>
              <a:uLnTx/>
              <a:uFillTx/>
              <a:latin typeface="Segoe UI Light"/>
              <a:ea typeface="+mn-ea"/>
              <a:cs typeface="Segoe UI" pitchFamily="34" charset="0"/>
            </a:endParaRPr>
          </a:p>
        </p:txBody>
      </p:sp>
      <p:sp>
        <p:nvSpPr>
          <p:cNvPr id="41" name="Rectangle 3"/>
          <p:cNvSpPr/>
          <p:nvPr/>
        </p:nvSpPr>
        <p:spPr bwMode="auto">
          <a:xfrm>
            <a:off x="3202216" y="665151"/>
            <a:ext cx="8105312" cy="44435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PT" sz="2000" b="0" i="1" u="none" strike="noStrike" kern="1200" cap="none" spc="0" normalizeH="0" baseline="0" noProof="0">
                <a:ln>
                  <a:noFill/>
                </a:ln>
                <a:solidFill>
                  <a:prstClr val="black"/>
                </a:solidFill>
                <a:effectLst/>
                <a:uLnTx/>
                <a:uFillTx/>
                <a:latin typeface="Segoe UI Light"/>
                <a:ea typeface="+mn-ea"/>
                <a:cs typeface="+mn-cs"/>
              </a:rPr>
              <a:t>Report - Pinning</a:t>
            </a:r>
            <a:endParaRPr kumimoji="0" lang="en-US" sz="2000" b="0" i="1" u="none" strike="noStrike" kern="1200" cap="none" spc="0" normalizeH="0" baseline="0" noProof="0">
              <a:ln>
                <a:noFill/>
              </a:ln>
              <a:solidFill>
                <a:prstClr val="black"/>
              </a:solidFill>
              <a:effectLst/>
              <a:uLnTx/>
              <a:uFillTx/>
              <a:latin typeface="Segoe UI Light"/>
              <a:ea typeface="+mn-ea"/>
              <a:cs typeface="+mn-cs"/>
            </a:endParaRPr>
          </a:p>
        </p:txBody>
      </p:sp>
      <p:sp>
        <p:nvSpPr>
          <p:cNvPr id="51" name="Text Placeholder 2"/>
          <p:cNvSpPr txBox="1">
            <a:spLocks/>
          </p:cNvSpPr>
          <p:nvPr/>
        </p:nvSpPr>
        <p:spPr>
          <a:xfrm>
            <a:off x="5200737" y="1697659"/>
            <a:ext cx="6106791" cy="897374"/>
          </a:xfrm>
          <a:prstGeom prst="rect">
            <a:avLst/>
          </a:prstGeom>
        </p:spPr>
        <p:txBody>
          <a:bodyPr vert="horz" wrap="square" lIns="182880" tIns="146304" rIns="182880" bIns="146304" rtlCol="0">
            <a:noAutofit/>
          </a:bodyPr>
          <a:lstStyle>
            <a:lvl1pPr marL="182845" marR="0"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3921" kern="1200" spc="0" baseline="0">
                <a:gradFill>
                  <a:gsLst>
                    <a:gs pos="1250">
                      <a:schemeClr val="tx2"/>
                    </a:gs>
                    <a:gs pos="99000">
                      <a:schemeClr val="tx2"/>
                    </a:gs>
                  </a:gsLst>
                  <a:lin ang="5400000" scaled="0"/>
                </a:gradFill>
                <a:latin typeface="+mj-lt"/>
                <a:ea typeface="+mn-ea"/>
                <a:cs typeface="+mn-cs"/>
              </a:defRPr>
            </a:lvl1pPr>
            <a:lvl2pPr marL="365690" marR="0"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2400" kern="1200" spc="0" baseline="0">
                <a:solidFill>
                  <a:schemeClr val="tx2"/>
                </a:solidFill>
                <a:latin typeface="+mj-lt"/>
                <a:ea typeface="+mn-ea"/>
                <a:cs typeface="+mn-cs"/>
              </a:defRPr>
            </a:lvl2pPr>
            <a:lvl3pPr marL="548535" marR="0"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2000" kern="1200" spc="0" baseline="0">
                <a:solidFill>
                  <a:schemeClr val="tx2"/>
                </a:solidFill>
                <a:latin typeface="+mj-lt"/>
                <a:ea typeface="+mn-ea"/>
                <a:cs typeface="+mn-cs"/>
              </a:defRPr>
            </a:lvl3pPr>
            <a:lvl4pPr marL="733802" marR="0" indent="-28569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1765" kern="1200" spc="0" baseline="0">
                <a:solidFill>
                  <a:schemeClr val="tx2"/>
                </a:solidFill>
                <a:latin typeface="+mn-lt"/>
                <a:ea typeface="+mn-ea"/>
                <a:cs typeface="+mn-cs"/>
              </a:defRPr>
            </a:lvl4pPr>
            <a:lvl5pPr marL="957856" marR="0" indent="-28569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1765" kern="1200" spc="0" baseline="0">
                <a:solidFill>
                  <a:schemeClr val="tx2"/>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r>
              <a:rPr kumimoji="0" lang="en-US" sz="2000" b="0" i="0" u="none" strike="noStrike" kern="1200" cap="none" spc="0" normalizeH="0" baseline="0" noProof="0">
                <a:ln>
                  <a:noFill/>
                </a:ln>
                <a:solidFill>
                  <a:prstClr val="white"/>
                </a:solidFill>
                <a:effectLst/>
                <a:uLnTx/>
                <a:uFillTx/>
                <a:latin typeface="Segoe UI Light"/>
                <a:ea typeface="+mn-ea"/>
                <a:cs typeface="Times New Roman" panose="02020603050405020304" pitchFamily="18" charset="0"/>
              </a:rPr>
              <a:t>A report is composed of </a:t>
            </a:r>
            <a:r>
              <a:rPr kumimoji="0" lang="en-US" sz="2000" b="1" i="0" u="none" strike="noStrike" kern="1200" cap="none" spc="0" normalizeH="0" baseline="0" noProof="0">
                <a:ln>
                  <a:noFill/>
                </a:ln>
                <a:solidFill>
                  <a:prstClr val="white"/>
                </a:solidFill>
                <a:effectLst/>
                <a:uLnTx/>
                <a:uFillTx/>
                <a:latin typeface="Segoe UI Light"/>
                <a:ea typeface="+mn-ea"/>
                <a:cs typeface="Times New Roman" panose="02020603050405020304" pitchFamily="18" charset="0"/>
              </a:rPr>
              <a:t>one or more pages of visualizations</a:t>
            </a: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1" i="0" u="none" strike="noStrike" kern="1200" cap="none" spc="0" normalizeH="0" baseline="0" noProof="0">
              <a:ln>
                <a:noFill/>
              </a:ln>
              <a:solidFill>
                <a:prstClr val="white"/>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r>
              <a:rPr kumimoji="0" lang="en-US" sz="2000" b="0" i="0" u="none" strike="noStrike" kern="1200" cap="none" spc="0" normalizeH="0" baseline="0" noProof="0">
                <a:ln>
                  <a:noFill/>
                </a:ln>
                <a:solidFill>
                  <a:prstClr val="white"/>
                </a:solidFill>
                <a:effectLst/>
                <a:uLnTx/>
                <a:uFillTx/>
                <a:latin typeface="Segoe UI Light"/>
                <a:ea typeface="+mn-ea"/>
                <a:cs typeface="Times New Roman" panose="02020603050405020304" pitchFamily="18" charset="0"/>
              </a:rPr>
              <a:t>Can be </a:t>
            </a:r>
            <a:r>
              <a:rPr kumimoji="0" lang="en-US" sz="2000" b="1" i="0" u="none" strike="noStrike" kern="1200" cap="none" spc="0" normalizeH="0" baseline="0" noProof="0">
                <a:ln>
                  <a:noFill/>
                </a:ln>
                <a:solidFill>
                  <a:prstClr val="white"/>
                </a:solidFill>
                <a:effectLst/>
                <a:uLnTx/>
                <a:uFillTx/>
                <a:latin typeface="Segoe UI Light"/>
                <a:ea typeface="+mn-ea"/>
                <a:cs typeface="Times New Roman" panose="02020603050405020304" pitchFamily="18" charset="0"/>
              </a:rPr>
              <a:t>developed</a:t>
            </a:r>
            <a:r>
              <a:rPr kumimoji="0" lang="en-US" sz="2000" b="0" i="0" u="none" strike="noStrike" kern="1200" cap="none" spc="0" normalizeH="0" baseline="0" noProof="0">
                <a:ln>
                  <a:noFill/>
                </a:ln>
                <a:solidFill>
                  <a:prstClr val="white"/>
                </a:solidFill>
                <a:effectLst/>
                <a:uLnTx/>
                <a:uFillTx/>
                <a:latin typeface="Segoe UI Light"/>
                <a:ea typeface="+mn-ea"/>
                <a:cs typeface="Times New Roman" panose="02020603050405020304" pitchFamily="18" charset="0"/>
              </a:rPr>
              <a:t> in </a:t>
            </a:r>
            <a:r>
              <a:rPr kumimoji="0" lang="en-US" sz="2000" b="1" i="0" u="none" strike="noStrike" kern="1200" cap="none" spc="0" normalizeH="0" baseline="0" noProof="0">
                <a:ln>
                  <a:noFill/>
                </a:ln>
                <a:solidFill>
                  <a:prstClr val="white"/>
                </a:solidFill>
                <a:effectLst/>
                <a:uLnTx/>
                <a:uFillTx/>
                <a:latin typeface="Segoe UI Light"/>
                <a:ea typeface="+mn-ea"/>
                <a:cs typeface="Times New Roman" panose="02020603050405020304" pitchFamily="18" charset="0"/>
              </a:rPr>
              <a:t>Desktop</a:t>
            </a:r>
            <a:r>
              <a:rPr kumimoji="0" lang="en-US" sz="2000" b="0" i="0" u="none" strike="noStrike" kern="1200" cap="none" spc="0" normalizeH="0" baseline="0" noProof="0">
                <a:ln>
                  <a:noFill/>
                </a:ln>
                <a:solidFill>
                  <a:prstClr val="white"/>
                </a:solidFill>
                <a:effectLst/>
                <a:uLnTx/>
                <a:uFillTx/>
                <a:latin typeface="Segoe UI Light"/>
                <a:ea typeface="+mn-ea"/>
                <a:cs typeface="Times New Roman" panose="02020603050405020304" pitchFamily="18" charset="0"/>
              </a:rPr>
              <a:t> (or Excel) or in the </a:t>
            </a:r>
            <a:r>
              <a:rPr kumimoji="0" lang="en-US" sz="2000" b="1" i="0" u="none" strike="noStrike" kern="1200" cap="none" spc="0" normalizeH="0" baseline="0" noProof="0">
                <a:ln>
                  <a:noFill/>
                </a:ln>
                <a:solidFill>
                  <a:prstClr val="white"/>
                </a:solidFill>
                <a:effectLst/>
                <a:uLnTx/>
                <a:uFillTx/>
                <a:latin typeface="Segoe UI Light"/>
                <a:ea typeface="+mn-ea"/>
                <a:cs typeface="Times New Roman" panose="02020603050405020304" pitchFamily="18" charset="0"/>
              </a:rPr>
              <a:t>service</a:t>
            </a: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r>
              <a:rPr kumimoji="0" lang="en-US" sz="2000" b="0" i="0" u="none" strike="noStrike" kern="1200" cap="none" spc="0" normalizeH="0" baseline="0" noProof="0">
                <a:ln>
                  <a:noFill/>
                </a:ln>
                <a:solidFill>
                  <a:prstClr val="white"/>
                </a:solidFill>
                <a:effectLst/>
                <a:uLnTx/>
                <a:uFillTx/>
                <a:latin typeface="Segoe UI Light"/>
                <a:ea typeface="+mn-ea"/>
                <a:cs typeface="Times New Roman" panose="02020603050405020304" pitchFamily="18" charset="0"/>
              </a:rPr>
              <a:t>Gets its </a:t>
            </a:r>
            <a:r>
              <a:rPr kumimoji="0" lang="en-US" sz="2000" b="1" i="0" u="none" strike="noStrike" kern="1200" cap="none" spc="0" normalizeH="0" baseline="0" noProof="0">
                <a:ln>
                  <a:noFill/>
                </a:ln>
                <a:solidFill>
                  <a:prstClr val="white"/>
                </a:solidFill>
                <a:effectLst/>
                <a:uLnTx/>
                <a:uFillTx/>
                <a:latin typeface="Segoe UI Light"/>
                <a:ea typeface="+mn-ea"/>
                <a:cs typeface="Times New Roman" panose="02020603050405020304" pitchFamily="18" charset="0"/>
              </a:rPr>
              <a:t>data from one dataset</a:t>
            </a: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0" i="0" u="none" strike="noStrike" kern="1200" cap="none" spc="0" normalizeH="0" baseline="0" noProof="0">
              <a:ln>
                <a:noFill/>
              </a:ln>
              <a:solidFill>
                <a:prstClr val="white"/>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r>
              <a:rPr kumimoji="0" lang="en-US" sz="2000" b="0" i="0" u="none" strike="noStrike" kern="1200" cap="none" spc="0" normalizeH="0" baseline="0" noProof="0">
                <a:ln>
                  <a:noFill/>
                </a:ln>
                <a:solidFill>
                  <a:prstClr val="white"/>
                </a:solidFill>
                <a:effectLst/>
                <a:uLnTx/>
                <a:uFillTx/>
                <a:latin typeface="Segoe UI Light"/>
                <a:ea typeface="+mn-ea"/>
                <a:cs typeface="Times New Roman" panose="02020603050405020304" pitchFamily="18" charset="0"/>
              </a:rPr>
              <a:t>Can be used for building dashboards as a whole or bit by bit</a:t>
            </a: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0" i="0" u="none" strike="noStrike" kern="1200" cap="none" spc="0" normalizeH="0" baseline="0" noProof="0">
              <a:ln>
                <a:noFill/>
              </a:ln>
              <a:solidFill>
                <a:prstClr val="white"/>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r>
              <a:rPr kumimoji="0" lang="en-US" sz="2000" b="0" i="0" u="none" strike="noStrike" kern="1200" cap="none" spc="0" normalizeH="0" baseline="0" noProof="0">
                <a:ln>
                  <a:noFill/>
                </a:ln>
                <a:solidFill>
                  <a:prstClr val="white"/>
                </a:solidFill>
                <a:effectLst/>
                <a:uLnTx/>
                <a:uFillTx/>
                <a:latin typeface="Segoe UI Light"/>
                <a:ea typeface="+mn-ea"/>
                <a:cs typeface="Times New Roman" panose="02020603050405020304" pitchFamily="18" charset="0"/>
              </a:rPr>
              <a:t>Reports can be consumed in </a:t>
            </a:r>
            <a:r>
              <a:rPr kumimoji="0" lang="en-US" sz="2000" b="1" i="0" u="none" strike="noStrike" kern="1200" cap="none" spc="0" normalizeH="0" baseline="0" noProof="0">
                <a:ln>
                  <a:noFill/>
                </a:ln>
                <a:solidFill>
                  <a:prstClr val="white"/>
                </a:solidFill>
                <a:effectLst/>
                <a:uLnTx/>
                <a:uFillTx/>
                <a:latin typeface="Segoe UI Light"/>
                <a:ea typeface="+mn-ea"/>
                <a:cs typeface="Times New Roman" panose="02020603050405020304" pitchFamily="18" charset="0"/>
              </a:rPr>
              <a:t>Reading View</a:t>
            </a:r>
            <a:r>
              <a:rPr kumimoji="0" lang="en-US" sz="2000" b="0" i="0" u="none" strike="noStrike" kern="1200" cap="none" spc="0" normalizeH="0" baseline="0" noProof="0">
                <a:ln>
                  <a:noFill/>
                </a:ln>
                <a:solidFill>
                  <a:prstClr val="white"/>
                </a:solidFill>
                <a:effectLst/>
                <a:uLnTx/>
                <a:uFillTx/>
                <a:latin typeface="Segoe UI Light"/>
                <a:ea typeface="+mn-ea"/>
                <a:cs typeface="Times New Roman" panose="02020603050405020304" pitchFamily="18" charset="0"/>
              </a:rPr>
              <a:t> or </a:t>
            </a:r>
            <a:r>
              <a:rPr kumimoji="0" lang="en-US" sz="2000" b="1" i="0" u="none" strike="noStrike" kern="1200" cap="none" spc="0" normalizeH="0" baseline="0" noProof="0">
                <a:ln>
                  <a:noFill/>
                </a:ln>
                <a:solidFill>
                  <a:prstClr val="white"/>
                </a:solidFill>
                <a:effectLst/>
                <a:uLnTx/>
                <a:uFillTx/>
                <a:latin typeface="Segoe UI Light"/>
                <a:ea typeface="+mn-ea"/>
                <a:cs typeface="Times New Roman" panose="02020603050405020304" pitchFamily="18" charset="0"/>
              </a:rPr>
              <a:t>Editing View</a:t>
            </a:r>
            <a:endParaRPr kumimoji="0" lang="en-US" sz="2000" b="0" i="0" u="none" strike="noStrike" kern="1200" cap="none" spc="0" normalizeH="0" baseline="0" noProof="0">
              <a:ln>
                <a:noFill/>
              </a:ln>
              <a:solidFill>
                <a:prstClr val="white"/>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0" i="0" u="none" strike="noStrike" kern="1200" cap="none" spc="0" normalizeH="0" baseline="0" noProof="0">
              <a:ln>
                <a:noFill/>
              </a:ln>
              <a:solidFill>
                <a:prstClr val="white"/>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0" i="0" u="none" strike="noStrike" kern="1200" cap="none" spc="0" normalizeH="0" baseline="0" noProof="0">
              <a:ln>
                <a:noFill/>
              </a:ln>
              <a:solidFill>
                <a:prstClr val="white"/>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1" i="0" u="none" strike="noStrike" kern="1200" cap="none" spc="0" normalizeH="0" baseline="0" noProof="0">
              <a:ln>
                <a:noFill/>
              </a:ln>
              <a:solidFill>
                <a:prstClr val="white"/>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1" i="0" u="none" strike="noStrike" kern="1200" cap="none" spc="0" normalizeH="0" baseline="0" noProof="0">
              <a:ln>
                <a:noFill/>
              </a:ln>
              <a:solidFill>
                <a:prstClr val="white"/>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1" i="0" u="none" strike="noStrike" kern="1200" cap="none" spc="0" normalizeH="0" baseline="0" noProof="0">
              <a:ln>
                <a:noFill/>
              </a:ln>
              <a:solidFill>
                <a:prstClr val="white"/>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1" i="0" u="none" strike="noStrike" kern="1200" cap="none" spc="0" normalizeH="0" baseline="0" noProof="0">
              <a:ln>
                <a:noFill/>
              </a:ln>
              <a:solidFill>
                <a:prstClr val="white"/>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1" i="0" u="none" strike="noStrike" kern="1200" cap="none" spc="0" normalizeH="0" baseline="0" noProof="0">
              <a:ln>
                <a:noFill/>
              </a:ln>
              <a:solidFill>
                <a:prstClr val="white"/>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1" i="0" u="none" strike="noStrike" kern="1200" cap="none" spc="0" normalizeH="0" baseline="0" noProof="0">
              <a:ln>
                <a:noFill/>
              </a:ln>
              <a:solidFill>
                <a:prstClr val="white"/>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1" i="0" u="none" strike="noStrike" kern="1200" cap="none" spc="0" normalizeH="0" baseline="0" noProof="0">
              <a:ln>
                <a:noFill/>
              </a:ln>
              <a:solidFill>
                <a:prstClr val="white"/>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1"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p:txBody>
      </p:sp>
      <p:pic>
        <p:nvPicPr>
          <p:cNvPr id="2" name="Picture 1"/>
          <p:cNvPicPr>
            <a:picLocks noChangeAspect="1"/>
          </p:cNvPicPr>
          <p:nvPr/>
        </p:nvPicPr>
        <p:blipFill>
          <a:blip r:embed="rId3"/>
          <a:stretch>
            <a:fillRect/>
          </a:stretch>
        </p:blipFill>
        <p:spPr>
          <a:xfrm>
            <a:off x="3496881" y="2120189"/>
            <a:ext cx="3894140" cy="2166167"/>
          </a:xfrm>
          <a:prstGeom prst="rect">
            <a:avLst/>
          </a:prstGeom>
          <a:ln>
            <a:noFill/>
          </a:ln>
          <a:effectLst>
            <a:outerShdw blurRad="190500" algn="tl" rotWithShape="0">
              <a:srgbClr val="000000">
                <a:alpha val="70000"/>
              </a:srgbClr>
            </a:outerShdw>
          </a:effectLst>
        </p:spPr>
      </p:pic>
      <p:sp>
        <p:nvSpPr>
          <p:cNvPr id="42" name="Text Placeholder 2"/>
          <p:cNvSpPr txBox="1">
            <a:spLocks/>
          </p:cNvSpPr>
          <p:nvPr/>
        </p:nvSpPr>
        <p:spPr>
          <a:xfrm>
            <a:off x="2846171" y="1340643"/>
            <a:ext cx="9031090" cy="897374"/>
          </a:xfrm>
          <a:prstGeom prst="rect">
            <a:avLst/>
          </a:prstGeom>
        </p:spPr>
        <p:txBody>
          <a:bodyPr vert="horz" wrap="square" lIns="182880" tIns="146304" rIns="182880" bIns="146304" rtlCol="0">
            <a:noAutofit/>
          </a:bodyPr>
          <a:lstStyle>
            <a:lvl1pPr marL="182845" marR="0"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3921" kern="1200" spc="0" baseline="0">
                <a:gradFill>
                  <a:gsLst>
                    <a:gs pos="1250">
                      <a:schemeClr val="tx2"/>
                    </a:gs>
                    <a:gs pos="99000">
                      <a:schemeClr val="tx2"/>
                    </a:gs>
                  </a:gsLst>
                  <a:lin ang="5400000" scaled="0"/>
                </a:gradFill>
                <a:latin typeface="+mj-lt"/>
                <a:ea typeface="+mn-ea"/>
                <a:cs typeface="+mn-cs"/>
              </a:defRPr>
            </a:lvl1pPr>
            <a:lvl2pPr marL="365690" marR="0"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2400" kern="1200" spc="0" baseline="0">
                <a:solidFill>
                  <a:schemeClr val="tx2"/>
                </a:solidFill>
                <a:latin typeface="+mj-lt"/>
                <a:ea typeface="+mn-ea"/>
                <a:cs typeface="+mn-cs"/>
              </a:defRPr>
            </a:lvl2pPr>
            <a:lvl3pPr marL="548535" marR="0"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2000" kern="1200" spc="0" baseline="0">
                <a:solidFill>
                  <a:schemeClr val="tx2"/>
                </a:solidFill>
                <a:latin typeface="+mj-lt"/>
                <a:ea typeface="+mn-ea"/>
                <a:cs typeface="+mn-cs"/>
              </a:defRPr>
            </a:lvl3pPr>
            <a:lvl4pPr marL="733802" marR="0" indent="-28569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1765" kern="1200" spc="0" baseline="0">
                <a:solidFill>
                  <a:schemeClr val="tx2"/>
                </a:solidFill>
                <a:latin typeface="+mn-lt"/>
                <a:ea typeface="+mn-ea"/>
                <a:cs typeface="+mn-cs"/>
              </a:defRPr>
            </a:lvl4pPr>
            <a:lvl5pPr marL="957856" marR="0" indent="-28569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1765" kern="1200" spc="0" baseline="0">
                <a:solidFill>
                  <a:schemeClr val="tx2"/>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r>
              <a:rPr kumimoji="0" lang="en-US" sz="2000" b="1"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rPr>
              <a:t>Individual visualizations</a:t>
            </a:r>
            <a:r>
              <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rPr>
              <a:t> can be pinned to dashboards as </a:t>
            </a:r>
            <a:r>
              <a:rPr kumimoji="0" lang="en-US" sz="2000" b="1"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rPr>
              <a:t>tiles</a:t>
            </a:r>
            <a:endPar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1"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1"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p:txBody>
      </p:sp>
      <p:sp>
        <p:nvSpPr>
          <p:cNvPr id="43" name="Rectangle 42"/>
          <p:cNvSpPr/>
          <p:nvPr/>
        </p:nvSpPr>
        <p:spPr bwMode="auto">
          <a:xfrm>
            <a:off x="6459817" y="2178691"/>
            <a:ext cx="298789" cy="260542"/>
          </a:xfrm>
          <a:prstGeom prst="rect">
            <a:avLst/>
          </a:prstGeom>
          <a:noFill/>
          <a:ln w="38100">
            <a:solidFill>
              <a:srgbClr val="FF00F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3" name="Picture 2"/>
          <p:cNvPicPr>
            <a:picLocks noChangeAspect="1"/>
          </p:cNvPicPr>
          <p:nvPr/>
        </p:nvPicPr>
        <p:blipFill>
          <a:blip r:embed="rId4"/>
          <a:stretch>
            <a:fillRect/>
          </a:stretch>
        </p:blipFill>
        <p:spPr>
          <a:xfrm>
            <a:off x="4393742" y="3129622"/>
            <a:ext cx="5935948" cy="2836773"/>
          </a:xfrm>
          <a:prstGeom prst="rect">
            <a:avLst/>
          </a:prstGeom>
          <a:ln>
            <a:noFill/>
          </a:ln>
          <a:effectLst>
            <a:outerShdw blurRad="190500" algn="tl" rotWithShape="0">
              <a:srgbClr val="000000">
                <a:alpha val="70000"/>
              </a:srgbClr>
            </a:outerShdw>
          </a:effectLst>
        </p:spPr>
      </p:pic>
      <p:grpSp>
        <p:nvGrpSpPr>
          <p:cNvPr id="80" name="Group 79"/>
          <p:cNvGrpSpPr/>
          <p:nvPr/>
        </p:nvGrpSpPr>
        <p:grpSpPr>
          <a:xfrm>
            <a:off x="-2887" y="973"/>
            <a:ext cx="2849058" cy="6857027"/>
            <a:chOff x="2" y="487"/>
            <a:chExt cx="2849058" cy="6857027"/>
          </a:xfrm>
        </p:grpSpPr>
        <p:sp>
          <p:nvSpPr>
            <p:cNvPr id="81" name="Rectangle 15"/>
            <p:cNvSpPr/>
            <p:nvPr/>
          </p:nvSpPr>
          <p:spPr bwMode="auto">
            <a:xfrm>
              <a:off x="2" y="487"/>
              <a:ext cx="2849058" cy="685702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2" name="Rectangle 145"/>
            <p:cNvSpPr/>
            <p:nvPr/>
          </p:nvSpPr>
          <p:spPr bwMode="auto">
            <a:xfrm>
              <a:off x="696152" y="956997"/>
              <a:ext cx="1821468" cy="3831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2C812"/>
                  </a:solidFill>
                  <a:effectLst/>
                  <a:uLnTx/>
                  <a:uFillTx/>
                  <a:latin typeface="Segoe UI"/>
                  <a:ea typeface="+mn-ea"/>
                  <a:cs typeface="Segoe UI Light" panose="020B0502040204020203" pitchFamily="34" charset="0"/>
                </a:rPr>
                <a:t>Get Data</a:t>
              </a:r>
              <a:endParaRPr kumimoji="0" lang="en-US" sz="1200" b="1" i="1" u="none" strike="noStrike" kern="1200" cap="none" spc="0" normalizeH="0" baseline="0" noProof="0">
                <a:ln>
                  <a:noFill/>
                </a:ln>
                <a:solidFill>
                  <a:srgbClr val="F2C812"/>
                </a:solidFill>
                <a:effectLst/>
                <a:uLnTx/>
                <a:uFillTx/>
                <a:latin typeface="Segoe UI"/>
                <a:ea typeface="+mn-ea"/>
                <a:cs typeface="Segoe UI Light" panose="020B0502040204020203" pitchFamily="34" charset="0"/>
              </a:endParaRPr>
            </a:p>
          </p:txBody>
        </p:sp>
        <p:grpSp>
          <p:nvGrpSpPr>
            <p:cNvPr id="83" name="Group 82"/>
            <p:cNvGrpSpPr/>
            <p:nvPr/>
          </p:nvGrpSpPr>
          <p:grpSpPr>
            <a:xfrm>
              <a:off x="219373" y="934583"/>
              <a:ext cx="433844" cy="433844"/>
              <a:chOff x="440005" y="997815"/>
              <a:chExt cx="296322" cy="296322"/>
            </a:xfrm>
          </p:grpSpPr>
          <p:sp>
            <p:nvSpPr>
              <p:cNvPr id="102" name="Oval 147"/>
              <p:cNvSpPr/>
              <p:nvPr/>
            </p:nvSpPr>
            <p:spPr bwMode="auto">
              <a:xfrm>
                <a:off x="440005" y="997815"/>
                <a:ext cx="296322" cy="296322"/>
              </a:xfrm>
              <a:prstGeom prst="ellipse">
                <a:avLst/>
              </a:prstGeom>
              <a:solidFill>
                <a:srgbClr val="FFCC00"/>
              </a:solidFill>
              <a:ln>
                <a:solidFill>
                  <a:srgbClr val="F2C81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03" name="Group 332"/>
              <p:cNvGrpSpPr/>
              <p:nvPr/>
            </p:nvGrpSpPr>
            <p:grpSpPr>
              <a:xfrm>
                <a:off x="482167" y="1059311"/>
                <a:ext cx="211997" cy="173292"/>
                <a:chOff x="2123129" y="293070"/>
                <a:chExt cx="2472585" cy="2021178"/>
              </a:xfrm>
            </p:grpSpPr>
            <p:sp>
              <p:nvSpPr>
                <p:cNvPr id="104" name="Freeform 13"/>
                <p:cNvSpPr>
                  <a:spLocks/>
                </p:cNvSpPr>
                <p:nvPr/>
              </p:nvSpPr>
              <p:spPr bwMode="auto">
                <a:xfrm rot="20700000">
                  <a:off x="3155853" y="872796"/>
                  <a:ext cx="1439861" cy="1441452"/>
                </a:xfrm>
                <a:custGeom>
                  <a:avLst/>
                  <a:gdLst>
                    <a:gd name="T0" fmla="*/ 138 w 441"/>
                    <a:gd name="T1" fmla="*/ 341 h 441"/>
                    <a:gd name="T2" fmla="*/ 183 w 441"/>
                    <a:gd name="T3" fmla="*/ 374 h 441"/>
                    <a:gd name="T4" fmla="*/ 220 w 441"/>
                    <a:gd name="T5" fmla="*/ 423 h 441"/>
                    <a:gd name="T6" fmla="*/ 422 w 441"/>
                    <a:gd name="T7" fmla="*/ 220 h 441"/>
                    <a:gd name="T8" fmla="*/ 373 w 441"/>
                    <a:gd name="T9" fmla="*/ 184 h 441"/>
                    <a:gd name="T10" fmla="*/ 341 w 441"/>
                    <a:gd name="T11" fmla="*/ 139 h 441"/>
                    <a:gd name="T12" fmla="*/ 382 w 441"/>
                    <a:gd name="T13" fmla="*/ 58 h 441"/>
                    <a:gd name="T14" fmla="*/ 302 w 441"/>
                    <a:gd name="T15" fmla="*/ 100 h 441"/>
                    <a:gd name="T16" fmla="*/ 257 w 441"/>
                    <a:gd name="T17" fmla="*/ 67 h 441"/>
                    <a:gd name="T18" fmla="*/ 220 w 441"/>
                    <a:gd name="T19" fmla="*/ 18 h 441"/>
                    <a:gd name="T20" fmla="*/ 171 w 441"/>
                    <a:gd name="T21" fmla="*/ 55 h 441"/>
                    <a:gd name="T22" fmla="*/ 138 w 441"/>
                    <a:gd name="T23" fmla="*/ 100 h 441"/>
                    <a:gd name="T24" fmla="*/ 180 w 441"/>
                    <a:gd name="T25" fmla="*/ 181 h 441"/>
                    <a:gd name="T26" fmla="*/ 100 w 441"/>
                    <a:gd name="T27" fmla="*/ 139 h 441"/>
                    <a:gd name="T28" fmla="*/ 55 w 441"/>
                    <a:gd name="T29" fmla="*/ 171 h 441"/>
                    <a:gd name="T30" fmla="*/ 18 w 441"/>
                    <a:gd name="T31" fmla="*/ 220 h 441"/>
                    <a:gd name="T32" fmla="*/ 67 w 441"/>
                    <a:gd name="T33" fmla="*/ 257 h 441"/>
                    <a:gd name="T34" fmla="*/ 100 w 441"/>
                    <a:gd name="T35" fmla="*/ 302 h 441"/>
                    <a:gd name="T36" fmla="*/ 58 w 441"/>
                    <a:gd name="T37" fmla="*/ 383 h 441"/>
                    <a:gd name="T38" fmla="*/ 138 w 441"/>
                    <a:gd name="T39" fmla="*/ 341 h 4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41" h="441">
                      <a:moveTo>
                        <a:pt x="138" y="341"/>
                      </a:moveTo>
                      <a:cubicBezTo>
                        <a:pt x="147" y="337"/>
                        <a:pt x="171" y="361"/>
                        <a:pt x="183" y="374"/>
                      </a:cubicBezTo>
                      <a:cubicBezTo>
                        <a:pt x="196" y="386"/>
                        <a:pt x="220" y="423"/>
                        <a:pt x="220" y="423"/>
                      </a:cubicBezTo>
                      <a:cubicBezTo>
                        <a:pt x="422" y="220"/>
                        <a:pt x="422" y="220"/>
                        <a:pt x="422" y="220"/>
                      </a:cubicBezTo>
                      <a:cubicBezTo>
                        <a:pt x="422" y="220"/>
                        <a:pt x="386" y="196"/>
                        <a:pt x="373" y="184"/>
                      </a:cubicBezTo>
                      <a:cubicBezTo>
                        <a:pt x="361" y="171"/>
                        <a:pt x="338" y="149"/>
                        <a:pt x="341" y="139"/>
                      </a:cubicBezTo>
                      <a:cubicBezTo>
                        <a:pt x="343" y="129"/>
                        <a:pt x="441" y="116"/>
                        <a:pt x="382" y="58"/>
                      </a:cubicBezTo>
                      <a:cubicBezTo>
                        <a:pt x="324" y="0"/>
                        <a:pt x="310" y="96"/>
                        <a:pt x="302" y="100"/>
                      </a:cubicBezTo>
                      <a:cubicBezTo>
                        <a:pt x="294" y="104"/>
                        <a:pt x="269" y="80"/>
                        <a:pt x="257" y="67"/>
                      </a:cubicBezTo>
                      <a:cubicBezTo>
                        <a:pt x="245" y="55"/>
                        <a:pt x="220" y="18"/>
                        <a:pt x="220" y="18"/>
                      </a:cubicBezTo>
                      <a:cubicBezTo>
                        <a:pt x="220" y="18"/>
                        <a:pt x="183" y="43"/>
                        <a:pt x="171" y="55"/>
                      </a:cubicBezTo>
                      <a:cubicBezTo>
                        <a:pt x="159" y="67"/>
                        <a:pt x="134" y="92"/>
                        <a:pt x="138" y="100"/>
                      </a:cubicBezTo>
                      <a:cubicBezTo>
                        <a:pt x="142" y="108"/>
                        <a:pt x="238" y="122"/>
                        <a:pt x="180" y="181"/>
                      </a:cubicBezTo>
                      <a:cubicBezTo>
                        <a:pt x="122" y="239"/>
                        <a:pt x="110" y="141"/>
                        <a:pt x="100" y="139"/>
                      </a:cubicBezTo>
                      <a:cubicBezTo>
                        <a:pt x="89" y="137"/>
                        <a:pt x="67" y="159"/>
                        <a:pt x="55" y="171"/>
                      </a:cubicBezTo>
                      <a:cubicBezTo>
                        <a:pt x="42" y="184"/>
                        <a:pt x="18" y="220"/>
                        <a:pt x="18" y="220"/>
                      </a:cubicBezTo>
                      <a:cubicBezTo>
                        <a:pt x="18" y="220"/>
                        <a:pt x="55" y="245"/>
                        <a:pt x="67" y="257"/>
                      </a:cubicBezTo>
                      <a:cubicBezTo>
                        <a:pt x="79" y="269"/>
                        <a:pt x="102" y="292"/>
                        <a:pt x="100" y="302"/>
                      </a:cubicBezTo>
                      <a:cubicBezTo>
                        <a:pt x="98" y="312"/>
                        <a:pt x="0" y="325"/>
                        <a:pt x="58" y="383"/>
                      </a:cubicBezTo>
                      <a:cubicBezTo>
                        <a:pt x="116" y="441"/>
                        <a:pt x="130" y="345"/>
                        <a:pt x="138" y="341"/>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105" name="Freeform 14"/>
                <p:cNvSpPr>
                  <a:spLocks/>
                </p:cNvSpPr>
                <p:nvPr/>
              </p:nvSpPr>
              <p:spPr bwMode="auto">
                <a:xfrm rot="9900000">
                  <a:off x="2123129" y="293070"/>
                  <a:ext cx="1377948" cy="1377947"/>
                </a:xfrm>
                <a:custGeom>
                  <a:avLst/>
                  <a:gdLst>
                    <a:gd name="T0" fmla="*/ 422 w 422"/>
                    <a:gd name="T1" fmla="*/ 220 h 422"/>
                    <a:gd name="T2" fmla="*/ 386 w 422"/>
                    <a:gd name="T3" fmla="*/ 171 h 422"/>
                    <a:gd name="T4" fmla="*/ 341 w 422"/>
                    <a:gd name="T5" fmla="*/ 138 h 422"/>
                    <a:gd name="T6" fmla="*/ 260 w 422"/>
                    <a:gd name="T7" fmla="*/ 180 h 422"/>
                    <a:gd name="T8" fmla="*/ 302 w 422"/>
                    <a:gd name="T9" fmla="*/ 100 h 422"/>
                    <a:gd name="T10" fmla="*/ 269 w 422"/>
                    <a:gd name="T11" fmla="*/ 55 h 422"/>
                    <a:gd name="T12" fmla="*/ 220 w 422"/>
                    <a:gd name="T13" fmla="*/ 18 h 422"/>
                    <a:gd name="T14" fmla="*/ 183 w 422"/>
                    <a:gd name="T15" fmla="*/ 67 h 422"/>
                    <a:gd name="T16" fmla="*/ 138 w 422"/>
                    <a:gd name="T17" fmla="*/ 100 h 422"/>
                    <a:gd name="T18" fmla="*/ 58 w 422"/>
                    <a:gd name="T19" fmla="*/ 58 h 422"/>
                    <a:gd name="T20" fmla="*/ 100 w 422"/>
                    <a:gd name="T21" fmla="*/ 138 h 422"/>
                    <a:gd name="T22" fmla="*/ 67 w 422"/>
                    <a:gd name="T23" fmla="*/ 183 h 422"/>
                    <a:gd name="T24" fmla="*/ 18 w 422"/>
                    <a:gd name="T25" fmla="*/ 220 h 422"/>
                    <a:gd name="T26" fmla="*/ 55 w 422"/>
                    <a:gd name="T27" fmla="*/ 269 h 422"/>
                    <a:gd name="T28" fmla="*/ 100 w 422"/>
                    <a:gd name="T29" fmla="*/ 302 h 422"/>
                    <a:gd name="T30" fmla="*/ 180 w 422"/>
                    <a:gd name="T31" fmla="*/ 260 h 422"/>
                    <a:gd name="T32" fmla="*/ 138 w 422"/>
                    <a:gd name="T33" fmla="*/ 341 h 422"/>
                    <a:gd name="T34" fmla="*/ 171 w 422"/>
                    <a:gd name="T35" fmla="*/ 386 h 422"/>
                    <a:gd name="T36" fmla="*/ 220 w 422"/>
                    <a:gd name="T37" fmla="*/ 422 h 422"/>
                    <a:gd name="T38" fmla="*/ 422 w 422"/>
                    <a:gd name="T39" fmla="*/ 220 h 4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22" h="422">
                      <a:moveTo>
                        <a:pt x="422" y="220"/>
                      </a:moveTo>
                      <a:cubicBezTo>
                        <a:pt x="422" y="220"/>
                        <a:pt x="398" y="183"/>
                        <a:pt x="386" y="171"/>
                      </a:cubicBezTo>
                      <a:cubicBezTo>
                        <a:pt x="373" y="159"/>
                        <a:pt x="349" y="134"/>
                        <a:pt x="341" y="138"/>
                      </a:cubicBezTo>
                      <a:cubicBezTo>
                        <a:pt x="332" y="142"/>
                        <a:pt x="318" y="239"/>
                        <a:pt x="260" y="180"/>
                      </a:cubicBezTo>
                      <a:cubicBezTo>
                        <a:pt x="202" y="122"/>
                        <a:pt x="300" y="110"/>
                        <a:pt x="302" y="100"/>
                      </a:cubicBezTo>
                      <a:cubicBezTo>
                        <a:pt x="304" y="90"/>
                        <a:pt x="281" y="67"/>
                        <a:pt x="269" y="55"/>
                      </a:cubicBezTo>
                      <a:cubicBezTo>
                        <a:pt x="257" y="42"/>
                        <a:pt x="220" y="18"/>
                        <a:pt x="220" y="18"/>
                      </a:cubicBezTo>
                      <a:cubicBezTo>
                        <a:pt x="220" y="18"/>
                        <a:pt x="196" y="55"/>
                        <a:pt x="183" y="67"/>
                      </a:cubicBezTo>
                      <a:cubicBezTo>
                        <a:pt x="171" y="79"/>
                        <a:pt x="149" y="102"/>
                        <a:pt x="138" y="100"/>
                      </a:cubicBezTo>
                      <a:cubicBezTo>
                        <a:pt x="128" y="98"/>
                        <a:pt x="116" y="0"/>
                        <a:pt x="58" y="58"/>
                      </a:cubicBezTo>
                      <a:cubicBezTo>
                        <a:pt x="0" y="116"/>
                        <a:pt x="96" y="130"/>
                        <a:pt x="100" y="138"/>
                      </a:cubicBezTo>
                      <a:cubicBezTo>
                        <a:pt x="104" y="147"/>
                        <a:pt x="79" y="171"/>
                        <a:pt x="67" y="183"/>
                      </a:cubicBezTo>
                      <a:cubicBezTo>
                        <a:pt x="55" y="196"/>
                        <a:pt x="18" y="220"/>
                        <a:pt x="18" y="220"/>
                      </a:cubicBezTo>
                      <a:cubicBezTo>
                        <a:pt x="18" y="220"/>
                        <a:pt x="42" y="257"/>
                        <a:pt x="55" y="269"/>
                      </a:cubicBezTo>
                      <a:cubicBezTo>
                        <a:pt x="67" y="281"/>
                        <a:pt x="91" y="306"/>
                        <a:pt x="100" y="302"/>
                      </a:cubicBezTo>
                      <a:cubicBezTo>
                        <a:pt x="108" y="298"/>
                        <a:pt x="122" y="202"/>
                        <a:pt x="180" y="260"/>
                      </a:cubicBezTo>
                      <a:cubicBezTo>
                        <a:pt x="238" y="318"/>
                        <a:pt x="140" y="330"/>
                        <a:pt x="138" y="341"/>
                      </a:cubicBezTo>
                      <a:cubicBezTo>
                        <a:pt x="136" y="351"/>
                        <a:pt x="159" y="373"/>
                        <a:pt x="171" y="386"/>
                      </a:cubicBezTo>
                      <a:cubicBezTo>
                        <a:pt x="183" y="398"/>
                        <a:pt x="220" y="422"/>
                        <a:pt x="220" y="422"/>
                      </a:cubicBezTo>
                      <a:lnTo>
                        <a:pt x="422" y="22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grpSp>
        </p:grpSp>
        <p:sp>
          <p:nvSpPr>
            <p:cNvPr id="84" name="Rectangle 152"/>
            <p:cNvSpPr/>
            <p:nvPr/>
          </p:nvSpPr>
          <p:spPr bwMode="auto">
            <a:xfrm>
              <a:off x="669652" y="2738277"/>
              <a:ext cx="1805162" cy="37532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2C812"/>
                  </a:solidFill>
                  <a:effectLst/>
                  <a:uLnTx/>
                  <a:uFillTx/>
                  <a:latin typeface="Segoe UI"/>
                  <a:ea typeface="+mn-ea"/>
                  <a:cs typeface="Segoe UI Light" panose="020B0502040204020203" pitchFamily="34" charset="0"/>
                </a:rPr>
                <a:t>Keeping Data Current</a:t>
              </a:r>
            </a:p>
          </p:txBody>
        </p:sp>
        <p:grpSp>
          <p:nvGrpSpPr>
            <p:cNvPr id="85" name="Group 84"/>
            <p:cNvGrpSpPr/>
            <p:nvPr/>
          </p:nvGrpSpPr>
          <p:grpSpPr>
            <a:xfrm>
              <a:off x="199649" y="2692629"/>
              <a:ext cx="433844" cy="433844"/>
              <a:chOff x="342620" y="2228265"/>
              <a:chExt cx="433844" cy="433844"/>
            </a:xfrm>
            <a:solidFill>
              <a:schemeClr val="bg1"/>
            </a:solidFill>
          </p:grpSpPr>
          <p:sp>
            <p:nvSpPr>
              <p:cNvPr id="100" name="Oval 154"/>
              <p:cNvSpPr/>
              <p:nvPr/>
            </p:nvSpPr>
            <p:spPr bwMode="auto">
              <a:xfrm>
                <a:off x="342620" y="2228265"/>
                <a:ext cx="433844" cy="433844"/>
              </a:xfrm>
              <a:prstGeom prst="ellipse">
                <a:avLst/>
              </a:prstGeom>
              <a:solidFill>
                <a:srgbClr val="FFC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1" name="Freeform 30"/>
              <p:cNvSpPr>
                <a:spLocks noEditPoints="1"/>
              </p:cNvSpPr>
              <p:nvPr/>
            </p:nvSpPr>
            <p:spPr bwMode="auto">
              <a:xfrm>
                <a:off x="444786" y="2340040"/>
                <a:ext cx="238402" cy="210293"/>
              </a:xfrm>
              <a:custGeom>
                <a:avLst/>
                <a:gdLst>
                  <a:gd name="T0" fmla="*/ 883 w 916"/>
                  <a:gd name="T1" fmla="*/ 286 h 808"/>
                  <a:gd name="T2" fmla="*/ 539 w 916"/>
                  <a:gd name="T3" fmla="*/ 723 h 808"/>
                  <a:gd name="T4" fmla="*/ 504 w 916"/>
                  <a:gd name="T5" fmla="*/ 0 h 808"/>
                  <a:gd name="T6" fmla="*/ 35 w 916"/>
                  <a:gd name="T7" fmla="*/ 723 h 808"/>
                  <a:gd name="T8" fmla="*/ 0 w 916"/>
                  <a:gd name="T9" fmla="*/ 808 h 808"/>
                  <a:gd name="T10" fmla="*/ 916 w 916"/>
                  <a:gd name="T11" fmla="*/ 723 h 808"/>
                  <a:gd name="T12" fmla="*/ 229 w 916"/>
                  <a:gd name="T13" fmla="*/ 665 h 808"/>
                  <a:gd name="T14" fmla="*/ 109 w 916"/>
                  <a:gd name="T15" fmla="*/ 596 h 808"/>
                  <a:gd name="T16" fmla="*/ 229 w 916"/>
                  <a:gd name="T17" fmla="*/ 665 h 808"/>
                  <a:gd name="T18" fmla="*/ 109 w 916"/>
                  <a:gd name="T19" fmla="*/ 501 h 808"/>
                  <a:gd name="T20" fmla="*/ 229 w 916"/>
                  <a:gd name="T21" fmla="*/ 432 h 808"/>
                  <a:gd name="T22" fmla="*/ 229 w 916"/>
                  <a:gd name="T23" fmla="*/ 337 h 808"/>
                  <a:gd name="T24" fmla="*/ 109 w 916"/>
                  <a:gd name="T25" fmla="*/ 267 h 808"/>
                  <a:gd name="T26" fmla="*/ 229 w 916"/>
                  <a:gd name="T27" fmla="*/ 337 h 808"/>
                  <a:gd name="T28" fmla="*/ 109 w 916"/>
                  <a:gd name="T29" fmla="*/ 172 h 808"/>
                  <a:gd name="T30" fmla="*/ 229 w 916"/>
                  <a:gd name="T31" fmla="*/ 103 h 808"/>
                  <a:gd name="T32" fmla="*/ 428 w 916"/>
                  <a:gd name="T33" fmla="*/ 665 h 808"/>
                  <a:gd name="T34" fmla="*/ 307 w 916"/>
                  <a:gd name="T35" fmla="*/ 596 h 808"/>
                  <a:gd name="T36" fmla="*/ 428 w 916"/>
                  <a:gd name="T37" fmla="*/ 665 h 808"/>
                  <a:gd name="T38" fmla="*/ 307 w 916"/>
                  <a:gd name="T39" fmla="*/ 501 h 808"/>
                  <a:gd name="T40" fmla="*/ 428 w 916"/>
                  <a:gd name="T41" fmla="*/ 432 h 808"/>
                  <a:gd name="T42" fmla="*/ 428 w 916"/>
                  <a:gd name="T43" fmla="*/ 337 h 808"/>
                  <a:gd name="T44" fmla="*/ 307 w 916"/>
                  <a:gd name="T45" fmla="*/ 267 h 808"/>
                  <a:gd name="T46" fmla="*/ 428 w 916"/>
                  <a:gd name="T47" fmla="*/ 337 h 808"/>
                  <a:gd name="T48" fmla="*/ 307 w 916"/>
                  <a:gd name="T49" fmla="*/ 172 h 808"/>
                  <a:gd name="T50" fmla="*/ 428 w 916"/>
                  <a:gd name="T51" fmla="*/ 103 h 808"/>
                  <a:gd name="T52" fmla="*/ 684 w 916"/>
                  <a:gd name="T53" fmla="*/ 668 h 808"/>
                  <a:gd name="T54" fmla="*/ 606 w 916"/>
                  <a:gd name="T55" fmla="*/ 549 h 808"/>
                  <a:gd name="T56" fmla="*/ 684 w 916"/>
                  <a:gd name="T57" fmla="*/ 668 h 808"/>
                  <a:gd name="T58" fmla="*/ 606 w 916"/>
                  <a:gd name="T59" fmla="*/ 482 h 808"/>
                  <a:gd name="T60" fmla="*/ 684 w 916"/>
                  <a:gd name="T61" fmla="*/ 365 h 808"/>
                  <a:gd name="T62" fmla="*/ 816 w 916"/>
                  <a:gd name="T63" fmla="*/ 668 h 808"/>
                  <a:gd name="T64" fmla="*/ 738 w 916"/>
                  <a:gd name="T65" fmla="*/ 549 h 808"/>
                  <a:gd name="T66" fmla="*/ 816 w 916"/>
                  <a:gd name="T67" fmla="*/ 668 h 808"/>
                  <a:gd name="T68" fmla="*/ 738 w 916"/>
                  <a:gd name="T69" fmla="*/ 482 h 808"/>
                  <a:gd name="T70" fmla="*/ 816 w 916"/>
                  <a:gd name="T71" fmla="*/ 365 h 8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16" h="808">
                    <a:moveTo>
                      <a:pt x="883" y="723"/>
                    </a:moveTo>
                    <a:lnTo>
                      <a:pt x="883" y="286"/>
                    </a:lnTo>
                    <a:lnTo>
                      <a:pt x="539" y="286"/>
                    </a:lnTo>
                    <a:lnTo>
                      <a:pt x="539" y="723"/>
                    </a:lnTo>
                    <a:lnTo>
                      <a:pt x="504" y="723"/>
                    </a:lnTo>
                    <a:lnTo>
                      <a:pt x="504" y="0"/>
                    </a:lnTo>
                    <a:lnTo>
                      <a:pt x="35" y="0"/>
                    </a:lnTo>
                    <a:lnTo>
                      <a:pt x="35" y="723"/>
                    </a:lnTo>
                    <a:lnTo>
                      <a:pt x="0" y="723"/>
                    </a:lnTo>
                    <a:lnTo>
                      <a:pt x="0" y="808"/>
                    </a:lnTo>
                    <a:lnTo>
                      <a:pt x="916" y="808"/>
                    </a:lnTo>
                    <a:lnTo>
                      <a:pt x="916" y="723"/>
                    </a:lnTo>
                    <a:lnTo>
                      <a:pt x="883" y="723"/>
                    </a:lnTo>
                    <a:close/>
                    <a:moveTo>
                      <a:pt x="229" y="665"/>
                    </a:moveTo>
                    <a:lnTo>
                      <a:pt x="109" y="665"/>
                    </a:lnTo>
                    <a:lnTo>
                      <a:pt x="109" y="596"/>
                    </a:lnTo>
                    <a:lnTo>
                      <a:pt x="229" y="596"/>
                    </a:lnTo>
                    <a:lnTo>
                      <a:pt x="229" y="665"/>
                    </a:lnTo>
                    <a:close/>
                    <a:moveTo>
                      <a:pt x="229" y="501"/>
                    </a:moveTo>
                    <a:lnTo>
                      <a:pt x="109" y="501"/>
                    </a:lnTo>
                    <a:lnTo>
                      <a:pt x="109" y="432"/>
                    </a:lnTo>
                    <a:lnTo>
                      <a:pt x="229" y="432"/>
                    </a:lnTo>
                    <a:lnTo>
                      <a:pt x="229" y="501"/>
                    </a:lnTo>
                    <a:close/>
                    <a:moveTo>
                      <a:pt x="229" y="337"/>
                    </a:moveTo>
                    <a:lnTo>
                      <a:pt x="109" y="337"/>
                    </a:lnTo>
                    <a:lnTo>
                      <a:pt x="109" y="267"/>
                    </a:lnTo>
                    <a:lnTo>
                      <a:pt x="229" y="267"/>
                    </a:lnTo>
                    <a:lnTo>
                      <a:pt x="229" y="337"/>
                    </a:lnTo>
                    <a:close/>
                    <a:moveTo>
                      <a:pt x="229" y="172"/>
                    </a:moveTo>
                    <a:lnTo>
                      <a:pt x="109" y="172"/>
                    </a:lnTo>
                    <a:lnTo>
                      <a:pt x="109" y="103"/>
                    </a:lnTo>
                    <a:lnTo>
                      <a:pt x="229" y="103"/>
                    </a:lnTo>
                    <a:lnTo>
                      <a:pt x="229" y="172"/>
                    </a:lnTo>
                    <a:close/>
                    <a:moveTo>
                      <a:pt x="428" y="665"/>
                    </a:moveTo>
                    <a:lnTo>
                      <a:pt x="307" y="665"/>
                    </a:lnTo>
                    <a:lnTo>
                      <a:pt x="307" y="596"/>
                    </a:lnTo>
                    <a:lnTo>
                      <a:pt x="428" y="596"/>
                    </a:lnTo>
                    <a:lnTo>
                      <a:pt x="428" y="665"/>
                    </a:lnTo>
                    <a:close/>
                    <a:moveTo>
                      <a:pt x="428" y="501"/>
                    </a:moveTo>
                    <a:lnTo>
                      <a:pt x="307" y="501"/>
                    </a:lnTo>
                    <a:lnTo>
                      <a:pt x="307" y="432"/>
                    </a:lnTo>
                    <a:lnTo>
                      <a:pt x="428" y="432"/>
                    </a:lnTo>
                    <a:lnTo>
                      <a:pt x="428" y="501"/>
                    </a:lnTo>
                    <a:close/>
                    <a:moveTo>
                      <a:pt x="428" y="337"/>
                    </a:moveTo>
                    <a:lnTo>
                      <a:pt x="307" y="337"/>
                    </a:lnTo>
                    <a:lnTo>
                      <a:pt x="307" y="267"/>
                    </a:lnTo>
                    <a:lnTo>
                      <a:pt x="428" y="267"/>
                    </a:lnTo>
                    <a:lnTo>
                      <a:pt x="428" y="337"/>
                    </a:lnTo>
                    <a:close/>
                    <a:moveTo>
                      <a:pt x="428" y="172"/>
                    </a:moveTo>
                    <a:lnTo>
                      <a:pt x="307" y="172"/>
                    </a:lnTo>
                    <a:lnTo>
                      <a:pt x="307" y="103"/>
                    </a:lnTo>
                    <a:lnTo>
                      <a:pt x="428" y="103"/>
                    </a:lnTo>
                    <a:lnTo>
                      <a:pt x="428" y="172"/>
                    </a:lnTo>
                    <a:close/>
                    <a:moveTo>
                      <a:pt x="684" y="668"/>
                    </a:moveTo>
                    <a:lnTo>
                      <a:pt x="606" y="668"/>
                    </a:lnTo>
                    <a:lnTo>
                      <a:pt x="606" y="549"/>
                    </a:lnTo>
                    <a:lnTo>
                      <a:pt x="684" y="549"/>
                    </a:lnTo>
                    <a:lnTo>
                      <a:pt x="684" y="668"/>
                    </a:lnTo>
                    <a:close/>
                    <a:moveTo>
                      <a:pt x="684" y="482"/>
                    </a:moveTo>
                    <a:lnTo>
                      <a:pt x="606" y="482"/>
                    </a:lnTo>
                    <a:lnTo>
                      <a:pt x="606" y="365"/>
                    </a:lnTo>
                    <a:lnTo>
                      <a:pt x="684" y="365"/>
                    </a:lnTo>
                    <a:lnTo>
                      <a:pt x="684" y="482"/>
                    </a:lnTo>
                    <a:close/>
                    <a:moveTo>
                      <a:pt x="816" y="668"/>
                    </a:moveTo>
                    <a:lnTo>
                      <a:pt x="738" y="668"/>
                    </a:lnTo>
                    <a:lnTo>
                      <a:pt x="738" y="549"/>
                    </a:lnTo>
                    <a:lnTo>
                      <a:pt x="816" y="549"/>
                    </a:lnTo>
                    <a:lnTo>
                      <a:pt x="816" y="668"/>
                    </a:lnTo>
                    <a:close/>
                    <a:moveTo>
                      <a:pt x="816" y="482"/>
                    </a:moveTo>
                    <a:lnTo>
                      <a:pt x="738" y="482"/>
                    </a:lnTo>
                    <a:lnTo>
                      <a:pt x="738" y="365"/>
                    </a:lnTo>
                    <a:lnTo>
                      <a:pt x="816" y="365"/>
                    </a:lnTo>
                    <a:lnTo>
                      <a:pt x="816" y="482"/>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grpSp>
        <p:sp>
          <p:nvSpPr>
            <p:cNvPr id="86" name="TextBox 85"/>
            <p:cNvSpPr txBox="1"/>
            <p:nvPr/>
          </p:nvSpPr>
          <p:spPr>
            <a:xfrm>
              <a:off x="83345" y="113808"/>
              <a:ext cx="2532630" cy="627864"/>
            </a:xfrm>
            <a:prstGeom prst="rect">
              <a:avLst/>
            </a:prstGeom>
            <a:noFill/>
          </p:spPr>
          <p:txBody>
            <a:bodyPr wrap="square" lIns="182880" tIns="146304" rIns="182880" bIns="146304" rtlCol="0">
              <a:spAutoFit/>
            </a:bodyPr>
            <a:lstStyle>
              <a:defPPr>
                <a:defRPr lang="en-US"/>
              </a:defPPr>
              <a:lvl1pPr>
                <a:lnSpc>
                  <a:spcPct val="90000"/>
                </a:lnSpc>
                <a:spcAft>
                  <a:spcPts val="600"/>
                </a:spcAft>
                <a:defRPr sz="2800" b="1">
                  <a:solidFill>
                    <a:srgbClr val="F2C812"/>
                  </a:solidFill>
                  <a:latin typeface="Segoe UI Light"/>
                </a:defRPr>
              </a:lvl1p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400" b="1" i="0" u="none" strike="noStrike" kern="1200" cap="none" spc="0" normalizeH="0" baseline="0" noProof="0">
                  <a:ln>
                    <a:noFill/>
                  </a:ln>
                  <a:solidFill>
                    <a:srgbClr val="F2C812"/>
                  </a:solidFill>
                  <a:effectLst/>
                  <a:uLnTx/>
                  <a:uFillTx/>
                  <a:latin typeface="Segoe UI Light"/>
                  <a:ea typeface="+mn-ea"/>
                  <a:cs typeface="+mn-cs"/>
                </a:rPr>
                <a:t>Power BI Service</a:t>
              </a:r>
              <a:endParaRPr kumimoji="0" lang="en-US" sz="2800" b="1" i="0" u="none" strike="noStrike" kern="1200" cap="none" spc="0" normalizeH="0" baseline="0" noProof="0">
                <a:ln>
                  <a:noFill/>
                </a:ln>
                <a:solidFill>
                  <a:srgbClr val="F2C812"/>
                </a:solidFill>
                <a:effectLst/>
                <a:uLnTx/>
                <a:uFillTx/>
                <a:latin typeface="Segoe UI Light"/>
                <a:ea typeface="+mn-ea"/>
                <a:cs typeface="+mn-cs"/>
              </a:endParaRPr>
            </a:p>
          </p:txBody>
        </p:sp>
        <p:grpSp>
          <p:nvGrpSpPr>
            <p:cNvPr id="87" name="Group 86"/>
            <p:cNvGrpSpPr/>
            <p:nvPr/>
          </p:nvGrpSpPr>
          <p:grpSpPr>
            <a:xfrm>
              <a:off x="219373" y="3621383"/>
              <a:ext cx="433844" cy="645668"/>
              <a:chOff x="280990" y="3358164"/>
              <a:chExt cx="433844" cy="645668"/>
            </a:xfrm>
          </p:grpSpPr>
          <p:sp>
            <p:nvSpPr>
              <p:cNvPr id="93" name="Oval 1083"/>
              <p:cNvSpPr/>
              <p:nvPr/>
            </p:nvSpPr>
            <p:spPr bwMode="auto">
              <a:xfrm>
                <a:off x="280990" y="3358164"/>
                <a:ext cx="433844" cy="433847"/>
              </a:xfrm>
              <a:prstGeom prst="ellipse">
                <a:avLst/>
              </a:prstGeom>
              <a:solidFill>
                <a:srgbClr val="F2C812"/>
              </a:solidFill>
              <a:ln>
                <a:solidFill>
                  <a:srgbClr val="FFCC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94" name="Group 379"/>
              <p:cNvGrpSpPr/>
              <p:nvPr/>
            </p:nvGrpSpPr>
            <p:grpSpPr>
              <a:xfrm>
                <a:off x="453702" y="3910852"/>
                <a:ext cx="175660" cy="92980"/>
                <a:chOff x="3895793" y="7466656"/>
                <a:chExt cx="785810" cy="415941"/>
              </a:xfrm>
              <a:solidFill>
                <a:srgbClr val="00BCF2"/>
              </a:solidFill>
            </p:grpSpPr>
            <p:sp>
              <p:nvSpPr>
                <p:cNvPr id="95" name="Freeform 132"/>
                <p:cNvSpPr>
                  <a:spLocks/>
                </p:cNvSpPr>
                <p:nvPr/>
              </p:nvSpPr>
              <p:spPr bwMode="auto">
                <a:xfrm>
                  <a:off x="4125979" y="7688918"/>
                  <a:ext cx="0" cy="6353"/>
                </a:xfrm>
                <a:custGeom>
                  <a:avLst/>
                  <a:gdLst>
                    <a:gd name="T0" fmla="*/ 1 w 1"/>
                    <a:gd name="T1" fmla="*/ 0 h 8"/>
                    <a:gd name="T2" fmla="*/ 0 w 1"/>
                    <a:gd name="T3" fmla="*/ 0 h 8"/>
                    <a:gd name="T4" fmla="*/ 1 w 1"/>
                    <a:gd name="T5" fmla="*/ 8 h 8"/>
                    <a:gd name="T6" fmla="*/ 1 w 1"/>
                    <a:gd name="T7" fmla="*/ 0 h 8"/>
                  </a:gdLst>
                  <a:ahLst/>
                  <a:cxnLst>
                    <a:cxn ang="0">
                      <a:pos x="T0" y="T1"/>
                    </a:cxn>
                    <a:cxn ang="0">
                      <a:pos x="T2" y="T3"/>
                    </a:cxn>
                    <a:cxn ang="0">
                      <a:pos x="T4" y="T5"/>
                    </a:cxn>
                    <a:cxn ang="0">
                      <a:pos x="T6" y="T7"/>
                    </a:cxn>
                  </a:cxnLst>
                  <a:rect l="0" t="0" r="r" b="b"/>
                  <a:pathLst>
                    <a:path w="1" h="8">
                      <a:moveTo>
                        <a:pt x="1" y="0"/>
                      </a:moveTo>
                      <a:cubicBezTo>
                        <a:pt x="0" y="0"/>
                        <a:pt x="0" y="0"/>
                        <a:pt x="0" y="0"/>
                      </a:cubicBezTo>
                      <a:cubicBezTo>
                        <a:pt x="0" y="3"/>
                        <a:pt x="1" y="5"/>
                        <a:pt x="1" y="8"/>
                      </a:cubicBezTo>
                      <a:lnTo>
                        <a:pt x="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96" name="Freeform 133"/>
                <p:cNvSpPr>
                  <a:spLocks/>
                </p:cNvSpPr>
                <p:nvPr/>
              </p:nvSpPr>
              <p:spPr bwMode="auto">
                <a:xfrm>
                  <a:off x="3895793" y="7812745"/>
                  <a:ext cx="219078" cy="69852"/>
                </a:xfrm>
                <a:custGeom>
                  <a:avLst/>
                  <a:gdLst>
                    <a:gd name="T0" fmla="*/ 186 w 238"/>
                    <a:gd name="T1" fmla="*/ 9 h 76"/>
                    <a:gd name="T2" fmla="*/ 131 w 238"/>
                    <a:gd name="T3" fmla="*/ 22 h 76"/>
                    <a:gd name="T4" fmla="*/ 60 w 238"/>
                    <a:gd name="T5" fmla="*/ 0 h 76"/>
                    <a:gd name="T6" fmla="*/ 0 w 238"/>
                    <a:gd name="T7" fmla="*/ 42 h 76"/>
                    <a:gd name="T8" fmla="*/ 0 w 238"/>
                    <a:gd name="T9" fmla="*/ 76 h 76"/>
                    <a:gd name="T10" fmla="*/ 238 w 238"/>
                    <a:gd name="T11" fmla="*/ 76 h 76"/>
                    <a:gd name="T12" fmla="*/ 236 w 238"/>
                    <a:gd name="T13" fmla="*/ 53 h 76"/>
                    <a:gd name="T14" fmla="*/ 236 w 238"/>
                    <a:gd name="T15" fmla="*/ 49 h 76"/>
                    <a:gd name="T16" fmla="*/ 186 w 238"/>
                    <a:gd name="T17" fmla="*/ 9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8" h="76">
                      <a:moveTo>
                        <a:pt x="186" y="9"/>
                      </a:moveTo>
                      <a:cubicBezTo>
                        <a:pt x="169" y="18"/>
                        <a:pt x="150" y="22"/>
                        <a:pt x="131" y="22"/>
                      </a:cubicBezTo>
                      <a:cubicBezTo>
                        <a:pt x="105" y="22"/>
                        <a:pt x="80" y="14"/>
                        <a:pt x="60" y="0"/>
                      </a:cubicBezTo>
                      <a:cubicBezTo>
                        <a:pt x="0" y="42"/>
                        <a:pt x="0" y="42"/>
                        <a:pt x="0" y="42"/>
                      </a:cubicBezTo>
                      <a:cubicBezTo>
                        <a:pt x="0" y="76"/>
                        <a:pt x="0" y="76"/>
                        <a:pt x="0" y="76"/>
                      </a:cubicBezTo>
                      <a:cubicBezTo>
                        <a:pt x="238" y="76"/>
                        <a:pt x="238" y="76"/>
                        <a:pt x="238" y="76"/>
                      </a:cubicBezTo>
                      <a:cubicBezTo>
                        <a:pt x="237" y="68"/>
                        <a:pt x="236" y="61"/>
                        <a:pt x="236" y="53"/>
                      </a:cubicBezTo>
                      <a:cubicBezTo>
                        <a:pt x="236" y="51"/>
                        <a:pt x="236" y="50"/>
                        <a:pt x="236" y="49"/>
                      </a:cubicBezTo>
                      <a:lnTo>
                        <a:pt x="186" y="9"/>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97" name="Freeform 137"/>
                <p:cNvSpPr>
                  <a:spLocks/>
                </p:cNvSpPr>
                <p:nvPr/>
              </p:nvSpPr>
              <p:spPr bwMode="auto">
                <a:xfrm>
                  <a:off x="4338704" y="7809561"/>
                  <a:ext cx="65090" cy="73028"/>
                </a:xfrm>
                <a:custGeom>
                  <a:avLst/>
                  <a:gdLst>
                    <a:gd name="T0" fmla="*/ 71 w 71"/>
                    <a:gd name="T1" fmla="*/ 79 h 79"/>
                    <a:gd name="T2" fmla="*/ 71 w 71"/>
                    <a:gd name="T3" fmla="*/ 0 h 79"/>
                    <a:gd name="T4" fmla="*/ 2 w 71"/>
                    <a:gd name="T5" fmla="*/ 53 h 79"/>
                    <a:gd name="T6" fmla="*/ 2 w 71"/>
                    <a:gd name="T7" fmla="*/ 56 h 79"/>
                    <a:gd name="T8" fmla="*/ 0 w 71"/>
                    <a:gd name="T9" fmla="*/ 79 h 79"/>
                    <a:gd name="T10" fmla="*/ 71 w 71"/>
                    <a:gd name="T11" fmla="*/ 79 h 79"/>
                  </a:gdLst>
                  <a:ahLst/>
                  <a:cxnLst>
                    <a:cxn ang="0">
                      <a:pos x="T0" y="T1"/>
                    </a:cxn>
                    <a:cxn ang="0">
                      <a:pos x="T2" y="T3"/>
                    </a:cxn>
                    <a:cxn ang="0">
                      <a:pos x="T4" y="T5"/>
                    </a:cxn>
                    <a:cxn ang="0">
                      <a:pos x="T6" y="T7"/>
                    </a:cxn>
                    <a:cxn ang="0">
                      <a:pos x="T8" y="T9"/>
                    </a:cxn>
                    <a:cxn ang="0">
                      <a:pos x="T10" y="T11"/>
                    </a:cxn>
                  </a:cxnLst>
                  <a:rect l="0" t="0" r="r" b="b"/>
                  <a:pathLst>
                    <a:path w="71" h="79">
                      <a:moveTo>
                        <a:pt x="71" y="79"/>
                      </a:moveTo>
                      <a:cubicBezTo>
                        <a:pt x="71" y="0"/>
                        <a:pt x="71" y="0"/>
                        <a:pt x="71" y="0"/>
                      </a:cubicBezTo>
                      <a:cubicBezTo>
                        <a:pt x="2" y="53"/>
                        <a:pt x="2" y="53"/>
                        <a:pt x="2" y="53"/>
                      </a:cubicBezTo>
                      <a:cubicBezTo>
                        <a:pt x="2" y="54"/>
                        <a:pt x="2" y="55"/>
                        <a:pt x="2" y="56"/>
                      </a:cubicBezTo>
                      <a:cubicBezTo>
                        <a:pt x="2" y="64"/>
                        <a:pt x="1" y="71"/>
                        <a:pt x="0" y="79"/>
                      </a:cubicBezTo>
                      <a:lnTo>
                        <a:pt x="71" y="79"/>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98" name="Freeform 140"/>
                <p:cNvSpPr>
                  <a:spLocks/>
                </p:cNvSpPr>
                <p:nvPr/>
              </p:nvSpPr>
              <p:spPr bwMode="auto">
                <a:xfrm>
                  <a:off x="4600643" y="7622229"/>
                  <a:ext cx="80960" cy="38099"/>
                </a:xfrm>
                <a:custGeom>
                  <a:avLst/>
                  <a:gdLst>
                    <a:gd name="T0" fmla="*/ 0 w 51"/>
                    <a:gd name="T1" fmla="*/ 24 h 24"/>
                    <a:gd name="T2" fmla="*/ 51 w 51"/>
                    <a:gd name="T3" fmla="*/ 24 h 24"/>
                    <a:gd name="T4" fmla="*/ 32 w 51"/>
                    <a:gd name="T5" fmla="*/ 0 h 24"/>
                    <a:gd name="T6" fmla="*/ 0 w 51"/>
                    <a:gd name="T7" fmla="*/ 24 h 24"/>
                  </a:gdLst>
                  <a:ahLst/>
                  <a:cxnLst>
                    <a:cxn ang="0">
                      <a:pos x="T0" y="T1"/>
                    </a:cxn>
                    <a:cxn ang="0">
                      <a:pos x="T2" y="T3"/>
                    </a:cxn>
                    <a:cxn ang="0">
                      <a:pos x="T4" y="T5"/>
                    </a:cxn>
                    <a:cxn ang="0">
                      <a:pos x="T6" y="T7"/>
                    </a:cxn>
                  </a:cxnLst>
                  <a:rect l="0" t="0" r="r" b="b"/>
                  <a:pathLst>
                    <a:path w="51" h="24">
                      <a:moveTo>
                        <a:pt x="0" y="24"/>
                      </a:moveTo>
                      <a:lnTo>
                        <a:pt x="51" y="24"/>
                      </a:lnTo>
                      <a:lnTo>
                        <a:pt x="32" y="0"/>
                      </a:lnTo>
                      <a:lnTo>
                        <a:pt x="0" y="24"/>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99" name="Freeform 141"/>
                <p:cNvSpPr>
                  <a:spLocks/>
                </p:cNvSpPr>
                <p:nvPr/>
              </p:nvSpPr>
              <p:spPr bwMode="auto">
                <a:xfrm>
                  <a:off x="4449825" y="7466656"/>
                  <a:ext cx="119065" cy="139703"/>
                </a:xfrm>
                <a:custGeom>
                  <a:avLst/>
                  <a:gdLst>
                    <a:gd name="T0" fmla="*/ 52 w 75"/>
                    <a:gd name="T1" fmla="*/ 0 h 88"/>
                    <a:gd name="T2" fmla="*/ 0 w 75"/>
                    <a:gd name="T3" fmla="*/ 0 h 88"/>
                    <a:gd name="T4" fmla="*/ 0 w 75"/>
                    <a:gd name="T5" fmla="*/ 88 h 88"/>
                    <a:gd name="T6" fmla="*/ 75 w 75"/>
                    <a:gd name="T7" fmla="*/ 30 h 88"/>
                    <a:gd name="T8" fmla="*/ 52 w 75"/>
                    <a:gd name="T9" fmla="*/ 0 h 88"/>
                  </a:gdLst>
                  <a:ahLst/>
                  <a:cxnLst>
                    <a:cxn ang="0">
                      <a:pos x="T0" y="T1"/>
                    </a:cxn>
                    <a:cxn ang="0">
                      <a:pos x="T2" y="T3"/>
                    </a:cxn>
                    <a:cxn ang="0">
                      <a:pos x="T4" y="T5"/>
                    </a:cxn>
                    <a:cxn ang="0">
                      <a:pos x="T6" y="T7"/>
                    </a:cxn>
                    <a:cxn ang="0">
                      <a:pos x="T8" y="T9"/>
                    </a:cxn>
                  </a:cxnLst>
                  <a:rect l="0" t="0" r="r" b="b"/>
                  <a:pathLst>
                    <a:path w="75" h="88">
                      <a:moveTo>
                        <a:pt x="52" y="0"/>
                      </a:moveTo>
                      <a:lnTo>
                        <a:pt x="0" y="0"/>
                      </a:lnTo>
                      <a:lnTo>
                        <a:pt x="0" y="88"/>
                      </a:lnTo>
                      <a:lnTo>
                        <a:pt x="75" y="30"/>
                      </a:lnTo>
                      <a:lnTo>
                        <a:pt x="52"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grpSp>
        </p:grpSp>
        <p:sp>
          <p:nvSpPr>
            <p:cNvPr id="88" name="Rectangle 152"/>
            <p:cNvSpPr/>
            <p:nvPr/>
          </p:nvSpPr>
          <p:spPr bwMode="auto">
            <a:xfrm>
              <a:off x="712458" y="3628917"/>
              <a:ext cx="1805162" cy="37532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2C812"/>
                  </a:solidFill>
                  <a:effectLst/>
                  <a:uLnTx/>
                  <a:uFillTx/>
                  <a:latin typeface="Segoe UI"/>
                  <a:ea typeface="+mn-ea"/>
                  <a:cs typeface="Segoe UI Light" panose="020B0502040204020203" pitchFamily="34" charset="0"/>
                </a:rPr>
                <a:t>Q&amp;A and </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2C812"/>
                  </a:solidFill>
                  <a:effectLst/>
                  <a:uLnTx/>
                  <a:uFillTx/>
                  <a:latin typeface="Segoe UI"/>
                  <a:ea typeface="+mn-ea"/>
                  <a:cs typeface="Segoe UI Light" panose="020B0502040204020203" pitchFamily="34" charset="0"/>
                </a:rPr>
                <a:t>Quick Insights</a:t>
              </a:r>
              <a:endParaRPr kumimoji="0" lang="en-US" sz="1200" b="1" i="0" u="none" strike="noStrike" kern="1200" cap="none" spc="0" normalizeH="0" baseline="0" noProof="0">
                <a:ln>
                  <a:noFill/>
                </a:ln>
                <a:solidFill>
                  <a:srgbClr val="F2C812"/>
                </a:solidFill>
                <a:effectLst/>
                <a:uLnTx/>
                <a:uFillTx/>
                <a:latin typeface="Segoe UI"/>
                <a:ea typeface="+mn-ea"/>
                <a:cs typeface="Segoe UI Light" panose="020B0502040204020203" pitchFamily="34" charset="0"/>
              </a:endParaRPr>
            </a:p>
          </p:txBody>
        </p:sp>
        <p:sp>
          <p:nvSpPr>
            <p:cNvPr id="89" name="Oval 162"/>
            <p:cNvSpPr/>
            <p:nvPr/>
          </p:nvSpPr>
          <p:spPr bwMode="auto">
            <a:xfrm>
              <a:off x="226619" y="4551712"/>
              <a:ext cx="433844" cy="433844"/>
            </a:xfrm>
            <a:prstGeom prst="ellipse">
              <a:avLst/>
            </a:prstGeom>
            <a:solidFill>
              <a:srgbClr val="F2C812"/>
            </a:solidFill>
            <a:ln>
              <a:solidFill>
                <a:srgbClr val="FFCC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0" name="Rectangle 152"/>
            <p:cNvSpPr/>
            <p:nvPr/>
          </p:nvSpPr>
          <p:spPr bwMode="auto">
            <a:xfrm>
              <a:off x="738443" y="4596194"/>
              <a:ext cx="1884825" cy="30233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2C812"/>
                  </a:solidFill>
                  <a:effectLst/>
                  <a:uLnTx/>
                  <a:uFillTx/>
                  <a:latin typeface="Segoe UI"/>
                  <a:ea typeface="+mn-ea"/>
                  <a:cs typeface="Segoe UI Light" panose="020B0502040204020203" pitchFamily="34" charset="0"/>
                </a:rPr>
                <a:t>Sharing</a:t>
              </a:r>
              <a:endParaRPr kumimoji="0" lang="en-US" sz="1200" b="1" i="1" u="none" strike="noStrike" kern="1200" cap="none" spc="0" normalizeH="0" baseline="0" noProof="0">
                <a:ln>
                  <a:noFill/>
                </a:ln>
                <a:solidFill>
                  <a:srgbClr val="F2C812"/>
                </a:solidFill>
                <a:effectLst/>
                <a:uLnTx/>
                <a:uFillTx/>
                <a:latin typeface="Segoe UI"/>
                <a:ea typeface="+mn-ea"/>
                <a:cs typeface="Segoe UI Light" panose="020B0502040204020203" pitchFamily="34" charset="0"/>
              </a:endParaRPr>
            </a:p>
          </p:txBody>
        </p:sp>
        <p:sp>
          <p:nvSpPr>
            <p:cNvPr id="91" name="Rectangle 145"/>
            <p:cNvSpPr/>
            <p:nvPr/>
          </p:nvSpPr>
          <p:spPr bwMode="auto">
            <a:xfrm>
              <a:off x="697198" y="1847637"/>
              <a:ext cx="1821468" cy="3831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2C812"/>
                  </a:solidFill>
                  <a:effectLst/>
                  <a:uLnTx/>
                  <a:uFillTx/>
                  <a:latin typeface="Segoe UI"/>
                  <a:ea typeface="+mn-ea"/>
                  <a:cs typeface="Segoe UI Light" panose="020B0502040204020203" pitchFamily="34" charset="0"/>
                </a:rPr>
                <a:t>Pinning and Navigation</a:t>
              </a:r>
            </a:p>
          </p:txBody>
        </p:sp>
        <p:sp>
          <p:nvSpPr>
            <p:cNvPr id="92" name="Oval 162"/>
            <p:cNvSpPr/>
            <p:nvPr/>
          </p:nvSpPr>
          <p:spPr bwMode="auto">
            <a:xfrm>
              <a:off x="224136" y="1813606"/>
              <a:ext cx="433844" cy="433844"/>
            </a:xfrm>
            <a:prstGeom prst="ellipse">
              <a:avLst/>
            </a:prstGeom>
            <a:solidFill>
              <a:srgbClr val="FFCC00"/>
            </a:solidFill>
            <a:ln>
              <a:solidFill>
                <a:srgbClr val="F2C81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pic>
        <p:nvPicPr>
          <p:cNvPr id="106" name="Picture 105"/>
          <p:cNvPicPr>
            <a:picLocks noChangeAspect="1"/>
          </p:cNvPicPr>
          <p:nvPr/>
        </p:nvPicPr>
        <p:blipFill rotWithShape="1">
          <a:blip r:embed="rId5"/>
          <a:srcRect l="6503" t="21287" r="74698" b="20220"/>
          <a:stretch/>
        </p:blipFill>
        <p:spPr>
          <a:xfrm>
            <a:off x="339111" y="1946110"/>
            <a:ext cx="228600" cy="231962"/>
          </a:xfrm>
          <a:prstGeom prst="rect">
            <a:avLst/>
          </a:prstGeom>
        </p:spPr>
      </p:pic>
      <p:pic>
        <p:nvPicPr>
          <p:cNvPr id="107" name="Picture 106"/>
          <p:cNvPicPr>
            <a:picLocks noChangeAspect="1"/>
          </p:cNvPicPr>
          <p:nvPr/>
        </p:nvPicPr>
        <p:blipFill>
          <a:blip r:embed="rId6"/>
          <a:stretch>
            <a:fillRect/>
          </a:stretch>
        </p:blipFill>
        <p:spPr>
          <a:xfrm>
            <a:off x="284769" y="3673076"/>
            <a:ext cx="311766" cy="303106"/>
          </a:xfrm>
          <a:prstGeom prst="rect">
            <a:avLst/>
          </a:prstGeom>
        </p:spPr>
      </p:pic>
      <p:sp>
        <p:nvSpPr>
          <p:cNvPr id="108" name="Rectangle 145"/>
          <p:cNvSpPr/>
          <p:nvPr/>
        </p:nvSpPr>
        <p:spPr bwMode="auto">
          <a:xfrm>
            <a:off x="718897" y="5436715"/>
            <a:ext cx="1821468" cy="3831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2C812"/>
                </a:solidFill>
                <a:effectLst/>
                <a:uLnTx/>
                <a:uFillTx/>
                <a:latin typeface="Segoe UI"/>
                <a:ea typeface="+mn-ea"/>
                <a:cs typeface="Segoe UI Light" panose="020B0502040204020203" pitchFamily="34" charset="0"/>
              </a:rPr>
              <a:t>Connect from Excel</a:t>
            </a:r>
          </a:p>
        </p:txBody>
      </p:sp>
      <p:sp>
        <p:nvSpPr>
          <p:cNvPr id="109" name="Oval 162"/>
          <p:cNvSpPr/>
          <p:nvPr/>
        </p:nvSpPr>
        <p:spPr bwMode="auto">
          <a:xfrm>
            <a:off x="231441" y="5429649"/>
            <a:ext cx="433844" cy="433844"/>
          </a:xfrm>
          <a:prstGeom prst="ellipse">
            <a:avLst/>
          </a:prstGeom>
          <a:solidFill>
            <a:srgbClr val="FFCC00"/>
          </a:solidFill>
          <a:ln>
            <a:solidFill>
              <a:srgbClr val="F2C81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10" name="Picture 109"/>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flipH="1">
            <a:off x="283763" y="4596680"/>
            <a:ext cx="357484" cy="357484"/>
          </a:xfrm>
          <a:prstGeom prst="rect">
            <a:avLst/>
          </a:prstGeom>
        </p:spPr>
      </p:pic>
      <p:sp>
        <p:nvSpPr>
          <p:cNvPr id="111" name="Oval 162"/>
          <p:cNvSpPr/>
          <p:nvPr/>
        </p:nvSpPr>
        <p:spPr bwMode="auto">
          <a:xfrm>
            <a:off x="233032" y="6267344"/>
            <a:ext cx="433844" cy="433844"/>
          </a:xfrm>
          <a:prstGeom prst="ellipse">
            <a:avLst/>
          </a:prstGeom>
          <a:solidFill>
            <a:srgbClr val="FFCC00"/>
          </a:solidFill>
          <a:ln>
            <a:solidFill>
              <a:srgbClr val="F2C81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2" name="Rectangle 145"/>
          <p:cNvSpPr/>
          <p:nvPr/>
        </p:nvSpPr>
        <p:spPr bwMode="auto">
          <a:xfrm>
            <a:off x="701416" y="6289969"/>
            <a:ext cx="1821468" cy="3831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2C812"/>
                </a:solidFill>
                <a:effectLst/>
                <a:uLnTx/>
                <a:uFillTx/>
                <a:latin typeface="Segoe UI"/>
                <a:ea typeface="+mn-ea"/>
                <a:cs typeface="Segoe UI Light" panose="020B0502040204020203" pitchFamily="34" charset="0"/>
              </a:rPr>
              <a:t>Mobile Reports</a:t>
            </a:r>
          </a:p>
        </p:txBody>
      </p:sp>
      <p:pic>
        <p:nvPicPr>
          <p:cNvPr id="113" name="Picture 112"/>
          <p:cNvPicPr>
            <a:picLocks noChangeAspect="1"/>
          </p:cNvPicPr>
          <p:nvPr/>
        </p:nvPicPr>
        <p:blipFill>
          <a:blip r:embed="rId8" cstate="print">
            <a:extLst>
              <a:ext uri="{BEBA8EAE-BF5A-486C-A8C5-ECC9F3942E4B}">
                <a14:imgProps xmlns:a14="http://schemas.microsoft.com/office/drawing/2010/main">
                  <a14:imgLayer r:embed="rId9">
                    <a14:imgEffect>
                      <a14:saturation sat="0"/>
                    </a14:imgEffect>
                  </a14:imgLayer>
                </a14:imgProps>
              </a:ext>
              <a:ext uri="{28A0092B-C50C-407E-A947-70E740481C1C}">
                <a14:useLocalDpi xmlns:a14="http://schemas.microsoft.com/office/drawing/2010/main" val="0"/>
              </a:ext>
            </a:extLst>
          </a:blip>
          <a:stretch>
            <a:fillRect/>
          </a:stretch>
        </p:blipFill>
        <p:spPr>
          <a:xfrm>
            <a:off x="391946" y="6350039"/>
            <a:ext cx="133350" cy="251587"/>
          </a:xfrm>
          <a:prstGeom prst="rect">
            <a:avLst/>
          </a:prstGeom>
        </p:spPr>
      </p:pic>
      <p:pic>
        <p:nvPicPr>
          <p:cNvPr id="114" name="Picture 113"/>
          <p:cNvPicPr>
            <a:picLocks noChangeAspect="1"/>
          </p:cNvPicPr>
          <p:nvPr/>
        </p:nvPicPr>
        <p:blipFill>
          <a:blip r:embed="rId10" cstate="print">
            <a:biLevel thresh="50000"/>
            <a:extLst>
              <a:ext uri="{28A0092B-C50C-407E-A947-70E740481C1C}">
                <a14:useLocalDpi xmlns:a14="http://schemas.microsoft.com/office/drawing/2010/main" val="0"/>
              </a:ext>
            </a:extLst>
          </a:blip>
          <a:stretch>
            <a:fillRect/>
          </a:stretch>
        </p:blipFill>
        <p:spPr>
          <a:xfrm>
            <a:off x="332658" y="5538489"/>
            <a:ext cx="268940" cy="268940"/>
          </a:xfrm>
          <a:prstGeom prst="rect">
            <a:avLst/>
          </a:prstGeom>
        </p:spPr>
      </p:pic>
      <p:sp>
        <p:nvSpPr>
          <p:cNvPr id="115" name="Rectangle 114"/>
          <p:cNvSpPr/>
          <p:nvPr/>
        </p:nvSpPr>
        <p:spPr bwMode="auto">
          <a:xfrm>
            <a:off x="35912" y="2594112"/>
            <a:ext cx="2464420" cy="4194313"/>
          </a:xfrm>
          <a:prstGeom prst="rect">
            <a:avLst/>
          </a:prstGeom>
          <a:solidFill>
            <a:srgbClr val="000000">
              <a:alpha val="6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6" name="Rectangle 115"/>
          <p:cNvSpPr/>
          <p:nvPr/>
        </p:nvSpPr>
        <p:spPr bwMode="auto">
          <a:xfrm>
            <a:off x="95936" y="731576"/>
            <a:ext cx="2464420" cy="880187"/>
          </a:xfrm>
          <a:prstGeom prst="rect">
            <a:avLst/>
          </a:prstGeom>
          <a:solidFill>
            <a:srgbClr val="000000">
              <a:alpha val="6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42182708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4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3" grpId="0" animBg="1"/>
    </p:bldLst>
  </p:timing>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 name="Title 10"/>
          <p:cNvSpPr txBox="1">
            <a:spLocks/>
          </p:cNvSpPr>
          <p:nvPr/>
        </p:nvSpPr>
        <p:spPr>
          <a:xfrm>
            <a:off x="2849060" y="0"/>
            <a:ext cx="9342940" cy="665151"/>
          </a:xfrm>
          <a:prstGeom prst="rect">
            <a:avLst/>
          </a:prstGeom>
          <a:noFill/>
        </p:spPr>
        <p:txBody>
          <a:bodyPr vert="horz" wrap="square" lIns="0" tIns="91440" rIns="0" bIns="91440" rtlCol="0" anchor="t">
            <a:noAutofit/>
          </a:bodyPr>
          <a:lstStyle>
            <a:lvl1pPr defTabSz="914367">
              <a:lnSpc>
                <a:spcPct val="90000"/>
              </a:lnSpc>
              <a:spcBef>
                <a:spcPct val="0"/>
              </a:spcBef>
              <a:buNone/>
              <a:defRPr lang="en-US" sz="5294" b="0" cap="none" spc="-100" baseline="0" dirty="0" smtClean="0">
                <a:ln w="3175">
                  <a:noFill/>
                </a:ln>
                <a:solidFill>
                  <a:schemeClr val="tx2"/>
                </a:solidFill>
                <a:effectLst/>
                <a:latin typeface="+mj-lt"/>
                <a:cs typeface="Segoe UI" pitchFamily="34" charset="0"/>
              </a:defRPr>
            </a:lvl1pPr>
          </a:lstStyle>
          <a:p>
            <a:pPr marL="168275" marR="0" lvl="0" indent="0" algn="l" defTabSz="914367" rtl="0" eaLnBrk="1" fontAlgn="auto" latinLnBrk="0" hangingPunct="1">
              <a:lnSpc>
                <a:spcPct val="90000"/>
              </a:lnSpc>
              <a:spcBef>
                <a:spcPct val="0"/>
              </a:spcBef>
              <a:spcAft>
                <a:spcPts val="0"/>
              </a:spcAft>
              <a:buClrTx/>
              <a:buSzTx/>
              <a:buFontTx/>
              <a:buNone/>
              <a:tabLst/>
              <a:defRPr/>
            </a:pPr>
            <a:r>
              <a:rPr kumimoji="0" lang="en-US" sz="3600" b="0" i="0" u="none" strike="noStrike" kern="1200" cap="none" spc="-100" normalizeH="0" baseline="0" noProof="0">
                <a:ln w="3175">
                  <a:noFill/>
                </a:ln>
                <a:solidFill>
                  <a:prstClr val="black"/>
                </a:solidFill>
                <a:effectLst/>
                <a:uLnTx/>
                <a:uFillTx/>
                <a:latin typeface="Segoe UI Light"/>
                <a:ea typeface="+mn-ea"/>
                <a:cs typeface="Segoe UI" pitchFamily="34" charset="0"/>
              </a:rPr>
              <a:t>Pinning and Navigation</a:t>
            </a:r>
            <a:endParaRPr kumimoji="0" lang="en-IN" sz="3600" b="0" i="0" u="none" strike="noStrike" kern="1200" cap="none" spc="-100" normalizeH="0" baseline="0" noProof="0">
              <a:ln w="3175">
                <a:noFill/>
              </a:ln>
              <a:solidFill>
                <a:prstClr val="black"/>
              </a:solidFill>
              <a:effectLst/>
              <a:uLnTx/>
              <a:uFillTx/>
              <a:latin typeface="Segoe UI Light"/>
              <a:ea typeface="+mn-ea"/>
              <a:cs typeface="Segoe UI" pitchFamily="34" charset="0"/>
            </a:endParaRPr>
          </a:p>
        </p:txBody>
      </p:sp>
      <p:sp>
        <p:nvSpPr>
          <p:cNvPr id="41" name="Rectangle 3"/>
          <p:cNvSpPr/>
          <p:nvPr/>
        </p:nvSpPr>
        <p:spPr bwMode="auto">
          <a:xfrm>
            <a:off x="3202216" y="665151"/>
            <a:ext cx="8105312" cy="44435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PT" sz="2000" b="0" i="1" u="none" strike="noStrike" kern="1200" cap="none" spc="0" normalizeH="0" baseline="0" noProof="0">
                <a:ln>
                  <a:noFill/>
                </a:ln>
                <a:solidFill>
                  <a:prstClr val="black"/>
                </a:solidFill>
                <a:effectLst/>
                <a:uLnTx/>
                <a:uFillTx/>
                <a:latin typeface="Segoe UI Light"/>
                <a:ea typeface="+mn-ea"/>
                <a:cs typeface="+mn-cs"/>
              </a:rPr>
              <a:t>Report - Pinning</a:t>
            </a:r>
            <a:endParaRPr kumimoji="0" lang="en-US" sz="2000" b="0" i="1" u="none" strike="noStrike" kern="1200" cap="none" spc="0" normalizeH="0" baseline="0" noProof="0">
              <a:ln>
                <a:noFill/>
              </a:ln>
              <a:solidFill>
                <a:prstClr val="black"/>
              </a:solidFill>
              <a:effectLst/>
              <a:uLnTx/>
              <a:uFillTx/>
              <a:latin typeface="Segoe UI Light"/>
              <a:ea typeface="+mn-ea"/>
              <a:cs typeface="+mn-cs"/>
            </a:endParaRPr>
          </a:p>
        </p:txBody>
      </p:sp>
      <p:sp>
        <p:nvSpPr>
          <p:cNvPr id="51" name="Text Placeholder 2"/>
          <p:cNvSpPr txBox="1">
            <a:spLocks/>
          </p:cNvSpPr>
          <p:nvPr/>
        </p:nvSpPr>
        <p:spPr>
          <a:xfrm>
            <a:off x="5642973" y="0"/>
            <a:ext cx="6106791" cy="897374"/>
          </a:xfrm>
          <a:prstGeom prst="rect">
            <a:avLst/>
          </a:prstGeom>
        </p:spPr>
        <p:txBody>
          <a:bodyPr vert="horz" wrap="square" lIns="182880" tIns="146304" rIns="182880" bIns="146304" rtlCol="0">
            <a:noAutofit/>
          </a:bodyPr>
          <a:lstStyle>
            <a:lvl1pPr marL="182845" marR="0"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3921" kern="1200" spc="0" baseline="0">
                <a:gradFill>
                  <a:gsLst>
                    <a:gs pos="1250">
                      <a:schemeClr val="tx2"/>
                    </a:gs>
                    <a:gs pos="99000">
                      <a:schemeClr val="tx2"/>
                    </a:gs>
                  </a:gsLst>
                  <a:lin ang="5400000" scaled="0"/>
                </a:gradFill>
                <a:latin typeface="+mj-lt"/>
                <a:ea typeface="+mn-ea"/>
                <a:cs typeface="+mn-cs"/>
              </a:defRPr>
            </a:lvl1pPr>
            <a:lvl2pPr marL="365690" marR="0"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2400" kern="1200" spc="0" baseline="0">
                <a:solidFill>
                  <a:schemeClr val="tx2"/>
                </a:solidFill>
                <a:latin typeface="+mj-lt"/>
                <a:ea typeface="+mn-ea"/>
                <a:cs typeface="+mn-cs"/>
              </a:defRPr>
            </a:lvl2pPr>
            <a:lvl3pPr marL="548535" marR="0"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2000" kern="1200" spc="0" baseline="0">
                <a:solidFill>
                  <a:schemeClr val="tx2"/>
                </a:solidFill>
                <a:latin typeface="+mj-lt"/>
                <a:ea typeface="+mn-ea"/>
                <a:cs typeface="+mn-cs"/>
              </a:defRPr>
            </a:lvl3pPr>
            <a:lvl4pPr marL="733802" marR="0" indent="-28569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1765" kern="1200" spc="0" baseline="0">
                <a:solidFill>
                  <a:schemeClr val="tx2"/>
                </a:solidFill>
                <a:latin typeface="+mn-lt"/>
                <a:ea typeface="+mn-ea"/>
                <a:cs typeface="+mn-cs"/>
              </a:defRPr>
            </a:lvl4pPr>
            <a:lvl5pPr marL="957856" marR="0" indent="-28569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1765" kern="1200" spc="0" baseline="0">
                <a:solidFill>
                  <a:schemeClr val="tx2"/>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r>
              <a:rPr kumimoji="0" lang="en-US" sz="2000" b="0" i="0" u="none" strike="noStrike" kern="1200" cap="none" spc="0" normalizeH="0" baseline="0" noProof="0">
                <a:ln>
                  <a:noFill/>
                </a:ln>
                <a:solidFill>
                  <a:prstClr val="white"/>
                </a:solidFill>
                <a:effectLst/>
                <a:uLnTx/>
                <a:uFillTx/>
                <a:latin typeface="Segoe UI Light"/>
                <a:ea typeface="+mn-ea"/>
                <a:cs typeface="Times New Roman" panose="02020603050405020304" pitchFamily="18" charset="0"/>
              </a:rPr>
              <a:t>A report is composed of </a:t>
            </a:r>
            <a:r>
              <a:rPr kumimoji="0" lang="en-US" sz="2000" b="1" i="0" u="none" strike="noStrike" kern="1200" cap="none" spc="0" normalizeH="0" baseline="0" noProof="0">
                <a:ln>
                  <a:noFill/>
                </a:ln>
                <a:solidFill>
                  <a:prstClr val="white"/>
                </a:solidFill>
                <a:effectLst/>
                <a:uLnTx/>
                <a:uFillTx/>
                <a:latin typeface="Segoe UI Light"/>
                <a:ea typeface="+mn-ea"/>
                <a:cs typeface="Times New Roman" panose="02020603050405020304" pitchFamily="18" charset="0"/>
              </a:rPr>
              <a:t>one or more pages of visualizations</a:t>
            </a: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1" i="0" u="none" strike="noStrike" kern="1200" cap="none" spc="0" normalizeH="0" baseline="0" noProof="0">
              <a:ln>
                <a:noFill/>
              </a:ln>
              <a:solidFill>
                <a:prstClr val="white"/>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r>
              <a:rPr kumimoji="0" lang="en-US" sz="2000" b="0" i="0" u="none" strike="noStrike" kern="1200" cap="none" spc="0" normalizeH="0" baseline="0" noProof="0">
                <a:ln>
                  <a:noFill/>
                </a:ln>
                <a:solidFill>
                  <a:prstClr val="white"/>
                </a:solidFill>
                <a:effectLst/>
                <a:uLnTx/>
                <a:uFillTx/>
                <a:latin typeface="Segoe UI Light"/>
                <a:ea typeface="+mn-ea"/>
                <a:cs typeface="Times New Roman" panose="02020603050405020304" pitchFamily="18" charset="0"/>
              </a:rPr>
              <a:t>Can be </a:t>
            </a:r>
            <a:r>
              <a:rPr kumimoji="0" lang="en-US" sz="2000" b="1" i="0" u="none" strike="noStrike" kern="1200" cap="none" spc="0" normalizeH="0" baseline="0" noProof="0">
                <a:ln>
                  <a:noFill/>
                </a:ln>
                <a:solidFill>
                  <a:prstClr val="white"/>
                </a:solidFill>
                <a:effectLst/>
                <a:uLnTx/>
                <a:uFillTx/>
                <a:latin typeface="Segoe UI Light"/>
                <a:ea typeface="+mn-ea"/>
                <a:cs typeface="Times New Roman" panose="02020603050405020304" pitchFamily="18" charset="0"/>
              </a:rPr>
              <a:t>developed</a:t>
            </a:r>
            <a:r>
              <a:rPr kumimoji="0" lang="en-US" sz="2000" b="0" i="0" u="none" strike="noStrike" kern="1200" cap="none" spc="0" normalizeH="0" baseline="0" noProof="0">
                <a:ln>
                  <a:noFill/>
                </a:ln>
                <a:solidFill>
                  <a:prstClr val="white"/>
                </a:solidFill>
                <a:effectLst/>
                <a:uLnTx/>
                <a:uFillTx/>
                <a:latin typeface="Segoe UI Light"/>
                <a:ea typeface="+mn-ea"/>
                <a:cs typeface="Times New Roman" panose="02020603050405020304" pitchFamily="18" charset="0"/>
              </a:rPr>
              <a:t> in </a:t>
            </a:r>
            <a:r>
              <a:rPr kumimoji="0" lang="en-US" sz="2000" b="1" i="0" u="none" strike="noStrike" kern="1200" cap="none" spc="0" normalizeH="0" baseline="0" noProof="0">
                <a:ln>
                  <a:noFill/>
                </a:ln>
                <a:solidFill>
                  <a:prstClr val="white"/>
                </a:solidFill>
                <a:effectLst/>
                <a:uLnTx/>
                <a:uFillTx/>
                <a:latin typeface="Segoe UI Light"/>
                <a:ea typeface="+mn-ea"/>
                <a:cs typeface="Times New Roman" panose="02020603050405020304" pitchFamily="18" charset="0"/>
              </a:rPr>
              <a:t>Desktop</a:t>
            </a:r>
            <a:r>
              <a:rPr kumimoji="0" lang="en-US" sz="2000" b="0" i="0" u="none" strike="noStrike" kern="1200" cap="none" spc="0" normalizeH="0" baseline="0" noProof="0">
                <a:ln>
                  <a:noFill/>
                </a:ln>
                <a:solidFill>
                  <a:prstClr val="white"/>
                </a:solidFill>
                <a:effectLst/>
                <a:uLnTx/>
                <a:uFillTx/>
                <a:latin typeface="Segoe UI Light"/>
                <a:ea typeface="+mn-ea"/>
                <a:cs typeface="Times New Roman" panose="02020603050405020304" pitchFamily="18" charset="0"/>
              </a:rPr>
              <a:t> (or Excel) or in the </a:t>
            </a:r>
            <a:r>
              <a:rPr kumimoji="0" lang="en-US" sz="2000" b="1" i="0" u="none" strike="noStrike" kern="1200" cap="none" spc="0" normalizeH="0" baseline="0" noProof="0">
                <a:ln>
                  <a:noFill/>
                </a:ln>
                <a:solidFill>
                  <a:prstClr val="white"/>
                </a:solidFill>
                <a:effectLst/>
                <a:uLnTx/>
                <a:uFillTx/>
                <a:latin typeface="Segoe UI Light"/>
                <a:ea typeface="+mn-ea"/>
                <a:cs typeface="Times New Roman" panose="02020603050405020304" pitchFamily="18" charset="0"/>
              </a:rPr>
              <a:t>service</a:t>
            </a: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r>
              <a:rPr kumimoji="0" lang="en-US" sz="2000" b="0" i="0" u="none" strike="noStrike" kern="1200" cap="none" spc="0" normalizeH="0" baseline="0" noProof="0">
                <a:ln>
                  <a:noFill/>
                </a:ln>
                <a:solidFill>
                  <a:prstClr val="white"/>
                </a:solidFill>
                <a:effectLst/>
                <a:uLnTx/>
                <a:uFillTx/>
                <a:latin typeface="Segoe UI Light"/>
                <a:ea typeface="+mn-ea"/>
                <a:cs typeface="Times New Roman" panose="02020603050405020304" pitchFamily="18" charset="0"/>
              </a:rPr>
              <a:t>Gets its </a:t>
            </a:r>
            <a:r>
              <a:rPr kumimoji="0" lang="en-US" sz="2000" b="1" i="0" u="none" strike="noStrike" kern="1200" cap="none" spc="0" normalizeH="0" baseline="0" noProof="0">
                <a:ln>
                  <a:noFill/>
                </a:ln>
                <a:solidFill>
                  <a:prstClr val="white"/>
                </a:solidFill>
                <a:effectLst/>
                <a:uLnTx/>
                <a:uFillTx/>
                <a:latin typeface="Segoe UI Light"/>
                <a:ea typeface="+mn-ea"/>
                <a:cs typeface="Times New Roman" panose="02020603050405020304" pitchFamily="18" charset="0"/>
              </a:rPr>
              <a:t>data from one dataset</a:t>
            </a: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0" i="0" u="none" strike="noStrike" kern="1200" cap="none" spc="0" normalizeH="0" baseline="0" noProof="0">
              <a:ln>
                <a:noFill/>
              </a:ln>
              <a:solidFill>
                <a:prstClr val="white"/>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r>
              <a:rPr kumimoji="0" lang="en-US" sz="2000" b="0" i="0" u="none" strike="noStrike" kern="1200" cap="none" spc="0" normalizeH="0" baseline="0" noProof="0">
                <a:ln>
                  <a:noFill/>
                </a:ln>
                <a:solidFill>
                  <a:prstClr val="white"/>
                </a:solidFill>
                <a:effectLst/>
                <a:uLnTx/>
                <a:uFillTx/>
                <a:latin typeface="Segoe UI Light"/>
                <a:ea typeface="+mn-ea"/>
                <a:cs typeface="Times New Roman" panose="02020603050405020304" pitchFamily="18" charset="0"/>
              </a:rPr>
              <a:t>Can be used for building dashboards as a whole or bit by bit</a:t>
            </a: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0" i="0" u="none" strike="noStrike" kern="1200" cap="none" spc="0" normalizeH="0" baseline="0" noProof="0">
              <a:ln>
                <a:noFill/>
              </a:ln>
              <a:solidFill>
                <a:prstClr val="white"/>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r>
              <a:rPr kumimoji="0" lang="en-US" sz="2000" b="0" i="0" u="none" strike="noStrike" kern="1200" cap="none" spc="0" normalizeH="0" baseline="0" noProof="0">
                <a:ln>
                  <a:noFill/>
                </a:ln>
                <a:solidFill>
                  <a:prstClr val="white"/>
                </a:solidFill>
                <a:effectLst/>
                <a:uLnTx/>
                <a:uFillTx/>
                <a:latin typeface="Segoe UI Light"/>
                <a:ea typeface="+mn-ea"/>
                <a:cs typeface="Times New Roman" panose="02020603050405020304" pitchFamily="18" charset="0"/>
              </a:rPr>
              <a:t>Reports can be consumed in </a:t>
            </a:r>
            <a:r>
              <a:rPr kumimoji="0" lang="en-US" sz="2000" b="1" i="0" u="none" strike="noStrike" kern="1200" cap="none" spc="0" normalizeH="0" baseline="0" noProof="0">
                <a:ln>
                  <a:noFill/>
                </a:ln>
                <a:solidFill>
                  <a:prstClr val="white"/>
                </a:solidFill>
                <a:effectLst/>
                <a:uLnTx/>
                <a:uFillTx/>
                <a:latin typeface="Segoe UI Light"/>
                <a:ea typeface="+mn-ea"/>
                <a:cs typeface="Times New Roman" panose="02020603050405020304" pitchFamily="18" charset="0"/>
              </a:rPr>
              <a:t>Reading View</a:t>
            </a:r>
            <a:r>
              <a:rPr kumimoji="0" lang="en-US" sz="2000" b="0" i="0" u="none" strike="noStrike" kern="1200" cap="none" spc="0" normalizeH="0" baseline="0" noProof="0">
                <a:ln>
                  <a:noFill/>
                </a:ln>
                <a:solidFill>
                  <a:prstClr val="white"/>
                </a:solidFill>
                <a:effectLst/>
                <a:uLnTx/>
                <a:uFillTx/>
                <a:latin typeface="Segoe UI Light"/>
                <a:ea typeface="+mn-ea"/>
                <a:cs typeface="Times New Roman" panose="02020603050405020304" pitchFamily="18" charset="0"/>
              </a:rPr>
              <a:t> or </a:t>
            </a:r>
            <a:r>
              <a:rPr kumimoji="0" lang="en-US" sz="2000" b="1" i="0" u="none" strike="noStrike" kern="1200" cap="none" spc="0" normalizeH="0" baseline="0" noProof="0">
                <a:ln>
                  <a:noFill/>
                </a:ln>
                <a:solidFill>
                  <a:prstClr val="white"/>
                </a:solidFill>
                <a:effectLst/>
                <a:uLnTx/>
                <a:uFillTx/>
                <a:latin typeface="Segoe UI Light"/>
                <a:ea typeface="+mn-ea"/>
                <a:cs typeface="Times New Roman" panose="02020603050405020304" pitchFamily="18" charset="0"/>
              </a:rPr>
              <a:t>Editing View</a:t>
            </a:r>
            <a:endParaRPr kumimoji="0" lang="en-US" sz="2000" b="0" i="0" u="none" strike="noStrike" kern="1200" cap="none" spc="0" normalizeH="0" baseline="0" noProof="0">
              <a:ln>
                <a:noFill/>
              </a:ln>
              <a:solidFill>
                <a:prstClr val="white"/>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0" i="0" u="none" strike="noStrike" kern="1200" cap="none" spc="0" normalizeH="0" baseline="0" noProof="0">
              <a:ln>
                <a:noFill/>
              </a:ln>
              <a:solidFill>
                <a:prstClr val="white"/>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0" i="0" u="none" strike="noStrike" kern="1200" cap="none" spc="0" normalizeH="0" baseline="0" noProof="0">
              <a:ln>
                <a:noFill/>
              </a:ln>
              <a:solidFill>
                <a:prstClr val="white"/>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1" i="0" u="none" strike="noStrike" kern="1200" cap="none" spc="0" normalizeH="0" baseline="0" noProof="0">
              <a:ln>
                <a:noFill/>
              </a:ln>
              <a:solidFill>
                <a:prstClr val="white"/>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1" i="0" u="none" strike="noStrike" kern="1200" cap="none" spc="0" normalizeH="0" baseline="0" noProof="0">
              <a:ln>
                <a:noFill/>
              </a:ln>
              <a:solidFill>
                <a:prstClr val="white"/>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1" i="0" u="none" strike="noStrike" kern="1200" cap="none" spc="0" normalizeH="0" baseline="0" noProof="0">
              <a:ln>
                <a:noFill/>
              </a:ln>
              <a:solidFill>
                <a:prstClr val="white"/>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1" i="0" u="none" strike="noStrike" kern="1200" cap="none" spc="0" normalizeH="0" baseline="0" noProof="0">
              <a:ln>
                <a:noFill/>
              </a:ln>
              <a:solidFill>
                <a:prstClr val="white"/>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1" i="0" u="none" strike="noStrike" kern="1200" cap="none" spc="0" normalizeH="0" baseline="0" noProof="0">
              <a:ln>
                <a:noFill/>
              </a:ln>
              <a:solidFill>
                <a:prstClr val="white"/>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1" i="0" u="none" strike="noStrike" kern="1200" cap="none" spc="0" normalizeH="0" baseline="0" noProof="0">
              <a:ln>
                <a:noFill/>
              </a:ln>
              <a:solidFill>
                <a:prstClr val="white"/>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1" i="0" u="none" strike="noStrike" kern="1200" cap="none" spc="0" normalizeH="0" baseline="0" noProof="0">
              <a:ln>
                <a:noFill/>
              </a:ln>
              <a:solidFill>
                <a:prstClr val="white"/>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1"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p:txBody>
      </p:sp>
      <p:sp>
        <p:nvSpPr>
          <p:cNvPr id="42" name="Text Placeholder 2"/>
          <p:cNvSpPr txBox="1">
            <a:spLocks/>
          </p:cNvSpPr>
          <p:nvPr/>
        </p:nvSpPr>
        <p:spPr>
          <a:xfrm>
            <a:off x="2846171" y="1340643"/>
            <a:ext cx="9031090" cy="897374"/>
          </a:xfrm>
          <a:prstGeom prst="rect">
            <a:avLst/>
          </a:prstGeom>
        </p:spPr>
        <p:txBody>
          <a:bodyPr vert="horz" wrap="square" lIns="182880" tIns="146304" rIns="182880" bIns="146304" rtlCol="0">
            <a:noAutofit/>
          </a:bodyPr>
          <a:lstStyle>
            <a:lvl1pPr marL="182845" marR="0"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3921" kern="1200" spc="0" baseline="0">
                <a:gradFill>
                  <a:gsLst>
                    <a:gs pos="1250">
                      <a:schemeClr val="tx2"/>
                    </a:gs>
                    <a:gs pos="99000">
                      <a:schemeClr val="tx2"/>
                    </a:gs>
                  </a:gsLst>
                  <a:lin ang="5400000" scaled="0"/>
                </a:gradFill>
                <a:latin typeface="+mj-lt"/>
                <a:ea typeface="+mn-ea"/>
                <a:cs typeface="+mn-cs"/>
              </a:defRPr>
            </a:lvl1pPr>
            <a:lvl2pPr marL="365690" marR="0"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2400" kern="1200" spc="0" baseline="0">
                <a:solidFill>
                  <a:schemeClr val="tx2"/>
                </a:solidFill>
                <a:latin typeface="+mj-lt"/>
                <a:ea typeface="+mn-ea"/>
                <a:cs typeface="+mn-cs"/>
              </a:defRPr>
            </a:lvl2pPr>
            <a:lvl3pPr marL="548535" marR="0"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2000" kern="1200" spc="0" baseline="0">
                <a:solidFill>
                  <a:schemeClr val="tx2"/>
                </a:solidFill>
                <a:latin typeface="+mj-lt"/>
                <a:ea typeface="+mn-ea"/>
                <a:cs typeface="+mn-cs"/>
              </a:defRPr>
            </a:lvl3pPr>
            <a:lvl4pPr marL="733802" marR="0" indent="-28569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1765" kern="1200" spc="0" baseline="0">
                <a:solidFill>
                  <a:schemeClr val="tx2"/>
                </a:solidFill>
                <a:latin typeface="+mn-lt"/>
                <a:ea typeface="+mn-ea"/>
                <a:cs typeface="+mn-cs"/>
              </a:defRPr>
            </a:lvl4pPr>
            <a:lvl5pPr marL="957856" marR="0" indent="-28569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1765" kern="1200" spc="0" baseline="0">
                <a:solidFill>
                  <a:schemeClr val="tx2"/>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r>
              <a:rPr kumimoji="0" lang="en-US" sz="2000" b="1"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rPr>
              <a:t>Entire pages </a:t>
            </a:r>
            <a:r>
              <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rPr>
              <a:t>can be pinned to dashboards</a:t>
            </a: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r>
              <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rPr>
              <a:t>They become </a:t>
            </a:r>
            <a:r>
              <a:rPr kumimoji="0" lang="en-US" sz="2000" b="1"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rPr>
              <a:t>live tiles</a:t>
            </a:r>
            <a:r>
              <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rPr>
              <a:t> and can be interacted with straight from the dashboard with the same interactivity as in Reading View</a:t>
            </a: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r>
              <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rPr>
              <a:t>When a change happens in this report, the </a:t>
            </a:r>
            <a:r>
              <a:rPr kumimoji="0" lang="en-US" sz="2000" b="1"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rPr>
              <a:t>changes are synchronized to the dashboard</a:t>
            </a: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r>
              <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rPr>
              <a:t>This </a:t>
            </a:r>
            <a:r>
              <a:rPr kumimoji="0" lang="en-US" sz="2000" b="1"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rPr>
              <a:t>does not happen with individual visualizations</a:t>
            </a: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1"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1"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p:txBody>
      </p:sp>
      <p:pic>
        <p:nvPicPr>
          <p:cNvPr id="4" name="Picture 3"/>
          <p:cNvPicPr>
            <a:picLocks noChangeAspect="1"/>
          </p:cNvPicPr>
          <p:nvPr/>
        </p:nvPicPr>
        <p:blipFill>
          <a:blip r:embed="rId3"/>
          <a:stretch>
            <a:fillRect/>
          </a:stretch>
        </p:blipFill>
        <p:spPr>
          <a:xfrm>
            <a:off x="3482436" y="2104965"/>
            <a:ext cx="5124450" cy="447675"/>
          </a:xfrm>
          <a:prstGeom prst="rect">
            <a:avLst/>
          </a:prstGeom>
        </p:spPr>
      </p:pic>
      <p:sp>
        <p:nvSpPr>
          <p:cNvPr id="80" name="Rectangle 79"/>
          <p:cNvSpPr/>
          <p:nvPr/>
        </p:nvSpPr>
        <p:spPr bwMode="auto">
          <a:xfrm>
            <a:off x="7151788" y="2129526"/>
            <a:ext cx="1455098" cy="423113"/>
          </a:xfrm>
          <a:prstGeom prst="rect">
            <a:avLst/>
          </a:prstGeom>
          <a:noFill/>
          <a:ln w="38100">
            <a:solidFill>
              <a:srgbClr val="FF00F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43" name="Group 42"/>
          <p:cNvGrpSpPr/>
          <p:nvPr/>
        </p:nvGrpSpPr>
        <p:grpSpPr>
          <a:xfrm>
            <a:off x="-2887" y="973"/>
            <a:ext cx="2849058" cy="6857027"/>
            <a:chOff x="2" y="487"/>
            <a:chExt cx="2849058" cy="6857027"/>
          </a:xfrm>
        </p:grpSpPr>
        <p:sp>
          <p:nvSpPr>
            <p:cNvPr id="81" name="Rectangle 15"/>
            <p:cNvSpPr/>
            <p:nvPr/>
          </p:nvSpPr>
          <p:spPr bwMode="auto">
            <a:xfrm>
              <a:off x="2" y="487"/>
              <a:ext cx="2849058" cy="685702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2" name="Rectangle 145"/>
            <p:cNvSpPr/>
            <p:nvPr/>
          </p:nvSpPr>
          <p:spPr bwMode="auto">
            <a:xfrm>
              <a:off x="696152" y="956997"/>
              <a:ext cx="1821468" cy="3831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2C812"/>
                  </a:solidFill>
                  <a:effectLst/>
                  <a:uLnTx/>
                  <a:uFillTx/>
                  <a:latin typeface="Segoe UI"/>
                  <a:ea typeface="+mn-ea"/>
                  <a:cs typeface="Segoe UI Light" panose="020B0502040204020203" pitchFamily="34" charset="0"/>
                </a:rPr>
                <a:t>Get Data</a:t>
              </a:r>
              <a:endParaRPr kumimoji="0" lang="en-US" sz="1200" b="1" i="1" u="none" strike="noStrike" kern="1200" cap="none" spc="0" normalizeH="0" baseline="0" noProof="0">
                <a:ln>
                  <a:noFill/>
                </a:ln>
                <a:solidFill>
                  <a:srgbClr val="F2C812"/>
                </a:solidFill>
                <a:effectLst/>
                <a:uLnTx/>
                <a:uFillTx/>
                <a:latin typeface="Segoe UI"/>
                <a:ea typeface="+mn-ea"/>
                <a:cs typeface="Segoe UI Light" panose="020B0502040204020203" pitchFamily="34" charset="0"/>
              </a:endParaRPr>
            </a:p>
          </p:txBody>
        </p:sp>
        <p:grpSp>
          <p:nvGrpSpPr>
            <p:cNvPr id="83" name="Group 82"/>
            <p:cNvGrpSpPr/>
            <p:nvPr/>
          </p:nvGrpSpPr>
          <p:grpSpPr>
            <a:xfrm>
              <a:off x="219373" y="934583"/>
              <a:ext cx="433844" cy="433844"/>
              <a:chOff x="440005" y="997815"/>
              <a:chExt cx="296322" cy="296322"/>
            </a:xfrm>
          </p:grpSpPr>
          <p:sp>
            <p:nvSpPr>
              <p:cNvPr id="102" name="Oval 147"/>
              <p:cNvSpPr/>
              <p:nvPr/>
            </p:nvSpPr>
            <p:spPr bwMode="auto">
              <a:xfrm>
                <a:off x="440005" y="997815"/>
                <a:ext cx="296322" cy="296322"/>
              </a:xfrm>
              <a:prstGeom prst="ellipse">
                <a:avLst/>
              </a:prstGeom>
              <a:solidFill>
                <a:srgbClr val="FFCC00"/>
              </a:solidFill>
              <a:ln>
                <a:solidFill>
                  <a:srgbClr val="F2C81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03" name="Group 332"/>
              <p:cNvGrpSpPr/>
              <p:nvPr/>
            </p:nvGrpSpPr>
            <p:grpSpPr>
              <a:xfrm>
                <a:off x="482167" y="1059311"/>
                <a:ext cx="211997" cy="173292"/>
                <a:chOff x="2123129" y="293070"/>
                <a:chExt cx="2472585" cy="2021178"/>
              </a:xfrm>
            </p:grpSpPr>
            <p:sp>
              <p:nvSpPr>
                <p:cNvPr id="104" name="Freeform 13"/>
                <p:cNvSpPr>
                  <a:spLocks/>
                </p:cNvSpPr>
                <p:nvPr/>
              </p:nvSpPr>
              <p:spPr bwMode="auto">
                <a:xfrm rot="20700000">
                  <a:off x="3155853" y="872796"/>
                  <a:ext cx="1439861" cy="1441452"/>
                </a:xfrm>
                <a:custGeom>
                  <a:avLst/>
                  <a:gdLst>
                    <a:gd name="T0" fmla="*/ 138 w 441"/>
                    <a:gd name="T1" fmla="*/ 341 h 441"/>
                    <a:gd name="T2" fmla="*/ 183 w 441"/>
                    <a:gd name="T3" fmla="*/ 374 h 441"/>
                    <a:gd name="T4" fmla="*/ 220 w 441"/>
                    <a:gd name="T5" fmla="*/ 423 h 441"/>
                    <a:gd name="T6" fmla="*/ 422 w 441"/>
                    <a:gd name="T7" fmla="*/ 220 h 441"/>
                    <a:gd name="T8" fmla="*/ 373 w 441"/>
                    <a:gd name="T9" fmla="*/ 184 h 441"/>
                    <a:gd name="T10" fmla="*/ 341 w 441"/>
                    <a:gd name="T11" fmla="*/ 139 h 441"/>
                    <a:gd name="T12" fmla="*/ 382 w 441"/>
                    <a:gd name="T13" fmla="*/ 58 h 441"/>
                    <a:gd name="T14" fmla="*/ 302 w 441"/>
                    <a:gd name="T15" fmla="*/ 100 h 441"/>
                    <a:gd name="T16" fmla="*/ 257 w 441"/>
                    <a:gd name="T17" fmla="*/ 67 h 441"/>
                    <a:gd name="T18" fmla="*/ 220 w 441"/>
                    <a:gd name="T19" fmla="*/ 18 h 441"/>
                    <a:gd name="T20" fmla="*/ 171 w 441"/>
                    <a:gd name="T21" fmla="*/ 55 h 441"/>
                    <a:gd name="T22" fmla="*/ 138 w 441"/>
                    <a:gd name="T23" fmla="*/ 100 h 441"/>
                    <a:gd name="T24" fmla="*/ 180 w 441"/>
                    <a:gd name="T25" fmla="*/ 181 h 441"/>
                    <a:gd name="T26" fmla="*/ 100 w 441"/>
                    <a:gd name="T27" fmla="*/ 139 h 441"/>
                    <a:gd name="T28" fmla="*/ 55 w 441"/>
                    <a:gd name="T29" fmla="*/ 171 h 441"/>
                    <a:gd name="T30" fmla="*/ 18 w 441"/>
                    <a:gd name="T31" fmla="*/ 220 h 441"/>
                    <a:gd name="T32" fmla="*/ 67 w 441"/>
                    <a:gd name="T33" fmla="*/ 257 h 441"/>
                    <a:gd name="T34" fmla="*/ 100 w 441"/>
                    <a:gd name="T35" fmla="*/ 302 h 441"/>
                    <a:gd name="T36" fmla="*/ 58 w 441"/>
                    <a:gd name="T37" fmla="*/ 383 h 441"/>
                    <a:gd name="T38" fmla="*/ 138 w 441"/>
                    <a:gd name="T39" fmla="*/ 341 h 4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41" h="441">
                      <a:moveTo>
                        <a:pt x="138" y="341"/>
                      </a:moveTo>
                      <a:cubicBezTo>
                        <a:pt x="147" y="337"/>
                        <a:pt x="171" y="361"/>
                        <a:pt x="183" y="374"/>
                      </a:cubicBezTo>
                      <a:cubicBezTo>
                        <a:pt x="196" y="386"/>
                        <a:pt x="220" y="423"/>
                        <a:pt x="220" y="423"/>
                      </a:cubicBezTo>
                      <a:cubicBezTo>
                        <a:pt x="422" y="220"/>
                        <a:pt x="422" y="220"/>
                        <a:pt x="422" y="220"/>
                      </a:cubicBezTo>
                      <a:cubicBezTo>
                        <a:pt x="422" y="220"/>
                        <a:pt x="386" y="196"/>
                        <a:pt x="373" y="184"/>
                      </a:cubicBezTo>
                      <a:cubicBezTo>
                        <a:pt x="361" y="171"/>
                        <a:pt x="338" y="149"/>
                        <a:pt x="341" y="139"/>
                      </a:cubicBezTo>
                      <a:cubicBezTo>
                        <a:pt x="343" y="129"/>
                        <a:pt x="441" y="116"/>
                        <a:pt x="382" y="58"/>
                      </a:cubicBezTo>
                      <a:cubicBezTo>
                        <a:pt x="324" y="0"/>
                        <a:pt x="310" y="96"/>
                        <a:pt x="302" y="100"/>
                      </a:cubicBezTo>
                      <a:cubicBezTo>
                        <a:pt x="294" y="104"/>
                        <a:pt x="269" y="80"/>
                        <a:pt x="257" y="67"/>
                      </a:cubicBezTo>
                      <a:cubicBezTo>
                        <a:pt x="245" y="55"/>
                        <a:pt x="220" y="18"/>
                        <a:pt x="220" y="18"/>
                      </a:cubicBezTo>
                      <a:cubicBezTo>
                        <a:pt x="220" y="18"/>
                        <a:pt x="183" y="43"/>
                        <a:pt x="171" y="55"/>
                      </a:cubicBezTo>
                      <a:cubicBezTo>
                        <a:pt x="159" y="67"/>
                        <a:pt x="134" y="92"/>
                        <a:pt x="138" y="100"/>
                      </a:cubicBezTo>
                      <a:cubicBezTo>
                        <a:pt x="142" y="108"/>
                        <a:pt x="238" y="122"/>
                        <a:pt x="180" y="181"/>
                      </a:cubicBezTo>
                      <a:cubicBezTo>
                        <a:pt x="122" y="239"/>
                        <a:pt x="110" y="141"/>
                        <a:pt x="100" y="139"/>
                      </a:cubicBezTo>
                      <a:cubicBezTo>
                        <a:pt x="89" y="137"/>
                        <a:pt x="67" y="159"/>
                        <a:pt x="55" y="171"/>
                      </a:cubicBezTo>
                      <a:cubicBezTo>
                        <a:pt x="42" y="184"/>
                        <a:pt x="18" y="220"/>
                        <a:pt x="18" y="220"/>
                      </a:cubicBezTo>
                      <a:cubicBezTo>
                        <a:pt x="18" y="220"/>
                        <a:pt x="55" y="245"/>
                        <a:pt x="67" y="257"/>
                      </a:cubicBezTo>
                      <a:cubicBezTo>
                        <a:pt x="79" y="269"/>
                        <a:pt x="102" y="292"/>
                        <a:pt x="100" y="302"/>
                      </a:cubicBezTo>
                      <a:cubicBezTo>
                        <a:pt x="98" y="312"/>
                        <a:pt x="0" y="325"/>
                        <a:pt x="58" y="383"/>
                      </a:cubicBezTo>
                      <a:cubicBezTo>
                        <a:pt x="116" y="441"/>
                        <a:pt x="130" y="345"/>
                        <a:pt x="138" y="341"/>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105" name="Freeform 14"/>
                <p:cNvSpPr>
                  <a:spLocks/>
                </p:cNvSpPr>
                <p:nvPr/>
              </p:nvSpPr>
              <p:spPr bwMode="auto">
                <a:xfrm rot="9900000">
                  <a:off x="2123129" y="293070"/>
                  <a:ext cx="1377948" cy="1377947"/>
                </a:xfrm>
                <a:custGeom>
                  <a:avLst/>
                  <a:gdLst>
                    <a:gd name="T0" fmla="*/ 422 w 422"/>
                    <a:gd name="T1" fmla="*/ 220 h 422"/>
                    <a:gd name="T2" fmla="*/ 386 w 422"/>
                    <a:gd name="T3" fmla="*/ 171 h 422"/>
                    <a:gd name="T4" fmla="*/ 341 w 422"/>
                    <a:gd name="T5" fmla="*/ 138 h 422"/>
                    <a:gd name="T6" fmla="*/ 260 w 422"/>
                    <a:gd name="T7" fmla="*/ 180 h 422"/>
                    <a:gd name="T8" fmla="*/ 302 w 422"/>
                    <a:gd name="T9" fmla="*/ 100 h 422"/>
                    <a:gd name="T10" fmla="*/ 269 w 422"/>
                    <a:gd name="T11" fmla="*/ 55 h 422"/>
                    <a:gd name="T12" fmla="*/ 220 w 422"/>
                    <a:gd name="T13" fmla="*/ 18 h 422"/>
                    <a:gd name="T14" fmla="*/ 183 w 422"/>
                    <a:gd name="T15" fmla="*/ 67 h 422"/>
                    <a:gd name="T16" fmla="*/ 138 w 422"/>
                    <a:gd name="T17" fmla="*/ 100 h 422"/>
                    <a:gd name="T18" fmla="*/ 58 w 422"/>
                    <a:gd name="T19" fmla="*/ 58 h 422"/>
                    <a:gd name="T20" fmla="*/ 100 w 422"/>
                    <a:gd name="T21" fmla="*/ 138 h 422"/>
                    <a:gd name="T22" fmla="*/ 67 w 422"/>
                    <a:gd name="T23" fmla="*/ 183 h 422"/>
                    <a:gd name="T24" fmla="*/ 18 w 422"/>
                    <a:gd name="T25" fmla="*/ 220 h 422"/>
                    <a:gd name="T26" fmla="*/ 55 w 422"/>
                    <a:gd name="T27" fmla="*/ 269 h 422"/>
                    <a:gd name="T28" fmla="*/ 100 w 422"/>
                    <a:gd name="T29" fmla="*/ 302 h 422"/>
                    <a:gd name="T30" fmla="*/ 180 w 422"/>
                    <a:gd name="T31" fmla="*/ 260 h 422"/>
                    <a:gd name="T32" fmla="*/ 138 w 422"/>
                    <a:gd name="T33" fmla="*/ 341 h 422"/>
                    <a:gd name="T34" fmla="*/ 171 w 422"/>
                    <a:gd name="T35" fmla="*/ 386 h 422"/>
                    <a:gd name="T36" fmla="*/ 220 w 422"/>
                    <a:gd name="T37" fmla="*/ 422 h 422"/>
                    <a:gd name="T38" fmla="*/ 422 w 422"/>
                    <a:gd name="T39" fmla="*/ 220 h 4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22" h="422">
                      <a:moveTo>
                        <a:pt x="422" y="220"/>
                      </a:moveTo>
                      <a:cubicBezTo>
                        <a:pt x="422" y="220"/>
                        <a:pt x="398" y="183"/>
                        <a:pt x="386" y="171"/>
                      </a:cubicBezTo>
                      <a:cubicBezTo>
                        <a:pt x="373" y="159"/>
                        <a:pt x="349" y="134"/>
                        <a:pt x="341" y="138"/>
                      </a:cubicBezTo>
                      <a:cubicBezTo>
                        <a:pt x="332" y="142"/>
                        <a:pt x="318" y="239"/>
                        <a:pt x="260" y="180"/>
                      </a:cubicBezTo>
                      <a:cubicBezTo>
                        <a:pt x="202" y="122"/>
                        <a:pt x="300" y="110"/>
                        <a:pt x="302" y="100"/>
                      </a:cubicBezTo>
                      <a:cubicBezTo>
                        <a:pt x="304" y="90"/>
                        <a:pt x="281" y="67"/>
                        <a:pt x="269" y="55"/>
                      </a:cubicBezTo>
                      <a:cubicBezTo>
                        <a:pt x="257" y="42"/>
                        <a:pt x="220" y="18"/>
                        <a:pt x="220" y="18"/>
                      </a:cubicBezTo>
                      <a:cubicBezTo>
                        <a:pt x="220" y="18"/>
                        <a:pt x="196" y="55"/>
                        <a:pt x="183" y="67"/>
                      </a:cubicBezTo>
                      <a:cubicBezTo>
                        <a:pt x="171" y="79"/>
                        <a:pt x="149" y="102"/>
                        <a:pt x="138" y="100"/>
                      </a:cubicBezTo>
                      <a:cubicBezTo>
                        <a:pt x="128" y="98"/>
                        <a:pt x="116" y="0"/>
                        <a:pt x="58" y="58"/>
                      </a:cubicBezTo>
                      <a:cubicBezTo>
                        <a:pt x="0" y="116"/>
                        <a:pt x="96" y="130"/>
                        <a:pt x="100" y="138"/>
                      </a:cubicBezTo>
                      <a:cubicBezTo>
                        <a:pt x="104" y="147"/>
                        <a:pt x="79" y="171"/>
                        <a:pt x="67" y="183"/>
                      </a:cubicBezTo>
                      <a:cubicBezTo>
                        <a:pt x="55" y="196"/>
                        <a:pt x="18" y="220"/>
                        <a:pt x="18" y="220"/>
                      </a:cubicBezTo>
                      <a:cubicBezTo>
                        <a:pt x="18" y="220"/>
                        <a:pt x="42" y="257"/>
                        <a:pt x="55" y="269"/>
                      </a:cubicBezTo>
                      <a:cubicBezTo>
                        <a:pt x="67" y="281"/>
                        <a:pt x="91" y="306"/>
                        <a:pt x="100" y="302"/>
                      </a:cubicBezTo>
                      <a:cubicBezTo>
                        <a:pt x="108" y="298"/>
                        <a:pt x="122" y="202"/>
                        <a:pt x="180" y="260"/>
                      </a:cubicBezTo>
                      <a:cubicBezTo>
                        <a:pt x="238" y="318"/>
                        <a:pt x="140" y="330"/>
                        <a:pt x="138" y="341"/>
                      </a:cubicBezTo>
                      <a:cubicBezTo>
                        <a:pt x="136" y="351"/>
                        <a:pt x="159" y="373"/>
                        <a:pt x="171" y="386"/>
                      </a:cubicBezTo>
                      <a:cubicBezTo>
                        <a:pt x="183" y="398"/>
                        <a:pt x="220" y="422"/>
                        <a:pt x="220" y="422"/>
                      </a:cubicBezTo>
                      <a:lnTo>
                        <a:pt x="422" y="22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grpSp>
        </p:grpSp>
        <p:sp>
          <p:nvSpPr>
            <p:cNvPr id="84" name="Rectangle 152"/>
            <p:cNvSpPr/>
            <p:nvPr/>
          </p:nvSpPr>
          <p:spPr bwMode="auto">
            <a:xfrm>
              <a:off x="669652" y="2738277"/>
              <a:ext cx="1805162" cy="37532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2C812"/>
                  </a:solidFill>
                  <a:effectLst/>
                  <a:uLnTx/>
                  <a:uFillTx/>
                  <a:latin typeface="Segoe UI"/>
                  <a:ea typeface="+mn-ea"/>
                  <a:cs typeface="Segoe UI Light" panose="020B0502040204020203" pitchFamily="34" charset="0"/>
                </a:rPr>
                <a:t>Keeping Data Current</a:t>
              </a:r>
            </a:p>
          </p:txBody>
        </p:sp>
        <p:grpSp>
          <p:nvGrpSpPr>
            <p:cNvPr id="85" name="Group 84"/>
            <p:cNvGrpSpPr/>
            <p:nvPr/>
          </p:nvGrpSpPr>
          <p:grpSpPr>
            <a:xfrm>
              <a:off x="199649" y="2692629"/>
              <a:ext cx="433844" cy="433844"/>
              <a:chOff x="342620" y="2228265"/>
              <a:chExt cx="433844" cy="433844"/>
            </a:xfrm>
            <a:solidFill>
              <a:schemeClr val="bg1"/>
            </a:solidFill>
          </p:grpSpPr>
          <p:sp>
            <p:nvSpPr>
              <p:cNvPr id="100" name="Oval 154"/>
              <p:cNvSpPr/>
              <p:nvPr/>
            </p:nvSpPr>
            <p:spPr bwMode="auto">
              <a:xfrm>
                <a:off x="342620" y="2228265"/>
                <a:ext cx="433844" cy="433844"/>
              </a:xfrm>
              <a:prstGeom prst="ellipse">
                <a:avLst/>
              </a:prstGeom>
              <a:solidFill>
                <a:srgbClr val="FFC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1" name="Freeform 30"/>
              <p:cNvSpPr>
                <a:spLocks noEditPoints="1"/>
              </p:cNvSpPr>
              <p:nvPr/>
            </p:nvSpPr>
            <p:spPr bwMode="auto">
              <a:xfrm>
                <a:off x="444786" y="2340040"/>
                <a:ext cx="238402" cy="210293"/>
              </a:xfrm>
              <a:custGeom>
                <a:avLst/>
                <a:gdLst>
                  <a:gd name="T0" fmla="*/ 883 w 916"/>
                  <a:gd name="T1" fmla="*/ 286 h 808"/>
                  <a:gd name="T2" fmla="*/ 539 w 916"/>
                  <a:gd name="T3" fmla="*/ 723 h 808"/>
                  <a:gd name="T4" fmla="*/ 504 w 916"/>
                  <a:gd name="T5" fmla="*/ 0 h 808"/>
                  <a:gd name="T6" fmla="*/ 35 w 916"/>
                  <a:gd name="T7" fmla="*/ 723 h 808"/>
                  <a:gd name="T8" fmla="*/ 0 w 916"/>
                  <a:gd name="T9" fmla="*/ 808 h 808"/>
                  <a:gd name="T10" fmla="*/ 916 w 916"/>
                  <a:gd name="T11" fmla="*/ 723 h 808"/>
                  <a:gd name="T12" fmla="*/ 229 w 916"/>
                  <a:gd name="T13" fmla="*/ 665 h 808"/>
                  <a:gd name="T14" fmla="*/ 109 w 916"/>
                  <a:gd name="T15" fmla="*/ 596 h 808"/>
                  <a:gd name="T16" fmla="*/ 229 w 916"/>
                  <a:gd name="T17" fmla="*/ 665 h 808"/>
                  <a:gd name="T18" fmla="*/ 109 w 916"/>
                  <a:gd name="T19" fmla="*/ 501 h 808"/>
                  <a:gd name="T20" fmla="*/ 229 w 916"/>
                  <a:gd name="T21" fmla="*/ 432 h 808"/>
                  <a:gd name="T22" fmla="*/ 229 w 916"/>
                  <a:gd name="T23" fmla="*/ 337 h 808"/>
                  <a:gd name="T24" fmla="*/ 109 w 916"/>
                  <a:gd name="T25" fmla="*/ 267 h 808"/>
                  <a:gd name="T26" fmla="*/ 229 w 916"/>
                  <a:gd name="T27" fmla="*/ 337 h 808"/>
                  <a:gd name="T28" fmla="*/ 109 w 916"/>
                  <a:gd name="T29" fmla="*/ 172 h 808"/>
                  <a:gd name="T30" fmla="*/ 229 w 916"/>
                  <a:gd name="T31" fmla="*/ 103 h 808"/>
                  <a:gd name="T32" fmla="*/ 428 w 916"/>
                  <a:gd name="T33" fmla="*/ 665 h 808"/>
                  <a:gd name="T34" fmla="*/ 307 w 916"/>
                  <a:gd name="T35" fmla="*/ 596 h 808"/>
                  <a:gd name="T36" fmla="*/ 428 w 916"/>
                  <a:gd name="T37" fmla="*/ 665 h 808"/>
                  <a:gd name="T38" fmla="*/ 307 w 916"/>
                  <a:gd name="T39" fmla="*/ 501 h 808"/>
                  <a:gd name="T40" fmla="*/ 428 w 916"/>
                  <a:gd name="T41" fmla="*/ 432 h 808"/>
                  <a:gd name="T42" fmla="*/ 428 w 916"/>
                  <a:gd name="T43" fmla="*/ 337 h 808"/>
                  <a:gd name="T44" fmla="*/ 307 w 916"/>
                  <a:gd name="T45" fmla="*/ 267 h 808"/>
                  <a:gd name="T46" fmla="*/ 428 w 916"/>
                  <a:gd name="T47" fmla="*/ 337 h 808"/>
                  <a:gd name="T48" fmla="*/ 307 w 916"/>
                  <a:gd name="T49" fmla="*/ 172 h 808"/>
                  <a:gd name="T50" fmla="*/ 428 w 916"/>
                  <a:gd name="T51" fmla="*/ 103 h 808"/>
                  <a:gd name="T52" fmla="*/ 684 w 916"/>
                  <a:gd name="T53" fmla="*/ 668 h 808"/>
                  <a:gd name="T54" fmla="*/ 606 w 916"/>
                  <a:gd name="T55" fmla="*/ 549 h 808"/>
                  <a:gd name="T56" fmla="*/ 684 w 916"/>
                  <a:gd name="T57" fmla="*/ 668 h 808"/>
                  <a:gd name="T58" fmla="*/ 606 w 916"/>
                  <a:gd name="T59" fmla="*/ 482 h 808"/>
                  <a:gd name="T60" fmla="*/ 684 w 916"/>
                  <a:gd name="T61" fmla="*/ 365 h 808"/>
                  <a:gd name="T62" fmla="*/ 816 w 916"/>
                  <a:gd name="T63" fmla="*/ 668 h 808"/>
                  <a:gd name="T64" fmla="*/ 738 w 916"/>
                  <a:gd name="T65" fmla="*/ 549 h 808"/>
                  <a:gd name="T66" fmla="*/ 816 w 916"/>
                  <a:gd name="T67" fmla="*/ 668 h 808"/>
                  <a:gd name="T68" fmla="*/ 738 w 916"/>
                  <a:gd name="T69" fmla="*/ 482 h 808"/>
                  <a:gd name="T70" fmla="*/ 816 w 916"/>
                  <a:gd name="T71" fmla="*/ 365 h 8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16" h="808">
                    <a:moveTo>
                      <a:pt x="883" y="723"/>
                    </a:moveTo>
                    <a:lnTo>
                      <a:pt x="883" y="286"/>
                    </a:lnTo>
                    <a:lnTo>
                      <a:pt x="539" y="286"/>
                    </a:lnTo>
                    <a:lnTo>
                      <a:pt x="539" y="723"/>
                    </a:lnTo>
                    <a:lnTo>
                      <a:pt x="504" y="723"/>
                    </a:lnTo>
                    <a:lnTo>
                      <a:pt x="504" y="0"/>
                    </a:lnTo>
                    <a:lnTo>
                      <a:pt x="35" y="0"/>
                    </a:lnTo>
                    <a:lnTo>
                      <a:pt x="35" y="723"/>
                    </a:lnTo>
                    <a:lnTo>
                      <a:pt x="0" y="723"/>
                    </a:lnTo>
                    <a:lnTo>
                      <a:pt x="0" y="808"/>
                    </a:lnTo>
                    <a:lnTo>
                      <a:pt x="916" y="808"/>
                    </a:lnTo>
                    <a:lnTo>
                      <a:pt x="916" y="723"/>
                    </a:lnTo>
                    <a:lnTo>
                      <a:pt x="883" y="723"/>
                    </a:lnTo>
                    <a:close/>
                    <a:moveTo>
                      <a:pt x="229" y="665"/>
                    </a:moveTo>
                    <a:lnTo>
                      <a:pt x="109" y="665"/>
                    </a:lnTo>
                    <a:lnTo>
                      <a:pt x="109" y="596"/>
                    </a:lnTo>
                    <a:lnTo>
                      <a:pt x="229" y="596"/>
                    </a:lnTo>
                    <a:lnTo>
                      <a:pt x="229" y="665"/>
                    </a:lnTo>
                    <a:close/>
                    <a:moveTo>
                      <a:pt x="229" y="501"/>
                    </a:moveTo>
                    <a:lnTo>
                      <a:pt x="109" y="501"/>
                    </a:lnTo>
                    <a:lnTo>
                      <a:pt x="109" y="432"/>
                    </a:lnTo>
                    <a:lnTo>
                      <a:pt x="229" y="432"/>
                    </a:lnTo>
                    <a:lnTo>
                      <a:pt x="229" y="501"/>
                    </a:lnTo>
                    <a:close/>
                    <a:moveTo>
                      <a:pt x="229" y="337"/>
                    </a:moveTo>
                    <a:lnTo>
                      <a:pt x="109" y="337"/>
                    </a:lnTo>
                    <a:lnTo>
                      <a:pt x="109" y="267"/>
                    </a:lnTo>
                    <a:lnTo>
                      <a:pt x="229" y="267"/>
                    </a:lnTo>
                    <a:lnTo>
                      <a:pt x="229" y="337"/>
                    </a:lnTo>
                    <a:close/>
                    <a:moveTo>
                      <a:pt x="229" y="172"/>
                    </a:moveTo>
                    <a:lnTo>
                      <a:pt x="109" y="172"/>
                    </a:lnTo>
                    <a:lnTo>
                      <a:pt x="109" y="103"/>
                    </a:lnTo>
                    <a:lnTo>
                      <a:pt x="229" y="103"/>
                    </a:lnTo>
                    <a:lnTo>
                      <a:pt x="229" y="172"/>
                    </a:lnTo>
                    <a:close/>
                    <a:moveTo>
                      <a:pt x="428" y="665"/>
                    </a:moveTo>
                    <a:lnTo>
                      <a:pt x="307" y="665"/>
                    </a:lnTo>
                    <a:lnTo>
                      <a:pt x="307" y="596"/>
                    </a:lnTo>
                    <a:lnTo>
                      <a:pt x="428" y="596"/>
                    </a:lnTo>
                    <a:lnTo>
                      <a:pt x="428" y="665"/>
                    </a:lnTo>
                    <a:close/>
                    <a:moveTo>
                      <a:pt x="428" y="501"/>
                    </a:moveTo>
                    <a:lnTo>
                      <a:pt x="307" y="501"/>
                    </a:lnTo>
                    <a:lnTo>
                      <a:pt x="307" y="432"/>
                    </a:lnTo>
                    <a:lnTo>
                      <a:pt x="428" y="432"/>
                    </a:lnTo>
                    <a:lnTo>
                      <a:pt x="428" y="501"/>
                    </a:lnTo>
                    <a:close/>
                    <a:moveTo>
                      <a:pt x="428" y="337"/>
                    </a:moveTo>
                    <a:lnTo>
                      <a:pt x="307" y="337"/>
                    </a:lnTo>
                    <a:lnTo>
                      <a:pt x="307" y="267"/>
                    </a:lnTo>
                    <a:lnTo>
                      <a:pt x="428" y="267"/>
                    </a:lnTo>
                    <a:lnTo>
                      <a:pt x="428" y="337"/>
                    </a:lnTo>
                    <a:close/>
                    <a:moveTo>
                      <a:pt x="428" y="172"/>
                    </a:moveTo>
                    <a:lnTo>
                      <a:pt x="307" y="172"/>
                    </a:lnTo>
                    <a:lnTo>
                      <a:pt x="307" y="103"/>
                    </a:lnTo>
                    <a:lnTo>
                      <a:pt x="428" y="103"/>
                    </a:lnTo>
                    <a:lnTo>
                      <a:pt x="428" y="172"/>
                    </a:lnTo>
                    <a:close/>
                    <a:moveTo>
                      <a:pt x="684" y="668"/>
                    </a:moveTo>
                    <a:lnTo>
                      <a:pt x="606" y="668"/>
                    </a:lnTo>
                    <a:lnTo>
                      <a:pt x="606" y="549"/>
                    </a:lnTo>
                    <a:lnTo>
                      <a:pt x="684" y="549"/>
                    </a:lnTo>
                    <a:lnTo>
                      <a:pt x="684" y="668"/>
                    </a:lnTo>
                    <a:close/>
                    <a:moveTo>
                      <a:pt x="684" y="482"/>
                    </a:moveTo>
                    <a:lnTo>
                      <a:pt x="606" y="482"/>
                    </a:lnTo>
                    <a:lnTo>
                      <a:pt x="606" y="365"/>
                    </a:lnTo>
                    <a:lnTo>
                      <a:pt x="684" y="365"/>
                    </a:lnTo>
                    <a:lnTo>
                      <a:pt x="684" y="482"/>
                    </a:lnTo>
                    <a:close/>
                    <a:moveTo>
                      <a:pt x="816" y="668"/>
                    </a:moveTo>
                    <a:lnTo>
                      <a:pt x="738" y="668"/>
                    </a:lnTo>
                    <a:lnTo>
                      <a:pt x="738" y="549"/>
                    </a:lnTo>
                    <a:lnTo>
                      <a:pt x="816" y="549"/>
                    </a:lnTo>
                    <a:lnTo>
                      <a:pt x="816" y="668"/>
                    </a:lnTo>
                    <a:close/>
                    <a:moveTo>
                      <a:pt x="816" y="482"/>
                    </a:moveTo>
                    <a:lnTo>
                      <a:pt x="738" y="482"/>
                    </a:lnTo>
                    <a:lnTo>
                      <a:pt x="738" y="365"/>
                    </a:lnTo>
                    <a:lnTo>
                      <a:pt x="816" y="365"/>
                    </a:lnTo>
                    <a:lnTo>
                      <a:pt x="816" y="482"/>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grpSp>
        <p:sp>
          <p:nvSpPr>
            <p:cNvPr id="86" name="TextBox 85"/>
            <p:cNvSpPr txBox="1"/>
            <p:nvPr/>
          </p:nvSpPr>
          <p:spPr>
            <a:xfrm>
              <a:off x="83345" y="113808"/>
              <a:ext cx="2532630" cy="627864"/>
            </a:xfrm>
            <a:prstGeom prst="rect">
              <a:avLst/>
            </a:prstGeom>
            <a:noFill/>
          </p:spPr>
          <p:txBody>
            <a:bodyPr wrap="square" lIns="182880" tIns="146304" rIns="182880" bIns="146304" rtlCol="0">
              <a:spAutoFit/>
            </a:bodyPr>
            <a:lstStyle>
              <a:defPPr>
                <a:defRPr lang="en-US"/>
              </a:defPPr>
              <a:lvl1pPr>
                <a:lnSpc>
                  <a:spcPct val="90000"/>
                </a:lnSpc>
                <a:spcAft>
                  <a:spcPts val="600"/>
                </a:spcAft>
                <a:defRPr sz="2800" b="1">
                  <a:solidFill>
                    <a:srgbClr val="F2C812"/>
                  </a:solidFill>
                  <a:latin typeface="Segoe UI Light"/>
                </a:defRPr>
              </a:lvl1p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400" b="1" i="0" u="none" strike="noStrike" kern="1200" cap="none" spc="0" normalizeH="0" baseline="0" noProof="0">
                  <a:ln>
                    <a:noFill/>
                  </a:ln>
                  <a:solidFill>
                    <a:srgbClr val="F2C812"/>
                  </a:solidFill>
                  <a:effectLst/>
                  <a:uLnTx/>
                  <a:uFillTx/>
                  <a:latin typeface="Segoe UI Light"/>
                  <a:ea typeface="+mn-ea"/>
                  <a:cs typeface="+mn-cs"/>
                </a:rPr>
                <a:t>Power BI Service</a:t>
              </a:r>
              <a:endParaRPr kumimoji="0" lang="en-US" sz="2800" b="1" i="0" u="none" strike="noStrike" kern="1200" cap="none" spc="0" normalizeH="0" baseline="0" noProof="0">
                <a:ln>
                  <a:noFill/>
                </a:ln>
                <a:solidFill>
                  <a:srgbClr val="F2C812"/>
                </a:solidFill>
                <a:effectLst/>
                <a:uLnTx/>
                <a:uFillTx/>
                <a:latin typeface="Segoe UI Light"/>
                <a:ea typeface="+mn-ea"/>
                <a:cs typeface="+mn-cs"/>
              </a:endParaRPr>
            </a:p>
          </p:txBody>
        </p:sp>
        <p:grpSp>
          <p:nvGrpSpPr>
            <p:cNvPr id="87" name="Group 86"/>
            <p:cNvGrpSpPr/>
            <p:nvPr/>
          </p:nvGrpSpPr>
          <p:grpSpPr>
            <a:xfrm>
              <a:off x="219373" y="3621383"/>
              <a:ext cx="433844" cy="645668"/>
              <a:chOff x="280990" y="3358164"/>
              <a:chExt cx="433844" cy="645668"/>
            </a:xfrm>
          </p:grpSpPr>
          <p:sp>
            <p:nvSpPr>
              <p:cNvPr id="93" name="Oval 1083"/>
              <p:cNvSpPr/>
              <p:nvPr/>
            </p:nvSpPr>
            <p:spPr bwMode="auto">
              <a:xfrm>
                <a:off x="280990" y="3358164"/>
                <a:ext cx="433844" cy="433847"/>
              </a:xfrm>
              <a:prstGeom prst="ellipse">
                <a:avLst/>
              </a:prstGeom>
              <a:solidFill>
                <a:srgbClr val="F2C812"/>
              </a:solidFill>
              <a:ln>
                <a:solidFill>
                  <a:srgbClr val="FFCC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94" name="Group 379"/>
              <p:cNvGrpSpPr/>
              <p:nvPr/>
            </p:nvGrpSpPr>
            <p:grpSpPr>
              <a:xfrm>
                <a:off x="453702" y="3910852"/>
                <a:ext cx="175660" cy="92980"/>
                <a:chOff x="3895793" y="7466656"/>
                <a:chExt cx="785810" cy="415941"/>
              </a:xfrm>
              <a:solidFill>
                <a:srgbClr val="00BCF2"/>
              </a:solidFill>
            </p:grpSpPr>
            <p:sp>
              <p:nvSpPr>
                <p:cNvPr id="95" name="Freeform 132"/>
                <p:cNvSpPr>
                  <a:spLocks/>
                </p:cNvSpPr>
                <p:nvPr/>
              </p:nvSpPr>
              <p:spPr bwMode="auto">
                <a:xfrm>
                  <a:off x="4125979" y="7688918"/>
                  <a:ext cx="0" cy="6353"/>
                </a:xfrm>
                <a:custGeom>
                  <a:avLst/>
                  <a:gdLst>
                    <a:gd name="T0" fmla="*/ 1 w 1"/>
                    <a:gd name="T1" fmla="*/ 0 h 8"/>
                    <a:gd name="T2" fmla="*/ 0 w 1"/>
                    <a:gd name="T3" fmla="*/ 0 h 8"/>
                    <a:gd name="T4" fmla="*/ 1 w 1"/>
                    <a:gd name="T5" fmla="*/ 8 h 8"/>
                    <a:gd name="T6" fmla="*/ 1 w 1"/>
                    <a:gd name="T7" fmla="*/ 0 h 8"/>
                  </a:gdLst>
                  <a:ahLst/>
                  <a:cxnLst>
                    <a:cxn ang="0">
                      <a:pos x="T0" y="T1"/>
                    </a:cxn>
                    <a:cxn ang="0">
                      <a:pos x="T2" y="T3"/>
                    </a:cxn>
                    <a:cxn ang="0">
                      <a:pos x="T4" y="T5"/>
                    </a:cxn>
                    <a:cxn ang="0">
                      <a:pos x="T6" y="T7"/>
                    </a:cxn>
                  </a:cxnLst>
                  <a:rect l="0" t="0" r="r" b="b"/>
                  <a:pathLst>
                    <a:path w="1" h="8">
                      <a:moveTo>
                        <a:pt x="1" y="0"/>
                      </a:moveTo>
                      <a:cubicBezTo>
                        <a:pt x="0" y="0"/>
                        <a:pt x="0" y="0"/>
                        <a:pt x="0" y="0"/>
                      </a:cubicBezTo>
                      <a:cubicBezTo>
                        <a:pt x="0" y="3"/>
                        <a:pt x="1" y="5"/>
                        <a:pt x="1" y="8"/>
                      </a:cubicBezTo>
                      <a:lnTo>
                        <a:pt x="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96" name="Freeform 133"/>
                <p:cNvSpPr>
                  <a:spLocks/>
                </p:cNvSpPr>
                <p:nvPr/>
              </p:nvSpPr>
              <p:spPr bwMode="auto">
                <a:xfrm>
                  <a:off x="3895793" y="7812745"/>
                  <a:ext cx="219078" cy="69852"/>
                </a:xfrm>
                <a:custGeom>
                  <a:avLst/>
                  <a:gdLst>
                    <a:gd name="T0" fmla="*/ 186 w 238"/>
                    <a:gd name="T1" fmla="*/ 9 h 76"/>
                    <a:gd name="T2" fmla="*/ 131 w 238"/>
                    <a:gd name="T3" fmla="*/ 22 h 76"/>
                    <a:gd name="T4" fmla="*/ 60 w 238"/>
                    <a:gd name="T5" fmla="*/ 0 h 76"/>
                    <a:gd name="T6" fmla="*/ 0 w 238"/>
                    <a:gd name="T7" fmla="*/ 42 h 76"/>
                    <a:gd name="T8" fmla="*/ 0 w 238"/>
                    <a:gd name="T9" fmla="*/ 76 h 76"/>
                    <a:gd name="T10" fmla="*/ 238 w 238"/>
                    <a:gd name="T11" fmla="*/ 76 h 76"/>
                    <a:gd name="T12" fmla="*/ 236 w 238"/>
                    <a:gd name="T13" fmla="*/ 53 h 76"/>
                    <a:gd name="T14" fmla="*/ 236 w 238"/>
                    <a:gd name="T15" fmla="*/ 49 h 76"/>
                    <a:gd name="T16" fmla="*/ 186 w 238"/>
                    <a:gd name="T17" fmla="*/ 9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8" h="76">
                      <a:moveTo>
                        <a:pt x="186" y="9"/>
                      </a:moveTo>
                      <a:cubicBezTo>
                        <a:pt x="169" y="18"/>
                        <a:pt x="150" y="22"/>
                        <a:pt x="131" y="22"/>
                      </a:cubicBezTo>
                      <a:cubicBezTo>
                        <a:pt x="105" y="22"/>
                        <a:pt x="80" y="14"/>
                        <a:pt x="60" y="0"/>
                      </a:cubicBezTo>
                      <a:cubicBezTo>
                        <a:pt x="0" y="42"/>
                        <a:pt x="0" y="42"/>
                        <a:pt x="0" y="42"/>
                      </a:cubicBezTo>
                      <a:cubicBezTo>
                        <a:pt x="0" y="76"/>
                        <a:pt x="0" y="76"/>
                        <a:pt x="0" y="76"/>
                      </a:cubicBezTo>
                      <a:cubicBezTo>
                        <a:pt x="238" y="76"/>
                        <a:pt x="238" y="76"/>
                        <a:pt x="238" y="76"/>
                      </a:cubicBezTo>
                      <a:cubicBezTo>
                        <a:pt x="237" y="68"/>
                        <a:pt x="236" y="61"/>
                        <a:pt x="236" y="53"/>
                      </a:cubicBezTo>
                      <a:cubicBezTo>
                        <a:pt x="236" y="51"/>
                        <a:pt x="236" y="50"/>
                        <a:pt x="236" y="49"/>
                      </a:cubicBezTo>
                      <a:lnTo>
                        <a:pt x="186" y="9"/>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97" name="Freeform 137"/>
                <p:cNvSpPr>
                  <a:spLocks/>
                </p:cNvSpPr>
                <p:nvPr/>
              </p:nvSpPr>
              <p:spPr bwMode="auto">
                <a:xfrm>
                  <a:off x="4338704" y="7809561"/>
                  <a:ext cx="65090" cy="73028"/>
                </a:xfrm>
                <a:custGeom>
                  <a:avLst/>
                  <a:gdLst>
                    <a:gd name="T0" fmla="*/ 71 w 71"/>
                    <a:gd name="T1" fmla="*/ 79 h 79"/>
                    <a:gd name="T2" fmla="*/ 71 w 71"/>
                    <a:gd name="T3" fmla="*/ 0 h 79"/>
                    <a:gd name="T4" fmla="*/ 2 w 71"/>
                    <a:gd name="T5" fmla="*/ 53 h 79"/>
                    <a:gd name="T6" fmla="*/ 2 w 71"/>
                    <a:gd name="T7" fmla="*/ 56 h 79"/>
                    <a:gd name="T8" fmla="*/ 0 w 71"/>
                    <a:gd name="T9" fmla="*/ 79 h 79"/>
                    <a:gd name="T10" fmla="*/ 71 w 71"/>
                    <a:gd name="T11" fmla="*/ 79 h 79"/>
                  </a:gdLst>
                  <a:ahLst/>
                  <a:cxnLst>
                    <a:cxn ang="0">
                      <a:pos x="T0" y="T1"/>
                    </a:cxn>
                    <a:cxn ang="0">
                      <a:pos x="T2" y="T3"/>
                    </a:cxn>
                    <a:cxn ang="0">
                      <a:pos x="T4" y="T5"/>
                    </a:cxn>
                    <a:cxn ang="0">
                      <a:pos x="T6" y="T7"/>
                    </a:cxn>
                    <a:cxn ang="0">
                      <a:pos x="T8" y="T9"/>
                    </a:cxn>
                    <a:cxn ang="0">
                      <a:pos x="T10" y="T11"/>
                    </a:cxn>
                  </a:cxnLst>
                  <a:rect l="0" t="0" r="r" b="b"/>
                  <a:pathLst>
                    <a:path w="71" h="79">
                      <a:moveTo>
                        <a:pt x="71" y="79"/>
                      </a:moveTo>
                      <a:cubicBezTo>
                        <a:pt x="71" y="0"/>
                        <a:pt x="71" y="0"/>
                        <a:pt x="71" y="0"/>
                      </a:cubicBezTo>
                      <a:cubicBezTo>
                        <a:pt x="2" y="53"/>
                        <a:pt x="2" y="53"/>
                        <a:pt x="2" y="53"/>
                      </a:cubicBezTo>
                      <a:cubicBezTo>
                        <a:pt x="2" y="54"/>
                        <a:pt x="2" y="55"/>
                        <a:pt x="2" y="56"/>
                      </a:cubicBezTo>
                      <a:cubicBezTo>
                        <a:pt x="2" y="64"/>
                        <a:pt x="1" y="71"/>
                        <a:pt x="0" y="79"/>
                      </a:cubicBezTo>
                      <a:lnTo>
                        <a:pt x="71" y="79"/>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98" name="Freeform 140"/>
                <p:cNvSpPr>
                  <a:spLocks/>
                </p:cNvSpPr>
                <p:nvPr/>
              </p:nvSpPr>
              <p:spPr bwMode="auto">
                <a:xfrm>
                  <a:off x="4600643" y="7622229"/>
                  <a:ext cx="80960" cy="38099"/>
                </a:xfrm>
                <a:custGeom>
                  <a:avLst/>
                  <a:gdLst>
                    <a:gd name="T0" fmla="*/ 0 w 51"/>
                    <a:gd name="T1" fmla="*/ 24 h 24"/>
                    <a:gd name="T2" fmla="*/ 51 w 51"/>
                    <a:gd name="T3" fmla="*/ 24 h 24"/>
                    <a:gd name="T4" fmla="*/ 32 w 51"/>
                    <a:gd name="T5" fmla="*/ 0 h 24"/>
                    <a:gd name="T6" fmla="*/ 0 w 51"/>
                    <a:gd name="T7" fmla="*/ 24 h 24"/>
                  </a:gdLst>
                  <a:ahLst/>
                  <a:cxnLst>
                    <a:cxn ang="0">
                      <a:pos x="T0" y="T1"/>
                    </a:cxn>
                    <a:cxn ang="0">
                      <a:pos x="T2" y="T3"/>
                    </a:cxn>
                    <a:cxn ang="0">
                      <a:pos x="T4" y="T5"/>
                    </a:cxn>
                    <a:cxn ang="0">
                      <a:pos x="T6" y="T7"/>
                    </a:cxn>
                  </a:cxnLst>
                  <a:rect l="0" t="0" r="r" b="b"/>
                  <a:pathLst>
                    <a:path w="51" h="24">
                      <a:moveTo>
                        <a:pt x="0" y="24"/>
                      </a:moveTo>
                      <a:lnTo>
                        <a:pt x="51" y="24"/>
                      </a:lnTo>
                      <a:lnTo>
                        <a:pt x="32" y="0"/>
                      </a:lnTo>
                      <a:lnTo>
                        <a:pt x="0" y="24"/>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99" name="Freeform 141"/>
                <p:cNvSpPr>
                  <a:spLocks/>
                </p:cNvSpPr>
                <p:nvPr/>
              </p:nvSpPr>
              <p:spPr bwMode="auto">
                <a:xfrm>
                  <a:off x="4449825" y="7466656"/>
                  <a:ext cx="119065" cy="139703"/>
                </a:xfrm>
                <a:custGeom>
                  <a:avLst/>
                  <a:gdLst>
                    <a:gd name="T0" fmla="*/ 52 w 75"/>
                    <a:gd name="T1" fmla="*/ 0 h 88"/>
                    <a:gd name="T2" fmla="*/ 0 w 75"/>
                    <a:gd name="T3" fmla="*/ 0 h 88"/>
                    <a:gd name="T4" fmla="*/ 0 w 75"/>
                    <a:gd name="T5" fmla="*/ 88 h 88"/>
                    <a:gd name="T6" fmla="*/ 75 w 75"/>
                    <a:gd name="T7" fmla="*/ 30 h 88"/>
                    <a:gd name="T8" fmla="*/ 52 w 75"/>
                    <a:gd name="T9" fmla="*/ 0 h 88"/>
                  </a:gdLst>
                  <a:ahLst/>
                  <a:cxnLst>
                    <a:cxn ang="0">
                      <a:pos x="T0" y="T1"/>
                    </a:cxn>
                    <a:cxn ang="0">
                      <a:pos x="T2" y="T3"/>
                    </a:cxn>
                    <a:cxn ang="0">
                      <a:pos x="T4" y="T5"/>
                    </a:cxn>
                    <a:cxn ang="0">
                      <a:pos x="T6" y="T7"/>
                    </a:cxn>
                    <a:cxn ang="0">
                      <a:pos x="T8" y="T9"/>
                    </a:cxn>
                  </a:cxnLst>
                  <a:rect l="0" t="0" r="r" b="b"/>
                  <a:pathLst>
                    <a:path w="75" h="88">
                      <a:moveTo>
                        <a:pt x="52" y="0"/>
                      </a:moveTo>
                      <a:lnTo>
                        <a:pt x="0" y="0"/>
                      </a:lnTo>
                      <a:lnTo>
                        <a:pt x="0" y="88"/>
                      </a:lnTo>
                      <a:lnTo>
                        <a:pt x="75" y="30"/>
                      </a:lnTo>
                      <a:lnTo>
                        <a:pt x="52"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grpSp>
        </p:grpSp>
        <p:sp>
          <p:nvSpPr>
            <p:cNvPr id="88" name="Rectangle 152"/>
            <p:cNvSpPr/>
            <p:nvPr/>
          </p:nvSpPr>
          <p:spPr bwMode="auto">
            <a:xfrm>
              <a:off x="712458" y="3628917"/>
              <a:ext cx="1805162" cy="37532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2C812"/>
                  </a:solidFill>
                  <a:effectLst/>
                  <a:uLnTx/>
                  <a:uFillTx/>
                  <a:latin typeface="Segoe UI"/>
                  <a:ea typeface="+mn-ea"/>
                  <a:cs typeface="Segoe UI Light" panose="020B0502040204020203" pitchFamily="34" charset="0"/>
                </a:rPr>
                <a:t>Q&amp;A and </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2C812"/>
                  </a:solidFill>
                  <a:effectLst/>
                  <a:uLnTx/>
                  <a:uFillTx/>
                  <a:latin typeface="Segoe UI"/>
                  <a:ea typeface="+mn-ea"/>
                  <a:cs typeface="Segoe UI Light" panose="020B0502040204020203" pitchFamily="34" charset="0"/>
                </a:rPr>
                <a:t>Quick Insights</a:t>
              </a:r>
              <a:endParaRPr kumimoji="0" lang="en-US" sz="1200" b="1" i="0" u="none" strike="noStrike" kern="1200" cap="none" spc="0" normalizeH="0" baseline="0" noProof="0">
                <a:ln>
                  <a:noFill/>
                </a:ln>
                <a:solidFill>
                  <a:srgbClr val="F2C812"/>
                </a:solidFill>
                <a:effectLst/>
                <a:uLnTx/>
                <a:uFillTx/>
                <a:latin typeface="Segoe UI"/>
                <a:ea typeface="+mn-ea"/>
                <a:cs typeface="Segoe UI Light" panose="020B0502040204020203" pitchFamily="34" charset="0"/>
              </a:endParaRPr>
            </a:p>
          </p:txBody>
        </p:sp>
        <p:sp>
          <p:nvSpPr>
            <p:cNvPr id="89" name="Oval 162"/>
            <p:cNvSpPr/>
            <p:nvPr/>
          </p:nvSpPr>
          <p:spPr bwMode="auto">
            <a:xfrm>
              <a:off x="226619" y="4551712"/>
              <a:ext cx="433844" cy="433844"/>
            </a:xfrm>
            <a:prstGeom prst="ellipse">
              <a:avLst/>
            </a:prstGeom>
            <a:solidFill>
              <a:srgbClr val="F2C812"/>
            </a:solidFill>
            <a:ln>
              <a:solidFill>
                <a:srgbClr val="FFCC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0" name="Rectangle 152"/>
            <p:cNvSpPr/>
            <p:nvPr/>
          </p:nvSpPr>
          <p:spPr bwMode="auto">
            <a:xfrm>
              <a:off x="738443" y="4596194"/>
              <a:ext cx="1884825" cy="30233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2C812"/>
                  </a:solidFill>
                  <a:effectLst/>
                  <a:uLnTx/>
                  <a:uFillTx/>
                  <a:latin typeface="Segoe UI"/>
                  <a:ea typeface="+mn-ea"/>
                  <a:cs typeface="Segoe UI Light" panose="020B0502040204020203" pitchFamily="34" charset="0"/>
                </a:rPr>
                <a:t>Sharing</a:t>
              </a:r>
              <a:endParaRPr kumimoji="0" lang="en-US" sz="1200" b="1" i="1" u="none" strike="noStrike" kern="1200" cap="none" spc="0" normalizeH="0" baseline="0" noProof="0">
                <a:ln>
                  <a:noFill/>
                </a:ln>
                <a:solidFill>
                  <a:srgbClr val="F2C812"/>
                </a:solidFill>
                <a:effectLst/>
                <a:uLnTx/>
                <a:uFillTx/>
                <a:latin typeface="Segoe UI"/>
                <a:ea typeface="+mn-ea"/>
                <a:cs typeface="Segoe UI Light" panose="020B0502040204020203" pitchFamily="34" charset="0"/>
              </a:endParaRPr>
            </a:p>
          </p:txBody>
        </p:sp>
        <p:sp>
          <p:nvSpPr>
            <p:cNvPr id="91" name="Rectangle 145"/>
            <p:cNvSpPr/>
            <p:nvPr/>
          </p:nvSpPr>
          <p:spPr bwMode="auto">
            <a:xfrm>
              <a:off x="697198" y="1847637"/>
              <a:ext cx="1821468" cy="3831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2C812"/>
                  </a:solidFill>
                  <a:effectLst/>
                  <a:uLnTx/>
                  <a:uFillTx/>
                  <a:latin typeface="Segoe UI"/>
                  <a:ea typeface="+mn-ea"/>
                  <a:cs typeface="Segoe UI Light" panose="020B0502040204020203" pitchFamily="34" charset="0"/>
                </a:rPr>
                <a:t>Pinning and Navigation</a:t>
              </a:r>
            </a:p>
          </p:txBody>
        </p:sp>
        <p:sp>
          <p:nvSpPr>
            <p:cNvPr id="92" name="Oval 162"/>
            <p:cNvSpPr/>
            <p:nvPr/>
          </p:nvSpPr>
          <p:spPr bwMode="auto">
            <a:xfrm>
              <a:off x="224136" y="1813606"/>
              <a:ext cx="433844" cy="433844"/>
            </a:xfrm>
            <a:prstGeom prst="ellipse">
              <a:avLst/>
            </a:prstGeom>
            <a:solidFill>
              <a:srgbClr val="FFCC00"/>
            </a:solidFill>
            <a:ln>
              <a:solidFill>
                <a:srgbClr val="F2C81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pic>
        <p:nvPicPr>
          <p:cNvPr id="106" name="Picture 105"/>
          <p:cNvPicPr>
            <a:picLocks noChangeAspect="1"/>
          </p:cNvPicPr>
          <p:nvPr/>
        </p:nvPicPr>
        <p:blipFill rotWithShape="1">
          <a:blip r:embed="rId4"/>
          <a:srcRect l="6503" t="21287" r="74698" b="20220"/>
          <a:stretch/>
        </p:blipFill>
        <p:spPr>
          <a:xfrm>
            <a:off x="339111" y="1946110"/>
            <a:ext cx="228600" cy="231962"/>
          </a:xfrm>
          <a:prstGeom prst="rect">
            <a:avLst/>
          </a:prstGeom>
        </p:spPr>
      </p:pic>
      <p:pic>
        <p:nvPicPr>
          <p:cNvPr id="107" name="Picture 106"/>
          <p:cNvPicPr>
            <a:picLocks noChangeAspect="1"/>
          </p:cNvPicPr>
          <p:nvPr/>
        </p:nvPicPr>
        <p:blipFill>
          <a:blip r:embed="rId5"/>
          <a:stretch>
            <a:fillRect/>
          </a:stretch>
        </p:blipFill>
        <p:spPr>
          <a:xfrm>
            <a:off x="284769" y="3673076"/>
            <a:ext cx="311766" cy="303106"/>
          </a:xfrm>
          <a:prstGeom prst="rect">
            <a:avLst/>
          </a:prstGeom>
        </p:spPr>
      </p:pic>
      <p:sp>
        <p:nvSpPr>
          <p:cNvPr id="108" name="Rectangle 145"/>
          <p:cNvSpPr/>
          <p:nvPr/>
        </p:nvSpPr>
        <p:spPr bwMode="auto">
          <a:xfrm>
            <a:off x="718897" y="5436715"/>
            <a:ext cx="1821468" cy="3831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2C812"/>
                </a:solidFill>
                <a:effectLst/>
                <a:uLnTx/>
                <a:uFillTx/>
                <a:latin typeface="Segoe UI"/>
                <a:ea typeface="+mn-ea"/>
                <a:cs typeface="Segoe UI Light" panose="020B0502040204020203" pitchFamily="34" charset="0"/>
              </a:rPr>
              <a:t>Connect from Excel</a:t>
            </a:r>
          </a:p>
        </p:txBody>
      </p:sp>
      <p:sp>
        <p:nvSpPr>
          <p:cNvPr id="109" name="Oval 162"/>
          <p:cNvSpPr/>
          <p:nvPr/>
        </p:nvSpPr>
        <p:spPr bwMode="auto">
          <a:xfrm>
            <a:off x="231441" y="5429649"/>
            <a:ext cx="433844" cy="433844"/>
          </a:xfrm>
          <a:prstGeom prst="ellipse">
            <a:avLst/>
          </a:prstGeom>
          <a:solidFill>
            <a:srgbClr val="FFCC00"/>
          </a:solidFill>
          <a:ln>
            <a:solidFill>
              <a:srgbClr val="F2C81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10" name="Picture 109"/>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flipH="1">
            <a:off x="283763" y="4596680"/>
            <a:ext cx="357484" cy="357484"/>
          </a:xfrm>
          <a:prstGeom prst="rect">
            <a:avLst/>
          </a:prstGeom>
        </p:spPr>
      </p:pic>
      <p:sp>
        <p:nvSpPr>
          <p:cNvPr id="111" name="Oval 162"/>
          <p:cNvSpPr/>
          <p:nvPr/>
        </p:nvSpPr>
        <p:spPr bwMode="auto">
          <a:xfrm>
            <a:off x="233032" y="6267344"/>
            <a:ext cx="433844" cy="433844"/>
          </a:xfrm>
          <a:prstGeom prst="ellipse">
            <a:avLst/>
          </a:prstGeom>
          <a:solidFill>
            <a:srgbClr val="FFCC00"/>
          </a:solidFill>
          <a:ln>
            <a:solidFill>
              <a:srgbClr val="F2C81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2" name="Rectangle 145"/>
          <p:cNvSpPr/>
          <p:nvPr/>
        </p:nvSpPr>
        <p:spPr bwMode="auto">
          <a:xfrm>
            <a:off x="701416" y="6289969"/>
            <a:ext cx="1821468" cy="3831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2C812"/>
                </a:solidFill>
                <a:effectLst/>
                <a:uLnTx/>
                <a:uFillTx/>
                <a:latin typeface="Segoe UI"/>
                <a:ea typeface="+mn-ea"/>
                <a:cs typeface="Segoe UI Light" panose="020B0502040204020203" pitchFamily="34" charset="0"/>
              </a:rPr>
              <a:t>Mobile Reports</a:t>
            </a:r>
          </a:p>
        </p:txBody>
      </p:sp>
      <p:pic>
        <p:nvPicPr>
          <p:cNvPr id="113" name="Picture 112"/>
          <p:cNvPicPr>
            <a:picLocks noChangeAspect="1"/>
          </p:cNvPicPr>
          <p:nvPr/>
        </p:nvPicPr>
        <p:blipFill>
          <a:blip r:embed="rId7" cstate="print">
            <a:extLst>
              <a:ext uri="{BEBA8EAE-BF5A-486C-A8C5-ECC9F3942E4B}">
                <a14:imgProps xmlns:a14="http://schemas.microsoft.com/office/drawing/2010/main">
                  <a14:imgLayer r:embed="rId8">
                    <a14:imgEffect>
                      <a14:saturation sat="0"/>
                    </a14:imgEffect>
                  </a14:imgLayer>
                </a14:imgProps>
              </a:ext>
              <a:ext uri="{28A0092B-C50C-407E-A947-70E740481C1C}">
                <a14:useLocalDpi xmlns:a14="http://schemas.microsoft.com/office/drawing/2010/main" val="0"/>
              </a:ext>
            </a:extLst>
          </a:blip>
          <a:stretch>
            <a:fillRect/>
          </a:stretch>
        </p:blipFill>
        <p:spPr>
          <a:xfrm>
            <a:off x="391946" y="6350039"/>
            <a:ext cx="133350" cy="251587"/>
          </a:xfrm>
          <a:prstGeom prst="rect">
            <a:avLst/>
          </a:prstGeom>
        </p:spPr>
      </p:pic>
      <p:pic>
        <p:nvPicPr>
          <p:cNvPr id="114" name="Picture 113"/>
          <p:cNvPicPr>
            <a:picLocks noChangeAspect="1"/>
          </p:cNvPicPr>
          <p:nvPr/>
        </p:nvPicPr>
        <p:blipFill>
          <a:blip r:embed="rId9" cstate="print">
            <a:biLevel thresh="50000"/>
            <a:extLst>
              <a:ext uri="{28A0092B-C50C-407E-A947-70E740481C1C}">
                <a14:useLocalDpi xmlns:a14="http://schemas.microsoft.com/office/drawing/2010/main" val="0"/>
              </a:ext>
            </a:extLst>
          </a:blip>
          <a:stretch>
            <a:fillRect/>
          </a:stretch>
        </p:blipFill>
        <p:spPr>
          <a:xfrm>
            <a:off x="332658" y="5538489"/>
            <a:ext cx="268940" cy="268940"/>
          </a:xfrm>
          <a:prstGeom prst="rect">
            <a:avLst/>
          </a:prstGeom>
        </p:spPr>
      </p:pic>
      <p:sp>
        <p:nvSpPr>
          <p:cNvPr id="115" name="Rectangle 114"/>
          <p:cNvSpPr/>
          <p:nvPr/>
        </p:nvSpPr>
        <p:spPr bwMode="auto">
          <a:xfrm>
            <a:off x="35912" y="2594112"/>
            <a:ext cx="2464420" cy="4194313"/>
          </a:xfrm>
          <a:prstGeom prst="rect">
            <a:avLst/>
          </a:prstGeom>
          <a:solidFill>
            <a:srgbClr val="000000">
              <a:alpha val="6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6" name="Rectangle 115"/>
          <p:cNvSpPr/>
          <p:nvPr/>
        </p:nvSpPr>
        <p:spPr bwMode="auto">
          <a:xfrm>
            <a:off x="95936" y="731576"/>
            <a:ext cx="2464420" cy="880187"/>
          </a:xfrm>
          <a:prstGeom prst="rect">
            <a:avLst/>
          </a:prstGeom>
          <a:solidFill>
            <a:srgbClr val="000000">
              <a:alpha val="6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6635290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8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0" grpId="0" animBg="1"/>
    </p:bldLst>
  </p:timing>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 name="Title 10"/>
          <p:cNvSpPr txBox="1">
            <a:spLocks/>
          </p:cNvSpPr>
          <p:nvPr/>
        </p:nvSpPr>
        <p:spPr>
          <a:xfrm>
            <a:off x="2849060" y="0"/>
            <a:ext cx="9342940" cy="665151"/>
          </a:xfrm>
          <a:prstGeom prst="rect">
            <a:avLst/>
          </a:prstGeom>
          <a:noFill/>
        </p:spPr>
        <p:txBody>
          <a:bodyPr vert="horz" wrap="square" lIns="0" tIns="91440" rIns="0" bIns="91440" rtlCol="0" anchor="t">
            <a:noAutofit/>
          </a:bodyPr>
          <a:lstStyle>
            <a:lvl1pPr defTabSz="914367">
              <a:lnSpc>
                <a:spcPct val="90000"/>
              </a:lnSpc>
              <a:spcBef>
                <a:spcPct val="0"/>
              </a:spcBef>
              <a:buNone/>
              <a:defRPr lang="en-US" sz="5294" b="0" cap="none" spc="-100" baseline="0" dirty="0" smtClean="0">
                <a:ln w="3175">
                  <a:noFill/>
                </a:ln>
                <a:solidFill>
                  <a:schemeClr val="tx2"/>
                </a:solidFill>
                <a:effectLst/>
                <a:latin typeface="+mj-lt"/>
                <a:cs typeface="Segoe UI" pitchFamily="34" charset="0"/>
              </a:defRPr>
            </a:lvl1pPr>
          </a:lstStyle>
          <a:p>
            <a:pPr marL="168275" marR="0" lvl="0" indent="0" algn="l" defTabSz="914367" rtl="0" eaLnBrk="1" fontAlgn="auto" latinLnBrk="0" hangingPunct="1">
              <a:lnSpc>
                <a:spcPct val="90000"/>
              </a:lnSpc>
              <a:spcBef>
                <a:spcPct val="0"/>
              </a:spcBef>
              <a:spcAft>
                <a:spcPts val="0"/>
              </a:spcAft>
              <a:buClrTx/>
              <a:buSzTx/>
              <a:buFontTx/>
              <a:buNone/>
              <a:tabLst/>
              <a:defRPr/>
            </a:pPr>
            <a:r>
              <a:rPr kumimoji="0" lang="en-US" sz="3600" b="0" i="0" u="none" strike="noStrike" kern="1200" cap="none" spc="-100" normalizeH="0" baseline="0" noProof="0">
                <a:ln w="3175">
                  <a:noFill/>
                </a:ln>
                <a:solidFill>
                  <a:prstClr val="black"/>
                </a:solidFill>
                <a:effectLst/>
                <a:uLnTx/>
                <a:uFillTx/>
                <a:latin typeface="Segoe UI Light"/>
                <a:ea typeface="+mn-ea"/>
                <a:cs typeface="Segoe UI" pitchFamily="34" charset="0"/>
              </a:rPr>
              <a:t>Pinning and Navigation</a:t>
            </a:r>
            <a:endParaRPr kumimoji="0" lang="en-IN" sz="3600" b="0" i="0" u="none" strike="noStrike" kern="1200" cap="none" spc="-100" normalizeH="0" baseline="0" noProof="0">
              <a:ln w="3175">
                <a:noFill/>
              </a:ln>
              <a:solidFill>
                <a:prstClr val="black"/>
              </a:solidFill>
              <a:effectLst/>
              <a:uLnTx/>
              <a:uFillTx/>
              <a:latin typeface="Segoe UI Light"/>
              <a:ea typeface="+mn-ea"/>
              <a:cs typeface="Segoe UI" pitchFamily="34" charset="0"/>
            </a:endParaRPr>
          </a:p>
        </p:txBody>
      </p:sp>
      <p:sp>
        <p:nvSpPr>
          <p:cNvPr id="41" name="Rectangle 3"/>
          <p:cNvSpPr/>
          <p:nvPr/>
        </p:nvSpPr>
        <p:spPr bwMode="auto">
          <a:xfrm>
            <a:off x="3202216" y="665151"/>
            <a:ext cx="8105312" cy="44435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PT" sz="2000" b="0" i="1" u="none" strike="noStrike" kern="1200" cap="none" spc="0" normalizeH="0" baseline="0" noProof="0">
                <a:ln>
                  <a:noFill/>
                </a:ln>
                <a:solidFill>
                  <a:prstClr val="black"/>
                </a:solidFill>
                <a:effectLst/>
                <a:uLnTx/>
                <a:uFillTx/>
                <a:latin typeface="Segoe UI Light"/>
                <a:ea typeface="+mn-ea"/>
                <a:cs typeface="+mn-cs"/>
              </a:rPr>
              <a:t>Dashboard</a:t>
            </a:r>
            <a:endParaRPr kumimoji="0" lang="en-US" sz="2000" b="0" i="1" u="none" strike="noStrike" kern="1200" cap="none" spc="0" normalizeH="0" baseline="0" noProof="0">
              <a:ln>
                <a:noFill/>
              </a:ln>
              <a:solidFill>
                <a:prstClr val="black"/>
              </a:solidFill>
              <a:effectLst/>
              <a:uLnTx/>
              <a:uFillTx/>
              <a:latin typeface="Segoe UI Light"/>
              <a:ea typeface="+mn-ea"/>
              <a:cs typeface="+mn-cs"/>
            </a:endParaRPr>
          </a:p>
        </p:txBody>
      </p:sp>
      <p:pic>
        <p:nvPicPr>
          <p:cNvPr id="2" name="Picture 1"/>
          <p:cNvPicPr>
            <a:picLocks noChangeAspect="1"/>
          </p:cNvPicPr>
          <p:nvPr/>
        </p:nvPicPr>
        <p:blipFill rotWithShape="1">
          <a:blip r:embed="rId3"/>
          <a:srcRect r="2072"/>
          <a:stretch/>
        </p:blipFill>
        <p:spPr>
          <a:xfrm>
            <a:off x="4040346" y="1299129"/>
            <a:ext cx="7409532" cy="5320182"/>
          </a:xfrm>
          <a:prstGeom prst="rect">
            <a:avLst/>
          </a:prstGeom>
        </p:spPr>
      </p:pic>
      <p:pic>
        <p:nvPicPr>
          <p:cNvPr id="3" name="Picture 2"/>
          <p:cNvPicPr>
            <a:picLocks noChangeAspect="1"/>
          </p:cNvPicPr>
          <p:nvPr/>
        </p:nvPicPr>
        <p:blipFill rotWithShape="1">
          <a:blip r:embed="rId4"/>
          <a:srcRect b="68299"/>
          <a:stretch/>
        </p:blipFill>
        <p:spPr>
          <a:xfrm>
            <a:off x="4073249" y="3890937"/>
            <a:ext cx="1127488" cy="1375257"/>
          </a:xfrm>
          <a:prstGeom prst="rect">
            <a:avLst/>
          </a:prstGeom>
        </p:spPr>
      </p:pic>
      <p:pic>
        <p:nvPicPr>
          <p:cNvPr id="6" name="Picture 5"/>
          <p:cNvPicPr>
            <a:picLocks noChangeAspect="1"/>
          </p:cNvPicPr>
          <p:nvPr/>
        </p:nvPicPr>
        <p:blipFill rotWithShape="1">
          <a:blip r:embed="rId4"/>
          <a:srcRect t="75412"/>
          <a:stretch/>
        </p:blipFill>
        <p:spPr>
          <a:xfrm>
            <a:off x="4040346" y="5217355"/>
            <a:ext cx="1160391" cy="1097810"/>
          </a:xfrm>
          <a:prstGeom prst="rect">
            <a:avLst/>
          </a:prstGeom>
        </p:spPr>
      </p:pic>
      <p:sp>
        <p:nvSpPr>
          <p:cNvPr id="42" name="Rectangle 41"/>
          <p:cNvSpPr/>
          <p:nvPr/>
        </p:nvSpPr>
        <p:spPr bwMode="auto">
          <a:xfrm>
            <a:off x="5303656" y="1564417"/>
            <a:ext cx="6146222" cy="5054894"/>
          </a:xfrm>
          <a:prstGeom prst="rect">
            <a:avLst/>
          </a:prstGeom>
          <a:solidFill>
            <a:srgbClr val="000000">
              <a:alpha val="89804"/>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3" name="Rectangle 42"/>
          <p:cNvSpPr/>
          <p:nvPr/>
        </p:nvSpPr>
        <p:spPr bwMode="auto">
          <a:xfrm>
            <a:off x="4073249" y="2807804"/>
            <a:ext cx="1127488" cy="1038640"/>
          </a:xfrm>
          <a:prstGeom prst="rect">
            <a:avLst/>
          </a:prstGeom>
          <a:noFill/>
          <a:ln w="38100">
            <a:solidFill>
              <a:srgbClr val="FF00F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1" name="Text Placeholder 2"/>
          <p:cNvSpPr txBox="1">
            <a:spLocks/>
          </p:cNvSpPr>
          <p:nvPr/>
        </p:nvSpPr>
        <p:spPr>
          <a:xfrm>
            <a:off x="5200737" y="1697659"/>
            <a:ext cx="6106791" cy="897374"/>
          </a:xfrm>
          <a:prstGeom prst="rect">
            <a:avLst/>
          </a:prstGeom>
        </p:spPr>
        <p:txBody>
          <a:bodyPr vert="horz" wrap="square" lIns="182880" tIns="146304" rIns="182880" bIns="146304" rtlCol="0">
            <a:noAutofit/>
          </a:bodyPr>
          <a:lstStyle>
            <a:lvl1pPr marL="182845" marR="0"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3921" kern="1200" spc="0" baseline="0">
                <a:gradFill>
                  <a:gsLst>
                    <a:gs pos="1250">
                      <a:schemeClr val="tx2"/>
                    </a:gs>
                    <a:gs pos="99000">
                      <a:schemeClr val="tx2"/>
                    </a:gs>
                  </a:gsLst>
                  <a:lin ang="5400000" scaled="0"/>
                </a:gradFill>
                <a:latin typeface="+mj-lt"/>
                <a:ea typeface="+mn-ea"/>
                <a:cs typeface="+mn-cs"/>
              </a:defRPr>
            </a:lvl1pPr>
            <a:lvl2pPr marL="365690" marR="0"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2400" kern="1200" spc="0" baseline="0">
                <a:solidFill>
                  <a:schemeClr val="tx2"/>
                </a:solidFill>
                <a:latin typeface="+mj-lt"/>
                <a:ea typeface="+mn-ea"/>
                <a:cs typeface="+mn-cs"/>
              </a:defRPr>
            </a:lvl2pPr>
            <a:lvl3pPr marL="548535" marR="0"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2000" kern="1200" spc="0" baseline="0">
                <a:solidFill>
                  <a:schemeClr val="tx2"/>
                </a:solidFill>
                <a:latin typeface="+mj-lt"/>
                <a:ea typeface="+mn-ea"/>
                <a:cs typeface="+mn-cs"/>
              </a:defRPr>
            </a:lvl3pPr>
            <a:lvl4pPr marL="733802" marR="0" indent="-28569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1765" kern="1200" spc="0" baseline="0">
                <a:solidFill>
                  <a:schemeClr val="tx2"/>
                </a:solidFill>
                <a:latin typeface="+mn-lt"/>
                <a:ea typeface="+mn-ea"/>
                <a:cs typeface="+mn-cs"/>
              </a:defRPr>
            </a:lvl4pPr>
            <a:lvl5pPr marL="957856" marR="0" indent="-28569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1765" kern="1200" spc="0" baseline="0">
                <a:solidFill>
                  <a:schemeClr val="tx2"/>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r>
              <a:rPr kumimoji="0" lang="en-US" sz="2000" b="0" i="0" u="none" strike="noStrike" kern="1200" cap="none" spc="0" normalizeH="0" baseline="0" noProof="0">
                <a:ln>
                  <a:noFill/>
                </a:ln>
                <a:solidFill>
                  <a:prstClr val="white"/>
                </a:solidFill>
                <a:effectLst/>
                <a:uLnTx/>
                <a:uFillTx/>
                <a:latin typeface="Segoe UI Light"/>
                <a:ea typeface="+mn-ea"/>
                <a:cs typeface="Times New Roman" panose="02020603050405020304" pitchFamily="18" charset="0"/>
              </a:rPr>
              <a:t>A dashboard </a:t>
            </a:r>
            <a:r>
              <a:rPr kumimoji="0" lang="en-US" sz="2000" b="1" i="0" u="none" strike="noStrike" kern="1200" cap="none" spc="0" normalizeH="0" baseline="0" noProof="0">
                <a:ln>
                  <a:noFill/>
                </a:ln>
                <a:solidFill>
                  <a:prstClr val="white"/>
                </a:solidFill>
                <a:effectLst/>
                <a:uLnTx/>
                <a:uFillTx/>
                <a:latin typeface="Segoe UI Light"/>
                <a:ea typeface="+mn-ea"/>
                <a:cs typeface="Times New Roman" panose="02020603050405020304" pitchFamily="18" charset="0"/>
              </a:rPr>
              <a:t>aggregates most important visualizations</a:t>
            </a:r>
            <a:r>
              <a:rPr kumimoji="0" lang="en-US" sz="2000" b="0" i="0" u="none" strike="noStrike" kern="1200" cap="none" spc="0" normalizeH="0" baseline="0" noProof="0">
                <a:ln>
                  <a:noFill/>
                </a:ln>
                <a:solidFill>
                  <a:prstClr val="white"/>
                </a:solidFill>
                <a:effectLst/>
                <a:uLnTx/>
                <a:uFillTx/>
                <a:latin typeface="Segoe UI Light"/>
                <a:ea typeface="+mn-ea"/>
                <a:cs typeface="Times New Roman" panose="02020603050405020304" pitchFamily="18" charset="0"/>
              </a:rPr>
              <a:t> from several different reports (and datasets)</a:t>
            </a: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0" i="0" u="none" strike="noStrike" kern="1200" cap="none" spc="0" normalizeH="0" baseline="0" noProof="0">
              <a:ln>
                <a:noFill/>
              </a:ln>
              <a:solidFill>
                <a:prstClr val="white"/>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r>
              <a:rPr kumimoji="0" lang="en-US" sz="2000" b="0" i="0" u="none" strike="noStrike" kern="1200" cap="none" spc="0" normalizeH="0" baseline="0" noProof="0">
                <a:ln>
                  <a:noFill/>
                </a:ln>
                <a:solidFill>
                  <a:prstClr val="white"/>
                </a:solidFill>
                <a:effectLst/>
                <a:uLnTx/>
                <a:uFillTx/>
                <a:latin typeface="Segoe UI Light"/>
                <a:ea typeface="+mn-ea"/>
                <a:cs typeface="Times New Roman" panose="02020603050405020304" pitchFamily="18" charset="0"/>
              </a:rPr>
              <a:t>It is composed of </a:t>
            </a:r>
            <a:r>
              <a:rPr kumimoji="0" lang="en-US" sz="2000" b="1" i="0" u="none" strike="noStrike" kern="1200" cap="none" spc="0" normalizeH="0" baseline="0" noProof="0">
                <a:ln>
                  <a:noFill/>
                </a:ln>
                <a:solidFill>
                  <a:prstClr val="white"/>
                </a:solidFill>
                <a:effectLst/>
                <a:uLnTx/>
                <a:uFillTx/>
                <a:latin typeface="Segoe UI Light"/>
                <a:ea typeface="+mn-ea"/>
                <a:cs typeface="Times New Roman" panose="02020603050405020304" pitchFamily="18" charset="0"/>
              </a:rPr>
              <a:t>tiles </a:t>
            </a:r>
            <a:r>
              <a:rPr kumimoji="0" lang="en-US" sz="2000" b="0" i="0" u="none" strike="noStrike" kern="1200" cap="none" spc="0" normalizeH="0" baseline="0" noProof="0">
                <a:ln>
                  <a:noFill/>
                </a:ln>
                <a:solidFill>
                  <a:prstClr val="white"/>
                </a:solidFill>
                <a:effectLst/>
                <a:uLnTx/>
                <a:uFillTx/>
                <a:latin typeface="Segoe UI Light"/>
                <a:ea typeface="+mn-ea"/>
                <a:cs typeface="Times New Roman" panose="02020603050405020304" pitchFamily="18" charset="0"/>
              </a:rPr>
              <a:t>and </a:t>
            </a:r>
            <a:r>
              <a:rPr kumimoji="0" lang="en-US" sz="2000" b="1" i="0" u="none" strike="noStrike" kern="1200" cap="none" spc="0" normalizeH="0" baseline="0" noProof="0">
                <a:ln>
                  <a:noFill/>
                </a:ln>
                <a:solidFill>
                  <a:prstClr val="white"/>
                </a:solidFill>
                <a:effectLst/>
                <a:uLnTx/>
                <a:uFillTx/>
                <a:latin typeface="Segoe UI Light"/>
                <a:ea typeface="+mn-ea"/>
                <a:cs typeface="Times New Roman" panose="02020603050405020304" pitchFamily="18" charset="0"/>
              </a:rPr>
              <a:t>widgets</a:t>
            </a: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1" i="0" u="none" strike="noStrike" kern="1200" cap="none" spc="0" normalizeH="0" baseline="0" noProof="0">
              <a:ln>
                <a:noFill/>
              </a:ln>
              <a:solidFill>
                <a:prstClr val="white"/>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r>
              <a:rPr kumimoji="0" lang="en-US" sz="2000" b="0" i="0" u="none" strike="noStrike" kern="1200" cap="none" spc="0" normalizeH="0" baseline="0" noProof="0">
                <a:ln>
                  <a:noFill/>
                </a:ln>
                <a:solidFill>
                  <a:prstClr val="white"/>
                </a:solidFill>
                <a:effectLst/>
                <a:uLnTx/>
                <a:uFillTx/>
                <a:latin typeface="Segoe UI Light"/>
                <a:ea typeface="+mn-ea"/>
                <a:cs typeface="Times New Roman" panose="02020603050405020304" pitchFamily="18" charset="0"/>
              </a:rPr>
              <a:t>Tiles </a:t>
            </a:r>
            <a:r>
              <a:rPr kumimoji="0" lang="en-US" sz="2000" b="1" i="0" u="none" strike="noStrike" kern="1200" cap="none" spc="0" normalizeH="0" baseline="0" noProof="0">
                <a:ln>
                  <a:noFill/>
                </a:ln>
                <a:solidFill>
                  <a:prstClr val="white"/>
                </a:solidFill>
                <a:effectLst/>
                <a:uLnTx/>
                <a:uFillTx/>
                <a:latin typeface="Segoe UI Light"/>
                <a:ea typeface="+mn-ea"/>
                <a:cs typeface="Times New Roman" panose="02020603050405020304" pitchFamily="18" charset="0"/>
              </a:rPr>
              <a:t>can be updated in real-time</a:t>
            </a: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1" i="0" u="none" strike="noStrike" kern="1200" cap="none" spc="0" normalizeH="0" baseline="0" noProof="0">
              <a:ln>
                <a:noFill/>
              </a:ln>
              <a:solidFill>
                <a:prstClr val="white"/>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r>
              <a:rPr kumimoji="0" lang="en-US" sz="2000" b="0" i="0" u="none" strike="noStrike" kern="1200" cap="none" spc="0" normalizeH="0" baseline="0" noProof="0">
                <a:ln>
                  <a:noFill/>
                </a:ln>
                <a:solidFill>
                  <a:prstClr val="white"/>
                </a:solidFill>
                <a:effectLst/>
                <a:uLnTx/>
                <a:uFillTx/>
                <a:latin typeface="Segoe UI Light"/>
                <a:ea typeface="+mn-ea"/>
                <a:cs typeface="Times New Roman" panose="02020603050405020304" pitchFamily="18" charset="0"/>
              </a:rPr>
              <a:t>Each tile can </a:t>
            </a:r>
            <a:r>
              <a:rPr kumimoji="0" lang="en-US" sz="2000" b="1" i="0" u="none" strike="noStrike" kern="1200" cap="none" spc="0" normalizeH="0" baseline="0" noProof="0">
                <a:ln>
                  <a:noFill/>
                </a:ln>
                <a:solidFill>
                  <a:prstClr val="white"/>
                </a:solidFill>
                <a:effectLst/>
                <a:uLnTx/>
                <a:uFillTx/>
                <a:latin typeface="Segoe UI Light"/>
                <a:ea typeface="+mn-ea"/>
                <a:cs typeface="Times New Roman" panose="02020603050405020304" pitchFamily="18" charset="0"/>
              </a:rPr>
              <a:t>navigate back </a:t>
            </a:r>
            <a:r>
              <a:rPr kumimoji="0" lang="en-US" sz="2000" b="0" i="0" u="none" strike="noStrike" kern="1200" cap="none" spc="0" normalizeH="0" baseline="0" noProof="0">
                <a:ln>
                  <a:noFill/>
                </a:ln>
                <a:solidFill>
                  <a:prstClr val="white"/>
                </a:solidFill>
                <a:effectLst/>
                <a:uLnTx/>
                <a:uFillTx/>
                <a:latin typeface="Segoe UI Light"/>
                <a:ea typeface="+mn-ea"/>
                <a:cs typeface="Times New Roman" panose="02020603050405020304" pitchFamily="18" charset="0"/>
              </a:rPr>
              <a:t>to its </a:t>
            </a:r>
            <a:r>
              <a:rPr kumimoji="0" lang="en-US" sz="2000" b="1" i="0" u="none" strike="noStrike" kern="1200" cap="none" spc="0" normalizeH="0" baseline="0" noProof="0">
                <a:ln>
                  <a:noFill/>
                </a:ln>
                <a:solidFill>
                  <a:prstClr val="white"/>
                </a:solidFill>
                <a:effectLst/>
                <a:uLnTx/>
                <a:uFillTx/>
                <a:latin typeface="Segoe UI Light"/>
                <a:ea typeface="+mn-ea"/>
                <a:cs typeface="Times New Roman" panose="02020603050405020304" pitchFamily="18" charset="0"/>
              </a:rPr>
              <a:t>underlying report </a:t>
            </a:r>
            <a:r>
              <a:rPr kumimoji="0" lang="en-US" sz="2000" b="0" i="0" u="none" strike="noStrike" kern="1200" cap="none" spc="0" normalizeH="0" baseline="0" noProof="0">
                <a:ln>
                  <a:noFill/>
                </a:ln>
                <a:solidFill>
                  <a:prstClr val="white"/>
                </a:solidFill>
                <a:effectLst/>
                <a:uLnTx/>
                <a:uFillTx/>
                <a:latin typeface="Segoe UI Light"/>
                <a:ea typeface="+mn-ea"/>
                <a:cs typeface="Times New Roman" panose="02020603050405020304" pitchFamily="18" charset="0"/>
              </a:rPr>
              <a:t>or to a </a:t>
            </a:r>
            <a:r>
              <a:rPr kumimoji="0" lang="en-US" sz="2000" b="1" i="0" u="none" strike="noStrike" kern="1200" cap="none" spc="0" normalizeH="0" baseline="0" noProof="0">
                <a:ln>
                  <a:noFill/>
                </a:ln>
                <a:solidFill>
                  <a:prstClr val="white"/>
                </a:solidFill>
                <a:effectLst/>
                <a:uLnTx/>
                <a:uFillTx/>
                <a:latin typeface="Segoe UI Light"/>
                <a:ea typeface="+mn-ea"/>
                <a:cs typeface="Times New Roman" panose="02020603050405020304" pitchFamily="18" charset="0"/>
              </a:rPr>
              <a:t>custom URL</a:t>
            </a:r>
            <a:endParaRPr kumimoji="0" lang="en-US" sz="2000" b="0" i="0" u="none" strike="noStrike" kern="1200" cap="none" spc="0" normalizeH="0" baseline="0" noProof="0">
              <a:ln>
                <a:noFill/>
              </a:ln>
              <a:solidFill>
                <a:prstClr val="white"/>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0" i="0" u="none" strike="noStrike" kern="1200" cap="none" spc="0" normalizeH="0" baseline="0" noProof="0">
              <a:ln>
                <a:noFill/>
              </a:ln>
              <a:solidFill>
                <a:prstClr val="white"/>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0" i="0" u="none" strike="noStrike" kern="1200" cap="none" spc="0" normalizeH="0" baseline="0" noProof="0">
              <a:ln>
                <a:noFill/>
              </a:ln>
              <a:solidFill>
                <a:prstClr val="white"/>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1" i="0" u="none" strike="noStrike" kern="1200" cap="none" spc="0" normalizeH="0" baseline="0" noProof="0">
              <a:ln>
                <a:noFill/>
              </a:ln>
              <a:solidFill>
                <a:prstClr val="white"/>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1" i="0" u="none" strike="noStrike" kern="1200" cap="none" spc="0" normalizeH="0" baseline="0" noProof="0">
              <a:ln>
                <a:noFill/>
              </a:ln>
              <a:solidFill>
                <a:prstClr val="white"/>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1" i="0" u="none" strike="noStrike" kern="1200" cap="none" spc="0" normalizeH="0" baseline="0" noProof="0">
              <a:ln>
                <a:noFill/>
              </a:ln>
              <a:solidFill>
                <a:prstClr val="white"/>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1" i="0" u="none" strike="noStrike" kern="1200" cap="none" spc="0" normalizeH="0" baseline="0" noProof="0">
              <a:ln>
                <a:noFill/>
              </a:ln>
              <a:solidFill>
                <a:prstClr val="white"/>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1" i="0" u="none" strike="noStrike" kern="1200" cap="none" spc="0" normalizeH="0" baseline="0" noProof="0">
              <a:ln>
                <a:noFill/>
              </a:ln>
              <a:solidFill>
                <a:prstClr val="white"/>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1" i="0" u="none" strike="noStrike" kern="1200" cap="none" spc="0" normalizeH="0" baseline="0" noProof="0">
              <a:ln>
                <a:noFill/>
              </a:ln>
              <a:solidFill>
                <a:prstClr val="white"/>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1" i="0" u="none" strike="noStrike" kern="1200" cap="none" spc="0" normalizeH="0" baseline="0" noProof="0">
              <a:ln>
                <a:noFill/>
              </a:ln>
              <a:solidFill>
                <a:prstClr val="white"/>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1"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p:txBody>
      </p:sp>
      <p:pic>
        <p:nvPicPr>
          <p:cNvPr id="4" name="Picture 3"/>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320601" y="5057615"/>
            <a:ext cx="1867062" cy="1386960"/>
          </a:xfrm>
          <a:prstGeom prst="rect">
            <a:avLst/>
          </a:prstGeom>
        </p:spPr>
      </p:pic>
      <p:grpSp>
        <p:nvGrpSpPr>
          <p:cNvPr id="80" name="Group 79"/>
          <p:cNvGrpSpPr/>
          <p:nvPr/>
        </p:nvGrpSpPr>
        <p:grpSpPr>
          <a:xfrm>
            <a:off x="-2887" y="973"/>
            <a:ext cx="2849058" cy="6857027"/>
            <a:chOff x="2" y="487"/>
            <a:chExt cx="2849058" cy="6857027"/>
          </a:xfrm>
        </p:grpSpPr>
        <p:sp>
          <p:nvSpPr>
            <p:cNvPr id="81" name="Rectangle 15"/>
            <p:cNvSpPr/>
            <p:nvPr/>
          </p:nvSpPr>
          <p:spPr bwMode="auto">
            <a:xfrm>
              <a:off x="2" y="487"/>
              <a:ext cx="2849058" cy="685702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2" name="Rectangle 145"/>
            <p:cNvSpPr/>
            <p:nvPr/>
          </p:nvSpPr>
          <p:spPr bwMode="auto">
            <a:xfrm>
              <a:off x="696152" y="956997"/>
              <a:ext cx="1821468" cy="3831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2C812"/>
                  </a:solidFill>
                  <a:effectLst/>
                  <a:uLnTx/>
                  <a:uFillTx/>
                  <a:latin typeface="Segoe UI"/>
                  <a:ea typeface="+mn-ea"/>
                  <a:cs typeface="Segoe UI Light" panose="020B0502040204020203" pitchFamily="34" charset="0"/>
                </a:rPr>
                <a:t>Get Data</a:t>
              </a:r>
              <a:endParaRPr kumimoji="0" lang="en-US" sz="1200" b="1" i="1" u="none" strike="noStrike" kern="1200" cap="none" spc="0" normalizeH="0" baseline="0" noProof="0">
                <a:ln>
                  <a:noFill/>
                </a:ln>
                <a:solidFill>
                  <a:srgbClr val="F2C812"/>
                </a:solidFill>
                <a:effectLst/>
                <a:uLnTx/>
                <a:uFillTx/>
                <a:latin typeface="Segoe UI"/>
                <a:ea typeface="+mn-ea"/>
                <a:cs typeface="Segoe UI Light" panose="020B0502040204020203" pitchFamily="34" charset="0"/>
              </a:endParaRPr>
            </a:p>
          </p:txBody>
        </p:sp>
        <p:grpSp>
          <p:nvGrpSpPr>
            <p:cNvPr id="83" name="Group 82"/>
            <p:cNvGrpSpPr/>
            <p:nvPr/>
          </p:nvGrpSpPr>
          <p:grpSpPr>
            <a:xfrm>
              <a:off x="219373" y="934583"/>
              <a:ext cx="433844" cy="433844"/>
              <a:chOff x="440005" y="997815"/>
              <a:chExt cx="296322" cy="296322"/>
            </a:xfrm>
          </p:grpSpPr>
          <p:sp>
            <p:nvSpPr>
              <p:cNvPr id="102" name="Oval 147"/>
              <p:cNvSpPr/>
              <p:nvPr/>
            </p:nvSpPr>
            <p:spPr bwMode="auto">
              <a:xfrm>
                <a:off x="440005" y="997815"/>
                <a:ext cx="296322" cy="296322"/>
              </a:xfrm>
              <a:prstGeom prst="ellipse">
                <a:avLst/>
              </a:prstGeom>
              <a:solidFill>
                <a:srgbClr val="FFCC00"/>
              </a:solidFill>
              <a:ln>
                <a:solidFill>
                  <a:srgbClr val="F2C81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03" name="Group 332"/>
              <p:cNvGrpSpPr/>
              <p:nvPr/>
            </p:nvGrpSpPr>
            <p:grpSpPr>
              <a:xfrm>
                <a:off x="482167" y="1059311"/>
                <a:ext cx="211997" cy="173292"/>
                <a:chOff x="2123129" y="293070"/>
                <a:chExt cx="2472585" cy="2021178"/>
              </a:xfrm>
            </p:grpSpPr>
            <p:sp>
              <p:nvSpPr>
                <p:cNvPr id="104" name="Freeform 13"/>
                <p:cNvSpPr>
                  <a:spLocks/>
                </p:cNvSpPr>
                <p:nvPr/>
              </p:nvSpPr>
              <p:spPr bwMode="auto">
                <a:xfrm rot="20700000">
                  <a:off x="3155853" y="872796"/>
                  <a:ext cx="1439861" cy="1441452"/>
                </a:xfrm>
                <a:custGeom>
                  <a:avLst/>
                  <a:gdLst>
                    <a:gd name="T0" fmla="*/ 138 w 441"/>
                    <a:gd name="T1" fmla="*/ 341 h 441"/>
                    <a:gd name="T2" fmla="*/ 183 w 441"/>
                    <a:gd name="T3" fmla="*/ 374 h 441"/>
                    <a:gd name="T4" fmla="*/ 220 w 441"/>
                    <a:gd name="T5" fmla="*/ 423 h 441"/>
                    <a:gd name="T6" fmla="*/ 422 w 441"/>
                    <a:gd name="T7" fmla="*/ 220 h 441"/>
                    <a:gd name="T8" fmla="*/ 373 w 441"/>
                    <a:gd name="T9" fmla="*/ 184 h 441"/>
                    <a:gd name="T10" fmla="*/ 341 w 441"/>
                    <a:gd name="T11" fmla="*/ 139 h 441"/>
                    <a:gd name="T12" fmla="*/ 382 w 441"/>
                    <a:gd name="T13" fmla="*/ 58 h 441"/>
                    <a:gd name="T14" fmla="*/ 302 w 441"/>
                    <a:gd name="T15" fmla="*/ 100 h 441"/>
                    <a:gd name="T16" fmla="*/ 257 w 441"/>
                    <a:gd name="T17" fmla="*/ 67 h 441"/>
                    <a:gd name="T18" fmla="*/ 220 w 441"/>
                    <a:gd name="T19" fmla="*/ 18 h 441"/>
                    <a:gd name="T20" fmla="*/ 171 w 441"/>
                    <a:gd name="T21" fmla="*/ 55 h 441"/>
                    <a:gd name="T22" fmla="*/ 138 w 441"/>
                    <a:gd name="T23" fmla="*/ 100 h 441"/>
                    <a:gd name="T24" fmla="*/ 180 w 441"/>
                    <a:gd name="T25" fmla="*/ 181 h 441"/>
                    <a:gd name="T26" fmla="*/ 100 w 441"/>
                    <a:gd name="T27" fmla="*/ 139 h 441"/>
                    <a:gd name="T28" fmla="*/ 55 w 441"/>
                    <a:gd name="T29" fmla="*/ 171 h 441"/>
                    <a:gd name="T30" fmla="*/ 18 w 441"/>
                    <a:gd name="T31" fmla="*/ 220 h 441"/>
                    <a:gd name="T32" fmla="*/ 67 w 441"/>
                    <a:gd name="T33" fmla="*/ 257 h 441"/>
                    <a:gd name="T34" fmla="*/ 100 w 441"/>
                    <a:gd name="T35" fmla="*/ 302 h 441"/>
                    <a:gd name="T36" fmla="*/ 58 w 441"/>
                    <a:gd name="T37" fmla="*/ 383 h 441"/>
                    <a:gd name="T38" fmla="*/ 138 w 441"/>
                    <a:gd name="T39" fmla="*/ 341 h 4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41" h="441">
                      <a:moveTo>
                        <a:pt x="138" y="341"/>
                      </a:moveTo>
                      <a:cubicBezTo>
                        <a:pt x="147" y="337"/>
                        <a:pt x="171" y="361"/>
                        <a:pt x="183" y="374"/>
                      </a:cubicBezTo>
                      <a:cubicBezTo>
                        <a:pt x="196" y="386"/>
                        <a:pt x="220" y="423"/>
                        <a:pt x="220" y="423"/>
                      </a:cubicBezTo>
                      <a:cubicBezTo>
                        <a:pt x="422" y="220"/>
                        <a:pt x="422" y="220"/>
                        <a:pt x="422" y="220"/>
                      </a:cubicBezTo>
                      <a:cubicBezTo>
                        <a:pt x="422" y="220"/>
                        <a:pt x="386" y="196"/>
                        <a:pt x="373" y="184"/>
                      </a:cubicBezTo>
                      <a:cubicBezTo>
                        <a:pt x="361" y="171"/>
                        <a:pt x="338" y="149"/>
                        <a:pt x="341" y="139"/>
                      </a:cubicBezTo>
                      <a:cubicBezTo>
                        <a:pt x="343" y="129"/>
                        <a:pt x="441" y="116"/>
                        <a:pt x="382" y="58"/>
                      </a:cubicBezTo>
                      <a:cubicBezTo>
                        <a:pt x="324" y="0"/>
                        <a:pt x="310" y="96"/>
                        <a:pt x="302" y="100"/>
                      </a:cubicBezTo>
                      <a:cubicBezTo>
                        <a:pt x="294" y="104"/>
                        <a:pt x="269" y="80"/>
                        <a:pt x="257" y="67"/>
                      </a:cubicBezTo>
                      <a:cubicBezTo>
                        <a:pt x="245" y="55"/>
                        <a:pt x="220" y="18"/>
                        <a:pt x="220" y="18"/>
                      </a:cubicBezTo>
                      <a:cubicBezTo>
                        <a:pt x="220" y="18"/>
                        <a:pt x="183" y="43"/>
                        <a:pt x="171" y="55"/>
                      </a:cubicBezTo>
                      <a:cubicBezTo>
                        <a:pt x="159" y="67"/>
                        <a:pt x="134" y="92"/>
                        <a:pt x="138" y="100"/>
                      </a:cubicBezTo>
                      <a:cubicBezTo>
                        <a:pt x="142" y="108"/>
                        <a:pt x="238" y="122"/>
                        <a:pt x="180" y="181"/>
                      </a:cubicBezTo>
                      <a:cubicBezTo>
                        <a:pt x="122" y="239"/>
                        <a:pt x="110" y="141"/>
                        <a:pt x="100" y="139"/>
                      </a:cubicBezTo>
                      <a:cubicBezTo>
                        <a:pt x="89" y="137"/>
                        <a:pt x="67" y="159"/>
                        <a:pt x="55" y="171"/>
                      </a:cubicBezTo>
                      <a:cubicBezTo>
                        <a:pt x="42" y="184"/>
                        <a:pt x="18" y="220"/>
                        <a:pt x="18" y="220"/>
                      </a:cubicBezTo>
                      <a:cubicBezTo>
                        <a:pt x="18" y="220"/>
                        <a:pt x="55" y="245"/>
                        <a:pt x="67" y="257"/>
                      </a:cubicBezTo>
                      <a:cubicBezTo>
                        <a:pt x="79" y="269"/>
                        <a:pt x="102" y="292"/>
                        <a:pt x="100" y="302"/>
                      </a:cubicBezTo>
                      <a:cubicBezTo>
                        <a:pt x="98" y="312"/>
                        <a:pt x="0" y="325"/>
                        <a:pt x="58" y="383"/>
                      </a:cubicBezTo>
                      <a:cubicBezTo>
                        <a:pt x="116" y="441"/>
                        <a:pt x="130" y="345"/>
                        <a:pt x="138" y="341"/>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105" name="Freeform 14"/>
                <p:cNvSpPr>
                  <a:spLocks/>
                </p:cNvSpPr>
                <p:nvPr/>
              </p:nvSpPr>
              <p:spPr bwMode="auto">
                <a:xfrm rot="9900000">
                  <a:off x="2123129" y="293070"/>
                  <a:ext cx="1377948" cy="1377947"/>
                </a:xfrm>
                <a:custGeom>
                  <a:avLst/>
                  <a:gdLst>
                    <a:gd name="T0" fmla="*/ 422 w 422"/>
                    <a:gd name="T1" fmla="*/ 220 h 422"/>
                    <a:gd name="T2" fmla="*/ 386 w 422"/>
                    <a:gd name="T3" fmla="*/ 171 h 422"/>
                    <a:gd name="T4" fmla="*/ 341 w 422"/>
                    <a:gd name="T5" fmla="*/ 138 h 422"/>
                    <a:gd name="T6" fmla="*/ 260 w 422"/>
                    <a:gd name="T7" fmla="*/ 180 h 422"/>
                    <a:gd name="T8" fmla="*/ 302 w 422"/>
                    <a:gd name="T9" fmla="*/ 100 h 422"/>
                    <a:gd name="T10" fmla="*/ 269 w 422"/>
                    <a:gd name="T11" fmla="*/ 55 h 422"/>
                    <a:gd name="T12" fmla="*/ 220 w 422"/>
                    <a:gd name="T13" fmla="*/ 18 h 422"/>
                    <a:gd name="T14" fmla="*/ 183 w 422"/>
                    <a:gd name="T15" fmla="*/ 67 h 422"/>
                    <a:gd name="T16" fmla="*/ 138 w 422"/>
                    <a:gd name="T17" fmla="*/ 100 h 422"/>
                    <a:gd name="T18" fmla="*/ 58 w 422"/>
                    <a:gd name="T19" fmla="*/ 58 h 422"/>
                    <a:gd name="T20" fmla="*/ 100 w 422"/>
                    <a:gd name="T21" fmla="*/ 138 h 422"/>
                    <a:gd name="T22" fmla="*/ 67 w 422"/>
                    <a:gd name="T23" fmla="*/ 183 h 422"/>
                    <a:gd name="T24" fmla="*/ 18 w 422"/>
                    <a:gd name="T25" fmla="*/ 220 h 422"/>
                    <a:gd name="T26" fmla="*/ 55 w 422"/>
                    <a:gd name="T27" fmla="*/ 269 h 422"/>
                    <a:gd name="T28" fmla="*/ 100 w 422"/>
                    <a:gd name="T29" fmla="*/ 302 h 422"/>
                    <a:gd name="T30" fmla="*/ 180 w 422"/>
                    <a:gd name="T31" fmla="*/ 260 h 422"/>
                    <a:gd name="T32" fmla="*/ 138 w 422"/>
                    <a:gd name="T33" fmla="*/ 341 h 422"/>
                    <a:gd name="T34" fmla="*/ 171 w 422"/>
                    <a:gd name="T35" fmla="*/ 386 h 422"/>
                    <a:gd name="T36" fmla="*/ 220 w 422"/>
                    <a:gd name="T37" fmla="*/ 422 h 422"/>
                    <a:gd name="T38" fmla="*/ 422 w 422"/>
                    <a:gd name="T39" fmla="*/ 220 h 4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22" h="422">
                      <a:moveTo>
                        <a:pt x="422" y="220"/>
                      </a:moveTo>
                      <a:cubicBezTo>
                        <a:pt x="422" y="220"/>
                        <a:pt x="398" y="183"/>
                        <a:pt x="386" y="171"/>
                      </a:cubicBezTo>
                      <a:cubicBezTo>
                        <a:pt x="373" y="159"/>
                        <a:pt x="349" y="134"/>
                        <a:pt x="341" y="138"/>
                      </a:cubicBezTo>
                      <a:cubicBezTo>
                        <a:pt x="332" y="142"/>
                        <a:pt x="318" y="239"/>
                        <a:pt x="260" y="180"/>
                      </a:cubicBezTo>
                      <a:cubicBezTo>
                        <a:pt x="202" y="122"/>
                        <a:pt x="300" y="110"/>
                        <a:pt x="302" y="100"/>
                      </a:cubicBezTo>
                      <a:cubicBezTo>
                        <a:pt x="304" y="90"/>
                        <a:pt x="281" y="67"/>
                        <a:pt x="269" y="55"/>
                      </a:cubicBezTo>
                      <a:cubicBezTo>
                        <a:pt x="257" y="42"/>
                        <a:pt x="220" y="18"/>
                        <a:pt x="220" y="18"/>
                      </a:cubicBezTo>
                      <a:cubicBezTo>
                        <a:pt x="220" y="18"/>
                        <a:pt x="196" y="55"/>
                        <a:pt x="183" y="67"/>
                      </a:cubicBezTo>
                      <a:cubicBezTo>
                        <a:pt x="171" y="79"/>
                        <a:pt x="149" y="102"/>
                        <a:pt x="138" y="100"/>
                      </a:cubicBezTo>
                      <a:cubicBezTo>
                        <a:pt x="128" y="98"/>
                        <a:pt x="116" y="0"/>
                        <a:pt x="58" y="58"/>
                      </a:cubicBezTo>
                      <a:cubicBezTo>
                        <a:pt x="0" y="116"/>
                        <a:pt x="96" y="130"/>
                        <a:pt x="100" y="138"/>
                      </a:cubicBezTo>
                      <a:cubicBezTo>
                        <a:pt x="104" y="147"/>
                        <a:pt x="79" y="171"/>
                        <a:pt x="67" y="183"/>
                      </a:cubicBezTo>
                      <a:cubicBezTo>
                        <a:pt x="55" y="196"/>
                        <a:pt x="18" y="220"/>
                        <a:pt x="18" y="220"/>
                      </a:cubicBezTo>
                      <a:cubicBezTo>
                        <a:pt x="18" y="220"/>
                        <a:pt x="42" y="257"/>
                        <a:pt x="55" y="269"/>
                      </a:cubicBezTo>
                      <a:cubicBezTo>
                        <a:pt x="67" y="281"/>
                        <a:pt x="91" y="306"/>
                        <a:pt x="100" y="302"/>
                      </a:cubicBezTo>
                      <a:cubicBezTo>
                        <a:pt x="108" y="298"/>
                        <a:pt x="122" y="202"/>
                        <a:pt x="180" y="260"/>
                      </a:cubicBezTo>
                      <a:cubicBezTo>
                        <a:pt x="238" y="318"/>
                        <a:pt x="140" y="330"/>
                        <a:pt x="138" y="341"/>
                      </a:cubicBezTo>
                      <a:cubicBezTo>
                        <a:pt x="136" y="351"/>
                        <a:pt x="159" y="373"/>
                        <a:pt x="171" y="386"/>
                      </a:cubicBezTo>
                      <a:cubicBezTo>
                        <a:pt x="183" y="398"/>
                        <a:pt x="220" y="422"/>
                        <a:pt x="220" y="422"/>
                      </a:cubicBezTo>
                      <a:lnTo>
                        <a:pt x="422" y="22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grpSp>
        </p:grpSp>
        <p:sp>
          <p:nvSpPr>
            <p:cNvPr id="84" name="Rectangle 152"/>
            <p:cNvSpPr/>
            <p:nvPr/>
          </p:nvSpPr>
          <p:spPr bwMode="auto">
            <a:xfrm>
              <a:off x="669652" y="2738277"/>
              <a:ext cx="1805162" cy="37532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2C812"/>
                  </a:solidFill>
                  <a:effectLst/>
                  <a:uLnTx/>
                  <a:uFillTx/>
                  <a:latin typeface="Segoe UI"/>
                  <a:ea typeface="+mn-ea"/>
                  <a:cs typeface="Segoe UI Light" panose="020B0502040204020203" pitchFamily="34" charset="0"/>
                </a:rPr>
                <a:t>Keeping Data Current</a:t>
              </a:r>
            </a:p>
          </p:txBody>
        </p:sp>
        <p:grpSp>
          <p:nvGrpSpPr>
            <p:cNvPr id="85" name="Group 84"/>
            <p:cNvGrpSpPr/>
            <p:nvPr/>
          </p:nvGrpSpPr>
          <p:grpSpPr>
            <a:xfrm>
              <a:off x="199649" y="2692629"/>
              <a:ext cx="433844" cy="433844"/>
              <a:chOff x="342620" y="2228265"/>
              <a:chExt cx="433844" cy="433844"/>
            </a:xfrm>
            <a:solidFill>
              <a:schemeClr val="bg1"/>
            </a:solidFill>
          </p:grpSpPr>
          <p:sp>
            <p:nvSpPr>
              <p:cNvPr id="100" name="Oval 154"/>
              <p:cNvSpPr/>
              <p:nvPr/>
            </p:nvSpPr>
            <p:spPr bwMode="auto">
              <a:xfrm>
                <a:off x="342620" y="2228265"/>
                <a:ext cx="433844" cy="433844"/>
              </a:xfrm>
              <a:prstGeom prst="ellipse">
                <a:avLst/>
              </a:prstGeom>
              <a:solidFill>
                <a:srgbClr val="FFC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1" name="Freeform 30"/>
              <p:cNvSpPr>
                <a:spLocks noEditPoints="1"/>
              </p:cNvSpPr>
              <p:nvPr/>
            </p:nvSpPr>
            <p:spPr bwMode="auto">
              <a:xfrm>
                <a:off x="444786" y="2340040"/>
                <a:ext cx="238402" cy="210293"/>
              </a:xfrm>
              <a:custGeom>
                <a:avLst/>
                <a:gdLst>
                  <a:gd name="T0" fmla="*/ 883 w 916"/>
                  <a:gd name="T1" fmla="*/ 286 h 808"/>
                  <a:gd name="T2" fmla="*/ 539 w 916"/>
                  <a:gd name="T3" fmla="*/ 723 h 808"/>
                  <a:gd name="T4" fmla="*/ 504 w 916"/>
                  <a:gd name="T5" fmla="*/ 0 h 808"/>
                  <a:gd name="T6" fmla="*/ 35 w 916"/>
                  <a:gd name="T7" fmla="*/ 723 h 808"/>
                  <a:gd name="T8" fmla="*/ 0 w 916"/>
                  <a:gd name="T9" fmla="*/ 808 h 808"/>
                  <a:gd name="T10" fmla="*/ 916 w 916"/>
                  <a:gd name="T11" fmla="*/ 723 h 808"/>
                  <a:gd name="T12" fmla="*/ 229 w 916"/>
                  <a:gd name="T13" fmla="*/ 665 h 808"/>
                  <a:gd name="T14" fmla="*/ 109 w 916"/>
                  <a:gd name="T15" fmla="*/ 596 h 808"/>
                  <a:gd name="T16" fmla="*/ 229 w 916"/>
                  <a:gd name="T17" fmla="*/ 665 h 808"/>
                  <a:gd name="T18" fmla="*/ 109 w 916"/>
                  <a:gd name="T19" fmla="*/ 501 h 808"/>
                  <a:gd name="T20" fmla="*/ 229 w 916"/>
                  <a:gd name="T21" fmla="*/ 432 h 808"/>
                  <a:gd name="T22" fmla="*/ 229 w 916"/>
                  <a:gd name="T23" fmla="*/ 337 h 808"/>
                  <a:gd name="T24" fmla="*/ 109 w 916"/>
                  <a:gd name="T25" fmla="*/ 267 h 808"/>
                  <a:gd name="T26" fmla="*/ 229 w 916"/>
                  <a:gd name="T27" fmla="*/ 337 h 808"/>
                  <a:gd name="T28" fmla="*/ 109 w 916"/>
                  <a:gd name="T29" fmla="*/ 172 h 808"/>
                  <a:gd name="T30" fmla="*/ 229 w 916"/>
                  <a:gd name="T31" fmla="*/ 103 h 808"/>
                  <a:gd name="T32" fmla="*/ 428 w 916"/>
                  <a:gd name="T33" fmla="*/ 665 h 808"/>
                  <a:gd name="T34" fmla="*/ 307 w 916"/>
                  <a:gd name="T35" fmla="*/ 596 h 808"/>
                  <a:gd name="T36" fmla="*/ 428 w 916"/>
                  <a:gd name="T37" fmla="*/ 665 h 808"/>
                  <a:gd name="T38" fmla="*/ 307 w 916"/>
                  <a:gd name="T39" fmla="*/ 501 h 808"/>
                  <a:gd name="T40" fmla="*/ 428 w 916"/>
                  <a:gd name="T41" fmla="*/ 432 h 808"/>
                  <a:gd name="T42" fmla="*/ 428 w 916"/>
                  <a:gd name="T43" fmla="*/ 337 h 808"/>
                  <a:gd name="T44" fmla="*/ 307 w 916"/>
                  <a:gd name="T45" fmla="*/ 267 h 808"/>
                  <a:gd name="T46" fmla="*/ 428 w 916"/>
                  <a:gd name="T47" fmla="*/ 337 h 808"/>
                  <a:gd name="T48" fmla="*/ 307 w 916"/>
                  <a:gd name="T49" fmla="*/ 172 h 808"/>
                  <a:gd name="T50" fmla="*/ 428 w 916"/>
                  <a:gd name="T51" fmla="*/ 103 h 808"/>
                  <a:gd name="T52" fmla="*/ 684 w 916"/>
                  <a:gd name="T53" fmla="*/ 668 h 808"/>
                  <a:gd name="T54" fmla="*/ 606 w 916"/>
                  <a:gd name="T55" fmla="*/ 549 h 808"/>
                  <a:gd name="T56" fmla="*/ 684 w 916"/>
                  <a:gd name="T57" fmla="*/ 668 h 808"/>
                  <a:gd name="T58" fmla="*/ 606 w 916"/>
                  <a:gd name="T59" fmla="*/ 482 h 808"/>
                  <a:gd name="T60" fmla="*/ 684 w 916"/>
                  <a:gd name="T61" fmla="*/ 365 h 808"/>
                  <a:gd name="T62" fmla="*/ 816 w 916"/>
                  <a:gd name="T63" fmla="*/ 668 h 808"/>
                  <a:gd name="T64" fmla="*/ 738 w 916"/>
                  <a:gd name="T65" fmla="*/ 549 h 808"/>
                  <a:gd name="T66" fmla="*/ 816 w 916"/>
                  <a:gd name="T67" fmla="*/ 668 h 808"/>
                  <a:gd name="T68" fmla="*/ 738 w 916"/>
                  <a:gd name="T69" fmla="*/ 482 h 808"/>
                  <a:gd name="T70" fmla="*/ 816 w 916"/>
                  <a:gd name="T71" fmla="*/ 365 h 8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16" h="808">
                    <a:moveTo>
                      <a:pt x="883" y="723"/>
                    </a:moveTo>
                    <a:lnTo>
                      <a:pt x="883" y="286"/>
                    </a:lnTo>
                    <a:lnTo>
                      <a:pt x="539" y="286"/>
                    </a:lnTo>
                    <a:lnTo>
                      <a:pt x="539" y="723"/>
                    </a:lnTo>
                    <a:lnTo>
                      <a:pt x="504" y="723"/>
                    </a:lnTo>
                    <a:lnTo>
                      <a:pt x="504" y="0"/>
                    </a:lnTo>
                    <a:lnTo>
                      <a:pt x="35" y="0"/>
                    </a:lnTo>
                    <a:lnTo>
                      <a:pt x="35" y="723"/>
                    </a:lnTo>
                    <a:lnTo>
                      <a:pt x="0" y="723"/>
                    </a:lnTo>
                    <a:lnTo>
                      <a:pt x="0" y="808"/>
                    </a:lnTo>
                    <a:lnTo>
                      <a:pt x="916" y="808"/>
                    </a:lnTo>
                    <a:lnTo>
                      <a:pt x="916" y="723"/>
                    </a:lnTo>
                    <a:lnTo>
                      <a:pt x="883" y="723"/>
                    </a:lnTo>
                    <a:close/>
                    <a:moveTo>
                      <a:pt x="229" y="665"/>
                    </a:moveTo>
                    <a:lnTo>
                      <a:pt x="109" y="665"/>
                    </a:lnTo>
                    <a:lnTo>
                      <a:pt x="109" y="596"/>
                    </a:lnTo>
                    <a:lnTo>
                      <a:pt x="229" y="596"/>
                    </a:lnTo>
                    <a:lnTo>
                      <a:pt x="229" y="665"/>
                    </a:lnTo>
                    <a:close/>
                    <a:moveTo>
                      <a:pt x="229" y="501"/>
                    </a:moveTo>
                    <a:lnTo>
                      <a:pt x="109" y="501"/>
                    </a:lnTo>
                    <a:lnTo>
                      <a:pt x="109" y="432"/>
                    </a:lnTo>
                    <a:lnTo>
                      <a:pt x="229" y="432"/>
                    </a:lnTo>
                    <a:lnTo>
                      <a:pt x="229" y="501"/>
                    </a:lnTo>
                    <a:close/>
                    <a:moveTo>
                      <a:pt x="229" y="337"/>
                    </a:moveTo>
                    <a:lnTo>
                      <a:pt x="109" y="337"/>
                    </a:lnTo>
                    <a:lnTo>
                      <a:pt x="109" y="267"/>
                    </a:lnTo>
                    <a:lnTo>
                      <a:pt x="229" y="267"/>
                    </a:lnTo>
                    <a:lnTo>
                      <a:pt x="229" y="337"/>
                    </a:lnTo>
                    <a:close/>
                    <a:moveTo>
                      <a:pt x="229" y="172"/>
                    </a:moveTo>
                    <a:lnTo>
                      <a:pt x="109" y="172"/>
                    </a:lnTo>
                    <a:lnTo>
                      <a:pt x="109" y="103"/>
                    </a:lnTo>
                    <a:lnTo>
                      <a:pt x="229" y="103"/>
                    </a:lnTo>
                    <a:lnTo>
                      <a:pt x="229" y="172"/>
                    </a:lnTo>
                    <a:close/>
                    <a:moveTo>
                      <a:pt x="428" y="665"/>
                    </a:moveTo>
                    <a:lnTo>
                      <a:pt x="307" y="665"/>
                    </a:lnTo>
                    <a:lnTo>
                      <a:pt x="307" y="596"/>
                    </a:lnTo>
                    <a:lnTo>
                      <a:pt x="428" y="596"/>
                    </a:lnTo>
                    <a:lnTo>
                      <a:pt x="428" y="665"/>
                    </a:lnTo>
                    <a:close/>
                    <a:moveTo>
                      <a:pt x="428" y="501"/>
                    </a:moveTo>
                    <a:lnTo>
                      <a:pt x="307" y="501"/>
                    </a:lnTo>
                    <a:lnTo>
                      <a:pt x="307" y="432"/>
                    </a:lnTo>
                    <a:lnTo>
                      <a:pt x="428" y="432"/>
                    </a:lnTo>
                    <a:lnTo>
                      <a:pt x="428" y="501"/>
                    </a:lnTo>
                    <a:close/>
                    <a:moveTo>
                      <a:pt x="428" y="337"/>
                    </a:moveTo>
                    <a:lnTo>
                      <a:pt x="307" y="337"/>
                    </a:lnTo>
                    <a:lnTo>
                      <a:pt x="307" y="267"/>
                    </a:lnTo>
                    <a:lnTo>
                      <a:pt x="428" y="267"/>
                    </a:lnTo>
                    <a:lnTo>
                      <a:pt x="428" y="337"/>
                    </a:lnTo>
                    <a:close/>
                    <a:moveTo>
                      <a:pt x="428" y="172"/>
                    </a:moveTo>
                    <a:lnTo>
                      <a:pt x="307" y="172"/>
                    </a:lnTo>
                    <a:lnTo>
                      <a:pt x="307" y="103"/>
                    </a:lnTo>
                    <a:lnTo>
                      <a:pt x="428" y="103"/>
                    </a:lnTo>
                    <a:lnTo>
                      <a:pt x="428" y="172"/>
                    </a:lnTo>
                    <a:close/>
                    <a:moveTo>
                      <a:pt x="684" y="668"/>
                    </a:moveTo>
                    <a:lnTo>
                      <a:pt x="606" y="668"/>
                    </a:lnTo>
                    <a:lnTo>
                      <a:pt x="606" y="549"/>
                    </a:lnTo>
                    <a:lnTo>
                      <a:pt x="684" y="549"/>
                    </a:lnTo>
                    <a:lnTo>
                      <a:pt x="684" y="668"/>
                    </a:lnTo>
                    <a:close/>
                    <a:moveTo>
                      <a:pt x="684" y="482"/>
                    </a:moveTo>
                    <a:lnTo>
                      <a:pt x="606" y="482"/>
                    </a:lnTo>
                    <a:lnTo>
                      <a:pt x="606" y="365"/>
                    </a:lnTo>
                    <a:lnTo>
                      <a:pt x="684" y="365"/>
                    </a:lnTo>
                    <a:lnTo>
                      <a:pt x="684" y="482"/>
                    </a:lnTo>
                    <a:close/>
                    <a:moveTo>
                      <a:pt x="816" y="668"/>
                    </a:moveTo>
                    <a:lnTo>
                      <a:pt x="738" y="668"/>
                    </a:lnTo>
                    <a:lnTo>
                      <a:pt x="738" y="549"/>
                    </a:lnTo>
                    <a:lnTo>
                      <a:pt x="816" y="549"/>
                    </a:lnTo>
                    <a:lnTo>
                      <a:pt x="816" y="668"/>
                    </a:lnTo>
                    <a:close/>
                    <a:moveTo>
                      <a:pt x="816" y="482"/>
                    </a:moveTo>
                    <a:lnTo>
                      <a:pt x="738" y="482"/>
                    </a:lnTo>
                    <a:lnTo>
                      <a:pt x="738" y="365"/>
                    </a:lnTo>
                    <a:lnTo>
                      <a:pt x="816" y="365"/>
                    </a:lnTo>
                    <a:lnTo>
                      <a:pt x="816" y="482"/>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grpSp>
        <p:sp>
          <p:nvSpPr>
            <p:cNvPr id="86" name="TextBox 85"/>
            <p:cNvSpPr txBox="1"/>
            <p:nvPr/>
          </p:nvSpPr>
          <p:spPr>
            <a:xfrm>
              <a:off x="83345" y="113808"/>
              <a:ext cx="2532630" cy="627864"/>
            </a:xfrm>
            <a:prstGeom prst="rect">
              <a:avLst/>
            </a:prstGeom>
            <a:noFill/>
          </p:spPr>
          <p:txBody>
            <a:bodyPr wrap="square" lIns="182880" tIns="146304" rIns="182880" bIns="146304" rtlCol="0">
              <a:spAutoFit/>
            </a:bodyPr>
            <a:lstStyle>
              <a:defPPr>
                <a:defRPr lang="en-US"/>
              </a:defPPr>
              <a:lvl1pPr>
                <a:lnSpc>
                  <a:spcPct val="90000"/>
                </a:lnSpc>
                <a:spcAft>
                  <a:spcPts val="600"/>
                </a:spcAft>
                <a:defRPr sz="2800" b="1">
                  <a:solidFill>
                    <a:srgbClr val="F2C812"/>
                  </a:solidFill>
                  <a:latin typeface="Segoe UI Light"/>
                </a:defRPr>
              </a:lvl1p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400" b="1" i="0" u="none" strike="noStrike" kern="1200" cap="none" spc="0" normalizeH="0" baseline="0" noProof="0">
                  <a:ln>
                    <a:noFill/>
                  </a:ln>
                  <a:solidFill>
                    <a:srgbClr val="F2C812"/>
                  </a:solidFill>
                  <a:effectLst/>
                  <a:uLnTx/>
                  <a:uFillTx/>
                  <a:latin typeface="Segoe UI Light"/>
                  <a:ea typeface="+mn-ea"/>
                  <a:cs typeface="+mn-cs"/>
                </a:rPr>
                <a:t>Power BI Service</a:t>
              </a:r>
              <a:endParaRPr kumimoji="0" lang="en-US" sz="2800" b="1" i="0" u="none" strike="noStrike" kern="1200" cap="none" spc="0" normalizeH="0" baseline="0" noProof="0">
                <a:ln>
                  <a:noFill/>
                </a:ln>
                <a:solidFill>
                  <a:srgbClr val="F2C812"/>
                </a:solidFill>
                <a:effectLst/>
                <a:uLnTx/>
                <a:uFillTx/>
                <a:latin typeface="Segoe UI Light"/>
                <a:ea typeface="+mn-ea"/>
                <a:cs typeface="+mn-cs"/>
              </a:endParaRPr>
            </a:p>
          </p:txBody>
        </p:sp>
        <p:grpSp>
          <p:nvGrpSpPr>
            <p:cNvPr id="87" name="Group 86"/>
            <p:cNvGrpSpPr/>
            <p:nvPr/>
          </p:nvGrpSpPr>
          <p:grpSpPr>
            <a:xfrm>
              <a:off x="219373" y="3621383"/>
              <a:ext cx="433844" cy="645668"/>
              <a:chOff x="280990" y="3358164"/>
              <a:chExt cx="433844" cy="645668"/>
            </a:xfrm>
          </p:grpSpPr>
          <p:sp>
            <p:nvSpPr>
              <p:cNvPr id="93" name="Oval 1083"/>
              <p:cNvSpPr/>
              <p:nvPr/>
            </p:nvSpPr>
            <p:spPr bwMode="auto">
              <a:xfrm>
                <a:off x="280990" y="3358164"/>
                <a:ext cx="433844" cy="433847"/>
              </a:xfrm>
              <a:prstGeom prst="ellipse">
                <a:avLst/>
              </a:prstGeom>
              <a:solidFill>
                <a:srgbClr val="F2C812"/>
              </a:solidFill>
              <a:ln>
                <a:solidFill>
                  <a:srgbClr val="FFCC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94" name="Group 379"/>
              <p:cNvGrpSpPr/>
              <p:nvPr/>
            </p:nvGrpSpPr>
            <p:grpSpPr>
              <a:xfrm>
                <a:off x="453702" y="3910852"/>
                <a:ext cx="175660" cy="92980"/>
                <a:chOff x="3895793" y="7466656"/>
                <a:chExt cx="785810" cy="415941"/>
              </a:xfrm>
              <a:solidFill>
                <a:srgbClr val="00BCF2"/>
              </a:solidFill>
            </p:grpSpPr>
            <p:sp>
              <p:nvSpPr>
                <p:cNvPr id="95" name="Freeform 132"/>
                <p:cNvSpPr>
                  <a:spLocks/>
                </p:cNvSpPr>
                <p:nvPr/>
              </p:nvSpPr>
              <p:spPr bwMode="auto">
                <a:xfrm>
                  <a:off x="4125979" y="7688918"/>
                  <a:ext cx="0" cy="6353"/>
                </a:xfrm>
                <a:custGeom>
                  <a:avLst/>
                  <a:gdLst>
                    <a:gd name="T0" fmla="*/ 1 w 1"/>
                    <a:gd name="T1" fmla="*/ 0 h 8"/>
                    <a:gd name="T2" fmla="*/ 0 w 1"/>
                    <a:gd name="T3" fmla="*/ 0 h 8"/>
                    <a:gd name="T4" fmla="*/ 1 w 1"/>
                    <a:gd name="T5" fmla="*/ 8 h 8"/>
                    <a:gd name="T6" fmla="*/ 1 w 1"/>
                    <a:gd name="T7" fmla="*/ 0 h 8"/>
                  </a:gdLst>
                  <a:ahLst/>
                  <a:cxnLst>
                    <a:cxn ang="0">
                      <a:pos x="T0" y="T1"/>
                    </a:cxn>
                    <a:cxn ang="0">
                      <a:pos x="T2" y="T3"/>
                    </a:cxn>
                    <a:cxn ang="0">
                      <a:pos x="T4" y="T5"/>
                    </a:cxn>
                    <a:cxn ang="0">
                      <a:pos x="T6" y="T7"/>
                    </a:cxn>
                  </a:cxnLst>
                  <a:rect l="0" t="0" r="r" b="b"/>
                  <a:pathLst>
                    <a:path w="1" h="8">
                      <a:moveTo>
                        <a:pt x="1" y="0"/>
                      </a:moveTo>
                      <a:cubicBezTo>
                        <a:pt x="0" y="0"/>
                        <a:pt x="0" y="0"/>
                        <a:pt x="0" y="0"/>
                      </a:cubicBezTo>
                      <a:cubicBezTo>
                        <a:pt x="0" y="3"/>
                        <a:pt x="1" y="5"/>
                        <a:pt x="1" y="8"/>
                      </a:cubicBezTo>
                      <a:lnTo>
                        <a:pt x="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96" name="Freeform 133"/>
                <p:cNvSpPr>
                  <a:spLocks/>
                </p:cNvSpPr>
                <p:nvPr/>
              </p:nvSpPr>
              <p:spPr bwMode="auto">
                <a:xfrm>
                  <a:off x="3895793" y="7812745"/>
                  <a:ext cx="219078" cy="69852"/>
                </a:xfrm>
                <a:custGeom>
                  <a:avLst/>
                  <a:gdLst>
                    <a:gd name="T0" fmla="*/ 186 w 238"/>
                    <a:gd name="T1" fmla="*/ 9 h 76"/>
                    <a:gd name="T2" fmla="*/ 131 w 238"/>
                    <a:gd name="T3" fmla="*/ 22 h 76"/>
                    <a:gd name="T4" fmla="*/ 60 w 238"/>
                    <a:gd name="T5" fmla="*/ 0 h 76"/>
                    <a:gd name="T6" fmla="*/ 0 w 238"/>
                    <a:gd name="T7" fmla="*/ 42 h 76"/>
                    <a:gd name="T8" fmla="*/ 0 w 238"/>
                    <a:gd name="T9" fmla="*/ 76 h 76"/>
                    <a:gd name="T10" fmla="*/ 238 w 238"/>
                    <a:gd name="T11" fmla="*/ 76 h 76"/>
                    <a:gd name="T12" fmla="*/ 236 w 238"/>
                    <a:gd name="T13" fmla="*/ 53 h 76"/>
                    <a:gd name="T14" fmla="*/ 236 w 238"/>
                    <a:gd name="T15" fmla="*/ 49 h 76"/>
                    <a:gd name="T16" fmla="*/ 186 w 238"/>
                    <a:gd name="T17" fmla="*/ 9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8" h="76">
                      <a:moveTo>
                        <a:pt x="186" y="9"/>
                      </a:moveTo>
                      <a:cubicBezTo>
                        <a:pt x="169" y="18"/>
                        <a:pt x="150" y="22"/>
                        <a:pt x="131" y="22"/>
                      </a:cubicBezTo>
                      <a:cubicBezTo>
                        <a:pt x="105" y="22"/>
                        <a:pt x="80" y="14"/>
                        <a:pt x="60" y="0"/>
                      </a:cubicBezTo>
                      <a:cubicBezTo>
                        <a:pt x="0" y="42"/>
                        <a:pt x="0" y="42"/>
                        <a:pt x="0" y="42"/>
                      </a:cubicBezTo>
                      <a:cubicBezTo>
                        <a:pt x="0" y="76"/>
                        <a:pt x="0" y="76"/>
                        <a:pt x="0" y="76"/>
                      </a:cubicBezTo>
                      <a:cubicBezTo>
                        <a:pt x="238" y="76"/>
                        <a:pt x="238" y="76"/>
                        <a:pt x="238" y="76"/>
                      </a:cubicBezTo>
                      <a:cubicBezTo>
                        <a:pt x="237" y="68"/>
                        <a:pt x="236" y="61"/>
                        <a:pt x="236" y="53"/>
                      </a:cubicBezTo>
                      <a:cubicBezTo>
                        <a:pt x="236" y="51"/>
                        <a:pt x="236" y="50"/>
                        <a:pt x="236" y="49"/>
                      </a:cubicBezTo>
                      <a:lnTo>
                        <a:pt x="186" y="9"/>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97" name="Freeform 137"/>
                <p:cNvSpPr>
                  <a:spLocks/>
                </p:cNvSpPr>
                <p:nvPr/>
              </p:nvSpPr>
              <p:spPr bwMode="auto">
                <a:xfrm>
                  <a:off x="4338704" y="7809561"/>
                  <a:ext cx="65090" cy="73028"/>
                </a:xfrm>
                <a:custGeom>
                  <a:avLst/>
                  <a:gdLst>
                    <a:gd name="T0" fmla="*/ 71 w 71"/>
                    <a:gd name="T1" fmla="*/ 79 h 79"/>
                    <a:gd name="T2" fmla="*/ 71 w 71"/>
                    <a:gd name="T3" fmla="*/ 0 h 79"/>
                    <a:gd name="T4" fmla="*/ 2 w 71"/>
                    <a:gd name="T5" fmla="*/ 53 h 79"/>
                    <a:gd name="T6" fmla="*/ 2 w 71"/>
                    <a:gd name="T7" fmla="*/ 56 h 79"/>
                    <a:gd name="T8" fmla="*/ 0 w 71"/>
                    <a:gd name="T9" fmla="*/ 79 h 79"/>
                    <a:gd name="T10" fmla="*/ 71 w 71"/>
                    <a:gd name="T11" fmla="*/ 79 h 79"/>
                  </a:gdLst>
                  <a:ahLst/>
                  <a:cxnLst>
                    <a:cxn ang="0">
                      <a:pos x="T0" y="T1"/>
                    </a:cxn>
                    <a:cxn ang="0">
                      <a:pos x="T2" y="T3"/>
                    </a:cxn>
                    <a:cxn ang="0">
                      <a:pos x="T4" y="T5"/>
                    </a:cxn>
                    <a:cxn ang="0">
                      <a:pos x="T6" y="T7"/>
                    </a:cxn>
                    <a:cxn ang="0">
                      <a:pos x="T8" y="T9"/>
                    </a:cxn>
                    <a:cxn ang="0">
                      <a:pos x="T10" y="T11"/>
                    </a:cxn>
                  </a:cxnLst>
                  <a:rect l="0" t="0" r="r" b="b"/>
                  <a:pathLst>
                    <a:path w="71" h="79">
                      <a:moveTo>
                        <a:pt x="71" y="79"/>
                      </a:moveTo>
                      <a:cubicBezTo>
                        <a:pt x="71" y="0"/>
                        <a:pt x="71" y="0"/>
                        <a:pt x="71" y="0"/>
                      </a:cubicBezTo>
                      <a:cubicBezTo>
                        <a:pt x="2" y="53"/>
                        <a:pt x="2" y="53"/>
                        <a:pt x="2" y="53"/>
                      </a:cubicBezTo>
                      <a:cubicBezTo>
                        <a:pt x="2" y="54"/>
                        <a:pt x="2" y="55"/>
                        <a:pt x="2" y="56"/>
                      </a:cubicBezTo>
                      <a:cubicBezTo>
                        <a:pt x="2" y="64"/>
                        <a:pt x="1" y="71"/>
                        <a:pt x="0" y="79"/>
                      </a:cubicBezTo>
                      <a:lnTo>
                        <a:pt x="71" y="79"/>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98" name="Freeform 140"/>
                <p:cNvSpPr>
                  <a:spLocks/>
                </p:cNvSpPr>
                <p:nvPr/>
              </p:nvSpPr>
              <p:spPr bwMode="auto">
                <a:xfrm>
                  <a:off x="4600643" y="7622229"/>
                  <a:ext cx="80960" cy="38099"/>
                </a:xfrm>
                <a:custGeom>
                  <a:avLst/>
                  <a:gdLst>
                    <a:gd name="T0" fmla="*/ 0 w 51"/>
                    <a:gd name="T1" fmla="*/ 24 h 24"/>
                    <a:gd name="T2" fmla="*/ 51 w 51"/>
                    <a:gd name="T3" fmla="*/ 24 h 24"/>
                    <a:gd name="T4" fmla="*/ 32 w 51"/>
                    <a:gd name="T5" fmla="*/ 0 h 24"/>
                    <a:gd name="T6" fmla="*/ 0 w 51"/>
                    <a:gd name="T7" fmla="*/ 24 h 24"/>
                  </a:gdLst>
                  <a:ahLst/>
                  <a:cxnLst>
                    <a:cxn ang="0">
                      <a:pos x="T0" y="T1"/>
                    </a:cxn>
                    <a:cxn ang="0">
                      <a:pos x="T2" y="T3"/>
                    </a:cxn>
                    <a:cxn ang="0">
                      <a:pos x="T4" y="T5"/>
                    </a:cxn>
                    <a:cxn ang="0">
                      <a:pos x="T6" y="T7"/>
                    </a:cxn>
                  </a:cxnLst>
                  <a:rect l="0" t="0" r="r" b="b"/>
                  <a:pathLst>
                    <a:path w="51" h="24">
                      <a:moveTo>
                        <a:pt x="0" y="24"/>
                      </a:moveTo>
                      <a:lnTo>
                        <a:pt x="51" y="24"/>
                      </a:lnTo>
                      <a:lnTo>
                        <a:pt x="32" y="0"/>
                      </a:lnTo>
                      <a:lnTo>
                        <a:pt x="0" y="24"/>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99" name="Freeform 141"/>
                <p:cNvSpPr>
                  <a:spLocks/>
                </p:cNvSpPr>
                <p:nvPr/>
              </p:nvSpPr>
              <p:spPr bwMode="auto">
                <a:xfrm>
                  <a:off x="4449825" y="7466656"/>
                  <a:ext cx="119065" cy="139703"/>
                </a:xfrm>
                <a:custGeom>
                  <a:avLst/>
                  <a:gdLst>
                    <a:gd name="T0" fmla="*/ 52 w 75"/>
                    <a:gd name="T1" fmla="*/ 0 h 88"/>
                    <a:gd name="T2" fmla="*/ 0 w 75"/>
                    <a:gd name="T3" fmla="*/ 0 h 88"/>
                    <a:gd name="T4" fmla="*/ 0 w 75"/>
                    <a:gd name="T5" fmla="*/ 88 h 88"/>
                    <a:gd name="T6" fmla="*/ 75 w 75"/>
                    <a:gd name="T7" fmla="*/ 30 h 88"/>
                    <a:gd name="T8" fmla="*/ 52 w 75"/>
                    <a:gd name="T9" fmla="*/ 0 h 88"/>
                  </a:gdLst>
                  <a:ahLst/>
                  <a:cxnLst>
                    <a:cxn ang="0">
                      <a:pos x="T0" y="T1"/>
                    </a:cxn>
                    <a:cxn ang="0">
                      <a:pos x="T2" y="T3"/>
                    </a:cxn>
                    <a:cxn ang="0">
                      <a:pos x="T4" y="T5"/>
                    </a:cxn>
                    <a:cxn ang="0">
                      <a:pos x="T6" y="T7"/>
                    </a:cxn>
                    <a:cxn ang="0">
                      <a:pos x="T8" y="T9"/>
                    </a:cxn>
                  </a:cxnLst>
                  <a:rect l="0" t="0" r="r" b="b"/>
                  <a:pathLst>
                    <a:path w="75" h="88">
                      <a:moveTo>
                        <a:pt x="52" y="0"/>
                      </a:moveTo>
                      <a:lnTo>
                        <a:pt x="0" y="0"/>
                      </a:lnTo>
                      <a:lnTo>
                        <a:pt x="0" y="88"/>
                      </a:lnTo>
                      <a:lnTo>
                        <a:pt x="75" y="30"/>
                      </a:lnTo>
                      <a:lnTo>
                        <a:pt x="52"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grpSp>
        </p:grpSp>
        <p:sp>
          <p:nvSpPr>
            <p:cNvPr id="88" name="Rectangle 152"/>
            <p:cNvSpPr/>
            <p:nvPr/>
          </p:nvSpPr>
          <p:spPr bwMode="auto">
            <a:xfrm>
              <a:off x="712458" y="3628917"/>
              <a:ext cx="1805162" cy="37532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2C812"/>
                  </a:solidFill>
                  <a:effectLst/>
                  <a:uLnTx/>
                  <a:uFillTx/>
                  <a:latin typeface="Segoe UI"/>
                  <a:ea typeface="+mn-ea"/>
                  <a:cs typeface="Segoe UI Light" panose="020B0502040204020203" pitchFamily="34" charset="0"/>
                </a:rPr>
                <a:t>Q&amp;A and </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2C812"/>
                  </a:solidFill>
                  <a:effectLst/>
                  <a:uLnTx/>
                  <a:uFillTx/>
                  <a:latin typeface="Segoe UI"/>
                  <a:ea typeface="+mn-ea"/>
                  <a:cs typeface="Segoe UI Light" panose="020B0502040204020203" pitchFamily="34" charset="0"/>
                </a:rPr>
                <a:t>Quick Insights</a:t>
              </a:r>
              <a:endParaRPr kumimoji="0" lang="en-US" sz="1200" b="1" i="0" u="none" strike="noStrike" kern="1200" cap="none" spc="0" normalizeH="0" baseline="0" noProof="0">
                <a:ln>
                  <a:noFill/>
                </a:ln>
                <a:solidFill>
                  <a:srgbClr val="F2C812"/>
                </a:solidFill>
                <a:effectLst/>
                <a:uLnTx/>
                <a:uFillTx/>
                <a:latin typeface="Segoe UI"/>
                <a:ea typeface="+mn-ea"/>
                <a:cs typeface="Segoe UI Light" panose="020B0502040204020203" pitchFamily="34" charset="0"/>
              </a:endParaRPr>
            </a:p>
          </p:txBody>
        </p:sp>
        <p:sp>
          <p:nvSpPr>
            <p:cNvPr id="89" name="Oval 162"/>
            <p:cNvSpPr/>
            <p:nvPr/>
          </p:nvSpPr>
          <p:spPr bwMode="auto">
            <a:xfrm>
              <a:off x="226619" y="4551712"/>
              <a:ext cx="433844" cy="433844"/>
            </a:xfrm>
            <a:prstGeom prst="ellipse">
              <a:avLst/>
            </a:prstGeom>
            <a:solidFill>
              <a:srgbClr val="F2C812"/>
            </a:solidFill>
            <a:ln>
              <a:solidFill>
                <a:srgbClr val="FFCC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0" name="Rectangle 152"/>
            <p:cNvSpPr/>
            <p:nvPr/>
          </p:nvSpPr>
          <p:spPr bwMode="auto">
            <a:xfrm>
              <a:off x="738443" y="4596194"/>
              <a:ext cx="1884825" cy="30233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2C812"/>
                  </a:solidFill>
                  <a:effectLst/>
                  <a:uLnTx/>
                  <a:uFillTx/>
                  <a:latin typeface="Segoe UI"/>
                  <a:ea typeface="+mn-ea"/>
                  <a:cs typeface="Segoe UI Light" panose="020B0502040204020203" pitchFamily="34" charset="0"/>
                </a:rPr>
                <a:t>Sharing</a:t>
              </a:r>
              <a:endParaRPr kumimoji="0" lang="en-US" sz="1200" b="1" i="1" u="none" strike="noStrike" kern="1200" cap="none" spc="0" normalizeH="0" baseline="0" noProof="0">
                <a:ln>
                  <a:noFill/>
                </a:ln>
                <a:solidFill>
                  <a:srgbClr val="F2C812"/>
                </a:solidFill>
                <a:effectLst/>
                <a:uLnTx/>
                <a:uFillTx/>
                <a:latin typeface="Segoe UI"/>
                <a:ea typeface="+mn-ea"/>
                <a:cs typeface="Segoe UI Light" panose="020B0502040204020203" pitchFamily="34" charset="0"/>
              </a:endParaRPr>
            </a:p>
          </p:txBody>
        </p:sp>
        <p:sp>
          <p:nvSpPr>
            <p:cNvPr id="91" name="Rectangle 145"/>
            <p:cNvSpPr/>
            <p:nvPr/>
          </p:nvSpPr>
          <p:spPr bwMode="auto">
            <a:xfrm>
              <a:off x="697198" y="1847637"/>
              <a:ext cx="1821468" cy="3831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2C812"/>
                  </a:solidFill>
                  <a:effectLst/>
                  <a:uLnTx/>
                  <a:uFillTx/>
                  <a:latin typeface="Segoe UI"/>
                  <a:ea typeface="+mn-ea"/>
                  <a:cs typeface="Segoe UI Light" panose="020B0502040204020203" pitchFamily="34" charset="0"/>
                </a:rPr>
                <a:t>Pinning and Navigation</a:t>
              </a:r>
            </a:p>
          </p:txBody>
        </p:sp>
        <p:sp>
          <p:nvSpPr>
            <p:cNvPr id="92" name="Oval 162"/>
            <p:cNvSpPr/>
            <p:nvPr/>
          </p:nvSpPr>
          <p:spPr bwMode="auto">
            <a:xfrm>
              <a:off x="224136" y="1813606"/>
              <a:ext cx="433844" cy="433844"/>
            </a:xfrm>
            <a:prstGeom prst="ellipse">
              <a:avLst/>
            </a:prstGeom>
            <a:solidFill>
              <a:srgbClr val="FFCC00"/>
            </a:solidFill>
            <a:ln>
              <a:solidFill>
                <a:srgbClr val="F2C81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pic>
        <p:nvPicPr>
          <p:cNvPr id="106" name="Picture 105"/>
          <p:cNvPicPr>
            <a:picLocks noChangeAspect="1"/>
          </p:cNvPicPr>
          <p:nvPr/>
        </p:nvPicPr>
        <p:blipFill rotWithShape="1">
          <a:blip r:embed="rId6"/>
          <a:srcRect l="6503" t="21287" r="74698" b="20220"/>
          <a:stretch/>
        </p:blipFill>
        <p:spPr>
          <a:xfrm>
            <a:off x="339111" y="1946110"/>
            <a:ext cx="228600" cy="231962"/>
          </a:xfrm>
          <a:prstGeom prst="rect">
            <a:avLst/>
          </a:prstGeom>
        </p:spPr>
      </p:pic>
      <p:pic>
        <p:nvPicPr>
          <p:cNvPr id="107" name="Picture 106"/>
          <p:cNvPicPr>
            <a:picLocks noChangeAspect="1"/>
          </p:cNvPicPr>
          <p:nvPr/>
        </p:nvPicPr>
        <p:blipFill>
          <a:blip r:embed="rId7"/>
          <a:stretch>
            <a:fillRect/>
          </a:stretch>
        </p:blipFill>
        <p:spPr>
          <a:xfrm>
            <a:off x="284769" y="3673076"/>
            <a:ext cx="311766" cy="303106"/>
          </a:xfrm>
          <a:prstGeom prst="rect">
            <a:avLst/>
          </a:prstGeom>
        </p:spPr>
      </p:pic>
      <p:sp>
        <p:nvSpPr>
          <p:cNvPr id="108" name="Rectangle 145"/>
          <p:cNvSpPr/>
          <p:nvPr/>
        </p:nvSpPr>
        <p:spPr bwMode="auto">
          <a:xfrm>
            <a:off x="718897" y="5436715"/>
            <a:ext cx="1821468" cy="3831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2C812"/>
                </a:solidFill>
                <a:effectLst/>
                <a:uLnTx/>
                <a:uFillTx/>
                <a:latin typeface="Segoe UI"/>
                <a:ea typeface="+mn-ea"/>
                <a:cs typeface="Segoe UI Light" panose="020B0502040204020203" pitchFamily="34" charset="0"/>
              </a:rPr>
              <a:t>Connect from Excel</a:t>
            </a:r>
          </a:p>
        </p:txBody>
      </p:sp>
      <p:sp>
        <p:nvSpPr>
          <p:cNvPr id="109" name="Oval 162"/>
          <p:cNvSpPr/>
          <p:nvPr/>
        </p:nvSpPr>
        <p:spPr bwMode="auto">
          <a:xfrm>
            <a:off x="231441" y="5429649"/>
            <a:ext cx="433844" cy="433844"/>
          </a:xfrm>
          <a:prstGeom prst="ellipse">
            <a:avLst/>
          </a:prstGeom>
          <a:solidFill>
            <a:srgbClr val="FFCC00"/>
          </a:solidFill>
          <a:ln>
            <a:solidFill>
              <a:srgbClr val="F2C81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10" name="Picture 109"/>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flipH="1">
            <a:off x="283763" y="4596680"/>
            <a:ext cx="357484" cy="357484"/>
          </a:xfrm>
          <a:prstGeom prst="rect">
            <a:avLst/>
          </a:prstGeom>
        </p:spPr>
      </p:pic>
      <p:sp>
        <p:nvSpPr>
          <p:cNvPr id="111" name="Oval 162"/>
          <p:cNvSpPr/>
          <p:nvPr/>
        </p:nvSpPr>
        <p:spPr bwMode="auto">
          <a:xfrm>
            <a:off x="233032" y="6267344"/>
            <a:ext cx="433844" cy="433844"/>
          </a:xfrm>
          <a:prstGeom prst="ellipse">
            <a:avLst/>
          </a:prstGeom>
          <a:solidFill>
            <a:srgbClr val="FFCC00"/>
          </a:solidFill>
          <a:ln>
            <a:solidFill>
              <a:srgbClr val="F2C81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2" name="Rectangle 145"/>
          <p:cNvSpPr/>
          <p:nvPr/>
        </p:nvSpPr>
        <p:spPr bwMode="auto">
          <a:xfrm>
            <a:off x="701416" y="6289969"/>
            <a:ext cx="1821468" cy="3831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2C812"/>
                </a:solidFill>
                <a:effectLst/>
                <a:uLnTx/>
                <a:uFillTx/>
                <a:latin typeface="Segoe UI"/>
                <a:ea typeface="+mn-ea"/>
                <a:cs typeface="Segoe UI Light" panose="020B0502040204020203" pitchFamily="34" charset="0"/>
              </a:rPr>
              <a:t>Mobile Reports</a:t>
            </a:r>
          </a:p>
        </p:txBody>
      </p:sp>
      <p:pic>
        <p:nvPicPr>
          <p:cNvPr id="113" name="Picture 112"/>
          <p:cNvPicPr>
            <a:picLocks noChangeAspect="1"/>
          </p:cNvPicPr>
          <p:nvPr/>
        </p:nvPicPr>
        <p:blipFill>
          <a:blip r:embed="rId9" cstate="print">
            <a:extLst>
              <a:ext uri="{BEBA8EAE-BF5A-486C-A8C5-ECC9F3942E4B}">
                <a14:imgProps xmlns:a14="http://schemas.microsoft.com/office/drawing/2010/main">
                  <a14:imgLayer r:embed="rId10">
                    <a14:imgEffect>
                      <a14:saturation sat="0"/>
                    </a14:imgEffect>
                  </a14:imgLayer>
                </a14:imgProps>
              </a:ext>
              <a:ext uri="{28A0092B-C50C-407E-A947-70E740481C1C}">
                <a14:useLocalDpi xmlns:a14="http://schemas.microsoft.com/office/drawing/2010/main" val="0"/>
              </a:ext>
            </a:extLst>
          </a:blip>
          <a:stretch>
            <a:fillRect/>
          </a:stretch>
        </p:blipFill>
        <p:spPr>
          <a:xfrm>
            <a:off x="391946" y="6350039"/>
            <a:ext cx="133350" cy="251587"/>
          </a:xfrm>
          <a:prstGeom prst="rect">
            <a:avLst/>
          </a:prstGeom>
        </p:spPr>
      </p:pic>
      <p:pic>
        <p:nvPicPr>
          <p:cNvPr id="114" name="Picture 113"/>
          <p:cNvPicPr>
            <a:picLocks noChangeAspect="1"/>
          </p:cNvPicPr>
          <p:nvPr/>
        </p:nvPicPr>
        <p:blipFill>
          <a:blip r:embed="rId11" cstate="print">
            <a:biLevel thresh="50000"/>
            <a:extLst>
              <a:ext uri="{28A0092B-C50C-407E-A947-70E740481C1C}">
                <a14:useLocalDpi xmlns:a14="http://schemas.microsoft.com/office/drawing/2010/main" val="0"/>
              </a:ext>
            </a:extLst>
          </a:blip>
          <a:stretch>
            <a:fillRect/>
          </a:stretch>
        </p:blipFill>
        <p:spPr>
          <a:xfrm>
            <a:off x="332658" y="5538489"/>
            <a:ext cx="268940" cy="268940"/>
          </a:xfrm>
          <a:prstGeom prst="rect">
            <a:avLst/>
          </a:prstGeom>
        </p:spPr>
      </p:pic>
      <p:sp>
        <p:nvSpPr>
          <p:cNvPr id="115" name="Rectangle 114"/>
          <p:cNvSpPr/>
          <p:nvPr/>
        </p:nvSpPr>
        <p:spPr bwMode="auto">
          <a:xfrm>
            <a:off x="35912" y="2594112"/>
            <a:ext cx="2464420" cy="4194313"/>
          </a:xfrm>
          <a:prstGeom prst="rect">
            <a:avLst/>
          </a:prstGeom>
          <a:solidFill>
            <a:srgbClr val="000000">
              <a:alpha val="6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6" name="Rectangle 115"/>
          <p:cNvSpPr/>
          <p:nvPr/>
        </p:nvSpPr>
        <p:spPr bwMode="auto">
          <a:xfrm>
            <a:off x="95936" y="731576"/>
            <a:ext cx="2464420" cy="880187"/>
          </a:xfrm>
          <a:prstGeom prst="rect">
            <a:avLst/>
          </a:prstGeom>
          <a:solidFill>
            <a:srgbClr val="000000">
              <a:alpha val="6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41348731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4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3" grpId="0" animBg="1"/>
    </p:bldLst>
  </p:timing>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 name="Title 10"/>
          <p:cNvSpPr txBox="1">
            <a:spLocks/>
          </p:cNvSpPr>
          <p:nvPr/>
        </p:nvSpPr>
        <p:spPr>
          <a:xfrm>
            <a:off x="2849060" y="0"/>
            <a:ext cx="9342940" cy="665151"/>
          </a:xfrm>
          <a:prstGeom prst="rect">
            <a:avLst/>
          </a:prstGeom>
          <a:noFill/>
        </p:spPr>
        <p:txBody>
          <a:bodyPr vert="horz" wrap="square" lIns="0" tIns="91440" rIns="0" bIns="91440" rtlCol="0" anchor="t">
            <a:noAutofit/>
          </a:bodyPr>
          <a:lstStyle>
            <a:lvl1pPr defTabSz="914367">
              <a:lnSpc>
                <a:spcPct val="90000"/>
              </a:lnSpc>
              <a:spcBef>
                <a:spcPct val="0"/>
              </a:spcBef>
              <a:buNone/>
              <a:defRPr lang="en-US" sz="5294" b="0" cap="none" spc="-100" baseline="0" dirty="0" smtClean="0">
                <a:ln w="3175">
                  <a:noFill/>
                </a:ln>
                <a:solidFill>
                  <a:schemeClr val="tx2"/>
                </a:solidFill>
                <a:effectLst/>
                <a:latin typeface="+mj-lt"/>
                <a:cs typeface="Segoe UI" pitchFamily="34" charset="0"/>
              </a:defRPr>
            </a:lvl1pPr>
          </a:lstStyle>
          <a:p>
            <a:pPr marL="168275" marR="0" lvl="0" indent="0" algn="l" defTabSz="914367" rtl="0" eaLnBrk="1" fontAlgn="auto" latinLnBrk="0" hangingPunct="1">
              <a:lnSpc>
                <a:spcPct val="90000"/>
              </a:lnSpc>
              <a:spcBef>
                <a:spcPct val="0"/>
              </a:spcBef>
              <a:spcAft>
                <a:spcPts val="0"/>
              </a:spcAft>
              <a:buClrTx/>
              <a:buSzTx/>
              <a:buFontTx/>
              <a:buNone/>
              <a:tabLst/>
              <a:defRPr/>
            </a:pPr>
            <a:r>
              <a:rPr kumimoji="0" lang="en-US" sz="3600" b="0" i="0" u="none" strike="noStrike" kern="1200" cap="none" spc="-100" normalizeH="0" baseline="0" noProof="0">
                <a:ln w="3175">
                  <a:noFill/>
                </a:ln>
                <a:solidFill>
                  <a:prstClr val="black"/>
                </a:solidFill>
                <a:effectLst/>
                <a:uLnTx/>
                <a:uFillTx/>
                <a:latin typeface="Segoe UI Light"/>
                <a:ea typeface="+mn-ea"/>
                <a:cs typeface="Segoe UI" pitchFamily="34" charset="0"/>
              </a:rPr>
              <a:t>Pinning and Navigation</a:t>
            </a:r>
            <a:endParaRPr kumimoji="0" lang="en-IN" sz="3600" b="0" i="0" u="none" strike="noStrike" kern="1200" cap="none" spc="-100" normalizeH="0" baseline="0" noProof="0">
              <a:ln w="3175">
                <a:noFill/>
              </a:ln>
              <a:solidFill>
                <a:prstClr val="black"/>
              </a:solidFill>
              <a:effectLst/>
              <a:uLnTx/>
              <a:uFillTx/>
              <a:latin typeface="Segoe UI Light"/>
              <a:ea typeface="+mn-ea"/>
              <a:cs typeface="Segoe UI" pitchFamily="34" charset="0"/>
            </a:endParaRPr>
          </a:p>
        </p:txBody>
      </p:sp>
      <p:sp>
        <p:nvSpPr>
          <p:cNvPr id="41" name="Rectangle 3"/>
          <p:cNvSpPr/>
          <p:nvPr/>
        </p:nvSpPr>
        <p:spPr bwMode="auto">
          <a:xfrm>
            <a:off x="3202216" y="665151"/>
            <a:ext cx="8105312" cy="44435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PT" sz="2000" b="0" i="1" u="none" strike="noStrike" kern="1200" cap="none" spc="0" normalizeH="0" baseline="0" noProof="0">
                <a:ln>
                  <a:noFill/>
                </a:ln>
                <a:solidFill>
                  <a:prstClr val="black"/>
                </a:solidFill>
                <a:effectLst/>
                <a:uLnTx/>
                <a:uFillTx/>
                <a:latin typeface="Segoe UI Light"/>
                <a:ea typeface="+mn-ea"/>
                <a:cs typeface="+mn-cs"/>
              </a:rPr>
              <a:t>Dashboard - Tiles</a:t>
            </a:r>
            <a:endParaRPr kumimoji="0" lang="en-US" sz="2000" b="0" i="1" u="none" strike="noStrike" kern="1200" cap="none" spc="0" normalizeH="0" baseline="0" noProof="0">
              <a:ln>
                <a:noFill/>
              </a:ln>
              <a:solidFill>
                <a:prstClr val="black"/>
              </a:solidFill>
              <a:effectLst/>
              <a:uLnTx/>
              <a:uFillTx/>
              <a:latin typeface="Segoe UI Light"/>
              <a:ea typeface="+mn-ea"/>
              <a:cs typeface="+mn-cs"/>
            </a:endParaRPr>
          </a:p>
        </p:txBody>
      </p:sp>
      <p:pic>
        <p:nvPicPr>
          <p:cNvPr id="2" name="Picture 1"/>
          <p:cNvPicPr>
            <a:picLocks noChangeAspect="1"/>
          </p:cNvPicPr>
          <p:nvPr/>
        </p:nvPicPr>
        <p:blipFill rotWithShape="1">
          <a:blip r:embed="rId3"/>
          <a:srcRect r="2072"/>
          <a:stretch/>
        </p:blipFill>
        <p:spPr>
          <a:xfrm>
            <a:off x="4040346" y="1299129"/>
            <a:ext cx="7409532" cy="5320182"/>
          </a:xfrm>
          <a:prstGeom prst="rect">
            <a:avLst/>
          </a:prstGeom>
        </p:spPr>
      </p:pic>
      <p:pic>
        <p:nvPicPr>
          <p:cNvPr id="3" name="Picture 2"/>
          <p:cNvPicPr>
            <a:picLocks noChangeAspect="1"/>
          </p:cNvPicPr>
          <p:nvPr/>
        </p:nvPicPr>
        <p:blipFill rotWithShape="1">
          <a:blip r:embed="rId4"/>
          <a:srcRect b="68299"/>
          <a:stretch/>
        </p:blipFill>
        <p:spPr>
          <a:xfrm>
            <a:off x="4073249" y="3890937"/>
            <a:ext cx="1127488" cy="1375257"/>
          </a:xfrm>
          <a:prstGeom prst="rect">
            <a:avLst/>
          </a:prstGeom>
        </p:spPr>
      </p:pic>
      <p:pic>
        <p:nvPicPr>
          <p:cNvPr id="6" name="Picture 5"/>
          <p:cNvPicPr>
            <a:picLocks noChangeAspect="1"/>
          </p:cNvPicPr>
          <p:nvPr/>
        </p:nvPicPr>
        <p:blipFill rotWithShape="1">
          <a:blip r:embed="rId4"/>
          <a:srcRect t="75412"/>
          <a:stretch/>
        </p:blipFill>
        <p:spPr>
          <a:xfrm>
            <a:off x="4040346" y="5217355"/>
            <a:ext cx="1160391" cy="1097810"/>
          </a:xfrm>
          <a:prstGeom prst="rect">
            <a:avLst/>
          </a:prstGeom>
        </p:spPr>
      </p:pic>
      <p:sp>
        <p:nvSpPr>
          <p:cNvPr id="43" name="Rectangle 42"/>
          <p:cNvSpPr/>
          <p:nvPr/>
        </p:nvSpPr>
        <p:spPr bwMode="auto">
          <a:xfrm>
            <a:off x="4073249" y="2807804"/>
            <a:ext cx="1127488" cy="1038640"/>
          </a:xfrm>
          <a:prstGeom prst="rect">
            <a:avLst/>
          </a:prstGeom>
          <a:noFill/>
          <a:ln w="38100">
            <a:solidFill>
              <a:srgbClr val="FF00F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5" name="Picture 4"/>
          <p:cNvPicPr>
            <a:picLocks noChangeAspect="1"/>
          </p:cNvPicPr>
          <p:nvPr/>
        </p:nvPicPr>
        <p:blipFill>
          <a:blip r:embed="rId5"/>
          <a:stretch>
            <a:fillRect/>
          </a:stretch>
        </p:blipFill>
        <p:spPr>
          <a:xfrm>
            <a:off x="5313750" y="1592502"/>
            <a:ext cx="6136128" cy="5006246"/>
          </a:xfrm>
          <a:prstGeom prst="rect">
            <a:avLst/>
          </a:prstGeom>
        </p:spPr>
      </p:pic>
      <p:sp>
        <p:nvSpPr>
          <p:cNvPr id="80" name="Rectangle 79"/>
          <p:cNvSpPr/>
          <p:nvPr/>
        </p:nvSpPr>
        <p:spPr bwMode="auto">
          <a:xfrm>
            <a:off x="5438222" y="3181436"/>
            <a:ext cx="4461151" cy="2084757"/>
          </a:xfrm>
          <a:prstGeom prst="rect">
            <a:avLst/>
          </a:prstGeom>
          <a:noFill/>
          <a:ln w="38100">
            <a:solidFill>
              <a:srgbClr val="FF00F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51" name="Group 50"/>
          <p:cNvGrpSpPr/>
          <p:nvPr/>
        </p:nvGrpSpPr>
        <p:grpSpPr>
          <a:xfrm>
            <a:off x="-2887" y="973"/>
            <a:ext cx="2849058" cy="6857027"/>
            <a:chOff x="2" y="487"/>
            <a:chExt cx="2849058" cy="6857027"/>
          </a:xfrm>
        </p:grpSpPr>
        <p:sp>
          <p:nvSpPr>
            <p:cNvPr id="81" name="Rectangle 15"/>
            <p:cNvSpPr/>
            <p:nvPr/>
          </p:nvSpPr>
          <p:spPr bwMode="auto">
            <a:xfrm>
              <a:off x="2" y="487"/>
              <a:ext cx="2849058" cy="685702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2" name="Rectangle 145"/>
            <p:cNvSpPr/>
            <p:nvPr/>
          </p:nvSpPr>
          <p:spPr bwMode="auto">
            <a:xfrm>
              <a:off x="696152" y="956997"/>
              <a:ext cx="1821468" cy="3831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2C812"/>
                  </a:solidFill>
                  <a:effectLst/>
                  <a:uLnTx/>
                  <a:uFillTx/>
                  <a:latin typeface="Segoe UI"/>
                  <a:ea typeface="+mn-ea"/>
                  <a:cs typeface="Segoe UI Light" panose="020B0502040204020203" pitchFamily="34" charset="0"/>
                </a:rPr>
                <a:t>Get Data</a:t>
              </a:r>
              <a:endParaRPr kumimoji="0" lang="en-US" sz="1200" b="1" i="1" u="none" strike="noStrike" kern="1200" cap="none" spc="0" normalizeH="0" baseline="0" noProof="0">
                <a:ln>
                  <a:noFill/>
                </a:ln>
                <a:solidFill>
                  <a:srgbClr val="F2C812"/>
                </a:solidFill>
                <a:effectLst/>
                <a:uLnTx/>
                <a:uFillTx/>
                <a:latin typeface="Segoe UI"/>
                <a:ea typeface="+mn-ea"/>
                <a:cs typeface="Segoe UI Light" panose="020B0502040204020203" pitchFamily="34" charset="0"/>
              </a:endParaRPr>
            </a:p>
          </p:txBody>
        </p:sp>
        <p:grpSp>
          <p:nvGrpSpPr>
            <p:cNvPr id="83" name="Group 82"/>
            <p:cNvGrpSpPr/>
            <p:nvPr/>
          </p:nvGrpSpPr>
          <p:grpSpPr>
            <a:xfrm>
              <a:off x="219373" y="934583"/>
              <a:ext cx="433844" cy="433844"/>
              <a:chOff x="440005" y="997815"/>
              <a:chExt cx="296322" cy="296322"/>
            </a:xfrm>
          </p:grpSpPr>
          <p:sp>
            <p:nvSpPr>
              <p:cNvPr id="102" name="Oval 147"/>
              <p:cNvSpPr/>
              <p:nvPr/>
            </p:nvSpPr>
            <p:spPr bwMode="auto">
              <a:xfrm>
                <a:off x="440005" y="997815"/>
                <a:ext cx="296322" cy="296322"/>
              </a:xfrm>
              <a:prstGeom prst="ellipse">
                <a:avLst/>
              </a:prstGeom>
              <a:solidFill>
                <a:srgbClr val="FFCC00"/>
              </a:solidFill>
              <a:ln>
                <a:solidFill>
                  <a:srgbClr val="F2C81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03" name="Group 332"/>
              <p:cNvGrpSpPr/>
              <p:nvPr/>
            </p:nvGrpSpPr>
            <p:grpSpPr>
              <a:xfrm>
                <a:off x="482167" y="1059311"/>
                <a:ext cx="211997" cy="173292"/>
                <a:chOff x="2123129" y="293070"/>
                <a:chExt cx="2472585" cy="2021178"/>
              </a:xfrm>
            </p:grpSpPr>
            <p:sp>
              <p:nvSpPr>
                <p:cNvPr id="104" name="Freeform 13"/>
                <p:cNvSpPr>
                  <a:spLocks/>
                </p:cNvSpPr>
                <p:nvPr/>
              </p:nvSpPr>
              <p:spPr bwMode="auto">
                <a:xfrm rot="20700000">
                  <a:off x="3155853" y="872796"/>
                  <a:ext cx="1439861" cy="1441452"/>
                </a:xfrm>
                <a:custGeom>
                  <a:avLst/>
                  <a:gdLst>
                    <a:gd name="T0" fmla="*/ 138 w 441"/>
                    <a:gd name="T1" fmla="*/ 341 h 441"/>
                    <a:gd name="T2" fmla="*/ 183 w 441"/>
                    <a:gd name="T3" fmla="*/ 374 h 441"/>
                    <a:gd name="T4" fmla="*/ 220 w 441"/>
                    <a:gd name="T5" fmla="*/ 423 h 441"/>
                    <a:gd name="T6" fmla="*/ 422 w 441"/>
                    <a:gd name="T7" fmla="*/ 220 h 441"/>
                    <a:gd name="T8" fmla="*/ 373 w 441"/>
                    <a:gd name="T9" fmla="*/ 184 h 441"/>
                    <a:gd name="T10" fmla="*/ 341 w 441"/>
                    <a:gd name="T11" fmla="*/ 139 h 441"/>
                    <a:gd name="T12" fmla="*/ 382 w 441"/>
                    <a:gd name="T13" fmla="*/ 58 h 441"/>
                    <a:gd name="T14" fmla="*/ 302 w 441"/>
                    <a:gd name="T15" fmla="*/ 100 h 441"/>
                    <a:gd name="T16" fmla="*/ 257 w 441"/>
                    <a:gd name="T17" fmla="*/ 67 h 441"/>
                    <a:gd name="T18" fmla="*/ 220 w 441"/>
                    <a:gd name="T19" fmla="*/ 18 h 441"/>
                    <a:gd name="T20" fmla="*/ 171 w 441"/>
                    <a:gd name="T21" fmla="*/ 55 h 441"/>
                    <a:gd name="T22" fmla="*/ 138 w 441"/>
                    <a:gd name="T23" fmla="*/ 100 h 441"/>
                    <a:gd name="T24" fmla="*/ 180 w 441"/>
                    <a:gd name="T25" fmla="*/ 181 h 441"/>
                    <a:gd name="T26" fmla="*/ 100 w 441"/>
                    <a:gd name="T27" fmla="*/ 139 h 441"/>
                    <a:gd name="T28" fmla="*/ 55 w 441"/>
                    <a:gd name="T29" fmla="*/ 171 h 441"/>
                    <a:gd name="T30" fmla="*/ 18 w 441"/>
                    <a:gd name="T31" fmla="*/ 220 h 441"/>
                    <a:gd name="T32" fmla="*/ 67 w 441"/>
                    <a:gd name="T33" fmla="*/ 257 h 441"/>
                    <a:gd name="T34" fmla="*/ 100 w 441"/>
                    <a:gd name="T35" fmla="*/ 302 h 441"/>
                    <a:gd name="T36" fmla="*/ 58 w 441"/>
                    <a:gd name="T37" fmla="*/ 383 h 441"/>
                    <a:gd name="T38" fmla="*/ 138 w 441"/>
                    <a:gd name="T39" fmla="*/ 341 h 4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41" h="441">
                      <a:moveTo>
                        <a:pt x="138" y="341"/>
                      </a:moveTo>
                      <a:cubicBezTo>
                        <a:pt x="147" y="337"/>
                        <a:pt x="171" y="361"/>
                        <a:pt x="183" y="374"/>
                      </a:cubicBezTo>
                      <a:cubicBezTo>
                        <a:pt x="196" y="386"/>
                        <a:pt x="220" y="423"/>
                        <a:pt x="220" y="423"/>
                      </a:cubicBezTo>
                      <a:cubicBezTo>
                        <a:pt x="422" y="220"/>
                        <a:pt x="422" y="220"/>
                        <a:pt x="422" y="220"/>
                      </a:cubicBezTo>
                      <a:cubicBezTo>
                        <a:pt x="422" y="220"/>
                        <a:pt x="386" y="196"/>
                        <a:pt x="373" y="184"/>
                      </a:cubicBezTo>
                      <a:cubicBezTo>
                        <a:pt x="361" y="171"/>
                        <a:pt x="338" y="149"/>
                        <a:pt x="341" y="139"/>
                      </a:cubicBezTo>
                      <a:cubicBezTo>
                        <a:pt x="343" y="129"/>
                        <a:pt x="441" y="116"/>
                        <a:pt x="382" y="58"/>
                      </a:cubicBezTo>
                      <a:cubicBezTo>
                        <a:pt x="324" y="0"/>
                        <a:pt x="310" y="96"/>
                        <a:pt x="302" y="100"/>
                      </a:cubicBezTo>
                      <a:cubicBezTo>
                        <a:pt x="294" y="104"/>
                        <a:pt x="269" y="80"/>
                        <a:pt x="257" y="67"/>
                      </a:cubicBezTo>
                      <a:cubicBezTo>
                        <a:pt x="245" y="55"/>
                        <a:pt x="220" y="18"/>
                        <a:pt x="220" y="18"/>
                      </a:cubicBezTo>
                      <a:cubicBezTo>
                        <a:pt x="220" y="18"/>
                        <a:pt x="183" y="43"/>
                        <a:pt x="171" y="55"/>
                      </a:cubicBezTo>
                      <a:cubicBezTo>
                        <a:pt x="159" y="67"/>
                        <a:pt x="134" y="92"/>
                        <a:pt x="138" y="100"/>
                      </a:cubicBezTo>
                      <a:cubicBezTo>
                        <a:pt x="142" y="108"/>
                        <a:pt x="238" y="122"/>
                        <a:pt x="180" y="181"/>
                      </a:cubicBezTo>
                      <a:cubicBezTo>
                        <a:pt x="122" y="239"/>
                        <a:pt x="110" y="141"/>
                        <a:pt x="100" y="139"/>
                      </a:cubicBezTo>
                      <a:cubicBezTo>
                        <a:pt x="89" y="137"/>
                        <a:pt x="67" y="159"/>
                        <a:pt x="55" y="171"/>
                      </a:cubicBezTo>
                      <a:cubicBezTo>
                        <a:pt x="42" y="184"/>
                        <a:pt x="18" y="220"/>
                        <a:pt x="18" y="220"/>
                      </a:cubicBezTo>
                      <a:cubicBezTo>
                        <a:pt x="18" y="220"/>
                        <a:pt x="55" y="245"/>
                        <a:pt x="67" y="257"/>
                      </a:cubicBezTo>
                      <a:cubicBezTo>
                        <a:pt x="79" y="269"/>
                        <a:pt x="102" y="292"/>
                        <a:pt x="100" y="302"/>
                      </a:cubicBezTo>
                      <a:cubicBezTo>
                        <a:pt x="98" y="312"/>
                        <a:pt x="0" y="325"/>
                        <a:pt x="58" y="383"/>
                      </a:cubicBezTo>
                      <a:cubicBezTo>
                        <a:pt x="116" y="441"/>
                        <a:pt x="130" y="345"/>
                        <a:pt x="138" y="341"/>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105" name="Freeform 14"/>
                <p:cNvSpPr>
                  <a:spLocks/>
                </p:cNvSpPr>
                <p:nvPr/>
              </p:nvSpPr>
              <p:spPr bwMode="auto">
                <a:xfrm rot="9900000">
                  <a:off x="2123129" y="293070"/>
                  <a:ext cx="1377948" cy="1377947"/>
                </a:xfrm>
                <a:custGeom>
                  <a:avLst/>
                  <a:gdLst>
                    <a:gd name="T0" fmla="*/ 422 w 422"/>
                    <a:gd name="T1" fmla="*/ 220 h 422"/>
                    <a:gd name="T2" fmla="*/ 386 w 422"/>
                    <a:gd name="T3" fmla="*/ 171 h 422"/>
                    <a:gd name="T4" fmla="*/ 341 w 422"/>
                    <a:gd name="T5" fmla="*/ 138 h 422"/>
                    <a:gd name="T6" fmla="*/ 260 w 422"/>
                    <a:gd name="T7" fmla="*/ 180 h 422"/>
                    <a:gd name="T8" fmla="*/ 302 w 422"/>
                    <a:gd name="T9" fmla="*/ 100 h 422"/>
                    <a:gd name="T10" fmla="*/ 269 w 422"/>
                    <a:gd name="T11" fmla="*/ 55 h 422"/>
                    <a:gd name="T12" fmla="*/ 220 w 422"/>
                    <a:gd name="T13" fmla="*/ 18 h 422"/>
                    <a:gd name="T14" fmla="*/ 183 w 422"/>
                    <a:gd name="T15" fmla="*/ 67 h 422"/>
                    <a:gd name="T16" fmla="*/ 138 w 422"/>
                    <a:gd name="T17" fmla="*/ 100 h 422"/>
                    <a:gd name="T18" fmla="*/ 58 w 422"/>
                    <a:gd name="T19" fmla="*/ 58 h 422"/>
                    <a:gd name="T20" fmla="*/ 100 w 422"/>
                    <a:gd name="T21" fmla="*/ 138 h 422"/>
                    <a:gd name="T22" fmla="*/ 67 w 422"/>
                    <a:gd name="T23" fmla="*/ 183 h 422"/>
                    <a:gd name="T24" fmla="*/ 18 w 422"/>
                    <a:gd name="T25" fmla="*/ 220 h 422"/>
                    <a:gd name="T26" fmla="*/ 55 w 422"/>
                    <a:gd name="T27" fmla="*/ 269 h 422"/>
                    <a:gd name="T28" fmla="*/ 100 w 422"/>
                    <a:gd name="T29" fmla="*/ 302 h 422"/>
                    <a:gd name="T30" fmla="*/ 180 w 422"/>
                    <a:gd name="T31" fmla="*/ 260 h 422"/>
                    <a:gd name="T32" fmla="*/ 138 w 422"/>
                    <a:gd name="T33" fmla="*/ 341 h 422"/>
                    <a:gd name="T34" fmla="*/ 171 w 422"/>
                    <a:gd name="T35" fmla="*/ 386 h 422"/>
                    <a:gd name="T36" fmla="*/ 220 w 422"/>
                    <a:gd name="T37" fmla="*/ 422 h 422"/>
                    <a:gd name="T38" fmla="*/ 422 w 422"/>
                    <a:gd name="T39" fmla="*/ 220 h 4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22" h="422">
                      <a:moveTo>
                        <a:pt x="422" y="220"/>
                      </a:moveTo>
                      <a:cubicBezTo>
                        <a:pt x="422" y="220"/>
                        <a:pt x="398" y="183"/>
                        <a:pt x="386" y="171"/>
                      </a:cubicBezTo>
                      <a:cubicBezTo>
                        <a:pt x="373" y="159"/>
                        <a:pt x="349" y="134"/>
                        <a:pt x="341" y="138"/>
                      </a:cubicBezTo>
                      <a:cubicBezTo>
                        <a:pt x="332" y="142"/>
                        <a:pt x="318" y="239"/>
                        <a:pt x="260" y="180"/>
                      </a:cubicBezTo>
                      <a:cubicBezTo>
                        <a:pt x="202" y="122"/>
                        <a:pt x="300" y="110"/>
                        <a:pt x="302" y="100"/>
                      </a:cubicBezTo>
                      <a:cubicBezTo>
                        <a:pt x="304" y="90"/>
                        <a:pt x="281" y="67"/>
                        <a:pt x="269" y="55"/>
                      </a:cubicBezTo>
                      <a:cubicBezTo>
                        <a:pt x="257" y="42"/>
                        <a:pt x="220" y="18"/>
                        <a:pt x="220" y="18"/>
                      </a:cubicBezTo>
                      <a:cubicBezTo>
                        <a:pt x="220" y="18"/>
                        <a:pt x="196" y="55"/>
                        <a:pt x="183" y="67"/>
                      </a:cubicBezTo>
                      <a:cubicBezTo>
                        <a:pt x="171" y="79"/>
                        <a:pt x="149" y="102"/>
                        <a:pt x="138" y="100"/>
                      </a:cubicBezTo>
                      <a:cubicBezTo>
                        <a:pt x="128" y="98"/>
                        <a:pt x="116" y="0"/>
                        <a:pt x="58" y="58"/>
                      </a:cubicBezTo>
                      <a:cubicBezTo>
                        <a:pt x="0" y="116"/>
                        <a:pt x="96" y="130"/>
                        <a:pt x="100" y="138"/>
                      </a:cubicBezTo>
                      <a:cubicBezTo>
                        <a:pt x="104" y="147"/>
                        <a:pt x="79" y="171"/>
                        <a:pt x="67" y="183"/>
                      </a:cubicBezTo>
                      <a:cubicBezTo>
                        <a:pt x="55" y="196"/>
                        <a:pt x="18" y="220"/>
                        <a:pt x="18" y="220"/>
                      </a:cubicBezTo>
                      <a:cubicBezTo>
                        <a:pt x="18" y="220"/>
                        <a:pt x="42" y="257"/>
                        <a:pt x="55" y="269"/>
                      </a:cubicBezTo>
                      <a:cubicBezTo>
                        <a:pt x="67" y="281"/>
                        <a:pt x="91" y="306"/>
                        <a:pt x="100" y="302"/>
                      </a:cubicBezTo>
                      <a:cubicBezTo>
                        <a:pt x="108" y="298"/>
                        <a:pt x="122" y="202"/>
                        <a:pt x="180" y="260"/>
                      </a:cubicBezTo>
                      <a:cubicBezTo>
                        <a:pt x="238" y="318"/>
                        <a:pt x="140" y="330"/>
                        <a:pt x="138" y="341"/>
                      </a:cubicBezTo>
                      <a:cubicBezTo>
                        <a:pt x="136" y="351"/>
                        <a:pt x="159" y="373"/>
                        <a:pt x="171" y="386"/>
                      </a:cubicBezTo>
                      <a:cubicBezTo>
                        <a:pt x="183" y="398"/>
                        <a:pt x="220" y="422"/>
                        <a:pt x="220" y="422"/>
                      </a:cubicBezTo>
                      <a:lnTo>
                        <a:pt x="422" y="22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grpSp>
        </p:grpSp>
        <p:sp>
          <p:nvSpPr>
            <p:cNvPr id="84" name="Rectangle 152"/>
            <p:cNvSpPr/>
            <p:nvPr/>
          </p:nvSpPr>
          <p:spPr bwMode="auto">
            <a:xfrm>
              <a:off x="669652" y="2738277"/>
              <a:ext cx="1805162" cy="37532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2C812"/>
                  </a:solidFill>
                  <a:effectLst/>
                  <a:uLnTx/>
                  <a:uFillTx/>
                  <a:latin typeface="Segoe UI"/>
                  <a:ea typeface="+mn-ea"/>
                  <a:cs typeface="Segoe UI Light" panose="020B0502040204020203" pitchFamily="34" charset="0"/>
                </a:rPr>
                <a:t>Keeping Data Current</a:t>
              </a:r>
            </a:p>
          </p:txBody>
        </p:sp>
        <p:grpSp>
          <p:nvGrpSpPr>
            <p:cNvPr id="85" name="Group 84"/>
            <p:cNvGrpSpPr/>
            <p:nvPr/>
          </p:nvGrpSpPr>
          <p:grpSpPr>
            <a:xfrm>
              <a:off x="199649" y="2692629"/>
              <a:ext cx="433844" cy="433844"/>
              <a:chOff x="342620" y="2228265"/>
              <a:chExt cx="433844" cy="433844"/>
            </a:xfrm>
            <a:solidFill>
              <a:schemeClr val="bg1"/>
            </a:solidFill>
          </p:grpSpPr>
          <p:sp>
            <p:nvSpPr>
              <p:cNvPr id="100" name="Oval 154"/>
              <p:cNvSpPr/>
              <p:nvPr/>
            </p:nvSpPr>
            <p:spPr bwMode="auto">
              <a:xfrm>
                <a:off x="342620" y="2228265"/>
                <a:ext cx="433844" cy="433844"/>
              </a:xfrm>
              <a:prstGeom prst="ellipse">
                <a:avLst/>
              </a:prstGeom>
              <a:solidFill>
                <a:srgbClr val="FFC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1" name="Freeform 30"/>
              <p:cNvSpPr>
                <a:spLocks noEditPoints="1"/>
              </p:cNvSpPr>
              <p:nvPr/>
            </p:nvSpPr>
            <p:spPr bwMode="auto">
              <a:xfrm>
                <a:off x="444786" y="2340040"/>
                <a:ext cx="238402" cy="210293"/>
              </a:xfrm>
              <a:custGeom>
                <a:avLst/>
                <a:gdLst>
                  <a:gd name="T0" fmla="*/ 883 w 916"/>
                  <a:gd name="T1" fmla="*/ 286 h 808"/>
                  <a:gd name="T2" fmla="*/ 539 w 916"/>
                  <a:gd name="T3" fmla="*/ 723 h 808"/>
                  <a:gd name="T4" fmla="*/ 504 w 916"/>
                  <a:gd name="T5" fmla="*/ 0 h 808"/>
                  <a:gd name="T6" fmla="*/ 35 w 916"/>
                  <a:gd name="T7" fmla="*/ 723 h 808"/>
                  <a:gd name="T8" fmla="*/ 0 w 916"/>
                  <a:gd name="T9" fmla="*/ 808 h 808"/>
                  <a:gd name="T10" fmla="*/ 916 w 916"/>
                  <a:gd name="T11" fmla="*/ 723 h 808"/>
                  <a:gd name="T12" fmla="*/ 229 w 916"/>
                  <a:gd name="T13" fmla="*/ 665 h 808"/>
                  <a:gd name="T14" fmla="*/ 109 w 916"/>
                  <a:gd name="T15" fmla="*/ 596 h 808"/>
                  <a:gd name="T16" fmla="*/ 229 w 916"/>
                  <a:gd name="T17" fmla="*/ 665 h 808"/>
                  <a:gd name="T18" fmla="*/ 109 w 916"/>
                  <a:gd name="T19" fmla="*/ 501 h 808"/>
                  <a:gd name="T20" fmla="*/ 229 w 916"/>
                  <a:gd name="T21" fmla="*/ 432 h 808"/>
                  <a:gd name="T22" fmla="*/ 229 w 916"/>
                  <a:gd name="T23" fmla="*/ 337 h 808"/>
                  <a:gd name="T24" fmla="*/ 109 w 916"/>
                  <a:gd name="T25" fmla="*/ 267 h 808"/>
                  <a:gd name="T26" fmla="*/ 229 w 916"/>
                  <a:gd name="T27" fmla="*/ 337 h 808"/>
                  <a:gd name="T28" fmla="*/ 109 w 916"/>
                  <a:gd name="T29" fmla="*/ 172 h 808"/>
                  <a:gd name="T30" fmla="*/ 229 w 916"/>
                  <a:gd name="T31" fmla="*/ 103 h 808"/>
                  <a:gd name="T32" fmla="*/ 428 w 916"/>
                  <a:gd name="T33" fmla="*/ 665 h 808"/>
                  <a:gd name="T34" fmla="*/ 307 w 916"/>
                  <a:gd name="T35" fmla="*/ 596 h 808"/>
                  <a:gd name="T36" fmla="*/ 428 w 916"/>
                  <a:gd name="T37" fmla="*/ 665 h 808"/>
                  <a:gd name="T38" fmla="*/ 307 w 916"/>
                  <a:gd name="T39" fmla="*/ 501 h 808"/>
                  <a:gd name="T40" fmla="*/ 428 w 916"/>
                  <a:gd name="T41" fmla="*/ 432 h 808"/>
                  <a:gd name="T42" fmla="*/ 428 w 916"/>
                  <a:gd name="T43" fmla="*/ 337 h 808"/>
                  <a:gd name="T44" fmla="*/ 307 w 916"/>
                  <a:gd name="T45" fmla="*/ 267 h 808"/>
                  <a:gd name="T46" fmla="*/ 428 w 916"/>
                  <a:gd name="T47" fmla="*/ 337 h 808"/>
                  <a:gd name="T48" fmla="*/ 307 w 916"/>
                  <a:gd name="T49" fmla="*/ 172 h 808"/>
                  <a:gd name="T50" fmla="*/ 428 w 916"/>
                  <a:gd name="T51" fmla="*/ 103 h 808"/>
                  <a:gd name="T52" fmla="*/ 684 w 916"/>
                  <a:gd name="T53" fmla="*/ 668 h 808"/>
                  <a:gd name="T54" fmla="*/ 606 w 916"/>
                  <a:gd name="T55" fmla="*/ 549 h 808"/>
                  <a:gd name="T56" fmla="*/ 684 w 916"/>
                  <a:gd name="T57" fmla="*/ 668 h 808"/>
                  <a:gd name="T58" fmla="*/ 606 w 916"/>
                  <a:gd name="T59" fmla="*/ 482 h 808"/>
                  <a:gd name="T60" fmla="*/ 684 w 916"/>
                  <a:gd name="T61" fmla="*/ 365 h 808"/>
                  <a:gd name="T62" fmla="*/ 816 w 916"/>
                  <a:gd name="T63" fmla="*/ 668 h 808"/>
                  <a:gd name="T64" fmla="*/ 738 w 916"/>
                  <a:gd name="T65" fmla="*/ 549 h 808"/>
                  <a:gd name="T66" fmla="*/ 816 w 916"/>
                  <a:gd name="T67" fmla="*/ 668 h 808"/>
                  <a:gd name="T68" fmla="*/ 738 w 916"/>
                  <a:gd name="T69" fmla="*/ 482 h 808"/>
                  <a:gd name="T70" fmla="*/ 816 w 916"/>
                  <a:gd name="T71" fmla="*/ 365 h 8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16" h="808">
                    <a:moveTo>
                      <a:pt x="883" y="723"/>
                    </a:moveTo>
                    <a:lnTo>
                      <a:pt x="883" y="286"/>
                    </a:lnTo>
                    <a:lnTo>
                      <a:pt x="539" y="286"/>
                    </a:lnTo>
                    <a:lnTo>
                      <a:pt x="539" y="723"/>
                    </a:lnTo>
                    <a:lnTo>
                      <a:pt x="504" y="723"/>
                    </a:lnTo>
                    <a:lnTo>
                      <a:pt x="504" y="0"/>
                    </a:lnTo>
                    <a:lnTo>
                      <a:pt x="35" y="0"/>
                    </a:lnTo>
                    <a:lnTo>
                      <a:pt x="35" y="723"/>
                    </a:lnTo>
                    <a:lnTo>
                      <a:pt x="0" y="723"/>
                    </a:lnTo>
                    <a:lnTo>
                      <a:pt x="0" y="808"/>
                    </a:lnTo>
                    <a:lnTo>
                      <a:pt x="916" y="808"/>
                    </a:lnTo>
                    <a:lnTo>
                      <a:pt x="916" y="723"/>
                    </a:lnTo>
                    <a:lnTo>
                      <a:pt x="883" y="723"/>
                    </a:lnTo>
                    <a:close/>
                    <a:moveTo>
                      <a:pt x="229" y="665"/>
                    </a:moveTo>
                    <a:lnTo>
                      <a:pt x="109" y="665"/>
                    </a:lnTo>
                    <a:lnTo>
                      <a:pt x="109" y="596"/>
                    </a:lnTo>
                    <a:lnTo>
                      <a:pt x="229" y="596"/>
                    </a:lnTo>
                    <a:lnTo>
                      <a:pt x="229" y="665"/>
                    </a:lnTo>
                    <a:close/>
                    <a:moveTo>
                      <a:pt x="229" y="501"/>
                    </a:moveTo>
                    <a:lnTo>
                      <a:pt x="109" y="501"/>
                    </a:lnTo>
                    <a:lnTo>
                      <a:pt x="109" y="432"/>
                    </a:lnTo>
                    <a:lnTo>
                      <a:pt x="229" y="432"/>
                    </a:lnTo>
                    <a:lnTo>
                      <a:pt x="229" y="501"/>
                    </a:lnTo>
                    <a:close/>
                    <a:moveTo>
                      <a:pt x="229" y="337"/>
                    </a:moveTo>
                    <a:lnTo>
                      <a:pt x="109" y="337"/>
                    </a:lnTo>
                    <a:lnTo>
                      <a:pt x="109" y="267"/>
                    </a:lnTo>
                    <a:lnTo>
                      <a:pt x="229" y="267"/>
                    </a:lnTo>
                    <a:lnTo>
                      <a:pt x="229" y="337"/>
                    </a:lnTo>
                    <a:close/>
                    <a:moveTo>
                      <a:pt x="229" y="172"/>
                    </a:moveTo>
                    <a:lnTo>
                      <a:pt x="109" y="172"/>
                    </a:lnTo>
                    <a:lnTo>
                      <a:pt x="109" y="103"/>
                    </a:lnTo>
                    <a:lnTo>
                      <a:pt x="229" y="103"/>
                    </a:lnTo>
                    <a:lnTo>
                      <a:pt x="229" y="172"/>
                    </a:lnTo>
                    <a:close/>
                    <a:moveTo>
                      <a:pt x="428" y="665"/>
                    </a:moveTo>
                    <a:lnTo>
                      <a:pt x="307" y="665"/>
                    </a:lnTo>
                    <a:lnTo>
                      <a:pt x="307" y="596"/>
                    </a:lnTo>
                    <a:lnTo>
                      <a:pt x="428" y="596"/>
                    </a:lnTo>
                    <a:lnTo>
                      <a:pt x="428" y="665"/>
                    </a:lnTo>
                    <a:close/>
                    <a:moveTo>
                      <a:pt x="428" y="501"/>
                    </a:moveTo>
                    <a:lnTo>
                      <a:pt x="307" y="501"/>
                    </a:lnTo>
                    <a:lnTo>
                      <a:pt x="307" y="432"/>
                    </a:lnTo>
                    <a:lnTo>
                      <a:pt x="428" y="432"/>
                    </a:lnTo>
                    <a:lnTo>
                      <a:pt x="428" y="501"/>
                    </a:lnTo>
                    <a:close/>
                    <a:moveTo>
                      <a:pt x="428" y="337"/>
                    </a:moveTo>
                    <a:lnTo>
                      <a:pt x="307" y="337"/>
                    </a:lnTo>
                    <a:lnTo>
                      <a:pt x="307" y="267"/>
                    </a:lnTo>
                    <a:lnTo>
                      <a:pt x="428" y="267"/>
                    </a:lnTo>
                    <a:lnTo>
                      <a:pt x="428" y="337"/>
                    </a:lnTo>
                    <a:close/>
                    <a:moveTo>
                      <a:pt x="428" y="172"/>
                    </a:moveTo>
                    <a:lnTo>
                      <a:pt x="307" y="172"/>
                    </a:lnTo>
                    <a:lnTo>
                      <a:pt x="307" y="103"/>
                    </a:lnTo>
                    <a:lnTo>
                      <a:pt x="428" y="103"/>
                    </a:lnTo>
                    <a:lnTo>
                      <a:pt x="428" y="172"/>
                    </a:lnTo>
                    <a:close/>
                    <a:moveTo>
                      <a:pt x="684" y="668"/>
                    </a:moveTo>
                    <a:lnTo>
                      <a:pt x="606" y="668"/>
                    </a:lnTo>
                    <a:lnTo>
                      <a:pt x="606" y="549"/>
                    </a:lnTo>
                    <a:lnTo>
                      <a:pt x="684" y="549"/>
                    </a:lnTo>
                    <a:lnTo>
                      <a:pt x="684" y="668"/>
                    </a:lnTo>
                    <a:close/>
                    <a:moveTo>
                      <a:pt x="684" y="482"/>
                    </a:moveTo>
                    <a:lnTo>
                      <a:pt x="606" y="482"/>
                    </a:lnTo>
                    <a:lnTo>
                      <a:pt x="606" y="365"/>
                    </a:lnTo>
                    <a:lnTo>
                      <a:pt x="684" y="365"/>
                    </a:lnTo>
                    <a:lnTo>
                      <a:pt x="684" y="482"/>
                    </a:lnTo>
                    <a:close/>
                    <a:moveTo>
                      <a:pt x="816" y="668"/>
                    </a:moveTo>
                    <a:lnTo>
                      <a:pt x="738" y="668"/>
                    </a:lnTo>
                    <a:lnTo>
                      <a:pt x="738" y="549"/>
                    </a:lnTo>
                    <a:lnTo>
                      <a:pt x="816" y="549"/>
                    </a:lnTo>
                    <a:lnTo>
                      <a:pt x="816" y="668"/>
                    </a:lnTo>
                    <a:close/>
                    <a:moveTo>
                      <a:pt x="816" y="482"/>
                    </a:moveTo>
                    <a:lnTo>
                      <a:pt x="738" y="482"/>
                    </a:lnTo>
                    <a:lnTo>
                      <a:pt x="738" y="365"/>
                    </a:lnTo>
                    <a:lnTo>
                      <a:pt x="816" y="365"/>
                    </a:lnTo>
                    <a:lnTo>
                      <a:pt x="816" y="482"/>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grpSp>
        <p:sp>
          <p:nvSpPr>
            <p:cNvPr id="86" name="TextBox 85"/>
            <p:cNvSpPr txBox="1"/>
            <p:nvPr/>
          </p:nvSpPr>
          <p:spPr>
            <a:xfrm>
              <a:off x="83345" y="113808"/>
              <a:ext cx="2532630" cy="627864"/>
            </a:xfrm>
            <a:prstGeom prst="rect">
              <a:avLst/>
            </a:prstGeom>
            <a:noFill/>
          </p:spPr>
          <p:txBody>
            <a:bodyPr wrap="square" lIns="182880" tIns="146304" rIns="182880" bIns="146304" rtlCol="0">
              <a:spAutoFit/>
            </a:bodyPr>
            <a:lstStyle>
              <a:defPPr>
                <a:defRPr lang="en-US"/>
              </a:defPPr>
              <a:lvl1pPr>
                <a:lnSpc>
                  <a:spcPct val="90000"/>
                </a:lnSpc>
                <a:spcAft>
                  <a:spcPts val="600"/>
                </a:spcAft>
                <a:defRPr sz="2800" b="1">
                  <a:solidFill>
                    <a:srgbClr val="F2C812"/>
                  </a:solidFill>
                  <a:latin typeface="Segoe UI Light"/>
                </a:defRPr>
              </a:lvl1p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400" b="1" i="0" u="none" strike="noStrike" kern="1200" cap="none" spc="0" normalizeH="0" baseline="0" noProof="0">
                  <a:ln>
                    <a:noFill/>
                  </a:ln>
                  <a:solidFill>
                    <a:srgbClr val="F2C812"/>
                  </a:solidFill>
                  <a:effectLst/>
                  <a:uLnTx/>
                  <a:uFillTx/>
                  <a:latin typeface="Segoe UI Light"/>
                  <a:ea typeface="+mn-ea"/>
                  <a:cs typeface="+mn-cs"/>
                </a:rPr>
                <a:t>Power BI Service</a:t>
              </a:r>
              <a:endParaRPr kumimoji="0" lang="en-US" sz="2800" b="1" i="0" u="none" strike="noStrike" kern="1200" cap="none" spc="0" normalizeH="0" baseline="0" noProof="0">
                <a:ln>
                  <a:noFill/>
                </a:ln>
                <a:solidFill>
                  <a:srgbClr val="F2C812"/>
                </a:solidFill>
                <a:effectLst/>
                <a:uLnTx/>
                <a:uFillTx/>
                <a:latin typeface="Segoe UI Light"/>
                <a:ea typeface="+mn-ea"/>
                <a:cs typeface="+mn-cs"/>
              </a:endParaRPr>
            </a:p>
          </p:txBody>
        </p:sp>
        <p:grpSp>
          <p:nvGrpSpPr>
            <p:cNvPr id="87" name="Group 86"/>
            <p:cNvGrpSpPr/>
            <p:nvPr/>
          </p:nvGrpSpPr>
          <p:grpSpPr>
            <a:xfrm>
              <a:off x="219373" y="3621383"/>
              <a:ext cx="433844" cy="645668"/>
              <a:chOff x="280990" y="3358164"/>
              <a:chExt cx="433844" cy="645668"/>
            </a:xfrm>
          </p:grpSpPr>
          <p:sp>
            <p:nvSpPr>
              <p:cNvPr id="93" name="Oval 1083"/>
              <p:cNvSpPr/>
              <p:nvPr/>
            </p:nvSpPr>
            <p:spPr bwMode="auto">
              <a:xfrm>
                <a:off x="280990" y="3358164"/>
                <a:ext cx="433844" cy="433847"/>
              </a:xfrm>
              <a:prstGeom prst="ellipse">
                <a:avLst/>
              </a:prstGeom>
              <a:solidFill>
                <a:srgbClr val="F2C812"/>
              </a:solidFill>
              <a:ln>
                <a:solidFill>
                  <a:srgbClr val="FFCC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94" name="Group 379"/>
              <p:cNvGrpSpPr/>
              <p:nvPr/>
            </p:nvGrpSpPr>
            <p:grpSpPr>
              <a:xfrm>
                <a:off x="453702" y="3910852"/>
                <a:ext cx="175660" cy="92980"/>
                <a:chOff x="3895793" y="7466656"/>
                <a:chExt cx="785810" cy="415941"/>
              </a:xfrm>
              <a:solidFill>
                <a:srgbClr val="00BCF2"/>
              </a:solidFill>
            </p:grpSpPr>
            <p:sp>
              <p:nvSpPr>
                <p:cNvPr id="95" name="Freeform 132"/>
                <p:cNvSpPr>
                  <a:spLocks/>
                </p:cNvSpPr>
                <p:nvPr/>
              </p:nvSpPr>
              <p:spPr bwMode="auto">
                <a:xfrm>
                  <a:off x="4125979" y="7688918"/>
                  <a:ext cx="0" cy="6353"/>
                </a:xfrm>
                <a:custGeom>
                  <a:avLst/>
                  <a:gdLst>
                    <a:gd name="T0" fmla="*/ 1 w 1"/>
                    <a:gd name="T1" fmla="*/ 0 h 8"/>
                    <a:gd name="T2" fmla="*/ 0 w 1"/>
                    <a:gd name="T3" fmla="*/ 0 h 8"/>
                    <a:gd name="T4" fmla="*/ 1 w 1"/>
                    <a:gd name="T5" fmla="*/ 8 h 8"/>
                    <a:gd name="T6" fmla="*/ 1 w 1"/>
                    <a:gd name="T7" fmla="*/ 0 h 8"/>
                  </a:gdLst>
                  <a:ahLst/>
                  <a:cxnLst>
                    <a:cxn ang="0">
                      <a:pos x="T0" y="T1"/>
                    </a:cxn>
                    <a:cxn ang="0">
                      <a:pos x="T2" y="T3"/>
                    </a:cxn>
                    <a:cxn ang="0">
                      <a:pos x="T4" y="T5"/>
                    </a:cxn>
                    <a:cxn ang="0">
                      <a:pos x="T6" y="T7"/>
                    </a:cxn>
                  </a:cxnLst>
                  <a:rect l="0" t="0" r="r" b="b"/>
                  <a:pathLst>
                    <a:path w="1" h="8">
                      <a:moveTo>
                        <a:pt x="1" y="0"/>
                      </a:moveTo>
                      <a:cubicBezTo>
                        <a:pt x="0" y="0"/>
                        <a:pt x="0" y="0"/>
                        <a:pt x="0" y="0"/>
                      </a:cubicBezTo>
                      <a:cubicBezTo>
                        <a:pt x="0" y="3"/>
                        <a:pt x="1" y="5"/>
                        <a:pt x="1" y="8"/>
                      </a:cubicBezTo>
                      <a:lnTo>
                        <a:pt x="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96" name="Freeform 133"/>
                <p:cNvSpPr>
                  <a:spLocks/>
                </p:cNvSpPr>
                <p:nvPr/>
              </p:nvSpPr>
              <p:spPr bwMode="auto">
                <a:xfrm>
                  <a:off x="3895793" y="7812745"/>
                  <a:ext cx="219078" cy="69852"/>
                </a:xfrm>
                <a:custGeom>
                  <a:avLst/>
                  <a:gdLst>
                    <a:gd name="T0" fmla="*/ 186 w 238"/>
                    <a:gd name="T1" fmla="*/ 9 h 76"/>
                    <a:gd name="T2" fmla="*/ 131 w 238"/>
                    <a:gd name="T3" fmla="*/ 22 h 76"/>
                    <a:gd name="T4" fmla="*/ 60 w 238"/>
                    <a:gd name="T5" fmla="*/ 0 h 76"/>
                    <a:gd name="T6" fmla="*/ 0 w 238"/>
                    <a:gd name="T7" fmla="*/ 42 h 76"/>
                    <a:gd name="T8" fmla="*/ 0 w 238"/>
                    <a:gd name="T9" fmla="*/ 76 h 76"/>
                    <a:gd name="T10" fmla="*/ 238 w 238"/>
                    <a:gd name="T11" fmla="*/ 76 h 76"/>
                    <a:gd name="T12" fmla="*/ 236 w 238"/>
                    <a:gd name="T13" fmla="*/ 53 h 76"/>
                    <a:gd name="T14" fmla="*/ 236 w 238"/>
                    <a:gd name="T15" fmla="*/ 49 h 76"/>
                    <a:gd name="T16" fmla="*/ 186 w 238"/>
                    <a:gd name="T17" fmla="*/ 9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8" h="76">
                      <a:moveTo>
                        <a:pt x="186" y="9"/>
                      </a:moveTo>
                      <a:cubicBezTo>
                        <a:pt x="169" y="18"/>
                        <a:pt x="150" y="22"/>
                        <a:pt x="131" y="22"/>
                      </a:cubicBezTo>
                      <a:cubicBezTo>
                        <a:pt x="105" y="22"/>
                        <a:pt x="80" y="14"/>
                        <a:pt x="60" y="0"/>
                      </a:cubicBezTo>
                      <a:cubicBezTo>
                        <a:pt x="0" y="42"/>
                        <a:pt x="0" y="42"/>
                        <a:pt x="0" y="42"/>
                      </a:cubicBezTo>
                      <a:cubicBezTo>
                        <a:pt x="0" y="76"/>
                        <a:pt x="0" y="76"/>
                        <a:pt x="0" y="76"/>
                      </a:cubicBezTo>
                      <a:cubicBezTo>
                        <a:pt x="238" y="76"/>
                        <a:pt x="238" y="76"/>
                        <a:pt x="238" y="76"/>
                      </a:cubicBezTo>
                      <a:cubicBezTo>
                        <a:pt x="237" y="68"/>
                        <a:pt x="236" y="61"/>
                        <a:pt x="236" y="53"/>
                      </a:cubicBezTo>
                      <a:cubicBezTo>
                        <a:pt x="236" y="51"/>
                        <a:pt x="236" y="50"/>
                        <a:pt x="236" y="49"/>
                      </a:cubicBezTo>
                      <a:lnTo>
                        <a:pt x="186" y="9"/>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97" name="Freeform 137"/>
                <p:cNvSpPr>
                  <a:spLocks/>
                </p:cNvSpPr>
                <p:nvPr/>
              </p:nvSpPr>
              <p:spPr bwMode="auto">
                <a:xfrm>
                  <a:off x="4338704" y="7809561"/>
                  <a:ext cx="65090" cy="73028"/>
                </a:xfrm>
                <a:custGeom>
                  <a:avLst/>
                  <a:gdLst>
                    <a:gd name="T0" fmla="*/ 71 w 71"/>
                    <a:gd name="T1" fmla="*/ 79 h 79"/>
                    <a:gd name="T2" fmla="*/ 71 w 71"/>
                    <a:gd name="T3" fmla="*/ 0 h 79"/>
                    <a:gd name="T4" fmla="*/ 2 w 71"/>
                    <a:gd name="T5" fmla="*/ 53 h 79"/>
                    <a:gd name="T6" fmla="*/ 2 w 71"/>
                    <a:gd name="T7" fmla="*/ 56 h 79"/>
                    <a:gd name="T8" fmla="*/ 0 w 71"/>
                    <a:gd name="T9" fmla="*/ 79 h 79"/>
                    <a:gd name="T10" fmla="*/ 71 w 71"/>
                    <a:gd name="T11" fmla="*/ 79 h 79"/>
                  </a:gdLst>
                  <a:ahLst/>
                  <a:cxnLst>
                    <a:cxn ang="0">
                      <a:pos x="T0" y="T1"/>
                    </a:cxn>
                    <a:cxn ang="0">
                      <a:pos x="T2" y="T3"/>
                    </a:cxn>
                    <a:cxn ang="0">
                      <a:pos x="T4" y="T5"/>
                    </a:cxn>
                    <a:cxn ang="0">
                      <a:pos x="T6" y="T7"/>
                    </a:cxn>
                    <a:cxn ang="0">
                      <a:pos x="T8" y="T9"/>
                    </a:cxn>
                    <a:cxn ang="0">
                      <a:pos x="T10" y="T11"/>
                    </a:cxn>
                  </a:cxnLst>
                  <a:rect l="0" t="0" r="r" b="b"/>
                  <a:pathLst>
                    <a:path w="71" h="79">
                      <a:moveTo>
                        <a:pt x="71" y="79"/>
                      </a:moveTo>
                      <a:cubicBezTo>
                        <a:pt x="71" y="0"/>
                        <a:pt x="71" y="0"/>
                        <a:pt x="71" y="0"/>
                      </a:cubicBezTo>
                      <a:cubicBezTo>
                        <a:pt x="2" y="53"/>
                        <a:pt x="2" y="53"/>
                        <a:pt x="2" y="53"/>
                      </a:cubicBezTo>
                      <a:cubicBezTo>
                        <a:pt x="2" y="54"/>
                        <a:pt x="2" y="55"/>
                        <a:pt x="2" y="56"/>
                      </a:cubicBezTo>
                      <a:cubicBezTo>
                        <a:pt x="2" y="64"/>
                        <a:pt x="1" y="71"/>
                        <a:pt x="0" y="79"/>
                      </a:cubicBezTo>
                      <a:lnTo>
                        <a:pt x="71" y="79"/>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98" name="Freeform 140"/>
                <p:cNvSpPr>
                  <a:spLocks/>
                </p:cNvSpPr>
                <p:nvPr/>
              </p:nvSpPr>
              <p:spPr bwMode="auto">
                <a:xfrm>
                  <a:off x="4600643" y="7622229"/>
                  <a:ext cx="80960" cy="38099"/>
                </a:xfrm>
                <a:custGeom>
                  <a:avLst/>
                  <a:gdLst>
                    <a:gd name="T0" fmla="*/ 0 w 51"/>
                    <a:gd name="T1" fmla="*/ 24 h 24"/>
                    <a:gd name="T2" fmla="*/ 51 w 51"/>
                    <a:gd name="T3" fmla="*/ 24 h 24"/>
                    <a:gd name="T4" fmla="*/ 32 w 51"/>
                    <a:gd name="T5" fmla="*/ 0 h 24"/>
                    <a:gd name="T6" fmla="*/ 0 w 51"/>
                    <a:gd name="T7" fmla="*/ 24 h 24"/>
                  </a:gdLst>
                  <a:ahLst/>
                  <a:cxnLst>
                    <a:cxn ang="0">
                      <a:pos x="T0" y="T1"/>
                    </a:cxn>
                    <a:cxn ang="0">
                      <a:pos x="T2" y="T3"/>
                    </a:cxn>
                    <a:cxn ang="0">
                      <a:pos x="T4" y="T5"/>
                    </a:cxn>
                    <a:cxn ang="0">
                      <a:pos x="T6" y="T7"/>
                    </a:cxn>
                  </a:cxnLst>
                  <a:rect l="0" t="0" r="r" b="b"/>
                  <a:pathLst>
                    <a:path w="51" h="24">
                      <a:moveTo>
                        <a:pt x="0" y="24"/>
                      </a:moveTo>
                      <a:lnTo>
                        <a:pt x="51" y="24"/>
                      </a:lnTo>
                      <a:lnTo>
                        <a:pt x="32" y="0"/>
                      </a:lnTo>
                      <a:lnTo>
                        <a:pt x="0" y="24"/>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99" name="Freeform 141"/>
                <p:cNvSpPr>
                  <a:spLocks/>
                </p:cNvSpPr>
                <p:nvPr/>
              </p:nvSpPr>
              <p:spPr bwMode="auto">
                <a:xfrm>
                  <a:off x="4449825" y="7466656"/>
                  <a:ext cx="119065" cy="139703"/>
                </a:xfrm>
                <a:custGeom>
                  <a:avLst/>
                  <a:gdLst>
                    <a:gd name="T0" fmla="*/ 52 w 75"/>
                    <a:gd name="T1" fmla="*/ 0 h 88"/>
                    <a:gd name="T2" fmla="*/ 0 w 75"/>
                    <a:gd name="T3" fmla="*/ 0 h 88"/>
                    <a:gd name="T4" fmla="*/ 0 w 75"/>
                    <a:gd name="T5" fmla="*/ 88 h 88"/>
                    <a:gd name="T6" fmla="*/ 75 w 75"/>
                    <a:gd name="T7" fmla="*/ 30 h 88"/>
                    <a:gd name="T8" fmla="*/ 52 w 75"/>
                    <a:gd name="T9" fmla="*/ 0 h 88"/>
                  </a:gdLst>
                  <a:ahLst/>
                  <a:cxnLst>
                    <a:cxn ang="0">
                      <a:pos x="T0" y="T1"/>
                    </a:cxn>
                    <a:cxn ang="0">
                      <a:pos x="T2" y="T3"/>
                    </a:cxn>
                    <a:cxn ang="0">
                      <a:pos x="T4" y="T5"/>
                    </a:cxn>
                    <a:cxn ang="0">
                      <a:pos x="T6" y="T7"/>
                    </a:cxn>
                    <a:cxn ang="0">
                      <a:pos x="T8" y="T9"/>
                    </a:cxn>
                  </a:cxnLst>
                  <a:rect l="0" t="0" r="r" b="b"/>
                  <a:pathLst>
                    <a:path w="75" h="88">
                      <a:moveTo>
                        <a:pt x="52" y="0"/>
                      </a:moveTo>
                      <a:lnTo>
                        <a:pt x="0" y="0"/>
                      </a:lnTo>
                      <a:lnTo>
                        <a:pt x="0" y="88"/>
                      </a:lnTo>
                      <a:lnTo>
                        <a:pt x="75" y="30"/>
                      </a:lnTo>
                      <a:lnTo>
                        <a:pt x="52"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grpSp>
        </p:grpSp>
        <p:sp>
          <p:nvSpPr>
            <p:cNvPr id="88" name="Rectangle 152"/>
            <p:cNvSpPr/>
            <p:nvPr/>
          </p:nvSpPr>
          <p:spPr bwMode="auto">
            <a:xfrm>
              <a:off x="712458" y="3628917"/>
              <a:ext cx="1805162" cy="37532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2C812"/>
                  </a:solidFill>
                  <a:effectLst/>
                  <a:uLnTx/>
                  <a:uFillTx/>
                  <a:latin typeface="Segoe UI"/>
                  <a:ea typeface="+mn-ea"/>
                  <a:cs typeface="Segoe UI Light" panose="020B0502040204020203" pitchFamily="34" charset="0"/>
                </a:rPr>
                <a:t>Q&amp;A and </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2C812"/>
                  </a:solidFill>
                  <a:effectLst/>
                  <a:uLnTx/>
                  <a:uFillTx/>
                  <a:latin typeface="Segoe UI"/>
                  <a:ea typeface="+mn-ea"/>
                  <a:cs typeface="Segoe UI Light" panose="020B0502040204020203" pitchFamily="34" charset="0"/>
                </a:rPr>
                <a:t>Quick Insights</a:t>
              </a:r>
              <a:endParaRPr kumimoji="0" lang="en-US" sz="1200" b="1" i="0" u="none" strike="noStrike" kern="1200" cap="none" spc="0" normalizeH="0" baseline="0" noProof="0">
                <a:ln>
                  <a:noFill/>
                </a:ln>
                <a:solidFill>
                  <a:srgbClr val="F2C812"/>
                </a:solidFill>
                <a:effectLst/>
                <a:uLnTx/>
                <a:uFillTx/>
                <a:latin typeface="Segoe UI"/>
                <a:ea typeface="+mn-ea"/>
                <a:cs typeface="Segoe UI Light" panose="020B0502040204020203" pitchFamily="34" charset="0"/>
              </a:endParaRPr>
            </a:p>
          </p:txBody>
        </p:sp>
        <p:sp>
          <p:nvSpPr>
            <p:cNvPr id="89" name="Oval 162"/>
            <p:cNvSpPr/>
            <p:nvPr/>
          </p:nvSpPr>
          <p:spPr bwMode="auto">
            <a:xfrm>
              <a:off x="226619" y="4551712"/>
              <a:ext cx="433844" cy="433844"/>
            </a:xfrm>
            <a:prstGeom prst="ellipse">
              <a:avLst/>
            </a:prstGeom>
            <a:solidFill>
              <a:srgbClr val="F2C812"/>
            </a:solidFill>
            <a:ln>
              <a:solidFill>
                <a:srgbClr val="FFCC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0" name="Rectangle 152"/>
            <p:cNvSpPr/>
            <p:nvPr/>
          </p:nvSpPr>
          <p:spPr bwMode="auto">
            <a:xfrm>
              <a:off x="738443" y="4596194"/>
              <a:ext cx="1884825" cy="30233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2C812"/>
                  </a:solidFill>
                  <a:effectLst/>
                  <a:uLnTx/>
                  <a:uFillTx/>
                  <a:latin typeface="Segoe UI"/>
                  <a:ea typeface="+mn-ea"/>
                  <a:cs typeface="Segoe UI Light" panose="020B0502040204020203" pitchFamily="34" charset="0"/>
                </a:rPr>
                <a:t>Sharing</a:t>
              </a:r>
              <a:endParaRPr kumimoji="0" lang="en-US" sz="1200" b="1" i="1" u="none" strike="noStrike" kern="1200" cap="none" spc="0" normalizeH="0" baseline="0" noProof="0">
                <a:ln>
                  <a:noFill/>
                </a:ln>
                <a:solidFill>
                  <a:srgbClr val="F2C812"/>
                </a:solidFill>
                <a:effectLst/>
                <a:uLnTx/>
                <a:uFillTx/>
                <a:latin typeface="Segoe UI"/>
                <a:ea typeface="+mn-ea"/>
                <a:cs typeface="Segoe UI Light" panose="020B0502040204020203" pitchFamily="34" charset="0"/>
              </a:endParaRPr>
            </a:p>
          </p:txBody>
        </p:sp>
        <p:sp>
          <p:nvSpPr>
            <p:cNvPr id="91" name="Rectangle 145"/>
            <p:cNvSpPr/>
            <p:nvPr/>
          </p:nvSpPr>
          <p:spPr bwMode="auto">
            <a:xfrm>
              <a:off x="697198" y="1847637"/>
              <a:ext cx="1821468" cy="3831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2C812"/>
                  </a:solidFill>
                  <a:effectLst/>
                  <a:uLnTx/>
                  <a:uFillTx/>
                  <a:latin typeface="Segoe UI"/>
                  <a:ea typeface="+mn-ea"/>
                  <a:cs typeface="Segoe UI Light" panose="020B0502040204020203" pitchFamily="34" charset="0"/>
                </a:rPr>
                <a:t>Pinning and Navigation</a:t>
              </a:r>
            </a:p>
          </p:txBody>
        </p:sp>
        <p:sp>
          <p:nvSpPr>
            <p:cNvPr id="92" name="Oval 162"/>
            <p:cNvSpPr/>
            <p:nvPr/>
          </p:nvSpPr>
          <p:spPr bwMode="auto">
            <a:xfrm>
              <a:off x="224136" y="1813606"/>
              <a:ext cx="433844" cy="433844"/>
            </a:xfrm>
            <a:prstGeom prst="ellipse">
              <a:avLst/>
            </a:prstGeom>
            <a:solidFill>
              <a:srgbClr val="FFCC00"/>
            </a:solidFill>
            <a:ln>
              <a:solidFill>
                <a:srgbClr val="F2C81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pic>
        <p:nvPicPr>
          <p:cNvPr id="106" name="Picture 105"/>
          <p:cNvPicPr>
            <a:picLocks noChangeAspect="1"/>
          </p:cNvPicPr>
          <p:nvPr/>
        </p:nvPicPr>
        <p:blipFill rotWithShape="1">
          <a:blip r:embed="rId6"/>
          <a:srcRect l="6503" t="21287" r="74698" b="20220"/>
          <a:stretch/>
        </p:blipFill>
        <p:spPr>
          <a:xfrm>
            <a:off x="339111" y="1946110"/>
            <a:ext cx="228600" cy="231962"/>
          </a:xfrm>
          <a:prstGeom prst="rect">
            <a:avLst/>
          </a:prstGeom>
        </p:spPr>
      </p:pic>
      <p:pic>
        <p:nvPicPr>
          <p:cNvPr id="107" name="Picture 106"/>
          <p:cNvPicPr>
            <a:picLocks noChangeAspect="1"/>
          </p:cNvPicPr>
          <p:nvPr/>
        </p:nvPicPr>
        <p:blipFill>
          <a:blip r:embed="rId7"/>
          <a:stretch>
            <a:fillRect/>
          </a:stretch>
        </p:blipFill>
        <p:spPr>
          <a:xfrm>
            <a:off x="284769" y="3673076"/>
            <a:ext cx="311766" cy="303106"/>
          </a:xfrm>
          <a:prstGeom prst="rect">
            <a:avLst/>
          </a:prstGeom>
        </p:spPr>
      </p:pic>
      <p:sp>
        <p:nvSpPr>
          <p:cNvPr id="108" name="Rectangle 145"/>
          <p:cNvSpPr/>
          <p:nvPr/>
        </p:nvSpPr>
        <p:spPr bwMode="auto">
          <a:xfrm>
            <a:off x="718897" y="5436715"/>
            <a:ext cx="1821468" cy="3831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2C812"/>
                </a:solidFill>
                <a:effectLst/>
                <a:uLnTx/>
                <a:uFillTx/>
                <a:latin typeface="Segoe UI"/>
                <a:ea typeface="+mn-ea"/>
                <a:cs typeface="Segoe UI Light" panose="020B0502040204020203" pitchFamily="34" charset="0"/>
              </a:rPr>
              <a:t>Connect from Excel</a:t>
            </a:r>
          </a:p>
        </p:txBody>
      </p:sp>
      <p:sp>
        <p:nvSpPr>
          <p:cNvPr id="109" name="Oval 162"/>
          <p:cNvSpPr/>
          <p:nvPr/>
        </p:nvSpPr>
        <p:spPr bwMode="auto">
          <a:xfrm>
            <a:off x="231441" y="5429649"/>
            <a:ext cx="433844" cy="433844"/>
          </a:xfrm>
          <a:prstGeom prst="ellipse">
            <a:avLst/>
          </a:prstGeom>
          <a:solidFill>
            <a:srgbClr val="FFCC00"/>
          </a:solidFill>
          <a:ln>
            <a:solidFill>
              <a:srgbClr val="F2C81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10" name="Picture 109"/>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flipH="1">
            <a:off x="283763" y="4596680"/>
            <a:ext cx="357484" cy="357484"/>
          </a:xfrm>
          <a:prstGeom prst="rect">
            <a:avLst/>
          </a:prstGeom>
        </p:spPr>
      </p:pic>
      <p:sp>
        <p:nvSpPr>
          <p:cNvPr id="111" name="Oval 162"/>
          <p:cNvSpPr/>
          <p:nvPr/>
        </p:nvSpPr>
        <p:spPr bwMode="auto">
          <a:xfrm>
            <a:off x="233032" y="6267344"/>
            <a:ext cx="433844" cy="433844"/>
          </a:xfrm>
          <a:prstGeom prst="ellipse">
            <a:avLst/>
          </a:prstGeom>
          <a:solidFill>
            <a:srgbClr val="FFCC00"/>
          </a:solidFill>
          <a:ln>
            <a:solidFill>
              <a:srgbClr val="F2C81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2" name="Rectangle 145"/>
          <p:cNvSpPr/>
          <p:nvPr/>
        </p:nvSpPr>
        <p:spPr bwMode="auto">
          <a:xfrm>
            <a:off x="701416" y="6289969"/>
            <a:ext cx="1821468" cy="3831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2C812"/>
                </a:solidFill>
                <a:effectLst/>
                <a:uLnTx/>
                <a:uFillTx/>
                <a:latin typeface="Segoe UI"/>
                <a:ea typeface="+mn-ea"/>
                <a:cs typeface="Segoe UI Light" panose="020B0502040204020203" pitchFamily="34" charset="0"/>
              </a:rPr>
              <a:t>Mobile Reports</a:t>
            </a:r>
          </a:p>
        </p:txBody>
      </p:sp>
      <p:pic>
        <p:nvPicPr>
          <p:cNvPr id="113" name="Picture 112"/>
          <p:cNvPicPr>
            <a:picLocks noChangeAspect="1"/>
          </p:cNvPicPr>
          <p:nvPr/>
        </p:nvPicPr>
        <p:blipFill>
          <a:blip r:embed="rId9" cstate="print">
            <a:extLst>
              <a:ext uri="{BEBA8EAE-BF5A-486C-A8C5-ECC9F3942E4B}">
                <a14:imgProps xmlns:a14="http://schemas.microsoft.com/office/drawing/2010/main">
                  <a14:imgLayer r:embed="rId10">
                    <a14:imgEffect>
                      <a14:saturation sat="0"/>
                    </a14:imgEffect>
                  </a14:imgLayer>
                </a14:imgProps>
              </a:ext>
              <a:ext uri="{28A0092B-C50C-407E-A947-70E740481C1C}">
                <a14:useLocalDpi xmlns:a14="http://schemas.microsoft.com/office/drawing/2010/main" val="0"/>
              </a:ext>
            </a:extLst>
          </a:blip>
          <a:stretch>
            <a:fillRect/>
          </a:stretch>
        </p:blipFill>
        <p:spPr>
          <a:xfrm>
            <a:off x="391946" y="6350039"/>
            <a:ext cx="133350" cy="251587"/>
          </a:xfrm>
          <a:prstGeom prst="rect">
            <a:avLst/>
          </a:prstGeom>
        </p:spPr>
      </p:pic>
      <p:pic>
        <p:nvPicPr>
          <p:cNvPr id="114" name="Picture 113"/>
          <p:cNvPicPr>
            <a:picLocks noChangeAspect="1"/>
          </p:cNvPicPr>
          <p:nvPr/>
        </p:nvPicPr>
        <p:blipFill>
          <a:blip r:embed="rId11" cstate="print">
            <a:biLevel thresh="50000"/>
            <a:extLst>
              <a:ext uri="{28A0092B-C50C-407E-A947-70E740481C1C}">
                <a14:useLocalDpi xmlns:a14="http://schemas.microsoft.com/office/drawing/2010/main" val="0"/>
              </a:ext>
            </a:extLst>
          </a:blip>
          <a:stretch>
            <a:fillRect/>
          </a:stretch>
        </p:blipFill>
        <p:spPr>
          <a:xfrm>
            <a:off x="332658" y="5538489"/>
            <a:ext cx="268940" cy="268940"/>
          </a:xfrm>
          <a:prstGeom prst="rect">
            <a:avLst/>
          </a:prstGeom>
        </p:spPr>
      </p:pic>
      <p:sp>
        <p:nvSpPr>
          <p:cNvPr id="115" name="Rectangle 114"/>
          <p:cNvSpPr/>
          <p:nvPr/>
        </p:nvSpPr>
        <p:spPr bwMode="auto">
          <a:xfrm>
            <a:off x="35912" y="2594112"/>
            <a:ext cx="2464420" cy="4194313"/>
          </a:xfrm>
          <a:prstGeom prst="rect">
            <a:avLst/>
          </a:prstGeom>
          <a:solidFill>
            <a:srgbClr val="000000">
              <a:alpha val="6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6" name="Rectangle 115"/>
          <p:cNvSpPr/>
          <p:nvPr/>
        </p:nvSpPr>
        <p:spPr bwMode="auto">
          <a:xfrm>
            <a:off x="95936" y="731576"/>
            <a:ext cx="2464420" cy="880187"/>
          </a:xfrm>
          <a:prstGeom prst="rect">
            <a:avLst/>
          </a:prstGeom>
          <a:solidFill>
            <a:srgbClr val="000000">
              <a:alpha val="6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8090340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43"/>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8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3" grpId="0" animBg="1"/>
      <p:bldP spid="80" grpId="0" animBg="1"/>
    </p:bldLst>
  </p:timing>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 name="Text Placeholder 2"/>
          <p:cNvSpPr txBox="1">
            <a:spLocks/>
          </p:cNvSpPr>
          <p:nvPr/>
        </p:nvSpPr>
        <p:spPr>
          <a:xfrm>
            <a:off x="2846171" y="1340643"/>
            <a:ext cx="9031090" cy="897374"/>
          </a:xfrm>
          <a:prstGeom prst="rect">
            <a:avLst/>
          </a:prstGeom>
        </p:spPr>
        <p:txBody>
          <a:bodyPr vert="horz" wrap="square" lIns="182880" tIns="146304" rIns="182880" bIns="146304" rtlCol="0">
            <a:noAutofit/>
          </a:bodyPr>
          <a:lstStyle>
            <a:lvl1pPr marL="182845" marR="0"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3921" kern="1200" spc="0" baseline="0">
                <a:gradFill>
                  <a:gsLst>
                    <a:gs pos="1250">
                      <a:schemeClr val="tx2"/>
                    </a:gs>
                    <a:gs pos="99000">
                      <a:schemeClr val="tx2"/>
                    </a:gs>
                  </a:gsLst>
                  <a:lin ang="5400000" scaled="0"/>
                </a:gradFill>
                <a:latin typeface="+mj-lt"/>
                <a:ea typeface="+mn-ea"/>
                <a:cs typeface="+mn-cs"/>
              </a:defRPr>
            </a:lvl1pPr>
            <a:lvl2pPr marL="365690" marR="0"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2400" kern="1200" spc="0" baseline="0">
                <a:solidFill>
                  <a:schemeClr val="tx2"/>
                </a:solidFill>
                <a:latin typeface="+mj-lt"/>
                <a:ea typeface="+mn-ea"/>
                <a:cs typeface="+mn-cs"/>
              </a:defRPr>
            </a:lvl2pPr>
            <a:lvl3pPr marL="548535" marR="0"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2000" kern="1200" spc="0" baseline="0">
                <a:solidFill>
                  <a:schemeClr val="tx2"/>
                </a:solidFill>
                <a:latin typeface="+mj-lt"/>
                <a:ea typeface="+mn-ea"/>
                <a:cs typeface="+mn-cs"/>
              </a:defRPr>
            </a:lvl3pPr>
            <a:lvl4pPr marL="733802" marR="0" indent="-28569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1765" kern="1200" spc="0" baseline="0">
                <a:solidFill>
                  <a:schemeClr val="tx2"/>
                </a:solidFill>
                <a:latin typeface="+mn-lt"/>
                <a:ea typeface="+mn-ea"/>
                <a:cs typeface="+mn-cs"/>
              </a:defRPr>
            </a:lvl4pPr>
            <a:lvl5pPr marL="957856" marR="0" indent="-28569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1765" kern="1200" spc="0" baseline="0">
                <a:solidFill>
                  <a:schemeClr val="tx2"/>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r>
              <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rPr>
              <a:t>A tile can display a </a:t>
            </a:r>
            <a:r>
              <a:rPr kumimoji="0" lang="en-US" sz="2000" b="1"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rPr>
              <a:t>tooltip</a:t>
            </a: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1"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r>
              <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rPr>
              <a:t>And can be open in </a:t>
            </a:r>
            <a:r>
              <a:rPr kumimoji="0" lang="en-US" sz="2000" b="1"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rPr>
              <a:t>Focus Mode </a:t>
            </a:r>
            <a:r>
              <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rPr>
              <a:t>maximizing it this way</a:t>
            </a: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r>
              <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rPr>
              <a:t>Interactivity is more limited than in reports except if a </a:t>
            </a:r>
            <a:r>
              <a:rPr kumimoji="0" lang="en-US" sz="2000" b="1"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rPr>
              <a:t>Live Page</a:t>
            </a:r>
            <a:r>
              <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rPr>
              <a:t> was pinned – in that case is the same</a:t>
            </a: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1"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a:p>
            <a:pPr marL="182845" marR="0" lvl="1" indent="0" algn="l" defTabSz="914367" rtl="0" eaLnBrk="1" fontAlgn="auto" latinLnBrk="0" hangingPunct="1">
              <a:lnSpc>
                <a:spcPct val="90000"/>
              </a:lnSpc>
              <a:spcBef>
                <a:spcPct val="20000"/>
              </a:spcBef>
              <a:spcAft>
                <a:spcPts val="0"/>
              </a:spcAft>
              <a:buClrTx/>
              <a:buSzPct val="90000"/>
              <a:buFont typeface="Arial" panose="020B0604020202020204" pitchFamily="34" charset="0"/>
              <a:buNone/>
              <a:tabLst/>
              <a:defRPr/>
            </a:pPr>
            <a:endPar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1"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1"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p:txBody>
      </p:sp>
      <p:sp>
        <p:nvSpPr>
          <p:cNvPr id="53" name="Title 10"/>
          <p:cNvSpPr txBox="1">
            <a:spLocks/>
          </p:cNvSpPr>
          <p:nvPr/>
        </p:nvSpPr>
        <p:spPr>
          <a:xfrm>
            <a:off x="2849060" y="0"/>
            <a:ext cx="9342940" cy="665151"/>
          </a:xfrm>
          <a:prstGeom prst="rect">
            <a:avLst/>
          </a:prstGeom>
          <a:noFill/>
        </p:spPr>
        <p:txBody>
          <a:bodyPr vert="horz" wrap="square" lIns="0" tIns="91440" rIns="0" bIns="91440" rtlCol="0" anchor="t">
            <a:noAutofit/>
          </a:bodyPr>
          <a:lstStyle>
            <a:lvl1pPr defTabSz="914367">
              <a:lnSpc>
                <a:spcPct val="90000"/>
              </a:lnSpc>
              <a:spcBef>
                <a:spcPct val="0"/>
              </a:spcBef>
              <a:buNone/>
              <a:defRPr lang="en-US" sz="5294" b="0" cap="none" spc="-100" baseline="0" dirty="0" smtClean="0">
                <a:ln w="3175">
                  <a:noFill/>
                </a:ln>
                <a:solidFill>
                  <a:schemeClr val="tx2"/>
                </a:solidFill>
                <a:effectLst/>
                <a:latin typeface="+mj-lt"/>
                <a:cs typeface="Segoe UI" pitchFamily="34" charset="0"/>
              </a:defRPr>
            </a:lvl1pPr>
          </a:lstStyle>
          <a:p>
            <a:pPr marL="168275" marR="0" lvl="0" indent="0" algn="l" defTabSz="914367" rtl="0" eaLnBrk="1" fontAlgn="auto" latinLnBrk="0" hangingPunct="1">
              <a:lnSpc>
                <a:spcPct val="90000"/>
              </a:lnSpc>
              <a:spcBef>
                <a:spcPct val="0"/>
              </a:spcBef>
              <a:spcAft>
                <a:spcPts val="0"/>
              </a:spcAft>
              <a:buClrTx/>
              <a:buSzTx/>
              <a:buFontTx/>
              <a:buNone/>
              <a:tabLst/>
              <a:defRPr/>
            </a:pPr>
            <a:r>
              <a:rPr kumimoji="0" lang="en-US" sz="3600" b="0" i="0" u="none" strike="noStrike" kern="1200" cap="none" spc="-100" normalizeH="0" baseline="0" noProof="0">
                <a:ln w="3175">
                  <a:noFill/>
                </a:ln>
                <a:solidFill>
                  <a:prstClr val="black"/>
                </a:solidFill>
                <a:effectLst/>
                <a:uLnTx/>
                <a:uFillTx/>
                <a:latin typeface="Segoe UI Light"/>
                <a:ea typeface="+mn-ea"/>
                <a:cs typeface="Segoe UI" pitchFamily="34" charset="0"/>
              </a:rPr>
              <a:t>Pinning and Navigation</a:t>
            </a:r>
            <a:endParaRPr kumimoji="0" lang="en-IN" sz="3600" b="0" i="0" u="none" strike="noStrike" kern="1200" cap="none" spc="-100" normalizeH="0" baseline="0" noProof="0">
              <a:ln w="3175">
                <a:noFill/>
              </a:ln>
              <a:solidFill>
                <a:prstClr val="black"/>
              </a:solidFill>
              <a:effectLst/>
              <a:uLnTx/>
              <a:uFillTx/>
              <a:latin typeface="Segoe UI Light"/>
              <a:ea typeface="+mn-ea"/>
              <a:cs typeface="Segoe UI" pitchFamily="34" charset="0"/>
            </a:endParaRPr>
          </a:p>
        </p:txBody>
      </p:sp>
      <p:sp>
        <p:nvSpPr>
          <p:cNvPr id="41" name="Rectangle 3"/>
          <p:cNvSpPr/>
          <p:nvPr/>
        </p:nvSpPr>
        <p:spPr bwMode="auto">
          <a:xfrm>
            <a:off x="3202216" y="665151"/>
            <a:ext cx="8105312" cy="44435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PT" sz="2000" b="0" i="1" u="none" strike="noStrike" kern="1200" cap="none" spc="0" normalizeH="0" baseline="0" noProof="0">
                <a:ln>
                  <a:noFill/>
                </a:ln>
                <a:solidFill>
                  <a:prstClr val="black"/>
                </a:solidFill>
                <a:effectLst/>
                <a:uLnTx/>
                <a:uFillTx/>
                <a:latin typeface="Segoe UI Light"/>
                <a:ea typeface="+mn-ea"/>
                <a:cs typeface="+mn-cs"/>
              </a:rPr>
              <a:t>Dashboard - Tiles</a:t>
            </a:r>
            <a:endParaRPr kumimoji="0" lang="en-US" sz="2000" b="0" i="1" u="none" strike="noStrike" kern="1200" cap="none" spc="0" normalizeH="0" baseline="0" noProof="0">
              <a:ln>
                <a:noFill/>
              </a:ln>
              <a:solidFill>
                <a:prstClr val="black"/>
              </a:solidFill>
              <a:effectLst/>
              <a:uLnTx/>
              <a:uFillTx/>
              <a:latin typeface="Segoe UI Light"/>
              <a:ea typeface="+mn-ea"/>
              <a:cs typeface="+mn-cs"/>
            </a:endParaRPr>
          </a:p>
        </p:txBody>
      </p:sp>
      <p:pic>
        <p:nvPicPr>
          <p:cNvPr id="4" name="Picture 3"/>
          <p:cNvPicPr>
            <a:picLocks noChangeAspect="1"/>
          </p:cNvPicPr>
          <p:nvPr/>
        </p:nvPicPr>
        <p:blipFill>
          <a:blip r:embed="rId3"/>
          <a:stretch>
            <a:fillRect/>
          </a:stretch>
        </p:blipFill>
        <p:spPr>
          <a:xfrm>
            <a:off x="5299181" y="2823552"/>
            <a:ext cx="4125069" cy="2233283"/>
          </a:xfrm>
          <a:prstGeom prst="rect">
            <a:avLst/>
          </a:prstGeom>
          <a:ln>
            <a:noFill/>
          </a:ln>
          <a:effectLst>
            <a:outerShdw blurRad="190500" algn="tl" rotWithShape="0">
              <a:srgbClr val="000000">
                <a:alpha val="70000"/>
              </a:srgbClr>
            </a:outerShdw>
          </a:effectLst>
        </p:spPr>
      </p:pic>
      <p:pic>
        <p:nvPicPr>
          <p:cNvPr id="7" name="Picture 6"/>
          <p:cNvPicPr>
            <a:picLocks noChangeAspect="1"/>
          </p:cNvPicPr>
          <p:nvPr/>
        </p:nvPicPr>
        <p:blipFill>
          <a:blip r:embed="rId4"/>
          <a:stretch>
            <a:fillRect/>
          </a:stretch>
        </p:blipFill>
        <p:spPr>
          <a:xfrm>
            <a:off x="8579723" y="2615519"/>
            <a:ext cx="844527" cy="435459"/>
          </a:xfrm>
          <a:prstGeom prst="rect">
            <a:avLst/>
          </a:prstGeom>
        </p:spPr>
      </p:pic>
      <p:sp>
        <p:nvSpPr>
          <p:cNvPr id="81" name="Rectangle 80"/>
          <p:cNvSpPr/>
          <p:nvPr/>
        </p:nvSpPr>
        <p:spPr bwMode="auto">
          <a:xfrm>
            <a:off x="8702017" y="2688930"/>
            <a:ext cx="329786" cy="268757"/>
          </a:xfrm>
          <a:prstGeom prst="rect">
            <a:avLst/>
          </a:prstGeom>
          <a:noFill/>
          <a:ln w="38100">
            <a:solidFill>
              <a:srgbClr val="FF00F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42" name="Group 41"/>
          <p:cNvGrpSpPr/>
          <p:nvPr/>
        </p:nvGrpSpPr>
        <p:grpSpPr>
          <a:xfrm>
            <a:off x="-2887" y="973"/>
            <a:ext cx="2849058" cy="6857027"/>
            <a:chOff x="2" y="487"/>
            <a:chExt cx="2849058" cy="6857027"/>
          </a:xfrm>
        </p:grpSpPr>
        <p:sp>
          <p:nvSpPr>
            <p:cNvPr id="43" name="Rectangle 15"/>
            <p:cNvSpPr/>
            <p:nvPr/>
          </p:nvSpPr>
          <p:spPr bwMode="auto">
            <a:xfrm>
              <a:off x="2" y="487"/>
              <a:ext cx="2849058" cy="685702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0" name="Rectangle 145"/>
            <p:cNvSpPr/>
            <p:nvPr/>
          </p:nvSpPr>
          <p:spPr bwMode="auto">
            <a:xfrm>
              <a:off x="696152" y="956997"/>
              <a:ext cx="1821468" cy="3831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2C812"/>
                  </a:solidFill>
                  <a:effectLst/>
                  <a:uLnTx/>
                  <a:uFillTx/>
                  <a:latin typeface="Segoe UI"/>
                  <a:ea typeface="+mn-ea"/>
                  <a:cs typeface="Segoe UI Light" panose="020B0502040204020203" pitchFamily="34" charset="0"/>
                </a:rPr>
                <a:t>Get Data</a:t>
              </a:r>
              <a:endParaRPr kumimoji="0" lang="en-US" sz="1200" b="1" i="1" u="none" strike="noStrike" kern="1200" cap="none" spc="0" normalizeH="0" baseline="0" noProof="0">
                <a:ln>
                  <a:noFill/>
                </a:ln>
                <a:solidFill>
                  <a:srgbClr val="F2C812"/>
                </a:solidFill>
                <a:effectLst/>
                <a:uLnTx/>
                <a:uFillTx/>
                <a:latin typeface="Segoe UI"/>
                <a:ea typeface="+mn-ea"/>
                <a:cs typeface="Segoe UI Light" panose="020B0502040204020203" pitchFamily="34" charset="0"/>
              </a:endParaRPr>
            </a:p>
          </p:txBody>
        </p:sp>
        <p:grpSp>
          <p:nvGrpSpPr>
            <p:cNvPr id="82" name="Group 81"/>
            <p:cNvGrpSpPr/>
            <p:nvPr/>
          </p:nvGrpSpPr>
          <p:grpSpPr>
            <a:xfrm>
              <a:off x="219373" y="934583"/>
              <a:ext cx="433844" cy="433844"/>
              <a:chOff x="440005" y="997815"/>
              <a:chExt cx="296322" cy="296322"/>
            </a:xfrm>
          </p:grpSpPr>
          <p:sp>
            <p:nvSpPr>
              <p:cNvPr id="101" name="Oval 147"/>
              <p:cNvSpPr/>
              <p:nvPr/>
            </p:nvSpPr>
            <p:spPr bwMode="auto">
              <a:xfrm>
                <a:off x="440005" y="997815"/>
                <a:ext cx="296322" cy="296322"/>
              </a:xfrm>
              <a:prstGeom prst="ellipse">
                <a:avLst/>
              </a:prstGeom>
              <a:solidFill>
                <a:srgbClr val="FFCC00"/>
              </a:solidFill>
              <a:ln>
                <a:solidFill>
                  <a:srgbClr val="F2C81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02" name="Group 332"/>
              <p:cNvGrpSpPr/>
              <p:nvPr/>
            </p:nvGrpSpPr>
            <p:grpSpPr>
              <a:xfrm>
                <a:off x="482167" y="1059311"/>
                <a:ext cx="211997" cy="173292"/>
                <a:chOff x="2123129" y="293070"/>
                <a:chExt cx="2472585" cy="2021178"/>
              </a:xfrm>
            </p:grpSpPr>
            <p:sp>
              <p:nvSpPr>
                <p:cNvPr id="103" name="Freeform 13"/>
                <p:cNvSpPr>
                  <a:spLocks/>
                </p:cNvSpPr>
                <p:nvPr/>
              </p:nvSpPr>
              <p:spPr bwMode="auto">
                <a:xfrm rot="20700000">
                  <a:off x="3155853" y="872796"/>
                  <a:ext cx="1439861" cy="1441452"/>
                </a:xfrm>
                <a:custGeom>
                  <a:avLst/>
                  <a:gdLst>
                    <a:gd name="T0" fmla="*/ 138 w 441"/>
                    <a:gd name="T1" fmla="*/ 341 h 441"/>
                    <a:gd name="T2" fmla="*/ 183 w 441"/>
                    <a:gd name="T3" fmla="*/ 374 h 441"/>
                    <a:gd name="T4" fmla="*/ 220 w 441"/>
                    <a:gd name="T5" fmla="*/ 423 h 441"/>
                    <a:gd name="T6" fmla="*/ 422 w 441"/>
                    <a:gd name="T7" fmla="*/ 220 h 441"/>
                    <a:gd name="T8" fmla="*/ 373 w 441"/>
                    <a:gd name="T9" fmla="*/ 184 h 441"/>
                    <a:gd name="T10" fmla="*/ 341 w 441"/>
                    <a:gd name="T11" fmla="*/ 139 h 441"/>
                    <a:gd name="T12" fmla="*/ 382 w 441"/>
                    <a:gd name="T13" fmla="*/ 58 h 441"/>
                    <a:gd name="T14" fmla="*/ 302 w 441"/>
                    <a:gd name="T15" fmla="*/ 100 h 441"/>
                    <a:gd name="T16" fmla="*/ 257 w 441"/>
                    <a:gd name="T17" fmla="*/ 67 h 441"/>
                    <a:gd name="T18" fmla="*/ 220 w 441"/>
                    <a:gd name="T19" fmla="*/ 18 h 441"/>
                    <a:gd name="T20" fmla="*/ 171 w 441"/>
                    <a:gd name="T21" fmla="*/ 55 h 441"/>
                    <a:gd name="T22" fmla="*/ 138 w 441"/>
                    <a:gd name="T23" fmla="*/ 100 h 441"/>
                    <a:gd name="T24" fmla="*/ 180 w 441"/>
                    <a:gd name="T25" fmla="*/ 181 h 441"/>
                    <a:gd name="T26" fmla="*/ 100 w 441"/>
                    <a:gd name="T27" fmla="*/ 139 h 441"/>
                    <a:gd name="T28" fmla="*/ 55 w 441"/>
                    <a:gd name="T29" fmla="*/ 171 h 441"/>
                    <a:gd name="T30" fmla="*/ 18 w 441"/>
                    <a:gd name="T31" fmla="*/ 220 h 441"/>
                    <a:gd name="T32" fmla="*/ 67 w 441"/>
                    <a:gd name="T33" fmla="*/ 257 h 441"/>
                    <a:gd name="T34" fmla="*/ 100 w 441"/>
                    <a:gd name="T35" fmla="*/ 302 h 441"/>
                    <a:gd name="T36" fmla="*/ 58 w 441"/>
                    <a:gd name="T37" fmla="*/ 383 h 441"/>
                    <a:gd name="T38" fmla="*/ 138 w 441"/>
                    <a:gd name="T39" fmla="*/ 341 h 4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41" h="441">
                      <a:moveTo>
                        <a:pt x="138" y="341"/>
                      </a:moveTo>
                      <a:cubicBezTo>
                        <a:pt x="147" y="337"/>
                        <a:pt x="171" y="361"/>
                        <a:pt x="183" y="374"/>
                      </a:cubicBezTo>
                      <a:cubicBezTo>
                        <a:pt x="196" y="386"/>
                        <a:pt x="220" y="423"/>
                        <a:pt x="220" y="423"/>
                      </a:cubicBezTo>
                      <a:cubicBezTo>
                        <a:pt x="422" y="220"/>
                        <a:pt x="422" y="220"/>
                        <a:pt x="422" y="220"/>
                      </a:cubicBezTo>
                      <a:cubicBezTo>
                        <a:pt x="422" y="220"/>
                        <a:pt x="386" y="196"/>
                        <a:pt x="373" y="184"/>
                      </a:cubicBezTo>
                      <a:cubicBezTo>
                        <a:pt x="361" y="171"/>
                        <a:pt x="338" y="149"/>
                        <a:pt x="341" y="139"/>
                      </a:cubicBezTo>
                      <a:cubicBezTo>
                        <a:pt x="343" y="129"/>
                        <a:pt x="441" y="116"/>
                        <a:pt x="382" y="58"/>
                      </a:cubicBezTo>
                      <a:cubicBezTo>
                        <a:pt x="324" y="0"/>
                        <a:pt x="310" y="96"/>
                        <a:pt x="302" y="100"/>
                      </a:cubicBezTo>
                      <a:cubicBezTo>
                        <a:pt x="294" y="104"/>
                        <a:pt x="269" y="80"/>
                        <a:pt x="257" y="67"/>
                      </a:cubicBezTo>
                      <a:cubicBezTo>
                        <a:pt x="245" y="55"/>
                        <a:pt x="220" y="18"/>
                        <a:pt x="220" y="18"/>
                      </a:cubicBezTo>
                      <a:cubicBezTo>
                        <a:pt x="220" y="18"/>
                        <a:pt x="183" y="43"/>
                        <a:pt x="171" y="55"/>
                      </a:cubicBezTo>
                      <a:cubicBezTo>
                        <a:pt x="159" y="67"/>
                        <a:pt x="134" y="92"/>
                        <a:pt x="138" y="100"/>
                      </a:cubicBezTo>
                      <a:cubicBezTo>
                        <a:pt x="142" y="108"/>
                        <a:pt x="238" y="122"/>
                        <a:pt x="180" y="181"/>
                      </a:cubicBezTo>
                      <a:cubicBezTo>
                        <a:pt x="122" y="239"/>
                        <a:pt x="110" y="141"/>
                        <a:pt x="100" y="139"/>
                      </a:cubicBezTo>
                      <a:cubicBezTo>
                        <a:pt x="89" y="137"/>
                        <a:pt x="67" y="159"/>
                        <a:pt x="55" y="171"/>
                      </a:cubicBezTo>
                      <a:cubicBezTo>
                        <a:pt x="42" y="184"/>
                        <a:pt x="18" y="220"/>
                        <a:pt x="18" y="220"/>
                      </a:cubicBezTo>
                      <a:cubicBezTo>
                        <a:pt x="18" y="220"/>
                        <a:pt x="55" y="245"/>
                        <a:pt x="67" y="257"/>
                      </a:cubicBezTo>
                      <a:cubicBezTo>
                        <a:pt x="79" y="269"/>
                        <a:pt x="102" y="292"/>
                        <a:pt x="100" y="302"/>
                      </a:cubicBezTo>
                      <a:cubicBezTo>
                        <a:pt x="98" y="312"/>
                        <a:pt x="0" y="325"/>
                        <a:pt x="58" y="383"/>
                      </a:cubicBezTo>
                      <a:cubicBezTo>
                        <a:pt x="116" y="441"/>
                        <a:pt x="130" y="345"/>
                        <a:pt x="138" y="341"/>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104" name="Freeform 14"/>
                <p:cNvSpPr>
                  <a:spLocks/>
                </p:cNvSpPr>
                <p:nvPr/>
              </p:nvSpPr>
              <p:spPr bwMode="auto">
                <a:xfrm rot="9900000">
                  <a:off x="2123129" y="293070"/>
                  <a:ext cx="1377948" cy="1377947"/>
                </a:xfrm>
                <a:custGeom>
                  <a:avLst/>
                  <a:gdLst>
                    <a:gd name="T0" fmla="*/ 422 w 422"/>
                    <a:gd name="T1" fmla="*/ 220 h 422"/>
                    <a:gd name="T2" fmla="*/ 386 w 422"/>
                    <a:gd name="T3" fmla="*/ 171 h 422"/>
                    <a:gd name="T4" fmla="*/ 341 w 422"/>
                    <a:gd name="T5" fmla="*/ 138 h 422"/>
                    <a:gd name="T6" fmla="*/ 260 w 422"/>
                    <a:gd name="T7" fmla="*/ 180 h 422"/>
                    <a:gd name="T8" fmla="*/ 302 w 422"/>
                    <a:gd name="T9" fmla="*/ 100 h 422"/>
                    <a:gd name="T10" fmla="*/ 269 w 422"/>
                    <a:gd name="T11" fmla="*/ 55 h 422"/>
                    <a:gd name="T12" fmla="*/ 220 w 422"/>
                    <a:gd name="T13" fmla="*/ 18 h 422"/>
                    <a:gd name="T14" fmla="*/ 183 w 422"/>
                    <a:gd name="T15" fmla="*/ 67 h 422"/>
                    <a:gd name="T16" fmla="*/ 138 w 422"/>
                    <a:gd name="T17" fmla="*/ 100 h 422"/>
                    <a:gd name="T18" fmla="*/ 58 w 422"/>
                    <a:gd name="T19" fmla="*/ 58 h 422"/>
                    <a:gd name="T20" fmla="*/ 100 w 422"/>
                    <a:gd name="T21" fmla="*/ 138 h 422"/>
                    <a:gd name="T22" fmla="*/ 67 w 422"/>
                    <a:gd name="T23" fmla="*/ 183 h 422"/>
                    <a:gd name="T24" fmla="*/ 18 w 422"/>
                    <a:gd name="T25" fmla="*/ 220 h 422"/>
                    <a:gd name="T26" fmla="*/ 55 w 422"/>
                    <a:gd name="T27" fmla="*/ 269 h 422"/>
                    <a:gd name="T28" fmla="*/ 100 w 422"/>
                    <a:gd name="T29" fmla="*/ 302 h 422"/>
                    <a:gd name="T30" fmla="*/ 180 w 422"/>
                    <a:gd name="T31" fmla="*/ 260 h 422"/>
                    <a:gd name="T32" fmla="*/ 138 w 422"/>
                    <a:gd name="T33" fmla="*/ 341 h 422"/>
                    <a:gd name="T34" fmla="*/ 171 w 422"/>
                    <a:gd name="T35" fmla="*/ 386 h 422"/>
                    <a:gd name="T36" fmla="*/ 220 w 422"/>
                    <a:gd name="T37" fmla="*/ 422 h 422"/>
                    <a:gd name="T38" fmla="*/ 422 w 422"/>
                    <a:gd name="T39" fmla="*/ 220 h 4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22" h="422">
                      <a:moveTo>
                        <a:pt x="422" y="220"/>
                      </a:moveTo>
                      <a:cubicBezTo>
                        <a:pt x="422" y="220"/>
                        <a:pt x="398" y="183"/>
                        <a:pt x="386" y="171"/>
                      </a:cubicBezTo>
                      <a:cubicBezTo>
                        <a:pt x="373" y="159"/>
                        <a:pt x="349" y="134"/>
                        <a:pt x="341" y="138"/>
                      </a:cubicBezTo>
                      <a:cubicBezTo>
                        <a:pt x="332" y="142"/>
                        <a:pt x="318" y="239"/>
                        <a:pt x="260" y="180"/>
                      </a:cubicBezTo>
                      <a:cubicBezTo>
                        <a:pt x="202" y="122"/>
                        <a:pt x="300" y="110"/>
                        <a:pt x="302" y="100"/>
                      </a:cubicBezTo>
                      <a:cubicBezTo>
                        <a:pt x="304" y="90"/>
                        <a:pt x="281" y="67"/>
                        <a:pt x="269" y="55"/>
                      </a:cubicBezTo>
                      <a:cubicBezTo>
                        <a:pt x="257" y="42"/>
                        <a:pt x="220" y="18"/>
                        <a:pt x="220" y="18"/>
                      </a:cubicBezTo>
                      <a:cubicBezTo>
                        <a:pt x="220" y="18"/>
                        <a:pt x="196" y="55"/>
                        <a:pt x="183" y="67"/>
                      </a:cubicBezTo>
                      <a:cubicBezTo>
                        <a:pt x="171" y="79"/>
                        <a:pt x="149" y="102"/>
                        <a:pt x="138" y="100"/>
                      </a:cubicBezTo>
                      <a:cubicBezTo>
                        <a:pt x="128" y="98"/>
                        <a:pt x="116" y="0"/>
                        <a:pt x="58" y="58"/>
                      </a:cubicBezTo>
                      <a:cubicBezTo>
                        <a:pt x="0" y="116"/>
                        <a:pt x="96" y="130"/>
                        <a:pt x="100" y="138"/>
                      </a:cubicBezTo>
                      <a:cubicBezTo>
                        <a:pt x="104" y="147"/>
                        <a:pt x="79" y="171"/>
                        <a:pt x="67" y="183"/>
                      </a:cubicBezTo>
                      <a:cubicBezTo>
                        <a:pt x="55" y="196"/>
                        <a:pt x="18" y="220"/>
                        <a:pt x="18" y="220"/>
                      </a:cubicBezTo>
                      <a:cubicBezTo>
                        <a:pt x="18" y="220"/>
                        <a:pt x="42" y="257"/>
                        <a:pt x="55" y="269"/>
                      </a:cubicBezTo>
                      <a:cubicBezTo>
                        <a:pt x="67" y="281"/>
                        <a:pt x="91" y="306"/>
                        <a:pt x="100" y="302"/>
                      </a:cubicBezTo>
                      <a:cubicBezTo>
                        <a:pt x="108" y="298"/>
                        <a:pt x="122" y="202"/>
                        <a:pt x="180" y="260"/>
                      </a:cubicBezTo>
                      <a:cubicBezTo>
                        <a:pt x="238" y="318"/>
                        <a:pt x="140" y="330"/>
                        <a:pt x="138" y="341"/>
                      </a:cubicBezTo>
                      <a:cubicBezTo>
                        <a:pt x="136" y="351"/>
                        <a:pt x="159" y="373"/>
                        <a:pt x="171" y="386"/>
                      </a:cubicBezTo>
                      <a:cubicBezTo>
                        <a:pt x="183" y="398"/>
                        <a:pt x="220" y="422"/>
                        <a:pt x="220" y="422"/>
                      </a:cubicBezTo>
                      <a:lnTo>
                        <a:pt x="422" y="22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grpSp>
        </p:grpSp>
        <p:sp>
          <p:nvSpPr>
            <p:cNvPr id="83" name="Rectangle 152"/>
            <p:cNvSpPr/>
            <p:nvPr/>
          </p:nvSpPr>
          <p:spPr bwMode="auto">
            <a:xfrm>
              <a:off x="669652" y="2738277"/>
              <a:ext cx="1805162" cy="37532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2C812"/>
                  </a:solidFill>
                  <a:effectLst/>
                  <a:uLnTx/>
                  <a:uFillTx/>
                  <a:latin typeface="Segoe UI"/>
                  <a:ea typeface="+mn-ea"/>
                  <a:cs typeface="Segoe UI Light" panose="020B0502040204020203" pitchFamily="34" charset="0"/>
                </a:rPr>
                <a:t>Keeping Data Current</a:t>
              </a:r>
            </a:p>
          </p:txBody>
        </p:sp>
        <p:grpSp>
          <p:nvGrpSpPr>
            <p:cNvPr id="84" name="Group 83"/>
            <p:cNvGrpSpPr/>
            <p:nvPr/>
          </p:nvGrpSpPr>
          <p:grpSpPr>
            <a:xfrm>
              <a:off x="199649" y="2692629"/>
              <a:ext cx="433844" cy="433844"/>
              <a:chOff x="342620" y="2228265"/>
              <a:chExt cx="433844" cy="433844"/>
            </a:xfrm>
            <a:solidFill>
              <a:schemeClr val="bg1"/>
            </a:solidFill>
          </p:grpSpPr>
          <p:sp>
            <p:nvSpPr>
              <p:cNvPr id="99" name="Oval 154"/>
              <p:cNvSpPr/>
              <p:nvPr/>
            </p:nvSpPr>
            <p:spPr bwMode="auto">
              <a:xfrm>
                <a:off x="342620" y="2228265"/>
                <a:ext cx="433844" cy="433844"/>
              </a:xfrm>
              <a:prstGeom prst="ellipse">
                <a:avLst/>
              </a:prstGeom>
              <a:solidFill>
                <a:srgbClr val="FFC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0" name="Freeform 30"/>
              <p:cNvSpPr>
                <a:spLocks noEditPoints="1"/>
              </p:cNvSpPr>
              <p:nvPr/>
            </p:nvSpPr>
            <p:spPr bwMode="auto">
              <a:xfrm>
                <a:off x="444786" y="2340040"/>
                <a:ext cx="238402" cy="210293"/>
              </a:xfrm>
              <a:custGeom>
                <a:avLst/>
                <a:gdLst>
                  <a:gd name="T0" fmla="*/ 883 w 916"/>
                  <a:gd name="T1" fmla="*/ 286 h 808"/>
                  <a:gd name="T2" fmla="*/ 539 w 916"/>
                  <a:gd name="T3" fmla="*/ 723 h 808"/>
                  <a:gd name="T4" fmla="*/ 504 w 916"/>
                  <a:gd name="T5" fmla="*/ 0 h 808"/>
                  <a:gd name="T6" fmla="*/ 35 w 916"/>
                  <a:gd name="T7" fmla="*/ 723 h 808"/>
                  <a:gd name="T8" fmla="*/ 0 w 916"/>
                  <a:gd name="T9" fmla="*/ 808 h 808"/>
                  <a:gd name="T10" fmla="*/ 916 w 916"/>
                  <a:gd name="T11" fmla="*/ 723 h 808"/>
                  <a:gd name="T12" fmla="*/ 229 w 916"/>
                  <a:gd name="T13" fmla="*/ 665 h 808"/>
                  <a:gd name="T14" fmla="*/ 109 w 916"/>
                  <a:gd name="T15" fmla="*/ 596 h 808"/>
                  <a:gd name="T16" fmla="*/ 229 w 916"/>
                  <a:gd name="T17" fmla="*/ 665 h 808"/>
                  <a:gd name="T18" fmla="*/ 109 w 916"/>
                  <a:gd name="T19" fmla="*/ 501 h 808"/>
                  <a:gd name="T20" fmla="*/ 229 w 916"/>
                  <a:gd name="T21" fmla="*/ 432 h 808"/>
                  <a:gd name="T22" fmla="*/ 229 w 916"/>
                  <a:gd name="T23" fmla="*/ 337 h 808"/>
                  <a:gd name="T24" fmla="*/ 109 w 916"/>
                  <a:gd name="T25" fmla="*/ 267 h 808"/>
                  <a:gd name="T26" fmla="*/ 229 w 916"/>
                  <a:gd name="T27" fmla="*/ 337 h 808"/>
                  <a:gd name="T28" fmla="*/ 109 w 916"/>
                  <a:gd name="T29" fmla="*/ 172 h 808"/>
                  <a:gd name="T30" fmla="*/ 229 w 916"/>
                  <a:gd name="T31" fmla="*/ 103 h 808"/>
                  <a:gd name="T32" fmla="*/ 428 w 916"/>
                  <a:gd name="T33" fmla="*/ 665 h 808"/>
                  <a:gd name="T34" fmla="*/ 307 w 916"/>
                  <a:gd name="T35" fmla="*/ 596 h 808"/>
                  <a:gd name="T36" fmla="*/ 428 w 916"/>
                  <a:gd name="T37" fmla="*/ 665 h 808"/>
                  <a:gd name="T38" fmla="*/ 307 w 916"/>
                  <a:gd name="T39" fmla="*/ 501 h 808"/>
                  <a:gd name="T40" fmla="*/ 428 w 916"/>
                  <a:gd name="T41" fmla="*/ 432 h 808"/>
                  <a:gd name="T42" fmla="*/ 428 w 916"/>
                  <a:gd name="T43" fmla="*/ 337 h 808"/>
                  <a:gd name="T44" fmla="*/ 307 w 916"/>
                  <a:gd name="T45" fmla="*/ 267 h 808"/>
                  <a:gd name="T46" fmla="*/ 428 w 916"/>
                  <a:gd name="T47" fmla="*/ 337 h 808"/>
                  <a:gd name="T48" fmla="*/ 307 w 916"/>
                  <a:gd name="T49" fmla="*/ 172 h 808"/>
                  <a:gd name="T50" fmla="*/ 428 w 916"/>
                  <a:gd name="T51" fmla="*/ 103 h 808"/>
                  <a:gd name="T52" fmla="*/ 684 w 916"/>
                  <a:gd name="T53" fmla="*/ 668 h 808"/>
                  <a:gd name="T54" fmla="*/ 606 w 916"/>
                  <a:gd name="T55" fmla="*/ 549 h 808"/>
                  <a:gd name="T56" fmla="*/ 684 w 916"/>
                  <a:gd name="T57" fmla="*/ 668 h 808"/>
                  <a:gd name="T58" fmla="*/ 606 w 916"/>
                  <a:gd name="T59" fmla="*/ 482 h 808"/>
                  <a:gd name="T60" fmla="*/ 684 w 916"/>
                  <a:gd name="T61" fmla="*/ 365 h 808"/>
                  <a:gd name="T62" fmla="*/ 816 w 916"/>
                  <a:gd name="T63" fmla="*/ 668 h 808"/>
                  <a:gd name="T64" fmla="*/ 738 w 916"/>
                  <a:gd name="T65" fmla="*/ 549 h 808"/>
                  <a:gd name="T66" fmla="*/ 816 w 916"/>
                  <a:gd name="T67" fmla="*/ 668 h 808"/>
                  <a:gd name="T68" fmla="*/ 738 w 916"/>
                  <a:gd name="T69" fmla="*/ 482 h 808"/>
                  <a:gd name="T70" fmla="*/ 816 w 916"/>
                  <a:gd name="T71" fmla="*/ 365 h 8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16" h="808">
                    <a:moveTo>
                      <a:pt x="883" y="723"/>
                    </a:moveTo>
                    <a:lnTo>
                      <a:pt x="883" y="286"/>
                    </a:lnTo>
                    <a:lnTo>
                      <a:pt x="539" y="286"/>
                    </a:lnTo>
                    <a:lnTo>
                      <a:pt x="539" y="723"/>
                    </a:lnTo>
                    <a:lnTo>
                      <a:pt x="504" y="723"/>
                    </a:lnTo>
                    <a:lnTo>
                      <a:pt x="504" y="0"/>
                    </a:lnTo>
                    <a:lnTo>
                      <a:pt x="35" y="0"/>
                    </a:lnTo>
                    <a:lnTo>
                      <a:pt x="35" y="723"/>
                    </a:lnTo>
                    <a:lnTo>
                      <a:pt x="0" y="723"/>
                    </a:lnTo>
                    <a:lnTo>
                      <a:pt x="0" y="808"/>
                    </a:lnTo>
                    <a:lnTo>
                      <a:pt x="916" y="808"/>
                    </a:lnTo>
                    <a:lnTo>
                      <a:pt x="916" y="723"/>
                    </a:lnTo>
                    <a:lnTo>
                      <a:pt x="883" y="723"/>
                    </a:lnTo>
                    <a:close/>
                    <a:moveTo>
                      <a:pt x="229" y="665"/>
                    </a:moveTo>
                    <a:lnTo>
                      <a:pt x="109" y="665"/>
                    </a:lnTo>
                    <a:lnTo>
                      <a:pt x="109" y="596"/>
                    </a:lnTo>
                    <a:lnTo>
                      <a:pt x="229" y="596"/>
                    </a:lnTo>
                    <a:lnTo>
                      <a:pt x="229" y="665"/>
                    </a:lnTo>
                    <a:close/>
                    <a:moveTo>
                      <a:pt x="229" y="501"/>
                    </a:moveTo>
                    <a:lnTo>
                      <a:pt x="109" y="501"/>
                    </a:lnTo>
                    <a:lnTo>
                      <a:pt x="109" y="432"/>
                    </a:lnTo>
                    <a:lnTo>
                      <a:pt x="229" y="432"/>
                    </a:lnTo>
                    <a:lnTo>
                      <a:pt x="229" y="501"/>
                    </a:lnTo>
                    <a:close/>
                    <a:moveTo>
                      <a:pt x="229" y="337"/>
                    </a:moveTo>
                    <a:lnTo>
                      <a:pt x="109" y="337"/>
                    </a:lnTo>
                    <a:lnTo>
                      <a:pt x="109" y="267"/>
                    </a:lnTo>
                    <a:lnTo>
                      <a:pt x="229" y="267"/>
                    </a:lnTo>
                    <a:lnTo>
                      <a:pt x="229" y="337"/>
                    </a:lnTo>
                    <a:close/>
                    <a:moveTo>
                      <a:pt x="229" y="172"/>
                    </a:moveTo>
                    <a:lnTo>
                      <a:pt x="109" y="172"/>
                    </a:lnTo>
                    <a:lnTo>
                      <a:pt x="109" y="103"/>
                    </a:lnTo>
                    <a:lnTo>
                      <a:pt x="229" y="103"/>
                    </a:lnTo>
                    <a:lnTo>
                      <a:pt x="229" y="172"/>
                    </a:lnTo>
                    <a:close/>
                    <a:moveTo>
                      <a:pt x="428" y="665"/>
                    </a:moveTo>
                    <a:lnTo>
                      <a:pt x="307" y="665"/>
                    </a:lnTo>
                    <a:lnTo>
                      <a:pt x="307" y="596"/>
                    </a:lnTo>
                    <a:lnTo>
                      <a:pt x="428" y="596"/>
                    </a:lnTo>
                    <a:lnTo>
                      <a:pt x="428" y="665"/>
                    </a:lnTo>
                    <a:close/>
                    <a:moveTo>
                      <a:pt x="428" y="501"/>
                    </a:moveTo>
                    <a:lnTo>
                      <a:pt x="307" y="501"/>
                    </a:lnTo>
                    <a:lnTo>
                      <a:pt x="307" y="432"/>
                    </a:lnTo>
                    <a:lnTo>
                      <a:pt x="428" y="432"/>
                    </a:lnTo>
                    <a:lnTo>
                      <a:pt x="428" y="501"/>
                    </a:lnTo>
                    <a:close/>
                    <a:moveTo>
                      <a:pt x="428" y="337"/>
                    </a:moveTo>
                    <a:lnTo>
                      <a:pt x="307" y="337"/>
                    </a:lnTo>
                    <a:lnTo>
                      <a:pt x="307" y="267"/>
                    </a:lnTo>
                    <a:lnTo>
                      <a:pt x="428" y="267"/>
                    </a:lnTo>
                    <a:lnTo>
                      <a:pt x="428" y="337"/>
                    </a:lnTo>
                    <a:close/>
                    <a:moveTo>
                      <a:pt x="428" y="172"/>
                    </a:moveTo>
                    <a:lnTo>
                      <a:pt x="307" y="172"/>
                    </a:lnTo>
                    <a:lnTo>
                      <a:pt x="307" y="103"/>
                    </a:lnTo>
                    <a:lnTo>
                      <a:pt x="428" y="103"/>
                    </a:lnTo>
                    <a:lnTo>
                      <a:pt x="428" y="172"/>
                    </a:lnTo>
                    <a:close/>
                    <a:moveTo>
                      <a:pt x="684" y="668"/>
                    </a:moveTo>
                    <a:lnTo>
                      <a:pt x="606" y="668"/>
                    </a:lnTo>
                    <a:lnTo>
                      <a:pt x="606" y="549"/>
                    </a:lnTo>
                    <a:lnTo>
                      <a:pt x="684" y="549"/>
                    </a:lnTo>
                    <a:lnTo>
                      <a:pt x="684" y="668"/>
                    </a:lnTo>
                    <a:close/>
                    <a:moveTo>
                      <a:pt x="684" y="482"/>
                    </a:moveTo>
                    <a:lnTo>
                      <a:pt x="606" y="482"/>
                    </a:lnTo>
                    <a:lnTo>
                      <a:pt x="606" y="365"/>
                    </a:lnTo>
                    <a:lnTo>
                      <a:pt x="684" y="365"/>
                    </a:lnTo>
                    <a:lnTo>
                      <a:pt x="684" y="482"/>
                    </a:lnTo>
                    <a:close/>
                    <a:moveTo>
                      <a:pt x="816" y="668"/>
                    </a:moveTo>
                    <a:lnTo>
                      <a:pt x="738" y="668"/>
                    </a:lnTo>
                    <a:lnTo>
                      <a:pt x="738" y="549"/>
                    </a:lnTo>
                    <a:lnTo>
                      <a:pt x="816" y="549"/>
                    </a:lnTo>
                    <a:lnTo>
                      <a:pt x="816" y="668"/>
                    </a:lnTo>
                    <a:close/>
                    <a:moveTo>
                      <a:pt x="816" y="482"/>
                    </a:moveTo>
                    <a:lnTo>
                      <a:pt x="738" y="482"/>
                    </a:lnTo>
                    <a:lnTo>
                      <a:pt x="738" y="365"/>
                    </a:lnTo>
                    <a:lnTo>
                      <a:pt x="816" y="365"/>
                    </a:lnTo>
                    <a:lnTo>
                      <a:pt x="816" y="482"/>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grpSp>
        <p:sp>
          <p:nvSpPr>
            <p:cNvPr id="85" name="TextBox 84"/>
            <p:cNvSpPr txBox="1"/>
            <p:nvPr/>
          </p:nvSpPr>
          <p:spPr>
            <a:xfrm>
              <a:off x="83345" y="113808"/>
              <a:ext cx="2532630" cy="627864"/>
            </a:xfrm>
            <a:prstGeom prst="rect">
              <a:avLst/>
            </a:prstGeom>
            <a:noFill/>
          </p:spPr>
          <p:txBody>
            <a:bodyPr wrap="square" lIns="182880" tIns="146304" rIns="182880" bIns="146304" rtlCol="0">
              <a:spAutoFit/>
            </a:bodyPr>
            <a:lstStyle>
              <a:defPPr>
                <a:defRPr lang="en-US"/>
              </a:defPPr>
              <a:lvl1pPr>
                <a:lnSpc>
                  <a:spcPct val="90000"/>
                </a:lnSpc>
                <a:spcAft>
                  <a:spcPts val="600"/>
                </a:spcAft>
                <a:defRPr sz="2800" b="1">
                  <a:solidFill>
                    <a:srgbClr val="F2C812"/>
                  </a:solidFill>
                  <a:latin typeface="Segoe UI Light"/>
                </a:defRPr>
              </a:lvl1p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400" b="1" i="0" u="none" strike="noStrike" kern="1200" cap="none" spc="0" normalizeH="0" baseline="0" noProof="0">
                  <a:ln>
                    <a:noFill/>
                  </a:ln>
                  <a:solidFill>
                    <a:srgbClr val="F2C812"/>
                  </a:solidFill>
                  <a:effectLst/>
                  <a:uLnTx/>
                  <a:uFillTx/>
                  <a:latin typeface="Segoe UI Light"/>
                  <a:ea typeface="+mn-ea"/>
                  <a:cs typeface="+mn-cs"/>
                </a:rPr>
                <a:t>Power BI Service</a:t>
              </a:r>
              <a:endParaRPr kumimoji="0" lang="en-US" sz="2800" b="1" i="0" u="none" strike="noStrike" kern="1200" cap="none" spc="0" normalizeH="0" baseline="0" noProof="0">
                <a:ln>
                  <a:noFill/>
                </a:ln>
                <a:solidFill>
                  <a:srgbClr val="F2C812"/>
                </a:solidFill>
                <a:effectLst/>
                <a:uLnTx/>
                <a:uFillTx/>
                <a:latin typeface="Segoe UI Light"/>
                <a:ea typeface="+mn-ea"/>
                <a:cs typeface="+mn-cs"/>
              </a:endParaRPr>
            </a:p>
          </p:txBody>
        </p:sp>
        <p:grpSp>
          <p:nvGrpSpPr>
            <p:cNvPr id="86" name="Group 85"/>
            <p:cNvGrpSpPr/>
            <p:nvPr/>
          </p:nvGrpSpPr>
          <p:grpSpPr>
            <a:xfrm>
              <a:off x="219373" y="3621383"/>
              <a:ext cx="433844" cy="645668"/>
              <a:chOff x="280990" y="3358164"/>
              <a:chExt cx="433844" cy="645668"/>
            </a:xfrm>
          </p:grpSpPr>
          <p:sp>
            <p:nvSpPr>
              <p:cNvPr id="92" name="Oval 1083"/>
              <p:cNvSpPr/>
              <p:nvPr/>
            </p:nvSpPr>
            <p:spPr bwMode="auto">
              <a:xfrm>
                <a:off x="280990" y="3358164"/>
                <a:ext cx="433844" cy="433847"/>
              </a:xfrm>
              <a:prstGeom prst="ellipse">
                <a:avLst/>
              </a:prstGeom>
              <a:solidFill>
                <a:srgbClr val="F2C812"/>
              </a:solidFill>
              <a:ln>
                <a:solidFill>
                  <a:srgbClr val="FFCC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93" name="Group 379"/>
              <p:cNvGrpSpPr/>
              <p:nvPr/>
            </p:nvGrpSpPr>
            <p:grpSpPr>
              <a:xfrm>
                <a:off x="453702" y="3910852"/>
                <a:ext cx="175660" cy="92980"/>
                <a:chOff x="3895793" y="7466656"/>
                <a:chExt cx="785810" cy="415941"/>
              </a:xfrm>
              <a:solidFill>
                <a:srgbClr val="00BCF2"/>
              </a:solidFill>
            </p:grpSpPr>
            <p:sp>
              <p:nvSpPr>
                <p:cNvPr id="94" name="Freeform 132"/>
                <p:cNvSpPr>
                  <a:spLocks/>
                </p:cNvSpPr>
                <p:nvPr/>
              </p:nvSpPr>
              <p:spPr bwMode="auto">
                <a:xfrm>
                  <a:off x="4125979" y="7688918"/>
                  <a:ext cx="0" cy="6353"/>
                </a:xfrm>
                <a:custGeom>
                  <a:avLst/>
                  <a:gdLst>
                    <a:gd name="T0" fmla="*/ 1 w 1"/>
                    <a:gd name="T1" fmla="*/ 0 h 8"/>
                    <a:gd name="T2" fmla="*/ 0 w 1"/>
                    <a:gd name="T3" fmla="*/ 0 h 8"/>
                    <a:gd name="T4" fmla="*/ 1 w 1"/>
                    <a:gd name="T5" fmla="*/ 8 h 8"/>
                    <a:gd name="T6" fmla="*/ 1 w 1"/>
                    <a:gd name="T7" fmla="*/ 0 h 8"/>
                  </a:gdLst>
                  <a:ahLst/>
                  <a:cxnLst>
                    <a:cxn ang="0">
                      <a:pos x="T0" y="T1"/>
                    </a:cxn>
                    <a:cxn ang="0">
                      <a:pos x="T2" y="T3"/>
                    </a:cxn>
                    <a:cxn ang="0">
                      <a:pos x="T4" y="T5"/>
                    </a:cxn>
                    <a:cxn ang="0">
                      <a:pos x="T6" y="T7"/>
                    </a:cxn>
                  </a:cxnLst>
                  <a:rect l="0" t="0" r="r" b="b"/>
                  <a:pathLst>
                    <a:path w="1" h="8">
                      <a:moveTo>
                        <a:pt x="1" y="0"/>
                      </a:moveTo>
                      <a:cubicBezTo>
                        <a:pt x="0" y="0"/>
                        <a:pt x="0" y="0"/>
                        <a:pt x="0" y="0"/>
                      </a:cubicBezTo>
                      <a:cubicBezTo>
                        <a:pt x="0" y="3"/>
                        <a:pt x="1" y="5"/>
                        <a:pt x="1" y="8"/>
                      </a:cubicBezTo>
                      <a:lnTo>
                        <a:pt x="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95" name="Freeform 133"/>
                <p:cNvSpPr>
                  <a:spLocks/>
                </p:cNvSpPr>
                <p:nvPr/>
              </p:nvSpPr>
              <p:spPr bwMode="auto">
                <a:xfrm>
                  <a:off x="3895793" y="7812745"/>
                  <a:ext cx="219078" cy="69852"/>
                </a:xfrm>
                <a:custGeom>
                  <a:avLst/>
                  <a:gdLst>
                    <a:gd name="T0" fmla="*/ 186 w 238"/>
                    <a:gd name="T1" fmla="*/ 9 h 76"/>
                    <a:gd name="T2" fmla="*/ 131 w 238"/>
                    <a:gd name="T3" fmla="*/ 22 h 76"/>
                    <a:gd name="T4" fmla="*/ 60 w 238"/>
                    <a:gd name="T5" fmla="*/ 0 h 76"/>
                    <a:gd name="T6" fmla="*/ 0 w 238"/>
                    <a:gd name="T7" fmla="*/ 42 h 76"/>
                    <a:gd name="T8" fmla="*/ 0 w 238"/>
                    <a:gd name="T9" fmla="*/ 76 h 76"/>
                    <a:gd name="T10" fmla="*/ 238 w 238"/>
                    <a:gd name="T11" fmla="*/ 76 h 76"/>
                    <a:gd name="T12" fmla="*/ 236 w 238"/>
                    <a:gd name="T13" fmla="*/ 53 h 76"/>
                    <a:gd name="T14" fmla="*/ 236 w 238"/>
                    <a:gd name="T15" fmla="*/ 49 h 76"/>
                    <a:gd name="T16" fmla="*/ 186 w 238"/>
                    <a:gd name="T17" fmla="*/ 9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8" h="76">
                      <a:moveTo>
                        <a:pt x="186" y="9"/>
                      </a:moveTo>
                      <a:cubicBezTo>
                        <a:pt x="169" y="18"/>
                        <a:pt x="150" y="22"/>
                        <a:pt x="131" y="22"/>
                      </a:cubicBezTo>
                      <a:cubicBezTo>
                        <a:pt x="105" y="22"/>
                        <a:pt x="80" y="14"/>
                        <a:pt x="60" y="0"/>
                      </a:cubicBezTo>
                      <a:cubicBezTo>
                        <a:pt x="0" y="42"/>
                        <a:pt x="0" y="42"/>
                        <a:pt x="0" y="42"/>
                      </a:cubicBezTo>
                      <a:cubicBezTo>
                        <a:pt x="0" y="76"/>
                        <a:pt x="0" y="76"/>
                        <a:pt x="0" y="76"/>
                      </a:cubicBezTo>
                      <a:cubicBezTo>
                        <a:pt x="238" y="76"/>
                        <a:pt x="238" y="76"/>
                        <a:pt x="238" y="76"/>
                      </a:cubicBezTo>
                      <a:cubicBezTo>
                        <a:pt x="237" y="68"/>
                        <a:pt x="236" y="61"/>
                        <a:pt x="236" y="53"/>
                      </a:cubicBezTo>
                      <a:cubicBezTo>
                        <a:pt x="236" y="51"/>
                        <a:pt x="236" y="50"/>
                        <a:pt x="236" y="49"/>
                      </a:cubicBezTo>
                      <a:lnTo>
                        <a:pt x="186" y="9"/>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96" name="Freeform 137"/>
                <p:cNvSpPr>
                  <a:spLocks/>
                </p:cNvSpPr>
                <p:nvPr/>
              </p:nvSpPr>
              <p:spPr bwMode="auto">
                <a:xfrm>
                  <a:off x="4338704" y="7809561"/>
                  <a:ext cx="65090" cy="73028"/>
                </a:xfrm>
                <a:custGeom>
                  <a:avLst/>
                  <a:gdLst>
                    <a:gd name="T0" fmla="*/ 71 w 71"/>
                    <a:gd name="T1" fmla="*/ 79 h 79"/>
                    <a:gd name="T2" fmla="*/ 71 w 71"/>
                    <a:gd name="T3" fmla="*/ 0 h 79"/>
                    <a:gd name="T4" fmla="*/ 2 w 71"/>
                    <a:gd name="T5" fmla="*/ 53 h 79"/>
                    <a:gd name="T6" fmla="*/ 2 w 71"/>
                    <a:gd name="T7" fmla="*/ 56 h 79"/>
                    <a:gd name="T8" fmla="*/ 0 w 71"/>
                    <a:gd name="T9" fmla="*/ 79 h 79"/>
                    <a:gd name="T10" fmla="*/ 71 w 71"/>
                    <a:gd name="T11" fmla="*/ 79 h 79"/>
                  </a:gdLst>
                  <a:ahLst/>
                  <a:cxnLst>
                    <a:cxn ang="0">
                      <a:pos x="T0" y="T1"/>
                    </a:cxn>
                    <a:cxn ang="0">
                      <a:pos x="T2" y="T3"/>
                    </a:cxn>
                    <a:cxn ang="0">
                      <a:pos x="T4" y="T5"/>
                    </a:cxn>
                    <a:cxn ang="0">
                      <a:pos x="T6" y="T7"/>
                    </a:cxn>
                    <a:cxn ang="0">
                      <a:pos x="T8" y="T9"/>
                    </a:cxn>
                    <a:cxn ang="0">
                      <a:pos x="T10" y="T11"/>
                    </a:cxn>
                  </a:cxnLst>
                  <a:rect l="0" t="0" r="r" b="b"/>
                  <a:pathLst>
                    <a:path w="71" h="79">
                      <a:moveTo>
                        <a:pt x="71" y="79"/>
                      </a:moveTo>
                      <a:cubicBezTo>
                        <a:pt x="71" y="0"/>
                        <a:pt x="71" y="0"/>
                        <a:pt x="71" y="0"/>
                      </a:cubicBezTo>
                      <a:cubicBezTo>
                        <a:pt x="2" y="53"/>
                        <a:pt x="2" y="53"/>
                        <a:pt x="2" y="53"/>
                      </a:cubicBezTo>
                      <a:cubicBezTo>
                        <a:pt x="2" y="54"/>
                        <a:pt x="2" y="55"/>
                        <a:pt x="2" y="56"/>
                      </a:cubicBezTo>
                      <a:cubicBezTo>
                        <a:pt x="2" y="64"/>
                        <a:pt x="1" y="71"/>
                        <a:pt x="0" y="79"/>
                      </a:cubicBezTo>
                      <a:lnTo>
                        <a:pt x="71" y="79"/>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97" name="Freeform 140"/>
                <p:cNvSpPr>
                  <a:spLocks/>
                </p:cNvSpPr>
                <p:nvPr/>
              </p:nvSpPr>
              <p:spPr bwMode="auto">
                <a:xfrm>
                  <a:off x="4600643" y="7622229"/>
                  <a:ext cx="80960" cy="38099"/>
                </a:xfrm>
                <a:custGeom>
                  <a:avLst/>
                  <a:gdLst>
                    <a:gd name="T0" fmla="*/ 0 w 51"/>
                    <a:gd name="T1" fmla="*/ 24 h 24"/>
                    <a:gd name="T2" fmla="*/ 51 w 51"/>
                    <a:gd name="T3" fmla="*/ 24 h 24"/>
                    <a:gd name="T4" fmla="*/ 32 w 51"/>
                    <a:gd name="T5" fmla="*/ 0 h 24"/>
                    <a:gd name="T6" fmla="*/ 0 w 51"/>
                    <a:gd name="T7" fmla="*/ 24 h 24"/>
                  </a:gdLst>
                  <a:ahLst/>
                  <a:cxnLst>
                    <a:cxn ang="0">
                      <a:pos x="T0" y="T1"/>
                    </a:cxn>
                    <a:cxn ang="0">
                      <a:pos x="T2" y="T3"/>
                    </a:cxn>
                    <a:cxn ang="0">
                      <a:pos x="T4" y="T5"/>
                    </a:cxn>
                    <a:cxn ang="0">
                      <a:pos x="T6" y="T7"/>
                    </a:cxn>
                  </a:cxnLst>
                  <a:rect l="0" t="0" r="r" b="b"/>
                  <a:pathLst>
                    <a:path w="51" h="24">
                      <a:moveTo>
                        <a:pt x="0" y="24"/>
                      </a:moveTo>
                      <a:lnTo>
                        <a:pt x="51" y="24"/>
                      </a:lnTo>
                      <a:lnTo>
                        <a:pt x="32" y="0"/>
                      </a:lnTo>
                      <a:lnTo>
                        <a:pt x="0" y="24"/>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98" name="Freeform 141"/>
                <p:cNvSpPr>
                  <a:spLocks/>
                </p:cNvSpPr>
                <p:nvPr/>
              </p:nvSpPr>
              <p:spPr bwMode="auto">
                <a:xfrm>
                  <a:off x="4449825" y="7466656"/>
                  <a:ext cx="119065" cy="139703"/>
                </a:xfrm>
                <a:custGeom>
                  <a:avLst/>
                  <a:gdLst>
                    <a:gd name="T0" fmla="*/ 52 w 75"/>
                    <a:gd name="T1" fmla="*/ 0 h 88"/>
                    <a:gd name="T2" fmla="*/ 0 w 75"/>
                    <a:gd name="T3" fmla="*/ 0 h 88"/>
                    <a:gd name="T4" fmla="*/ 0 w 75"/>
                    <a:gd name="T5" fmla="*/ 88 h 88"/>
                    <a:gd name="T6" fmla="*/ 75 w 75"/>
                    <a:gd name="T7" fmla="*/ 30 h 88"/>
                    <a:gd name="T8" fmla="*/ 52 w 75"/>
                    <a:gd name="T9" fmla="*/ 0 h 88"/>
                  </a:gdLst>
                  <a:ahLst/>
                  <a:cxnLst>
                    <a:cxn ang="0">
                      <a:pos x="T0" y="T1"/>
                    </a:cxn>
                    <a:cxn ang="0">
                      <a:pos x="T2" y="T3"/>
                    </a:cxn>
                    <a:cxn ang="0">
                      <a:pos x="T4" y="T5"/>
                    </a:cxn>
                    <a:cxn ang="0">
                      <a:pos x="T6" y="T7"/>
                    </a:cxn>
                    <a:cxn ang="0">
                      <a:pos x="T8" y="T9"/>
                    </a:cxn>
                  </a:cxnLst>
                  <a:rect l="0" t="0" r="r" b="b"/>
                  <a:pathLst>
                    <a:path w="75" h="88">
                      <a:moveTo>
                        <a:pt x="52" y="0"/>
                      </a:moveTo>
                      <a:lnTo>
                        <a:pt x="0" y="0"/>
                      </a:lnTo>
                      <a:lnTo>
                        <a:pt x="0" y="88"/>
                      </a:lnTo>
                      <a:lnTo>
                        <a:pt x="75" y="30"/>
                      </a:lnTo>
                      <a:lnTo>
                        <a:pt x="52"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grpSp>
        </p:grpSp>
        <p:sp>
          <p:nvSpPr>
            <p:cNvPr id="87" name="Rectangle 152"/>
            <p:cNvSpPr/>
            <p:nvPr/>
          </p:nvSpPr>
          <p:spPr bwMode="auto">
            <a:xfrm>
              <a:off x="712458" y="3628917"/>
              <a:ext cx="1805162" cy="37532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2C812"/>
                  </a:solidFill>
                  <a:effectLst/>
                  <a:uLnTx/>
                  <a:uFillTx/>
                  <a:latin typeface="Segoe UI"/>
                  <a:ea typeface="+mn-ea"/>
                  <a:cs typeface="Segoe UI Light" panose="020B0502040204020203" pitchFamily="34" charset="0"/>
                </a:rPr>
                <a:t>Q&amp;A and </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2C812"/>
                  </a:solidFill>
                  <a:effectLst/>
                  <a:uLnTx/>
                  <a:uFillTx/>
                  <a:latin typeface="Segoe UI"/>
                  <a:ea typeface="+mn-ea"/>
                  <a:cs typeface="Segoe UI Light" panose="020B0502040204020203" pitchFamily="34" charset="0"/>
                </a:rPr>
                <a:t>Quick Insights</a:t>
              </a:r>
              <a:endParaRPr kumimoji="0" lang="en-US" sz="1200" b="1" i="0" u="none" strike="noStrike" kern="1200" cap="none" spc="0" normalizeH="0" baseline="0" noProof="0">
                <a:ln>
                  <a:noFill/>
                </a:ln>
                <a:solidFill>
                  <a:srgbClr val="F2C812"/>
                </a:solidFill>
                <a:effectLst/>
                <a:uLnTx/>
                <a:uFillTx/>
                <a:latin typeface="Segoe UI"/>
                <a:ea typeface="+mn-ea"/>
                <a:cs typeface="Segoe UI Light" panose="020B0502040204020203" pitchFamily="34" charset="0"/>
              </a:endParaRPr>
            </a:p>
          </p:txBody>
        </p:sp>
        <p:sp>
          <p:nvSpPr>
            <p:cNvPr id="88" name="Oval 162"/>
            <p:cNvSpPr/>
            <p:nvPr/>
          </p:nvSpPr>
          <p:spPr bwMode="auto">
            <a:xfrm>
              <a:off x="226619" y="4551712"/>
              <a:ext cx="433844" cy="433844"/>
            </a:xfrm>
            <a:prstGeom prst="ellipse">
              <a:avLst/>
            </a:prstGeom>
            <a:solidFill>
              <a:srgbClr val="F2C812"/>
            </a:solidFill>
            <a:ln>
              <a:solidFill>
                <a:srgbClr val="FFCC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9" name="Rectangle 152"/>
            <p:cNvSpPr/>
            <p:nvPr/>
          </p:nvSpPr>
          <p:spPr bwMode="auto">
            <a:xfrm>
              <a:off x="738443" y="4596194"/>
              <a:ext cx="1884825" cy="30233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2C812"/>
                  </a:solidFill>
                  <a:effectLst/>
                  <a:uLnTx/>
                  <a:uFillTx/>
                  <a:latin typeface="Segoe UI"/>
                  <a:ea typeface="+mn-ea"/>
                  <a:cs typeface="Segoe UI Light" panose="020B0502040204020203" pitchFamily="34" charset="0"/>
                </a:rPr>
                <a:t>Sharing</a:t>
              </a:r>
              <a:endParaRPr kumimoji="0" lang="en-US" sz="1200" b="1" i="1" u="none" strike="noStrike" kern="1200" cap="none" spc="0" normalizeH="0" baseline="0" noProof="0">
                <a:ln>
                  <a:noFill/>
                </a:ln>
                <a:solidFill>
                  <a:srgbClr val="F2C812"/>
                </a:solidFill>
                <a:effectLst/>
                <a:uLnTx/>
                <a:uFillTx/>
                <a:latin typeface="Segoe UI"/>
                <a:ea typeface="+mn-ea"/>
                <a:cs typeface="Segoe UI Light" panose="020B0502040204020203" pitchFamily="34" charset="0"/>
              </a:endParaRPr>
            </a:p>
          </p:txBody>
        </p:sp>
        <p:sp>
          <p:nvSpPr>
            <p:cNvPr id="90" name="Rectangle 145"/>
            <p:cNvSpPr/>
            <p:nvPr/>
          </p:nvSpPr>
          <p:spPr bwMode="auto">
            <a:xfrm>
              <a:off x="697198" y="1847637"/>
              <a:ext cx="1821468" cy="3831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2C812"/>
                  </a:solidFill>
                  <a:effectLst/>
                  <a:uLnTx/>
                  <a:uFillTx/>
                  <a:latin typeface="Segoe UI"/>
                  <a:ea typeface="+mn-ea"/>
                  <a:cs typeface="Segoe UI Light" panose="020B0502040204020203" pitchFamily="34" charset="0"/>
                </a:rPr>
                <a:t>Pinning and Navigation</a:t>
              </a:r>
            </a:p>
          </p:txBody>
        </p:sp>
        <p:sp>
          <p:nvSpPr>
            <p:cNvPr id="91" name="Oval 162"/>
            <p:cNvSpPr/>
            <p:nvPr/>
          </p:nvSpPr>
          <p:spPr bwMode="auto">
            <a:xfrm>
              <a:off x="224136" y="1813606"/>
              <a:ext cx="433844" cy="433844"/>
            </a:xfrm>
            <a:prstGeom prst="ellipse">
              <a:avLst/>
            </a:prstGeom>
            <a:solidFill>
              <a:srgbClr val="FFCC00"/>
            </a:solidFill>
            <a:ln>
              <a:solidFill>
                <a:srgbClr val="F2C81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pic>
        <p:nvPicPr>
          <p:cNvPr id="105" name="Picture 104"/>
          <p:cNvPicPr>
            <a:picLocks noChangeAspect="1"/>
          </p:cNvPicPr>
          <p:nvPr/>
        </p:nvPicPr>
        <p:blipFill rotWithShape="1">
          <a:blip r:embed="rId5"/>
          <a:srcRect l="6503" t="21287" r="74698" b="20220"/>
          <a:stretch/>
        </p:blipFill>
        <p:spPr>
          <a:xfrm>
            <a:off x="339111" y="1946110"/>
            <a:ext cx="228600" cy="231962"/>
          </a:xfrm>
          <a:prstGeom prst="rect">
            <a:avLst/>
          </a:prstGeom>
        </p:spPr>
      </p:pic>
      <p:pic>
        <p:nvPicPr>
          <p:cNvPr id="106" name="Picture 105"/>
          <p:cNvPicPr>
            <a:picLocks noChangeAspect="1"/>
          </p:cNvPicPr>
          <p:nvPr/>
        </p:nvPicPr>
        <p:blipFill>
          <a:blip r:embed="rId6"/>
          <a:stretch>
            <a:fillRect/>
          </a:stretch>
        </p:blipFill>
        <p:spPr>
          <a:xfrm>
            <a:off x="284769" y="3673076"/>
            <a:ext cx="311766" cy="303106"/>
          </a:xfrm>
          <a:prstGeom prst="rect">
            <a:avLst/>
          </a:prstGeom>
        </p:spPr>
      </p:pic>
      <p:sp>
        <p:nvSpPr>
          <p:cNvPr id="107" name="Rectangle 145"/>
          <p:cNvSpPr/>
          <p:nvPr/>
        </p:nvSpPr>
        <p:spPr bwMode="auto">
          <a:xfrm>
            <a:off x="718897" y="5436715"/>
            <a:ext cx="1821468" cy="3831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2C812"/>
                </a:solidFill>
                <a:effectLst/>
                <a:uLnTx/>
                <a:uFillTx/>
                <a:latin typeface="Segoe UI"/>
                <a:ea typeface="+mn-ea"/>
                <a:cs typeface="Segoe UI Light" panose="020B0502040204020203" pitchFamily="34" charset="0"/>
              </a:rPr>
              <a:t>Connect from Excel</a:t>
            </a:r>
          </a:p>
        </p:txBody>
      </p:sp>
      <p:sp>
        <p:nvSpPr>
          <p:cNvPr id="108" name="Oval 162"/>
          <p:cNvSpPr/>
          <p:nvPr/>
        </p:nvSpPr>
        <p:spPr bwMode="auto">
          <a:xfrm>
            <a:off x="231441" y="5429649"/>
            <a:ext cx="433844" cy="433844"/>
          </a:xfrm>
          <a:prstGeom prst="ellipse">
            <a:avLst/>
          </a:prstGeom>
          <a:solidFill>
            <a:srgbClr val="FFCC00"/>
          </a:solidFill>
          <a:ln>
            <a:solidFill>
              <a:srgbClr val="F2C81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09" name="Picture 108"/>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flipH="1">
            <a:off x="283763" y="4596680"/>
            <a:ext cx="357484" cy="357484"/>
          </a:xfrm>
          <a:prstGeom prst="rect">
            <a:avLst/>
          </a:prstGeom>
        </p:spPr>
      </p:pic>
      <p:sp>
        <p:nvSpPr>
          <p:cNvPr id="110" name="Oval 162"/>
          <p:cNvSpPr/>
          <p:nvPr/>
        </p:nvSpPr>
        <p:spPr bwMode="auto">
          <a:xfrm>
            <a:off x="233032" y="6267344"/>
            <a:ext cx="433844" cy="433844"/>
          </a:xfrm>
          <a:prstGeom prst="ellipse">
            <a:avLst/>
          </a:prstGeom>
          <a:solidFill>
            <a:srgbClr val="FFCC00"/>
          </a:solidFill>
          <a:ln>
            <a:solidFill>
              <a:srgbClr val="F2C81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1" name="Rectangle 145"/>
          <p:cNvSpPr/>
          <p:nvPr/>
        </p:nvSpPr>
        <p:spPr bwMode="auto">
          <a:xfrm>
            <a:off x="701416" y="6289969"/>
            <a:ext cx="1821468" cy="3831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2C812"/>
                </a:solidFill>
                <a:effectLst/>
                <a:uLnTx/>
                <a:uFillTx/>
                <a:latin typeface="Segoe UI"/>
                <a:ea typeface="+mn-ea"/>
                <a:cs typeface="Segoe UI Light" panose="020B0502040204020203" pitchFamily="34" charset="0"/>
              </a:rPr>
              <a:t>Mobile Reports</a:t>
            </a:r>
          </a:p>
        </p:txBody>
      </p:sp>
      <p:pic>
        <p:nvPicPr>
          <p:cNvPr id="112" name="Picture 111"/>
          <p:cNvPicPr>
            <a:picLocks noChangeAspect="1"/>
          </p:cNvPicPr>
          <p:nvPr/>
        </p:nvPicPr>
        <p:blipFill>
          <a:blip r:embed="rId8" cstate="print">
            <a:extLst>
              <a:ext uri="{BEBA8EAE-BF5A-486C-A8C5-ECC9F3942E4B}">
                <a14:imgProps xmlns:a14="http://schemas.microsoft.com/office/drawing/2010/main">
                  <a14:imgLayer r:embed="rId9">
                    <a14:imgEffect>
                      <a14:saturation sat="0"/>
                    </a14:imgEffect>
                  </a14:imgLayer>
                </a14:imgProps>
              </a:ext>
              <a:ext uri="{28A0092B-C50C-407E-A947-70E740481C1C}">
                <a14:useLocalDpi xmlns:a14="http://schemas.microsoft.com/office/drawing/2010/main" val="0"/>
              </a:ext>
            </a:extLst>
          </a:blip>
          <a:stretch>
            <a:fillRect/>
          </a:stretch>
        </p:blipFill>
        <p:spPr>
          <a:xfrm>
            <a:off x="391946" y="6350039"/>
            <a:ext cx="133350" cy="251587"/>
          </a:xfrm>
          <a:prstGeom prst="rect">
            <a:avLst/>
          </a:prstGeom>
        </p:spPr>
      </p:pic>
      <p:pic>
        <p:nvPicPr>
          <p:cNvPr id="113" name="Picture 112"/>
          <p:cNvPicPr>
            <a:picLocks noChangeAspect="1"/>
          </p:cNvPicPr>
          <p:nvPr/>
        </p:nvPicPr>
        <p:blipFill>
          <a:blip r:embed="rId10" cstate="print">
            <a:biLevel thresh="50000"/>
            <a:extLst>
              <a:ext uri="{28A0092B-C50C-407E-A947-70E740481C1C}">
                <a14:useLocalDpi xmlns:a14="http://schemas.microsoft.com/office/drawing/2010/main" val="0"/>
              </a:ext>
            </a:extLst>
          </a:blip>
          <a:stretch>
            <a:fillRect/>
          </a:stretch>
        </p:blipFill>
        <p:spPr>
          <a:xfrm>
            <a:off x="332658" y="5538489"/>
            <a:ext cx="268940" cy="268940"/>
          </a:xfrm>
          <a:prstGeom prst="rect">
            <a:avLst/>
          </a:prstGeom>
        </p:spPr>
      </p:pic>
      <p:sp>
        <p:nvSpPr>
          <p:cNvPr id="114" name="Rectangle 113"/>
          <p:cNvSpPr/>
          <p:nvPr/>
        </p:nvSpPr>
        <p:spPr bwMode="auto">
          <a:xfrm>
            <a:off x="35912" y="2594112"/>
            <a:ext cx="2464420" cy="4194313"/>
          </a:xfrm>
          <a:prstGeom prst="rect">
            <a:avLst/>
          </a:prstGeom>
          <a:solidFill>
            <a:srgbClr val="000000">
              <a:alpha val="6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5" name="Rectangle 114"/>
          <p:cNvSpPr/>
          <p:nvPr/>
        </p:nvSpPr>
        <p:spPr bwMode="auto">
          <a:xfrm>
            <a:off x="95936" y="731576"/>
            <a:ext cx="2464420" cy="880187"/>
          </a:xfrm>
          <a:prstGeom prst="rect">
            <a:avLst/>
          </a:prstGeom>
          <a:solidFill>
            <a:srgbClr val="000000">
              <a:alpha val="6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37457201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8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1" grpId="0" animBg="1"/>
    </p:bldLst>
  </p:timing>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 name="Text Placeholder 2"/>
          <p:cNvSpPr txBox="1">
            <a:spLocks/>
          </p:cNvSpPr>
          <p:nvPr/>
        </p:nvSpPr>
        <p:spPr>
          <a:xfrm>
            <a:off x="2846171" y="1340643"/>
            <a:ext cx="9031090" cy="897374"/>
          </a:xfrm>
          <a:prstGeom prst="rect">
            <a:avLst/>
          </a:prstGeom>
        </p:spPr>
        <p:txBody>
          <a:bodyPr vert="horz" wrap="square" lIns="182880" tIns="146304" rIns="182880" bIns="146304" rtlCol="0">
            <a:noAutofit/>
          </a:bodyPr>
          <a:lstStyle>
            <a:lvl1pPr marL="182845" marR="0"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3921" kern="1200" spc="0" baseline="0">
                <a:gradFill>
                  <a:gsLst>
                    <a:gs pos="1250">
                      <a:schemeClr val="tx2"/>
                    </a:gs>
                    <a:gs pos="99000">
                      <a:schemeClr val="tx2"/>
                    </a:gs>
                  </a:gsLst>
                  <a:lin ang="5400000" scaled="0"/>
                </a:gradFill>
                <a:latin typeface="+mj-lt"/>
                <a:ea typeface="+mn-ea"/>
                <a:cs typeface="+mn-cs"/>
              </a:defRPr>
            </a:lvl1pPr>
            <a:lvl2pPr marL="365690" marR="0"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2400" kern="1200" spc="0" baseline="0">
                <a:solidFill>
                  <a:schemeClr val="tx2"/>
                </a:solidFill>
                <a:latin typeface="+mj-lt"/>
                <a:ea typeface="+mn-ea"/>
                <a:cs typeface="+mn-cs"/>
              </a:defRPr>
            </a:lvl2pPr>
            <a:lvl3pPr marL="548535" marR="0"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2000" kern="1200" spc="0" baseline="0">
                <a:solidFill>
                  <a:schemeClr val="tx2"/>
                </a:solidFill>
                <a:latin typeface="+mj-lt"/>
                <a:ea typeface="+mn-ea"/>
                <a:cs typeface="+mn-cs"/>
              </a:defRPr>
            </a:lvl3pPr>
            <a:lvl4pPr marL="733802" marR="0" indent="-28569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1765" kern="1200" spc="0" baseline="0">
                <a:solidFill>
                  <a:schemeClr val="tx2"/>
                </a:solidFill>
                <a:latin typeface="+mn-lt"/>
                <a:ea typeface="+mn-ea"/>
                <a:cs typeface="+mn-cs"/>
              </a:defRPr>
            </a:lvl4pPr>
            <a:lvl5pPr marL="957856" marR="0" indent="-28569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1765" kern="1200" spc="0" baseline="0">
                <a:solidFill>
                  <a:schemeClr val="tx2"/>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r>
              <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rPr>
              <a:t>Additional options exist</a:t>
            </a:r>
            <a:endParaRPr kumimoji="0" lang="en-US" sz="2000" b="1"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1"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1"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a:p>
            <a:pPr marL="182845" marR="0" lvl="1" indent="0" algn="l" defTabSz="914367" rtl="0" eaLnBrk="1" fontAlgn="auto" latinLnBrk="0" hangingPunct="1">
              <a:lnSpc>
                <a:spcPct val="90000"/>
              </a:lnSpc>
              <a:spcBef>
                <a:spcPct val="20000"/>
              </a:spcBef>
              <a:spcAft>
                <a:spcPts val="0"/>
              </a:spcAft>
              <a:buClrTx/>
              <a:buSzPct val="90000"/>
              <a:buFont typeface="Arial" panose="020B0604020202020204" pitchFamily="34" charset="0"/>
              <a:buNone/>
              <a:tabLst/>
              <a:defRPr/>
            </a:pPr>
            <a:endPar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1"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1"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p:txBody>
      </p:sp>
      <p:sp>
        <p:nvSpPr>
          <p:cNvPr id="53" name="Title 10"/>
          <p:cNvSpPr txBox="1">
            <a:spLocks/>
          </p:cNvSpPr>
          <p:nvPr/>
        </p:nvSpPr>
        <p:spPr>
          <a:xfrm>
            <a:off x="2849060" y="0"/>
            <a:ext cx="9342940" cy="665151"/>
          </a:xfrm>
          <a:prstGeom prst="rect">
            <a:avLst/>
          </a:prstGeom>
          <a:noFill/>
        </p:spPr>
        <p:txBody>
          <a:bodyPr vert="horz" wrap="square" lIns="0" tIns="91440" rIns="0" bIns="91440" rtlCol="0" anchor="t">
            <a:noAutofit/>
          </a:bodyPr>
          <a:lstStyle>
            <a:lvl1pPr defTabSz="914367">
              <a:lnSpc>
                <a:spcPct val="90000"/>
              </a:lnSpc>
              <a:spcBef>
                <a:spcPct val="0"/>
              </a:spcBef>
              <a:buNone/>
              <a:defRPr lang="en-US" sz="5294" b="0" cap="none" spc="-100" baseline="0" dirty="0" smtClean="0">
                <a:ln w="3175">
                  <a:noFill/>
                </a:ln>
                <a:solidFill>
                  <a:schemeClr val="tx2"/>
                </a:solidFill>
                <a:effectLst/>
                <a:latin typeface="+mj-lt"/>
                <a:cs typeface="Segoe UI" pitchFamily="34" charset="0"/>
              </a:defRPr>
            </a:lvl1pPr>
          </a:lstStyle>
          <a:p>
            <a:pPr marL="168275" marR="0" lvl="0" indent="0" algn="l" defTabSz="914367" rtl="0" eaLnBrk="1" fontAlgn="auto" latinLnBrk="0" hangingPunct="1">
              <a:lnSpc>
                <a:spcPct val="90000"/>
              </a:lnSpc>
              <a:spcBef>
                <a:spcPct val="0"/>
              </a:spcBef>
              <a:spcAft>
                <a:spcPts val="0"/>
              </a:spcAft>
              <a:buClrTx/>
              <a:buSzTx/>
              <a:buFontTx/>
              <a:buNone/>
              <a:tabLst/>
              <a:defRPr/>
            </a:pPr>
            <a:r>
              <a:rPr kumimoji="0" lang="en-US" sz="3600" b="0" i="0" u="none" strike="noStrike" kern="1200" cap="none" spc="-100" normalizeH="0" baseline="0" noProof="0">
                <a:ln w="3175">
                  <a:noFill/>
                </a:ln>
                <a:solidFill>
                  <a:prstClr val="black"/>
                </a:solidFill>
                <a:effectLst/>
                <a:uLnTx/>
                <a:uFillTx/>
                <a:latin typeface="Segoe UI Light"/>
                <a:ea typeface="+mn-ea"/>
                <a:cs typeface="Segoe UI" pitchFamily="34" charset="0"/>
              </a:rPr>
              <a:t>Pinning and Navigation</a:t>
            </a:r>
            <a:endParaRPr kumimoji="0" lang="en-IN" sz="3600" b="0" i="0" u="none" strike="noStrike" kern="1200" cap="none" spc="-100" normalizeH="0" baseline="0" noProof="0">
              <a:ln w="3175">
                <a:noFill/>
              </a:ln>
              <a:solidFill>
                <a:prstClr val="black"/>
              </a:solidFill>
              <a:effectLst/>
              <a:uLnTx/>
              <a:uFillTx/>
              <a:latin typeface="Segoe UI Light"/>
              <a:ea typeface="+mn-ea"/>
              <a:cs typeface="Segoe UI" pitchFamily="34" charset="0"/>
            </a:endParaRPr>
          </a:p>
        </p:txBody>
      </p:sp>
      <p:sp>
        <p:nvSpPr>
          <p:cNvPr id="41" name="Rectangle 3"/>
          <p:cNvSpPr/>
          <p:nvPr/>
        </p:nvSpPr>
        <p:spPr bwMode="auto">
          <a:xfrm>
            <a:off x="3202216" y="665151"/>
            <a:ext cx="8105312" cy="44435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PT" sz="2000" b="0" i="1" u="none" strike="noStrike" kern="1200" cap="none" spc="0" normalizeH="0" baseline="0" noProof="0">
                <a:ln>
                  <a:noFill/>
                </a:ln>
                <a:solidFill>
                  <a:prstClr val="black"/>
                </a:solidFill>
                <a:effectLst/>
                <a:uLnTx/>
                <a:uFillTx/>
                <a:latin typeface="Segoe UI Light"/>
                <a:ea typeface="+mn-ea"/>
                <a:cs typeface="+mn-cs"/>
              </a:rPr>
              <a:t>Dashboard - Tiles</a:t>
            </a:r>
            <a:endParaRPr kumimoji="0" lang="en-US" sz="2000" b="0" i="1" u="none" strike="noStrike" kern="1200" cap="none" spc="0" normalizeH="0" baseline="0" noProof="0">
              <a:ln>
                <a:noFill/>
              </a:ln>
              <a:solidFill>
                <a:prstClr val="black"/>
              </a:solidFill>
              <a:effectLst/>
              <a:uLnTx/>
              <a:uFillTx/>
              <a:latin typeface="Segoe UI Light"/>
              <a:ea typeface="+mn-ea"/>
              <a:cs typeface="+mn-cs"/>
            </a:endParaRPr>
          </a:p>
        </p:txBody>
      </p:sp>
      <p:pic>
        <p:nvPicPr>
          <p:cNvPr id="3" name="Picture 2"/>
          <p:cNvPicPr>
            <a:picLocks noChangeAspect="1"/>
          </p:cNvPicPr>
          <p:nvPr/>
        </p:nvPicPr>
        <p:blipFill>
          <a:blip r:embed="rId3"/>
          <a:stretch>
            <a:fillRect/>
          </a:stretch>
        </p:blipFill>
        <p:spPr>
          <a:xfrm>
            <a:off x="3624417" y="2082459"/>
            <a:ext cx="2590800" cy="733425"/>
          </a:xfrm>
          <a:prstGeom prst="rect">
            <a:avLst/>
          </a:prstGeom>
          <a:ln>
            <a:noFill/>
          </a:ln>
          <a:effectLst>
            <a:outerShdw blurRad="190500" algn="tl" rotWithShape="0">
              <a:srgbClr val="000000">
                <a:alpha val="70000"/>
              </a:srgbClr>
            </a:outerShdw>
          </a:effectLst>
        </p:spPr>
      </p:pic>
      <p:sp>
        <p:nvSpPr>
          <p:cNvPr id="80" name="TextBox 79"/>
          <p:cNvSpPr txBox="1"/>
          <p:nvPr/>
        </p:nvSpPr>
        <p:spPr>
          <a:xfrm>
            <a:off x="3487294" y="3113828"/>
            <a:ext cx="3340889" cy="517065"/>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600" b="1" i="0" u="none" strike="noStrike" kern="1200" cap="none" spc="0" normalizeH="0" baseline="0" noProof="0">
                <a:ln>
                  <a:noFill/>
                </a:ln>
                <a:solidFill>
                  <a:prstClr val="black"/>
                </a:solidFill>
                <a:effectLst/>
                <a:uLnTx/>
                <a:uFillTx/>
                <a:latin typeface="Segoe UI Light"/>
                <a:ea typeface="Calibri" panose="020F0502020204030204" pitchFamily="34" charset="0"/>
                <a:cs typeface="Times New Roman" panose="02020603050405020304" pitchFamily="18" charset="0"/>
              </a:rPr>
              <a:t>Pin the tile to another dashboard</a:t>
            </a:r>
          </a:p>
        </p:txBody>
      </p:sp>
      <p:sp>
        <p:nvSpPr>
          <p:cNvPr id="82" name="Oval 81"/>
          <p:cNvSpPr/>
          <p:nvPr/>
        </p:nvSpPr>
        <p:spPr bwMode="auto">
          <a:xfrm>
            <a:off x="3288136" y="3226906"/>
            <a:ext cx="252000" cy="252000"/>
          </a:xfrm>
          <a:prstGeom prst="ellipse">
            <a:avLst/>
          </a:prstGeom>
          <a:solidFill>
            <a:srgbClr val="FF00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pt-PT" sz="12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A</a:t>
            </a:r>
            <a:endParaRPr kumimoji="0" lang="en-US" sz="12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3" name="Oval 82"/>
          <p:cNvSpPr/>
          <p:nvPr/>
        </p:nvSpPr>
        <p:spPr bwMode="auto">
          <a:xfrm>
            <a:off x="4036883" y="2167564"/>
            <a:ext cx="252000" cy="252000"/>
          </a:xfrm>
          <a:prstGeom prst="ellipse">
            <a:avLst/>
          </a:prstGeom>
          <a:solidFill>
            <a:srgbClr val="FF00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pt-PT" sz="12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A</a:t>
            </a:r>
            <a:endParaRPr kumimoji="0" lang="en-US" sz="12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4" name="Oval 83"/>
          <p:cNvSpPr/>
          <p:nvPr/>
        </p:nvSpPr>
        <p:spPr bwMode="auto">
          <a:xfrm>
            <a:off x="4592695" y="2082459"/>
            <a:ext cx="252000" cy="252000"/>
          </a:xfrm>
          <a:prstGeom prst="ellipse">
            <a:avLst/>
          </a:prstGeom>
          <a:solidFill>
            <a:srgbClr val="FF00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pt-PT" sz="12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B</a:t>
            </a:r>
            <a:endParaRPr kumimoji="0" lang="en-US" sz="12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5" name="TextBox 84"/>
          <p:cNvSpPr txBox="1"/>
          <p:nvPr/>
        </p:nvSpPr>
        <p:spPr>
          <a:xfrm>
            <a:off x="3487294" y="3761529"/>
            <a:ext cx="3340889" cy="517065"/>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600" b="1" i="0" u="none" strike="noStrike" kern="1200" cap="none" spc="0" normalizeH="0" baseline="0" noProof="0">
                <a:ln>
                  <a:noFill/>
                </a:ln>
                <a:solidFill>
                  <a:prstClr val="black"/>
                </a:solidFill>
                <a:effectLst/>
                <a:uLnTx/>
                <a:uFillTx/>
                <a:latin typeface="Segoe UI Light"/>
                <a:ea typeface="Calibri" panose="020F0502020204030204" pitchFamily="34" charset="0"/>
                <a:cs typeface="Times New Roman" panose="02020603050405020304" pitchFamily="18" charset="0"/>
              </a:rPr>
              <a:t>Export its data as .csv file</a:t>
            </a:r>
          </a:p>
        </p:txBody>
      </p:sp>
      <p:sp>
        <p:nvSpPr>
          <p:cNvPr id="86" name="Oval 85"/>
          <p:cNvSpPr/>
          <p:nvPr/>
        </p:nvSpPr>
        <p:spPr bwMode="auto">
          <a:xfrm>
            <a:off x="3288136" y="3874607"/>
            <a:ext cx="252000" cy="252000"/>
          </a:xfrm>
          <a:prstGeom prst="ellipse">
            <a:avLst/>
          </a:prstGeom>
          <a:solidFill>
            <a:srgbClr val="FF00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pt-PT" sz="12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B</a:t>
            </a:r>
            <a:endParaRPr kumimoji="0" lang="en-US" sz="12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7" name="Oval 86"/>
          <p:cNvSpPr/>
          <p:nvPr/>
        </p:nvSpPr>
        <p:spPr bwMode="auto">
          <a:xfrm>
            <a:off x="5193085" y="2129527"/>
            <a:ext cx="252000" cy="252000"/>
          </a:xfrm>
          <a:prstGeom prst="ellipse">
            <a:avLst/>
          </a:prstGeom>
          <a:solidFill>
            <a:srgbClr val="FF00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pt-PT" sz="12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C</a:t>
            </a:r>
            <a:endParaRPr kumimoji="0" lang="en-US" sz="12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8" name="TextBox 87"/>
          <p:cNvSpPr txBox="1"/>
          <p:nvPr/>
        </p:nvSpPr>
        <p:spPr>
          <a:xfrm>
            <a:off x="3487294" y="4408386"/>
            <a:ext cx="3340889" cy="517065"/>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600" b="1" i="0" u="none" strike="noStrike" kern="1200" cap="none" spc="0" normalizeH="0" baseline="0" noProof="0">
                <a:ln>
                  <a:noFill/>
                </a:ln>
                <a:solidFill>
                  <a:prstClr val="black"/>
                </a:solidFill>
                <a:effectLst/>
                <a:uLnTx/>
                <a:uFillTx/>
                <a:latin typeface="Segoe UI Light"/>
                <a:ea typeface="Calibri" panose="020F0502020204030204" pitchFamily="34" charset="0"/>
                <a:cs typeface="Times New Roman" panose="02020603050405020304" pitchFamily="18" charset="0"/>
              </a:rPr>
              <a:t>Edit Tile Details</a:t>
            </a:r>
          </a:p>
        </p:txBody>
      </p:sp>
      <p:sp>
        <p:nvSpPr>
          <p:cNvPr id="89" name="Oval 88"/>
          <p:cNvSpPr/>
          <p:nvPr/>
        </p:nvSpPr>
        <p:spPr bwMode="auto">
          <a:xfrm>
            <a:off x="3288136" y="4521464"/>
            <a:ext cx="252000" cy="252000"/>
          </a:xfrm>
          <a:prstGeom prst="ellipse">
            <a:avLst/>
          </a:prstGeom>
          <a:solidFill>
            <a:srgbClr val="FF00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pt-PT" sz="12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C</a:t>
            </a:r>
            <a:endParaRPr kumimoji="0" lang="en-US" sz="12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0" name="Oval 89"/>
          <p:cNvSpPr/>
          <p:nvPr/>
        </p:nvSpPr>
        <p:spPr bwMode="auto">
          <a:xfrm>
            <a:off x="5963217" y="2053150"/>
            <a:ext cx="252000" cy="252000"/>
          </a:xfrm>
          <a:prstGeom prst="ellipse">
            <a:avLst/>
          </a:prstGeom>
          <a:solidFill>
            <a:srgbClr val="FF00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pt-PT" sz="12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D</a:t>
            </a:r>
            <a:endParaRPr kumimoji="0" lang="en-US" sz="12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1" name="TextBox 90"/>
          <p:cNvSpPr txBox="1"/>
          <p:nvPr/>
        </p:nvSpPr>
        <p:spPr>
          <a:xfrm>
            <a:off x="3487294" y="5049581"/>
            <a:ext cx="3340889" cy="517065"/>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600" b="1" i="0" u="none" strike="noStrike" kern="1200" cap="none" spc="0" normalizeH="0" baseline="0" noProof="0">
                <a:ln>
                  <a:noFill/>
                </a:ln>
                <a:solidFill>
                  <a:prstClr val="black"/>
                </a:solidFill>
                <a:effectLst/>
                <a:uLnTx/>
                <a:uFillTx/>
                <a:latin typeface="Segoe UI Light"/>
                <a:ea typeface="Calibri" panose="020F0502020204030204" pitchFamily="34" charset="0"/>
                <a:cs typeface="Times New Roman" panose="02020603050405020304" pitchFamily="18" charset="0"/>
              </a:rPr>
              <a:t>Delete Tile</a:t>
            </a:r>
          </a:p>
        </p:txBody>
      </p:sp>
      <p:sp>
        <p:nvSpPr>
          <p:cNvPr id="92" name="Oval 91"/>
          <p:cNvSpPr/>
          <p:nvPr/>
        </p:nvSpPr>
        <p:spPr bwMode="auto">
          <a:xfrm>
            <a:off x="3288136" y="5162659"/>
            <a:ext cx="252000" cy="252000"/>
          </a:xfrm>
          <a:prstGeom prst="ellipse">
            <a:avLst/>
          </a:prstGeom>
          <a:solidFill>
            <a:srgbClr val="FF00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pt-PT" sz="12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D</a:t>
            </a:r>
            <a:endParaRPr kumimoji="0" lang="en-US" sz="12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5" name="Picture 4"/>
          <p:cNvPicPr>
            <a:picLocks noChangeAspect="1"/>
          </p:cNvPicPr>
          <p:nvPr/>
        </p:nvPicPr>
        <p:blipFill>
          <a:blip r:embed="rId4"/>
          <a:stretch>
            <a:fillRect/>
          </a:stretch>
        </p:blipFill>
        <p:spPr>
          <a:xfrm>
            <a:off x="7609707" y="332575"/>
            <a:ext cx="4019794" cy="6405588"/>
          </a:xfrm>
          <a:prstGeom prst="rect">
            <a:avLst/>
          </a:prstGeom>
          <a:ln>
            <a:noFill/>
          </a:ln>
          <a:effectLst>
            <a:outerShdw blurRad="190500" algn="tl" rotWithShape="0">
              <a:srgbClr val="000000">
                <a:alpha val="70000"/>
              </a:srgbClr>
            </a:outerShdw>
          </a:effectLst>
        </p:spPr>
      </p:pic>
      <p:sp>
        <p:nvSpPr>
          <p:cNvPr id="93" name="Oval 92"/>
          <p:cNvSpPr/>
          <p:nvPr/>
        </p:nvSpPr>
        <p:spPr bwMode="auto">
          <a:xfrm>
            <a:off x="7520530" y="182010"/>
            <a:ext cx="252000" cy="252000"/>
          </a:xfrm>
          <a:prstGeom prst="ellipse">
            <a:avLst/>
          </a:prstGeom>
          <a:solidFill>
            <a:srgbClr val="FF00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pt-PT" sz="12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C</a:t>
            </a:r>
            <a:endParaRPr kumimoji="0" lang="en-US" sz="12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81" name="Group 80"/>
          <p:cNvGrpSpPr/>
          <p:nvPr/>
        </p:nvGrpSpPr>
        <p:grpSpPr>
          <a:xfrm>
            <a:off x="-2887" y="973"/>
            <a:ext cx="2849058" cy="6857027"/>
            <a:chOff x="2" y="487"/>
            <a:chExt cx="2849058" cy="6857027"/>
          </a:xfrm>
        </p:grpSpPr>
        <p:sp>
          <p:nvSpPr>
            <p:cNvPr id="94" name="Rectangle 15"/>
            <p:cNvSpPr/>
            <p:nvPr/>
          </p:nvSpPr>
          <p:spPr bwMode="auto">
            <a:xfrm>
              <a:off x="2" y="487"/>
              <a:ext cx="2849058" cy="685702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5" name="Rectangle 145"/>
            <p:cNvSpPr/>
            <p:nvPr/>
          </p:nvSpPr>
          <p:spPr bwMode="auto">
            <a:xfrm>
              <a:off x="696152" y="956997"/>
              <a:ext cx="1821468" cy="3831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2C812"/>
                  </a:solidFill>
                  <a:effectLst/>
                  <a:uLnTx/>
                  <a:uFillTx/>
                  <a:latin typeface="Segoe UI"/>
                  <a:ea typeface="+mn-ea"/>
                  <a:cs typeface="Segoe UI Light" panose="020B0502040204020203" pitchFamily="34" charset="0"/>
                </a:rPr>
                <a:t>Get Data</a:t>
              </a:r>
              <a:endParaRPr kumimoji="0" lang="en-US" sz="1200" b="1" i="1" u="none" strike="noStrike" kern="1200" cap="none" spc="0" normalizeH="0" baseline="0" noProof="0">
                <a:ln>
                  <a:noFill/>
                </a:ln>
                <a:solidFill>
                  <a:srgbClr val="F2C812"/>
                </a:solidFill>
                <a:effectLst/>
                <a:uLnTx/>
                <a:uFillTx/>
                <a:latin typeface="Segoe UI"/>
                <a:ea typeface="+mn-ea"/>
                <a:cs typeface="Segoe UI Light" panose="020B0502040204020203" pitchFamily="34" charset="0"/>
              </a:endParaRPr>
            </a:p>
          </p:txBody>
        </p:sp>
        <p:grpSp>
          <p:nvGrpSpPr>
            <p:cNvPr id="96" name="Group 95"/>
            <p:cNvGrpSpPr/>
            <p:nvPr/>
          </p:nvGrpSpPr>
          <p:grpSpPr>
            <a:xfrm>
              <a:off x="219373" y="934583"/>
              <a:ext cx="433844" cy="433844"/>
              <a:chOff x="440005" y="997815"/>
              <a:chExt cx="296322" cy="296322"/>
            </a:xfrm>
          </p:grpSpPr>
          <p:sp>
            <p:nvSpPr>
              <p:cNvPr id="115" name="Oval 147"/>
              <p:cNvSpPr/>
              <p:nvPr/>
            </p:nvSpPr>
            <p:spPr bwMode="auto">
              <a:xfrm>
                <a:off x="440005" y="997815"/>
                <a:ext cx="296322" cy="296322"/>
              </a:xfrm>
              <a:prstGeom prst="ellipse">
                <a:avLst/>
              </a:prstGeom>
              <a:solidFill>
                <a:srgbClr val="FFCC00"/>
              </a:solidFill>
              <a:ln>
                <a:solidFill>
                  <a:srgbClr val="F2C81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16" name="Group 332"/>
              <p:cNvGrpSpPr/>
              <p:nvPr/>
            </p:nvGrpSpPr>
            <p:grpSpPr>
              <a:xfrm>
                <a:off x="482167" y="1059311"/>
                <a:ext cx="211997" cy="173292"/>
                <a:chOff x="2123129" y="293070"/>
                <a:chExt cx="2472585" cy="2021178"/>
              </a:xfrm>
            </p:grpSpPr>
            <p:sp>
              <p:nvSpPr>
                <p:cNvPr id="117" name="Freeform 13"/>
                <p:cNvSpPr>
                  <a:spLocks/>
                </p:cNvSpPr>
                <p:nvPr/>
              </p:nvSpPr>
              <p:spPr bwMode="auto">
                <a:xfrm rot="20700000">
                  <a:off x="3155853" y="872796"/>
                  <a:ext cx="1439861" cy="1441452"/>
                </a:xfrm>
                <a:custGeom>
                  <a:avLst/>
                  <a:gdLst>
                    <a:gd name="T0" fmla="*/ 138 w 441"/>
                    <a:gd name="T1" fmla="*/ 341 h 441"/>
                    <a:gd name="T2" fmla="*/ 183 w 441"/>
                    <a:gd name="T3" fmla="*/ 374 h 441"/>
                    <a:gd name="T4" fmla="*/ 220 w 441"/>
                    <a:gd name="T5" fmla="*/ 423 h 441"/>
                    <a:gd name="T6" fmla="*/ 422 w 441"/>
                    <a:gd name="T7" fmla="*/ 220 h 441"/>
                    <a:gd name="T8" fmla="*/ 373 w 441"/>
                    <a:gd name="T9" fmla="*/ 184 h 441"/>
                    <a:gd name="T10" fmla="*/ 341 w 441"/>
                    <a:gd name="T11" fmla="*/ 139 h 441"/>
                    <a:gd name="T12" fmla="*/ 382 w 441"/>
                    <a:gd name="T13" fmla="*/ 58 h 441"/>
                    <a:gd name="T14" fmla="*/ 302 w 441"/>
                    <a:gd name="T15" fmla="*/ 100 h 441"/>
                    <a:gd name="T16" fmla="*/ 257 w 441"/>
                    <a:gd name="T17" fmla="*/ 67 h 441"/>
                    <a:gd name="T18" fmla="*/ 220 w 441"/>
                    <a:gd name="T19" fmla="*/ 18 h 441"/>
                    <a:gd name="T20" fmla="*/ 171 w 441"/>
                    <a:gd name="T21" fmla="*/ 55 h 441"/>
                    <a:gd name="T22" fmla="*/ 138 w 441"/>
                    <a:gd name="T23" fmla="*/ 100 h 441"/>
                    <a:gd name="T24" fmla="*/ 180 w 441"/>
                    <a:gd name="T25" fmla="*/ 181 h 441"/>
                    <a:gd name="T26" fmla="*/ 100 w 441"/>
                    <a:gd name="T27" fmla="*/ 139 h 441"/>
                    <a:gd name="T28" fmla="*/ 55 w 441"/>
                    <a:gd name="T29" fmla="*/ 171 h 441"/>
                    <a:gd name="T30" fmla="*/ 18 w 441"/>
                    <a:gd name="T31" fmla="*/ 220 h 441"/>
                    <a:gd name="T32" fmla="*/ 67 w 441"/>
                    <a:gd name="T33" fmla="*/ 257 h 441"/>
                    <a:gd name="T34" fmla="*/ 100 w 441"/>
                    <a:gd name="T35" fmla="*/ 302 h 441"/>
                    <a:gd name="T36" fmla="*/ 58 w 441"/>
                    <a:gd name="T37" fmla="*/ 383 h 441"/>
                    <a:gd name="T38" fmla="*/ 138 w 441"/>
                    <a:gd name="T39" fmla="*/ 341 h 4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41" h="441">
                      <a:moveTo>
                        <a:pt x="138" y="341"/>
                      </a:moveTo>
                      <a:cubicBezTo>
                        <a:pt x="147" y="337"/>
                        <a:pt x="171" y="361"/>
                        <a:pt x="183" y="374"/>
                      </a:cubicBezTo>
                      <a:cubicBezTo>
                        <a:pt x="196" y="386"/>
                        <a:pt x="220" y="423"/>
                        <a:pt x="220" y="423"/>
                      </a:cubicBezTo>
                      <a:cubicBezTo>
                        <a:pt x="422" y="220"/>
                        <a:pt x="422" y="220"/>
                        <a:pt x="422" y="220"/>
                      </a:cubicBezTo>
                      <a:cubicBezTo>
                        <a:pt x="422" y="220"/>
                        <a:pt x="386" y="196"/>
                        <a:pt x="373" y="184"/>
                      </a:cubicBezTo>
                      <a:cubicBezTo>
                        <a:pt x="361" y="171"/>
                        <a:pt x="338" y="149"/>
                        <a:pt x="341" y="139"/>
                      </a:cubicBezTo>
                      <a:cubicBezTo>
                        <a:pt x="343" y="129"/>
                        <a:pt x="441" y="116"/>
                        <a:pt x="382" y="58"/>
                      </a:cubicBezTo>
                      <a:cubicBezTo>
                        <a:pt x="324" y="0"/>
                        <a:pt x="310" y="96"/>
                        <a:pt x="302" y="100"/>
                      </a:cubicBezTo>
                      <a:cubicBezTo>
                        <a:pt x="294" y="104"/>
                        <a:pt x="269" y="80"/>
                        <a:pt x="257" y="67"/>
                      </a:cubicBezTo>
                      <a:cubicBezTo>
                        <a:pt x="245" y="55"/>
                        <a:pt x="220" y="18"/>
                        <a:pt x="220" y="18"/>
                      </a:cubicBezTo>
                      <a:cubicBezTo>
                        <a:pt x="220" y="18"/>
                        <a:pt x="183" y="43"/>
                        <a:pt x="171" y="55"/>
                      </a:cubicBezTo>
                      <a:cubicBezTo>
                        <a:pt x="159" y="67"/>
                        <a:pt x="134" y="92"/>
                        <a:pt x="138" y="100"/>
                      </a:cubicBezTo>
                      <a:cubicBezTo>
                        <a:pt x="142" y="108"/>
                        <a:pt x="238" y="122"/>
                        <a:pt x="180" y="181"/>
                      </a:cubicBezTo>
                      <a:cubicBezTo>
                        <a:pt x="122" y="239"/>
                        <a:pt x="110" y="141"/>
                        <a:pt x="100" y="139"/>
                      </a:cubicBezTo>
                      <a:cubicBezTo>
                        <a:pt x="89" y="137"/>
                        <a:pt x="67" y="159"/>
                        <a:pt x="55" y="171"/>
                      </a:cubicBezTo>
                      <a:cubicBezTo>
                        <a:pt x="42" y="184"/>
                        <a:pt x="18" y="220"/>
                        <a:pt x="18" y="220"/>
                      </a:cubicBezTo>
                      <a:cubicBezTo>
                        <a:pt x="18" y="220"/>
                        <a:pt x="55" y="245"/>
                        <a:pt x="67" y="257"/>
                      </a:cubicBezTo>
                      <a:cubicBezTo>
                        <a:pt x="79" y="269"/>
                        <a:pt x="102" y="292"/>
                        <a:pt x="100" y="302"/>
                      </a:cubicBezTo>
                      <a:cubicBezTo>
                        <a:pt x="98" y="312"/>
                        <a:pt x="0" y="325"/>
                        <a:pt x="58" y="383"/>
                      </a:cubicBezTo>
                      <a:cubicBezTo>
                        <a:pt x="116" y="441"/>
                        <a:pt x="130" y="345"/>
                        <a:pt x="138" y="341"/>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118" name="Freeform 14"/>
                <p:cNvSpPr>
                  <a:spLocks/>
                </p:cNvSpPr>
                <p:nvPr/>
              </p:nvSpPr>
              <p:spPr bwMode="auto">
                <a:xfrm rot="9900000">
                  <a:off x="2123129" y="293070"/>
                  <a:ext cx="1377948" cy="1377947"/>
                </a:xfrm>
                <a:custGeom>
                  <a:avLst/>
                  <a:gdLst>
                    <a:gd name="T0" fmla="*/ 422 w 422"/>
                    <a:gd name="T1" fmla="*/ 220 h 422"/>
                    <a:gd name="T2" fmla="*/ 386 w 422"/>
                    <a:gd name="T3" fmla="*/ 171 h 422"/>
                    <a:gd name="T4" fmla="*/ 341 w 422"/>
                    <a:gd name="T5" fmla="*/ 138 h 422"/>
                    <a:gd name="T6" fmla="*/ 260 w 422"/>
                    <a:gd name="T7" fmla="*/ 180 h 422"/>
                    <a:gd name="T8" fmla="*/ 302 w 422"/>
                    <a:gd name="T9" fmla="*/ 100 h 422"/>
                    <a:gd name="T10" fmla="*/ 269 w 422"/>
                    <a:gd name="T11" fmla="*/ 55 h 422"/>
                    <a:gd name="T12" fmla="*/ 220 w 422"/>
                    <a:gd name="T13" fmla="*/ 18 h 422"/>
                    <a:gd name="T14" fmla="*/ 183 w 422"/>
                    <a:gd name="T15" fmla="*/ 67 h 422"/>
                    <a:gd name="T16" fmla="*/ 138 w 422"/>
                    <a:gd name="T17" fmla="*/ 100 h 422"/>
                    <a:gd name="T18" fmla="*/ 58 w 422"/>
                    <a:gd name="T19" fmla="*/ 58 h 422"/>
                    <a:gd name="T20" fmla="*/ 100 w 422"/>
                    <a:gd name="T21" fmla="*/ 138 h 422"/>
                    <a:gd name="T22" fmla="*/ 67 w 422"/>
                    <a:gd name="T23" fmla="*/ 183 h 422"/>
                    <a:gd name="T24" fmla="*/ 18 w 422"/>
                    <a:gd name="T25" fmla="*/ 220 h 422"/>
                    <a:gd name="T26" fmla="*/ 55 w 422"/>
                    <a:gd name="T27" fmla="*/ 269 h 422"/>
                    <a:gd name="T28" fmla="*/ 100 w 422"/>
                    <a:gd name="T29" fmla="*/ 302 h 422"/>
                    <a:gd name="T30" fmla="*/ 180 w 422"/>
                    <a:gd name="T31" fmla="*/ 260 h 422"/>
                    <a:gd name="T32" fmla="*/ 138 w 422"/>
                    <a:gd name="T33" fmla="*/ 341 h 422"/>
                    <a:gd name="T34" fmla="*/ 171 w 422"/>
                    <a:gd name="T35" fmla="*/ 386 h 422"/>
                    <a:gd name="T36" fmla="*/ 220 w 422"/>
                    <a:gd name="T37" fmla="*/ 422 h 422"/>
                    <a:gd name="T38" fmla="*/ 422 w 422"/>
                    <a:gd name="T39" fmla="*/ 220 h 4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22" h="422">
                      <a:moveTo>
                        <a:pt x="422" y="220"/>
                      </a:moveTo>
                      <a:cubicBezTo>
                        <a:pt x="422" y="220"/>
                        <a:pt x="398" y="183"/>
                        <a:pt x="386" y="171"/>
                      </a:cubicBezTo>
                      <a:cubicBezTo>
                        <a:pt x="373" y="159"/>
                        <a:pt x="349" y="134"/>
                        <a:pt x="341" y="138"/>
                      </a:cubicBezTo>
                      <a:cubicBezTo>
                        <a:pt x="332" y="142"/>
                        <a:pt x="318" y="239"/>
                        <a:pt x="260" y="180"/>
                      </a:cubicBezTo>
                      <a:cubicBezTo>
                        <a:pt x="202" y="122"/>
                        <a:pt x="300" y="110"/>
                        <a:pt x="302" y="100"/>
                      </a:cubicBezTo>
                      <a:cubicBezTo>
                        <a:pt x="304" y="90"/>
                        <a:pt x="281" y="67"/>
                        <a:pt x="269" y="55"/>
                      </a:cubicBezTo>
                      <a:cubicBezTo>
                        <a:pt x="257" y="42"/>
                        <a:pt x="220" y="18"/>
                        <a:pt x="220" y="18"/>
                      </a:cubicBezTo>
                      <a:cubicBezTo>
                        <a:pt x="220" y="18"/>
                        <a:pt x="196" y="55"/>
                        <a:pt x="183" y="67"/>
                      </a:cubicBezTo>
                      <a:cubicBezTo>
                        <a:pt x="171" y="79"/>
                        <a:pt x="149" y="102"/>
                        <a:pt x="138" y="100"/>
                      </a:cubicBezTo>
                      <a:cubicBezTo>
                        <a:pt x="128" y="98"/>
                        <a:pt x="116" y="0"/>
                        <a:pt x="58" y="58"/>
                      </a:cubicBezTo>
                      <a:cubicBezTo>
                        <a:pt x="0" y="116"/>
                        <a:pt x="96" y="130"/>
                        <a:pt x="100" y="138"/>
                      </a:cubicBezTo>
                      <a:cubicBezTo>
                        <a:pt x="104" y="147"/>
                        <a:pt x="79" y="171"/>
                        <a:pt x="67" y="183"/>
                      </a:cubicBezTo>
                      <a:cubicBezTo>
                        <a:pt x="55" y="196"/>
                        <a:pt x="18" y="220"/>
                        <a:pt x="18" y="220"/>
                      </a:cubicBezTo>
                      <a:cubicBezTo>
                        <a:pt x="18" y="220"/>
                        <a:pt x="42" y="257"/>
                        <a:pt x="55" y="269"/>
                      </a:cubicBezTo>
                      <a:cubicBezTo>
                        <a:pt x="67" y="281"/>
                        <a:pt x="91" y="306"/>
                        <a:pt x="100" y="302"/>
                      </a:cubicBezTo>
                      <a:cubicBezTo>
                        <a:pt x="108" y="298"/>
                        <a:pt x="122" y="202"/>
                        <a:pt x="180" y="260"/>
                      </a:cubicBezTo>
                      <a:cubicBezTo>
                        <a:pt x="238" y="318"/>
                        <a:pt x="140" y="330"/>
                        <a:pt x="138" y="341"/>
                      </a:cubicBezTo>
                      <a:cubicBezTo>
                        <a:pt x="136" y="351"/>
                        <a:pt x="159" y="373"/>
                        <a:pt x="171" y="386"/>
                      </a:cubicBezTo>
                      <a:cubicBezTo>
                        <a:pt x="183" y="398"/>
                        <a:pt x="220" y="422"/>
                        <a:pt x="220" y="422"/>
                      </a:cubicBezTo>
                      <a:lnTo>
                        <a:pt x="422" y="22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grpSp>
        </p:grpSp>
        <p:sp>
          <p:nvSpPr>
            <p:cNvPr id="97" name="Rectangle 152"/>
            <p:cNvSpPr/>
            <p:nvPr/>
          </p:nvSpPr>
          <p:spPr bwMode="auto">
            <a:xfrm>
              <a:off x="669652" y="2738277"/>
              <a:ext cx="1805162" cy="37532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2C812"/>
                  </a:solidFill>
                  <a:effectLst/>
                  <a:uLnTx/>
                  <a:uFillTx/>
                  <a:latin typeface="Segoe UI"/>
                  <a:ea typeface="+mn-ea"/>
                  <a:cs typeface="Segoe UI Light" panose="020B0502040204020203" pitchFamily="34" charset="0"/>
                </a:rPr>
                <a:t>Keeping Data Current</a:t>
              </a:r>
            </a:p>
          </p:txBody>
        </p:sp>
        <p:grpSp>
          <p:nvGrpSpPr>
            <p:cNvPr id="98" name="Group 97"/>
            <p:cNvGrpSpPr/>
            <p:nvPr/>
          </p:nvGrpSpPr>
          <p:grpSpPr>
            <a:xfrm>
              <a:off x="199649" y="2692629"/>
              <a:ext cx="433844" cy="433844"/>
              <a:chOff x="342620" y="2228265"/>
              <a:chExt cx="433844" cy="433844"/>
            </a:xfrm>
            <a:solidFill>
              <a:schemeClr val="bg1"/>
            </a:solidFill>
          </p:grpSpPr>
          <p:sp>
            <p:nvSpPr>
              <p:cNvPr id="113" name="Oval 154"/>
              <p:cNvSpPr/>
              <p:nvPr/>
            </p:nvSpPr>
            <p:spPr bwMode="auto">
              <a:xfrm>
                <a:off x="342620" y="2228265"/>
                <a:ext cx="433844" cy="433844"/>
              </a:xfrm>
              <a:prstGeom prst="ellipse">
                <a:avLst/>
              </a:prstGeom>
              <a:solidFill>
                <a:srgbClr val="FFC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4" name="Freeform 30"/>
              <p:cNvSpPr>
                <a:spLocks noEditPoints="1"/>
              </p:cNvSpPr>
              <p:nvPr/>
            </p:nvSpPr>
            <p:spPr bwMode="auto">
              <a:xfrm>
                <a:off x="444786" y="2340040"/>
                <a:ext cx="238402" cy="210293"/>
              </a:xfrm>
              <a:custGeom>
                <a:avLst/>
                <a:gdLst>
                  <a:gd name="T0" fmla="*/ 883 w 916"/>
                  <a:gd name="T1" fmla="*/ 286 h 808"/>
                  <a:gd name="T2" fmla="*/ 539 w 916"/>
                  <a:gd name="T3" fmla="*/ 723 h 808"/>
                  <a:gd name="T4" fmla="*/ 504 w 916"/>
                  <a:gd name="T5" fmla="*/ 0 h 808"/>
                  <a:gd name="T6" fmla="*/ 35 w 916"/>
                  <a:gd name="T7" fmla="*/ 723 h 808"/>
                  <a:gd name="T8" fmla="*/ 0 w 916"/>
                  <a:gd name="T9" fmla="*/ 808 h 808"/>
                  <a:gd name="T10" fmla="*/ 916 w 916"/>
                  <a:gd name="T11" fmla="*/ 723 h 808"/>
                  <a:gd name="T12" fmla="*/ 229 w 916"/>
                  <a:gd name="T13" fmla="*/ 665 h 808"/>
                  <a:gd name="T14" fmla="*/ 109 w 916"/>
                  <a:gd name="T15" fmla="*/ 596 h 808"/>
                  <a:gd name="T16" fmla="*/ 229 w 916"/>
                  <a:gd name="T17" fmla="*/ 665 h 808"/>
                  <a:gd name="T18" fmla="*/ 109 w 916"/>
                  <a:gd name="T19" fmla="*/ 501 h 808"/>
                  <a:gd name="T20" fmla="*/ 229 w 916"/>
                  <a:gd name="T21" fmla="*/ 432 h 808"/>
                  <a:gd name="T22" fmla="*/ 229 w 916"/>
                  <a:gd name="T23" fmla="*/ 337 h 808"/>
                  <a:gd name="T24" fmla="*/ 109 w 916"/>
                  <a:gd name="T25" fmla="*/ 267 h 808"/>
                  <a:gd name="T26" fmla="*/ 229 w 916"/>
                  <a:gd name="T27" fmla="*/ 337 h 808"/>
                  <a:gd name="T28" fmla="*/ 109 w 916"/>
                  <a:gd name="T29" fmla="*/ 172 h 808"/>
                  <a:gd name="T30" fmla="*/ 229 w 916"/>
                  <a:gd name="T31" fmla="*/ 103 h 808"/>
                  <a:gd name="T32" fmla="*/ 428 w 916"/>
                  <a:gd name="T33" fmla="*/ 665 h 808"/>
                  <a:gd name="T34" fmla="*/ 307 w 916"/>
                  <a:gd name="T35" fmla="*/ 596 h 808"/>
                  <a:gd name="T36" fmla="*/ 428 w 916"/>
                  <a:gd name="T37" fmla="*/ 665 h 808"/>
                  <a:gd name="T38" fmla="*/ 307 w 916"/>
                  <a:gd name="T39" fmla="*/ 501 h 808"/>
                  <a:gd name="T40" fmla="*/ 428 w 916"/>
                  <a:gd name="T41" fmla="*/ 432 h 808"/>
                  <a:gd name="T42" fmla="*/ 428 w 916"/>
                  <a:gd name="T43" fmla="*/ 337 h 808"/>
                  <a:gd name="T44" fmla="*/ 307 w 916"/>
                  <a:gd name="T45" fmla="*/ 267 h 808"/>
                  <a:gd name="T46" fmla="*/ 428 w 916"/>
                  <a:gd name="T47" fmla="*/ 337 h 808"/>
                  <a:gd name="T48" fmla="*/ 307 w 916"/>
                  <a:gd name="T49" fmla="*/ 172 h 808"/>
                  <a:gd name="T50" fmla="*/ 428 w 916"/>
                  <a:gd name="T51" fmla="*/ 103 h 808"/>
                  <a:gd name="T52" fmla="*/ 684 w 916"/>
                  <a:gd name="T53" fmla="*/ 668 h 808"/>
                  <a:gd name="T54" fmla="*/ 606 w 916"/>
                  <a:gd name="T55" fmla="*/ 549 h 808"/>
                  <a:gd name="T56" fmla="*/ 684 w 916"/>
                  <a:gd name="T57" fmla="*/ 668 h 808"/>
                  <a:gd name="T58" fmla="*/ 606 w 916"/>
                  <a:gd name="T59" fmla="*/ 482 h 808"/>
                  <a:gd name="T60" fmla="*/ 684 w 916"/>
                  <a:gd name="T61" fmla="*/ 365 h 808"/>
                  <a:gd name="T62" fmla="*/ 816 w 916"/>
                  <a:gd name="T63" fmla="*/ 668 h 808"/>
                  <a:gd name="T64" fmla="*/ 738 w 916"/>
                  <a:gd name="T65" fmla="*/ 549 h 808"/>
                  <a:gd name="T66" fmla="*/ 816 w 916"/>
                  <a:gd name="T67" fmla="*/ 668 h 808"/>
                  <a:gd name="T68" fmla="*/ 738 w 916"/>
                  <a:gd name="T69" fmla="*/ 482 h 808"/>
                  <a:gd name="T70" fmla="*/ 816 w 916"/>
                  <a:gd name="T71" fmla="*/ 365 h 8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16" h="808">
                    <a:moveTo>
                      <a:pt x="883" y="723"/>
                    </a:moveTo>
                    <a:lnTo>
                      <a:pt x="883" y="286"/>
                    </a:lnTo>
                    <a:lnTo>
                      <a:pt x="539" y="286"/>
                    </a:lnTo>
                    <a:lnTo>
                      <a:pt x="539" y="723"/>
                    </a:lnTo>
                    <a:lnTo>
                      <a:pt x="504" y="723"/>
                    </a:lnTo>
                    <a:lnTo>
                      <a:pt x="504" y="0"/>
                    </a:lnTo>
                    <a:lnTo>
                      <a:pt x="35" y="0"/>
                    </a:lnTo>
                    <a:lnTo>
                      <a:pt x="35" y="723"/>
                    </a:lnTo>
                    <a:lnTo>
                      <a:pt x="0" y="723"/>
                    </a:lnTo>
                    <a:lnTo>
                      <a:pt x="0" y="808"/>
                    </a:lnTo>
                    <a:lnTo>
                      <a:pt x="916" y="808"/>
                    </a:lnTo>
                    <a:lnTo>
                      <a:pt x="916" y="723"/>
                    </a:lnTo>
                    <a:lnTo>
                      <a:pt x="883" y="723"/>
                    </a:lnTo>
                    <a:close/>
                    <a:moveTo>
                      <a:pt x="229" y="665"/>
                    </a:moveTo>
                    <a:lnTo>
                      <a:pt x="109" y="665"/>
                    </a:lnTo>
                    <a:lnTo>
                      <a:pt x="109" y="596"/>
                    </a:lnTo>
                    <a:lnTo>
                      <a:pt x="229" y="596"/>
                    </a:lnTo>
                    <a:lnTo>
                      <a:pt x="229" y="665"/>
                    </a:lnTo>
                    <a:close/>
                    <a:moveTo>
                      <a:pt x="229" y="501"/>
                    </a:moveTo>
                    <a:lnTo>
                      <a:pt x="109" y="501"/>
                    </a:lnTo>
                    <a:lnTo>
                      <a:pt x="109" y="432"/>
                    </a:lnTo>
                    <a:lnTo>
                      <a:pt x="229" y="432"/>
                    </a:lnTo>
                    <a:lnTo>
                      <a:pt x="229" y="501"/>
                    </a:lnTo>
                    <a:close/>
                    <a:moveTo>
                      <a:pt x="229" y="337"/>
                    </a:moveTo>
                    <a:lnTo>
                      <a:pt x="109" y="337"/>
                    </a:lnTo>
                    <a:lnTo>
                      <a:pt x="109" y="267"/>
                    </a:lnTo>
                    <a:lnTo>
                      <a:pt x="229" y="267"/>
                    </a:lnTo>
                    <a:lnTo>
                      <a:pt x="229" y="337"/>
                    </a:lnTo>
                    <a:close/>
                    <a:moveTo>
                      <a:pt x="229" y="172"/>
                    </a:moveTo>
                    <a:lnTo>
                      <a:pt x="109" y="172"/>
                    </a:lnTo>
                    <a:lnTo>
                      <a:pt x="109" y="103"/>
                    </a:lnTo>
                    <a:lnTo>
                      <a:pt x="229" y="103"/>
                    </a:lnTo>
                    <a:lnTo>
                      <a:pt x="229" y="172"/>
                    </a:lnTo>
                    <a:close/>
                    <a:moveTo>
                      <a:pt x="428" y="665"/>
                    </a:moveTo>
                    <a:lnTo>
                      <a:pt x="307" y="665"/>
                    </a:lnTo>
                    <a:lnTo>
                      <a:pt x="307" y="596"/>
                    </a:lnTo>
                    <a:lnTo>
                      <a:pt x="428" y="596"/>
                    </a:lnTo>
                    <a:lnTo>
                      <a:pt x="428" y="665"/>
                    </a:lnTo>
                    <a:close/>
                    <a:moveTo>
                      <a:pt x="428" y="501"/>
                    </a:moveTo>
                    <a:lnTo>
                      <a:pt x="307" y="501"/>
                    </a:lnTo>
                    <a:lnTo>
                      <a:pt x="307" y="432"/>
                    </a:lnTo>
                    <a:lnTo>
                      <a:pt x="428" y="432"/>
                    </a:lnTo>
                    <a:lnTo>
                      <a:pt x="428" y="501"/>
                    </a:lnTo>
                    <a:close/>
                    <a:moveTo>
                      <a:pt x="428" y="337"/>
                    </a:moveTo>
                    <a:lnTo>
                      <a:pt x="307" y="337"/>
                    </a:lnTo>
                    <a:lnTo>
                      <a:pt x="307" y="267"/>
                    </a:lnTo>
                    <a:lnTo>
                      <a:pt x="428" y="267"/>
                    </a:lnTo>
                    <a:lnTo>
                      <a:pt x="428" y="337"/>
                    </a:lnTo>
                    <a:close/>
                    <a:moveTo>
                      <a:pt x="428" y="172"/>
                    </a:moveTo>
                    <a:lnTo>
                      <a:pt x="307" y="172"/>
                    </a:lnTo>
                    <a:lnTo>
                      <a:pt x="307" y="103"/>
                    </a:lnTo>
                    <a:lnTo>
                      <a:pt x="428" y="103"/>
                    </a:lnTo>
                    <a:lnTo>
                      <a:pt x="428" y="172"/>
                    </a:lnTo>
                    <a:close/>
                    <a:moveTo>
                      <a:pt x="684" y="668"/>
                    </a:moveTo>
                    <a:lnTo>
                      <a:pt x="606" y="668"/>
                    </a:lnTo>
                    <a:lnTo>
                      <a:pt x="606" y="549"/>
                    </a:lnTo>
                    <a:lnTo>
                      <a:pt x="684" y="549"/>
                    </a:lnTo>
                    <a:lnTo>
                      <a:pt x="684" y="668"/>
                    </a:lnTo>
                    <a:close/>
                    <a:moveTo>
                      <a:pt x="684" y="482"/>
                    </a:moveTo>
                    <a:lnTo>
                      <a:pt x="606" y="482"/>
                    </a:lnTo>
                    <a:lnTo>
                      <a:pt x="606" y="365"/>
                    </a:lnTo>
                    <a:lnTo>
                      <a:pt x="684" y="365"/>
                    </a:lnTo>
                    <a:lnTo>
                      <a:pt x="684" y="482"/>
                    </a:lnTo>
                    <a:close/>
                    <a:moveTo>
                      <a:pt x="816" y="668"/>
                    </a:moveTo>
                    <a:lnTo>
                      <a:pt x="738" y="668"/>
                    </a:lnTo>
                    <a:lnTo>
                      <a:pt x="738" y="549"/>
                    </a:lnTo>
                    <a:lnTo>
                      <a:pt x="816" y="549"/>
                    </a:lnTo>
                    <a:lnTo>
                      <a:pt x="816" y="668"/>
                    </a:lnTo>
                    <a:close/>
                    <a:moveTo>
                      <a:pt x="816" y="482"/>
                    </a:moveTo>
                    <a:lnTo>
                      <a:pt x="738" y="482"/>
                    </a:lnTo>
                    <a:lnTo>
                      <a:pt x="738" y="365"/>
                    </a:lnTo>
                    <a:lnTo>
                      <a:pt x="816" y="365"/>
                    </a:lnTo>
                    <a:lnTo>
                      <a:pt x="816" y="482"/>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grpSp>
        <p:sp>
          <p:nvSpPr>
            <p:cNvPr id="99" name="TextBox 98"/>
            <p:cNvSpPr txBox="1"/>
            <p:nvPr/>
          </p:nvSpPr>
          <p:spPr>
            <a:xfrm>
              <a:off x="83345" y="113808"/>
              <a:ext cx="2532630" cy="627864"/>
            </a:xfrm>
            <a:prstGeom prst="rect">
              <a:avLst/>
            </a:prstGeom>
            <a:noFill/>
          </p:spPr>
          <p:txBody>
            <a:bodyPr wrap="square" lIns="182880" tIns="146304" rIns="182880" bIns="146304" rtlCol="0">
              <a:spAutoFit/>
            </a:bodyPr>
            <a:lstStyle>
              <a:defPPr>
                <a:defRPr lang="en-US"/>
              </a:defPPr>
              <a:lvl1pPr>
                <a:lnSpc>
                  <a:spcPct val="90000"/>
                </a:lnSpc>
                <a:spcAft>
                  <a:spcPts val="600"/>
                </a:spcAft>
                <a:defRPr sz="2800" b="1">
                  <a:solidFill>
                    <a:srgbClr val="F2C812"/>
                  </a:solidFill>
                  <a:latin typeface="Segoe UI Light"/>
                </a:defRPr>
              </a:lvl1p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400" b="1" i="0" u="none" strike="noStrike" kern="1200" cap="none" spc="0" normalizeH="0" baseline="0" noProof="0">
                  <a:ln>
                    <a:noFill/>
                  </a:ln>
                  <a:solidFill>
                    <a:srgbClr val="F2C812"/>
                  </a:solidFill>
                  <a:effectLst/>
                  <a:uLnTx/>
                  <a:uFillTx/>
                  <a:latin typeface="Segoe UI Light"/>
                  <a:ea typeface="+mn-ea"/>
                  <a:cs typeface="+mn-cs"/>
                </a:rPr>
                <a:t>Power BI Service</a:t>
              </a:r>
              <a:endParaRPr kumimoji="0" lang="en-US" sz="2800" b="1" i="0" u="none" strike="noStrike" kern="1200" cap="none" spc="0" normalizeH="0" baseline="0" noProof="0">
                <a:ln>
                  <a:noFill/>
                </a:ln>
                <a:solidFill>
                  <a:srgbClr val="F2C812"/>
                </a:solidFill>
                <a:effectLst/>
                <a:uLnTx/>
                <a:uFillTx/>
                <a:latin typeface="Segoe UI Light"/>
                <a:ea typeface="+mn-ea"/>
                <a:cs typeface="+mn-cs"/>
              </a:endParaRPr>
            </a:p>
          </p:txBody>
        </p:sp>
        <p:grpSp>
          <p:nvGrpSpPr>
            <p:cNvPr id="100" name="Group 99"/>
            <p:cNvGrpSpPr/>
            <p:nvPr/>
          </p:nvGrpSpPr>
          <p:grpSpPr>
            <a:xfrm>
              <a:off x="219373" y="3621383"/>
              <a:ext cx="433844" cy="645668"/>
              <a:chOff x="280990" y="3358164"/>
              <a:chExt cx="433844" cy="645668"/>
            </a:xfrm>
          </p:grpSpPr>
          <p:sp>
            <p:nvSpPr>
              <p:cNvPr id="106" name="Oval 1083"/>
              <p:cNvSpPr/>
              <p:nvPr/>
            </p:nvSpPr>
            <p:spPr bwMode="auto">
              <a:xfrm>
                <a:off x="280990" y="3358164"/>
                <a:ext cx="433844" cy="433847"/>
              </a:xfrm>
              <a:prstGeom prst="ellipse">
                <a:avLst/>
              </a:prstGeom>
              <a:solidFill>
                <a:srgbClr val="F2C812"/>
              </a:solidFill>
              <a:ln>
                <a:solidFill>
                  <a:srgbClr val="FFCC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07" name="Group 379"/>
              <p:cNvGrpSpPr/>
              <p:nvPr/>
            </p:nvGrpSpPr>
            <p:grpSpPr>
              <a:xfrm>
                <a:off x="453702" y="3910852"/>
                <a:ext cx="175660" cy="92980"/>
                <a:chOff x="3895793" y="7466656"/>
                <a:chExt cx="785810" cy="415941"/>
              </a:xfrm>
              <a:solidFill>
                <a:srgbClr val="00BCF2"/>
              </a:solidFill>
            </p:grpSpPr>
            <p:sp>
              <p:nvSpPr>
                <p:cNvPr id="108" name="Freeform 132"/>
                <p:cNvSpPr>
                  <a:spLocks/>
                </p:cNvSpPr>
                <p:nvPr/>
              </p:nvSpPr>
              <p:spPr bwMode="auto">
                <a:xfrm>
                  <a:off x="4125979" y="7688918"/>
                  <a:ext cx="0" cy="6353"/>
                </a:xfrm>
                <a:custGeom>
                  <a:avLst/>
                  <a:gdLst>
                    <a:gd name="T0" fmla="*/ 1 w 1"/>
                    <a:gd name="T1" fmla="*/ 0 h 8"/>
                    <a:gd name="T2" fmla="*/ 0 w 1"/>
                    <a:gd name="T3" fmla="*/ 0 h 8"/>
                    <a:gd name="T4" fmla="*/ 1 w 1"/>
                    <a:gd name="T5" fmla="*/ 8 h 8"/>
                    <a:gd name="T6" fmla="*/ 1 w 1"/>
                    <a:gd name="T7" fmla="*/ 0 h 8"/>
                  </a:gdLst>
                  <a:ahLst/>
                  <a:cxnLst>
                    <a:cxn ang="0">
                      <a:pos x="T0" y="T1"/>
                    </a:cxn>
                    <a:cxn ang="0">
                      <a:pos x="T2" y="T3"/>
                    </a:cxn>
                    <a:cxn ang="0">
                      <a:pos x="T4" y="T5"/>
                    </a:cxn>
                    <a:cxn ang="0">
                      <a:pos x="T6" y="T7"/>
                    </a:cxn>
                  </a:cxnLst>
                  <a:rect l="0" t="0" r="r" b="b"/>
                  <a:pathLst>
                    <a:path w="1" h="8">
                      <a:moveTo>
                        <a:pt x="1" y="0"/>
                      </a:moveTo>
                      <a:cubicBezTo>
                        <a:pt x="0" y="0"/>
                        <a:pt x="0" y="0"/>
                        <a:pt x="0" y="0"/>
                      </a:cubicBezTo>
                      <a:cubicBezTo>
                        <a:pt x="0" y="3"/>
                        <a:pt x="1" y="5"/>
                        <a:pt x="1" y="8"/>
                      </a:cubicBezTo>
                      <a:lnTo>
                        <a:pt x="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109" name="Freeform 133"/>
                <p:cNvSpPr>
                  <a:spLocks/>
                </p:cNvSpPr>
                <p:nvPr/>
              </p:nvSpPr>
              <p:spPr bwMode="auto">
                <a:xfrm>
                  <a:off x="3895793" y="7812745"/>
                  <a:ext cx="219078" cy="69852"/>
                </a:xfrm>
                <a:custGeom>
                  <a:avLst/>
                  <a:gdLst>
                    <a:gd name="T0" fmla="*/ 186 w 238"/>
                    <a:gd name="T1" fmla="*/ 9 h 76"/>
                    <a:gd name="T2" fmla="*/ 131 w 238"/>
                    <a:gd name="T3" fmla="*/ 22 h 76"/>
                    <a:gd name="T4" fmla="*/ 60 w 238"/>
                    <a:gd name="T5" fmla="*/ 0 h 76"/>
                    <a:gd name="T6" fmla="*/ 0 w 238"/>
                    <a:gd name="T7" fmla="*/ 42 h 76"/>
                    <a:gd name="T8" fmla="*/ 0 w 238"/>
                    <a:gd name="T9" fmla="*/ 76 h 76"/>
                    <a:gd name="T10" fmla="*/ 238 w 238"/>
                    <a:gd name="T11" fmla="*/ 76 h 76"/>
                    <a:gd name="T12" fmla="*/ 236 w 238"/>
                    <a:gd name="T13" fmla="*/ 53 h 76"/>
                    <a:gd name="T14" fmla="*/ 236 w 238"/>
                    <a:gd name="T15" fmla="*/ 49 h 76"/>
                    <a:gd name="T16" fmla="*/ 186 w 238"/>
                    <a:gd name="T17" fmla="*/ 9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8" h="76">
                      <a:moveTo>
                        <a:pt x="186" y="9"/>
                      </a:moveTo>
                      <a:cubicBezTo>
                        <a:pt x="169" y="18"/>
                        <a:pt x="150" y="22"/>
                        <a:pt x="131" y="22"/>
                      </a:cubicBezTo>
                      <a:cubicBezTo>
                        <a:pt x="105" y="22"/>
                        <a:pt x="80" y="14"/>
                        <a:pt x="60" y="0"/>
                      </a:cubicBezTo>
                      <a:cubicBezTo>
                        <a:pt x="0" y="42"/>
                        <a:pt x="0" y="42"/>
                        <a:pt x="0" y="42"/>
                      </a:cubicBezTo>
                      <a:cubicBezTo>
                        <a:pt x="0" y="76"/>
                        <a:pt x="0" y="76"/>
                        <a:pt x="0" y="76"/>
                      </a:cubicBezTo>
                      <a:cubicBezTo>
                        <a:pt x="238" y="76"/>
                        <a:pt x="238" y="76"/>
                        <a:pt x="238" y="76"/>
                      </a:cubicBezTo>
                      <a:cubicBezTo>
                        <a:pt x="237" y="68"/>
                        <a:pt x="236" y="61"/>
                        <a:pt x="236" y="53"/>
                      </a:cubicBezTo>
                      <a:cubicBezTo>
                        <a:pt x="236" y="51"/>
                        <a:pt x="236" y="50"/>
                        <a:pt x="236" y="49"/>
                      </a:cubicBezTo>
                      <a:lnTo>
                        <a:pt x="186" y="9"/>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110" name="Freeform 137"/>
                <p:cNvSpPr>
                  <a:spLocks/>
                </p:cNvSpPr>
                <p:nvPr/>
              </p:nvSpPr>
              <p:spPr bwMode="auto">
                <a:xfrm>
                  <a:off x="4338704" y="7809561"/>
                  <a:ext cx="65090" cy="73028"/>
                </a:xfrm>
                <a:custGeom>
                  <a:avLst/>
                  <a:gdLst>
                    <a:gd name="T0" fmla="*/ 71 w 71"/>
                    <a:gd name="T1" fmla="*/ 79 h 79"/>
                    <a:gd name="T2" fmla="*/ 71 w 71"/>
                    <a:gd name="T3" fmla="*/ 0 h 79"/>
                    <a:gd name="T4" fmla="*/ 2 w 71"/>
                    <a:gd name="T5" fmla="*/ 53 h 79"/>
                    <a:gd name="T6" fmla="*/ 2 w 71"/>
                    <a:gd name="T7" fmla="*/ 56 h 79"/>
                    <a:gd name="T8" fmla="*/ 0 w 71"/>
                    <a:gd name="T9" fmla="*/ 79 h 79"/>
                    <a:gd name="T10" fmla="*/ 71 w 71"/>
                    <a:gd name="T11" fmla="*/ 79 h 79"/>
                  </a:gdLst>
                  <a:ahLst/>
                  <a:cxnLst>
                    <a:cxn ang="0">
                      <a:pos x="T0" y="T1"/>
                    </a:cxn>
                    <a:cxn ang="0">
                      <a:pos x="T2" y="T3"/>
                    </a:cxn>
                    <a:cxn ang="0">
                      <a:pos x="T4" y="T5"/>
                    </a:cxn>
                    <a:cxn ang="0">
                      <a:pos x="T6" y="T7"/>
                    </a:cxn>
                    <a:cxn ang="0">
                      <a:pos x="T8" y="T9"/>
                    </a:cxn>
                    <a:cxn ang="0">
                      <a:pos x="T10" y="T11"/>
                    </a:cxn>
                  </a:cxnLst>
                  <a:rect l="0" t="0" r="r" b="b"/>
                  <a:pathLst>
                    <a:path w="71" h="79">
                      <a:moveTo>
                        <a:pt x="71" y="79"/>
                      </a:moveTo>
                      <a:cubicBezTo>
                        <a:pt x="71" y="0"/>
                        <a:pt x="71" y="0"/>
                        <a:pt x="71" y="0"/>
                      </a:cubicBezTo>
                      <a:cubicBezTo>
                        <a:pt x="2" y="53"/>
                        <a:pt x="2" y="53"/>
                        <a:pt x="2" y="53"/>
                      </a:cubicBezTo>
                      <a:cubicBezTo>
                        <a:pt x="2" y="54"/>
                        <a:pt x="2" y="55"/>
                        <a:pt x="2" y="56"/>
                      </a:cubicBezTo>
                      <a:cubicBezTo>
                        <a:pt x="2" y="64"/>
                        <a:pt x="1" y="71"/>
                        <a:pt x="0" y="79"/>
                      </a:cubicBezTo>
                      <a:lnTo>
                        <a:pt x="71" y="79"/>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111" name="Freeform 140"/>
                <p:cNvSpPr>
                  <a:spLocks/>
                </p:cNvSpPr>
                <p:nvPr/>
              </p:nvSpPr>
              <p:spPr bwMode="auto">
                <a:xfrm>
                  <a:off x="4600643" y="7622229"/>
                  <a:ext cx="80960" cy="38099"/>
                </a:xfrm>
                <a:custGeom>
                  <a:avLst/>
                  <a:gdLst>
                    <a:gd name="T0" fmla="*/ 0 w 51"/>
                    <a:gd name="T1" fmla="*/ 24 h 24"/>
                    <a:gd name="T2" fmla="*/ 51 w 51"/>
                    <a:gd name="T3" fmla="*/ 24 h 24"/>
                    <a:gd name="T4" fmla="*/ 32 w 51"/>
                    <a:gd name="T5" fmla="*/ 0 h 24"/>
                    <a:gd name="T6" fmla="*/ 0 w 51"/>
                    <a:gd name="T7" fmla="*/ 24 h 24"/>
                  </a:gdLst>
                  <a:ahLst/>
                  <a:cxnLst>
                    <a:cxn ang="0">
                      <a:pos x="T0" y="T1"/>
                    </a:cxn>
                    <a:cxn ang="0">
                      <a:pos x="T2" y="T3"/>
                    </a:cxn>
                    <a:cxn ang="0">
                      <a:pos x="T4" y="T5"/>
                    </a:cxn>
                    <a:cxn ang="0">
                      <a:pos x="T6" y="T7"/>
                    </a:cxn>
                  </a:cxnLst>
                  <a:rect l="0" t="0" r="r" b="b"/>
                  <a:pathLst>
                    <a:path w="51" h="24">
                      <a:moveTo>
                        <a:pt x="0" y="24"/>
                      </a:moveTo>
                      <a:lnTo>
                        <a:pt x="51" y="24"/>
                      </a:lnTo>
                      <a:lnTo>
                        <a:pt x="32" y="0"/>
                      </a:lnTo>
                      <a:lnTo>
                        <a:pt x="0" y="24"/>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112" name="Freeform 141"/>
                <p:cNvSpPr>
                  <a:spLocks/>
                </p:cNvSpPr>
                <p:nvPr/>
              </p:nvSpPr>
              <p:spPr bwMode="auto">
                <a:xfrm>
                  <a:off x="4449825" y="7466656"/>
                  <a:ext cx="119065" cy="139703"/>
                </a:xfrm>
                <a:custGeom>
                  <a:avLst/>
                  <a:gdLst>
                    <a:gd name="T0" fmla="*/ 52 w 75"/>
                    <a:gd name="T1" fmla="*/ 0 h 88"/>
                    <a:gd name="T2" fmla="*/ 0 w 75"/>
                    <a:gd name="T3" fmla="*/ 0 h 88"/>
                    <a:gd name="T4" fmla="*/ 0 w 75"/>
                    <a:gd name="T5" fmla="*/ 88 h 88"/>
                    <a:gd name="T6" fmla="*/ 75 w 75"/>
                    <a:gd name="T7" fmla="*/ 30 h 88"/>
                    <a:gd name="T8" fmla="*/ 52 w 75"/>
                    <a:gd name="T9" fmla="*/ 0 h 88"/>
                  </a:gdLst>
                  <a:ahLst/>
                  <a:cxnLst>
                    <a:cxn ang="0">
                      <a:pos x="T0" y="T1"/>
                    </a:cxn>
                    <a:cxn ang="0">
                      <a:pos x="T2" y="T3"/>
                    </a:cxn>
                    <a:cxn ang="0">
                      <a:pos x="T4" y="T5"/>
                    </a:cxn>
                    <a:cxn ang="0">
                      <a:pos x="T6" y="T7"/>
                    </a:cxn>
                    <a:cxn ang="0">
                      <a:pos x="T8" y="T9"/>
                    </a:cxn>
                  </a:cxnLst>
                  <a:rect l="0" t="0" r="r" b="b"/>
                  <a:pathLst>
                    <a:path w="75" h="88">
                      <a:moveTo>
                        <a:pt x="52" y="0"/>
                      </a:moveTo>
                      <a:lnTo>
                        <a:pt x="0" y="0"/>
                      </a:lnTo>
                      <a:lnTo>
                        <a:pt x="0" y="88"/>
                      </a:lnTo>
                      <a:lnTo>
                        <a:pt x="75" y="30"/>
                      </a:lnTo>
                      <a:lnTo>
                        <a:pt x="52"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grpSp>
        </p:grpSp>
        <p:sp>
          <p:nvSpPr>
            <p:cNvPr id="101" name="Rectangle 152"/>
            <p:cNvSpPr/>
            <p:nvPr/>
          </p:nvSpPr>
          <p:spPr bwMode="auto">
            <a:xfrm>
              <a:off x="712458" y="3628917"/>
              <a:ext cx="1805162" cy="37532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2C812"/>
                  </a:solidFill>
                  <a:effectLst/>
                  <a:uLnTx/>
                  <a:uFillTx/>
                  <a:latin typeface="Segoe UI"/>
                  <a:ea typeface="+mn-ea"/>
                  <a:cs typeface="Segoe UI Light" panose="020B0502040204020203" pitchFamily="34" charset="0"/>
                </a:rPr>
                <a:t>Q&amp;A and </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2C812"/>
                  </a:solidFill>
                  <a:effectLst/>
                  <a:uLnTx/>
                  <a:uFillTx/>
                  <a:latin typeface="Segoe UI"/>
                  <a:ea typeface="+mn-ea"/>
                  <a:cs typeface="Segoe UI Light" panose="020B0502040204020203" pitchFamily="34" charset="0"/>
                </a:rPr>
                <a:t>Quick Insights</a:t>
              </a:r>
              <a:endParaRPr kumimoji="0" lang="en-US" sz="1200" b="1" i="0" u="none" strike="noStrike" kern="1200" cap="none" spc="0" normalizeH="0" baseline="0" noProof="0">
                <a:ln>
                  <a:noFill/>
                </a:ln>
                <a:solidFill>
                  <a:srgbClr val="F2C812"/>
                </a:solidFill>
                <a:effectLst/>
                <a:uLnTx/>
                <a:uFillTx/>
                <a:latin typeface="Segoe UI"/>
                <a:ea typeface="+mn-ea"/>
                <a:cs typeface="Segoe UI Light" panose="020B0502040204020203" pitchFamily="34" charset="0"/>
              </a:endParaRPr>
            </a:p>
          </p:txBody>
        </p:sp>
        <p:sp>
          <p:nvSpPr>
            <p:cNvPr id="102" name="Oval 162"/>
            <p:cNvSpPr/>
            <p:nvPr/>
          </p:nvSpPr>
          <p:spPr bwMode="auto">
            <a:xfrm>
              <a:off x="226619" y="4551712"/>
              <a:ext cx="433844" cy="433844"/>
            </a:xfrm>
            <a:prstGeom prst="ellipse">
              <a:avLst/>
            </a:prstGeom>
            <a:solidFill>
              <a:srgbClr val="F2C812"/>
            </a:solidFill>
            <a:ln>
              <a:solidFill>
                <a:srgbClr val="FFCC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3" name="Rectangle 152"/>
            <p:cNvSpPr/>
            <p:nvPr/>
          </p:nvSpPr>
          <p:spPr bwMode="auto">
            <a:xfrm>
              <a:off x="738443" y="4596194"/>
              <a:ext cx="1884825" cy="30233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2C812"/>
                  </a:solidFill>
                  <a:effectLst/>
                  <a:uLnTx/>
                  <a:uFillTx/>
                  <a:latin typeface="Segoe UI"/>
                  <a:ea typeface="+mn-ea"/>
                  <a:cs typeface="Segoe UI Light" panose="020B0502040204020203" pitchFamily="34" charset="0"/>
                </a:rPr>
                <a:t>Sharing</a:t>
              </a:r>
              <a:endParaRPr kumimoji="0" lang="en-US" sz="1200" b="1" i="1" u="none" strike="noStrike" kern="1200" cap="none" spc="0" normalizeH="0" baseline="0" noProof="0">
                <a:ln>
                  <a:noFill/>
                </a:ln>
                <a:solidFill>
                  <a:srgbClr val="F2C812"/>
                </a:solidFill>
                <a:effectLst/>
                <a:uLnTx/>
                <a:uFillTx/>
                <a:latin typeface="Segoe UI"/>
                <a:ea typeface="+mn-ea"/>
                <a:cs typeface="Segoe UI Light" panose="020B0502040204020203" pitchFamily="34" charset="0"/>
              </a:endParaRPr>
            </a:p>
          </p:txBody>
        </p:sp>
        <p:sp>
          <p:nvSpPr>
            <p:cNvPr id="104" name="Rectangle 145"/>
            <p:cNvSpPr/>
            <p:nvPr/>
          </p:nvSpPr>
          <p:spPr bwMode="auto">
            <a:xfrm>
              <a:off x="697198" y="1847637"/>
              <a:ext cx="1821468" cy="3831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2C812"/>
                  </a:solidFill>
                  <a:effectLst/>
                  <a:uLnTx/>
                  <a:uFillTx/>
                  <a:latin typeface="Segoe UI"/>
                  <a:ea typeface="+mn-ea"/>
                  <a:cs typeface="Segoe UI Light" panose="020B0502040204020203" pitchFamily="34" charset="0"/>
                </a:rPr>
                <a:t>Pinning and Navigation</a:t>
              </a:r>
            </a:p>
          </p:txBody>
        </p:sp>
        <p:sp>
          <p:nvSpPr>
            <p:cNvPr id="105" name="Oval 162"/>
            <p:cNvSpPr/>
            <p:nvPr/>
          </p:nvSpPr>
          <p:spPr bwMode="auto">
            <a:xfrm>
              <a:off x="224136" y="1813606"/>
              <a:ext cx="433844" cy="433844"/>
            </a:xfrm>
            <a:prstGeom prst="ellipse">
              <a:avLst/>
            </a:prstGeom>
            <a:solidFill>
              <a:srgbClr val="FFCC00"/>
            </a:solidFill>
            <a:ln>
              <a:solidFill>
                <a:srgbClr val="F2C81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pic>
        <p:nvPicPr>
          <p:cNvPr id="119" name="Picture 118"/>
          <p:cNvPicPr>
            <a:picLocks noChangeAspect="1"/>
          </p:cNvPicPr>
          <p:nvPr/>
        </p:nvPicPr>
        <p:blipFill rotWithShape="1">
          <a:blip r:embed="rId5"/>
          <a:srcRect l="6503" t="21287" r="74698" b="20220"/>
          <a:stretch/>
        </p:blipFill>
        <p:spPr>
          <a:xfrm>
            <a:off x="339111" y="1946110"/>
            <a:ext cx="228600" cy="231962"/>
          </a:xfrm>
          <a:prstGeom prst="rect">
            <a:avLst/>
          </a:prstGeom>
        </p:spPr>
      </p:pic>
      <p:pic>
        <p:nvPicPr>
          <p:cNvPr id="120" name="Picture 119"/>
          <p:cNvPicPr>
            <a:picLocks noChangeAspect="1"/>
          </p:cNvPicPr>
          <p:nvPr/>
        </p:nvPicPr>
        <p:blipFill>
          <a:blip r:embed="rId6"/>
          <a:stretch>
            <a:fillRect/>
          </a:stretch>
        </p:blipFill>
        <p:spPr>
          <a:xfrm>
            <a:off x="284769" y="3673076"/>
            <a:ext cx="311766" cy="303106"/>
          </a:xfrm>
          <a:prstGeom prst="rect">
            <a:avLst/>
          </a:prstGeom>
        </p:spPr>
      </p:pic>
      <p:sp>
        <p:nvSpPr>
          <p:cNvPr id="121" name="Rectangle 145"/>
          <p:cNvSpPr/>
          <p:nvPr/>
        </p:nvSpPr>
        <p:spPr bwMode="auto">
          <a:xfrm>
            <a:off x="718897" y="5436715"/>
            <a:ext cx="1821468" cy="3831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2C812"/>
                </a:solidFill>
                <a:effectLst/>
                <a:uLnTx/>
                <a:uFillTx/>
                <a:latin typeface="Segoe UI"/>
                <a:ea typeface="+mn-ea"/>
                <a:cs typeface="Segoe UI Light" panose="020B0502040204020203" pitchFamily="34" charset="0"/>
              </a:rPr>
              <a:t>Connect from Excel</a:t>
            </a:r>
          </a:p>
        </p:txBody>
      </p:sp>
      <p:sp>
        <p:nvSpPr>
          <p:cNvPr id="122" name="Oval 162"/>
          <p:cNvSpPr/>
          <p:nvPr/>
        </p:nvSpPr>
        <p:spPr bwMode="auto">
          <a:xfrm>
            <a:off x="231441" y="5429649"/>
            <a:ext cx="433844" cy="433844"/>
          </a:xfrm>
          <a:prstGeom prst="ellipse">
            <a:avLst/>
          </a:prstGeom>
          <a:solidFill>
            <a:srgbClr val="FFCC00"/>
          </a:solidFill>
          <a:ln>
            <a:solidFill>
              <a:srgbClr val="F2C81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23" name="Picture 122"/>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flipH="1">
            <a:off x="283763" y="4596680"/>
            <a:ext cx="357484" cy="357484"/>
          </a:xfrm>
          <a:prstGeom prst="rect">
            <a:avLst/>
          </a:prstGeom>
        </p:spPr>
      </p:pic>
      <p:sp>
        <p:nvSpPr>
          <p:cNvPr id="124" name="Oval 162"/>
          <p:cNvSpPr/>
          <p:nvPr/>
        </p:nvSpPr>
        <p:spPr bwMode="auto">
          <a:xfrm>
            <a:off x="233032" y="6267344"/>
            <a:ext cx="433844" cy="433844"/>
          </a:xfrm>
          <a:prstGeom prst="ellipse">
            <a:avLst/>
          </a:prstGeom>
          <a:solidFill>
            <a:srgbClr val="FFCC00"/>
          </a:solidFill>
          <a:ln>
            <a:solidFill>
              <a:srgbClr val="F2C81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5" name="Rectangle 145"/>
          <p:cNvSpPr/>
          <p:nvPr/>
        </p:nvSpPr>
        <p:spPr bwMode="auto">
          <a:xfrm>
            <a:off x="701416" y="6289969"/>
            <a:ext cx="1821468" cy="3831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2C812"/>
                </a:solidFill>
                <a:effectLst/>
                <a:uLnTx/>
                <a:uFillTx/>
                <a:latin typeface="Segoe UI"/>
                <a:ea typeface="+mn-ea"/>
                <a:cs typeface="Segoe UI Light" panose="020B0502040204020203" pitchFamily="34" charset="0"/>
              </a:rPr>
              <a:t>Mobile Reports</a:t>
            </a:r>
          </a:p>
        </p:txBody>
      </p:sp>
      <p:pic>
        <p:nvPicPr>
          <p:cNvPr id="126" name="Picture 125"/>
          <p:cNvPicPr>
            <a:picLocks noChangeAspect="1"/>
          </p:cNvPicPr>
          <p:nvPr/>
        </p:nvPicPr>
        <p:blipFill>
          <a:blip r:embed="rId8" cstate="print">
            <a:extLst>
              <a:ext uri="{BEBA8EAE-BF5A-486C-A8C5-ECC9F3942E4B}">
                <a14:imgProps xmlns:a14="http://schemas.microsoft.com/office/drawing/2010/main">
                  <a14:imgLayer r:embed="rId9">
                    <a14:imgEffect>
                      <a14:saturation sat="0"/>
                    </a14:imgEffect>
                  </a14:imgLayer>
                </a14:imgProps>
              </a:ext>
              <a:ext uri="{28A0092B-C50C-407E-A947-70E740481C1C}">
                <a14:useLocalDpi xmlns:a14="http://schemas.microsoft.com/office/drawing/2010/main" val="0"/>
              </a:ext>
            </a:extLst>
          </a:blip>
          <a:stretch>
            <a:fillRect/>
          </a:stretch>
        </p:blipFill>
        <p:spPr>
          <a:xfrm>
            <a:off x="391946" y="6350039"/>
            <a:ext cx="133350" cy="251587"/>
          </a:xfrm>
          <a:prstGeom prst="rect">
            <a:avLst/>
          </a:prstGeom>
        </p:spPr>
      </p:pic>
      <p:pic>
        <p:nvPicPr>
          <p:cNvPr id="127" name="Picture 126"/>
          <p:cNvPicPr>
            <a:picLocks noChangeAspect="1"/>
          </p:cNvPicPr>
          <p:nvPr/>
        </p:nvPicPr>
        <p:blipFill>
          <a:blip r:embed="rId10" cstate="print">
            <a:biLevel thresh="50000"/>
            <a:extLst>
              <a:ext uri="{28A0092B-C50C-407E-A947-70E740481C1C}">
                <a14:useLocalDpi xmlns:a14="http://schemas.microsoft.com/office/drawing/2010/main" val="0"/>
              </a:ext>
            </a:extLst>
          </a:blip>
          <a:stretch>
            <a:fillRect/>
          </a:stretch>
        </p:blipFill>
        <p:spPr>
          <a:xfrm>
            <a:off x="332658" y="5538489"/>
            <a:ext cx="268940" cy="268940"/>
          </a:xfrm>
          <a:prstGeom prst="rect">
            <a:avLst/>
          </a:prstGeom>
        </p:spPr>
      </p:pic>
      <p:sp>
        <p:nvSpPr>
          <p:cNvPr id="128" name="Rectangle 127"/>
          <p:cNvSpPr/>
          <p:nvPr/>
        </p:nvSpPr>
        <p:spPr bwMode="auto">
          <a:xfrm>
            <a:off x="35912" y="2594112"/>
            <a:ext cx="2464420" cy="4194313"/>
          </a:xfrm>
          <a:prstGeom prst="rect">
            <a:avLst/>
          </a:prstGeom>
          <a:solidFill>
            <a:srgbClr val="000000">
              <a:alpha val="6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9" name="Rectangle 128"/>
          <p:cNvSpPr/>
          <p:nvPr/>
        </p:nvSpPr>
        <p:spPr bwMode="auto">
          <a:xfrm>
            <a:off x="95936" y="731576"/>
            <a:ext cx="2464420" cy="880187"/>
          </a:xfrm>
          <a:prstGeom prst="rect">
            <a:avLst/>
          </a:prstGeom>
          <a:solidFill>
            <a:srgbClr val="000000">
              <a:alpha val="6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4175462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 name="Text Placeholder 2"/>
          <p:cNvSpPr txBox="1">
            <a:spLocks/>
          </p:cNvSpPr>
          <p:nvPr/>
        </p:nvSpPr>
        <p:spPr>
          <a:xfrm>
            <a:off x="2846171" y="1340643"/>
            <a:ext cx="5880498" cy="2420792"/>
          </a:xfrm>
          <a:prstGeom prst="rect">
            <a:avLst/>
          </a:prstGeom>
        </p:spPr>
        <p:txBody>
          <a:bodyPr vert="horz" wrap="square" lIns="182880" tIns="146304" rIns="182880" bIns="146304" rtlCol="0">
            <a:noAutofit/>
          </a:bodyPr>
          <a:lstStyle>
            <a:lvl1pPr marL="182845" marR="0"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3921" kern="1200" spc="0" baseline="0">
                <a:gradFill>
                  <a:gsLst>
                    <a:gs pos="1250">
                      <a:schemeClr val="tx2"/>
                    </a:gs>
                    <a:gs pos="99000">
                      <a:schemeClr val="tx2"/>
                    </a:gs>
                  </a:gsLst>
                  <a:lin ang="5400000" scaled="0"/>
                </a:gradFill>
                <a:latin typeface="+mj-lt"/>
                <a:ea typeface="+mn-ea"/>
                <a:cs typeface="+mn-cs"/>
              </a:defRPr>
            </a:lvl1pPr>
            <a:lvl2pPr marL="365690" marR="0"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2400" kern="1200" spc="0" baseline="0">
                <a:solidFill>
                  <a:schemeClr val="tx2"/>
                </a:solidFill>
                <a:latin typeface="+mj-lt"/>
                <a:ea typeface="+mn-ea"/>
                <a:cs typeface="+mn-cs"/>
              </a:defRPr>
            </a:lvl2pPr>
            <a:lvl3pPr marL="548535" marR="0"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2000" kern="1200" spc="0" baseline="0">
                <a:solidFill>
                  <a:schemeClr val="tx2"/>
                </a:solidFill>
                <a:latin typeface="+mj-lt"/>
                <a:ea typeface="+mn-ea"/>
                <a:cs typeface="+mn-cs"/>
              </a:defRPr>
            </a:lvl3pPr>
            <a:lvl4pPr marL="733802" marR="0" indent="-28569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1765" kern="1200" spc="0" baseline="0">
                <a:solidFill>
                  <a:schemeClr val="tx2"/>
                </a:solidFill>
                <a:latin typeface="+mn-lt"/>
                <a:ea typeface="+mn-ea"/>
                <a:cs typeface="+mn-cs"/>
              </a:defRPr>
            </a:lvl4pPr>
            <a:lvl5pPr marL="957856" marR="0" indent="-28569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1765" kern="1200" spc="0" baseline="0">
                <a:solidFill>
                  <a:schemeClr val="tx2"/>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r>
              <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rPr>
              <a:t>The most </a:t>
            </a:r>
            <a:r>
              <a:rPr kumimoji="0" lang="en-US" sz="2000" b="1"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rPr>
              <a:t>relevant dashboards </a:t>
            </a:r>
            <a:r>
              <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rPr>
              <a:t>can be defined as favorites</a:t>
            </a: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1"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r>
              <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rPr>
              <a:t>They will appear in a </a:t>
            </a:r>
            <a:r>
              <a:rPr kumimoji="0" lang="en-US" sz="2000" b="1"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rPr>
              <a:t>dedicated area</a:t>
            </a: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1"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r>
              <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rPr>
              <a:t>Work </a:t>
            </a:r>
            <a:r>
              <a:rPr kumimoji="0" lang="en-US" sz="2000" b="1"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rPr>
              <a:t>across groups</a:t>
            </a: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1"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r>
              <a:rPr kumimoji="0" lang="en-US" sz="2000" b="1"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rPr>
              <a:t>Fully synchronized across platforms </a:t>
            </a:r>
            <a:r>
              <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rPr>
              <a:t>– can set or view from mobile app and Power BI Service</a:t>
            </a:r>
            <a:endParaRPr kumimoji="0" lang="en-US" sz="2000" b="1"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1"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1"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1"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a:p>
            <a:pPr marL="182845" marR="0" lvl="1" indent="0" algn="l" defTabSz="914367" rtl="0" eaLnBrk="1" fontAlgn="auto" latinLnBrk="0" hangingPunct="1">
              <a:lnSpc>
                <a:spcPct val="90000"/>
              </a:lnSpc>
              <a:spcBef>
                <a:spcPct val="20000"/>
              </a:spcBef>
              <a:spcAft>
                <a:spcPts val="0"/>
              </a:spcAft>
              <a:buClrTx/>
              <a:buSzPct val="90000"/>
              <a:buFont typeface="Arial" panose="020B0604020202020204" pitchFamily="34" charset="0"/>
              <a:buNone/>
              <a:tabLst/>
              <a:defRPr/>
            </a:pPr>
            <a:endPar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1"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1"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p:txBody>
      </p:sp>
      <p:sp>
        <p:nvSpPr>
          <p:cNvPr id="53" name="Title 10"/>
          <p:cNvSpPr txBox="1">
            <a:spLocks/>
          </p:cNvSpPr>
          <p:nvPr/>
        </p:nvSpPr>
        <p:spPr>
          <a:xfrm>
            <a:off x="2849060" y="0"/>
            <a:ext cx="9342940" cy="665151"/>
          </a:xfrm>
          <a:prstGeom prst="rect">
            <a:avLst/>
          </a:prstGeom>
          <a:noFill/>
        </p:spPr>
        <p:txBody>
          <a:bodyPr vert="horz" wrap="square" lIns="0" tIns="91440" rIns="0" bIns="91440" rtlCol="0" anchor="t">
            <a:noAutofit/>
          </a:bodyPr>
          <a:lstStyle>
            <a:lvl1pPr defTabSz="914367">
              <a:lnSpc>
                <a:spcPct val="90000"/>
              </a:lnSpc>
              <a:spcBef>
                <a:spcPct val="0"/>
              </a:spcBef>
              <a:buNone/>
              <a:defRPr lang="en-US" sz="5294" b="0" cap="none" spc="-100" baseline="0" dirty="0" smtClean="0">
                <a:ln w="3175">
                  <a:noFill/>
                </a:ln>
                <a:solidFill>
                  <a:schemeClr val="tx2"/>
                </a:solidFill>
                <a:effectLst/>
                <a:latin typeface="+mj-lt"/>
                <a:cs typeface="Segoe UI" pitchFamily="34" charset="0"/>
              </a:defRPr>
            </a:lvl1pPr>
          </a:lstStyle>
          <a:p>
            <a:pPr marL="168275" marR="0" lvl="0" indent="0" algn="l" defTabSz="914367" rtl="0" eaLnBrk="1" fontAlgn="auto" latinLnBrk="0" hangingPunct="1">
              <a:lnSpc>
                <a:spcPct val="90000"/>
              </a:lnSpc>
              <a:spcBef>
                <a:spcPct val="0"/>
              </a:spcBef>
              <a:spcAft>
                <a:spcPts val="0"/>
              </a:spcAft>
              <a:buClrTx/>
              <a:buSzTx/>
              <a:buFontTx/>
              <a:buNone/>
              <a:tabLst/>
              <a:defRPr/>
            </a:pPr>
            <a:r>
              <a:rPr kumimoji="0" lang="en-US" sz="3600" b="0" i="0" u="none" strike="noStrike" kern="1200" cap="none" spc="-100" normalizeH="0" baseline="0" noProof="0">
                <a:ln w="3175">
                  <a:noFill/>
                </a:ln>
                <a:solidFill>
                  <a:prstClr val="black"/>
                </a:solidFill>
                <a:effectLst/>
                <a:uLnTx/>
                <a:uFillTx/>
                <a:latin typeface="Segoe UI Light"/>
                <a:ea typeface="+mn-ea"/>
                <a:cs typeface="Segoe UI" pitchFamily="34" charset="0"/>
              </a:rPr>
              <a:t>Pinning and Navigation</a:t>
            </a:r>
            <a:endParaRPr kumimoji="0" lang="en-IN" sz="3600" b="0" i="0" u="none" strike="noStrike" kern="1200" cap="none" spc="-100" normalizeH="0" baseline="0" noProof="0">
              <a:ln w="3175">
                <a:noFill/>
              </a:ln>
              <a:solidFill>
                <a:prstClr val="black"/>
              </a:solidFill>
              <a:effectLst/>
              <a:uLnTx/>
              <a:uFillTx/>
              <a:latin typeface="Segoe UI Light"/>
              <a:ea typeface="+mn-ea"/>
              <a:cs typeface="Segoe UI" pitchFamily="34" charset="0"/>
            </a:endParaRPr>
          </a:p>
        </p:txBody>
      </p:sp>
      <p:sp>
        <p:nvSpPr>
          <p:cNvPr id="41" name="Rectangle 3"/>
          <p:cNvSpPr/>
          <p:nvPr/>
        </p:nvSpPr>
        <p:spPr bwMode="auto">
          <a:xfrm>
            <a:off x="3202216" y="665151"/>
            <a:ext cx="8105312" cy="44435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PT" sz="2000" b="0" i="1" u="none" strike="noStrike" kern="1200" cap="none" spc="0" normalizeH="0" baseline="0" noProof="0">
                <a:ln>
                  <a:noFill/>
                </a:ln>
                <a:solidFill>
                  <a:prstClr val="black"/>
                </a:solidFill>
                <a:effectLst/>
                <a:uLnTx/>
                <a:uFillTx/>
                <a:latin typeface="Segoe UI Light"/>
                <a:ea typeface="+mn-ea"/>
                <a:cs typeface="+mn-cs"/>
              </a:rPr>
              <a:t>Dashboard - Favorites</a:t>
            </a:r>
            <a:endParaRPr kumimoji="0" lang="en-US" sz="2000" b="0" i="1" u="none" strike="noStrike" kern="1200" cap="none" spc="0" normalizeH="0" baseline="0" noProof="0">
              <a:ln>
                <a:noFill/>
              </a:ln>
              <a:solidFill>
                <a:prstClr val="black"/>
              </a:solidFill>
              <a:effectLst/>
              <a:uLnTx/>
              <a:uFillTx/>
              <a:latin typeface="Segoe UI Light"/>
              <a:ea typeface="+mn-ea"/>
              <a:cs typeface="+mn-cs"/>
            </a:endParaRPr>
          </a:p>
        </p:txBody>
      </p:sp>
      <p:grpSp>
        <p:nvGrpSpPr>
          <p:cNvPr id="81" name="Group 80"/>
          <p:cNvGrpSpPr/>
          <p:nvPr/>
        </p:nvGrpSpPr>
        <p:grpSpPr>
          <a:xfrm>
            <a:off x="-2887" y="973"/>
            <a:ext cx="2849058" cy="6857027"/>
            <a:chOff x="2" y="487"/>
            <a:chExt cx="2849058" cy="6857027"/>
          </a:xfrm>
        </p:grpSpPr>
        <p:sp>
          <p:nvSpPr>
            <p:cNvPr id="94" name="Rectangle 15"/>
            <p:cNvSpPr/>
            <p:nvPr/>
          </p:nvSpPr>
          <p:spPr bwMode="auto">
            <a:xfrm>
              <a:off x="2" y="487"/>
              <a:ext cx="2849058" cy="685702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5" name="Rectangle 145"/>
            <p:cNvSpPr/>
            <p:nvPr/>
          </p:nvSpPr>
          <p:spPr bwMode="auto">
            <a:xfrm>
              <a:off x="696152" y="956997"/>
              <a:ext cx="1821468" cy="3831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2C812"/>
                  </a:solidFill>
                  <a:effectLst/>
                  <a:uLnTx/>
                  <a:uFillTx/>
                  <a:latin typeface="Segoe UI"/>
                  <a:ea typeface="+mn-ea"/>
                  <a:cs typeface="Segoe UI Light" panose="020B0502040204020203" pitchFamily="34" charset="0"/>
                </a:rPr>
                <a:t>Get Data</a:t>
              </a:r>
              <a:endParaRPr kumimoji="0" lang="en-US" sz="1200" b="1" i="1" u="none" strike="noStrike" kern="1200" cap="none" spc="0" normalizeH="0" baseline="0" noProof="0">
                <a:ln>
                  <a:noFill/>
                </a:ln>
                <a:solidFill>
                  <a:srgbClr val="F2C812"/>
                </a:solidFill>
                <a:effectLst/>
                <a:uLnTx/>
                <a:uFillTx/>
                <a:latin typeface="Segoe UI"/>
                <a:ea typeface="+mn-ea"/>
                <a:cs typeface="Segoe UI Light" panose="020B0502040204020203" pitchFamily="34" charset="0"/>
              </a:endParaRPr>
            </a:p>
          </p:txBody>
        </p:sp>
        <p:grpSp>
          <p:nvGrpSpPr>
            <p:cNvPr id="96" name="Group 95"/>
            <p:cNvGrpSpPr/>
            <p:nvPr/>
          </p:nvGrpSpPr>
          <p:grpSpPr>
            <a:xfrm>
              <a:off x="219373" y="934583"/>
              <a:ext cx="433844" cy="433844"/>
              <a:chOff x="440005" y="997815"/>
              <a:chExt cx="296322" cy="296322"/>
            </a:xfrm>
          </p:grpSpPr>
          <p:sp>
            <p:nvSpPr>
              <p:cNvPr id="115" name="Oval 147"/>
              <p:cNvSpPr/>
              <p:nvPr/>
            </p:nvSpPr>
            <p:spPr bwMode="auto">
              <a:xfrm>
                <a:off x="440005" y="997815"/>
                <a:ext cx="296322" cy="296322"/>
              </a:xfrm>
              <a:prstGeom prst="ellipse">
                <a:avLst/>
              </a:prstGeom>
              <a:solidFill>
                <a:srgbClr val="FFCC00"/>
              </a:solidFill>
              <a:ln>
                <a:solidFill>
                  <a:srgbClr val="F2C81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16" name="Group 332"/>
              <p:cNvGrpSpPr/>
              <p:nvPr/>
            </p:nvGrpSpPr>
            <p:grpSpPr>
              <a:xfrm>
                <a:off x="482167" y="1059311"/>
                <a:ext cx="211997" cy="173292"/>
                <a:chOff x="2123129" y="293070"/>
                <a:chExt cx="2472585" cy="2021178"/>
              </a:xfrm>
            </p:grpSpPr>
            <p:sp>
              <p:nvSpPr>
                <p:cNvPr id="117" name="Freeform 13"/>
                <p:cNvSpPr>
                  <a:spLocks/>
                </p:cNvSpPr>
                <p:nvPr/>
              </p:nvSpPr>
              <p:spPr bwMode="auto">
                <a:xfrm rot="20700000">
                  <a:off x="3155853" y="872796"/>
                  <a:ext cx="1439861" cy="1441452"/>
                </a:xfrm>
                <a:custGeom>
                  <a:avLst/>
                  <a:gdLst>
                    <a:gd name="T0" fmla="*/ 138 w 441"/>
                    <a:gd name="T1" fmla="*/ 341 h 441"/>
                    <a:gd name="T2" fmla="*/ 183 w 441"/>
                    <a:gd name="T3" fmla="*/ 374 h 441"/>
                    <a:gd name="T4" fmla="*/ 220 w 441"/>
                    <a:gd name="T5" fmla="*/ 423 h 441"/>
                    <a:gd name="T6" fmla="*/ 422 w 441"/>
                    <a:gd name="T7" fmla="*/ 220 h 441"/>
                    <a:gd name="T8" fmla="*/ 373 w 441"/>
                    <a:gd name="T9" fmla="*/ 184 h 441"/>
                    <a:gd name="T10" fmla="*/ 341 w 441"/>
                    <a:gd name="T11" fmla="*/ 139 h 441"/>
                    <a:gd name="T12" fmla="*/ 382 w 441"/>
                    <a:gd name="T13" fmla="*/ 58 h 441"/>
                    <a:gd name="T14" fmla="*/ 302 w 441"/>
                    <a:gd name="T15" fmla="*/ 100 h 441"/>
                    <a:gd name="T16" fmla="*/ 257 w 441"/>
                    <a:gd name="T17" fmla="*/ 67 h 441"/>
                    <a:gd name="T18" fmla="*/ 220 w 441"/>
                    <a:gd name="T19" fmla="*/ 18 h 441"/>
                    <a:gd name="T20" fmla="*/ 171 w 441"/>
                    <a:gd name="T21" fmla="*/ 55 h 441"/>
                    <a:gd name="T22" fmla="*/ 138 w 441"/>
                    <a:gd name="T23" fmla="*/ 100 h 441"/>
                    <a:gd name="T24" fmla="*/ 180 w 441"/>
                    <a:gd name="T25" fmla="*/ 181 h 441"/>
                    <a:gd name="T26" fmla="*/ 100 w 441"/>
                    <a:gd name="T27" fmla="*/ 139 h 441"/>
                    <a:gd name="T28" fmla="*/ 55 w 441"/>
                    <a:gd name="T29" fmla="*/ 171 h 441"/>
                    <a:gd name="T30" fmla="*/ 18 w 441"/>
                    <a:gd name="T31" fmla="*/ 220 h 441"/>
                    <a:gd name="T32" fmla="*/ 67 w 441"/>
                    <a:gd name="T33" fmla="*/ 257 h 441"/>
                    <a:gd name="T34" fmla="*/ 100 w 441"/>
                    <a:gd name="T35" fmla="*/ 302 h 441"/>
                    <a:gd name="T36" fmla="*/ 58 w 441"/>
                    <a:gd name="T37" fmla="*/ 383 h 441"/>
                    <a:gd name="T38" fmla="*/ 138 w 441"/>
                    <a:gd name="T39" fmla="*/ 341 h 4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41" h="441">
                      <a:moveTo>
                        <a:pt x="138" y="341"/>
                      </a:moveTo>
                      <a:cubicBezTo>
                        <a:pt x="147" y="337"/>
                        <a:pt x="171" y="361"/>
                        <a:pt x="183" y="374"/>
                      </a:cubicBezTo>
                      <a:cubicBezTo>
                        <a:pt x="196" y="386"/>
                        <a:pt x="220" y="423"/>
                        <a:pt x="220" y="423"/>
                      </a:cubicBezTo>
                      <a:cubicBezTo>
                        <a:pt x="422" y="220"/>
                        <a:pt x="422" y="220"/>
                        <a:pt x="422" y="220"/>
                      </a:cubicBezTo>
                      <a:cubicBezTo>
                        <a:pt x="422" y="220"/>
                        <a:pt x="386" y="196"/>
                        <a:pt x="373" y="184"/>
                      </a:cubicBezTo>
                      <a:cubicBezTo>
                        <a:pt x="361" y="171"/>
                        <a:pt x="338" y="149"/>
                        <a:pt x="341" y="139"/>
                      </a:cubicBezTo>
                      <a:cubicBezTo>
                        <a:pt x="343" y="129"/>
                        <a:pt x="441" y="116"/>
                        <a:pt x="382" y="58"/>
                      </a:cubicBezTo>
                      <a:cubicBezTo>
                        <a:pt x="324" y="0"/>
                        <a:pt x="310" y="96"/>
                        <a:pt x="302" y="100"/>
                      </a:cubicBezTo>
                      <a:cubicBezTo>
                        <a:pt x="294" y="104"/>
                        <a:pt x="269" y="80"/>
                        <a:pt x="257" y="67"/>
                      </a:cubicBezTo>
                      <a:cubicBezTo>
                        <a:pt x="245" y="55"/>
                        <a:pt x="220" y="18"/>
                        <a:pt x="220" y="18"/>
                      </a:cubicBezTo>
                      <a:cubicBezTo>
                        <a:pt x="220" y="18"/>
                        <a:pt x="183" y="43"/>
                        <a:pt x="171" y="55"/>
                      </a:cubicBezTo>
                      <a:cubicBezTo>
                        <a:pt x="159" y="67"/>
                        <a:pt x="134" y="92"/>
                        <a:pt x="138" y="100"/>
                      </a:cubicBezTo>
                      <a:cubicBezTo>
                        <a:pt x="142" y="108"/>
                        <a:pt x="238" y="122"/>
                        <a:pt x="180" y="181"/>
                      </a:cubicBezTo>
                      <a:cubicBezTo>
                        <a:pt x="122" y="239"/>
                        <a:pt x="110" y="141"/>
                        <a:pt x="100" y="139"/>
                      </a:cubicBezTo>
                      <a:cubicBezTo>
                        <a:pt x="89" y="137"/>
                        <a:pt x="67" y="159"/>
                        <a:pt x="55" y="171"/>
                      </a:cubicBezTo>
                      <a:cubicBezTo>
                        <a:pt x="42" y="184"/>
                        <a:pt x="18" y="220"/>
                        <a:pt x="18" y="220"/>
                      </a:cubicBezTo>
                      <a:cubicBezTo>
                        <a:pt x="18" y="220"/>
                        <a:pt x="55" y="245"/>
                        <a:pt x="67" y="257"/>
                      </a:cubicBezTo>
                      <a:cubicBezTo>
                        <a:pt x="79" y="269"/>
                        <a:pt x="102" y="292"/>
                        <a:pt x="100" y="302"/>
                      </a:cubicBezTo>
                      <a:cubicBezTo>
                        <a:pt x="98" y="312"/>
                        <a:pt x="0" y="325"/>
                        <a:pt x="58" y="383"/>
                      </a:cubicBezTo>
                      <a:cubicBezTo>
                        <a:pt x="116" y="441"/>
                        <a:pt x="130" y="345"/>
                        <a:pt x="138" y="341"/>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118" name="Freeform 14"/>
                <p:cNvSpPr>
                  <a:spLocks/>
                </p:cNvSpPr>
                <p:nvPr/>
              </p:nvSpPr>
              <p:spPr bwMode="auto">
                <a:xfrm rot="9900000">
                  <a:off x="2123129" y="293070"/>
                  <a:ext cx="1377948" cy="1377947"/>
                </a:xfrm>
                <a:custGeom>
                  <a:avLst/>
                  <a:gdLst>
                    <a:gd name="T0" fmla="*/ 422 w 422"/>
                    <a:gd name="T1" fmla="*/ 220 h 422"/>
                    <a:gd name="T2" fmla="*/ 386 w 422"/>
                    <a:gd name="T3" fmla="*/ 171 h 422"/>
                    <a:gd name="T4" fmla="*/ 341 w 422"/>
                    <a:gd name="T5" fmla="*/ 138 h 422"/>
                    <a:gd name="T6" fmla="*/ 260 w 422"/>
                    <a:gd name="T7" fmla="*/ 180 h 422"/>
                    <a:gd name="T8" fmla="*/ 302 w 422"/>
                    <a:gd name="T9" fmla="*/ 100 h 422"/>
                    <a:gd name="T10" fmla="*/ 269 w 422"/>
                    <a:gd name="T11" fmla="*/ 55 h 422"/>
                    <a:gd name="T12" fmla="*/ 220 w 422"/>
                    <a:gd name="T13" fmla="*/ 18 h 422"/>
                    <a:gd name="T14" fmla="*/ 183 w 422"/>
                    <a:gd name="T15" fmla="*/ 67 h 422"/>
                    <a:gd name="T16" fmla="*/ 138 w 422"/>
                    <a:gd name="T17" fmla="*/ 100 h 422"/>
                    <a:gd name="T18" fmla="*/ 58 w 422"/>
                    <a:gd name="T19" fmla="*/ 58 h 422"/>
                    <a:gd name="T20" fmla="*/ 100 w 422"/>
                    <a:gd name="T21" fmla="*/ 138 h 422"/>
                    <a:gd name="T22" fmla="*/ 67 w 422"/>
                    <a:gd name="T23" fmla="*/ 183 h 422"/>
                    <a:gd name="T24" fmla="*/ 18 w 422"/>
                    <a:gd name="T25" fmla="*/ 220 h 422"/>
                    <a:gd name="T26" fmla="*/ 55 w 422"/>
                    <a:gd name="T27" fmla="*/ 269 h 422"/>
                    <a:gd name="T28" fmla="*/ 100 w 422"/>
                    <a:gd name="T29" fmla="*/ 302 h 422"/>
                    <a:gd name="T30" fmla="*/ 180 w 422"/>
                    <a:gd name="T31" fmla="*/ 260 h 422"/>
                    <a:gd name="T32" fmla="*/ 138 w 422"/>
                    <a:gd name="T33" fmla="*/ 341 h 422"/>
                    <a:gd name="T34" fmla="*/ 171 w 422"/>
                    <a:gd name="T35" fmla="*/ 386 h 422"/>
                    <a:gd name="T36" fmla="*/ 220 w 422"/>
                    <a:gd name="T37" fmla="*/ 422 h 422"/>
                    <a:gd name="T38" fmla="*/ 422 w 422"/>
                    <a:gd name="T39" fmla="*/ 220 h 4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22" h="422">
                      <a:moveTo>
                        <a:pt x="422" y="220"/>
                      </a:moveTo>
                      <a:cubicBezTo>
                        <a:pt x="422" y="220"/>
                        <a:pt x="398" y="183"/>
                        <a:pt x="386" y="171"/>
                      </a:cubicBezTo>
                      <a:cubicBezTo>
                        <a:pt x="373" y="159"/>
                        <a:pt x="349" y="134"/>
                        <a:pt x="341" y="138"/>
                      </a:cubicBezTo>
                      <a:cubicBezTo>
                        <a:pt x="332" y="142"/>
                        <a:pt x="318" y="239"/>
                        <a:pt x="260" y="180"/>
                      </a:cubicBezTo>
                      <a:cubicBezTo>
                        <a:pt x="202" y="122"/>
                        <a:pt x="300" y="110"/>
                        <a:pt x="302" y="100"/>
                      </a:cubicBezTo>
                      <a:cubicBezTo>
                        <a:pt x="304" y="90"/>
                        <a:pt x="281" y="67"/>
                        <a:pt x="269" y="55"/>
                      </a:cubicBezTo>
                      <a:cubicBezTo>
                        <a:pt x="257" y="42"/>
                        <a:pt x="220" y="18"/>
                        <a:pt x="220" y="18"/>
                      </a:cubicBezTo>
                      <a:cubicBezTo>
                        <a:pt x="220" y="18"/>
                        <a:pt x="196" y="55"/>
                        <a:pt x="183" y="67"/>
                      </a:cubicBezTo>
                      <a:cubicBezTo>
                        <a:pt x="171" y="79"/>
                        <a:pt x="149" y="102"/>
                        <a:pt x="138" y="100"/>
                      </a:cubicBezTo>
                      <a:cubicBezTo>
                        <a:pt x="128" y="98"/>
                        <a:pt x="116" y="0"/>
                        <a:pt x="58" y="58"/>
                      </a:cubicBezTo>
                      <a:cubicBezTo>
                        <a:pt x="0" y="116"/>
                        <a:pt x="96" y="130"/>
                        <a:pt x="100" y="138"/>
                      </a:cubicBezTo>
                      <a:cubicBezTo>
                        <a:pt x="104" y="147"/>
                        <a:pt x="79" y="171"/>
                        <a:pt x="67" y="183"/>
                      </a:cubicBezTo>
                      <a:cubicBezTo>
                        <a:pt x="55" y="196"/>
                        <a:pt x="18" y="220"/>
                        <a:pt x="18" y="220"/>
                      </a:cubicBezTo>
                      <a:cubicBezTo>
                        <a:pt x="18" y="220"/>
                        <a:pt x="42" y="257"/>
                        <a:pt x="55" y="269"/>
                      </a:cubicBezTo>
                      <a:cubicBezTo>
                        <a:pt x="67" y="281"/>
                        <a:pt x="91" y="306"/>
                        <a:pt x="100" y="302"/>
                      </a:cubicBezTo>
                      <a:cubicBezTo>
                        <a:pt x="108" y="298"/>
                        <a:pt x="122" y="202"/>
                        <a:pt x="180" y="260"/>
                      </a:cubicBezTo>
                      <a:cubicBezTo>
                        <a:pt x="238" y="318"/>
                        <a:pt x="140" y="330"/>
                        <a:pt x="138" y="341"/>
                      </a:cubicBezTo>
                      <a:cubicBezTo>
                        <a:pt x="136" y="351"/>
                        <a:pt x="159" y="373"/>
                        <a:pt x="171" y="386"/>
                      </a:cubicBezTo>
                      <a:cubicBezTo>
                        <a:pt x="183" y="398"/>
                        <a:pt x="220" y="422"/>
                        <a:pt x="220" y="422"/>
                      </a:cubicBezTo>
                      <a:lnTo>
                        <a:pt x="422" y="22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grpSp>
        </p:grpSp>
        <p:sp>
          <p:nvSpPr>
            <p:cNvPr id="97" name="Rectangle 152"/>
            <p:cNvSpPr/>
            <p:nvPr/>
          </p:nvSpPr>
          <p:spPr bwMode="auto">
            <a:xfrm>
              <a:off x="669652" y="2738277"/>
              <a:ext cx="1805162" cy="37532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2C812"/>
                  </a:solidFill>
                  <a:effectLst/>
                  <a:uLnTx/>
                  <a:uFillTx/>
                  <a:latin typeface="Segoe UI"/>
                  <a:ea typeface="+mn-ea"/>
                  <a:cs typeface="Segoe UI Light" panose="020B0502040204020203" pitchFamily="34" charset="0"/>
                </a:rPr>
                <a:t>Keeping Data Current</a:t>
              </a:r>
            </a:p>
          </p:txBody>
        </p:sp>
        <p:grpSp>
          <p:nvGrpSpPr>
            <p:cNvPr id="98" name="Group 97"/>
            <p:cNvGrpSpPr/>
            <p:nvPr/>
          </p:nvGrpSpPr>
          <p:grpSpPr>
            <a:xfrm>
              <a:off x="199649" y="2692629"/>
              <a:ext cx="433844" cy="433844"/>
              <a:chOff x="342620" y="2228265"/>
              <a:chExt cx="433844" cy="433844"/>
            </a:xfrm>
            <a:solidFill>
              <a:schemeClr val="bg1"/>
            </a:solidFill>
          </p:grpSpPr>
          <p:sp>
            <p:nvSpPr>
              <p:cNvPr id="113" name="Oval 154"/>
              <p:cNvSpPr/>
              <p:nvPr/>
            </p:nvSpPr>
            <p:spPr bwMode="auto">
              <a:xfrm>
                <a:off x="342620" y="2228265"/>
                <a:ext cx="433844" cy="433844"/>
              </a:xfrm>
              <a:prstGeom prst="ellipse">
                <a:avLst/>
              </a:prstGeom>
              <a:solidFill>
                <a:srgbClr val="FFC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4" name="Freeform 30"/>
              <p:cNvSpPr>
                <a:spLocks noEditPoints="1"/>
              </p:cNvSpPr>
              <p:nvPr/>
            </p:nvSpPr>
            <p:spPr bwMode="auto">
              <a:xfrm>
                <a:off x="444786" y="2340040"/>
                <a:ext cx="238402" cy="210293"/>
              </a:xfrm>
              <a:custGeom>
                <a:avLst/>
                <a:gdLst>
                  <a:gd name="T0" fmla="*/ 883 w 916"/>
                  <a:gd name="T1" fmla="*/ 286 h 808"/>
                  <a:gd name="T2" fmla="*/ 539 w 916"/>
                  <a:gd name="T3" fmla="*/ 723 h 808"/>
                  <a:gd name="T4" fmla="*/ 504 w 916"/>
                  <a:gd name="T5" fmla="*/ 0 h 808"/>
                  <a:gd name="T6" fmla="*/ 35 w 916"/>
                  <a:gd name="T7" fmla="*/ 723 h 808"/>
                  <a:gd name="T8" fmla="*/ 0 w 916"/>
                  <a:gd name="T9" fmla="*/ 808 h 808"/>
                  <a:gd name="T10" fmla="*/ 916 w 916"/>
                  <a:gd name="T11" fmla="*/ 723 h 808"/>
                  <a:gd name="T12" fmla="*/ 229 w 916"/>
                  <a:gd name="T13" fmla="*/ 665 h 808"/>
                  <a:gd name="T14" fmla="*/ 109 w 916"/>
                  <a:gd name="T15" fmla="*/ 596 h 808"/>
                  <a:gd name="T16" fmla="*/ 229 w 916"/>
                  <a:gd name="T17" fmla="*/ 665 h 808"/>
                  <a:gd name="T18" fmla="*/ 109 w 916"/>
                  <a:gd name="T19" fmla="*/ 501 h 808"/>
                  <a:gd name="T20" fmla="*/ 229 w 916"/>
                  <a:gd name="T21" fmla="*/ 432 h 808"/>
                  <a:gd name="T22" fmla="*/ 229 w 916"/>
                  <a:gd name="T23" fmla="*/ 337 h 808"/>
                  <a:gd name="T24" fmla="*/ 109 w 916"/>
                  <a:gd name="T25" fmla="*/ 267 h 808"/>
                  <a:gd name="T26" fmla="*/ 229 w 916"/>
                  <a:gd name="T27" fmla="*/ 337 h 808"/>
                  <a:gd name="T28" fmla="*/ 109 w 916"/>
                  <a:gd name="T29" fmla="*/ 172 h 808"/>
                  <a:gd name="T30" fmla="*/ 229 w 916"/>
                  <a:gd name="T31" fmla="*/ 103 h 808"/>
                  <a:gd name="T32" fmla="*/ 428 w 916"/>
                  <a:gd name="T33" fmla="*/ 665 h 808"/>
                  <a:gd name="T34" fmla="*/ 307 w 916"/>
                  <a:gd name="T35" fmla="*/ 596 h 808"/>
                  <a:gd name="T36" fmla="*/ 428 w 916"/>
                  <a:gd name="T37" fmla="*/ 665 h 808"/>
                  <a:gd name="T38" fmla="*/ 307 w 916"/>
                  <a:gd name="T39" fmla="*/ 501 h 808"/>
                  <a:gd name="T40" fmla="*/ 428 w 916"/>
                  <a:gd name="T41" fmla="*/ 432 h 808"/>
                  <a:gd name="T42" fmla="*/ 428 w 916"/>
                  <a:gd name="T43" fmla="*/ 337 h 808"/>
                  <a:gd name="T44" fmla="*/ 307 w 916"/>
                  <a:gd name="T45" fmla="*/ 267 h 808"/>
                  <a:gd name="T46" fmla="*/ 428 w 916"/>
                  <a:gd name="T47" fmla="*/ 337 h 808"/>
                  <a:gd name="T48" fmla="*/ 307 w 916"/>
                  <a:gd name="T49" fmla="*/ 172 h 808"/>
                  <a:gd name="T50" fmla="*/ 428 w 916"/>
                  <a:gd name="T51" fmla="*/ 103 h 808"/>
                  <a:gd name="T52" fmla="*/ 684 w 916"/>
                  <a:gd name="T53" fmla="*/ 668 h 808"/>
                  <a:gd name="T54" fmla="*/ 606 w 916"/>
                  <a:gd name="T55" fmla="*/ 549 h 808"/>
                  <a:gd name="T56" fmla="*/ 684 w 916"/>
                  <a:gd name="T57" fmla="*/ 668 h 808"/>
                  <a:gd name="T58" fmla="*/ 606 w 916"/>
                  <a:gd name="T59" fmla="*/ 482 h 808"/>
                  <a:gd name="T60" fmla="*/ 684 w 916"/>
                  <a:gd name="T61" fmla="*/ 365 h 808"/>
                  <a:gd name="T62" fmla="*/ 816 w 916"/>
                  <a:gd name="T63" fmla="*/ 668 h 808"/>
                  <a:gd name="T64" fmla="*/ 738 w 916"/>
                  <a:gd name="T65" fmla="*/ 549 h 808"/>
                  <a:gd name="T66" fmla="*/ 816 w 916"/>
                  <a:gd name="T67" fmla="*/ 668 h 808"/>
                  <a:gd name="T68" fmla="*/ 738 w 916"/>
                  <a:gd name="T69" fmla="*/ 482 h 808"/>
                  <a:gd name="T70" fmla="*/ 816 w 916"/>
                  <a:gd name="T71" fmla="*/ 365 h 8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16" h="808">
                    <a:moveTo>
                      <a:pt x="883" y="723"/>
                    </a:moveTo>
                    <a:lnTo>
                      <a:pt x="883" y="286"/>
                    </a:lnTo>
                    <a:lnTo>
                      <a:pt x="539" y="286"/>
                    </a:lnTo>
                    <a:lnTo>
                      <a:pt x="539" y="723"/>
                    </a:lnTo>
                    <a:lnTo>
                      <a:pt x="504" y="723"/>
                    </a:lnTo>
                    <a:lnTo>
                      <a:pt x="504" y="0"/>
                    </a:lnTo>
                    <a:lnTo>
                      <a:pt x="35" y="0"/>
                    </a:lnTo>
                    <a:lnTo>
                      <a:pt x="35" y="723"/>
                    </a:lnTo>
                    <a:lnTo>
                      <a:pt x="0" y="723"/>
                    </a:lnTo>
                    <a:lnTo>
                      <a:pt x="0" y="808"/>
                    </a:lnTo>
                    <a:lnTo>
                      <a:pt x="916" y="808"/>
                    </a:lnTo>
                    <a:lnTo>
                      <a:pt x="916" y="723"/>
                    </a:lnTo>
                    <a:lnTo>
                      <a:pt x="883" y="723"/>
                    </a:lnTo>
                    <a:close/>
                    <a:moveTo>
                      <a:pt x="229" y="665"/>
                    </a:moveTo>
                    <a:lnTo>
                      <a:pt x="109" y="665"/>
                    </a:lnTo>
                    <a:lnTo>
                      <a:pt x="109" y="596"/>
                    </a:lnTo>
                    <a:lnTo>
                      <a:pt x="229" y="596"/>
                    </a:lnTo>
                    <a:lnTo>
                      <a:pt x="229" y="665"/>
                    </a:lnTo>
                    <a:close/>
                    <a:moveTo>
                      <a:pt x="229" y="501"/>
                    </a:moveTo>
                    <a:lnTo>
                      <a:pt x="109" y="501"/>
                    </a:lnTo>
                    <a:lnTo>
                      <a:pt x="109" y="432"/>
                    </a:lnTo>
                    <a:lnTo>
                      <a:pt x="229" y="432"/>
                    </a:lnTo>
                    <a:lnTo>
                      <a:pt x="229" y="501"/>
                    </a:lnTo>
                    <a:close/>
                    <a:moveTo>
                      <a:pt x="229" y="337"/>
                    </a:moveTo>
                    <a:lnTo>
                      <a:pt x="109" y="337"/>
                    </a:lnTo>
                    <a:lnTo>
                      <a:pt x="109" y="267"/>
                    </a:lnTo>
                    <a:lnTo>
                      <a:pt x="229" y="267"/>
                    </a:lnTo>
                    <a:lnTo>
                      <a:pt x="229" y="337"/>
                    </a:lnTo>
                    <a:close/>
                    <a:moveTo>
                      <a:pt x="229" y="172"/>
                    </a:moveTo>
                    <a:lnTo>
                      <a:pt x="109" y="172"/>
                    </a:lnTo>
                    <a:lnTo>
                      <a:pt x="109" y="103"/>
                    </a:lnTo>
                    <a:lnTo>
                      <a:pt x="229" y="103"/>
                    </a:lnTo>
                    <a:lnTo>
                      <a:pt x="229" y="172"/>
                    </a:lnTo>
                    <a:close/>
                    <a:moveTo>
                      <a:pt x="428" y="665"/>
                    </a:moveTo>
                    <a:lnTo>
                      <a:pt x="307" y="665"/>
                    </a:lnTo>
                    <a:lnTo>
                      <a:pt x="307" y="596"/>
                    </a:lnTo>
                    <a:lnTo>
                      <a:pt x="428" y="596"/>
                    </a:lnTo>
                    <a:lnTo>
                      <a:pt x="428" y="665"/>
                    </a:lnTo>
                    <a:close/>
                    <a:moveTo>
                      <a:pt x="428" y="501"/>
                    </a:moveTo>
                    <a:lnTo>
                      <a:pt x="307" y="501"/>
                    </a:lnTo>
                    <a:lnTo>
                      <a:pt x="307" y="432"/>
                    </a:lnTo>
                    <a:lnTo>
                      <a:pt x="428" y="432"/>
                    </a:lnTo>
                    <a:lnTo>
                      <a:pt x="428" y="501"/>
                    </a:lnTo>
                    <a:close/>
                    <a:moveTo>
                      <a:pt x="428" y="337"/>
                    </a:moveTo>
                    <a:lnTo>
                      <a:pt x="307" y="337"/>
                    </a:lnTo>
                    <a:lnTo>
                      <a:pt x="307" y="267"/>
                    </a:lnTo>
                    <a:lnTo>
                      <a:pt x="428" y="267"/>
                    </a:lnTo>
                    <a:lnTo>
                      <a:pt x="428" y="337"/>
                    </a:lnTo>
                    <a:close/>
                    <a:moveTo>
                      <a:pt x="428" y="172"/>
                    </a:moveTo>
                    <a:lnTo>
                      <a:pt x="307" y="172"/>
                    </a:lnTo>
                    <a:lnTo>
                      <a:pt x="307" y="103"/>
                    </a:lnTo>
                    <a:lnTo>
                      <a:pt x="428" y="103"/>
                    </a:lnTo>
                    <a:lnTo>
                      <a:pt x="428" y="172"/>
                    </a:lnTo>
                    <a:close/>
                    <a:moveTo>
                      <a:pt x="684" y="668"/>
                    </a:moveTo>
                    <a:lnTo>
                      <a:pt x="606" y="668"/>
                    </a:lnTo>
                    <a:lnTo>
                      <a:pt x="606" y="549"/>
                    </a:lnTo>
                    <a:lnTo>
                      <a:pt x="684" y="549"/>
                    </a:lnTo>
                    <a:lnTo>
                      <a:pt x="684" y="668"/>
                    </a:lnTo>
                    <a:close/>
                    <a:moveTo>
                      <a:pt x="684" y="482"/>
                    </a:moveTo>
                    <a:lnTo>
                      <a:pt x="606" y="482"/>
                    </a:lnTo>
                    <a:lnTo>
                      <a:pt x="606" y="365"/>
                    </a:lnTo>
                    <a:lnTo>
                      <a:pt x="684" y="365"/>
                    </a:lnTo>
                    <a:lnTo>
                      <a:pt x="684" y="482"/>
                    </a:lnTo>
                    <a:close/>
                    <a:moveTo>
                      <a:pt x="816" y="668"/>
                    </a:moveTo>
                    <a:lnTo>
                      <a:pt x="738" y="668"/>
                    </a:lnTo>
                    <a:lnTo>
                      <a:pt x="738" y="549"/>
                    </a:lnTo>
                    <a:lnTo>
                      <a:pt x="816" y="549"/>
                    </a:lnTo>
                    <a:lnTo>
                      <a:pt x="816" y="668"/>
                    </a:lnTo>
                    <a:close/>
                    <a:moveTo>
                      <a:pt x="816" y="482"/>
                    </a:moveTo>
                    <a:lnTo>
                      <a:pt x="738" y="482"/>
                    </a:lnTo>
                    <a:lnTo>
                      <a:pt x="738" y="365"/>
                    </a:lnTo>
                    <a:lnTo>
                      <a:pt x="816" y="365"/>
                    </a:lnTo>
                    <a:lnTo>
                      <a:pt x="816" y="482"/>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grpSp>
        <p:sp>
          <p:nvSpPr>
            <p:cNvPr id="99" name="TextBox 98"/>
            <p:cNvSpPr txBox="1"/>
            <p:nvPr/>
          </p:nvSpPr>
          <p:spPr>
            <a:xfrm>
              <a:off x="83345" y="113808"/>
              <a:ext cx="2532630" cy="627864"/>
            </a:xfrm>
            <a:prstGeom prst="rect">
              <a:avLst/>
            </a:prstGeom>
            <a:noFill/>
          </p:spPr>
          <p:txBody>
            <a:bodyPr wrap="square" lIns="182880" tIns="146304" rIns="182880" bIns="146304" rtlCol="0">
              <a:spAutoFit/>
            </a:bodyPr>
            <a:lstStyle>
              <a:defPPr>
                <a:defRPr lang="en-US"/>
              </a:defPPr>
              <a:lvl1pPr>
                <a:lnSpc>
                  <a:spcPct val="90000"/>
                </a:lnSpc>
                <a:spcAft>
                  <a:spcPts val="600"/>
                </a:spcAft>
                <a:defRPr sz="2800" b="1">
                  <a:solidFill>
                    <a:srgbClr val="F2C812"/>
                  </a:solidFill>
                  <a:latin typeface="Segoe UI Light"/>
                </a:defRPr>
              </a:lvl1p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400" b="1" i="0" u="none" strike="noStrike" kern="1200" cap="none" spc="0" normalizeH="0" baseline="0" noProof="0">
                  <a:ln>
                    <a:noFill/>
                  </a:ln>
                  <a:solidFill>
                    <a:srgbClr val="F2C812"/>
                  </a:solidFill>
                  <a:effectLst/>
                  <a:uLnTx/>
                  <a:uFillTx/>
                  <a:latin typeface="Segoe UI Light"/>
                  <a:ea typeface="+mn-ea"/>
                  <a:cs typeface="+mn-cs"/>
                </a:rPr>
                <a:t>Power BI Service</a:t>
              </a:r>
              <a:endParaRPr kumimoji="0" lang="en-US" sz="2800" b="1" i="0" u="none" strike="noStrike" kern="1200" cap="none" spc="0" normalizeH="0" baseline="0" noProof="0">
                <a:ln>
                  <a:noFill/>
                </a:ln>
                <a:solidFill>
                  <a:srgbClr val="F2C812"/>
                </a:solidFill>
                <a:effectLst/>
                <a:uLnTx/>
                <a:uFillTx/>
                <a:latin typeface="Segoe UI Light"/>
                <a:ea typeface="+mn-ea"/>
                <a:cs typeface="+mn-cs"/>
              </a:endParaRPr>
            </a:p>
          </p:txBody>
        </p:sp>
        <p:grpSp>
          <p:nvGrpSpPr>
            <p:cNvPr id="100" name="Group 99"/>
            <p:cNvGrpSpPr/>
            <p:nvPr/>
          </p:nvGrpSpPr>
          <p:grpSpPr>
            <a:xfrm>
              <a:off x="219373" y="3621383"/>
              <a:ext cx="433844" cy="645668"/>
              <a:chOff x="280990" y="3358164"/>
              <a:chExt cx="433844" cy="645668"/>
            </a:xfrm>
          </p:grpSpPr>
          <p:sp>
            <p:nvSpPr>
              <p:cNvPr id="106" name="Oval 1083"/>
              <p:cNvSpPr/>
              <p:nvPr/>
            </p:nvSpPr>
            <p:spPr bwMode="auto">
              <a:xfrm>
                <a:off x="280990" y="3358164"/>
                <a:ext cx="433844" cy="433847"/>
              </a:xfrm>
              <a:prstGeom prst="ellipse">
                <a:avLst/>
              </a:prstGeom>
              <a:solidFill>
                <a:srgbClr val="F2C812"/>
              </a:solidFill>
              <a:ln>
                <a:solidFill>
                  <a:srgbClr val="FFCC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07" name="Group 379"/>
              <p:cNvGrpSpPr/>
              <p:nvPr/>
            </p:nvGrpSpPr>
            <p:grpSpPr>
              <a:xfrm>
                <a:off x="453702" y="3910852"/>
                <a:ext cx="175660" cy="92980"/>
                <a:chOff x="3895793" y="7466656"/>
                <a:chExt cx="785810" cy="415941"/>
              </a:xfrm>
              <a:solidFill>
                <a:srgbClr val="00BCF2"/>
              </a:solidFill>
            </p:grpSpPr>
            <p:sp>
              <p:nvSpPr>
                <p:cNvPr id="108" name="Freeform 132"/>
                <p:cNvSpPr>
                  <a:spLocks/>
                </p:cNvSpPr>
                <p:nvPr/>
              </p:nvSpPr>
              <p:spPr bwMode="auto">
                <a:xfrm>
                  <a:off x="4125979" y="7688918"/>
                  <a:ext cx="0" cy="6353"/>
                </a:xfrm>
                <a:custGeom>
                  <a:avLst/>
                  <a:gdLst>
                    <a:gd name="T0" fmla="*/ 1 w 1"/>
                    <a:gd name="T1" fmla="*/ 0 h 8"/>
                    <a:gd name="T2" fmla="*/ 0 w 1"/>
                    <a:gd name="T3" fmla="*/ 0 h 8"/>
                    <a:gd name="T4" fmla="*/ 1 w 1"/>
                    <a:gd name="T5" fmla="*/ 8 h 8"/>
                    <a:gd name="T6" fmla="*/ 1 w 1"/>
                    <a:gd name="T7" fmla="*/ 0 h 8"/>
                  </a:gdLst>
                  <a:ahLst/>
                  <a:cxnLst>
                    <a:cxn ang="0">
                      <a:pos x="T0" y="T1"/>
                    </a:cxn>
                    <a:cxn ang="0">
                      <a:pos x="T2" y="T3"/>
                    </a:cxn>
                    <a:cxn ang="0">
                      <a:pos x="T4" y="T5"/>
                    </a:cxn>
                    <a:cxn ang="0">
                      <a:pos x="T6" y="T7"/>
                    </a:cxn>
                  </a:cxnLst>
                  <a:rect l="0" t="0" r="r" b="b"/>
                  <a:pathLst>
                    <a:path w="1" h="8">
                      <a:moveTo>
                        <a:pt x="1" y="0"/>
                      </a:moveTo>
                      <a:cubicBezTo>
                        <a:pt x="0" y="0"/>
                        <a:pt x="0" y="0"/>
                        <a:pt x="0" y="0"/>
                      </a:cubicBezTo>
                      <a:cubicBezTo>
                        <a:pt x="0" y="3"/>
                        <a:pt x="1" y="5"/>
                        <a:pt x="1" y="8"/>
                      </a:cubicBezTo>
                      <a:lnTo>
                        <a:pt x="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109" name="Freeform 133"/>
                <p:cNvSpPr>
                  <a:spLocks/>
                </p:cNvSpPr>
                <p:nvPr/>
              </p:nvSpPr>
              <p:spPr bwMode="auto">
                <a:xfrm>
                  <a:off x="3895793" y="7812745"/>
                  <a:ext cx="219078" cy="69852"/>
                </a:xfrm>
                <a:custGeom>
                  <a:avLst/>
                  <a:gdLst>
                    <a:gd name="T0" fmla="*/ 186 w 238"/>
                    <a:gd name="T1" fmla="*/ 9 h 76"/>
                    <a:gd name="T2" fmla="*/ 131 w 238"/>
                    <a:gd name="T3" fmla="*/ 22 h 76"/>
                    <a:gd name="T4" fmla="*/ 60 w 238"/>
                    <a:gd name="T5" fmla="*/ 0 h 76"/>
                    <a:gd name="T6" fmla="*/ 0 w 238"/>
                    <a:gd name="T7" fmla="*/ 42 h 76"/>
                    <a:gd name="T8" fmla="*/ 0 w 238"/>
                    <a:gd name="T9" fmla="*/ 76 h 76"/>
                    <a:gd name="T10" fmla="*/ 238 w 238"/>
                    <a:gd name="T11" fmla="*/ 76 h 76"/>
                    <a:gd name="T12" fmla="*/ 236 w 238"/>
                    <a:gd name="T13" fmla="*/ 53 h 76"/>
                    <a:gd name="T14" fmla="*/ 236 w 238"/>
                    <a:gd name="T15" fmla="*/ 49 h 76"/>
                    <a:gd name="T16" fmla="*/ 186 w 238"/>
                    <a:gd name="T17" fmla="*/ 9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8" h="76">
                      <a:moveTo>
                        <a:pt x="186" y="9"/>
                      </a:moveTo>
                      <a:cubicBezTo>
                        <a:pt x="169" y="18"/>
                        <a:pt x="150" y="22"/>
                        <a:pt x="131" y="22"/>
                      </a:cubicBezTo>
                      <a:cubicBezTo>
                        <a:pt x="105" y="22"/>
                        <a:pt x="80" y="14"/>
                        <a:pt x="60" y="0"/>
                      </a:cubicBezTo>
                      <a:cubicBezTo>
                        <a:pt x="0" y="42"/>
                        <a:pt x="0" y="42"/>
                        <a:pt x="0" y="42"/>
                      </a:cubicBezTo>
                      <a:cubicBezTo>
                        <a:pt x="0" y="76"/>
                        <a:pt x="0" y="76"/>
                        <a:pt x="0" y="76"/>
                      </a:cubicBezTo>
                      <a:cubicBezTo>
                        <a:pt x="238" y="76"/>
                        <a:pt x="238" y="76"/>
                        <a:pt x="238" y="76"/>
                      </a:cubicBezTo>
                      <a:cubicBezTo>
                        <a:pt x="237" y="68"/>
                        <a:pt x="236" y="61"/>
                        <a:pt x="236" y="53"/>
                      </a:cubicBezTo>
                      <a:cubicBezTo>
                        <a:pt x="236" y="51"/>
                        <a:pt x="236" y="50"/>
                        <a:pt x="236" y="49"/>
                      </a:cubicBezTo>
                      <a:lnTo>
                        <a:pt x="186" y="9"/>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110" name="Freeform 137"/>
                <p:cNvSpPr>
                  <a:spLocks/>
                </p:cNvSpPr>
                <p:nvPr/>
              </p:nvSpPr>
              <p:spPr bwMode="auto">
                <a:xfrm>
                  <a:off x="4338704" y="7809561"/>
                  <a:ext cx="65090" cy="73028"/>
                </a:xfrm>
                <a:custGeom>
                  <a:avLst/>
                  <a:gdLst>
                    <a:gd name="T0" fmla="*/ 71 w 71"/>
                    <a:gd name="T1" fmla="*/ 79 h 79"/>
                    <a:gd name="T2" fmla="*/ 71 w 71"/>
                    <a:gd name="T3" fmla="*/ 0 h 79"/>
                    <a:gd name="T4" fmla="*/ 2 w 71"/>
                    <a:gd name="T5" fmla="*/ 53 h 79"/>
                    <a:gd name="T6" fmla="*/ 2 w 71"/>
                    <a:gd name="T7" fmla="*/ 56 h 79"/>
                    <a:gd name="T8" fmla="*/ 0 w 71"/>
                    <a:gd name="T9" fmla="*/ 79 h 79"/>
                    <a:gd name="T10" fmla="*/ 71 w 71"/>
                    <a:gd name="T11" fmla="*/ 79 h 79"/>
                  </a:gdLst>
                  <a:ahLst/>
                  <a:cxnLst>
                    <a:cxn ang="0">
                      <a:pos x="T0" y="T1"/>
                    </a:cxn>
                    <a:cxn ang="0">
                      <a:pos x="T2" y="T3"/>
                    </a:cxn>
                    <a:cxn ang="0">
                      <a:pos x="T4" y="T5"/>
                    </a:cxn>
                    <a:cxn ang="0">
                      <a:pos x="T6" y="T7"/>
                    </a:cxn>
                    <a:cxn ang="0">
                      <a:pos x="T8" y="T9"/>
                    </a:cxn>
                    <a:cxn ang="0">
                      <a:pos x="T10" y="T11"/>
                    </a:cxn>
                  </a:cxnLst>
                  <a:rect l="0" t="0" r="r" b="b"/>
                  <a:pathLst>
                    <a:path w="71" h="79">
                      <a:moveTo>
                        <a:pt x="71" y="79"/>
                      </a:moveTo>
                      <a:cubicBezTo>
                        <a:pt x="71" y="0"/>
                        <a:pt x="71" y="0"/>
                        <a:pt x="71" y="0"/>
                      </a:cubicBezTo>
                      <a:cubicBezTo>
                        <a:pt x="2" y="53"/>
                        <a:pt x="2" y="53"/>
                        <a:pt x="2" y="53"/>
                      </a:cubicBezTo>
                      <a:cubicBezTo>
                        <a:pt x="2" y="54"/>
                        <a:pt x="2" y="55"/>
                        <a:pt x="2" y="56"/>
                      </a:cubicBezTo>
                      <a:cubicBezTo>
                        <a:pt x="2" y="64"/>
                        <a:pt x="1" y="71"/>
                        <a:pt x="0" y="79"/>
                      </a:cubicBezTo>
                      <a:lnTo>
                        <a:pt x="71" y="79"/>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111" name="Freeform 140"/>
                <p:cNvSpPr>
                  <a:spLocks/>
                </p:cNvSpPr>
                <p:nvPr/>
              </p:nvSpPr>
              <p:spPr bwMode="auto">
                <a:xfrm>
                  <a:off x="4600643" y="7622229"/>
                  <a:ext cx="80960" cy="38099"/>
                </a:xfrm>
                <a:custGeom>
                  <a:avLst/>
                  <a:gdLst>
                    <a:gd name="T0" fmla="*/ 0 w 51"/>
                    <a:gd name="T1" fmla="*/ 24 h 24"/>
                    <a:gd name="T2" fmla="*/ 51 w 51"/>
                    <a:gd name="T3" fmla="*/ 24 h 24"/>
                    <a:gd name="T4" fmla="*/ 32 w 51"/>
                    <a:gd name="T5" fmla="*/ 0 h 24"/>
                    <a:gd name="T6" fmla="*/ 0 w 51"/>
                    <a:gd name="T7" fmla="*/ 24 h 24"/>
                  </a:gdLst>
                  <a:ahLst/>
                  <a:cxnLst>
                    <a:cxn ang="0">
                      <a:pos x="T0" y="T1"/>
                    </a:cxn>
                    <a:cxn ang="0">
                      <a:pos x="T2" y="T3"/>
                    </a:cxn>
                    <a:cxn ang="0">
                      <a:pos x="T4" y="T5"/>
                    </a:cxn>
                    <a:cxn ang="0">
                      <a:pos x="T6" y="T7"/>
                    </a:cxn>
                  </a:cxnLst>
                  <a:rect l="0" t="0" r="r" b="b"/>
                  <a:pathLst>
                    <a:path w="51" h="24">
                      <a:moveTo>
                        <a:pt x="0" y="24"/>
                      </a:moveTo>
                      <a:lnTo>
                        <a:pt x="51" y="24"/>
                      </a:lnTo>
                      <a:lnTo>
                        <a:pt x="32" y="0"/>
                      </a:lnTo>
                      <a:lnTo>
                        <a:pt x="0" y="24"/>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112" name="Freeform 141"/>
                <p:cNvSpPr>
                  <a:spLocks/>
                </p:cNvSpPr>
                <p:nvPr/>
              </p:nvSpPr>
              <p:spPr bwMode="auto">
                <a:xfrm>
                  <a:off x="4449825" y="7466656"/>
                  <a:ext cx="119065" cy="139703"/>
                </a:xfrm>
                <a:custGeom>
                  <a:avLst/>
                  <a:gdLst>
                    <a:gd name="T0" fmla="*/ 52 w 75"/>
                    <a:gd name="T1" fmla="*/ 0 h 88"/>
                    <a:gd name="T2" fmla="*/ 0 w 75"/>
                    <a:gd name="T3" fmla="*/ 0 h 88"/>
                    <a:gd name="T4" fmla="*/ 0 w 75"/>
                    <a:gd name="T5" fmla="*/ 88 h 88"/>
                    <a:gd name="T6" fmla="*/ 75 w 75"/>
                    <a:gd name="T7" fmla="*/ 30 h 88"/>
                    <a:gd name="T8" fmla="*/ 52 w 75"/>
                    <a:gd name="T9" fmla="*/ 0 h 88"/>
                  </a:gdLst>
                  <a:ahLst/>
                  <a:cxnLst>
                    <a:cxn ang="0">
                      <a:pos x="T0" y="T1"/>
                    </a:cxn>
                    <a:cxn ang="0">
                      <a:pos x="T2" y="T3"/>
                    </a:cxn>
                    <a:cxn ang="0">
                      <a:pos x="T4" y="T5"/>
                    </a:cxn>
                    <a:cxn ang="0">
                      <a:pos x="T6" y="T7"/>
                    </a:cxn>
                    <a:cxn ang="0">
                      <a:pos x="T8" y="T9"/>
                    </a:cxn>
                  </a:cxnLst>
                  <a:rect l="0" t="0" r="r" b="b"/>
                  <a:pathLst>
                    <a:path w="75" h="88">
                      <a:moveTo>
                        <a:pt x="52" y="0"/>
                      </a:moveTo>
                      <a:lnTo>
                        <a:pt x="0" y="0"/>
                      </a:lnTo>
                      <a:lnTo>
                        <a:pt x="0" y="88"/>
                      </a:lnTo>
                      <a:lnTo>
                        <a:pt x="75" y="30"/>
                      </a:lnTo>
                      <a:lnTo>
                        <a:pt x="52"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grpSp>
        </p:grpSp>
        <p:sp>
          <p:nvSpPr>
            <p:cNvPr id="101" name="Rectangle 152"/>
            <p:cNvSpPr/>
            <p:nvPr/>
          </p:nvSpPr>
          <p:spPr bwMode="auto">
            <a:xfrm>
              <a:off x="712458" y="3628917"/>
              <a:ext cx="1805162" cy="37532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2C812"/>
                  </a:solidFill>
                  <a:effectLst/>
                  <a:uLnTx/>
                  <a:uFillTx/>
                  <a:latin typeface="Segoe UI"/>
                  <a:ea typeface="+mn-ea"/>
                  <a:cs typeface="Segoe UI Light" panose="020B0502040204020203" pitchFamily="34" charset="0"/>
                </a:rPr>
                <a:t>Q&amp;A and </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2C812"/>
                  </a:solidFill>
                  <a:effectLst/>
                  <a:uLnTx/>
                  <a:uFillTx/>
                  <a:latin typeface="Segoe UI"/>
                  <a:ea typeface="+mn-ea"/>
                  <a:cs typeface="Segoe UI Light" panose="020B0502040204020203" pitchFamily="34" charset="0"/>
                </a:rPr>
                <a:t>Quick Insights</a:t>
              </a:r>
              <a:endParaRPr kumimoji="0" lang="en-US" sz="1200" b="1" i="0" u="none" strike="noStrike" kern="1200" cap="none" spc="0" normalizeH="0" baseline="0" noProof="0">
                <a:ln>
                  <a:noFill/>
                </a:ln>
                <a:solidFill>
                  <a:srgbClr val="F2C812"/>
                </a:solidFill>
                <a:effectLst/>
                <a:uLnTx/>
                <a:uFillTx/>
                <a:latin typeface="Segoe UI"/>
                <a:ea typeface="+mn-ea"/>
                <a:cs typeface="Segoe UI Light" panose="020B0502040204020203" pitchFamily="34" charset="0"/>
              </a:endParaRPr>
            </a:p>
          </p:txBody>
        </p:sp>
        <p:sp>
          <p:nvSpPr>
            <p:cNvPr id="102" name="Oval 162"/>
            <p:cNvSpPr/>
            <p:nvPr/>
          </p:nvSpPr>
          <p:spPr bwMode="auto">
            <a:xfrm>
              <a:off x="226619" y="4551712"/>
              <a:ext cx="433844" cy="433844"/>
            </a:xfrm>
            <a:prstGeom prst="ellipse">
              <a:avLst/>
            </a:prstGeom>
            <a:solidFill>
              <a:srgbClr val="F2C812"/>
            </a:solidFill>
            <a:ln>
              <a:solidFill>
                <a:srgbClr val="FFCC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3" name="Rectangle 152"/>
            <p:cNvSpPr/>
            <p:nvPr/>
          </p:nvSpPr>
          <p:spPr bwMode="auto">
            <a:xfrm>
              <a:off x="738443" y="4596194"/>
              <a:ext cx="1884825" cy="30233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2C812"/>
                  </a:solidFill>
                  <a:effectLst/>
                  <a:uLnTx/>
                  <a:uFillTx/>
                  <a:latin typeface="Segoe UI"/>
                  <a:ea typeface="+mn-ea"/>
                  <a:cs typeface="Segoe UI Light" panose="020B0502040204020203" pitchFamily="34" charset="0"/>
                </a:rPr>
                <a:t>Sharing</a:t>
              </a:r>
              <a:endParaRPr kumimoji="0" lang="en-US" sz="1200" b="1" i="1" u="none" strike="noStrike" kern="1200" cap="none" spc="0" normalizeH="0" baseline="0" noProof="0">
                <a:ln>
                  <a:noFill/>
                </a:ln>
                <a:solidFill>
                  <a:srgbClr val="F2C812"/>
                </a:solidFill>
                <a:effectLst/>
                <a:uLnTx/>
                <a:uFillTx/>
                <a:latin typeface="Segoe UI"/>
                <a:ea typeface="+mn-ea"/>
                <a:cs typeface="Segoe UI Light" panose="020B0502040204020203" pitchFamily="34" charset="0"/>
              </a:endParaRPr>
            </a:p>
          </p:txBody>
        </p:sp>
        <p:sp>
          <p:nvSpPr>
            <p:cNvPr id="104" name="Rectangle 145"/>
            <p:cNvSpPr/>
            <p:nvPr/>
          </p:nvSpPr>
          <p:spPr bwMode="auto">
            <a:xfrm>
              <a:off x="697198" y="1847637"/>
              <a:ext cx="1821468" cy="3831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2C812"/>
                  </a:solidFill>
                  <a:effectLst/>
                  <a:uLnTx/>
                  <a:uFillTx/>
                  <a:latin typeface="Segoe UI"/>
                  <a:ea typeface="+mn-ea"/>
                  <a:cs typeface="Segoe UI Light" panose="020B0502040204020203" pitchFamily="34" charset="0"/>
                </a:rPr>
                <a:t>Pinning and Navigation</a:t>
              </a:r>
            </a:p>
          </p:txBody>
        </p:sp>
        <p:sp>
          <p:nvSpPr>
            <p:cNvPr id="105" name="Oval 162"/>
            <p:cNvSpPr/>
            <p:nvPr/>
          </p:nvSpPr>
          <p:spPr bwMode="auto">
            <a:xfrm>
              <a:off x="224136" y="1813606"/>
              <a:ext cx="433844" cy="433844"/>
            </a:xfrm>
            <a:prstGeom prst="ellipse">
              <a:avLst/>
            </a:prstGeom>
            <a:solidFill>
              <a:srgbClr val="FFCC00"/>
            </a:solidFill>
            <a:ln>
              <a:solidFill>
                <a:srgbClr val="F2C81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pic>
        <p:nvPicPr>
          <p:cNvPr id="119" name="Picture 118"/>
          <p:cNvPicPr>
            <a:picLocks noChangeAspect="1"/>
          </p:cNvPicPr>
          <p:nvPr/>
        </p:nvPicPr>
        <p:blipFill rotWithShape="1">
          <a:blip r:embed="rId3"/>
          <a:srcRect l="6503" t="21287" r="74698" b="20220"/>
          <a:stretch/>
        </p:blipFill>
        <p:spPr>
          <a:xfrm>
            <a:off x="339111" y="1946110"/>
            <a:ext cx="228600" cy="231962"/>
          </a:xfrm>
          <a:prstGeom prst="rect">
            <a:avLst/>
          </a:prstGeom>
        </p:spPr>
      </p:pic>
      <p:pic>
        <p:nvPicPr>
          <p:cNvPr id="120" name="Picture 119"/>
          <p:cNvPicPr>
            <a:picLocks noChangeAspect="1"/>
          </p:cNvPicPr>
          <p:nvPr/>
        </p:nvPicPr>
        <p:blipFill>
          <a:blip r:embed="rId4"/>
          <a:stretch>
            <a:fillRect/>
          </a:stretch>
        </p:blipFill>
        <p:spPr>
          <a:xfrm>
            <a:off x="284769" y="3673076"/>
            <a:ext cx="311766" cy="303106"/>
          </a:xfrm>
          <a:prstGeom prst="rect">
            <a:avLst/>
          </a:prstGeom>
        </p:spPr>
      </p:pic>
      <p:sp>
        <p:nvSpPr>
          <p:cNvPr id="121" name="Rectangle 145"/>
          <p:cNvSpPr/>
          <p:nvPr/>
        </p:nvSpPr>
        <p:spPr bwMode="auto">
          <a:xfrm>
            <a:off x="718897" y="5436715"/>
            <a:ext cx="1821468" cy="3831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2C812"/>
                </a:solidFill>
                <a:effectLst/>
                <a:uLnTx/>
                <a:uFillTx/>
                <a:latin typeface="Segoe UI"/>
                <a:ea typeface="+mn-ea"/>
                <a:cs typeface="Segoe UI Light" panose="020B0502040204020203" pitchFamily="34" charset="0"/>
              </a:rPr>
              <a:t>Connect from Excel</a:t>
            </a:r>
          </a:p>
        </p:txBody>
      </p:sp>
      <p:sp>
        <p:nvSpPr>
          <p:cNvPr id="122" name="Oval 162"/>
          <p:cNvSpPr/>
          <p:nvPr/>
        </p:nvSpPr>
        <p:spPr bwMode="auto">
          <a:xfrm>
            <a:off x="231441" y="5429649"/>
            <a:ext cx="433844" cy="433844"/>
          </a:xfrm>
          <a:prstGeom prst="ellipse">
            <a:avLst/>
          </a:prstGeom>
          <a:solidFill>
            <a:srgbClr val="FFCC00"/>
          </a:solidFill>
          <a:ln>
            <a:solidFill>
              <a:srgbClr val="F2C81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23" name="Picture 122"/>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flipH="1">
            <a:off x="283763" y="4596680"/>
            <a:ext cx="357484" cy="357484"/>
          </a:xfrm>
          <a:prstGeom prst="rect">
            <a:avLst/>
          </a:prstGeom>
        </p:spPr>
      </p:pic>
      <p:sp>
        <p:nvSpPr>
          <p:cNvPr id="124" name="Oval 162"/>
          <p:cNvSpPr/>
          <p:nvPr/>
        </p:nvSpPr>
        <p:spPr bwMode="auto">
          <a:xfrm>
            <a:off x="233032" y="6267344"/>
            <a:ext cx="433844" cy="433844"/>
          </a:xfrm>
          <a:prstGeom prst="ellipse">
            <a:avLst/>
          </a:prstGeom>
          <a:solidFill>
            <a:srgbClr val="FFCC00"/>
          </a:solidFill>
          <a:ln>
            <a:solidFill>
              <a:srgbClr val="F2C81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5" name="Rectangle 145"/>
          <p:cNvSpPr/>
          <p:nvPr/>
        </p:nvSpPr>
        <p:spPr bwMode="auto">
          <a:xfrm>
            <a:off x="701416" y="6289969"/>
            <a:ext cx="1821468" cy="3831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2C812"/>
                </a:solidFill>
                <a:effectLst/>
                <a:uLnTx/>
                <a:uFillTx/>
                <a:latin typeface="Segoe UI"/>
                <a:ea typeface="+mn-ea"/>
                <a:cs typeface="Segoe UI Light" panose="020B0502040204020203" pitchFamily="34" charset="0"/>
              </a:rPr>
              <a:t>Mobile Reports</a:t>
            </a:r>
          </a:p>
        </p:txBody>
      </p:sp>
      <p:pic>
        <p:nvPicPr>
          <p:cNvPr id="126" name="Picture 125"/>
          <p:cNvPicPr>
            <a:picLocks noChangeAspect="1"/>
          </p:cNvPicPr>
          <p:nvPr/>
        </p:nvPicPr>
        <p:blipFill>
          <a:blip r:embed="rId6" cstate="print">
            <a:extLst>
              <a:ext uri="{BEBA8EAE-BF5A-486C-A8C5-ECC9F3942E4B}">
                <a14:imgProps xmlns:a14="http://schemas.microsoft.com/office/drawing/2010/main">
                  <a14:imgLayer r:embed="rId7">
                    <a14:imgEffect>
                      <a14:saturation sat="0"/>
                    </a14:imgEffect>
                  </a14:imgLayer>
                </a14:imgProps>
              </a:ext>
              <a:ext uri="{28A0092B-C50C-407E-A947-70E740481C1C}">
                <a14:useLocalDpi xmlns:a14="http://schemas.microsoft.com/office/drawing/2010/main" val="0"/>
              </a:ext>
            </a:extLst>
          </a:blip>
          <a:stretch>
            <a:fillRect/>
          </a:stretch>
        </p:blipFill>
        <p:spPr>
          <a:xfrm>
            <a:off x="391946" y="6350039"/>
            <a:ext cx="133350" cy="251587"/>
          </a:xfrm>
          <a:prstGeom prst="rect">
            <a:avLst/>
          </a:prstGeom>
        </p:spPr>
      </p:pic>
      <p:pic>
        <p:nvPicPr>
          <p:cNvPr id="127" name="Picture 126"/>
          <p:cNvPicPr>
            <a:picLocks noChangeAspect="1"/>
          </p:cNvPicPr>
          <p:nvPr/>
        </p:nvPicPr>
        <p:blipFill>
          <a:blip r:embed="rId8" cstate="print">
            <a:biLevel thresh="50000"/>
            <a:extLst>
              <a:ext uri="{28A0092B-C50C-407E-A947-70E740481C1C}">
                <a14:useLocalDpi xmlns:a14="http://schemas.microsoft.com/office/drawing/2010/main" val="0"/>
              </a:ext>
            </a:extLst>
          </a:blip>
          <a:stretch>
            <a:fillRect/>
          </a:stretch>
        </p:blipFill>
        <p:spPr>
          <a:xfrm>
            <a:off x="332658" y="5538489"/>
            <a:ext cx="268940" cy="268940"/>
          </a:xfrm>
          <a:prstGeom prst="rect">
            <a:avLst/>
          </a:prstGeom>
        </p:spPr>
      </p:pic>
      <p:sp>
        <p:nvSpPr>
          <p:cNvPr id="128" name="Rectangle 127"/>
          <p:cNvSpPr/>
          <p:nvPr/>
        </p:nvSpPr>
        <p:spPr bwMode="auto">
          <a:xfrm>
            <a:off x="35912" y="2594112"/>
            <a:ext cx="2464420" cy="4194313"/>
          </a:xfrm>
          <a:prstGeom prst="rect">
            <a:avLst/>
          </a:prstGeom>
          <a:solidFill>
            <a:srgbClr val="000000">
              <a:alpha val="6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9" name="Rectangle 128"/>
          <p:cNvSpPr/>
          <p:nvPr/>
        </p:nvSpPr>
        <p:spPr bwMode="auto">
          <a:xfrm>
            <a:off x="95936" y="731576"/>
            <a:ext cx="2464420" cy="880187"/>
          </a:xfrm>
          <a:prstGeom prst="rect">
            <a:avLst/>
          </a:prstGeom>
          <a:solidFill>
            <a:srgbClr val="000000">
              <a:alpha val="6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2" name="Picture 1"/>
          <p:cNvPicPr>
            <a:picLocks noChangeAspect="1"/>
          </p:cNvPicPr>
          <p:nvPr/>
        </p:nvPicPr>
        <p:blipFill rotWithShape="1">
          <a:blip r:embed="rId9"/>
          <a:srcRect l="67657"/>
          <a:stretch/>
        </p:blipFill>
        <p:spPr>
          <a:xfrm>
            <a:off x="8858019" y="203393"/>
            <a:ext cx="3169689" cy="4782649"/>
          </a:xfrm>
          <a:prstGeom prst="rect">
            <a:avLst/>
          </a:prstGeom>
        </p:spPr>
      </p:pic>
      <p:sp>
        <p:nvSpPr>
          <p:cNvPr id="4" name="Rectangle 3"/>
          <p:cNvSpPr/>
          <p:nvPr/>
        </p:nvSpPr>
        <p:spPr bwMode="auto">
          <a:xfrm>
            <a:off x="10442863" y="209829"/>
            <a:ext cx="706582" cy="263074"/>
          </a:xfrm>
          <a:prstGeom prst="rect">
            <a:avLst/>
          </a:prstGeom>
          <a:noFill/>
          <a:ln w="38100">
            <a:solidFill>
              <a:srgbClr val="FF00F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6" name="Picture 5"/>
          <p:cNvPicPr>
            <a:picLocks noChangeAspect="1"/>
          </p:cNvPicPr>
          <p:nvPr/>
        </p:nvPicPr>
        <p:blipFill>
          <a:blip r:embed="rId10"/>
          <a:stretch>
            <a:fillRect/>
          </a:stretch>
        </p:blipFill>
        <p:spPr>
          <a:xfrm>
            <a:off x="3313216" y="4359895"/>
            <a:ext cx="6212521" cy="2427068"/>
          </a:xfrm>
          <a:prstGeom prst="rect">
            <a:avLst/>
          </a:prstGeom>
        </p:spPr>
      </p:pic>
      <p:sp>
        <p:nvSpPr>
          <p:cNvPr id="60" name="Rectangle 59"/>
          <p:cNvSpPr/>
          <p:nvPr/>
        </p:nvSpPr>
        <p:spPr bwMode="auto">
          <a:xfrm>
            <a:off x="3313216" y="4960224"/>
            <a:ext cx="924790" cy="281761"/>
          </a:xfrm>
          <a:prstGeom prst="rect">
            <a:avLst/>
          </a:prstGeom>
          <a:noFill/>
          <a:ln w="38100">
            <a:solidFill>
              <a:srgbClr val="FF00F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21637510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 name="Text Placeholder 2"/>
          <p:cNvSpPr txBox="1">
            <a:spLocks/>
          </p:cNvSpPr>
          <p:nvPr/>
        </p:nvSpPr>
        <p:spPr>
          <a:xfrm>
            <a:off x="2846171" y="1340643"/>
            <a:ext cx="5880498" cy="2420792"/>
          </a:xfrm>
          <a:prstGeom prst="rect">
            <a:avLst/>
          </a:prstGeom>
        </p:spPr>
        <p:txBody>
          <a:bodyPr vert="horz" wrap="square" lIns="182880" tIns="146304" rIns="182880" bIns="146304" rtlCol="0">
            <a:noAutofit/>
          </a:bodyPr>
          <a:lstStyle>
            <a:lvl1pPr marL="182845" marR="0"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3921" kern="1200" spc="0" baseline="0">
                <a:gradFill>
                  <a:gsLst>
                    <a:gs pos="1250">
                      <a:schemeClr val="tx2"/>
                    </a:gs>
                    <a:gs pos="99000">
                      <a:schemeClr val="tx2"/>
                    </a:gs>
                  </a:gsLst>
                  <a:lin ang="5400000" scaled="0"/>
                </a:gradFill>
                <a:latin typeface="+mj-lt"/>
                <a:ea typeface="+mn-ea"/>
                <a:cs typeface="+mn-cs"/>
              </a:defRPr>
            </a:lvl1pPr>
            <a:lvl2pPr marL="365690" marR="0"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2400" kern="1200" spc="0" baseline="0">
                <a:solidFill>
                  <a:schemeClr val="tx2"/>
                </a:solidFill>
                <a:latin typeface="+mj-lt"/>
                <a:ea typeface="+mn-ea"/>
                <a:cs typeface="+mn-cs"/>
              </a:defRPr>
            </a:lvl2pPr>
            <a:lvl3pPr marL="548535" marR="0"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2000" kern="1200" spc="0" baseline="0">
                <a:solidFill>
                  <a:schemeClr val="tx2"/>
                </a:solidFill>
                <a:latin typeface="+mj-lt"/>
                <a:ea typeface="+mn-ea"/>
                <a:cs typeface="+mn-cs"/>
              </a:defRPr>
            </a:lvl3pPr>
            <a:lvl4pPr marL="733802" marR="0" indent="-28569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1765" kern="1200" spc="0" baseline="0">
                <a:solidFill>
                  <a:schemeClr val="tx2"/>
                </a:solidFill>
                <a:latin typeface="+mn-lt"/>
                <a:ea typeface="+mn-ea"/>
                <a:cs typeface="+mn-cs"/>
              </a:defRPr>
            </a:lvl4pPr>
            <a:lvl5pPr marL="957856" marR="0" indent="-28569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1765" kern="1200" spc="0" baseline="0">
                <a:solidFill>
                  <a:schemeClr val="tx2"/>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r>
              <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rPr>
              <a:t>Create a </a:t>
            </a:r>
            <a:r>
              <a:rPr kumimoji="0" lang="en-US" sz="2000" b="1"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rPr>
              <a:t>customized view </a:t>
            </a:r>
            <a:r>
              <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rPr>
              <a:t>of any dashboard that you own specifically </a:t>
            </a:r>
            <a:r>
              <a:rPr kumimoji="0" lang="en-US" sz="2000" b="1"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rPr>
              <a:t>for phones</a:t>
            </a: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1"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r>
              <a:rPr kumimoji="0" lang="en-US" sz="2000" b="1"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rPr>
              <a:t>Drag, resize, pin/unpin </a:t>
            </a:r>
            <a:r>
              <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rPr>
              <a:t>tiles to the phone view</a:t>
            </a:r>
            <a:endParaRPr kumimoji="0" lang="en-US" sz="2000" b="1"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1"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a:p>
            <a:pPr marL="182845" marR="0" lvl="1" indent="0" algn="l" defTabSz="914367" rtl="0" eaLnBrk="1" fontAlgn="auto" latinLnBrk="0" hangingPunct="1">
              <a:lnSpc>
                <a:spcPct val="90000"/>
              </a:lnSpc>
              <a:spcBef>
                <a:spcPct val="20000"/>
              </a:spcBef>
              <a:spcAft>
                <a:spcPts val="0"/>
              </a:spcAft>
              <a:buClrTx/>
              <a:buSzPct val="90000"/>
              <a:buFont typeface="Arial" panose="020B0604020202020204" pitchFamily="34" charset="0"/>
              <a:buNone/>
              <a:tabLst/>
              <a:defRPr/>
            </a:pPr>
            <a:endPar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1"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1"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p:txBody>
      </p:sp>
      <p:sp>
        <p:nvSpPr>
          <p:cNvPr id="53" name="Title 10"/>
          <p:cNvSpPr txBox="1">
            <a:spLocks/>
          </p:cNvSpPr>
          <p:nvPr/>
        </p:nvSpPr>
        <p:spPr>
          <a:xfrm>
            <a:off x="2849060" y="0"/>
            <a:ext cx="9342940" cy="665151"/>
          </a:xfrm>
          <a:prstGeom prst="rect">
            <a:avLst/>
          </a:prstGeom>
          <a:noFill/>
        </p:spPr>
        <p:txBody>
          <a:bodyPr vert="horz" wrap="square" lIns="0" tIns="91440" rIns="0" bIns="91440" rtlCol="0" anchor="t">
            <a:noAutofit/>
          </a:bodyPr>
          <a:lstStyle>
            <a:lvl1pPr defTabSz="914367">
              <a:lnSpc>
                <a:spcPct val="90000"/>
              </a:lnSpc>
              <a:spcBef>
                <a:spcPct val="0"/>
              </a:spcBef>
              <a:buNone/>
              <a:defRPr lang="en-US" sz="5294" b="0" cap="none" spc="-100" baseline="0" dirty="0" smtClean="0">
                <a:ln w="3175">
                  <a:noFill/>
                </a:ln>
                <a:solidFill>
                  <a:schemeClr val="tx2"/>
                </a:solidFill>
                <a:effectLst/>
                <a:latin typeface="+mj-lt"/>
                <a:cs typeface="Segoe UI" pitchFamily="34" charset="0"/>
              </a:defRPr>
            </a:lvl1pPr>
          </a:lstStyle>
          <a:p>
            <a:pPr marL="168275" marR="0" lvl="0" indent="0" algn="l" defTabSz="914367" rtl="0" eaLnBrk="1" fontAlgn="auto" latinLnBrk="0" hangingPunct="1">
              <a:lnSpc>
                <a:spcPct val="90000"/>
              </a:lnSpc>
              <a:spcBef>
                <a:spcPct val="0"/>
              </a:spcBef>
              <a:spcAft>
                <a:spcPts val="0"/>
              </a:spcAft>
              <a:buClrTx/>
              <a:buSzTx/>
              <a:buFontTx/>
              <a:buNone/>
              <a:tabLst/>
              <a:defRPr/>
            </a:pPr>
            <a:r>
              <a:rPr kumimoji="0" lang="en-US" sz="3600" b="0" i="0" u="none" strike="noStrike" kern="1200" cap="none" spc="-100" normalizeH="0" baseline="0" noProof="0">
                <a:ln w="3175">
                  <a:noFill/>
                </a:ln>
                <a:solidFill>
                  <a:prstClr val="black"/>
                </a:solidFill>
                <a:effectLst/>
                <a:uLnTx/>
                <a:uFillTx/>
                <a:latin typeface="Segoe UI Light"/>
                <a:ea typeface="+mn-ea"/>
                <a:cs typeface="Segoe UI" pitchFamily="34" charset="0"/>
              </a:rPr>
              <a:t>Pinning and Navigation</a:t>
            </a:r>
            <a:endParaRPr kumimoji="0" lang="en-IN" sz="3600" b="0" i="0" u="none" strike="noStrike" kern="1200" cap="none" spc="-100" normalizeH="0" baseline="0" noProof="0">
              <a:ln w="3175">
                <a:noFill/>
              </a:ln>
              <a:solidFill>
                <a:prstClr val="black"/>
              </a:solidFill>
              <a:effectLst/>
              <a:uLnTx/>
              <a:uFillTx/>
              <a:latin typeface="Segoe UI Light"/>
              <a:ea typeface="+mn-ea"/>
              <a:cs typeface="Segoe UI" pitchFamily="34" charset="0"/>
            </a:endParaRPr>
          </a:p>
        </p:txBody>
      </p:sp>
      <p:sp>
        <p:nvSpPr>
          <p:cNvPr id="41" name="Rectangle 3"/>
          <p:cNvSpPr/>
          <p:nvPr/>
        </p:nvSpPr>
        <p:spPr bwMode="auto">
          <a:xfrm>
            <a:off x="3202216" y="665151"/>
            <a:ext cx="8105312" cy="44435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PT" sz="2000" b="0" i="1" u="none" strike="noStrike" kern="1200" cap="none" spc="0" normalizeH="0" baseline="0" noProof="0">
                <a:ln>
                  <a:noFill/>
                </a:ln>
                <a:solidFill>
                  <a:prstClr val="black"/>
                </a:solidFill>
                <a:effectLst/>
                <a:uLnTx/>
                <a:uFillTx/>
                <a:latin typeface="Segoe UI Light"/>
                <a:ea typeface="+mn-ea"/>
                <a:cs typeface="+mn-cs"/>
              </a:rPr>
              <a:t>Dashboard – Phone View</a:t>
            </a:r>
            <a:endParaRPr kumimoji="0" lang="en-US" sz="2000" b="0" i="1" u="none" strike="noStrike" kern="1200" cap="none" spc="0" normalizeH="0" baseline="0" noProof="0">
              <a:ln>
                <a:noFill/>
              </a:ln>
              <a:solidFill>
                <a:prstClr val="black"/>
              </a:solidFill>
              <a:effectLst/>
              <a:uLnTx/>
              <a:uFillTx/>
              <a:latin typeface="Segoe UI Light"/>
              <a:ea typeface="+mn-ea"/>
              <a:cs typeface="+mn-cs"/>
            </a:endParaRPr>
          </a:p>
        </p:txBody>
      </p:sp>
      <p:grpSp>
        <p:nvGrpSpPr>
          <p:cNvPr id="81" name="Group 80"/>
          <p:cNvGrpSpPr/>
          <p:nvPr/>
        </p:nvGrpSpPr>
        <p:grpSpPr>
          <a:xfrm>
            <a:off x="-2887" y="973"/>
            <a:ext cx="2849058" cy="6857027"/>
            <a:chOff x="2" y="487"/>
            <a:chExt cx="2849058" cy="6857027"/>
          </a:xfrm>
        </p:grpSpPr>
        <p:sp>
          <p:nvSpPr>
            <p:cNvPr id="94" name="Rectangle 15"/>
            <p:cNvSpPr/>
            <p:nvPr/>
          </p:nvSpPr>
          <p:spPr bwMode="auto">
            <a:xfrm>
              <a:off x="2" y="487"/>
              <a:ext cx="2849058" cy="685702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5" name="Rectangle 145"/>
            <p:cNvSpPr/>
            <p:nvPr/>
          </p:nvSpPr>
          <p:spPr bwMode="auto">
            <a:xfrm>
              <a:off x="696152" y="956997"/>
              <a:ext cx="1821468" cy="3831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2C812"/>
                  </a:solidFill>
                  <a:effectLst/>
                  <a:uLnTx/>
                  <a:uFillTx/>
                  <a:latin typeface="Segoe UI"/>
                  <a:ea typeface="+mn-ea"/>
                  <a:cs typeface="Segoe UI Light" panose="020B0502040204020203" pitchFamily="34" charset="0"/>
                </a:rPr>
                <a:t>Get Data</a:t>
              </a:r>
              <a:endParaRPr kumimoji="0" lang="en-US" sz="1200" b="1" i="1" u="none" strike="noStrike" kern="1200" cap="none" spc="0" normalizeH="0" baseline="0" noProof="0">
                <a:ln>
                  <a:noFill/>
                </a:ln>
                <a:solidFill>
                  <a:srgbClr val="F2C812"/>
                </a:solidFill>
                <a:effectLst/>
                <a:uLnTx/>
                <a:uFillTx/>
                <a:latin typeface="Segoe UI"/>
                <a:ea typeface="+mn-ea"/>
                <a:cs typeface="Segoe UI Light" panose="020B0502040204020203" pitchFamily="34" charset="0"/>
              </a:endParaRPr>
            </a:p>
          </p:txBody>
        </p:sp>
        <p:grpSp>
          <p:nvGrpSpPr>
            <p:cNvPr id="96" name="Group 95"/>
            <p:cNvGrpSpPr/>
            <p:nvPr/>
          </p:nvGrpSpPr>
          <p:grpSpPr>
            <a:xfrm>
              <a:off x="219373" y="934583"/>
              <a:ext cx="433844" cy="433844"/>
              <a:chOff x="440005" y="997815"/>
              <a:chExt cx="296322" cy="296322"/>
            </a:xfrm>
          </p:grpSpPr>
          <p:sp>
            <p:nvSpPr>
              <p:cNvPr id="115" name="Oval 147"/>
              <p:cNvSpPr/>
              <p:nvPr/>
            </p:nvSpPr>
            <p:spPr bwMode="auto">
              <a:xfrm>
                <a:off x="440005" y="997815"/>
                <a:ext cx="296322" cy="296322"/>
              </a:xfrm>
              <a:prstGeom prst="ellipse">
                <a:avLst/>
              </a:prstGeom>
              <a:solidFill>
                <a:srgbClr val="FFCC00"/>
              </a:solidFill>
              <a:ln>
                <a:solidFill>
                  <a:srgbClr val="F2C81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16" name="Group 332"/>
              <p:cNvGrpSpPr/>
              <p:nvPr/>
            </p:nvGrpSpPr>
            <p:grpSpPr>
              <a:xfrm>
                <a:off x="482167" y="1059311"/>
                <a:ext cx="211997" cy="173292"/>
                <a:chOff x="2123129" y="293070"/>
                <a:chExt cx="2472585" cy="2021178"/>
              </a:xfrm>
            </p:grpSpPr>
            <p:sp>
              <p:nvSpPr>
                <p:cNvPr id="117" name="Freeform 13"/>
                <p:cNvSpPr>
                  <a:spLocks/>
                </p:cNvSpPr>
                <p:nvPr/>
              </p:nvSpPr>
              <p:spPr bwMode="auto">
                <a:xfrm rot="20700000">
                  <a:off x="3155853" y="872796"/>
                  <a:ext cx="1439861" cy="1441452"/>
                </a:xfrm>
                <a:custGeom>
                  <a:avLst/>
                  <a:gdLst>
                    <a:gd name="T0" fmla="*/ 138 w 441"/>
                    <a:gd name="T1" fmla="*/ 341 h 441"/>
                    <a:gd name="T2" fmla="*/ 183 w 441"/>
                    <a:gd name="T3" fmla="*/ 374 h 441"/>
                    <a:gd name="T4" fmla="*/ 220 w 441"/>
                    <a:gd name="T5" fmla="*/ 423 h 441"/>
                    <a:gd name="T6" fmla="*/ 422 w 441"/>
                    <a:gd name="T7" fmla="*/ 220 h 441"/>
                    <a:gd name="T8" fmla="*/ 373 w 441"/>
                    <a:gd name="T9" fmla="*/ 184 h 441"/>
                    <a:gd name="T10" fmla="*/ 341 w 441"/>
                    <a:gd name="T11" fmla="*/ 139 h 441"/>
                    <a:gd name="T12" fmla="*/ 382 w 441"/>
                    <a:gd name="T13" fmla="*/ 58 h 441"/>
                    <a:gd name="T14" fmla="*/ 302 w 441"/>
                    <a:gd name="T15" fmla="*/ 100 h 441"/>
                    <a:gd name="T16" fmla="*/ 257 w 441"/>
                    <a:gd name="T17" fmla="*/ 67 h 441"/>
                    <a:gd name="T18" fmla="*/ 220 w 441"/>
                    <a:gd name="T19" fmla="*/ 18 h 441"/>
                    <a:gd name="T20" fmla="*/ 171 w 441"/>
                    <a:gd name="T21" fmla="*/ 55 h 441"/>
                    <a:gd name="T22" fmla="*/ 138 w 441"/>
                    <a:gd name="T23" fmla="*/ 100 h 441"/>
                    <a:gd name="T24" fmla="*/ 180 w 441"/>
                    <a:gd name="T25" fmla="*/ 181 h 441"/>
                    <a:gd name="T26" fmla="*/ 100 w 441"/>
                    <a:gd name="T27" fmla="*/ 139 h 441"/>
                    <a:gd name="T28" fmla="*/ 55 w 441"/>
                    <a:gd name="T29" fmla="*/ 171 h 441"/>
                    <a:gd name="T30" fmla="*/ 18 w 441"/>
                    <a:gd name="T31" fmla="*/ 220 h 441"/>
                    <a:gd name="T32" fmla="*/ 67 w 441"/>
                    <a:gd name="T33" fmla="*/ 257 h 441"/>
                    <a:gd name="T34" fmla="*/ 100 w 441"/>
                    <a:gd name="T35" fmla="*/ 302 h 441"/>
                    <a:gd name="T36" fmla="*/ 58 w 441"/>
                    <a:gd name="T37" fmla="*/ 383 h 441"/>
                    <a:gd name="T38" fmla="*/ 138 w 441"/>
                    <a:gd name="T39" fmla="*/ 341 h 4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41" h="441">
                      <a:moveTo>
                        <a:pt x="138" y="341"/>
                      </a:moveTo>
                      <a:cubicBezTo>
                        <a:pt x="147" y="337"/>
                        <a:pt x="171" y="361"/>
                        <a:pt x="183" y="374"/>
                      </a:cubicBezTo>
                      <a:cubicBezTo>
                        <a:pt x="196" y="386"/>
                        <a:pt x="220" y="423"/>
                        <a:pt x="220" y="423"/>
                      </a:cubicBezTo>
                      <a:cubicBezTo>
                        <a:pt x="422" y="220"/>
                        <a:pt x="422" y="220"/>
                        <a:pt x="422" y="220"/>
                      </a:cubicBezTo>
                      <a:cubicBezTo>
                        <a:pt x="422" y="220"/>
                        <a:pt x="386" y="196"/>
                        <a:pt x="373" y="184"/>
                      </a:cubicBezTo>
                      <a:cubicBezTo>
                        <a:pt x="361" y="171"/>
                        <a:pt x="338" y="149"/>
                        <a:pt x="341" y="139"/>
                      </a:cubicBezTo>
                      <a:cubicBezTo>
                        <a:pt x="343" y="129"/>
                        <a:pt x="441" y="116"/>
                        <a:pt x="382" y="58"/>
                      </a:cubicBezTo>
                      <a:cubicBezTo>
                        <a:pt x="324" y="0"/>
                        <a:pt x="310" y="96"/>
                        <a:pt x="302" y="100"/>
                      </a:cubicBezTo>
                      <a:cubicBezTo>
                        <a:pt x="294" y="104"/>
                        <a:pt x="269" y="80"/>
                        <a:pt x="257" y="67"/>
                      </a:cubicBezTo>
                      <a:cubicBezTo>
                        <a:pt x="245" y="55"/>
                        <a:pt x="220" y="18"/>
                        <a:pt x="220" y="18"/>
                      </a:cubicBezTo>
                      <a:cubicBezTo>
                        <a:pt x="220" y="18"/>
                        <a:pt x="183" y="43"/>
                        <a:pt x="171" y="55"/>
                      </a:cubicBezTo>
                      <a:cubicBezTo>
                        <a:pt x="159" y="67"/>
                        <a:pt x="134" y="92"/>
                        <a:pt x="138" y="100"/>
                      </a:cubicBezTo>
                      <a:cubicBezTo>
                        <a:pt x="142" y="108"/>
                        <a:pt x="238" y="122"/>
                        <a:pt x="180" y="181"/>
                      </a:cubicBezTo>
                      <a:cubicBezTo>
                        <a:pt x="122" y="239"/>
                        <a:pt x="110" y="141"/>
                        <a:pt x="100" y="139"/>
                      </a:cubicBezTo>
                      <a:cubicBezTo>
                        <a:pt x="89" y="137"/>
                        <a:pt x="67" y="159"/>
                        <a:pt x="55" y="171"/>
                      </a:cubicBezTo>
                      <a:cubicBezTo>
                        <a:pt x="42" y="184"/>
                        <a:pt x="18" y="220"/>
                        <a:pt x="18" y="220"/>
                      </a:cubicBezTo>
                      <a:cubicBezTo>
                        <a:pt x="18" y="220"/>
                        <a:pt x="55" y="245"/>
                        <a:pt x="67" y="257"/>
                      </a:cubicBezTo>
                      <a:cubicBezTo>
                        <a:pt x="79" y="269"/>
                        <a:pt x="102" y="292"/>
                        <a:pt x="100" y="302"/>
                      </a:cubicBezTo>
                      <a:cubicBezTo>
                        <a:pt x="98" y="312"/>
                        <a:pt x="0" y="325"/>
                        <a:pt x="58" y="383"/>
                      </a:cubicBezTo>
                      <a:cubicBezTo>
                        <a:pt x="116" y="441"/>
                        <a:pt x="130" y="345"/>
                        <a:pt x="138" y="341"/>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118" name="Freeform 14"/>
                <p:cNvSpPr>
                  <a:spLocks/>
                </p:cNvSpPr>
                <p:nvPr/>
              </p:nvSpPr>
              <p:spPr bwMode="auto">
                <a:xfrm rot="9900000">
                  <a:off x="2123129" y="293070"/>
                  <a:ext cx="1377948" cy="1377947"/>
                </a:xfrm>
                <a:custGeom>
                  <a:avLst/>
                  <a:gdLst>
                    <a:gd name="T0" fmla="*/ 422 w 422"/>
                    <a:gd name="T1" fmla="*/ 220 h 422"/>
                    <a:gd name="T2" fmla="*/ 386 w 422"/>
                    <a:gd name="T3" fmla="*/ 171 h 422"/>
                    <a:gd name="T4" fmla="*/ 341 w 422"/>
                    <a:gd name="T5" fmla="*/ 138 h 422"/>
                    <a:gd name="T6" fmla="*/ 260 w 422"/>
                    <a:gd name="T7" fmla="*/ 180 h 422"/>
                    <a:gd name="T8" fmla="*/ 302 w 422"/>
                    <a:gd name="T9" fmla="*/ 100 h 422"/>
                    <a:gd name="T10" fmla="*/ 269 w 422"/>
                    <a:gd name="T11" fmla="*/ 55 h 422"/>
                    <a:gd name="T12" fmla="*/ 220 w 422"/>
                    <a:gd name="T13" fmla="*/ 18 h 422"/>
                    <a:gd name="T14" fmla="*/ 183 w 422"/>
                    <a:gd name="T15" fmla="*/ 67 h 422"/>
                    <a:gd name="T16" fmla="*/ 138 w 422"/>
                    <a:gd name="T17" fmla="*/ 100 h 422"/>
                    <a:gd name="T18" fmla="*/ 58 w 422"/>
                    <a:gd name="T19" fmla="*/ 58 h 422"/>
                    <a:gd name="T20" fmla="*/ 100 w 422"/>
                    <a:gd name="T21" fmla="*/ 138 h 422"/>
                    <a:gd name="T22" fmla="*/ 67 w 422"/>
                    <a:gd name="T23" fmla="*/ 183 h 422"/>
                    <a:gd name="T24" fmla="*/ 18 w 422"/>
                    <a:gd name="T25" fmla="*/ 220 h 422"/>
                    <a:gd name="T26" fmla="*/ 55 w 422"/>
                    <a:gd name="T27" fmla="*/ 269 h 422"/>
                    <a:gd name="T28" fmla="*/ 100 w 422"/>
                    <a:gd name="T29" fmla="*/ 302 h 422"/>
                    <a:gd name="T30" fmla="*/ 180 w 422"/>
                    <a:gd name="T31" fmla="*/ 260 h 422"/>
                    <a:gd name="T32" fmla="*/ 138 w 422"/>
                    <a:gd name="T33" fmla="*/ 341 h 422"/>
                    <a:gd name="T34" fmla="*/ 171 w 422"/>
                    <a:gd name="T35" fmla="*/ 386 h 422"/>
                    <a:gd name="T36" fmla="*/ 220 w 422"/>
                    <a:gd name="T37" fmla="*/ 422 h 422"/>
                    <a:gd name="T38" fmla="*/ 422 w 422"/>
                    <a:gd name="T39" fmla="*/ 220 h 4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22" h="422">
                      <a:moveTo>
                        <a:pt x="422" y="220"/>
                      </a:moveTo>
                      <a:cubicBezTo>
                        <a:pt x="422" y="220"/>
                        <a:pt x="398" y="183"/>
                        <a:pt x="386" y="171"/>
                      </a:cubicBezTo>
                      <a:cubicBezTo>
                        <a:pt x="373" y="159"/>
                        <a:pt x="349" y="134"/>
                        <a:pt x="341" y="138"/>
                      </a:cubicBezTo>
                      <a:cubicBezTo>
                        <a:pt x="332" y="142"/>
                        <a:pt x="318" y="239"/>
                        <a:pt x="260" y="180"/>
                      </a:cubicBezTo>
                      <a:cubicBezTo>
                        <a:pt x="202" y="122"/>
                        <a:pt x="300" y="110"/>
                        <a:pt x="302" y="100"/>
                      </a:cubicBezTo>
                      <a:cubicBezTo>
                        <a:pt x="304" y="90"/>
                        <a:pt x="281" y="67"/>
                        <a:pt x="269" y="55"/>
                      </a:cubicBezTo>
                      <a:cubicBezTo>
                        <a:pt x="257" y="42"/>
                        <a:pt x="220" y="18"/>
                        <a:pt x="220" y="18"/>
                      </a:cubicBezTo>
                      <a:cubicBezTo>
                        <a:pt x="220" y="18"/>
                        <a:pt x="196" y="55"/>
                        <a:pt x="183" y="67"/>
                      </a:cubicBezTo>
                      <a:cubicBezTo>
                        <a:pt x="171" y="79"/>
                        <a:pt x="149" y="102"/>
                        <a:pt x="138" y="100"/>
                      </a:cubicBezTo>
                      <a:cubicBezTo>
                        <a:pt x="128" y="98"/>
                        <a:pt x="116" y="0"/>
                        <a:pt x="58" y="58"/>
                      </a:cubicBezTo>
                      <a:cubicBezTo>
                        <a:pt x="0" y="116"/>
                        <a:pt x="96" y="130"/>
                        <a:pt x="100" y="138"/>
                      </a:cubicBezTo>
                      <a:cubicBezTo>
                        <a:pt x="104" y="147"/>
                        <a:pt x="79" y="171"/>
                        <a:pt x="67" y="183"/>
                      </a:cubicBezTo>
                      <a:cubicBezTo>
                        <a:pt x="55" y="196"/>
                        <a:pt x="18" y="220"/>
                        <a:pt x="18" y="220"/>
                      </a:cubicBezTo>
                      <a:cubicBezTo>
                        <a:pt x="18" y="220"/>
                        <a:pt x="42" y="257"/>
                        <a:pt x="55" y="269"/>
                      </a:cubicBezTo>
                      <a:cubicBezTo>
                        <a:pt x="67" y="281"/>
                        <a:pt x="91" y="306"/>
                        <a:pt x="100" y="302"/>
                      </a:cubicBezTo>
                      <a:cubicBezTo>
                        <a:pt x="108" y="298"/>
                        <a:pt x="122" y="202"/>
                        <a:pt x="180" y="260"/>
                      </a:cubicBezTo>
                      <a:cubicBezTo>
                        <a:pt x="238" y="318"/>
                        <a:pt x="140" y="330"/>
                        <a:pt x="138" y="341"/>
                      </a:cubicBezTo>
                      <a:cubicBezTo>
                        <a:pt x="136" y="351"/>
                        <a:pt x="159" y="373"/>
                        <a:pt x="171" y="386"/>
                      </a:cubicBezTo>
                      <a:cubicBezTo>
                        <a:pt x="183" y="398"/>
                        <a:pt x="220" y="422"/>
                        <a:pt x="220" y="422"/>
                      </a:cubicBezTo>
                      <a:lnTo>
                        <a:pt x="422" y="22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grpSp>
        </p:grpSp>
        <p:sp>
          <p:nvSpPr>
            <p:cNvPr id="97" name="Rectangle 152"/>
            <p:cNvSpPr/>
            <p:nvPr/>
          </p:nvSpPr>
          <p:spPr bwMode="auto">
            <a:xfrm>
              <a:off x="669652" y="2738277"/>
              <a:ext cx="1805162" cy="37532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2C812"/>
                  </a:solidFill>
                  <a:effectLst/>
                  <a:uLnTx/>
                  <a:uFillTx/>
                  <a:latin typeface="Segoe UI"/>
                  <a:ea typeface="+mn-ea"/>
                  <a:cs typeface="Segoe UI Light" panose="020B0502040204020203" pitchFamily="34" charset="0"/>
                </a:rPr>
                <a:t>Keeping Data Current</a:t>
              </a:r>
            </a:p>
          </p:txBody>
        </p:sp>
        <p:grpSp>
          <p:nvGrpSpPr>
            <p:cNvPr id="98" name="Group 97"/>
            <p:cNvGrpSpPr/>
            <p:nvPr/>
          </p:nvGrpSpPr>
          <p:grpSpPr>
            <a:xfrm>
              <a:off x="199649" y="2692629"/>
              <a:ext cx="433844" cy="433844"/>
              <a:chOff x="342620" y="2228265"/>
              <a:chExt cx="433844" cy="433844"/>
            </a:xfrm>
            <a:solidFill>
              <a:schemeClr val="bg1"/>
            </a:solidFill>
          </p:grpSpPr>
          <p:sp>
            <p:nvSpPr>
              <p:cNvPr id="113" name="Oval 154"/>
              <p:cNvSpPr/>
              <p:nvPr/>
            </p:nvSpPr>
            <p:spPr bwMode="auto">
              <a:xfrm>
                <a:off x="342620" y="2228265"/>
                <a:ext cx="433844" cy="433844"/>
              </a:xfrm>
              <a:prstGeom prst="ellipse">
                <a:avLst/>
              </a:prstGeom>
              <a:solidFill>
                <a:srgbClr val="FFC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4" name="Freeform 30"/>
              <p:cNvSpPr>
                <a:spLocks noEditPoints="1"/>
              </p:cNvSpPr>
              <p:nvPr/>
            </p:nvSpPr>
            <p:spPr bwMode="auto">
              <a:xfrm>
                <a:off x="444786" y="2340040"/>
                <a:ext cx="238402" cy="210293"/>
              </a:xfrm>
              <a:custGeom>
                <a:avLst/>
                <a:gdLst>
                  <a:gd name="T0" fmla="*/ 883 w 916"/>
                  <a:gd name="T1" fmla="*/ 286 h 808"/>
                  <a:gd name="T2" fmla="*/ 539 w 916"/>
                  <a:gd name="T3" fmla="*/ 723 h 808"/>
                  <a:gd name="T4" fmla="*/ 504 w 916"/>
                  <a:gd name="T5" fmla="*/ 0 h 808"/>
                  <a:gd name="T6" fmla="*/ 35 w 916"/>
                  <a:gd name="T7" fmla="*/ 723 h 808"/>
                  <a:gd name="T8" fmla="*/ 0 w 916"/>
                  <a:gd name="T9" fmla="*/ 808 h 808"/>
                  <a:gd name="T10" fmla="*/ 916 w 916"/>
                  <a:gd name="T11" fmla="*/ 723 h 808"/>
                  <a:gd name="T12" fmla="*/ 229 w 916"/>
                  <a:gd name="T13" fmla="*/ 665 h 808"/>
                  <a:gd name="T14" fmla="*/ 109 w 916"/>
                  <a:gd name="T15" fmla="*/ 596 h 808"/>
                  <a:gd name="T16" fmla="*/ 229 w 916"/>
                  <a:gd name="T17" fmla="*/ 665 h 808"/>
                  <a:gd name="T18" fmla="*/ 109 w 916"/>
                  <a:gd name="T19" fmla="*/ 501 h 808"/>
                  <a:gd name="T20" fmla="*/ 229 w 916"/>
                  <a:gd name="T21" fmla="*/ 432 h 808"/>
                  <a:gd name="T22" fmla="*/ 229 w 916"/>
                  <a:gd name="T23" fmla="*/ 337 h 808"/>
                  <a:gd name="T24" fmla="*/ 109 w 916"/>
                  <a:gd name="T25" fmla="*/ 267 h 808"/>
                  <a:gd name="T26" fmla="*/ 229 w 916"/>
                  <a:gd name="T27" fmla="*/ 337 h 808"/>
                  <a:gd name="T28" fmla="*/ 109 w 916"/>
                  <a:gd name="T29" fmla="*/ 172 h 808"/>
                  <a:gd name="T30" fmla="*/ 229 w 916"/>
                  <a:gd name="T31" fmla="*/ 103 h 808"/>
                  <a:gd name="T32" fmla="*/ 428 w 916"/>
                  <a:gd name="T33" fmla="*/ 665 h 808"/>
                  <a:gd name="T34" fmla="*/ 307 w 916"/>
                  <a:gd name="T35" fmla="*/ 596 h 808"/>
                  <a:gd name="T36" fmla="*/ 428 w 916"/>
                  <a:gd name="T37" fmla="*/ 665 h 808"/>
                  <a:gd name="T38" fmla="*/ 307 w 916"/>
                  <a:gd name="T39" fmla="*/ 501 h 808"/>
                  <a:gd name="T40" fmla="*/ 428 w 916"/>
                  <a:gd name="T41" fmla="*/ 432 h 808"/>
                  <a:gd name="T42" fmla="*/ 428 w 916"/>
                  <a:gd name="T43" fmla="*/ 337 h 808"/>
                  <a:gd name="T44" fmla="*/ 307 w 916"/>
                  <a:gd name="T45" fmla="*/ 267 h 808"/>
                  <a:gd name="T46" fmla="*/ 428 w 916"/>
                  <a:gd name="T47" fmla="*/ 337 h 808"/>
                  <a:gd name="T48" fmla="*/ 307 w 916"/>
                  <a:gd name="T49" fmla="*/ 172 h 808"/>
                  <a:gd name="T50" fmla="*/ 428 w 916"/>
                  <a:gd name="T51" fmla="*/ 103 h 808"/>
                  <a:gd name="T52" fmla="*/ 684 w 916"/>
                  <a:gd name="T53" fmla="*/ 668 h 808"/>
                  <a:gd name="T54" fmla="*/ 606 w 916"/>
                  <a:gd name="T55" fmla="*/ 549 h 808"/>
                  <a:gd name="T56" fmla="*/ 684 w 916"/>
                  <a:gd name="T57" fmla="*/ 668 h 808"/>
                  <a:gd name="T58" fmla="*/ 606 w 916"/>
                  <a:gd name="T59" fmla="*/ 482 h 808"/>
                  <a:gd name="T60" fmla="*/ 684 w 916"/>
                  <a:gd name="T61" fmla="*/ 365 h 808"/>
                  <a:gd name="T62" fmla="*/ 816 w 916"/>
                  <a:gd name="T63" fmla="*/ 668 h 808"/>
                  <a:gd name="T64" fmla="*/ 738 w 916"/>
                  <a:gd name="T65" fmla="*/ 549 h 808"/>
                  <a:gd name="T66" fmla="*/ 816 w 916"/>
                  <a:gd name="T67" fmla="*/ 668 h 808"/>
                  <a:gd name="T68" fmla="*/ 738 w 916"/>
                  <a:gd name="T69" fmla="*/ 482 h 808"/>
                  <a:gd name="T70" fmla="*/ 816 w 916"/>
                  <a:gd name="T71" fmla="*/ 365 h 8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16" h="808">
                    <a:moveTo>
                      <a:pt x="883" y="723"/>
                    </a:moveTo>
                    <a:lnTo>
                      <a:pt x="883" y="286"/>
                    </a:lnTo>
                    <a:lnTo>
                      <a:pt x="539" y="286"/>
                    </a:lnTo>
                    <a:lnTo>
                      <a:pt x="539" y="723"/>
                    </a:lnTo>
                    <a:lnTo>
                      <a:pt x="504" y="723"/>
                    </a:lnTo>
                    <a:lnTo>
                      <a:pt x="504" y="0"/>
                    </a:lnTo>
                    <a:lnTo>
                      <a:pt x="35" y="0"/>
                    </a:lnTo>
                    <a:lnTo>
                      <a:pt x="35" y="723"/>
                    </a:lnTo>
                    <a:lnTo>
                      <a:pt x="0" y="723"/>
                    </a:lnTo>
                    <a:lnTo>
                      <a:pt x="0" y="808"/>
                    </a:lnTo>
                    <a:lnTo>
                      <a:pt x="916" y="808"/>
                    </a:lnTo>
                    <a:lnTo>
                      <a:pt x="916" y="723"/>
                    </a:lnTo>
                    <a:lnTo>
                      <a:pt x="883" y="723"/>
                    </a:lnTo>
                    <a:close/>
                    <a:moveTo>
                      <a:pt x="229" y="665"/>
                    </a:moveTo>
                    <a:lnTo>
                      <a:pt x="109" y="665"/>
                    </a:lnTo>
                    <a:lnTo>
                      <a:pt x="109" y="596"/>
                    </a:lnTo>
                    <a:lnTo>
                      <a:pt x="229" y="596"/>
                    </a:lnTo>
                    <a:lnTo>
                      <a:pt x="229" y="665"/>
                    </a:lnTo>
                    <a:close/>
                    <a:moveTo>
                      <a:pt x="229" y="501"/>
                    </a:moveTo>
                    <a:lnTo>
                      <a:pt x="109" y="501"/>
                    </a:lnTo>
                    <a:lnTo>
                      <a:pt x="109" y="432"/>
                    </a:lnTo>
                    <a:lnTo>
                      <a:pt x="229" y="432"/>
                    </a:lnTo>
                    <a:lnTo>
                      <a:pt x="229" y="501"/>
                    </a:lnTo>
                    <a:close/>
                    <a:moveTo>
                      <a:pt x="229" y="337"/>
                    </a:moveTo>
                    <a:lnTo>
                      <a:pt x="109" y="337"/>
                    </a:lnTo>
                    <a:lnTo>
                      <a:pt x="109" y="267"/>
                    </a:lnTo>
                    <a:lnTo>
                      <a:pt x="229" y="267"/>
                    </a:lnTo>
                    <a:lnTo>
                      <a:pt x="229" y="337"/>
                    </a:lnTo>
                    <a:close/>
                    <a:moveTo>
                      <a:pt x="229" y="172"/>
                    </a:moveTo>
                    <a:lnTo>
                      <a:pt x="109" y="172"/>
                    </a:lnTo>
                    <a:lnTo>
                      <a:pt x="109" y="103"/>
                    </a:lnTo>
                    <a:lnTo>
                      <a:pt x="229" y="103"/>
                    </a:lnTo>
                    <a:lnTo>
                      <a:pt x="229" y="172"/>
                    </a:lnTo>
                    <a:close/>
                    <a:moveTo>
                      <a:pt x="428" y="665"/>
                    </a:moveTo>
                    <a:lnTo>
                      <a:pt x="307" y="665"/>
                    </a:lnTo>
                    <a:lnTo>
                      <a:pt x="307" y="596"/>
                    </a:lnTo>
                    <a:lnTo>
                      <a:pt x="428" y="596"/>
                    </a:lnTo>
                    <a:lnTo>
                      <a:pt x="428" y="665"/>
                    </a:lnTo>
                    <a:close/>
                    <a:moveTo>
                      <a:pt x="428" y="501"/>
                    </a:moveTo>
                    <a:lnTo>
                      <a:pt x="307" y="501"/>
                    </a:lnTo>
                    <a:lnTo>
                      <a:pt x="307" y="432"/>
                    </a:lnTo>
                    <a:lnTo>
                      <a:pt x="428" y="432"/>
                    </a:lnTo>
                    <a:lnTo>
                      <a:pt x="428" y="501"/>
                    </a:lnTo>
                    <a:close/>
                    <a:moveTo>
                      <a:pt x="428" y="337"/>
                    </a:moveTo>
                    <a:lnTo>
                      <a:pt x="307" y="337"/>
                    </a:lnTo>
                    <a:lnTo>
                      <a:pt x="307" y="267"/>
                    </a:lnTo>
                    <a:lnTo>
                      <a:pt x="428" y="267"/>
                    </a:lnTo>
                    <a:lnTo>
                      <a:pt x="428" y="337"/>
                    </a:lnTo>
                    <a:close/>
                    <a:moveTo>
                      <a:pt x="428" y="172"/>
                    </a:moveTo>
                    <a:lnTo>
                      <a:pt x="307" y="172"/>
                    </a:lnTo>
                    <a:lnTo>
                      <a:pt x="307" y="103"/>
                    </a:lnTo>
                    <a:lnTo>
                      <a:pt x="428" y="103"/>
                    </a:lnTo>
                    <a:lnTo>
                      <a:pt x="428" y="172"/>
                    </a:lnTo>
                    <a:close/>
                    <a:moveTo>
                      <a:pt x="684" y="668"/>
                    </a:moveTo>
                    <a:lnTo>
                      <a:pt x="606" y="668"/>
                    </a:lnTo>
                    <a:lnTo>
                      <a:pt x="606" y="549"/>
                    </a:lnTo>
                    <a:lnTo>
                      <a:pt x="684" y="549"/>
                    </a:lnTo>
                    <a:lnTo>
                      <a:pt x="684" y="668"/>
                    </a:lnTo>
                    <a:close/>
                    <a:moveTo>
                      <a:pt x="684" y="482"/>
                    </a:moveTo>
                    <a:lnTo>
                      <a:pt x="606" y="482"/>
                    </a:lnTo>
                    <a:lnTo>
                      <a:pt x="606" y="365"/>
                    </a:lnTo>
                    <a:lnTo>
                      <a:pt x="684" y="365"/>
                    </a:lnTo>
                    <a:lnTo>
                      <a:pt x="684" y="482"/>
                    </a:lnTo>
                    <a:close/>
                    <a:moveTo>
                      <a:pt x="816" y="668"/>
                    </a:moveTo>
                    <a:lnTo>
                      <a:pt x="738" y="668"/>
                    </a:lnTo>
                    <a:lnTo>
                      <a:pt x="738" y="549"/>
                    </a:lnTo>
                    <a:lnTo>
                      <a:pt x="816" y="549"/>
                    </a:lnTo>
                    <a:lnTo>
                      <a:pt x="816" y="668"/>
                    </a:lnTo>
                    <a:close/>
                    <a:moveTo>
                      <a:pt x="816" y="482"/>
                    </a:moveTo>
                    <a:lnTo>
                      <a:pt x="738" y="482"/>
                    </a:lnTo>
                    <a:lnTo>
                      <a:pt x="738" y="365"/>
                    </a:lnTo>
                    <a:lnTo>
                      <a:pt x="816" y="365"/>
                    </a:lnTo>
                    <a:lnTo>
                      <a:pt x="816" y="482"/>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grpSp>
        <p:sp>
          <p:nvSpPr>
            <p:cNvPr id="99" name="TextBox 98"/>
            <p:cNvSpPr txBox="1"/>
            <p:nvPr/>
          </p:nvSpPr>
          <p:spPr>
            <a:xfrm>
              <a:off x="83345" y="113808"/>
              <a:ext cx="2532630" cy="627864"/>
            </a:xfrm>
            <a:prstGeom prst="rect">
              <a:avLst/>
            </a:prstGeom>
            <a:noFill/>
          </p:spPr>
          <p:txBody>
            <a:bodyPr wrap="square" lIns="182880" tIns="146304" rIns="182880" bIns="146304" rtlCol="0">
              <a:spAutoFit/>
            </a:bodyPr>
            <a:lstStyle>
              <a:defPPr>
                <a:defRPr lang="en-US"/>
              </a:defPPr>
              <a:lvl1pPr>
                <a:lnSpc>
                  <a:spcPct val="90000"/>
                </a:lnSpc>
                <a:spcAft>
                  <a:spcPts val="600"/>
                </a:spcAft>
                <a:defRPr sz="2800" b="1">
                  <a:solidFill>
                    <a:srgbClr val="F2C812"/>
                  </a:solidFill>
                  <a:latin typeface="Segoe UI Light"/>
                </a:defRPr>
              </a:lvl1p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400" b="1" i="0" u="none" strike="noStrike" kern="1200" cap="none" spc="0" normalizeH="0" baseline="0" noProof="0">
                  <a:ln>
                    <a:noFill/>
                  </a:ln>
                  <a:solidFill>
                    <a:srgbClr val="F2C812"/>
                  </a:solidFill>
                  <a:effectLst/>
                  <a:uLnTx/>
                  <a:uFillTx/>
                  <a:latin typeface="Segoe UI Light"/>
                  <a:ea typeface="+mn-ea"/>
                  <a:cs typeface="+mn-cs"/>
                </a:rPr>
                <a:t>Power BI Service</a:t>
              </a:r>
              <a:endParaRPr kumimoji="0" lang="en-US" sz="2800" b="1" i="0" u="none" strike="noStrike" kern="1200" cap="none" spc="0" normalizeH="0" baseline="0" noProof="0">
                <a:ln>
                  <a:noFill/>
                </a:ln>
                <a:solidFill>
                  <a:srgbClr val="F2C812"/>
                </a:solidFill>
                <a:effectLst/>
                <a:uLnTx/>
                <a:uFillTx/>
                <a:latin typeface="Segoe UI Light"/>
                <a:ea typeface="+mn-ea"/>
                <a:cs typeface="+mn-cs"/>
              </a:endParaRPr>
            </a:p>
          </p:txBody>
        </p:sp>
        <p:grpSp>
          <p:nvGrpSpPr>
            <p:cNvPr id="100" name="Group 99"/>
            <p:cNvGrpSpPr/>
            <p:nvPr/>
          </p:nvGrpSpPr>
          <p:grpSpPr>
            <a:xfrm>
              <a:off x="219373" y="3621383"/>
              <a:ext cx="433844" cy="645668"/>
              <a:chOff x="280990" y="3358164"/>
              <a:chExt cx="433844" cy="645668"/>
            </a:xfrm>
          </p:grpSpPr>
          <p:sp>
            <p:nvSpPr>
              <p:cNvPr id="106" name="Oval 1083"/>
              <p:cNvSpPr/>
              <p:nvPr/>
            </p:nvSpPr>
            <p:spPr bwMode="auto">
              <a:xfrm>
                <a:off x="280990" y="3358164"/>
                <a:ext cx="433844" cy="433847"/>
              </a:xfrm>
              <a:prstGeom prst="ellipse">
                <a:avLst/>
              </a:prstGeom>
              <a:solidFill>
                <a:srgbClr val="F2C812"/>
              </a:solidFill>
              <a:ln>
                <a:solidFill>
                  <a:srgbClr val="FFCC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07" name="Group 379"/>
              <p:cNvGrpSpPr/>
              <p:nvPr/>
            </p:nvGrpSpPr>
            <p:grpSpPr>
              <a:xfrm>
                <a:off x="453702" y="3910852"/>
                <a:ext cx="175660" cy="92980"/>
                <a:chOff x="3895793" y="7466656"/>
                <a:chExt cx="785810" cy="415941"/>
              </a:xfrm>
              <a:solidFill>
                <a:srgbClr val="00BCF2"/>
              </a:solidFill>
            </p:grpSpPr>
            <p:sp>
              <p:nvSpPr>
                <p:cNvPr id="108" name="Freeform 132"/>
                <p:cNvSpPr>
                  <a:spLocks/>
                </p:cNvSpPr>
                <p:nvPr/>
              </p:nvSpPr>
              <p:spPr bwMode="auto">
                <a:xfrm>
                  <a:off x="4125979" y="7688918"/>
                  <a:ext cx="0" cy="6353"/>
                </a:xfrm>
                <a:custGeom>
                  <a:avLst/>
                  <a:gdLst>
                    <a:gd name="T0" fmla="*/ 1 w 1"/>
                    <a:gd name="T1" fmla="*/ 0 h 8"/>
                    <a:gd name="T2" fmla="*/ 0 w 1"/>
                    <a:gd name="T3" fmla="*/ 0 h 8"/>
                    <a:gd name="T4" fmla="*/ 1 w 1"/>
                    <a:gd name="T5" fmla="*/ 8 h 8"/>
                    <a:gd name="T6" fmla="*/ 1 w 1"/>
                    <a:gd name="T7" fmla="*/ 0 h 8"/>
                  </a:gdLst>
                  <a:ahLst/>
                  <a:cxnLst>
                    <a:cxn ang="0">
                      <a:pos x="T0" y="T1"/>
                    </a:cxn>
                    <a:cxn ang="0">
                      <a:pos x="T2" y="T3"/>
                    </a:cxn>
                    <a:cxn ang="0">
                      <a:pos x="T4" y="T5"/>
                    </a:cxn>
                    <a:cxn ang="0">
                      <a:pos x="T6" y="T7"/>
                    </a:cxn>
                  </a:cxnLst>
                  <a:rect l="0" t="0" r="r" b="b"/>
                  <a:pathLst>
                    <a:path w="1" h="8">
                      <a:moveTo>
                        <a:pt x="1" y="0"/>
                      </a:moveTo>
                      <a:cubicBezTo>
                        <a:pt x="0" y="0"/>
                        <a:pt x="0" y="0"/>
                        <a:pt x="0" y="0"/>
                      </a:cubicBezTo>
                      <a:cubicBezTo>
                        <a:pt x="0" y="3"/>
                        <a:pt x="1" y="5"/>
                        <a:pt x="1" y="8"/>
                      </a:cubicBezTo>
                      <a:lnTo>
                        <a:pt x="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109" name="Freeform 133"/>
                <p:cNvSpPr>
                  <a:spLocks/>
                </p:cNvSpPr>
                <p:nvPr/>
              </p:nvSpPr>
              <p:spPr bwMode="auto">
                <a:xfrm>
                  <a:off x="3895793" y="7812745"/>
                  <a:ext cx="219078" cy="69852"/>
                </a:xfrm>
                <a:custGeom>
                  <a:avLst/>
                  <a:gdLst>
                    <a:gd name="T0" fmla="*/ 186 w 238"/>
                    <a:gd name="T1" fmla="*/ 9 h 76"/>
                    <a:gd name="T2" fmla="*/ 131 w 238"/>
                    <a:gd name="T3" fmla="*/ 22 h 76"/>
                    <a:gd name="T4" fmla="*/ 60 w 238"/>
                    <a:gd name="T5" fmla="*/ 0 h 76"/>
                    <a:gd name="T6" fmla="*/ 0 w 238"/>
                    <a:gd name="T7" fmla="*/ 42 h 76"/>
                    <a:gd name="T8" fmla="*/ 0 w 238"/>
                    <a:gd name="T9" fmla="*/ 76 h 76"/>
                    <a:gd name="T10" fmla="*/ 238 w 238"/>
                    <a:gd name="T11" fmla="*/ 76 h 76"/>
                    <a:gd name="T12" fmla="*/ 236 w 238"/>
                    <a:gd name="T13" fmla="*/ 53 h 76"/>
                    <a:gd name="T14" fmla="*/ 236 w 238"/>
                    <a:gd name="T15" fmla="*/ 49 h 76"/>
                    <a:gd name="T16" fmla="*/ 186 w 238"/>
                    <a:gd name="T17" fmla="*/ 9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8" h="76">
                      <a:moveTo>
                        <a:pt x="186" y="9"/>
                      </a:moveTo>
                      <a:cubicBezTo>
                        <a:pt x="169" y="18"/>
                        <a:pt x="150" y="22"/>
                        <a:pt x="131" y="22"/>
                      </a:cubicBezTo>
                      <a:cubicBezTo>
                        <a:pt x="105" y="22"/>
                        <a:pt x="80" y="14"/>
                        <a:pt x="60" y="0"/>
                      </a:cubicBezTo>
                      <a:cubicBezTo>
                        <a:pt x="0" y="42"/>
                        <a:pt x="0" y="42"/>
                        <a:pt x="0" y="42"/>
                      </a:cubicBezTo>
                      <a:cubicBezTo>
                        <a:pt x="0" y="76"/>
                        <a:pt x="0" y="76"/>
                        <a:pt x="0" y="76"/>
                      </a:cubicBezTo>
                      <a:cubicBezTo>
                        <a:pt x="238" y="76"/>
                        <a:pt x="238" y="76"/>
                        <a:pt x="238" y="76"/>
                      </a:cubicBezTo>
                      <a:cubicBezTo>
                        <a:pt x="237" y="68"/>
                        <a:pt x="236" y="61"/>
                        <a:pt x="236" y="53"/>
                      </a:cubicBezTo>
                      <a:cubicBezTo>
                        <a:pt x="236" y="51"/>
                        <a:pt x="236" y="50"/>
                        <a:pt x="236" y="49"/>
                      </a:cubicBezTo>
                      <a:lnTo>
                        <a:pt x="186" y="9"/>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110" name="Freeform 137"/>
                <p:cNvSpPr>
                  <a:spLocks/>
                </p:cNvSpPr>
                <p:nvPr/>
              </p:nvSpPr>
              <p:spPr bwMode="auto">
                <a:xfrm>
                  <a:off x="4338704" y="7809561"/>
                  <a:ext cx="65090" cy="73028"/>
                </a:xfrm>
                <a:custGeom>
                  <a:avLst/>
                  <a:gdLst>
                    <a:gd name="T0" fmla="*/ 71 w 71"/>
                    <a:gd name="T1" fmla="*/ 79 h 79"/>
                    <a:gd name="T2" fmla="*/ 71 w 71"/>
                    <a:gd name="T3" fmla="*/ 0 h 79"/>
                    <a:gd name="T4" fmla="*/ 2 w 71"/>
                    <a:gd name="T5" fmla="*/ 53 h 79"/>
                    <a:gd name="T6" fmla="*/ 2 w 71"/>
                    <a:gd name="T7" fmla="*/ 56 h 79"/>
                    <a:gd name="T8" fmla="*/ 0 w 71"/>
                    <a:gd name="T9" fmla="*/ 79 h 79"/>
                    <a:gd name="T10" fmla="*/ 71 w 71"/>
                    <a:gd name="T11" fmla="*/ 79 h 79"/>
                  </a:gdLst>
                  <a:ahLst/>
                  <a:cxnLst>
                    <a:cxn ang="0">
                      <a:pos x="T0" y="T1"/>
                    </a:cxn>
                    <a:cxn ang="0">
                      <a:pos x="T2" y="T3"/>
                    </a:cxn>
                    <a:cxn ang="0">
                      <a:pos x="T4" y="T5"/>
                    </a:cxn>
                    <a:cxn ang="0">
                      <a:pos x="T6" y="T7"/>
                    </a:cxn>
                    <a:cxn ang="0">
                      <a:pos x="T8" y="T9"/>
                    </a:cxn>
                    <a:cxn ang="0">
                      <a:pos x="T10" y="T11"/>
                    </a:cxn>
                  </a:cxnLst>
                  <a:rect l="0" t="0" r="r" b="b"/>
                  <a:pathLst>
                    <a:path w="71" h="79">
                      <a:moveTo>
                        <a:pt x="71" y="79"/>
                      </a:moveTo>
                      <a:cubicBezTo>
                        <a:pt x="71" y="0"/>
                        <a:pt x="71" y="0"/>
                        <a:pt x="71" y="0"/>
                      </a:cubicBezTo>
                      <a:cubicBezTo>
                        <a:pt x="2" y="53"/>
                        <a:pt x="2" y="53"/>
                        <a:pt x="2" y="53"/>
                      </a:cubicBezTo>
                      <a:cubicBezTo>
                        <a:pt x="2" y="54"/>
                        <a:pt x="2" y="55"/>
                        <a:pt x="2" y="56"/>
                      </a:cubicBezTo>
                      <a:cubicBezTo>
                        <a:pt x="2" y="64"/>
                        <a:pt x="1" y="71"/>
                        <a:pt x="0" y="79"/>
                      </a:cubicBezTo>
                      <a:lnTo>
                        <a:pt x="71" y="79"/>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111" name="Freeform 140"/>
                <p:cNvSpPr>
                  <a:spLocks/>
                </p:cNvSpPr>
                <p:nvPr/>
              </p:nvSpPr>
              <p:spPr bwMode="auto">
                <a:xfrm>
                  <a:off x="4600643" y="7622229"/>
                  <a:ext cx="80960" cy="38099"/>
                </a:xfrm>
                <a:custGeom>
                  <a:avLst/>
                  <a:gdLst>
                    <a:gd name="T0" fmla="*/ 0 w 51"/>
                    <a:gd name="T1" fmla="*/ 24 h 24"/>
                    <a:gd name="T2" fmla="*/ 51 w 51"/>
                    <a:gd name="T3" fmla="*/ 24 h 24"/>
                    <a:gd name="T4" fmla="*/ 32 w 51"/>
                    <a:gd name="T5" fmla="*/ 0 h 24"/>
                    <a:gd name="T6" fmla="*/ 0 w 51"/>
                    <a:gd name="T7" fmla="*/ 24 h 24"/>
                  </a:gdLst>
                  <a:ahLst/>
                  <a:cxnLst>
                    <a:cxn ang="0">
                      <a:pos x="T0" y="T1"/>
                    </a:cxn>
                    <a:cxn ang="0">
                      <a:pos x="T2" y="T3"/>
                    </a:cxn>
                    <a:cxn ang="0">
                      <a:pos x="T4" y="T5"/>
                    </a:cxn>
                    <a:cxn ang="0">
                      <a:pos x="T6" y="T7"/>
                    </a:cxn>
                  </a:cxnLst>
                  <a:rect l="0" t="0" r="r" b="b"/>
                  <a:pathLst>
                    <a:path w="51" h="24">
                      <a:moveTo>
                        <a:pt x="0" y="24"/>
                      </a:moveTo>
                      <a:lnTo>
                        <a:pt x="51" y="24"/>
                      </a:lnTo>
                      <a:lnTo>
                        <a:pt x="32" y="0"/>
                      </a:lnTo>
                      <a:lnTo>
                        <a:pt x="0" y="24"/>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112" name="Freeform 141"/>
                <p:cNvSpPr>
                  <a:spLocks/>
                </p:cNvSpPr>
                <p:nvPr/>
              </p:nvSpPr>
              <p:spPr bwMode="auto">
                <a:xfrm>
                  <a:off x="4449825" y="7466656"/>
                  <a:ext cx="119065" cy="139703"/>
                </a:xfrm>
                <a:custGeom>
                  <a:avLst/>
                  <a:gdLst>
                    <a:gd name="T0" fmla="*/ 52 w 75"/>
                    <a:gd name="T1" fmla="*/ 0 h 88"/>
                    <a:gd name="T2" fmla="*/ 0 w 75"/>
                    <a:gd name="T3" fmla="*/ 0 h 88"/>
                    <a:gd name="T4" fmla="*/ 0 w 75"/>
                    <a:gd name="T5" fmla="*/ 88 h 88"/>
                    <a:gd name="T6" fmla="*/ 75 w 75"/>
                    <a:gd name="T7" fmla="*/ 30 h 88"/>
                    <a:gd name="T8" fmla="*/ 52 w 75"/>
                    <a:gd name="T9" fmla="*/ 0 h 88"/>
                  </a:gdLst>
                  <a:ahLst/>
                  <a:cxnLst>
                    <a:cxn ang="0">
                      <a:pos x="T0" y="T1"/>
                    </a:cxn>
                    <a:cxn ang="0">
                      <a:pos x="T2" y="T3"/>
                    </a:cxn>
                    <a:cxn ang="0">
                      <a:pos x="T4" y="T5"/>
                    </a:cxn>
                    <a:cxn ang="0">
                      <a:pos x="T6" y="T7"/>
                    </a:cxn>
                    <a:cxn ang="0">
                      <a:pos x="T8" y="T9"/>
                    </a:cxn>
                  </a:cxnLst>
                  <a:rect l="0" t="0" r="r" b="b"/>
                  <a:pathLst>
                    <a:path w="75" h="88">
                      <a:moveTo>
                        <a:pt x="52" y="0"/>
                      </a:moveTo>
                      <a:lnTo>
                        <a:pt x="0" y="0"/>
                      </a:lnTo>
                      <a:lnTo>
                        <a:pt x="0" y="88"/>
                      </a:lnTo>
                      <a:lnTo>
                        <a:pt x="75" y="30"/>
                      </a:lnTo>
                      <a:lnTo>
                        <a:pt x="52"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grpSp>
        </p:grpSp>
        <p:sp>
          <p:nvSpPr>
            <p:cNvPr id="101" name="Rectangle 152"/>
            <p:cNvSpPr/>
            <p:nvPr/>
          </p:nvSpPr>
          <p:spPr bwMode="auto">
            <a:xfrm>
              <a:off x="712458" y="3628917"/>
              <a:ext cx="1805162" cy="37532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2C812"/>
                  </a:solidFill>
                  <a:effectLst/>
                  <a:uLnTx/>
                  <a:uFillTx/>
                  <a:latin typeface="Segoe UI"/>
                  <a:ea typeface="+mn-ea"/>
                  <a:cs typeface="Segoe UI Light" panose="020B0502040204020203" pitchFamily="34" charset="0"/>
                </a:rPr>
                <a:t>Q&amp;A and </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2C812"/>
                  </a:solidFill>
                  <a:effectLst/>
                  <a:uLnTx/>
                  <a:uFillTx/>
                  <a:latin typeface="Segoe UI"/>
                  <a:ea typeface="+mn-ea"/>
                  <a:cs typeface="Segoe UI Light" panose="020B0502040204020203" pitchFamily="34" charset="0"/>
                </a:rPr>
                <a:t>Quick Insights</a:t>
              </a:r>
              <a:endParaRPr kumimoji="0" lang="en-US" sz="1200" b="1" i="0" u="none" strike="noStrike" kern="1200" cap="none" spc="0" normalizeH="0" baseline="0" noProof="0">
                <a:ln>
                  <a:noFill/>
                </a:ln>
                <a:solidFill>
                  <a:srgbClr val="F2C812"/>
                </a:solidFill>
                <a:effectLst/>
                <a:uLnTx/>
                <a:uFillTx/>
                <a:latin typeface="Segoe UI"/>
                <a:ea typeface="+mn-ea"/>
                <a:cs typeface="Segoe UI Light" panose="020B0502040204020203" pitchFamily="34" charset="0"/>
              </a:endParaRPr>
            </a:p>
          </p:txBody>
        </p:sp>
        <p:sp>
          <p:nvSpPr>
            <p:cNvPr id="102" name="Oval 162"/>
            <p:cNvSpPr/>
            <p:nvPr/>
          </p:nvSpPr>
          <p:spPr bwMode="auto">
            <a:xfrm>
              <a:off x="226619" y="4551712"/>
              <a:ext cx="433844" cy="433844"/>
            </a:xfrm>
            <a:prstGeom prst="ellipse">
              <a:avLst/>
            </a:prstGeom>
            <a:solidFill>
              <a:srgbClr val="F2C812"/>
            </a:solidFill>
            <a:ln>
              <a:solidFill>
                <a:srgbClr val="FFCC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3" name="Rectangle 152"/>
            <p:cNvSpPr/>
            <p:nvPr/>
          </p:nvSpPr>
          <p:spPr bwMode="auto">
            <a:xfrm>
              <a:off x="738443" y="4596194"/>
              <a:ext cx="1884825" cy="30233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2C812"/>
                  </a:solidFill>
                  <a:effectLst/>
                  <a:uLnTx/>
                  <a:uFillTx/>
                  <a:latin typeface="Segoe UI"/>
                  <a:ea typeface="+mn-ea"/>
                  <a:cs typeface="Segoe UI Light" panose="020B0502040204020203" pitchFamily="34" charset="0"/>
                </a:rPr>
                <a:t>Sharing</a:t>
              </a:r>
              <a:endParaRPr kumimoji="0" lang="en-US" sz="1200" b="1" i="1" u="none" strike="noStrike" kern="1200" cap="none" spc="0" normalizeH="0" baseline="0" noProof="0">
                <a:ln>
                  <a:noFill/>
                </a:ln>
                <a:solidFill>
                  <a:srgbClr val="F2C812"/>
                </a:solidFill>
                <a:effectLst/>
                <a:uLnTx/>
                <a:uFillTx/>
                <a:latin typeface="Segoe UI"/>
                <a:ea typeface="+mn-ea"/>
                <a:cs typeface="Segoe UI Light" panose="020B0502040204020203" pitchFamily="34" charset="0"/>
              </a:endParaRPr>
            </a:p>
          </p:txBody>
        </p:sp>
        <p:sp>
          <p:nvSpPr>
            <p:cNvPr id="104" name="Rectangle 145"/>
            <p:cNvSpPr/>
            <p:nvPr/>
          </p:nvSpPr>
          <p:spPr bwMode="auto">
            <a:xfrm>
              <a:off x="697198" y="1847637"/>
              <a:ext cx="1821468" cy="3831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2C812"/>
                  </a:solidFill>
                  <a:effectLst/>
                  <a:uLnTx/>
                  <a:uFillTx/>
                  <a:latin typeface="Segoe UI"/>
                  <a:ea typeface="+mn-ea"/>
                  <a:cs typeface="Segoe UI Light" panose="020B0502040204020203" pitchFamily="34" charset="0"/>
                </a:rPr>
                <a:t>Pinning and Navigation</a:t>
              </a:r>
            </a:p>
          </p:txBody>
        </p:sp>
        <p:sp>
          <p:nvSpPr>
            <p:cNvPr id="105" name="Oval 162"/>
            <p:cNvSpPr/>
            <p:nvPr/>
          </p:nvSpPr>
          <p:spPr bwMode="auto">
            <a:xfrm>
              <a:off x="224136" y="1813606"/>
              <a:ext cx="433844" cy="433844"/>
            </a:xfrm>
            <a:prstGeom prst="ellipse">
              <a:avLst/>
            </a:prstGeom>
            <a:solidFill>
              <a:srgbClr val="FFCC00"/>
            </a:solidFill>
            <a:ln>
              <a:solidFill>
                <a:srgbClr val="F2C81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pic>
        <p:nvPicPr>
          <p:cNvPr id="119" name="Picture 118"/>
          <p:cNvPicPr>
            <a:picLocks noChangeAspect="1"/>
          </p:cNvPicPr>
          <p:nvPr/>
        </p:nvPicPr>
        <p:blipFill rotWithShape="1">
          <a:blip r:embed="rId3"/>
          <a:srcRect l="6503" t="21287" r="74698" b="20220"/>
          <a:stretch/>
        </p:blipFill>
        <p:spPr>
          <a:xfrm>
            <a:off x="339111" y="1946110"/>
            <a:ext cx="228600" cy="231962"/>
          </a:xfrm>
          <a:prstGeom prst="rect">
            <a:avLst/>
          </a:prstGeom>
        </p:spPr>
      </p:pic>
      <p:pic>
        <p:nvPicPr>
          <p:cNvPr id="120" name="Picture 119"/>
          <p:cNvPicPr>
            <a:picLocks noChangeAspect="1"/>
          </p:cNvPicPr>
          <p:nvPr/>
        </p:nvPicPr>
        <p:blipFill>
          <a:blip r:embed="rId4"/>
          <a:stretch>
            <a:fillRect/>
          </a:stretch>
        </p:blipFill>
        <p:spPr>
          <a:xfrm>
            <a:off x="284769" y="3673076"/>
            <a:ext cx="311766" cy="303106"/>
          </a:xfrm>
          <a:prstGeom prst="rect">
            <a:avLst/>
          </a:prstGeom>
        </p:spPr>
      </p:pic>
      <p:sp>
        <p:nvSpPr>
          <p:cNvPr id="121" name="Rectangle 145"/>
          <p:cNvSpPr/>
          <p:nvPr/>
        </p:nvSpPr>
        <p:spPr bwMode="auto">
          <a:xfrm>
            <a:off x="718897" y="5436715"/>
            <a:ext cx="1821468" cy="3831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2C812"/>
                </a:solidFill>
                <a:effectLst/>
                <a:uLnTx/>
                <a:uFillTx/>
                <a:latin typeface="Segoe UI"/>
                <a:ea typeface="+mn-ea"/>
                <a:cs typeface="Segoe UI Light" panose="020B0502040204020203" pitchFamily="34" charset="0"/>
              </a:rPr>
              <a:t>Connect from Excel</a:t>
            </a:r>
          </a:p>
        </p:txBody>
      </p:sp>
      <p:sp>
        <p:nvSpPr>
          <p:cNvPr id="122" name="Oval 162"/>
          <p:cNvSpPr/>
          <p:nvPr/>
        </p:nvSpPr>
        <p:spPr bwMode="auto">
          <a:xfrm>
            <a:off x="231441" y="5429649"/>
            <a:ext cx="433844" cy="433844"/>
          </a:xfrm>
          <a:prstGeom prst="ellipse">
            <a:avLst/>
          </a:prstGeom>
          <a:solidFill>
            <a:srgbClr val="FFCC00"/>
          </a:solidFill>
          <a:ln>
            <a:solidFill>
              <a:srgbClr val="F2C81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23" name="Picture 122"/>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flipH="1">
            <a:off x="283763" y="4596680"/>
            <a:ext cx="357484" cy="357484"/>
          </a:xfrm>
          <a:prstGeom prst="rect">
            <a:avLst/>
          </a:prstGeom>
        </p:spPr>
      </p:pic>
      <p:sp>
        <p:nvSpPr>
          <p:cNvPr id="124" name="Oval 162"/>
          <p:cNvSpPr/>
          <p:nvPr/>
        </p:nvSpPr>
        <p:spPr bwMode="auto">
          <a:xfrm>
            <a:off x="233032" y="6267344"/>
            <a:ext cx="433844" cy="433844"/>
          </a:xfrm>
          <a:prstGeom prst="ellipse">
            <a:avLst/>
          </a:prstGeom>
          <a:solidFill>
            <a:srgbClr val="FFCC00"/>
          </a:solidFill>
          <a:ln>
            <a:solidFill>
              <a:srgbClr val="F2C81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5" name="Rectangle 145"/>
          <p:cNvSpPr/>
          <p:nvPr/>
        </p:nvSpPr>
        <p:spPr bwMode="auto">
          <a:xfrm>
            <a:off x="701416" y="6289969"/>
            <a:ext cx="1821468" cy="3831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2C812"/>
                </a:solidFill>
                <a:effectLst/>
                <a:uLnTx/>
                <a:uFillTx/>
                <a:latin typeface="Segoe UI"/>
                <a:ea typeface="+mn-ea"/>
                <a:cs typeface="Segoe UI Light" panose="020B0502040204020203" pitchFamily="34" charset="0"/>
              </a:rPr>
              <a:t>Mobile Reports</a:t>
            </a:r>
          </a:p>
        </p:txBody>
      </p:sp>
      <p:pic>
        <p:nvPicPr>
          <p:cNvPr id="126" name="Picture 125"/>
          <p:cNvPicPr>
            <a:picLocks noChangeAspect="1"/>
          </p:cNvPicPr>
          <p:nvPr/>
        </p:nvPicPr>
        <p:blipFill>
          <a:blip r:embed="rId6" cstate="print">
            <a:extLst>
              <a:ext uri="{BEBA8EAE-BF5A-486C-A8C5-ECC9F3942E4B}">
                <a14:imgProps xmlns:a14="http://schemas.microsoft.com/office/drawing/2010/main">
                  <a14:imgLayer r:embed="rId7">
                    <a14:imgEffect>
                      <a14:saturation sat="0"/>
                    </a14:imgEffect>
                  </a14:imgLayer>
                </a14:imgProps>
              </a:ext>
              <a:ext uri="{28A0092B-C50C-407E-A947-70E740481C1C}">
                <a14:useLocalDpi xmlns:a14="http://schemas.microsoft.com/office/drawing/2010/main" val="0"/>
              </a:ext>
            </a:extLst>
          </a:blip>
          <a:stretch>
            <a:fillRect/>
          </a:stretch>
        </p:blipFill>
        <p:spPr>
          <a:xfrm>
            <a:off x="391946" y="6350039"/>
            <a:ext cx="133350" cy="251587"/>
          </a:xfrm>
          <a:prstGeom prst="rect">
            <a:avLst/>
          </a:prstGeom>
        </p:spPr>
      </p:pic>
      <p:pic>
        <p:nvPicPr>
          <p:cNvPr id="127" name="Picture 126"/>
          <p:cNvPicPr>
            <a:picLocks noChangeAspect="1"/>
          </p:cNvPicPr>
          <p:nvPr/>
        </p:nvPicPr>
        <p:blipFill>
          <a:blip r:embed="rId8" cstate="print">
            <a:biLevel thresh="50000"/>
            <a:extLst>
              <a:ext uri="{28A0092B-C50C-407E-A947-70E740481C1C}">
                <a14:useLocalDpi xmlns:a14="http://schemas.microsoft.com/office/drawing/2010/main" val="0"/>
              </a:ext>
            </a:extLst>
          </a:blip>
          <a:stretch>
            <a:fillRect/>
          </a:stretch>
        </p:blipFill>
        <p:spPr>
          <a:xfrm>
            <a:off x="332658" y="5538489"/>
            <a:ext cx="268940" cy="268940"/>
          </a:xfrm>
          <a:prstGeom prst="rect">
            <a:avLst/>
          </a:prstGeom>
        </p:spPr>
      </p:pic>
      <p:sp>
        <p:nvSpPr>
          <p:cNvPr id="128" name="Rectangle 127"/>
          <p:cNvSpPr/>
          <p:nvPr/>
        </p:nvSpPr>
        <p:spPr bwMode="auto">
          <a:xfrm>
            <a:off x="35912" y="2594112"/>
            <a:ext cx="2464420" cy="4194313"/>
          </a:xfrm>
          <a:prstGeom prst="rect">
            <a:avLst/>
          </a:prstGeom>
          <a:solidFill>
            <a:srgbClr val="000000">
              <a:alpha val="6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9" name="Rectangle 128"/>
          <p:cNvSpPr/>
          <p:nvPr/>
        </p:nvSpPr>
        <p:spPr bwMode="auto">
          <a:xfrm>
            <a:off x="95936" y="731576"/>
            <a:ext cx="2464420" cy="880187"/>
          </a:xfrm>
          <a:prstGeom prst="rect">
            <a:avLst/>
          </a:prstGeom>
          <a:solidFill>
            <a:srgbClr val="000000">
              <a:alpha val="6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3" name="Picture 2"/>
          <p:cNvPicPr>
            <a:picLocks noChangeAspect="1"/>
          </p:cNvPicPr>
          <p:nvPr/>
        </p:nvPicPr>
        <p:blipFill>
          <a:blip r:embed="rId9"/>
          <a:stretch>
            <a:fillRect/>
          </a:stretch>
        </p:blipFill>
        <p:spPr>
          <a:xfrm>
            <a:off x="9477418" y="957483"/>
            <a:ext cx="2183266" cy="3196121"/>
          </a:xfrm>
          <a:prstGeom prst="rect">
            <a:avLst/>
          </a:prstGeom>
        </p:spPr>
      </p:pic>
      <p:pic>
        <p:nvPicPr>
          <p:cNvPr id="5" name="Picture 4"/>
          <p:cNvPicPr>
            <a:picLocks noChangeAspect="1"/>
          </p:cNvPicPr>
          <p:nvPr/>
        </p:nvPicPr>
        <p:blipFill>
          <a:blip r:embed="rId10"/>
          <a:stretch>
            <a:fillRect/>
          </a:stretch>
        </p:blipFill>
        <p:spPr>
          <a:xfrm>
            <a:off x="4043129" y="2821465"/>
            <a:ext cx="4969355" cy="3895309"/>
          </a:xfrm>
          <a:prstGeom prst="rect">
            <a:avLst/>
          </a:prstGeom>
        </p:spPr>
      </p:pic>
    </p:spTree>
    <p:extLst>
      <p:ext uri="{BB962C8B-B14F-4D97-AF65-F5344CB8AC3E}">
        <p14:creationId xmlns:p14="http://schemas.microsoft.com/office/powerpoint/2010/main" val="15171549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 name="Text Placeholder 2"/>
          <p:cNvSpPr txBox="1">
            <a:spLocks/>
          </p:cNvSpPr>
          <p:nvPr/>
        </p:nvSpPr>
        <p:spPr>
          <a:xfrm>
            <a:off x="2846172" y="1340643"/>
            <a:ext cx="5552834" cy="897374"/>
          </a:xfrm>
          <a:prstGeom prst="rect">
            <a:avLst/>
          </a:prstGeom>
        </p:spPr>
        <p:txBody>
          <a:bodyPr vert="horz" wrap="square" lIns="182880" tIns="146304" rIns="182880" bIns="146304" rtlCol="0">
            <a:noAutofit/>
          </a:bodyPr>
          <a:lstStyle>
            <a:lvl1pPr marL="182845" marR="0"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3921" kern="1200" spc="0" baseline="0">
                <a:gradFill>
                  <a:gsLst>
                    <a:gs pos="1250">
                      <a:schemeClr val="tx2"/>
                    </a:gs>
                    <a:gs pos="99000">
                      <a:schemeClr val="tx2"/>
                    </a:gs>
                  </a:gsLst>
                  <a:lin ang="5400000" scaled="0"/>
                </a:gradFill>
                <a:latin typeface="+mj-lt"/>
                <a:ea typeface="+mn-ea"/>
                <a:cs typeface="+mn-cs"/>
              </a:defRPr>
            </a:lvl1pPr>
            <a:lvl2pPr marL="365690" marR="0"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2400" kern="1200" spc="0" baseline="0">
                <a:solidFill>
                  <a:schemeClr val="tx2"/>
                </a:solidFill>
                <a:latin typeface="+mj-lt"/>
                <a:ea typeface="+mn-ea"/>
                <a:cs typeface="+mn-cs"/>
              </a:defRPr>
            </a:lvl2pPr>
            <a:lvl3pPr marL="548535" marR="0"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2000" kern="1200" spc="0" baseline="0">
                <a:solidFill>
                  <a:schemeClr val="tx2"/>
                </a:solidFill>
                <a:latin typeface="+mj-lt"/>
                <a:ea typeface="+mn-ea"/>
                <a:cs typeface="+mn-cs"/>
              </a:defRPr>
            </a:lvl3pPr>
            <a:lvl4pPr marL="733802" marR="0" indent="-28569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1765" kern="1200" spc="0" baseline="0">
                <a:solidFill>
                  <a:schemeClr val="tx2"/>
                </a:solidFill>
                <a:latin typeface="+mn-lt"/>
                <a:ea typeface="+mn-ea"/>
                <a:cs typeface="+mn-cs"/>
              </a:defRPr>
            </a:lvl4pPr>
            <a:lvl5pPr marL="957856" marR="0" indent="-28569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1765" kern="1200" spc="0" baseline="0">
                <a:solidFill>
                  <a:schemeClr val="tx2"/>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r>
              <a:rPr kumimoji="0" lang="en-US" sz="2000" b="1" i="0" u="none" strike="noStrike" kern="1200" cap="none" spc="0" normalizeH="0" baseline="0" noProof="0" dirty="0">
                <a:ln>
                  <a:noFill/>
                </a:ln>
                <a:solidFill>
                  <a:prstClr val="black"/>
                </a:solidFill>
                <a:effectLst/>
                <a:uLnTx/>
                <a:uFillTx/>
                <a:latin typeface="Segoe UI Light"/>
                <a:ea typeface="+mn-ea"/>
                <a:cs typeface="Times New Roman" panose="02020603050405020304" pitchFamily="18" charset="0"/>
              </a:rPr>
              <a:t>Raise awareness </a:t>
            </a:r>
            <a:r>
              <a:rPr kumimoji="0" lang="en-US" sz="2000" b="0" i="0" u="none" strike="noStrike" kern="1200" cap="none" spc="0" normalizeH="0" baseline="0" noProof="0" dirty="0">
                <a:ln>
                  <a:noFill/>
                </a:ln>
                <a:solidFill>
                  <a:prstClr val="black"/>
                </a:solidFill>
                <a:effectLst/>
                <a:uLnTx/>
                <a:uFillTx/>
                <a:latin typeface="Segoe UI Light"/>
                <a:ea typeface="+mn-ea"/>
                <a:cs typeface="Times New Roman" panose="02020603050405020304" pitchFamily="18" charset="0"/>
              </a:rPr>
              <a:t>of those viewing your dashboards about the </a:t>
            </a:r>
            <a:r>
              <a:rPr kumimoji="0" lang="en-US" sz="2000" b="1" i="0" u="none" strike="noStrike" kern="1200" cap="none" spc="0" normalizeH="0" baseline="0" noProof="0" dirty="0">
                <a:ln>
                  <a:noFill/>
                </a:ln>
                <a:solidFill>
                  <a:prstClr val="black"/>
                </a:solidFill>
                <a:effectLst/>
                <a:uLnTx/>
                <a:uFillTx/>
                <a:latin typeface="Segoe UI Light"/>
                <a:ea typeface="+mn-ea"/>
                <a:cs typeface="Times New Roman" panose="02020603050405020304" pitchFamily="18" charset="0"/>
              </a:rPr>
              <a:t>level of security</a:t>
            </a:r>
            <a:r>
              <a:rPr kumimoji="0" lang="en-US" sz="2000" b="0" i="0" u="none" strike="noStrike" kern="1200" cap="none" spc="0" normalizeH="0" baseline="0" noProof="0" dirty="0">
                <a:ln>
                  <a:noFill/>
                </a:ln>
                <a:solidFill>
                  <a:prstClr val="black"/>
                </a:solidFill>
                <a:effectLst/>
                <a:uLnTx/>
                <a:uFillTx/>
                <a:latin typeface="Segoe UI Light"/>
                <a:ea typeface="+mn-ea"/>
                <a:cs typeface="Times New Roman" panose="02020603050405020304" pitchFamily="18" charset="0"/>
              </a:rPr>
              <a:t> that should be used</a:t>
            </a:r>
            <a:endParaRPr kumimoji="0" lang="en-US" sz="2000" b="1" i="0" u="none" strike="noStrike" kern="1200" cap="none" spc="0" normalizeH="0" baseline="0" noProof="0" dirty="0">
              <a:ln>
                <a:noFill/>
              </a:ln>
              <a:solidFill>
                <a:prstClr val="black"/>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0" i="0" u="none" strike="noStrike" kern="1200" cap="none" spc="0" normalizeH="0" baseline="0" noProof="0" dirty="0">
              <a:ln>
                <a:noFill/>
              </a:ln>
              <a:solidFill>
                <a:prstClr val="black"/>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r>
              <a:rPr kumimoji="0" lang="en-US" sz="2000" b="1" i="0" u="none" strike="noStrike" kern="1200" cap="none" spc="0" normalizeH="0" baseline="0" noProof="0" dirty="0">
                <a:ln>
                  <a:noFill/>
                </a:ln>
                <a:solidFill>
                  <a:prstClr val="black"/>
                </a:solidFill>
                <a:effectLst/>
                <a:uLnTx/>
                <a:uFillTx/>
                <a:latin typeface="Segoe UI Light"/>
                <a:ea typeface="+mn-ea"/>
                <a:cs typeface="Times New Roman" panose="02020603050405020304" pitchFamily="18" charset="0"/>
              </a:rPr>
              <a:t>Tag your dashboards </a:t>
            </a:r>
            <a:r>
              <a:rPr kumimoji="0" lang="en-US" sz="2000" b="0" i="0" u="none" strike="noStrike" kern="1200" cap="none" spc="0" normalizeH="0" baseline="0" noProof="0" dirty="0">
                <a:ln>
                  <a:noFill/>
                </a:ln>
                <a:solidFill>
                  <a:prstClr val="black"/>
                </a:solidFill>
                <a:effectLst/>
                <a:uLnTx/>
                <a:uFillTx/>
                <a:latin typeface="Segoe UI Light"/>
                <a:ea typeface="+mn-ea"/>
                <a:cs typeface="Times New Roman" panose="02020603050405020304" pitchFamily="18" charset="0"/>
              </a:rPr>
              <a:t>with classifications defined by your company’s IT</a:t>
            </a:r>
            <a:endParaRPr kumimoji="0" lang="en-US" sz="2000" b="1" i="0" u="none" strike="noStrike" kern="1200" cap="none" spc="0" normalizeH="0" baseline="0" noProof="0" dirty="0">
              <a:ln>
                <a:noFill/>
              </a:ln>
              <a:solidFill>
                <a:prstClr val="black"/>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1" i="0" u="none" strike="noStrike" kern="1200" cap="none" spc="0" normalizeH="0" baseline="0" noProof="0" dirty="0">
              <a:ln>
                <a:noFill/>
              </a:ln>
              <a:solidFill>
                <a:prstClr val="black"/>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Segoe UI Light"/>
                <a:ea typeface="+mn-ea"/>
                <a:cs typeface="Times New Roman" panose="02020603050405020304" pitchFamily="18" charset="0"/>
              </a:rPr>
              <a:t>Tags show up </a:t>
            </a:r>
            <a:r>
              <a:rPr kumimoji="0" lang="en-US" sz="2000" b="1" i="0" u="none" strike="noStrike" kern="1200" cap="none" spc="0" normalizeH="0" baseline="0" noProof="0" dirty="0">
                <a:ln>
                  <a:noFill/>
                </a:ln>
                <a:solidFill>
                  <a:prstClr val="black"/>
                </a:solidFill>
                <a:effectLst/>
                <a:uLnTx/>
                <a:uFillTx/>
                <a:latin typeface="Segoe UI Light"/>
                <a:ea typeface="+mn-ea"/>
                <a:cs typeface="Times New Roman" panose="02020603050405020304" pitchFamily="18" charset="0"/>
              </a:rPr>
              <a:t>next to the dashboard name</a:t>
            </a: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1" i="0" u="none" strike="noStrike" kern="1200" cap="none" spc="0" normalizeH="0" baseline="0" noProof="0" dirty="0">
              <a:ln>
                <a:noFill/>
              </a:ln>
              <a:solidFill>
                <a:prstClr val="black"/>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r>
              <a:rPr kumimoji="0" lang="en-US" sz="2000" b="1" i="0" u="none" strike="noStrike" kern="1200" cap="none" spc="0" normalizeH="0" baseline="0" noProof="0" dirty="0">
                <a:ln>
                  <a:noFill/>
                </a:ln>
                <a:solidFill>
                  <a:prstClr val="black"/>
                </a:solidFill>
                <a:effectLst/>
                <a:uLnTx/>
                <a:uFillTx/>
                <a:latin typeface="Segoe UI Light"/>
                <a:ea typeface="+mn-ea"/>
                <a:cs typeface="Times New Roman" panose="02020603050405020304" pitchFamily="18" charset="0"/>
              </a:rPr>
              <a:t>Hover over tag </a:t>
            </a:r>
            <a:r>
              <a:rPr kumimoji="0" lang="en-US" sz="2000" b="0" i="0" u="none" strike="noStrike" kern="1200" cap="none" spc="0" normalizeH="0" baseline="0" noProof="0" dirty="0">
                <a:ln>
                  <a:noFill/>
                </a:ln>
                <a:solidFill>
                  <a:prstClr val="black"/>
                </a:solidFill>
                <a:effectLst/>
                <a:uLnTx/>
                <a:uFillTx/>
                <a:latin typeface="Segoe UI Light"/>
                <a:ea typeface="+mn-ea"/>
                <a:cs typeface="Times New Roman" panose="02020603050405020304" pitchFamily="18" charset="0"/>
              </a:rPr>
              <a:t>to view full name of classification</a:t>
            </a:r>
            <a:r>
              <a:rPr kumimoji="0" lang="en-US" sz="2000" b="1" i="0" u="none" strike="noStrike" kern="1200" cap="none" spc="0" normalizeH="0" baseline="0" noProof="0" dirty="0">
                <a:ln>
                  <a:noFill/>
                </a:ln>
                <a:solidFill>
                  <a:prstClr val="black"/>
                </a:solidFill>
                <a:effectLst/>
                <a:uLnTx/>
                <a:uFillTx/>
                <a:latin typeface="Segoe UI Light"/>
                <a:ea typeface="+mn-ea"/>
                <a:cs typeface="Times New Roman" panose="02020603050405020304" pitchFamily="18" charset="0"/>
              </a:rPr>
              <a:t> </a:t>
            </a: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0" i="0" u="none" strike="noStrike" kern="1200" cap="none" spc="0" normalizeH="0" baseline="0" noProof="0" dirty="0">
              <a:ln>
                <a:noFill/>
              </a:ln>
              <a:solidFill>
                <a:prstClr val="black"/>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0" i="0" u="none" strike="noStrike" kern="1200" cap="none" spc="0" normalizeH="0" baseline="0" noProof="0" dirty="0">
              <a:ln>
                <a:noFill/>
              </a:ln>
              <a:solidFill>
                <a:prstClr val="black"/>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0" i="0" u="none" strike="noStrike" kern="1200" cap="none" spc="0" normalizeH="0" baseline="0" noProof="0" dirty="0">
              <a:ln>
                <a:noFill/>
              </a:ln>
              <a:solidFill>
                <a:prstClr val="black"/>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0" i="0" u="none" strike="noStrike" kern="1200" cap="none" spc="0" normalizeH="0" baseline="0" noProof="0" dirty="0">
              <a:ln>
                <a:noFill/>
              </a:ln>
              <a:solidFill>
                <a:prstClr val="black"/>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0" i="0" u="none" strike="noStrike" kern="1200" cap="none" spc="0" normalizeH="0" baseline="0" noProof="0" dirty="0">
              <a:ln>
                <a:noFill/>
              </a:ln>
              <a:solidFill>
                <a:prstClr val="black"/>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0" i="0" u="none" strike="noStrike" kern="1200" cap="none" spc="0" normalizeH="0" baseline="0" noProof="0" dirty="0">
              <a:ln>
                <a:noFill/>
              </a:ln>
              <a:solidFill>
                <a:prstClr val="black"/>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0" i="0" u="none" strike="noStrike" kern="1200" cap="none" spc="0" normalizeH="0" baseline="0" noProof="0" dirty="0">
              <a:ln>
                <a:noFill/>
              </a:ln>
              <a:solidFill>
                <a:prstClr val="black"/>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0" i="0" u="none" strike="noStrike" kern="1200" cap="none" spc="0" normalizeH="0" baseline="0" noProof="0" dirty="0">
              <a:ln>
                <a:noFill/>
              </a:ln>
              <a:solidFill>
                <a:prstClr val="black"/>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0" i="0" u="none" strike="noStrike" kern="1200" cap="none" spc="0" normalizeH="0" baseline="0" noProof="0" dirty="0">
              <a:ln>
                <a:noFill/>
              </a:ln>
              <a:solidFill>
                <a:prstClr val="black"/>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0" i="0" u="none" strike="noStrike" kern="1200" cap="none" spc="0" normalizeH="0" baseline="0" noProof="0" dirty="0">
              <a:ln>
                <a:noFill/>
              </a:ln>
              <a:solidFill>
                <a:prstClr val="black"/>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0" i="0" u="none" strike="noStrike" kern="1200" cap="none" spc="0" normalizeH="0" baseline="0" noProof="0" dirty="0">
              <a:ln>
                <a:noFill/>
              </a:ln>
              <a:solidFill>
                <a:prstClr val="black"/>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0" i="0" u="none" strike="noStrike" kern="1200" cap="none" spc="0" normalizeH="0" baseline="0" noProof="0" dirty="0">
              <a:ln>
                <a:noFill/>
              </a:ln>
              <a:solidFill>
                <a:prstClr val="black"/>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0" i="0" u="none" strike="noStrike" kern="1200" cap="none" spc="0" normalizeH="0" baseline="0" noProof="0" dirty="0">
              <a:ln>
                <a:noFill/>
              </a:ln>
              <a:solidFill>
                <a:prstClr val="black"/>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1" i="0" u="none" strike="noStrike" kern="1200" cap="none" spc="0" normalizeH="0" baseline="0" noProof="0" dirty="0">
              <a:ln>
                <a:noFill/>
              </a:ln>
              <a:solidFill>
                <a:prstClr val="black"/>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0" i="0" u="none" strike="noStrike" kern="1200" cap="none" spc="0" normalizeH="0" baseline="0" noProof="0" dirty="0">
              <a:ln>
                <a:noFill/>
              </a:ln>
              <a:solidFill>
                <a:prstClr val="black"/>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0" i="0" u="none" strike="noStrike" kern="1200" cap="none" spc="0" normalizeH="0" baseline="0" noProof="0" dirty="0">
              <a:ln>
                <a:noFill/>
              </a:ln>
              <a:solidFill>
                <a:prstClr val="black"/>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0" i="0" u="none" strike="noStrike" kern="1200" cap="none" spc="0" normalizeH="0" baseline="0" noProof="0" dirty="0">
              <a:ln>
                <a:noFill/>
              </a:ln>
              <a:solidFill>
                <a:prstClr val="black"/>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0" i="0" u="none" strike="noStrike" kern="1200" cap="none" spc="0" normalizeH="0" baseline="0" noProof="0" dirty="0">
              <a:ln>
                <a:noFill/>
              </a:ln>
              <a:solidFill>
                <a:prstClr val="black"/>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0" i="0" u="none" strike="noStrike" kern="1200" cap="none" spc="0" normalizeH="0" baseline="0" noProof="0" dirty="0">
              <a:ln>
                <a:noFill/>
              </a:ln>
              <a:solidFill>
                <a:prstClr val="black"/>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0" i="0" u="none" strike="noStrike" kern="1200" cap="none" spc="0" normalizeH="0" baseline="0" noProof="0" dirty="0">
              <a:ln>
                <a:noFill/>
              </a:ln>
              <a:solidFill>
                <a:prstClr val="black"/>
              </a:solidFill>
              <a:effectLst/>
              <a:uLnTx/>
              <a:uFillTx/>
              <a:latin typeface="Segoe UI Light"/>
              <a:ea typeface="+mn-ea"/>
              <a:cs typeface="Times New Roman" panose="02020603050405020304" pitchFamily="18" charset="0"/>
            </a:endParaRPr>
          </a:p>
          <a:p>
            <a:pPr marL="182845" marR="0" lvl="1" indent="0" algn="l" defTabSz="914367" rtl="0" eaLnBrk="1" fontAlgn="auto" latinLnBrk="0" hangingPunct="1">
              <a:lnSpc>
                <a:spcPct val="90000"/>
              </a:lnSpc>
              <a:spcBef>
                <a:spcPct val="20000"/>
              </a:spcBef>
              <a:spcAft>
                <a:spcPts val="0"/>
              </a:spcAft>
              <a:buClrTx/>
              <a:buSzPct val="90000"/>
              <a:buFont typeface="Arial" panose="020B0604020202020204" pitchFamily="34" charset="0"/>
              <a:buNone/>
              <a:tabLst/>
              <a:defRPr/>
            </a:pPr>
            <a:endParaRPr kumimoji="0" lang="en-US" sz="2000" b="0" i="0" u="none" strike="noStrike" kern="1200" cap="none" spc="0" normalizeH="0" baseline="0" noProof="0" dirty="0">
              <a:ln>
                <a:noFill/>
              </a:ln>
              <a:solidFill>
                <a:prstClr val="black"/>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0" i="0" u="none" strike="noStrike" kern="1200" cap="none" spc="0" normalizeH="0" baseline="0" noProof="0" dirty="0">
              <a:ln>
                <a:noFill/>
              </a:ln>
              <a:solidFill>
                <a:prstClr val="black"/>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0" i="0" u="none" strike="noStrike" kern="1200" cap="none" spc="0" normalizeH="0" baseline="0" noProof="0" dirty="0">
              <a:ln>
                <a:noFill/>
              </a:ln>
              <a:solidFill>
                <a:prstClr val="black"/>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1" i="0" u="none" strike="noStrike" kern="1200" cap="none" spc="0" normalizeH="0" baseline="0" noProof="0" dirty="0">
              <a:ln>
                <a:noFill/>
              </a:ln>
              <a:solidFill>
                <a:prstClr val="black"/>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1" i="0" u="none" strike="noStrike" kern="1200" cap="none" spc="0" normalizeH="0" baseline="0" noProof="0" dirty="0">
              <a:ln>
                <a:noFill/>
              </a:ln>
              <a:solidFill>
                <a:prstClr val="black"/>
              </a:solidFill>
              <a:effectLst/>
              <a:uLnTx/>
              <a:uFillTx/>
              <a:latin typeface="Segoe UI Light"/>
              <a:ea typeface="+mn-ea"/>
              <a:cs typeface="Times New Roman" panose="02020603050405020304" pitchFamily="18" charset="0"/>
            </a:endParaRPr>
          </a:p>
        </p:txBody>
      </p:sp>
      <p:sp>
        <p:nvSpPr>
          <p:cNvPr id="53" name="Title 10"/>
          <p:cNvSpPr txBox="1">
            <a:spLocks/>
          </p:cNvSpPr>
          <p:nvPr/>
        </p:nvSpPr>
        <p:spPr>
          <a:xfrm>
            <a:off x="2849060" y="0"/>
            <a:ext cx="9342940" cy="665151"/>
          </a:xfrm>
          <a:prstGeom prst="rect">
            <a:avLst/>
          </a:prstGeom>
          <a:noFill/>
        </p:spPr>
        <p:txBody>
          <a:bodyPr vert="horz" wrap="square" lIns="0" tIns="91440" rIns="0" bIns="91440" rtlCol="0" anchor="t">
            <a:noAutofit/>
          </a:bodyPr>
          <a:lstStyle>
            <a:lvl1pPr defTabSz="914367">
              <a:lnSpc>
                <a:spcPct val="90000"/>
              </a:lnSpc>
              <a:spcBef>
                <a:spcPct val="0"/>
              </a:spcBef>
              <a:buNone/>
              <a:defRPr lang="en-US" sz="5294" b="0" cap="none" spc="-100" baseline="0" dirty="0" smtClean="0">
                <a:ln w="3175">
                  <a:noFill/>
                </a:ln>
                <a:solidFill>
                  <a:schemeClr val="tx2"/>
                </a:solidFill>
                <a:effectLst/>
                <a:latin typeface="+mj-lt"/>
                <a:cs typeface="Segoe UI" pitchFamily="34" charset="0"/>
              </a:defRPr>
            </a:lvl1pPr>
          </a:lstStyle>
          <a:p>
            <a:pPr marL="168275" marR="0" lvl="0" indent="0" algn="l" defTabSz="914367" rtl="0" eaLnBrk="1" fontAlgn="auto" latinLnBrk="0" hangingPunct="1">
              <a:lnSpc>
                <a:spcPct val="90000"/>
              </a:lnSpc>
              <a:spcBef>
                <a:spcPct val="0"/>
              </a:spcBef>
              <a:spcAft>
                <a:spcPts val="0"/>
              </a:spcAft>
              <a:buClrTx/>
              <a:buSzTx/>
              <a:buFontTx/>
              <a:buNone/>
              <a:tabLst/>
              <a:defRPr/>
            </a:pPr>
            <a:r>
              <a:rPr kumimoji="0" lang="en-US" sz="3600" b="0" i="0" u="none" strike="noStrike" kern="1200" cap="none" spc="-100" normalizeH="0" baseline="0" noProof="0">
                <a:ln w="3175">
                  <a:noFill/>
                </a:ln>
                <a:solidFill>
                  <a:prstClr val="black"/>
                </a:solidFill>
                <a:effectLst/>
                <a:uLnTx/>
                <a:uFillTx/>
                <a:latin typeface="Segoe UI Light"/>
                <a:ea typeface="+mn-ea"/>
                <a:cs typeface="Segoe UI" pitchFamily="34" charset="0"/>
              </a:rPr>
              <a:t>Pinning and Navigation</a:t>
            </a:r>
            <a:endParaRPr kumimoji="0" lang="en-IN" sz="3600" b="0" i="0" u="none" strike="noStrike" kern="1200" cap="none" spc="-100" normalizeH="0" baseline="0" noProof="0">
              <a:ln w="3175">
                <a:noFill/>
              </a:ln>
              <a:solidFill>
                <a:prstClr val="black"/>
              </a:solidFill>
              <a:effectLst/>
              <a:uLnTx/>
              <a:uFillTx/>
              <a:latin typeface="Segoe UI Light"/>
              <a:ea typeface="+mn-ea"/>
              <a:cs typeface="Segoe UI" pitchFamily="34" charset="0"/>
            </a:endParaRPr>
          </a:p>
        </p:txBody>
      </p:sp>
      <p:sp>
        <p:nvSpPr>
          <p:cNvPr id="41" name="Rectangle 3"/>
          <p:cNvSpPr/>
          <p:nvPr/>
        </p:nvSpPr>
        <p:spPr bwMode="auto">
          <a:xfrm>
            <a:off x="3202216" y="665151"/>
            <a:ext cx="8105312" cy="44435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PT" sz="2000" b="0" i="1" u="none" strike="noStrike" kern="1200" cap="none" spc="0" normalizeH="0" baseline="0" noProof="0">
                <a:ln>
                  <a:noFill/>
                </a:ln>
                <a:solidFill>
                  <a:prstClr val="black"/>
                </a:solidFill>
                <a:effectLst/>
                <a:uLnTx/>
                <a:uFillTx/>
                <a:latin typeface="Segoe UI Light"/>
                <a:ea typeface="+mn-ea"/>
                <a:cs typeface="+mn-cs"/>
              </a:rPr>
              <a:t>Dashboard – Data Classification</a:t>
            </a:r>
            <a:endParaRPr kumimoji="0" lang="en-US" sz="2000" b="0" i="1" u="none" strike="noStrike" kern="1200" cap="none" spc="0" normalizeH="0" baseline="0" noProof="0">
              <a:ln>
                <a:noFill/>
              </a:ln>
              <a:solidFill>
                <a:prstClr val="black"/>
              </a:solidFill>
              <a:effectLst/>
              <a:uLnTx/>
              <a:uFillTx/>
              <a:latin typeface="Segoe UI Light"/>
              <a:ea typeface="+mn-ea"/>
              <a:cs typeface="+mn-cs"/>
            </a:endParaRPr>
          </a:p>
        </p:txBody>
      </p:sp>
      <p:grpSp>
        <p:nvGrpSpPr>
          <p:cNvPr id="81" name="Group 80"/>
          <p:cNvGrpSpPr/>
          <p:nvPr/>
        </p:nvGrpSpPr>
        <p:grpSpPr>
          <a:xfrm>
            <a:off x="-2887" y="973"/>
            <a:ext cx="2849058" cy="6857027"/>
            <a:chOff x="2" y="487"/>
            <a:chExt cx="2849058" cy="6857027"/>
          </a:xfrm>
        </p:grpSpPr>
        <p:sp>
          <p:nvSpPr>
            <p:cNvPr id="94" name="Rectangle 15"/>
            <p:cNvSpPr/>
            <p:nvPr/>
          </p:nvSpPr>
          <p:spPr bwMode="auto">
            <a:xfrm>
              <a:off x="2" y="487"/>
              <a:ext cx="2849058" cy="685702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5" name="Rectangle 145"/>
            <p:cNvSpPr/>
            <p:nvPr/>
          </p:nvSpPr>
          <p:spPr bwMode="auto">
            <a:xfrm>
              <a:off x="696152" y="956997"/>
              <a:ext cx="1821468" cy="3831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2C812"/>
                  </a:solidFill>
                  <a:effectLst/>
                  <a:uLnTx/>
                  <a:uFillTx/>
                  <a:latin typeface="Segoe UI"/>
                  <a:ea typeface="+mn-ea"/>
                  <a:cs typeface="Segoe UI Light" panose="020B0502040204020203" pitchFamily="34" charset="0"/>
                </a:rPr>
                <a:t>Get Data</a:t>
              </a:r>
              <a:endParaRPr kumimoji="0" lang="en-US" sz="1200" b="1" i="1" u="none" strike="noStrike" kern="1200" cap="none" spc="0" normalizeH="0" baseline="0" noProof="0">
                <a:ln>
                  <a:noFill/>
                </a:ln>
                <a:solidFill>
                  <a:srgbClr val="F2C812"/>
                </a:solidFill>
                <a:effectLst/>
                <a:uLnTx/>
                <a:uFillTx/>
                <a:latin typeface="Segoe UI"/>
                <a:ea typeface="+mn-ea"/>
                <a:cs typeface="Segoe UI Light" panose="020B0502040204020203" pitchFamily="34" charset="0"/>
              </a:endParaRPr>
            </a:p>
          </p:txBody>
        </p:sp>
        <p:grpSp>
          <p:nvGrpSpPr>
            <p:cNvPr id="96" name="Group 95"/>
            <p:cNvGrpSpPr/>
            <p:nvPr/>
          </p:nvGrpSpPr>
          <p:grpSpPr>
            <a:xfrm>
              <a:off x="219373" y="934583"/>
              <a:ext cx="433844" cy="433844"/>
              <a:chOff x="440005" y="997815"/>
              <a:chExt cx="296322" cy="296322"/>
            </a:xfrm>
          </p:grpSpPr>
          <p:sp>
            <p:nvSpPr>
              <p:cNvPr id="115" name="Oval 147"/>
              <p:cNvSpPr/>
              <p:nvPr/>
            </p:nvSpPr>
            <p:spPr bwMode="auto">
              <a:xfrm>
                <a:off x="440005" y="997815"/>
                <a:ext cx="296322" cy="296322"/>
              </a:xfrm>
              <a:prstGeom prst="ellipse">
                <a:avLst/>
              </a:prstGeom>
              <a:solidFill>
                <a:srgbClr val="FFCC00"/>
              </a:solidFill>
              <a:ln>
                <a:solidFill>
                  <a:srgbClr val="F2C81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16" name="Group 332"/>
              <p:cNvGrpSpPr/>
              <p:nvPr/>
            </p:nvGrpSpPr>
            <p:grpSpPr>
              <a:xfrm>
                <a:off x="482167" y="1059311"/>
                <a:ext cx="211997" cy="173292"/>
                <a:chOff x="2123129" y="293070"/>
                <a:chExt cx="2472585" cy="2021178"/>
              </a:xfrm>
            </p:grpSpPr>
            <p:sp>
              <p:nvSpPr>
                <p:cNvPr id="117" name="Freeform 13"/>
                <p:cNvSpPr>
                  <a:spLocks/>
                </p:cNvSpPr>
                <p:nvPr/>
              </p:nvSpPr>
              <p:spPr bwMode="auto">
                <a:xfrm rot="20700000">
                  <a:off x="3155853" y="872796"/>
                  <a:ext cx="1439861" cy="1441452"/>
                </a:xfrm>
                <a:custGeom>
                  <a:avLst/>
                  <a:gdLst>
                    <a:gd name="T0" fmla="*/ 138 w 441"/>
                    <a:gd name="T1" fmla="*/ 341 h 441"/>
                    <a:gd name="T2" fmla="*/ 183 w 441"/>
                    <a:gd name="T3" fmla="*/ 374 h 441"/>
                    <a:gd name="T4" fmla="*/ 220 w 441"/>
                    <a:gd name="T5" fmla="*/ 423 h 441"/>
                    <a:gd name="T6" fmla="*/ 422 w 441"/>
                    <a:gd name="T7" fmla="*/ 220 h 441"/>
                    <a:gd name="T8" fmla="*/ 373 w 441"/>
                    <a:gd name="T9" fmla="*/ 184 h 441"/>
                    <a:gd name="T10" fmla="*/ 341 w 441"/>
                    <a:gd name="T11" fmla="*/ 139 h 441"/>
                    <a:gd name="T12" fmla="*/ 382 w 441"/>
                    <a:gd name="T13" fmla="*/ 58 h 441"/>
                    <a:gd name="T14" fmla="*/ 302 w 441"/>
                    <a:gd name="T15" fmla="*/ 100 h 441"/>
                    <a:gd name="T16" fmla="*/ 257 w 441"/>
                    <a:gd name="T17" fmla="*/ 67 h 441"/>
                    <a:gd name="T18" fmla="*/ 220 w 441"/>
                    <a:gd name="T19" fmla="*/ 18 h 441"/>
                    <a:gd name="T20" fmla="*/ 171 w 441"/>
                    <a:gd name="T21" fmla="*/ 55 h 441"/>
                    <a:gd name="T22" fmla="*/ 138 w 441"/>
                    <a:gd name="T23" fmla="*/ 100 h 441"/>
                    <a:gd name="T24" fmla="*/ 180 w 441"/>
                    <a:gd name="T25" fmla="*/ 181 h 441"/>
                    <a:gd name="T26" fmla="*/ 100 w 441"/>
                    <a:gd name="T27" fmla="*/ 139 h 441"/>
                    <a:gd name="T28" fmla="*/ 55 w 441"/>
                    <a:gd name="T29" fmla="*/ 171 h 441"/>
                    <a:gd name="T30" fmla="*/ 18 w 441"/>
                    <a:gd name="T31" fmla="*/ 220 h 441"/>
                    <a:gd name="T32" fmla="*/ 67 w 441"/>
                    <a:gd name="T33" fmla="*/ 257 h 441"/>
                    <a:gd name="T34" fmla="*/ 100 w 441"/>
                    <a:gd name="T35" fmla="*/ 302 h 441"/>
                    <a:gd name="T36" fmla="*/ 58 w 441"/>
                    <a:gd name="T37" fmla="*/ 383 h 441"/>
                    <a:gd name="T38" fmla="*/ 138 w 441"/>
                    <a:gd name="T39" fmla="*/ 341 h 4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41" h="441">
                      <a:moveTo>
                        <a:pt x="138" y="341"/>
                      </a:moveTo>
                      <a:cubicBezTo>
                        <a:pt x="147" y="337"/>
                        <a:pt x="171" y="361"/>
                        <a:pt x="183" y="374"/>
                      </a:cubicBezTo>
                      <a:cubicBezTo>
                        <a:pt x="196" y="386"/>
                        <a:pt x="220" y="423"/>
                        <a:pt x="220" y="423"/>
                      </a:cubicBezTo>
                      <a:cubicBezTo>
                        <a:pt x="422" y="220"/>
                        <a:pt x="422" y="220"/>
                        <a:pt x="422" y="220"/>
                      </a:cubicBezTo>
                      <a:cubicBezTo>
                        <a:pt x="422" y="220"/>
                        <a:pt x="386" y="196"/>
                        <a:pt x="373" y="184"/>
                      </a:cubicBezTo>
                      <a:cubicBezTo>
                        <a:pt x="361" y="171"/>
                        <a:pt x="338" y="149"/>
                        <a:pt x="341" y="139"/>
                      </a:cubicBezTo>
                      <a:cubicBezTo>
                        <a:pt x="343" y="129"/>
                        <a:pt x="441" y="116"/>
                        <a:pt x="382" y="58"/>
                      </a:cubicBezTo>
                      <a:cubicBezTo>
                        <a:pt x="324" y="0"/>
                        <a:pt x="310" y="96"/>
                        <a:pt x="302" y="100"/>
                      </a:cubicBezTo>
                      <a:cubicBezTo>
                        <a:pt x="294" y="104"/>
                        <a:pt x="269" y="80"/>
                        <a:pt x="257" y="67"/>
                      </a:cubicBezTo>
                      <a:cubicBezTo>
                        <a:pt x="245" y="55"/>
                        <a:pt x="220" y="18"/>
                        <a:pt x="220" y="18"/>
                      </a:cubicBezTo>
                      <a:cubicBezTo>
                        <a:pt x="220" y="18"/>
                        <a:pt x="183" y="43"/>
                        <a:pt x="171" y="55"/>
                      </a:cubicBezTo>
                      <a:cubicBezTo>
                        <a:pt x="159" y="67"/>
                        <a:pt x="134" y="92"/>
                        <a:pt x="138" y="100"/>
                      </a:cubicBezTo>
                      <a:cubicBezTo>
                        <a:pt x="142" y="108"/>
                        <a:pt x="238" y="122"/>
                        <a:pt x="180" y="181"/>
                      </a:cubicBezTo>
                      <a:cubicBezTo>
                        <a:pt x="122" y="239"/>
                        <a:pt x="110" y="141"/>
                        <a:pt x="100" y="139"/>
                      </a:cubicBezTo>
                      <a:cubicBezTo>
                        <a:pt x="89" y="137"/>
                        <a:pt x="67" y="159"/>
                        <a:pt x="55" y="171"/>
                      </a:cubicBezTo>
                      <a:cubicBezTo>
                        <a:pt x="42" y="184"/>
                        <a:pt x="18" y="220"/>
                        <a:pt x="18" y="220"/>
                      </a:cubicBezTo>
                      <a:cubicBezTo>
                        <a:pt x="18" y="220"/>
                        <a:pt x="55" y="245"/>
                        <a:pt x="67" y="257"/>
                      </a:cubicBezTo>
                      <a:cubicBezTo>
                        <a:pt x="79" y="269"/>
                        <a:pt x="102" y="292"/>
                        <a:pt x="100" y="302"/>
                      </a:cubicBezTo>
                      <a:cubicBezTo>
                        <a:pt x="98" y="312"/>
                        <a:pt x="0" y="325"/>
                        <a:pt x="58" y="383"/>
                      </a:cubicBezTo>
                      <a:cubicBezTo>
                        <a:pt x="116" y="441"/>
                        <a:pt x="130" y="345"/>
                        <a:pt x="138" y="341"/>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118" name="Freeform 14"/>
                <p:cNvSpPr>
                  <a:spLocks/>
                </p:cNvSpPr>
                <p:nvPr/>
              </p:nvSpPr>
              <p:spPr bwMode="auto">
                <a:xfrm rot="9900000">
                  <a:off x="2123129" y="293070"/>
                  <a:ext cx="1377948" cy="1377947"/>
                </a:xfrm>
                <a:custGeom>
                  <a:avLst/>
                  <a:gdLst>
                    <a:gd name="T0" fmla="*/ 422 w 422"/>
                    <a:gd name="T1" fmla="*/ 220 h 422"/>
                    <a:gd name="T2" fmla="*/ 386 w 422"/>
                    <a:gd name="T3" fmla="*/ 171 h 422"/>
                    <a:gd name="T4" fmla="*/ 341 w 422"/>
                    <a:gd name="T5" fmla="*/ 138 h 422"/>
                    <a:gd name="T6" fmla="*/ 260 w 422"/>
                    <a:gd name="T7" fmla="*/ 180 h 422"/>
                    <a:gd name="T8" fmla="*/ 302 w 422"/>
                    <a:gd name="T9" fmla="*/ 100 h 422"/>
                    <a:gd name="T10" fmla="*/ 269 w 422"/>
                    <a:gd name="T11" fmla="*/ 55 h 422"/>
                    <a:gd name="T12" fmla="*/ 220 w 422"/>
                    <a:gd name="T13" fmla="*/ 18 h 422"/>
                    <a:gd name="T14" fmla="*/ 183 w 422"/>
                    <a:gd name="T15" fmla="*/ 67 h 422"/>
                    <a:gd name="T16" fmla="*/ 138 w 422"/>
                    <a:gd name="T17" fmla="*/ 100 h 422"/>
                    <a:gd name="T18" fmla="*/ 58 w 422"/>
                    <a:gd name="T19" fmla="*/ 58 h 422"/>
                    <a:gd name="T20" fmla="*/ 100 w 422"/>
                    <a:gd name="T21" fmla="*/ 138 h 422"/>
                    <a:gd name="T22" fmla="*/ 67 w 422"/>
                    <a:gd name="T23" fmla="*/ 183 h 422"/>
                    <a:gd name="T24" fmla="*/ 18 w 422"/>
                    <a:gd name="T25" fmla="*/ 220 h 422"/>
                    <a:gd name="T26" fmla="*/ 55 w 422"/>
                    <a:gd name="T27" fmla="*/ 269 h 422"/>
                    <a:gd name="T28" fmla="*/ 100 w 422"/>
                    <a:gd name="T29" fmla="*/ 302 h 422"/>
                    <a:gd name="T30" fmla="*/ 180 w 422"/>
                    <a:gd name="T31" fmla="*/ 260 h 422"/>
                    <a:gd name="T32" fmla="*/ 138 w 422"/>
                    <a:gd name="T33" fmla="*/ 341 h 422"/>
                    <a:gd name="T34" fmla="*/ 171 w 422"/>
                    <a:gd name="T35" fmla="*/ 386 h 422"/>
                    <a:gd name="T36" fmla="*/ 220 w 422"/>
                    <a:gd name="T37" fmla="*/ 422 h 422"/>
                    <a:gd name="T38" fmla="*/ 422 w 422"/>
                    <a:gd name="T39" fmla="*/ 220 h 4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22" h="422">
                      <a:moveTo>
                        <a:pt x="422" y="220"/>
                      </a:moveTo>
                      <a:cubicBezTo>
                        <a:pt x="422" y="220"/>
                        <a:pt x="398" y="183"/>
                        <a:pt x="386" y="171"/>
                      </a:cubicBezTo>
                      <a:cubicBezTo>
                        <a:pt x="373" y="159"/>
                        <a:pt x="349" y="134"/>
                        <a:pt x="341" y="138"/>
                      </a:cubicBezTo>
                      <a:cubicBezTo>
                        <a:pt x="332" y="142"/>
                        <a:pt x="318" y="239"/>
                        <a:pt x="260" y="180"/>
                      </a:cubicBezTo>
                      <a:cubicBezTo>
                        <a:pt x="202" y="122"/>
                        <a:pt x="300" y="110"/>
                        <a:pt x="302" y="100"/>
                      </a:cubicBezTo>
                      <a:cubicBezTo>
                        <a:pt x="304" y="90"/>
                        <a:pt x="281" y="67"/>
                        <a:pt x="269" y="55"/>
                      </a:cubicBezTo>
                      <a:cubicBezTo>
                        <a:pt x="257" y="42"/>
                        <a:pt x="220" y="18"/>
                        <a:pt x="220" y="18"/>
                      </a:cubicBezTo>
                      <a:cubicBezTo>
                        <a:pt x="220" y="18"/>
                        <a:pt x="196" y="55"/>
                        <a:pt x="183" y="67"/>
                      </a:cubicBezTo>
                      <a:cubicBezTo>
                        <a:pt x="171" y="79"/>
                        <a:pt x="149" y="102"/>
                        <a:pt x="138" y="100"/>
                      </a:cubicBezTo>
                      <a:cubicBezTo>
                        <a:pt x="128" y="98"/>
                        <a:pt x="116" y="0"/>
                        <a:pt x="58" y="58"/>
                      </a:cubicBezTo>
                      <a:cubicBezTo>
                        <a:pt x="0" y="116"/>
                        <a:pt x="96" y="130"/>
                        <a:pt x="100" y="138"/>
                      </a:cubicBezTo>
                      <a:cubicBezTo>
                        <a:pt x="104" y="147"/>
                        <a:pt x="79" y="171"/>
                        <a:pt x="67" y="183"/>
                      </a:cubicBezTo>
                      <a:cubicBezTo>
                        <a:pt x="55" y="196"/>
                        <a:pt x="18" y="220"/>
                        <a:pt x="18" y="220"/>
                      </a:cubicBezTo>
                      <a:cubicBezTo>
                        <a:pt x="18" y="220"/>
                        <a:pt x="42" y="257"/>
                        <a:pt x="55" y="269"/>
                      </a:cubicBezTo>
                      <a:cubicBezTo>
                        <a:pt x="67" y="281"/>
                        <a:pt x="91" y="306"/>
                        <a:pt x="100" y="302"/>
                      </a:cubicBezTo>
                      <a:cubicBezTo>
                        <a:pt x="108" y="298"/>
                        <a:pt x="122" y="202"/>
                        <a:pt x="180" y="260"/>
                      </a:cubicBezTo>
                      <a:cubicBezTo>
                        <a:pt x="238" y="318"/>
                        <a:pt x="140" y="330"/>
                        <a:pt x="138" y="341"/>
                      </a:cubicBezTo>
                      <a:cubicBezTo>
                        <a:pt x="136" y="351"/>
                        <a:pt x="159" y="373"/>
                        <a:pt x="171" y="386"/>
                      </a:cubicBezTo>
                      <a:cubicBezTo>
                        <a:pt x="183" y="398"/>
                        <a:pt x="220" y="422"/>
                        <a:pt x="220" y="422"/>
                      </a:cubicBezTo>
                      <a:lnTo>
                        <a:pt x="422" y="22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grpSp>
        </p:grpSp>
        <p:sp>
          <p:nvSpPr>
            <p:cNvPr id="97" name="Rectangle 152"/>
            <p:cNvSpPr/>
            <p:nvPr/>
          </p:nvSpPr>
          <p:spPr bwMode="auto">
            <a:xfrm>
              <a:off x="669652" y="2738277"/>
              <a:ext cx="1805162" cy="37532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2C812"/>
                  </a:solidFill>
                  <a:effectLst/>
                  <a:uLnTx/>
                  <a:uFillTx/>
                  <a:latin typeface="Segoe UI"/>
                  <a:ea typeface="+mn-ea"/>
                  <a:cs typeface="Segoe UI Light" panose="020B0502040204020203" pitchFamily="34" charset="0"/>
                </a:rPr>
                <a:t>Keeping Data Current</a:t>
              </a:r>
            </a:p>
          </p:txBody>
        </p:sp>
        <p:grpSp>
          <p:nvGrpSpPr>
            <p:cNvPr id="98" name="Group 97"/>
            <p:cNvGrpSpPr/>
            <p:nvPr/>
          </p:nvGrpSpPr>
          <p:grpSpPr>
            <a:xfrm>
              <a:off x="199649" y="2692629"/>
              <a:ext cx="433844" cy="433844"/>
              <a:chOff x="342620" y="2228265"/>
              <a:chExt cx="433844" cy="433844"/>
            </a:xfrm>
            <a:solidFill>
              <a:schemeClr val="bg1"/>
            </a:solidFill>
          </p:grpSpPr>
          <p:sp>
            <p:nvSpPr>
              <p:cNvPr id="113" name="Oval 154"/>
              <p:cNvSpPr/>
              <p:nvPr/>
            </p:nvSpPr>
            <p:spPr bwMode="auto">
              <a:xfrm>
                <a:off x="342620" y="2228265"/>
                <a:ext cx="433844" cy="433844"/>
              </a:xfrm>
              <a:prstGeom prst="ellipse">
                <a:avLst/>
              </a:prstGeom>
              <a:solidFill>
                <a:srgbClr val="FFC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4" name="Freeform 30"/>
              <p:cNvSpPr>
                <a:spLocks noEditPoints="1"/>
              </p:cNvSpPr>
              <p:nvPr/>
            </p:nvSpPr>
            <p:spPr bwMode="auto">
              <a:xfrm>
                <a:off x="444786" y="2340040"/>
                <a:ext cx="238402" cy="210293"/>
              </a:xfrm>
              <a:custGeom>
                <a:avLst/>
                <a:gdLst>
                  <a:gd name="T0" fmla="*/ 883 w 916"/>
                  <a:gd name="T1" fmla="*/ 286 h 808"/>
                  <a:gd name="T2" fmla="*/ 539 w 916"/>
                  <a:gd name="T3" fmla="*/ 723 h 808"/>
                  <a:gd name="T4" fmla="*/ 504 w 916"/>
                  <a:gd name="T5" fmla="*/ 0 h 808"/>
                  <a:gd name="T6" fmla="*/ 35 w 916"/>
                  <a:gd name="T7" fmla="*/ 723 h 808"/>
                  <a:gd name="T8" fmla="*/ 0 w 916"/>
                  <a:gd name="T9" fmla="*/ 808 h 808"/>
                  <a:gd name="T10" fmla="*/ 916 w 916"/>
                  <a:gd name="T11" fmla="*/ 723 h 808"/>
                  <a:gd name="T12" fmla="*/ 229 w 916"/>
                  <a:gd name="T13" fmla="*/ 665 h 808"/>
                  <a:gd name="T14" fmla="*/ 109 w 916"/>
                  <a:gd name="T15" fmla="*/ 596 h 808"/>
                  <a:gd name="T16" fmla="*/ 229 w 916"/>
                  <a:gd name="T17" fmla="*/ 665 h 808"/>
                  <a:gd name="T18" fmla="*/ 109 w 916"/>
                  <a:gd name="T19" fmla="*/ 501 h 808"/>
                  <a:gd name="T20" fmla="*/ 229 w 916"/>
                  <a:gd name="T21" fmla="*/ 432 h 808"/>
                  <a:gd name="T22" fmla="*/ 229 w 916"/>
                  <a:gd name="T23" fmla="*/ 337 h 808"/>
                  <a:gd name="T24" fmla="*/ 109 w 916"/>
                  <a:gd name="T25" fmla="*/ 267 h 808"/>
                  <a:gd name="T26" fmla="*/ 229 w 916"/>
                  <a:gd name="T27" fmla="*/ 337 h 808"/>
                  <a:gd name="T28" fmla="*/ 109 w 916"/>
                  <a:gd name="T29" fmla="*/ 172 h 808"/>
                  <a:gd name="T30" fmla="*/ 229 w 916"/>
                  <a:gd name="T31" fmla="*/ 103 h 808"/>
                  <a:gd name="T32" fmla="*/ 428 w 916"/>
                  <a:gd name="T33" fmla="*/ 665 h 808"/>
                  <a:gd name="T34" fmla="*/ 307 w 916"/>
                  <a:gd name="T35" fmla="*/ 596 h 808"/>
                  <a:gd name="T36" fmla="*/ 428 w 916"/>
                  <a:gd name="T37" fmla="*/ 665 h 808"/>
                  <a:gd name="T38" fmla="*/ 307 w 916"/>
                  <a:gd name="T39" fmla="*/ 501 h 808"/>
                  <a:gd name="T40" fmla="*/ 428 w 916"/>
                  <a:gd name="T41" fmla="*/ 432 h 808"/>
                  <a:gd name="T42" fmla="*/ 428 w 916"/>
                  <a:gd name="T43" fmla="*/ 337 h 808"/>
                  <a:gd name="T44" fmla="*/ 307 w 916"/>
                  <a:gd name="T45" fmla="*/ 267 h 808"/>
                  <a:gd name="T46" fmla="*/ 428 w 916"/>
                  <a:gd name="T47" fmla="*/ 337 h 808"/>
                  <a:gd name="T48" fmla="*/ 307 w 916"/>
                  <a:gd name="T49" fmla="*/ 172 h 808"/>
                  <a:gd name="T50" fmla="*/ 428 w 916"/>
                  <a:gd name="T51" fmla="*/ 103 h 808"/>
                  <a:gd name="T52" fmla="*/ 684 w 916"/>
                  <a:gd name="T53" fmla="*/ 668 h 808"/>
                  <a:gd name="T54" fmla="*/ 606 w 916"/>
                  <a:gd name="T55" fmla="*/ 549 h 808"/>
                  <a:gd name="T56" fmla="*/ 684 w 916"/>
                  <a:gd name="T57" fmla="*/ 668 h 808"/>
                  <a:gd name="T58" fmla="*/ 606 w 916"/>
                  <a:gd name="T59" fmla="*/ 482 h 808"/>
                  <a:gd name="T60" fmla="*/ 684 w 916"/>
                  <a:gd name="T61" fmla="*/ 365 h 808"/>
                  <a:gd name="T62" fmla="*/ 816 w 916"/>
                  <a:gd name="T63" fmla="*/ 668 h 808"/>
                  <a:gd name="T64" fmla="*/ 738 w 916"/>
                  <a:gd name="T65" fmla="*/ 549 h 808"/>
                  <a:gd name="T66" fmla="*/ 816 w 916"/>
                  <a:gd name="T67" fmla="*/ 668 h 808"/>
                  <a:gd name="T68" fmla="*/ 738 w 916"/>
                  <a:gd name="T69" fmla="*/ 482 h 808"/>
                  <a:gd name="T70" fmla="*/ 816 w 916"/>
                  <a:gd name="T71" fmla="*/ 365 h 8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16" h="808">
                    <a:moveTo>
                      <a:pt x="883" y="723"/>
                    </a:moveTo>
                    <a:lnTo>
                      <a:pt x="883" y="286"/>
                    </a:lnTo>
                    <a:lnTo>
                      <a:pt x="539" y="286"/>
                    </a:lnTo>
                    <a:lnTo>
                      <a:pt x="539" y="723"/>
                    </a:lnTo>
                    <a:lnTo>
                      <a:pt x="504" y="723"/>
                    </a:lnTo>
                    <a:lnTo>
                      <a:pt x="504" y="0"/>
                    </a:lnTo>
                    <a:lnTo>
                      <a:pt x="35" y="0"/>
                    </a:lnTo>
                    <a:lnTo>
                      <a:pt x="35" y="723"/>
                    </a:lnTo>
                    <a:lnTo>
                      <a:pt x="0" y="723"/>
                    </a:lnTo>
                    <a:lnTo>
                      <a:pt x="0" y="808"/>
                    </a:lnTo>
                    <a:lnTo>
                      <a:pt x="916" y="808"/>
                    </a:lnTo>
                    <a:lnTo>
                      <a:pt x="916" y="723"/>
                    </a:lnTo>
                    <a:lnTo>
                      <a:pt x="883" y="723"/>
                    </a:lnTo>
                    <a:close/>
                    <a:moveTo>
                      <a:pt x="229" y="665"/>
                    </a:moveTo>
                    <a:lnTo>
                      <a:pt x="109" y="665"/>
                    </a:lnTo>
                    <a:lnTo>
                      <a:pt x="109" y="596"/>
                    </a:lnTo>
                    <a:lnTo>
                      <a:pt x="229" y="596"/>
                    </a:lnTo>
                    <a:lnTo>
                      <a:pt x="229" y="665"/>
                    </a:lnTo>
                    <a:close/>
                    <a:moveTo>
                      <a:pt x="229" y="501"/>
                    </a:moveTo>
                    <a:lnTo>
                      <a:pt x="109" y="501"/>
                    </a:lnTo>
                    <a:lnTo>
                      <a:pt x="109" y="432"/>
                    </a:lnTo>
                    <a:lnTo>
                      <a:pt x="229" y="432"/>
                    </a:lnTo>
                    <a:lnTo>
                      <a:pt x="229" y="501"/>
                    </a:lnTo>
                    <a:close/>
                    <a:moveTo>
                      <a:pt x="229" y="337"/>
                    </a:moveTo>
                    <a:lnTo>
                      <a:pt x="109" y="337"/>
                    </a:lnTo>
                    <a:lnTo>
                      <a:pt x="109" y="267"/>
                    </a:lnTo>
                    <a:lnTo>
                      <a:pt x="229" y="267"/>
                    </a:lnTo>
                    <a:lnTo>
                      <a:pt x="229" y="337"/>
                    </a:lnTo>
                    <a:close/>
                    <a:moveTo>
                      <a:pt x="229" y="172"/>
                    </a:moveTo>
                    <a:lnTo>
                      <a:pt x="109" y="172"/>
                    </a:lnTo>
                    <a:lnTo>
                      <a:pt x="109" y="103"/>
                    </a:lnTo>
                    <a:lnTo>
                      <a:pt x="229" y="103"/>
                    </a:lnTo>
                    <a:lnTo>
                      <a:pt x="229" y="172"/>
                    </a:lnTo>
                    <a:close/>
                    <a:moveTo>
                      <a:pt x="428" y="665"/>
                    </a:moveTo>
                    <a:lnTo>
                      <a:pt x="307" y="665"/>
                    </a:lnTo>
                    <a:lnTo>
                      <a:pt x="307" y="596"/>
                    </a:lnTo>
                    <a:lnTo>
                      <a:pt x="428" y="596"/>
                    </a:lnTo>
                    <a:lnTo>
                      <a:pt x="428" y="665"/>
                    </a:lnTo>
                    <a:close/>
                    <a:moveTo>
                      <a:pt x="428" y="501"/>
                    </a:moveTo>
                    <a:lnTo>
                      <a:pt x="307" y="501"/>
                    </a:lnTo>
                    <a:lnTo>
                      <a:pt x="307" y="432"/>
                    </a:lnTo>
                    <a:lnTo>
                      <a:pt x="428" y="432"/>
                    </a:lnTo>
                    <a:lnTo>
                      <a:pt x="428" y="501"/>
                    </a:lnTo>
                    <a:close/>
                    <a:moveTo>
                      <a:pt x="428" y="337"/>
                    </a:moveTo>
                    <a:lnTo>
                      <a:pt x="307" y="337"/>
                    </a:lnTo>
                    <a:lnTo>
                      <a:pt x="307" y="267"/>
                    </a:lnTo>
                    <a:lnTo>
                      <a:pt x="428" y="267"/>
                    </a:lnTo>
                    <a:lnTo>
                      <a:pt x="428" y="337"/>
                    </a:lnTo>
                    <a:close/>
                    <a:moveTo>
                      <a:pt x="428" y="172"/>
                    </a:moveTo>
                    <a:lnTo>
                      <a:pt x="307" y="172"/>
                    </a:lnTo>
                    <a:lnTo>
                      <a:pt x="307" y="103"/>
                    </a:lnTo>
                    <a:lnTo>
                      <a:pt x="428" y="103"/>
                    </a:lnTo>
                    <a:lnTo>
                      <a:pt x="428" y="172"/>
                    </a:lnTo>
                    <a:close/>
                    <a:moveTo>
                      <a:pt x="684" y="668"/>
                    </a:moveTo>
                    <a:lnTo>
                      <a:pt x="606" y="668"/>
                    </a:lnTo>
                    <a:lnTo>
                      <a:pt x="606" y="549"/>
                    </a:lnTo>
                    <a:lnTo>
                      <a:pt x="684" y="549"/>
                    </a:lnTo>
                    <a:lnTo>
                      <a:pt x="684" y="668"/>
                    </a:lnTo>
                    <a:close/>
                    <a:moveTo>
                      <a:pt x="684" y="482"/>
                    </a:moveTo>
                    <a:lnTo>
                      <a:pt x="606" y="482"/>
                    </a:lnTo>
                    <a:lnTo>
                      <a:pt x="606" y="365"/>
                    </a:lnTo>
                    <a:lnTo>
                      <a:pt x="684" y="365"/>
                    </a:lnTo>
                    <a:lnTo>
                      <a:pt x="684" y="482"/>
                    </a:lnTo>
                    <a:close/>
                    <a:moveTo>
                      <a:pt x="816" y="668"/>
                    </a:moveTo>
                    <a:lnTo>
                      <a:pt x="738" y="668"/>
                    </a:lnTo>
                    <a:lnTo>
                      <a:pt x="738" y="549"/>
                    </a:lnTo>
                    <a:lnTo>
                      <a:pt x="816" y="549"/>
                    </a:lnTo>
                    <a:lnTo>
                      <a:pt x="816" y="668"/>
                    </a:lnTo>
                    <a:close/>
                    <a:moveTo>
                      <a:pt x="816" y="482"/>
                    </a:moveTo>
                    <a:lnTo>
                      <a:pt x="738" y="482"/>
                    </a:lnTo>
                    <a:lnTo>
                      <a:pt x="738" y="365"/>
                    </a:lnTo>
                    <a:lnTo>
                      <a:pt x="816" y="365"/>
                    </a:lnTo>
                    <a:lnTo>
                      <a:pt x="816" y="482"/>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grpSp>
        <p:sp>
          <p:nvSpPr>
            <p:cNvPr id="99" name="TextBox 98"/>
            <p:cNvSpPr txBox="1"/>
            <p:nvPr/>
          </p:nvSpPr>
          <p:spPr>
            <a:xfrm>
              <a:off x="83345" y="113808"/>
              <a:ext cx="2532630" cy="627864"/>
            </a:xfrm>
            <a:prstGeom prst="rect">
              <a:avLst/>
            </a:prstGeom>
            <a:noFill/>
          </p:spPr>
          <p:txBody>
            <a:bodyPr wrap="square" lIns="182880" tIns="146304" rIns="182880" bIns="146304" rtlCol="0">
              <a:spAutoFit/>
            </a:bodyPr>
            <a:lstStyle>
              <a:defPPr>
                <a:defRPr lang="en-US"/>
              </a:defPPr>
              <a:lvl1pPr>
                <a:lnSpc>
                  <a:spcPct val="90000"/>
                </a:lnSpc>
                <a:spcAft>
                  <a:spcPts val="600"/>
                </a:spcAft>
                <a:defRPr sz="2800" b="1">
                  <a:solidFill>
                    <a:srgbClr val="F2C812"/>
                  </a:solidFill>
                  <a:latin typeface="Segoe UI Light"/>
                </a:defRPr>
              </a:lvl1p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400" b="1" i="0" u="none" strike="noStrike" kern="1200" cap="none" spc="0" normalizeH="0" baseline="0" noProof="0">
                  <a:ln>
                    <a:noFill/>
                  </a:ln>
                  <a:solidFill>
                    <a:srgbClr val="F2C812"/>
                  </a:solidFill>
                  <a:effectLst/>
                  <a:uLnTx/>
                  <a:uFillTx/>
                  <a:latin typeface="Segoe UI Light"/>
                  <a:ea typeface="+mn-ea"/>
                  <a:cs typeface="+mn-cs"/>
                </a:rPr>
                <a:t>Power BI Service</a:t>
              </a:r>
              <a:endParaRPr kumimoji="0" lang="en-US" sz="2800" b="1" i="0" u="none" strike="noStrike" kern="1200" cap="none" spc="0" normalizeH="0" baseline="0" noProof="0">
                <a:ln>
                  <a:noFill/>
                </a:ln>
                <a:solidFill>
                  <a:srgbClr val="F2C812"/>
                </a:solidFill>
                <a:effectLst/>
                <a:uLnTx/>
                <a:uFillTx/>
                <a:latin typeface="Segoe UI Light"/>
                <a:ea typeface="+mn-ea"/>
                <a:cs typeface="+mn-cs"/>
              </a:endParaRPr>
            </a:p>
          </p:txBody>
        </p:sp>
        <p:grpSp>
          <p:nvGrpSpPr>
            <p:cNvPr id="100" name="Group 99"/>
            <p:cNvGrpSpPr/>
            <p:nvPr/>
          </p:nvGrpSpPr>
          <p:grpSpPr>
            <a:xfrm>
              <a:off x="219373" y="3621383"/>
              <a:ext cx="433844" cy="645668"/>
              <a:chOff x="280990" y="3358164"/>
              <a:chExt cx="433844" cy="645668"/>
            </a:xfrm>
          </p:grpSpPr>
          <p:sp>
            <p:nvSpPr>
              <p:cNvPr id="106" name="Oval 1083"/>
              <p:cNvSpPr/>
              <p:nvPr/>
            </p:nvSpPr>
            <p:spPr bwMode="auto">
              <a:xfrm>
                <a:off x="280990" y="3358164"/>
                <a:ext cx="433844" cy="433847"/>
              </a:xfrm>
              <a:prstGeom prst="ellipse">
                <a:avLst/>
              </a:prstGeom>
              <a:solidFill>
                <a:srgbClr val="F2C812"/>
              </a:solidFill>
              <a:ln>
                <a:solidFill>
                  <a:srgbClr val="FFCC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07" name="Group 379"/>
              <p:cNvGrpSpPr/>
              <p:nvPr/>
            </p:nvGrpSpPr>
            <p:grpSpPr>
              <a:xfrm>
                <a:off x="453702" y="3910852"/>
                <a:ext cx="175660" cy="92980"/>
                <a:chOff x="3895793" y="7466656"/>
                <a:chExt cx="785810" cy="415941"/>
              </a:xfrm>
              <a:solidFill>
                <a:srgbClr val="00BCF2"/>
              </a:solidFill>
            </p:grpSpPr>
            <p:sp>
              <p:nvSpPr>
                <p:cNvPr id="108" name="Freeform 132"/>
                <p:cNvSpPr>
                  <a:spLocks/>
                </p:cNvSpPr>
                <p:nvPr/>
              </p:nvSpPr>
              <p:spPr bwMode="auto">
                <a:xfrm>
                  <a:off x="4125979" y="7688918"/>
                  <a:ext cx="0" cy="6353"/>
                </a:xfrm>
                <a:custGeom>
                  <a:avLst/>
                  <a:gdLst>
                    <a:gd name="T0" fmla="*/ 1 w 1"/>
                    <a:gd name="T1" fmla="*/ 0 h 8"/>
                    <a:gd name="T2" fmla="*/ 0 w 1"/>
                    <a:gd name="T3" fmla="*/ 0 h 8"/>
                    <a:gd name="T4" fmla="*/ 1 w 1"/>
                    <a:gd name="T5" fmla="*/ 8 h 8"/>
                    <a:gd name="T6" fmla="*/ 1 w 1"/>
                    <a:gd name="T7" fmla="*/ 0 h 8"/>
                  </a:gdLst>
                  <a:ahLst/>
                  <a:cxnLst>
                    <a:cxn ang="0">
                      <a:pos x="T0" y="T1"/>
                    </a:cxn>
                    <a:cxn ang="0">
                      <a:pos x="T2" y="T3"/>
                    </a:cxn>
                    <a:cxn ang="0">
                      <a:pos x="T4" y="T5"/>
                    </a:cxn>
                    <a:cxn ang="0">
                      <a:pos x="T6" y="T7"/>
                    </a:cxn>
                  </a:cxnLst>
                  <a:rect l="0" t="0" r="r" b="b"/>
                  <a:pathLst>
                    <a:path w="1" h="8">
                      <a:moveTo>
                        <a:pt x="1" y="0"/>
                      </a:moveTo>
                      <a:cubicBezTo>
                        <a:pt x="0" y="0"/>
                        <a:pt x="0" y="0"/>
                        <a:pt x="0" y="0"/>
                      </a:cubicBezTo>
                      <a:cubicBezTo>
                        <a:pt x="0" y="3"/>
                        <a:pt x="1" y="5"/>
                        <a:pt x="1" y="8"/>
                      </a:cubicBezTo>
                      <a:lnTo>
                        <a:pt x="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109" name="Freeform 133"/>
                <p:cNvSpPr>
                  <a:spLocks/>
                </p:cNvSpPr>
                <p:nvPr/>
              </p:nvSpPr>
              <p:spPr bwMode="auto">
                <a:xfrm>
                  <a:off x="3895793" y="7812745"/>
                  <a:ext cx="219078" cy="69852"/>
                </a:xfrm>
                <a:custGeom>
                  <a:avLst/>
                  <a:gdLst>
                    <a:gd name="T0" fmla="*/ 186 w 238"/>
                    <a:gd name="T1" fmla="*/ 9 h 76"/>
                    <a:gd name="T2" fmla="*/ 131 w 238"/>
                    <a:gd name="T3" fmla="*/ 22 h 76"/>
                    <a:gd name="T4" fmla="*/ 60 w 238"/>
                    <a:gd name="T5" fmla="*/ 0 h 76"/>
                    <a:gd name="T6" fmla="*/ 0 w 238"/>
                    <a:gd name="T7" fmla="*/ 42 h 76"/>
                    <a:gd name="T8" fmla="*/ 0 w 238"/>
                    <a:gd name="T9" fmla="*/ 76 h 76"/>
                    <a:gd name="T10" fmla="*/ 238 w 238"/>
                    <a:gd name="T11" fmla="*/ 76 h 76"/>
                    <a:gd name="T12" fmla="*/ 236 w 238"/>
                    <a:gd name="T13" fmla="*/ 53 h 76"/>
                    <a:gd name="T14" fmla="*/ 236 w 238"/>
                    <a:gd name="T15" fmla="*/ 49 h 76"/>
                    <a:gd name="T16" fmla="*/ 186 w 238"/>
                    <a:gd name="T17" fmla="*/ 9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8" h="76">
                      <a:moveTo>
                        <a:pt x="186" y="9"/>
                      </a:moveTo>
                      <a:cubicBezTo>
                        <a:pt x="169" y="18"/>
                        <a:pt x="150" y="22"/>
                        <a:pt x="131" y="22"/>
                      </a:cubicBezTo>
                      <a:cubicBezTo>
                        <a:pt x="105" y="22"/>
                        <a:pt x="80" y="14"/>
                        <a:pt x="60" y="0"/>
                      </a:cubicBezTo>
                      <a:cubicBezTo>
                        <a:pt x="0" y="42"/>
                        <a:pt x="0" y="42"/>
                        <a:pt x="0" y="42"/>
                      </a:cubicBezTo>
                      <a:cubicBezTo>
                        <a:pt x="0" y="76"/>
                        <a:pt x="0" y="76"/>
                        <a:pt x="0" y="76"/>
                      </a:cubicBezTo>
                      <a:cubicBezTo>
                        <a:pt x="238" y="76"/>
                        <a:pt x="238" y="76"/>
                        <a:pt x="238" y="76"/>
                      </a:cubicBezTo>
                      <a:cubicBezTo>
                        <a:pt x="237" y="68"/>
                        <a:pt x="236" y="61"/>
                        <a:pt x="236" y="53"/>
                      </a:cubicBezTo>
                      <a:cubicBezTo>
                        <a:pt x="236" y="51"/>
                        <a:pt x="236" y="50"/>
                        <a:pt x="236" y="49"/>
                      </a:cubicBezTo>
                      <a:lnTo>
                        <a:pt x="186" y="9"/>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110" name="Freeform 137"/>
                <p:cNvSpPr>
                  <a:spLocks/>
                </p:cNvSpPr>
                <p:nvPr/>
              </p:nvSpPr>
              <p:spPr bwMode="auto">
                <a:xfrm>
                  <a:off x="4338704" y="7809561"/>
                  <a:ext cx="65090" cy="73028"/>
                </a:xfrm>
                <a:custGeom>
                  <a:avLst/>
                  <a:gdLst>
                    <a:gd name="T0" fmla="*/ 71 w 71"/>
                    <a:gd name="T1" fmla="*/ 79 h 79"/>
                    <a:gd name="T2" fmla="*/ 71 w 71"/>
                    <a:gd name="T3" fmla="*/ 0 h 79"/>
                    <a:gd name="T4" fmla="*/ 2 w 71"/>
                    <a:gd name="T5" fmla="*/ 53 h 79"/>
                    <a:gd name="T6" fmla="*/ 2 w 71"/>
                    <a:gd name="T7" fmla="*/ 56 h 79"/>
                    <a:gd name="T8" fmla="*/ 0 w 71"/>
                    <a:gd name="T9" fmla="*/ 79 h 79"/>
                    <a:gd name="T10" fmla="*/ 71 w 71"/>
                    <a:gd name="T11" fmla="*/ 79 h 79"/>
                  </a:gdLst>
                  <a:ahLst/>
                  <a:cxnLst>
                    <a:cxn ang="0">
                      <a:pos x="T0" y="T1"/>
                    </a:cxn>
                    <a:cxn ang="0">
                      <a:pos x="T2" y="T3"/>
                    </a:cxn>
                    <a:cxn ang="0">
                      <a:pos x="T4" y="T5"/>
                    </a:cxn>
                    <a:cxn ang="0">
                      <a:pos x="T6" y="T7"/>
                    </a:cxn>
                    <a:cxn ang="0">
                      <a:pos x="T8" y="T9"/>
                    </a:cxn>
                    <a:cxn ang="0">
                      <a:pos x="T10" y="T11"/>
                    </a:cxn>
                  </a:cxnLst>
                  <a:rect l="0" t="0" r="r" b="b"/>
                  <a:pathLst>
                    <a:path w="71" h="79">
                      <a:moveTo>
                        <a:pt x="71" y="79"/>
                      </a:moveTo>
                      <a:cubicBezTo>
                        <a:pt x="71" y="0"/>
                        <a:pt x="71" y="0"/>
                        <a:pt x="71" y="0"/>
                      </a:cubicBezTo>
                      <a:cubicBezTo>
                        <a:pt x="2" y="53"/>
                        <a:pt x="2" y="53"/>
                        <a:pt x="2" y="53"/>
                      </a:cubicBezTo>
                      <a:cubicBezTo>
                        <a:pt x="2" y="54"/>
                        <a:pt x="2" y="55"/>
                        <a:pt x="2" y="56"/>
                      </a:cubicBezTo>
                      <a:cubicBezTo>
                        <a:pt x="2" y="64"/>
                        <a:pt x="1" y="71"/>
                        <a:pt x="0" y="79"/>
                      </a:cubicBezTo>
                      <a:lnTo>
                        <a:pt x="71" y="79"/>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111" name="Freeform 140"/>
                <p:cNvSpPr>
                  <a:spLocks/>
                </p:cNvSpPr>
                <p:nvPr/>
              </p:nvSpPr>
              <p:spPr bwMode="auto">
                <a:xfrm>
                  <a:off x="4600643" y="7622229"/>
                  <a:ext cx="80960" cy="38099"/>
                </a:xfrm>
                <a:custGeom>
                  <a:avLst/>
                  <a:gdLst>
                    <a:gd name="T0" fmla="*/ 0 w 51"/>
                    <a:gd name="T1" fmla="*/ 24 h 24"/>
                    <a:gd name="T2" fmla="*/ 51 w 51"/>
                    <a:gd name="T3" fmla="*/ 24 h 24"/>
                    <a:gd name="T4" fmla="*/ 32 w 51"/>
                    <a:gd name="T5" fmla="*/ 0 h 24"/>
                    <a:gd name="T6" fmla="*/ 0 w 51"/>
                    <a:gd name="T7" fmla="*/ 24 h 24"/>
                  </a:gdLst>
                  <a:ahLst/>
                  <a:cxnLst>
                    <a:cxn ang="0">
                      <a:pos x="T0" y="T1"/>
                    </a:cxn>
                    <a:cxn ang="0">
                      <a:pos x="T2" y="T3"/>
                    </a:cxn>
                    <a:cxn ang="0">
                      <a:pos x="T4" y="T5"/>
                    </a:cxn>
                    <a:cxn ang="0">
                      <a:pos x="T6" y="T7"/>
                    </a:cxn>
                  </a:cxnLst>
                  <a:rect l="0" t="0" r="r" b="b"/>
                  <a:pathLst>
                    <a:path w="51" h="24">
                      <a:moveTo>
                        <a:pt x="0" y="24"/>
                      </a:moveTo>
                      <a:lnTo>
                        <a:pt x="51" y="24"/>
                      </a:lnTo>
                      <a:lnTo>
                        <a:pt x="32" y="0"/>
                      </a:lnTo>
                      <a:lnTo>
                        <a:pt x="0" y="24"/>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112" name="Freeform 141"/>
                <p:cNvSpPr>
                  <a:spLocks/>
                </p:cNvSpPr>
                <p:nvPr/>
              </p:nvSpPr>
              <p:spPr bwMode="auto">
                <a:xfrm>
                  <a:off x="4449825" y="7466656"/>
                  <a:ext cx="119065" cy="139703"/>
                </a:xfrm>
                <a:custGeom>
                  <a:avLst/>
                  <a:gdLst>
                    <a:gd name="T0" fmla="*/ 52 w 75"/>
                    <a:gd name="T1" fmla="*/ 0 h 88"/>
                    <a:gd name="T2" fmla="*/ 0 w 75"/>
                    <a:gd name="T3" fmla="*/ 0 h 88"/>
                    <a:gd name="T4" fmla="*/ 0 w 75"/>
                    <a:gd name="T5" fmla="*/ 88 h 88"/>
                    <a:gd name="T6" fmla="*/ 75 w 75"/>
                    <a:gd name="T7" fmla="*/ 30 h 88"/>
                    <a:gd name="T8" fmla="*/ 52 w 75"/>
                    <a:gd name="T9" fmla="*/ 0 h 88"/>
                  </a:gdLst>
                  <a:ahLst/>
                  <a:cxnLst>
                    <a:cxn ang="0">
                      <a:pos x="T0" y="T1"/>
                    </a:cxn>
                    <a:cxn ang="0">
                      <a:pos x="T2" y="T3"/>
                    </a:cxn>
                    <a:cxn ang="0">
                      <a:pos x="T4" y="T5"/>
                    </a:cxn>
                    <a:cxn ang="0">
                      <a:pos x="T6" y="T7"/>
                    </a:cxn>
                    <a:cxn ang="0">
                      <a:pos x="T8" y="T9"/>
                    </a:cxn>
                  </a:cxnLst>
                  <a:rect l="0" t="0" r="r" b="b"/>
                  <a:pathLst>
                    <a:path w="75" h="88">
                      <a:moveTo>
                        <a:pt x="52" y="0"/>
                      </a:moveTo>
                      <a:lnTo>
                        <a:pt x="0" y="0"/>
                      </a:lnTo>
                      <a:lnTo>
                        <a:pt x="0" y="88"/>
                      </a:lnTo>
                      <a:lnTo>
                        <a:pt x="75" y="30"/>
                      </a:lnTo>
                      <a:lnTo>
                        <a:pt x="52"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grpSp>
        </p:grpSp>
        <p:sp>
          <p:nvSpPr>
            <p:cNvPr id="101" name="Rectangle 152"/>
            <p:cNvSpPr/>
            <p:nvPr/>
          </p:nvSpPr>
          <p:spPr bwMode="auto">
            <a:xfrm>
              <a:off x="712458" y="3628917"/>
              <a:ext cx="1805162" cy="37532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2C812"/>
                  </a:solidFill>
                  <a:effectLst/>
                  <a:uLnTx/>
                  <a:uFillTx/>
                  <a:latin typeface="Segoe UI"/>
                  <a:ea typeface="+mn-ea"/>
                  <a:cs typeface="Segoe UI Light" panose="020B0502040204020203" pitchFamily="34" charset="0"/>
                </a:rPr>
                <a:t>Q&amp;A and </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2C812"/>
                  </a:solidFill>
                  <a:effectLst/>
                  <a:uLnTx/>
                  <a:uFillTx/>
                  <a:latin typeface="Segoe UI"/>
                  <a:ea typeface="+mn-ea"/>
                  <a:cs typeface="Segoe UI Light" panose="020B0502040204020203" pitchFamily="34" charset="0"/>
                </a:rPr>
                <a:t>Quick Insights</a:t>
              </a:r>
              <a:endParaRPr kumimoji="0" lang="en-US" sz="1200" b="1" i="0" u="none" strike="noStrike" kern="1200" cap="none" spc="0" normalizeH="0" baseline="0" noProof="0">
                <a:ln>
                  <a:noFill/>
                </a:ln>
                <a:solidFill>
                  <a:srgbClr val="F2C812"/>
                </a:solidFill>
                <a:effectLst/>
                <a:uLnTx/>
                <a:uFillTx/>
                <a:latin typeface="Segoe UI"/>
                <a:ea typeface="+mn-ea"/>
                <a:cs typeface="Segoe UI Light" panose="020B0502040204020203" pitchFamily="34" charset="0"/>
              </a:endParaRPr>
            </a:p>
          </p:txBody>
        </p:sp>
        <p:sp>
          <p:nvSpPr>
            <p:cNvPr id="102" name="Oval 162"/>
            <p:cNvSpPr/>
            <p:nvPr/>
          </p:nvSpPr>
          <p:spPr bwMode="auto">
            <a:xfrm>
              <a:off x="226619" y="4551712"/>
              <a:ext cx="433844" cy="433844"/>
            </a:xfrm>
            <a:prstGeom prst="ellipse">
              <a:avLst/>
            </a:prstGeom>
            <a:solidFill>
              <a:srgbClr val="F2C812"/>
            </a:solidFill>
            <a:ln>
              <a:solidFill>
                <a:srgbClr val="FFCC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3" name="Rectangle 152"/>
            <p:cNvSpPr/>
            <p:nvPr/>
          </p:nvSpPr>
          <p:spPr bwMode="auto">
            <a:xfrm>
              <a:off x="738443" y="4596194"/>
              <a:ext cx="1884825" cy="30233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2C812"/>
                  </a:solidFill>
                  <a:effectLst/>
                  <a:uLnTx/>
                  <a:uFillTx/>
                  <a:latin typeface="Segoe UI"/>
                  <a:ea typeface="+mn-ea"/>
                  <a:cs typeface="Segoe UI Light" panose="020B0502040204020203" pitchFamily="34" charset="0"/>
                </a:rPr>
                <a:t>Sharing</a:t>
              </a:r>
              <a:endParaRPr kumimoji="0" lang="en-US" sz="1200" b="1" i="1" u="none" strike="noStrike" kern="1200" cap="none" spc="0" normalizeH="0" baseline="0" noProof="0">
                <a:ln>
                  <a:noFill/>
                </a:ln>
                <a:solidFill>
                  <a:srgbClr val="F2C812"/>
                </a:solidFill>
                <a:effectLst/>
                <a:uLnTx/>
                <a:uFillTx/>
                <a:latin typeface="Segoe UI"/>
                <a:ea typeface="+mn-ea"/>
                <a:cs typeface="Segoe UI Light" panose="020B0502040204020203" pitchFamily="34" charset="0"/>
              </a:endParaRPr>
            </a:p>
          </p:txBody>
        </p:sp>
        <p:sp>
          <p:nvSpPr>
            <p:cNvPr id="104" name="Rectangle 145"/>
            <p:cNvSpPr/>
            <p:nvPr/>
          </p:nvSpPr>
          <p:spPr bwMode="auto">
            <a:xfrm>
              <a:off x="697198" y="1847637"/>
              <a:ext cx="1821468" cy="3831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2C812"/>
                  </a:solidFill>
                  <a:effectLst/>
                  <a:uLnTx/>
                  <a:uFillTx/>
                  <a:latin typeface="Segoe UI"/>
                  <a:ea typeface="+mn-ea"/>
                  <a:cs typeface="Segoe UI Light" panose="020B0502040204020203" pitchFamily="34" charset="0"/>
                </a:rPr>
                <a:t>Pinning and Navigation</a:t>
              </a:r>
            </a:p>
          </p:txBody>
        </p:sp>
        <p:sp>
          <p:nvSpPr>
            <p:cNvPr id="105" name="Oval 162"/>
            <p:cNvSpPr/>
            <p:nvPr/>
          </p:nvSpPr>
          <p:spPr bwMode="auto">
            <a:xfrm>
              <a:off x="224136" y="1813606"/>
              <a:ext cx="433844" cy="433844"/>
            </a:xfrm>
            <a:prstGeom prst="ellipse">
              <a:avLst/>
            </a:prstGeom>
            <a:solidFill>
              <a:srgbClr val="FFCC00"/>
            </a:solidFill>
            <a:ln>
              <a:solidFill>
                <a:srgbClr val="F2C81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pic>
        <p:nvPicPr>
          <p:cNvPr id="119" name="Picture 118"/>
          <p:cNvPicPr>
            <a:picLocks noChangeAspect="1"/>
          </p:cNvPicPr>
          <p:nvPr/>
        </p:nvPicPr>
        <p:blipFill rotWithShape="1">
          <a:blip r:embed="rId3"/>
          <a:srcRect l="6503" t="21287" r="74698" b="20220"/>
          <a:stretch/>
        </p:blipFill>
        <p:spPr>
          <a:xfrm>
            <a:off x="339111" y="1946110"/>
            <a:ext cx="228600" cy="231962"/>
          </a:xfrm>
          <a:prstGeom prst="rect">
            <a:avLst/>
          </a:prstGeom>
        </p:spPr>
      </p:pic>
      <p:pic>
        <p:nvPicPr>
          <p:cNvPr id="120" name="Picture 119"/>
          <p:cNvPicPr>
            <a:picLocks noChangeAspect="1"/>
          </p:cNvPicPr>
          <p:nvPr/>
        </p:nvPicPr>
        <p:blipFill>
          <a:blip r:embed="rId4"/>
          <a:stretch>
            <a:fillRect/>
          </a:stretch>
        </p:blipFill>
        <p:spPr>
          <a:xfrm>
            <a:off x="284769" y="3673076"/>
            <a:ext cx="311766" cy="303106"/>
          </a:xfrm>
          <a:prstGeom prst="rect">
            <a:avLst/>
          </a:prstGeom>
        </p:spPr>
      </p:pic>
      <p:sp>
        <p:nvSpPr>
          <p:cNvPr id="121" name="Rectangle 145"/>
          <p:cNvSpPr/>
          <p:nvPr/>
        </p:nvSpPr>
        <p:spPr bwMode="auto">
          <a:xfrm>
            <a:off x="718897" y="5436715"/>
            <a:ext cx="1821468" cy="3831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2C812"/>
                </a:solidFill>
                <a:effectLst/>
                <a:uLnTx/>
                <a:uFillTx/>
                <a:latin typeface="Segoe UI"/>
                <a:ea typeface="+mn-ea"/>
                <a:cs typeface="Segoe UI Light" panose="020B0502040204020203" pitchFamily="34" charset="0"/>
              </a:rPr>
              <a:t>Connect from Excel</a:t>
            </a:r>
          </a:p>
        </p:txBody>
      </p:sp>
      <p:sp>
        <p:nvSpPr>
          <p:cNvPr id="122" name="Oval 162"/>
          <p:cNvSpPr/>
          <p:nvPr/>
        </p:nvSpPr>
        <p:spPr bwMode="auto">
          <a:xfrm>
            <a:off x="231441" y="5429649"/>
            <a:ext cx="433844" cy="433844"/>
          </a:xfrm>
          <a:prstGeom prst="ellipse">
            <a:avLst/>
          </a:prstGeom>
          <a:solidFill>
            <a:srgbClr val="FFCC00"/>
          </a:solidFill>
          <a:ln>
            <a:solidFill>
              <a:srgbClr val="F2C81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23" name="Picture 122"/>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flipH="1">
            <a:off x="283763" y="4596680"/>
            <a:ext cx="357484" cy="357484"/>
          </a:xfrm>
          <a:prstGeom prst="rect">
            <a:avLst/>
          </a:prstGeom>
        </p:spPr>
      </p:pic>
      <p:sp>
        <p:nvSpPr>
          <p:cNvPr id="124" name="Oval 162"/>
          <p:cNvSpPr/>
          <p:nvPr/>
        </p:nvSpPr>
        <p:spPr bwMode="auto">
          <a:xfrm>
            <a:off x="233032" y="6267344"/>
            <a:ext cx="433844" cy="433844"/>
          </a:xfrm>
          <a:prstGeom prst="ellipse">
            <a:avLst/>
          </a:prstGeom>
          <a:solidFill>
            <a:srgbClr val="FFCC00"/>
          </a:solidFill>
          <a:ln>
            <a:solidFill>
              <a:srgbClr val="F2C81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5" name="Rectangle 145"/>
          <p:cNvSpPr/>
          <p:nvPr/>
        </p:nvSpPr>
        <p:spPr bwMode="auto">
          <a:xfrm>
            <a:off x="701416" y="6289969"/>
            <a:ext cx="1821468" cy="3831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2C812"/>
                </a:solidFill>
                <a:effectLst/>
                <a:uLnTx/>
                <a:uFillTx/>
                <a:latin typeface="Segoe UI"/>
                <a:ea typeface="+mn-ea"/>
                <a:cs typeface="Segoe UI Light" panose="020B0502040204020203" pitchFamily="34" charset="0"/>
              </a:rPr>
              <a:t>Mobile Reports</a:t>
            </a:r>
          </a:p>
        </p:txBody>
      </p:sp>
      <p:pic>
        <p:nvPicPr>
          <p:cNvPr id="126" name="Picture 125"/>
          <p:cNvPicPr>
            <a:picLocks noChangeAspect="1"/>
          </p:cNvPicPr>
          <p:nvPr/>
        </p:nvPicPr>
        <p:blipFill>
          <a:blip r:embed="rId6" cstate="print">
            <a:extLst>
              <a:ext uri="{BEBA8EAE-BF5A-486C-A8C5-ECC9F3942E4B}">
                <a14:imgProps xmlns:a14="http://schemas.microsoft.com/office/drawing/2010/main">
                  <a14:imgLayer r:embed="rId7">
                    <a14:imgEffect>
                      <a14:saturation sat="0"/>
                    </a14:imgEffect>
                  </a14:imgLayer>
                </a14:imgProps>
              </a:ext>
              <a:ext uri="{28A0092B-C50C-407E-A947-70E740481C1C}">
                <a14:useLocalDpi xmlns:a14="http://schemas.microsoft.com/office/drawing/2010/main" val="0"/>
              </a:ext>
            </a:extLst>
          </a:blip>
          <a:stretch>
            <a:fillRect/>
          </a:stretch>
        </p:blipFill>
        <p:spPr>
          <a:xfrm>
            <a:off x="391946" y="6350039"/>
            <a:ext cx="133350" cy="251587"/>
          </a:xfrm>
          <a:prstGeom prst="rect">
            <a:avLst/>
          </a:prstGeom>
        </p:spPr>
      </p:pic>
      <p:pic>
        <p:nvPicPr>
          <p:cNvPr id="127" name="Picture 126"/>
          <p:cNvPicPr>
            <a:picLocks noChangeAspect="1"/>
          </p:cNvPicPr>
          <p:nvPr/>
        </p:nvPicPr>
        <p:blipFill>
          <a:blip r:embed="rId8" cstate="print">
            <a:biLevel thresh="50000"/>
            <a:extLst>
              <a:ext uri="{28A0092B-C50C-407E-A947-70E740481C1C}">
                <a14:useLocalDpi xmlns:a14="http://schemas.microsoft.com/office/drawing/2010/main" val="0"/>
              </a:ext>
            </a:extLst>
          </a:blip>
          <a:stretch>
            <a:fillRect/>
          </a:stretch>
        </p:blipFill>
        <p:spPr>
          <a:xfrm>
            <a:off x="332658" y="5538489"/>
            <a:ext cx="268940" cy="268940"/>
          </a:xfrm>
          <a:prstGeom prst="rect">
            <a:avLst/>
          </a:prstGeom>
        </p:spPr>
      </p:pic>
      <p:sp>
        <p:nvSpPr>
          <p:cNvPr id="128" name="Rectangle 127"/>
          <p:cNvSpPr/>
          <p:nvPr/>
        </p:nvSpPr>
        <p:spPr bwMode="auto">
          <a:xfrm>
            <a:off x="35912" y="2594112"/>
            <a:ext cx="2464420" cy="4194313"/>
          </a:xfrm>
          <a:prstGeom prst="rect">
            <a:avLst/>
          </a:prstGeom>
          <a:solidFill>
            <a:srgbClr val="000000">
              <a:alpha val="6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9" name="Rectangle 128"/>
          <p:cNvSpPr/>
          <p:nvPr/>
        </p:nvSpPr>
        <p:spPr bwMode="auto">
          <a:xfrm>
            <a:off x="95936" y="731576"/>
            <a:ext cx="2464420" cy="880187"/>
          </a:xfrm>
          <a:prstGeom prst="rect">
            <a:avLst/>
          </a:prstGeom>
          <a:solidFill>
            <a:srgbClr val="000000">
              <a:alpha val="6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3" name="Picture 2"/>
          <p:cNvPicPr>
            <a:picLocks noChangeAspect="1"/>
          </p:cNvPicPr>
          <p:nvPr/>
        </p:nvPicPr>
        <p:blipFill>
          <a:blip r:embed="rId9"/>
          <a:stretch>
            <a:fillRect/>
          </a:stretch>
        </p:blipFill>
        <p:spPr>
          <a:xfrm>
            <a:off x="8270197" y="1510847"/>
            <a:ext cx="3811822" cy="3089582"/>
          </a:xfrm>
          <a:prstGeom prst="rect">
            <a:avLst/>
          </a:prstGeom>
        </p:spPr>
      </p:pic>
      <p:pic>
        <p:nvPicPr>
          <p:cNvPr id="5" name="Picture 4"/>
          <p:cNvPicPr>
            <a:picLocks noChangeAspect="1"/>
          </p:cNvPicPr>
          <p:nvPr/>
        </p:nvPicPr>
        <p:blipFill>
          <a:blip r:embed="rId10"/>
          <a:stretch>
            <a:fillRect/>
          </a:stretch>
        </p:blipFill>
        <p:spPr>
          <a:xfrm>
            <a:off x="7356291" y="4769120"/>
            <a:ext cx="1895859" cy="1960247"/>
          </a:xfrm>
          <a:prstGeom prst="rect">
            <a:avLst/>
          </a:prstGeom>
        </p:spPr>
      </p:pic>
      <p:pic>
        <p:nvPicPr>
          <p:cNvPr id="7" name="Picture 6"/>
          <p:cNvPicPr>
            <a:picLocks noChangeAspect="1"/>
          </p:cNvPicPr>
          <p:nvPr/>
        </p:nvPicPr>
        <p:blipFill>
          <a:blip r:embed="rId11"/>
          <a:stretch>
            <a:fillRect/>
          </a:stretch>
        </p:blipFill>
        <p:spPr>
          <a:xfrm>
            <a:off x="9477942" y="5153846"/>
            <a:ext cx="1924050" cy="1038225"/>
          </a:xfrm>
          <a:prstGeom prst="rect">
            <a:avLst/>
          </a:prstGeom>
        </p:spPr>
      </p:pic>
      <p:sp>
        <p:nvSpPr>
          <p:cNvPr id="49" name="Rectangle 48"/>
          <p:cNvSpPr/>
          <p:nvPr/>
        </p:nvSpPr>
        <p:spPr bwMode="auto">
          <a:xfrm>
            <a:off x="9368146" y="1551018"/>
            <a:ext cx="706582" cy="263074"/>
          </a:xfrm>
          <a:prstGeom prst="rect">
            <a:avLst/>
          </a:prstGeom>
          <a:noFill/>
          <a:ln w="38100">
            <a:solidFill>
              <a:srgbClr val="FF00F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0" name="Rectangle 49"/>
          <p:cNvSpPr/>
          <p:nvPr/>
        </p:nvSpPr>
        <p:spPr bwMode="auto">
          <a:xfrm>
            <a:off x="7597638" y="5938589"/>
            <a:ext cx="706582" cy="263074"/>
          </a:xfrm>
          <a:prstGeom prst="rect">
            <a:avLst/>
          </a:prstGeom>
          <a:noFill/>
          <a:ln w="38100">
            <a:solidFill>
              <a:srgbClr val="FF00F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33159263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 name="Text Placeholder 2"/>
          <p:cNvSpPr txBox="1">
            <a:spLocks/>
          </p:cNvSpPr>
          <p:nvPr/>
        </p:nvSpPr>
        <p:spPr>
          <a:xfrm>
            <a:off x="2846171" y="1340642"/>
            <a:ext cx="6559085" cy="1352473"/>
          </a:xfrm>
          <a:prstGeom prst="rect">
            <a:avLst/>
          </a:prstGeom>
        </p:spPr>
        <p:txBody>
          <a:bodyPr vert="horz" wrap="square" lIns="182880" tIns="146304" rIns="182880" bIns="146304" rtlCol="0">
            <a:noAutofit/>
          </a:bodyPr>
          <a:lstStyle>
            <a:lvl1pPr marL="182845" marR="0"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3921" kern="1200" spc="0" baseline="0">
                <a:gradFill>
                  <a:gsLst>
                    <a:gs pos="1250">
                      <a:schemeClr val="tx2"/>
                    </a:gs>
                    <a:gs pos="99000">
                      <a:schemeClr val="tx2"/>
                    </a:gs>
                  </a:gsLst>
                  <a:lin ang="5400000" scaled="0"/>
                </a:gradFill>
                <a:latin typeface="+mj-lt"/>
                <a:ea typeface="+mn-ea"/>
                <a:cs typeface="+mn-cs"/>
              </a:defRPr>
            </a:lvl1pPr>
            <a:lvl2pPr marL="365690" marR="0"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2400" kern="1200" spc="0" baseline="0">
                <a:solidFill>
                  <a:schemeClr val="tx2"/>
                </a:solidFill>
                <a:latin typeface="+mj-lt"/>
                <a:ea typeface="+mn-ea"/>
                <a:cs typeface="+mn-cs"/>
              </a:defRPr>
            </a:lvl2pPr>
            <a:lvl3pPr marL="548535" marR="0"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2000" kern="1200" spc="0" baseline="0">
                <a:solidFill>
                  <a:schemeClr val="tx2"/>
                </a:solidFill>
                <a:latin typeface="+mj-lt"/>
                <a:ea typeface="+mn-ea"/>
                <a:cs typeface="+mn-cs"/>
              </a:defRPr>
            </a:lvl3pPr>
            <a:lvl4pPr marL="733802" marR="0" indent="-28569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1765" kern="1200" spc="0" baseline="0">
                <a:solidFill>
                  <a:schemeClr val="tx2"/>
                </a:solidFill>
                <a:latin typeface="+mn-lt"/>
                <a:ea typeface="+mn-ea"/>
                <a:cs typeface="+mn-cs"/>
              </a:defRPr>
            </a:lvl4pPr>
            <a:lvl5pPr marL="957856" marR="0" indent="-28569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1765" kern="1200" spc="0" baseline="0">
                <a:solidFill>
                  <a:schemeClr val="tx2"/>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r>
              <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rPr>
              <a:t>All dashboards start out with a </a:t>
            </a:r>
            <a:r>
              <a:rPr kumimoji="0" lang="en-US" sz="2000" b="1"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rPr>
              <a:t>default classification type</a:t>
            </a: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1"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r>
              <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rPr>
              <a:t>Dashboard </a:t>
            </a:r>
            <a:r>
              <a:rPr kumimoji="0" lang="en-US" sz="2000" b="1"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rPr>
              <a:t>owner can change </a:t>
            </a:r>
            <a:r>
              <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rPr>
              <a:t>the classification</a:t>
            </a: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a:p>
            <a:pPr marL="182845" marR="0" lvl="1" indent="0" algn="l" defTabSz="914367" rtl="0" eaLnBrk="1" fontAlgn="auto" latinLnBrk="0" hangingPunct="1">
              <a:lnSpc>
                <a:spcPct val="90000"/>
              </a:lnSpc>
              <a:spcBef>
                <a:spcPct val="20000"/>
              </a:spcBef>
              <a:spcAft>
                <a:spcPts val="0"/>
              </a:spcAft>
              <a:buClrTx/>
              <a:buSzPct val="90000"/>
              <a:buFont typeface="Arial" panose="020B0604020202020204" pitchFamily="34" charset="0"/>
              <a:buNone/>
              <a:tabLst/>
              <a:defRPr/>
            </a:pPr>
            <a:endPar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p:txBody>
      </p:sp>
      <p:sp>
        <p:nvSpPr>
          <p:cNvPr id="53" name="Title 10"/>
          <p:cNvSpPr txBox="1">
            <a:spLocks/>
          </p:cNvSpPr>
          <p:nvPr/>
        </p:nvSpPr>
        <p:spPr>
          <a:xfrm>
            <a:off x="2849060" y="0"/>
            <a:ext cx="9342940" cy="665151"/>
          </a:xfrm>
          <a:prstGeom prst="rect">
            <a:avLst/>
          </a:prstGeom>
          <a:noFill/>
        </p:spPr>
        <p:txBody>
          <a:bodyPr vert="horz" wrap="square" lIns="0" tIns="91440" rIns="0" bIns="91440" rtlCol="0" anchor="t">
            <a:noAutofit/>
          </a:bodyPr>
          <a:lstStyle>
            <a:lvl1pPr defTabSz="914367">
              <a:lnSpc>
                <a:spcPct val="90000"/>
              </a:lnSpc>
              <a:spcBef>
                <a:spcPct val="0"/>
              </a:spcBef>
              <a:buNone/>
              <a:defRPr lang="en-US" sz="5294" b="0" cap="none" spc="-100" baseline="0" dirty="0" smtClean="0">
                <a:ln w="3175">
                  <a:noFill/>
                </a:ln>
                <a:solidFill>
                  <a:schemeClr val="tx2"/>
                </a:solidFill>
                <a:effectLst/>
                <a:latin typeface="+mj-lt"/>
                <a:cs typeface="Segoe UI" pitchFamily="34" charset="0"/>
              </a:defRPr>
            </a:lvl1pPr>
          </a:lstStyle>
          <a:p>
            <a:pPr marL="168275" marR="0" lvl="0" indent="0" algn="l" defTabSz="914367" rtl="0" eaLnBrk="1" fontAlgn="auto" latinLnBrk="0" hangingPunct="1">
              <a:lnSpc>
                <a:spcPct val="90000"/>
              </a:lnSpc>
              <a:spcBef>
                <a:spcPct val="0"/>
              </a:spcBef>
              <a:spcAft>
                <a:spcPts val="0"/>
              </a:spcAft>
              <a:buClrTx/>
              <a:buSzTx/>
              <a:buFontTx/>
              <a:buNone/>
              <a:tabLst/>
              <a:defRPr/>
            </a:pPr>
            <a:r>
              <a:rPr kumimoji="0" lang="en-US" sz="3600" b="0" i="0" u="none" strike="noStrike" kern="1200" cap="none" spc="-100" normalizeH="0" baseline="0" noProof="0">
                <a:ln w="3175">
                  <a:noFill/>
                </a:ln>
                <a:solidFill>
                  <a:prstClr val="black"/>
                </a:solidFill>
                <a:effectLst/>
                <a:uLnTx/>
                <a:uFillTx/>
                <a:latin typeface="Segoe UI Light"/>
                <a:ea typeface="+mn-ea"/>
                <a:cs typeface="Segoe UI" pitchFamily="34" charset="0"/>
              </a:rPr>
              <a:t>Pinning and Navigation</a:t>
            </a:r>
            <a:endParaRPr kumimoji="0" lang="en-IN" sz="3600" b="0" i="0" u="none" strike="noStrike" kern="1200" cap="none" spc="-100" normalizeH="0" baseline="0" noProof="0">
              <a:ln w="3175">
                <a:noFill/>
              </a:ln>
              <a:solidFill>
                <a:prstClr val="black"/>
              </a:solidFill>
              <a:effectLst/>
              <a:uLnTx/>
              <a:uFillTx/>
              <a:latin typeface="Segoe UI Light"/>
              <a:ea typeface="+mn-ea"/>
              <a:cs typeface="Segoe UI" pitchFamily="34" charset="0"/>
            </a:endParaRPr>
          </a:p>
        </p:txBody>
      </p:sp>
      <p:sp>
        <p:nvSpPr>
          <p:cNvPr id="41" name="Rectangle 3"/>
          <p:cNvSpPr/>
          <p:nvPr/>
        </p:nvSpPr>
        <p:spPr bwMode="auto">
          <a:xfrm>
            <a:off x="3202216" y="665151"/>
            <a:ext cx="8105312" cy="44435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PT" sz="2000" b="0" i="1" u="none" strike="noStrike" kern="1200" cap="none" spc="0" normalizeH="0" baseline="0" noProof="0">
                <a:ln>
                  <a:noFill/>
                </a:ln>
                <a:solidFill>
                  <a:prstClr val="black"/>
                </a:solidFill>
                <a:effectLst/>
                <a:uLnTx/>
                <a:uFillTx/>
                <a:latin typeface="Segoe UI Light"/>
                <a:ea typeface="+mn-ea"/>
                <a:cs typeface="+mn-cs"/>
              </a:rPr>
              <a:t>Dashboard – Data Classification</a:t>
            </a:r>
            <a:endParaRPr kumimoji="0" lang="en-US" sz="2000" b="0" i="1" u="none" strike="noStrike" kern="1200" cap="none" spc="0" normalizeH="0" baseline="0" noProof="0">
              <a:ln>
                <a:noFill/>
              </a:ln>
              <a:solidFill>
                <a:prstClr val="black"/>
              </a:solidFill>
              <a:effectLst/>
              <a:uLnTx/>
              <a:uFillTx/>
              <a:latin typeface="Segoe UI Light"/>
              <a:ea typeface="+mn-ea"/>
              <a:cs typeface="+mn-cs"/>
            </a:endParaRPr>
          </a:p>
        </p:txBody>
      </p:sp>
      <p:grpSp>
        <p:nvGrpSpPr>
          <p:cNvPr id="81" name="Group 80"/>
          <p:cNvGrpSpPr/>
          <p:nvPr/>
        </p:nvGrpSpPr>
        <p:grpSpPr>
          <a:xfrm>
            <a:off x="-2887" y="973"/>
            <a:ext cx="2849058" cy="6857027"/>
            <a:chOff x="2" y="487"/>
            <a:chExt cx="2849058" cy="6857027"/>
          </a:xfrm>
        </p:grpSpPr>
        <p:sp>
          <p:nvSpPr>
            <p:cNvPr id="94" name="Rectangle 15"/>
            <p:cNvSpPr/>
            <p:nvPr/>
          </p:nvSpPr>
          <p:spPr bwMode="auto">
            <a:xfrm>
              <a:off x="2" y="487"/>
              <a:ext cx="2849058" cy="685702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5" name="Rectangle 145"/>
            <p:cNvSpPr/>
            <p:nvPr/>
          </p:nvSpPr>
          <p:spPr bwMode="auto">
            <a:xfrm>
              <a:off x="696152" y="956997"/>
              <a:ext cx="1821468" cy="3831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2C812"/>
                  </a:solidFill>
                  <a:effectLst/>
                  <a:uLnTx/>
                  <a:uFillTx/>
                  <a:latin typeface="Segoe UI"/>
                  <a:ea typeface="+mn-ea"/>
                  <a:cs typeface="Segoe UI Light" panose="020B0502040204020203" pitchFamily="34" charset="0"/>
                </a:rPr>
                <a:t>Get Data</a:t>
              </a:r>
              <a:endParaRPr kumimoji="0" lang="en-US" sz="1200" b="1" i="1" u="none" strike="noStrike" kern="1200" cap="none" spc="0" normalizeH="0" baseline="0" noProof="0">
                <a:ln>
                  <a:noFill/>
                </a:ln>
                <a:solidFill>
                  <a:srgbClr val="F2C812"/>
                </a:solidFill>
                <a:effectLst/>
                <a:uLnTx/>
                <a:uFillTx/>
                <a:latin typeface="Segoe UI"/>
                <a:ea typeface="+mn-ea"/>
                <a:cs typeface="Segoe UI Light" panose="020B0502040204020203" pitchFamily="34" charset="0"/>
              </a:endParaRPr>
            </a:p>
          </p:txBody>
        </p:sp>
        <p:grpSp>
          <p:nvGrpSpPr>
            <p:cNvPr id="96" name="Group 95"/>
            <p:cNvGrpSpPr/>
            <p:nvPr/>
          </p:nvGrpSpPr>
          <p:grpSpPr>
            <a:xfrm>
              <a:off x="219373" y="934583"/>
              <a:ext cx="433844" cy="433844"/>
              <a:chOff x="440005" y="997815"/>
              <a:chExt cx="296322" cy="296322"/>
            </a:xfrm>
          </p:grpSpPr>
          <p:sp>
            <p:nvSpPr>
              <p:cNvPr id="115" name="Oval 147"/>
              <p:cNvSpPr/>
              <p:nvPr/>
            </p:nvSpPr>
            <p:spPr bwMode="auto">
              <a:xfrm>
                <a:off x="440005" y="997815"/>
                <a:ext cx="296322" cy="296322"/>
              </a:xfrm>
              <a:prstGeom prst="ellipse">
                <a:avLst/>
              </a:prstGeom>
              <a:solidFill>
                <a:srgbClr val="FFCC00"/>
              </a:solidFill>
              <a:ln>
                <a:solidFill>
                  <a:srgbClr val="F2C81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16" name="Group 332"/>
              <p:cNvGrpSpPr/>
              <p:nvPr/>
            </p:nvGrpSpPr>
            <p:grpSpPr>
              <a:xfrm>
                <a:off x="482167" y="1059311"/>
                <a:ext cx="211997" cy="173292"/>
                <a:chOff x="2123129" y="293070"/>
                <a:chExt cx="2472585" cy="2021178"/>
              </a:xfrm>
            </p:grpSpPr>
            <p:sp>
              <p:nvSpPr>
                <p:cNvPr id="117" name="Freeform 13"/>
                <p:cNvSpPr>
                  <a:spLocks/>
                </p:cNvSpPr>
                <p:nvPr/>
              </p:nvSpPr>
              <p:spPr bwMode="auto">
                <a:xfrm rot="20700000">
                  <a:off x="3155853" y="872796"/>
                  <a:ext cx="1439861" cy="1441452"/>
                </a:xfrm>
                <a:custGeom>
                  <a:avLst/>
                  <a:gdLst>
                    <a:gd name="T0" fmla="*/ 138 w 441"/>
                    <a:gd name="T1" fmla="*/ 341 h 441"/>
                    <a:gd name="T2" fmla="*/ 183 w 441"/>
                    <a:gd name="T3" fmla="*/ 374 h 441"/>
                    <a:gd name="T4" fmla="*/ 220 w 441"/>
                    <a:gd name="T5" fmla="*/ 423 h 441"/>
                    <a:gd name="T6" fmla="*/ 422 w 441"/>
                    <a:gd name="T7" fmla="*/ 220 h 441"/>
                    <a:gd name="T8" fmla="*/ 373 w 441"/>
                    <a:gd name="T9" fmla="*/ 184 h 441"/>
                    <a:gd name="T10" fmla="*/ 341 w 441"/>
                    <a:gd name="T11" fmla="*/ 139 h 441"/>
                    <a:gd name="T12" fmla="*/ 382 w 441"/>
                    <a:gd name="T13" fmla="*/ 58 h 441"/>
                    <a:gd name="T14" fmla="*/ 302 w 441"/>
                    <a:gd name="T15" fmla="*/ 100 h 441"/>
                    <a:gd name="T16" fmla="*/ 257 w 441"/>
                    <a:gd name="T17" fmla="*/ 67 h 441"/>
                    <a:gd name="T18" fmla="*/ 220 w 441"/>
                    <a:gd name="T19" fmla="*/ 18 h 441"/>
                    <a:gd name="T20" fmla="*/ 171 w 441"/>
                    <a:gd name="T21" fmla="*/ 55 h 441"/>
                    <a:gd name="T22" fmla="*/ 138 w 441"/>
                    <a:gd name="T23" fmla="*/ 100 h 441"/>
                    <a:gd name="T24" fmla="*/ 180 w 441"/>
                    <a:gd name="T25" fmla="*/ 181 h 441"/>
                    <a:gd name="T26" fmla="*/ 100 w 441"/>
                    <a:gd name="T27" fmla="*/ 139 h 441"/>
                    <a:gd name="T28" fmla="*/ 55 w 441"/>
                    <a:gd name="T29" fmla="*/ 171 h 441"/>
                    <a:gd name="T30" fmla="*/ 18 w 441"/>
                    <a:gd name="T31" fmla="*/ 220 h 441"/>
                    <a:gd name="T32" fmla="*/ 67 w 441"/>
                    <a:gd name="T33" fmla="*/ 257 h 441"/>
                    <a:gd name="T34" fmla="*/ 100 w 441"/>
                    <a:gd name="T35" fmla="*/ 302 h 441"/>
                    <a:gd name="T36" fmla="*/ 58 w 441"/>
                    <a:gd name="T37" fmla="*/ 383 h 441"/>
                    <a:gd name="T38" fmla="*/ 138 w 441"/>
                    <a:gd name="T39" fmla="*/ 341 h 4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41" h="441">
                      <a:moveTo>
                        <a:pt x="138" y="341"/>
                      </a:moveTo>
                      <a:cubicBezTo>
                        <a:pt x="147" y="337"/>
                        <a:pt x="171" y="361"/>
                        <a:pt x="183" y="374"/>
                      </a:cubicBezTo>
                      <a:cubicBezTo>
                        <a:pt x="196" y="386"/>
                        <a:pt x="220" y="423"/>
                        <a:pt x="220" y="423"/>
                      </a:cubicBezTo>
                      <a:cubicBezTo>
                        <a:pt x="422" y="220"/>
                        <a:pt x="422" y="220"/>
                        <a:pt x="422" y="220"/>
                      </a:cubicBezTo>
                      <a:cubicBezTo>
                        <a:pt x="422" y="220"/>
                        <a:pt x="386" y="196"/>
                        <a:pt x="373" y="184"/>
                      </a:cubicBezTo>
                      <a:cubicBezTo>
                        <a:pt x="361" y="171"/>
                        <a:pt x="338" y="149"/>
                        <a:pt x="341" y="139"/>
                      </a:cubicBezTo>
                      <a:cubicBezTo>
                        <a:pt x="343" y="129"/>
                        <a:pt x="441" y="116"/>
                        <a:pt x="382" y="58"/>
                      </a:cubicBezTo>
                      <a:cubicBezTo>
                        <a:pt x="324" y="0"/>
                        <a:pt x="310" y="96"/>
                        <a:pt x="302" y="100"/>
                      </a:cubicBezTo>
                      <a:cubicBezTo>
                        <a:pt x="294" y="104"/>
                        <a:pt x="269" y="80"/>
                        <a:pt x="257" y="67"/>
                      </a:cubicBezTo>
                      <a:cubicBezTo>
                        <a:pt x="245" y="55"/>
                        <a:pt x="220" y="18"/>
                        <a:pt x="220" y="18"/>
                      </a:cubicBezTo>
                      <a:cubicBezTo>
                        <a:pt x="220" y="18"/>
                        <a:pt x="183" y="43"/>
                        <a:pt x="171" y="55"/>
                      </a:cubicBezTo>
                      <a:cubicBezTo>
                        <a:pt x="159" y="67"/>
                        <a:pt x="134" y="92"/>
                        <a:pt x="138" y="100"/>
                      </a:cubicBezTo>
                      <a:cubicBezTo>
                        <a:pt x="142" y="108"/>
                        <a:pt x="238" y="122"/>
                        <a:pt x="180" y="181"/>
                      </a:cubicBezTo>
                      <a:cubicBezTo>
                        <a:pt x="122" y="239"/>
                        <a:pt x="110" y="141"/>
                        <a:pt x="100" y="139"/>
                      </a:cubicBezTo>
                      <a:cubicBezTo>
                        <a:pt x="89" y="137"/>
                        <a:pt x="67" y="159"/>
                        <a:pt x="55" y="171"/>
                      </a:cubicBezTo>
                      <a:cubicBezTo>
                        <a:pt x="42" y="184"/>
                        <a:pt x="18" y="220"/>
                        <a:pt x="18" y="220"/>
                      </a:cubicBezTo>
                      <a:cubicBezTo>
                        <a:pt x="18" y="220"/>
                        <a:pt x="55" y="245"/>
                        <a:pt x="67" y="257"/>
                      </a:cubicBezTo>
                      <a:cubicBezTo>
                        <a:pt x="79" y="269"/>
                        <a:pt x="102" y="292"/>
                        <a:pt x="100" y="302"/>
                      </a:cubicBezTo>
                      <a:cubicBezTo>
                        <a:pt x="98" y="312"/>
                        <a:pt x="0" y="325"/>
                        <a:pt x="58" y="383"/>
                      </a:cubicBezTo>
                      <a:cubicBezTo>
                        <a:pt x="116" y="441"/>
                        <a:pt x="130" y="345"/>
                        <a:pt x="138" y="341"/>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118" name="Freeform 14"/>
                <p:cNvSpPr>
                  <a:spLocks/>
                </p:cNvSpPr>
                <p:nvPr/>
              </p:nvSpPr>
              <p:spPr bwMode="auto">
                <a:xfrm rot="9900000">
                  <a:off x="2123129" y="293070"/>
                  <a:ext cx="1377948" cy="1377947"/>
                </a:xfrm>
                <a:custGeom>
                  <a:avLst/>
                  <a:gdLst>
                    <a:gd name="T0" fmla="*/ 422 w 422"/>
                    <a:gd name="T1" fmla="*/ 220 h 422"/>
                    <a:gd name="T2" fmla="*/ 386 w 422"/>
                    <a:gd name="T3" fmla="*/ 171 h 422"/>
                    <a:gd name="T4" fmla="*/ 341 w 422"/>
                    <a:gd name="T5" fmla="*/ 138 h 422"/>
                    <a:gd name="T6" fmla="*/ 260 w 422"/>
                    <a:gd name="T7" fmla="*/ 180 h 422"/>
                    <a:gd name="T8" fmla="*/ 302 w 422"/>
                    <a:gd name="T9" fmla="*/ 100 h 422"/>
                    <a:gd name="T10" fmla="*/ 269 w 422"/>
                    <a:gd name="T11" fmla="*/ 55 h 422"/>
                    <a:gd name="T12" fmla="*/ 220 w 422"/>
                    <a:gd name="T13" fmla="*/ 18 h 422"/>
                    <a:gd name="T14" fmla="*/ 183 w 422"/>
                    <a:gd name="T15" fmla="*/ 67 h 422"/>
                    <a:gd name="T16" fmla="*/ 138 w 422"/>
                    <a:gd name="T17" fmla="*/ 100 h 422"/>
                    <a:gd name="T18" fmla="*/ 58 w 422"/>
                    <a:gd name="T19" fmla="*/ 58 h 422"/>
                    <a:gd name="T20" fmla="*/ 100 w 422"/>
                    <a:gd name="T21" fmla="*/ 138 h 422"/>
                    <a:gd name="T22" fmla="*/ 67 w 422"/>
                    <a:gd name="T23" fmla="*/ 183 h 422"/>
                    <a:gd name="T24" fmla="*/ 18 w 422"/>
                    <a:gd name="T25" fmla="*/ 220 h 422"/>
                    <a:gd name="T26" fmla="*/ 55 w 422"/>
                    <a:gd name="T27" fmla="*/ 269 h 422"/>
                    <a:gd name="T28" fmla="*/ 100 w 422"/>
                    <a:gd name="T29" fmla="*/ 302 h 422"/>
                    <a:gd name="T30" fmla="*/ 180 w 422"/>
                    <a:gd name="T31" fmla="*/ 260 h 422"/>
                    <a:gd name="T32" fmla="*/ 138 w 422"/>
                    <a:gd name="T33" fmla="*/ 341 h 422"/>
                    <a:gd name="T34" fmla="*/ 171 w 422"/>
                    <a:gd name="T35" fmla="*/ 386 h 422"/>
                    <a:gd name="T36" fmla="*/ 220 w 422"/>
                    <a:gd name="T37" fmla="*/ 422 h 422"/>
                    <a:gd name="T38" fmla="*/ 422 w 422"/>
                    <a:gd name="T39" fmla="*/ 220 h 4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22" h="422">
                      <a:moveTo>
                        <a:pt x="422" y="220"/>
                      </a:moveTo>
                      <a:cubicBezTo>
                        <a:pt x="422" y="220"/>
                        <a:pt x="398" y="183"/>
                        <a:pt x="386" y="171"/>
                      </a:cubicBezTo>
                      <a:cubicBezTo>
                        <a:pt x="373" y="159"/>
                        <a:pt x="349" y="134"/>
                        <a:pt x="341" y="138"/>
                      </a:cubicBezTo>
                      <a:cubicBezTo>
                        <a:pt x="332" y="142"/>
                        <a:pt x="318" y="239"/>
                        <a:pt x="260" y="180"/>
                      </a:cubicBezTo>
                      <a:cubicBezTo>
                        <a:pt x="202" y="122"/>
                        <a:pt x="300" y="110"/>
                        <a:pt x="302" y="100"/>
                      </a:cubicBezTo>
                      <a:cubicBezTo>
                        <a:pt x="304" y="90"/>
                        <a:pt x="281" y="67"/>
                        <a:pt x="269" y="55"/>
                      </a:cubicBezTo>
                      <a:cubicBezTo>
                        <a:pt x="257" y="42"/>
                        <a:pt x="220" y="18"/>
                        <a:pt x="220" y="18"/>
                      </a:cubicBezTo>
                      <a:cubicBezTo>
                        <a:pt x="220" y="18"/>
                        <a:pt x="196" y="55"/>
                        <a:pt x="183" y="67"/>
                      </a:cubicBezTo>
                      <a:cubicBezTo>
                        <a:pt x="171" y="79"/>
                        <a:pt x="149" y="102"/>
                        <a:pt x="138" y="100"/>
                      </a:cubicBezTo>
                      <a:cubicBezTo>
                        <a:pt x="128" y="98"/>
                        <a:pt x="116" y="0"/>
                        <a:pt x="58" y="58"/>
                      </a:cubicBezTo>
                      <a:cubicBezTo>
                        <a:pt x="0" y="116"/>
                        <a:pt x="96" y="130"/>
                        <a:pt x="100" y="138"/>
                      </a:cubicBezTo>
                      <a:cubicBezTo>
                        <a:pt x="104" y="147"/>
                        <a:pt x="79" y="171"/>
                        <a:pt x="67" y="183"/>
                      </a:cubicBezTo>
                      <a:cubicBezTo>
                        <a:pt x="55" y="196"/>
                        <a:pt x="18" y="220"/>
                        <a:pt x="18" y="220"/>
                      </a:cubicBezTo>
                      <a:cubicBezTo>
                        <a:pt x="18" y="220"/>
                        <a:pt x="42" y="257"/>
                        <a:pt x="55" y="269"/>
                      </a:cubicBezTo>
                      <a:cubicBezTo>
                        <a:pt x="67" y="281"/>
                        <a:pt x="91" y="306"/>
                        <a:pt x="100" y="302"/>
                      </a:cubicBezTo>
                      <a:cubicBezTo>
                        <a:pt x="108" y="298"/>
                        <a:pt x="122" y="202"/>
                        <a:pt x="180" y="260"/>
                      </a:cubicBezTo>
                      <a:cubicBezTo>
                        <a:pt x="238" y="318"/>
                        <a:pt x="140" y="330"/>
                        <a:pt x="138" y="341"/>
                      </a:cubicBezTo>
                      <a:cubicBezTo>
                        <a:pt x="136" y="351"/>
                        <a:pt x="159" y="373"/>
                        <a:pt x="171" y="386"/>
                      </a:cubicBezTo>
                      <a:cubicBezTo>
                        <a:pt x="183" y="398"/>
                        <a:pt x="220" y="422"/>
                        <a:pt x="220" y="422"/>
                      </a:cubicBezTo>
                      <a:lnTo>
                        <a:pt x="422" y="22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grpSp>
        </p:grpSp>
        <p:sp>
          <p:nvSpPr>
            <p:cNvPr id="97" name="Rectangle 152"/>
            <p:cNvSpPr/>
            <p:nvPr/>
          </p:nvSpPr>
          <p:spPr bwMode="auto">
            <a:xfrm>
              <a:off x="669652" y="2738277"/>
              <a:ext cx="1805162" cy="37532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2C812"/>
                  </a:solidFill>
                  <a:effectLst/>
                  <a:uLnTx/>
                  <a:uFillTx/>
                  <a:latin typeface="Segoe UI"/>
                  <a:ea typeface="+mn-ea"/>
                  <a:cs typeface="Segoe UI Light" panose="020B0502040204020203" pitchFamily="34" charset="0"/>
                </a:rPr>
                <a:t>Keeping Data Current</a:t>
              </a:r>
            </a:p>
          </p:txBody>
        </p:sp>
        <p:grpSp>
          <p:nvGrpSpPr>
            <p:cNvPr id="98" name="Group 97"/>
            <p:cNvGrpSpPr/>
            <p:nvPr/>
          </p:nvGrpSpPr>
          <p:grpSpPr>
            <a:xfrm>
              <a:off x="199649" y="2692629"/>
              <a:ext cx="433844" cy="433844"/>
              <a:chOff x="342620" y="2228265"/>
              <a:chExt cx="433844" cy="433844"/>
            </a:xfrm>
            <a:solidFill>
              <a:schemeClr val="bg1"/>
            </a:solidFill>
          </p:grpSpPr>
          <p:sp>
            <p:nvSpPr>
              <p:cNvPr id="113" name="Oval 154"/>
              <p:cNvSpPr/>
              <p:nvPr/>
            </p:nvSpPr>
            <p:spPr bwMode="auto">
              <a:xfrm>
                <a:off x="342620" y="2228265"/>
                <a:ext cx="433844" cy="433844"/>
              </a:xfrm>
              <a:prstGeom prst="ellipse">
                <a:avLst/>
              </a:prstGeom>
              <a:solidFill>
                <a:srgbClr val="FFC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4" name="Freeform 30"/>
              <p:cNvSpPr>
                <a:spLocks noEditPoints="1"/>
              </p:cNvSpPr>
              <p:nvPr/>
            </p:nvSpPr>
            <p:spPr bwMode="auto">
              <a:xfrm>
                <a:off x="444786" y="2340040"/>
                <a:ext cx="238402" cy="210293"/>
              </a:xfrm>
              <a:custGeom>
                <a:avLst/>
                <a:gdLst>
                  <a:gd name="T0" fmla="*/ 883 w 916"/>
                  <a:gd name="T1" fmla="*/ 286 h 808"/>
                  <a:gd name="T2" fmla="*/ 539 w 916"/>
                  <a:gd name="T3" fmla="*/ 723 h 808"/>
                  <a:gd name="T4" fmla="*/ 504 w 916"/>
                  <a:gd name="T5" fmla="*/ 0 h 808"/>
                  <a:gd name="T6" fmla="*/ 35 w 916"/>
                  <a:gd name="T7" fmla="*/ 723 h 808"/>
                  <a:gd name="T8" fmla="*/ 0 w 916"/>
                  <a:gd name="T9" fmla="*/ 808 h 808"/>
                  <a:gd name="T10" fmla="*/ 916 w 916"/>
                  <a:gd name="T11" fmla="*/ 723 h 808"/>
                  <a:gd name="T12" fmla="*/ 229 w 916"/>
                  <a:gd name="T13" fmla="*/ 665 h 808"/>
                  <a:gd name="T14" fmla="*/ 109 w 916"/>
                  <a:gd name="T15" fmla="*/ 596 h 808"/>
                  <a:gd name="T16" fmla="*/ 229 w 916"/>
                  <a:gd name="T17" fmla="*/ 665 h 808"/>
                  <a:gd name="T18" fmla="*/ 109 w 916"/>
                  <a:gd name="T19" fmla="*/ 501 h 808"/>
                  <a:gd name="T20" fmla="*/ 229 w 916"/>
                  <a:gd name="T21" fmla="*/ 432 h 808"/>
                  <a:gd name="T22" fmla="*/ 229 w 916"/>
                  <a:gd name="T23" fmla="*/ 337 h 808"/>
                  <a:gd name="T24" fmla="*/ 109 w 916"/>
                  <a:gd name="T25" fmla="*/ 267 h 808"/>
                  <a:gd name="T26" fmla="*/ 229 w 916"/>
                  <a:gd name="T27" fmla="*/ 337 h 808"/>
                  <a:gd name="T28" fmla="*/ 109 w 916"/>
                  <a:gd name="T29" fmla="*/ 172 h 808"/>
                  <a:gd name="T30" fmla="*/ 229 w 916"/>
                  <a:gd name="T31" fmla="*/ 103 h 808"/>
                  <a:gd name="T32" fmla="*/ 428 w 916"/>
                  <a:gd name="T33" fmla="*/ 665 h 808"/>
                  <a:gd name="T34" fmla="*/ 307 w 916"/>
                  <a:gd name="T35" fmla="*/ 596 h 808"/>
                  <a:gd name="T36" fmla="*/ 428 w 916"/>
                  <a:gd name="T37" fmla="*/ 665 h 808"/>
                  <a:gd name="T38" fmla="*/ 307 w 916"/>
                  <a:gd name="T39" fmla="*/ 501 h 808"/>
                  <a:gd name="T40" fmla="*/ 428 w 916"/>
                  <a:gd name="T41" fmla="*/ 432 h 808"/>
                  <a:gd name="T42" fmla="*/ 428 w 916"/>
                  <a:gd name="T43" fmla="*/ 337 h 808"/>
                  <a:gd name="T44" fmla="*/ 307 w 916"/>
                  <a:gd name="T45" fmla="*/ 267 h 808"/>
                  <a:gd name="T46" fmla="*/ 428 w 916"/>
                  <a:gd name="T47" fmla="*/ 337 h 808"/>
                  <a:gd name="T48" fmla="*/ 307 w 916"/>
                  <a:gd name="T49" fmla="*/ 172 h 808"/>
                  <a:gd name="T50" fmla="*/ 428 w 916"/>
                  <a:gd name="T51" fmla="*/ 103 h 808"/>
                  <a:gd name="T52" fmla="*/ 684 w 916"/>
                  <a:gd name="T53" fmla="*/ 668 h 808"/>
                  <a:gd name="T54" fmla="*/ 606 w 916"/>
                  <a:gd name="T55" fmla="*/ 549 h 808"/>
                  <a:gd name="T56" fmla="*/ 684 w 916"/>
                  <a:gd name="T57" fmla="*/ 668 h 808"/>
                  <a:gd name="T58" fmla="*/ 606 w 916"/>
                  <a:gd name="T59" fmla="*/ 482 h 808"/>
                  <a:gd name="T60" fmla="*/ 684 w 916"/>
                  <a:gd name="T61" fmla="*/ 365 h 808"/>
                  <a:gd name="T62" fmla="*/ 816 w 916"/>
                  <a:gd name="T63" fmla="*/ 668 h 808"/>
                  <a:gd name="T64" fmla="*/ 738 w 916"/>
                  <a:gd name="T65" fmla="*/ 549 h 808"/>
                  <a:gd name="T66" fmla="*/ 816 w 916"/>
                  <a:gd name="T67" fmla="*/ 668 h 808"/>
                  <a:gd name="T68" fmla="*/ 738 w 916"/>
                  <a:gd name="T69" fmla="*/ 482 h 808"/>
                  <a:gd name="T70" fmla="*/ 816 w 916"/>
                  <a:gd name="T71" fmla="*/ 365 h 8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16" h="808">
                    <a:moveTo>
                      <a:pt x="883" y="723"/>
                    </a:moveTo>
                    <a:lnTo>
                      <a:pt x="883" y="286"/>
                    </a:lnTo>
                    <a:lnTo>
                      <a:pt x="539" y="286"/>
                    </a:lnTo>
                    <a:lnTo>
                      <a:pt x="539" y="723"/>
                    </a:lnTo>
                    <a:lnTo>
                      <a:pt x="504" y="723"/>
                    </a:lnTo>
                    <a:lnTo>
                      <a:pt x="504" y="0"/>
                    </a:lnTo>
                    <a:lnTo>
                      <a:pt x="35" y="0"/>
                    </a:lnTo>
                    <a:lnTo>
                      <a:pt x="35" y="723"/>
                    </a:lnTo>
                    <a:lnTo>
                      <a:pt x="0" y="723"/>
                    </a:lnTo>
                    <a:lnTo>
                      <a:pt x="0" y="808"/>
                    </a:lnTo>
                    <a:lnTo>
                      <a:pt x="916" y="808"/>
                    </a:lnTo>
                    <a:lnTo>
                      <a:pt x="916" y="723"/>
                    </a:lnTo>
                    <a:lnTo>
                      <a:pt x="883" y="723"/>
                    </a:lnTo>
                    <a:close/>
                    <a:moveTo>
                      <a:pt x="229" y="665"/>
                    </a:moveTo>
                    <a:lnTo>
                      <a:pt x="109" y="665"/>
                    </a:lnTo>
                    <a:lnTo>
                      <a:pt x="109" y="596"/>
                    </a:lnTo>
                    <a:lnTo>
                      <a:pt x="229" y="596"/>
                    </a:lnTo>
                    <a:lnTo>
                      <a:pt x="229" y="665"/>
                    </a:lnTo>
                    <a:close/>
                    <a:moveTo>
                      <a:pt x="229" y="501"/>
                    </a:moveTo>
                    <a:lnTo>
                      <a:pt x="109" y="501"/>
                    </a:lnTo>
                    <a:lnTo>
                      <a:pt x="109" y="432"/>
                    </a:lnTo>
                    <a:lnTo>
                      <a:pt x="229" y="432"/>
                    </a:lnTo>
                    <a:lnTo>
                      <a:pt x="229" y="501"/>
                    </a:lnTo>
                    <a:close/>
                    <a:moveTo>
                      <a:pt x="229" y="337"/>
                    </a:moveTo>
                    <a:lnTo>
                      <a:pt x="109" y="337"/>
                    </a:lnTo>
                    <a:lnTo>
                      <a:pt x="109" y="267"/>
                    </a:lnTo>
                    <a:lnTo>
                      <a:pt x="229" y="267"/>
                    </a:lnTo>
                    <a:lnTo>
                      <a:pt x="229" y="337"/>
                    </a:lnTo>
                    <a:close/>
                    <a:moveTo>
                      <a:pt x="229" y="172"/>
                    </a:moveTo>
                    <a:lnTo>
                      <a:pt x="109" y="172"/>
                    </a:lnTo>
                    <a:lnTo>
                      <a:pt x="109" y="103"/>
                    </a:lnTo>
                    <a:lnTo>
                      <a:pt x="229" y="103"/>
                    </a:lnTo>
                    <a:lnTo>
                      <a:pt x="229" y="172"/>
                    </a:lnTo>
                    <a:close/>
                    <a:moveTo>
                      <a:pt x="428" y="665"/>
                    </a:moveTo>
                    <a:lnTo>
                      <a:pt x="307" y="665"/>
                    </a:lnTo>
                    <a:lnTo>
                      <a:pt x="307" y="596"/>
                    </a:lnTo>
                    <a:lnTo>
                      <a:pt x="428" y="596"/>
                    </a:lnTo>
                    <a:lnTo>
                      <a:pt x="428" y="665"/>
                    </a:lnTo>
                    <a:close/>
                    <a:moveTo>
                      <a:pt x="428" y="501"/>
                    </a:moveTo>
                    <a:lnTo>
                      <a:pt x="307" y="501"/>
                    </a:lnTo>
                    <a:lnTo>
                      <a:pt x="307" y="432"/>
                    </a:lnTo>
                    <a:lnTo>
                      <a:pt x="428" y="432"/>
                    </a:lnTo>
                    <a:lnTo>
                      <a:pt x="428" y="501"/>
                    </a:lnTo>
                    <a:close/>
                    <a:moveTo>
                      <a:pt x="428" y="337"/>
                    </a:moveTo>
                    <a:lnTo>
                      <a:pt x="307" y="337"/>
                    </a:lnTo>
                    <a:lnTo>
                      <a:pt x="307" y="267"/>
                    </a:lnTo>
                    <a:lnTo>
                      <a:pt x="428" y="267"/>
                    </a:lnTo>
                    <a:lnTo>
                      <a:pt x="428" y="337"/>
                    </a:lnTo>
                    <a:close/>
                    <a:moveTo>
                      <a:pt x="428" y="172"/>
                    </a:moveTo>
                    <a:lnTo>
                      <a:pt x="307" y="172"/>
                    </a:lnTo>
                    <a:lnTo>
                      <a:pt x="307" y="103"/>
                    </a:lnTo>
                    <a:lnTo>
                      <a:pt x="428" y="103"/>
                    </a:lnTo>
                    <a:lnTo>
                      <a:pt x="428" y="172"/>
                    </a:lnTo>
                    <a:close/>
                    <a:moveTo>
                      <a:pt x="684" y="668"/>
                    </a:moveTo>
                    <a:lnTo>
                      <a:pt x="606" y="668"/>
                    </a:lnTo>
                    <a:lnTo>
                      <a:pt x="606" y="549"/>
                    </a:lnTo>
                    <a:lnTo>
                      <a:pt x="684" y="549"/>
                    </a:lnTo>
                    <a:lnTo>
                      <a:pt x="684" y="668"/>
                    </a:lnTo>
                    <a:close/>
                    <a:moveTo>
                      <a:pt x="684" y="482"/>
                    </a:moveTo>
                    <a:lnTo>
                      <a:pt x="606" y="482"/>
                    </a:lnTo>
                    <a:lnTo>
                      <a:pt x="606" y="365"/>
                    </a:lnTo>
                    <a:lnTo>
                      <a:pt x="684" y="365"/>
                    </a:lnTo>
                    <a:lnTo>
                      <a:pt x="684" y="482"/>
                    </a:lnTo>
                    <a:close/>
                    <a:moveTo>
                      <a:pt x="816" y="668"/>
                    </a:moveTo>
                    <a:lnTo>
                      <a:pt x="738" y="668"/>
                    </a:lnTo>
                    <a:lnTo>
                      <a:pt x="738" y="549"/>
                    </a:lnTo>
                    <a:lnTo>
                      <a:pt x="816" y="549"/>
                    </a:lnTo>
                    <a:lnTo>
                      <a:pt x="816" y="668"/>
                    </a:lnTo>
                    <a:close/>
                    <a:moveTo>
                      <a:pt x="816" y="482"/>
                    </a:moveTo>
                    <a:lnTo>
                      <a:pt x="738" y="482"/>
                    </a:lnTo>
                    <a:lnTo>
                      <a:pt x="738" y="365"/>
                    </a:lnTo>
                    <a:lnTo>
                      <a:pt x="816" y="365"/>
                    </a:lnTo>
                    <a:lnTo>
                      <a:pt x="816" y="482"/>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grpSp>
        <p:sp>
          <p:nvSpPr>
            <p:cNvPr id="99" name="TextBox 98"/>
            <p:cNvSpPr txBox="1"/>
            <p:nvPr/>
          </p:nvSpPr>
          <p:spPr>
            <a:xfrm>
              <a:off x="83345" y="113808"/>
              <a:ext cx="2532630" cy="627864"/>
            </a:xfrm>
            <a:prstGeom prst="rect">
              <a:avLst/>
            </a:prstGeom>
            <a:noFill/>
          </p:spPr>
          <p:txBody>
            <a:bodyPr wrap="square" lIns="182880" tIns="146304" rIns="182880" bIns="146304" rtlCol="0">
              <a:spAutoFit/>
            </a:bodyPr>
            <a:lstStyle>
              <a:defPPr>
                <a:defRPr lang="en-US"/>
              </a:defPPr>
              <a:lvl1pPr>
                <a:lnSpc>
                  <a:spcPct val="90000"/>
                </a:lnSpc>
                <a:spcAft>
                  <a:spcPts val="600"/>
                </a:spcAft>
                <a:defRPr sz="2800" b="1">
                  <a:solidFill>
                    <a:srgbClr val="F2C812"/>
                  </a:solidFill>
                  <a:latin typeface="Segoe UI Light"/>
                </a:defRPr>
              </a:lvl1p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400" b="1" i="0" u="none" strike="noStrike" kern="1200" cap="none" spc="0" normalizeH="0" baseline="0" noProof="0">
                  <a:ln>
                    <a:noFill/>
                  </a:ln>
                  <a:solidFill>
                    <a:srgbClr val="F2C812"/>
                  </a:solidFill>
                  <a:effectLst/>
                  <a:uLnTx/>
                  <a:uFillTx/>
                  <a:latin typeface="Segoe UI Light"/>
                  <a:ea typeface="+mn-ea"/>
                  <a:cs typeface="+mn-cs"/>
                </a:rPr>
                <a:t>Power BI Service</a:t>
              </a:r>
              <a:endParaRPr kumimoji="0" lang="en-US" sz="2800" b="1" i="0" u="none" strike="noStrike" kern="1200" cap="none" spc="0" normalizeH="0" baseline="0" noProof="0">
                <a:ln>
                  <a:noFill/>
                </a:ln>
                <a:solidFill>
                  <a:srgbClr val="F2C812"/>
                </a:solidFill>
                <a:effectLst/>
                <a:uLnTx/>
                <a:uFillTx/>
                <a:latin typeface="Segoe UI Light"/>
                <a:ea typeface="+mn-ea"/>
                <a:cs typeface="+mn-cs"/>
              </a:endParaRPr>
            </a:p>
          </p:txBody>
        </p:sp>
        <p:grpSp>
          <p:nvGrpSpPr>
            <p:cNvPr id="100" name="Group 99"/>
            <p:cNvGrpSpPr/>
            <p:nvPr/>
          </p:nvGrpSpPr>
          <p:grpSpPr>
            <a:xfrm>
              <a:off x="219373" y="3621383"/>
              <a:ext cx="433844" cy="645668"/>
              <a:chOff x="280990" y="3358164"/>
              <a:chExt cx="433844" cy="645668"/>
            </a:xfrm>
          </p:grpSpPr>
          <p:sp>
            <p:nvSpPr>
              <p:cNvPr id="106" name="Oval 1083"/>
              <p:cNvSpPr/>
              <p:nvPr/>
            </p:nvSpPr>
            <p:spPr bwMode="auto">
              <a:xfrm>
                <a:off x="280990" y="3358164"/>
                <a:ext cx="433844" cy="433847"/>
              </a:xfrm>
              <a:prstGeom prst="ellipse">
                <a:avLst/>
              </a:prstGeom>
              <a:solidFill>
                <a:srgbClr val="F2C812"/>
              </a:solidFill>
              <a:ln>
                <a:solidFill>
                  <a:srgbClr val="FFCC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07" name="Group 379"/>
              <p:cNvGrpSpPr/>
              <p:nvPr/>
            </p:nvGrpSpPr>
            <p:grpSpPr>
              <a:xfrm>
                <a:off x="453702" y="3910852"/>
                <a:ext cx="175660" cy="92980"/>
                <a:chOff x="3895793" y="7466656"/>
                <a:chExt cx="785810" cy="415941"/>
              </a:xfrm>
              <a:solidFill>
                <a:srgbClr val="00BCF2"/>
              </a:solidFill>
            </p:grpSpPr>
            <p:sp>
              <p:nvSpPr>
                <p:cNvPr id="108" name="Freeform 132"/>
                <p:cNvSpPr>
                  <a:spLocks/>
                </p:cNvSpPr>
                <p:nvPr/>
              </p:nvSpPr>
              <p:spPr bwMode="auto">
                <a:xfrm>
                  <a:off x="4125979" y="7688918"/>
                  <a:ext cx="0" cy="6353"/>
                </a:xfrm>
                <a:custGeom>
                  <a:avLst/>
                  <a:gdLst>
                    <a:gd name="T0" fmla="*/ 1 w 1"/>
                    <a:gd name="T1" fmla="*/ 0 h 8"/>
                    <a:gd name="T2" fmla="*/ 0 w 1"/>
                    <a:gd name="T3" fmla="*/ 0 h 8"/>
                    <a:gd name="T4" fmla="*/ 1 w 1"/>
                    <a:gd name="T5" fmla="*/ 8 h 8"/>
                    <a:gd name="T6" fmla="*/ 1 w 1"/>
                    <a:gd name="T7" fmla="*/ 0 h 8"/>
                  </a:gdLst>
                  <a:ahLst/>
                  <a:cxnLst>
                    <a:cxn ang="0">
                      <a:pos x="T0" y="T1"/>
                    </a:cxn>
                    <a:cxn ang="0">
                      <a:pos x="T2" y="T3"/>
                    </a:cxn>
                    <a:cxn ang="0">
                      <a:pos x="T4" y="T5"/>
                    </a:cxn>
                    <a:cxn ang="0">
                      <a:pos x="T6" y="T7"/>
                    </a:cxn>
                  </a:cxnLst>
                  <a:rect l="0" t="0" r="r" b="b"/>
                  <a:pathLst>
                    <a:path w="1" h="8">
                      <a:moveTo>
                        <a:pt x="1" y="0"/>
                      </a:moveTo>
                      <a:cubicBezTo>
                        <a:pt x="0" y="0"/>
                        <a:pt x="0" y="0"/>
                        <a:pt x="0" y="0"/>
                      </a:cubicBezTo>
                      <a:cubicBezTo>
                        <a:pt x="0" y="3"/>
                        <a:pt x="1" y="5"/>
                        <a:pt x="1" y="8"/>
                      </a:cubicBezTo>
                      <a:lnTo>
                        <a:pt x="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109" name="Freeform 133"/>
                <p:cNvSpPr>
                  <a:spLocks/>
                </p:cNvSpPr>
                <p:nvPr/>
              </p:nvSpPr>
              <p:spPr bwMode="auto">
                <a:xfrm>
                  <a:off x="3895793" y="7812745"/>
                  <a:ext cx="219078" cy="69852"/>
                </a:xfrm>
                <a:custGeom>
                  <a:avLst/>
                  <a:gdLst>
                    <a:gd name="T0" fmla="*/ 186 w 238"/>
                    <a:gd name="T1" fmla="*/ 9 h 76"/>
                    <a:gd name="T2" fmla="*/ 131 w 238"/>
                    <a:gd name="T3" fmla="*/ 22 h 76"/>
                    <a:gd name="T4" fmla="*/ 60 w 238"/>
                    <a:gd name="T5" fmla="*/ 0 h 76"/>
                    <a:gd name="T6" fmla="*/ 0 w 238"/>
                    <a:gd name="T7" fmla="*/ 42 h 76"/>
                    <a:gd name="T8" fmla="*/ 0 w 238"/>
                    <a:gd name="T9" fmla="*/ 76 h 76"/>
                    <a:gd name="T10" fmla="*/ 238 w 238"/>
                    <a:gd name="T11" fmla="*/ 76 h 76"/>
                    <a:gd name="T12" fmla="*/ 236 w 238"/>
                    <a:gd name="T13" fmla="*/ 53 h 76"/>
                    <a:gd name="T14" fmla="*/ 236 w 238"/>
                    <a:gd name="T15" fmla="*/ 49 h 76"/>
                    <a:gd name="T16" fmla="*/ 186 w 238"/>
                    <a:gd name="T17" fmla="*/ 9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8" h="76">
                      <a:moveTo>
                        <a:pt x="186" y="9"/>
                      </a:moveTo>
                      <a:cubicBezTo>
                        <a:pt x="169" y="18"/>
                        <a:pt x="150" y="22"/>
                        <a:pt x="131" y="22"/>
                      </a:cubicBezTo>
                      <a:cubicBezTo>
                        <a:pt x="105" y="22"/>
                        <a:pt x="80" y="14"/>
                        <a:pt x="60" y="0"/>
                      </a:cubicBezTo>
                      <a:cubicBezTo>
                        <a:pt x="0" y="42"/>
                        <a:pt x="0" y="42"/>
                        <a:pt x="0" y="42"/>
                      </a:cubicBezTo>
                      <a:cubicBezTo>
                        <a:pt x="0" y="76"/>
                        <a:pt x="0" y="76"/>
                        <a:pt x="0" y="76"/>
                      </a:cubicBezTo>
                      <a:cubicBezTo>
                        <a:pt x="238" y="76"/>
                        <a:pt x="238" y="76"/>
                        <a:pt x="238" y="76"/>
                      </a:cubicBezTo>
                      <a:cubicBezTo>
                        <a:pt x="237" y="68"/>
                        <a:pt x="236" y="61"/>
                        <a:pt x="236" y="53"/>
                      </a:cubicBezTo>
                      <a:cubicBezTo>
                        <a:pt x="236" y="51"/>
                        <a:pt x="236" y="50"/>
                        <a:pt x="236" y="49"/>
                      </a:cubicBezTo>
                      <a:lnTo>
                        <a:pt x="186" y="9"/>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110" name="Freeform 137"/>
                <p:cNvSpPr>
                  <a:spLocks/>
                </p:cNvSpPr>
                <p:nvPr/>
              </p:nvSpPr>
              <p:spPr bwMode="auto">
                <a:xfrm>
                  <a:off x="4338704" y="7809561"/>
                  <a:ext cx="65090" cy="73028"/>
                </a:xfrm>
                <a:custGeom>
                  <a:avLst/>
                  <a:gdLst>
                    <a:gd name="T0" fmla="*/ 71 w 71"/>
                    <a:gd name="T1" fmla="*/ 79 h 79"/>
                    <a:gd name="T2" fmla="*/ 71 w 71"/>
                    <a:gd name="T3" fmla="*/ 0 h 79"/>
                    <a:gd name="T4" fmla="*/ 2 w 71"/>
                    <a:gd name="T5" fmla="*/ 53 h 79"/>
                    <a:gd name="T6" fmla="*/ 2 w 71"/>
                    <a:gd name="T7" fmla="*/ 56 h 79"/>
                    <a:gd name="T8" fmla="*/ 0 w 71"/>
                    <a:gd name="T9" fmla="*/ 79 h 79"/>
                    <a:gd name="T10" fmla="*/ 71 w 71"/>
                    <a:gd name="T11" fmla="*/ 79 h 79"/>
                  </a:gdLst>
                  <a:ahLst/>
                  <a:cxnLst>
                    <a:cxn ang="0">
                      <a:pos x="T0" y="T1"/>
                    </a:cxn>
                    <a:cxn ang="0">
                      <a:pos x="T2" y="T3"/>
                    </a:cxn>
                    <a:cxn ang="0">
                      <a:pos x="T4" y="T5"/>
                    </a:cxn>
                    <a:cxn ang="0">
                      <a:pos x="T6" y="T7"/>
                    </a:cxn>
                    <a:cxn ang="0">
                      <a:pos x="T8" y="T9"/>
                    </a:cxn>
                    <a:cxn ang="0">
                      <a:pos x="T10" y="T11"/>
                    </a:cxn>
                  </a:cxnLst>
                  <a:rect l="0" t="0" r="r" b="b"/>
                  <a:pathLst>
                    <a:path w="71" h="79">
                      <a:moveTo>
                        <a:pt x="71" y="79"/>
                      </a:moveTo>
                      <a:cubicBezTo>
                        <a:pt x="71" y="0"/>
                        <a:pt x="71" y="0"/>
                        <a:pt x="71" y="0"/>
                      </a:cubicBezTo>
                      <a:cubicBezTo>
                        <a:pt x="2" y="53"/>
                        <a:pt x="2" y="53"/>
                        <a:pt x="2" y="53"/>
                      </a:cubicBezTo>
                      <a:cubicBezTo>
                        <a:pt x="2" y="54"/>
                        <a:pt x="2" y="55"/>
                        <a:pt x="2" y="56"/>
                      </a:cubicBezTo>
                      <a:cubicBezTo>
                        <a:pt x="2" y="64"/>
                        <a:pt x="1" y="71"/>
                        <a:pt x="0" y="79"/>
                      </a:cubicBezTo>
                      <a:lnTo>
                        <a:pt x="71" y="79"/>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111" name="Freeform 140"/>
                <p:cNvSpPr>
                  <a:spLocks/>
                </p:cNvSpPr>
                <p:nvPr/>
              </p:nvSpPr>
              <p:spPr bwMode="auto">
                <a:xfrm>
                  <a:off x="4600643" y="7622229"/>
                  <a:ext cx="80960" cy="38099"/>
                </a:xfrm>
                <a:custGeom>
                  <a:avLst/>
                  <a:gdLst>
                    <a:gd name="T0" fmla="*/ 0 w 51"/>
                    <a:gd name="T1" fmla="*/ 24 h 24"/>
                    <a:gd name="T2" fmla="*/ 51 w 51"/>
                    <a:gd name="T3" fmla="*/ 24 h 24"/>
                    <a:gd name="T4" fmla="*/ 32 w 51"/>
                    <a:gd name="T5" fmla="*/ 0 h 24"/>
                    <a:gd name="T6" fmla="*/ 0 w 51"/>
                    <a:gd name="T7" fmla="*/ 24 h 24"/>
                  </a:gdLst>
                  <a:ahLst/>
                  <a:cxnLst>
                    <a:cxn ang="0">
                      <a:pos x="T0" y="T1"/>
                    </a:cxn>
                    <a:cxn ang="0">
                      <a:pos x="T2" y="T3"/>
                    </a:cxn>
                    <a:cxn ang="0">
                      <a:pos x="T4" y="T5"/>
                    </a:cxn>
                    <a:cxn ang="0">
                      <a:pos x="T6" y="T7"/>
                    </a:cxn>
                  </a:cxnLst>
                  <a:rect l="0" t="0" r="r" b="b"/>
                  <a:pathLst>
                    <a:path w="51" h="24">
                      <a:moveTo>
                        <a:pt x="0" y="24"/>
                      </a:moveTo>
                      <a:lnTo>
                        <a:pt x="51" y="24"/>
                      </a:lnTo>
                      <a:lnTo>
                        <a:pt x="32" y="0"/>
                      </a:lnTo>
                      <a:lnTo>
                        <a:pt x="0" y="24"/>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112" name="Freeform 141"/>
                <p:cNvSpPr>
                  <a:spLocks/>
                </p:cNvSpPr>
                <p:nvPr/>
              </p:nvSpPr>
              <p:spPr bwMode="auto">
                <a:xfrm>
                  <a:off x="4449825" y="7466656"/>
                  <a:ext cx="119065" cy="139703"/>
                </a:xfrm>
                <a:custGeom>
                  <a:avLst/>
                  <a:gdLst>
                    <a:gd name="T0" fmla="*/ 52 w 75"/>
                    <a:gd name="T1" fmla="*/ 0 h 88"/>
                    <a:gd name="T2" fmla="*/ 0 w 75"/>
                    <a:gd name="T3" fmla="*/ 0 h 88"/>
                    <a:gd name="T4" fmla="*/ 0 w 75"/>
                    <a:gd name="T5" fmla="*/ 88 h 88"/>
                    <a:gd name="T6" fmla="*/ 75 w 75"/>
                    <a:gd name="T7" fmla="*/ 30 h 88"/>
                    <a:gd name="T8" fmla="*/ 52 w 75"/>
                    <a:gd name="T9" fmla="*/ 0 h 88"/>
                  </a:gdLst>
                  <a:ahLst/>
                  <a:cxnLst>
                    <a:cxn ang="0">
                      <a:pos x="T0" y="T1"/>
                    </a:cxn>
                    <a:cxn ang="0">
                      <a:pos x="T2" y="T3"/>
                    </a:cxn>
                    <a:cxn ang="0">
                      <a:pos x="T4" y="T5"/>
                    </a:cxn>
                    <a:cxn ang="0">
                      <a:pos x="T6" y="T7"/>
                    </a:cxn>
                    <a:cxn ang="0">
                      <a:pos x="T8" y="T9"/>
                    </a:cxn>
                  </a:cxnLst>
                  <a:rect l="0" t="0" r="r" b="b"/>
                  <a:pathLst>
                    <a:path w="75" h="88">
                      <a:moveTo>
                        <a:pt x="52" y="0"/>
                      </a:moveTo>
                      <a:lnTo>
                        <a:pt x="0" y="0"/>
                      </a:lnTo>
                      <a:lnTo>
                        <a:pt x="0" y="88"/>
                      </a:lnTo>
                      <a:lnTo>
                        <a:pt x="75" y="30"/>
                      </a:lnTo>
                      <a:lnTo>
                        <a:pt x="52"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grpSp>
        </p:grpSp>
        <p:sp>
          <p:nvSpPr>
            <p:cNvPr id="101" name="Rectangle 152"/>
            <p:cNvSpPr/>
            <p:nvPr/>
          </p:nvSpPr>
          <p:spPr bwMode="auto">
            <a:xfrm>
              <a:off x="712458" y="3628917"/>
              <a:ext cx="1805162" cy="37532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2C812"/>
                  </a:solidFill>
                  <a:effectLst/>
                  <a:uLnTx/>
                  <a:uFillTx/>
                  <a:latin typeface="Segoe UI"/>
                  <a:ea typeface="+mn-ea"/>
                  <a:cs typeface="Segoe UI Light" panose="020B0502040204020203" pitchFamily="34" charset="0"/>
                </a:rPr>
                <a:t>Q&amp;A and </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2C812"/>
                  </a:solidFill>
                  <a:effectLst/>
                  <a:uLnTx/>
                  <a:uFillTx/>
                  <a:latin typeface="Segoe UI"/>
                  <a:ea typeface="+mn-ea"/>
                  <a:cs typeface="Segoe UI Light" panose="020B0502040204020203" pitchFamily="34" charset="0"/>
                </a:rPr>
                <a:t>Quick Insights</a:t>
              </a:r>
              <a:endParaRPr kumimoji="0" lang="en-US" sz="1200" b="1" i="0" u="none" strike="noStrike" kern="1200" cap="none" spc="0" normalizeH="0" baseline="0" noProof="0">
                <a:ln>
                  <a:noFill/>
                </a:ln>
                <a:solidFill>
                  <a:srgbClr val="F2C812"/>
                </a:solidFill>
                <a:effectLst/>
                <a:uLnTx/>
                <a:uFillTx/>
                <a:latin typeface="Segoe UI"/>
                <a:ea typeface="+mn-ea"/>
                <a:cs typeface="Segoe UI Light" panose="020B0502040204020203" pitchFamily="34" charset="0"/>
              </a:endParaRPr>
            </a:p>
          </p:txBody>
        </p:sp>
        <p:sp>
          <p:nvSpPr>
            <p:cNvPr id="102" name="Oval 162"/>
            <p:cNvSpPr/>
            <p:nvPr/>
          </p:nvSpPr>
          <p:spPr bwMode="auto">
            <a:xfrm>
              <a:off x="226619" y="4551712"/>
              <a:ext cx="433844" cy="433844"/>
            </a:xfrm>
            <a:prstGeom prst="ellipse">
              <a:avLst/>
            </a:prstGeom>
            <a:solidFill>
              <a:srgbClr val="F2C812"/>
            </a:solidFill>
            <a:ln>
              <a:solidFill>
                <a:srgbClr val="FFCC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3" name="Rectangle 152"/>
            <p:cNvSpPr/>
            <p:nvPr/>
          </p:nvSpPr>
          <p:spPr bwMode="auto">
            <a:xfrm>
              <a:off x="738443" y="4596194"/>
              <a:ext cx="1884825" cy="30233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2C812"/>
                  </a:solidFill>
                  <a:effectLst/>
                  <a:uLnTx/>
                  <a:uFillTx/>
                  <a:latin typeface="Segoe UI"/>
                  <a:ea typeface="+mn-ea"/>
                  <a:cs typeface="Segoe UI Light" panose="020B0502040204020203" pitchFamily="34" charset="0"/>
                </a:rPr>
                <a:t>Sharing</a:t>
              </a:r>
              <a:endParaRPr kumimoji="0" lang="en-US" sz="1200" b="1" i="1" u="none" strike="noStrike" kern="1200" cap="none" spc="0" normalizeH="0" baseline="0" noProof="0">
                <a:ln>
                  <a:noFill/>
                </a:ln>
                <a:solidFill>
                  <a:srgbClr val="F2C812"/>
                </a:solidFill>
                <a:effectLst/>
                <a:uLnTx/>
                <a:uFillTx/>
                <a:latin typeface="Segoe UI"/>
                <a:ea typeface="+mn-ea"/>
                <a:cs typeface="Segoe UI Light" panose="020B0502040204020203" pitchFamily="34" charset="0"/>
              </a:endParaRPr>
            </a:p>
          </p:txBody>
        </p:sp>
        <p:sp>
          <p:nvSpPr>
            <p:cNvPr id="104" name="Rectangle 145"/>
            <p:cNvSpPr/>
            <p:nvPr/>
          </p:nvSpPr>
          <p:spPr bwMode="auto">
            <a:xfrm>
              <a:off x="697198" y="1847637"/>
              <a:ext cx="1821468" cy="3831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2C812"/>
                  </a:solidFill>
                  <a:effectLst/>
                  <a:uLnTx/>
                  <a:uFillTx/>
                  <a:latin typeface="Segoe UI"/>
                  <a:ea typeface="+mn-ea"/>
                  <a:cs typeface="Segoe UI Light" panose="020B0502040204020203" pitchFamily="34" charset="0"/>
                </a:rPr>
                <a:t>Pinning and Navigation</a:t>
              </a:r>
            </a:p>
          </p:txBody>
        </p:sp>
        <p:sp>
          <p:nvSpPr>
            <p:cNvPr id="105" name="Oval 162"/>
            <p:cNvSpPr/>
            <p:nvPr/>
          </p:nvSpPr>
          <p:spPr bwMode="auto">
            <a:xfrm>
              <a:off x="224136" y="1813606"/>
              <a:ext cx="433844" cy="433844"/>
            </a:xfrm>
            <a:prstGeom prst="ellipse">
              <a:avLst/>
            </a:prstGeom>
            <a:solidFill>
              <a:srgbClr val="FFCC00"/>
            </a:solidFill>
            <a:ln>
              <a:solidFill>
                <a:srgbClr val="F2C81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pic>
        <p:nvPicPr>
          <p:cNvPr id="119" name="Picture 118"/>
          <p:cNvPicPr>
            <a:picLocks noChangeAspect="1"/>
          </p:cNvPicPr>
          <p:nvPr/>
        </p:nvPicPr>
        <p:blipFill rotWithShape="1">
          <a:blip r:embed="rId3"/>
          <a:srcRect l="6503" t="21287" r="74698" b="20220"/>
          <a:stretch/>
        </p:blipFill>
        <p:spPr>
          <a:xfrm>
            <a:off x="339111" y="1946110"/>
            <a:ext cx="228600" cy="231962"/>
          </a:xfrm>
          <a:prstGeom prst="rect">
            <a:avLst/>
          </a:prstGeom>
        </p:spPr>
      </p:pic>
      <p:pic>
        <p:nvPicPr>
          <p:cNvPr id="120" name="Picture 119"/>
          <p:cNvPicPr>
            <a:picLocks noChangeAspect="1"/>
          </p:cNvPicPr>
          <p:nvPr/>
        </p:nvPicPr>
        <p:blipFill>
          <a:blip r:embed="rId4"/>
          <a:stretch>
            <a:fillRect/>
          </a:stretch>
        </p:blipFill>
        <p:spPr>
          <a:xfrm>
            <a:off x="284769" y="3673076"/>
            <a:ext cx="311766" cy="303106"/>
          </a:xfrm>
          <a:prstGeom prst="rect">
            <a:avLst/>
          </a:prstGeom>
        </p:spPr>
      </p:pic>
      <p:sp>
        <p:nvSpPr>
          <p:cNvPr id="121" name="Rectangle 145"/>
          <p:cNvSpPr/>
          <p:nvPr/>
        </p:nvSpPr>
        <p:spPr bwMode="auto">
          <a:xfrm>
            <a:off x="718897" y="5436715"/>
            <a:ext cx="1821468" cy="3831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2C812"/>
                </a:solidFill>
                <a:effectLst/>
                <a:uLnTx/>
                <a:uFillTx/>
                <a:latin typeface="Segoe UI"/>
                <a:ea typeface="+mn-ea"/>
                <a:cs typeface="Segoe UI Light" panose="020B0502040204020203" pitchFamily="34" charset="0"/>
              </a:rPr>
              <a:t>Connect from Excel</a:t>
            </a:r>
          </a:p>
        </p:txBody>
      </p:sp>
      <p:sp>
        <p:nvSpPr>
          <p:cNvPr id="122" name="Oval 162"/>
          <p:cNvSpPr/>
          <p:nvPr/>
        </p:nvSpPr>
        <p:spPr bwMode="auto">
          <a:xfrm>
            <a:off x="231441" y="5429649"/>
            <a:ext cx="433844" cy="433844"/>
          </a:xfrm>
          <a:prstGeom prst="ellipse">
            <a:avLst/>
          </a:prstGeom>
          <a:solidFill>
            <a:srgbClr val="FFCC00"/>
          </a:solidFill>
          <a:ln>
            <a:solidFill>
              <a:srgbClr val="F2C81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23" name="Picture 122"/>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flipH="1">
            <a:off x="283763" y="4596680"/>
            <a:ext cx="357484" cy="357484"/>
          </a:xfrm>
          <a:prstGeom prst="rect">
            <a:avLst/>
          </a:prstGeom>
        </p:spPr>
      </p:pic>
      <p:sp>
        <p:nvSpPr>
          <p:cNvPr id="124" name="Oval 162"/>
          <p:cNvSpPr/>
          <p:nvPr/>
        </p:nvSpPr>
        <p:spPr bwMode="auto">
          <a:xfrm>
            <a:off x="233032" y="6267344"/>
            <a:ext cx="433844" cy="433844"/>
          </a:xfrm>
          <a:prstGeom prst="ellipse">
            <a:avLst/>
          </a:prstGeom>
          <a:solidFill>
            <a:srgbClr val="FFCC00"/>
          </a:solidFill>
          <a:ln>
            <a:solidFill>
              <a:srgbClr val="F2C81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5" name="Rectangle 145"/>
          <p:cNvSpPr/>
          <p:nvPr/>
        </p:nvSpPr>
        <p:spPr bwMode="auto">
          <a:xfrm>
            <a:off x="701416" y="6289969"/>
            <a:ext cx="1821468" cy="3831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2C812"/>
                </a:solidFill>
                <a:effectLst/>
                <a:uLnTx/>
                <a:uFillTx/>
                <a:latin typeface="Segoe UI"/>
                <a:ea typeface="+mn-ea"/>
                <a:cs typeface="Segoe UI Light" panose="020B0502040204020203" pitchFamily="34" charset="0"/>
              </a:rPr>
              <a:t>Mobile Reports</a:t>
            </a:r>
          </a:p>
        </p:txBody>
      </p:sp>
      <p:pic>
        <p:nvPicPr>
          <p:cNvPr id="126" name="Picture 125"/>
          <p:cNvPicPr>
            <a:picLocks noChangeAspect="1"/>
          </p:cNvPicPr>
          <p:nvPr/>
        </p:nvPicPr>
        <p:blipFill>
          <a:blip r:embed="rId6" cstate="print">
            <a:extLst>
              <a:ext uri="{BEBA8EAE-BF5A-486C-A8C5-ECC9F3942E4B}">
                <a14:imgProps xmlns:a14="http://schemas.microsoft.com/office/drawing/2010/main">
                  <a14:imgLayer r:embed="rId7">
                    <a14:imgEffect>
                      <a14:saturation sat="0"/>
                    </a14:imgEffect>
                  </a14:imgLayer>
                </a14:imgProps>
              </a:ext>
              <a:ext uri="{28A0092B-C50C-407E-A947-70E740481C1C}">
                <a14:useLocalDpi xmlns:a14="http://schemas.microsoft.com/office/drawing/2010/main" val="0"/>
              </a:ext>
            </a:extLst>
          </a:blip>
          <a:stretch>
            <a:fillRect/>
          </a:stretch>
        </p:blipFill>
        <p:spPr>
          <a:xfrm>
            <a:off x="391946" y="6350039"/>
            <a:ext cx="133350" cy="251587"/>
          </a:xfrm>
          <a:prstGeom prst="rect">
            <a:avLst/>
          </a:prstGeom>
        </p:spPr>
      </p:pic>
      <p:pic>
        <p:nvPicPr>
          <p:cNvPr id="127" name="Picture 126"/>
          <p:cNvPicPr>
            <a:picLocks noChangeAspect="1"/>
          </p:cNvPicPr>
          <p:nvPr/>
        </p:nvPicPr>
        <p:blipFill>
          <a:blip r:embed="rId8" cstate="print">
            <a:biLevel thresh="50000"/>
            <a:extLst>
              <a:ext uri="{28A0092B-C50C-407E-A947-70E740481C1C}">
                <a14:useLocalDpi xmlns:a14="http://schemas.microsoft.com/office/drawing/2010/main" val="0"/>
              </a:ext>
            </a:extLst>
          </a:blip>
          <a:stretch>
            <a:fillRect/>
          </a:stretch>
        </p:blipFill>
        <p:spPr>
          <a:xfrm>
            <a:off x="332658" y="5538489"/>
            <a:ext cx="268940" cy="268940"/>
          </a:xfrm>
          <a:prstGeom prst="rect">
            <a:avLst/>
          </a:prstGeom>
        </p:spPr>
      </p:pic>
      <p:sp>
        <p:nvSpPr>
          <p:cNvPr id="128" name="Rectangle 127"/>
          <p:cNvSpPr/>
          <p:nvPr/>
        </p:nvSpPr>
        <p:spPr bwMode="auto">
          <a:xfrm>
            <a:off x="35912" y="2594112"/>
            <a:ext cx="2464420" cy="4194313"/>
          </a:xfrm>
          <a:prstGeom prst="rect">
            <a:avLst/>
          </a:prstGeom>
          <a:solidFill>
            <a:srgbClr val="000000">
              <a:alpha val="6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9" name="Rectangle 128"/>
          <p:cNvSpPr/>
          <p:nvPr/>
        </p:nvSpPr>
        <p:spPr bwMode="auto">
          <a:xfrm>
            <a:off x="95936" y="731576"/>
            <a:ext cx="2464420" cy="880187"/>
          </a:xfrm>
          <a:prstGeom prst="rect">
            <a:avLst/>
          </a:prstGeom>
          <a:solidFill>
            <a:srgbClr val="000000">
              <a:alpha val="6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2" name="Picture 1"/>
          <p:cNvPicPr>
            <a:picLocks noChangeAspect="1"/>
          </p:cNvPicPr>
          <p:nvPr/>
        </p:nvPicPr>
        <p:blipFill>
          <a:blip r:embed="rId9"/>
          <a:stretch>
            <a:fillRect/>
          </a:stretch>
        </p:blipFill>
        <p:spPr>
          <a:xfrm>
            <a:off x="3199455" y="3479905"/>
            <a:ext cx="3871439" cy="2591304"/>
          </a:xfrm>
          <a:prstGeom prst="rect">
            <a:avLst/>
          </a:prstGeom>
        </p:spPr>
      </p:pic>
      <p:pic>
        <p:nvPicPr>
          <p:cNvPr id="4" name="Picture 3"/>
          <p:cNvPicPr>
            <a:picLocks noChangeAspect="1"/>
          </p:cNvPicPr>
          <p:nvPr/>
        </p:nvPicPr>
        <p:blipFill>
          <a:blip r:embed="rId10"/>
          <a:stretch>
            <a:fillRect/>
          </a:stretch>
        </p:blipFill>
        <p:spPr>
          <a:xfrm>
            <a:off x="7125959" y="2742927"/>
            <a:ext cx="4999867" cy="3983202"/>
          </a:xfrm>
          <a:prstGeom prst="rect">
            <a:avLst/>
          </a:prstGeom>
        </p:spPr>
      </p:pic>
    </p:spTree>
    <p:extLst>
      <p:ext uri="{BB962C8B-B14F-4D97-AF65-F5344CB8AC3E}">
        <p14:creationId xmlns:p14="http://schemas.microsoft.com/office/powerpoint/2010/main" val="36027569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 name="Title 10"/>
          <p:cNvSpPr txBox="1">
            <a:spLocks/>
          </p:cNvSpPr>
          <p:nvPr/>
        </p:nvSpPr>
        <p:spPr>
          <a:xfrm>
            <a:off x="2982006" y="9056"/>
            <a:ext cx="9092764" cy="665151"/>
          </a:xfrm>
          <a:prstGeom prst="rect">
            <a:avLst/>
          </a:prstGeom>
          <a:noFill/>
        </p:spPr>
        <p:txBody>
          <a:bodyPr vert="horz" wrap="square" lIns="0" tIns="91440" rIns="0" bIns="91440" rtlCol="0" anchor="t">
            <a:noAutofit/>
          </a:bodyPr>
          <a:lstStyle>
            <a:lvl1pPr defTabSz="914367">
              <a:lnSpc>
                <a:spcPct val="90000"/>
              </a:lnSpc>
              <a:spcBef>
                <a:spcPct val="0"/>
              </a:spcBef>
              <a:buNone/>
              <a:defRPr lang="en-US" sz="5294" b="0" cap="none" spc="-100" baseline="0" dirty="0" smtClean="0">
                <a:ln w="3175">
                  <a:noFill/>
                </a:ln>
                <a:solidFill>
                  <a:schemeClr val="tx2"/>
                </a:solidFill>
                <a:effectLst/>
                <a:latin typeface="+mj-lt"/>
                <a:cs typeface="Segoe UI" pitchFamily="34" charset="0"/>
              </a:defRPr>
            </a:lvl1pPr>
          </a:lstStyle>
          <a:p>
            <a:pPr marL="168275"/>
            <a:r>
              <a:rPr lang="en-US" sz="3600">
                <a:solidFill>
                  <a:schemeClr val="tx1"/>
                </a:solidFill>
              </a:rPr>
              <a:t>Live connectivity to your on-premises data</a:t>
            </a:r>
          </a:p>
          <a:p>
            <a:pPr marL="168275"/>
            <a:endParaRPr lang="en-US" sz="3600" b="1">
              <a:solidFill>
                <a:schemeClr val="tx1"/>
              </a:solidFill>
            </a:endParaRPr>
          </a:p>
          <a:p>
            <a:pPr marL="168275"/>
            <a:endParaRPr lang="en-IN" sz="3600">
              <a:solidFill>
                <a:schemeClr val="tx1"/>
              </a:solidFill>
            </a:endParaRPr>
          </a:p>
        </p:txBody>
      </p:sp>
      <p:sp>
        <p:nvSpPr>
          <p:cNvPr id="37" name="Rectangle 15"/>
          <p:cNvSpPr/>
          <p:nvPr/>
        </p:nvSpPr>
        <p:spPr bwMode="auto">
          <a:xfrm>
            <a:off x="2" y="487"/>
            <a:ext cx="2815441" cy="685702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38" name="TextBox 37"/>
          <p:cNvSpPr txBox="1"/>
          <p:nvPr/>
        </p:nvSpPr>
        <p:spPr>
          <a:xfrm>
            <a:off x="2" y="487"/>
            <a:ext cx="2815441" cy="683264"/>
          </a:xfrm>
          <a:prstGeom prst="rect">
            <a:avLst/>
          </a:prstGeom>
          <a:noFill/>
        </p:spPr>
        <p:txBody>
          <a:bodyPr wrap="square" lIns="182880" tIns="146304" rIns="182880" bIns="146304" rtlCol="0">
            <a:spAutoFit/>
          </a:bodyPr>
          <a:lstStyle>
            <a:defPPr>
              <a:defRPr lang="en-US"/>
            </a:defPPr>
            <a:lvl1pPr>
              <a:lnSpc>
                <a:spcPct val="90000"/>
              </a:lnSpc>
              <a:spcAft>
                <a:spcPts val="600"/>
              </a:spcAft>
              <a:defRPr sz="2800" b="1">
                <a:solidFill>
                  <a:srgbClr val="F2C812"/>
                </a:solidFill>
                <a:latin typeface="Segoe UI Light"/>
              </a:defRPr>
            </a:lvl1pPr>
          </a:lstStyle>
          <a:p>
            <a:r>
              <a:rPr lang="en-US"/>
              <a:t>IT challenges</a:t>
            </a:r>
          </a:p>
        </p:txBody>
      </p:sp>
      <p:grpSp>
        <p:nvGrpSpPr>
          <p:cNvPr id="39" name="Group 38"/>
          <p:cNvGrpSpPr/>
          <p:nvPr/>
        </p:nvGrpSpPr>
        <p:grpSpPr>
          <a:xfrm>
            <a:off x="151322" y="867914"/>
            <a:ext cx="2636411" cy="548640"/>
            <a:chOff x="179032" y="1123407"/>
            <a:chExt cx="2636411" cy="548640"/>
          </a:xfrm>
        </p:grpSpPr>
        <p:sp>
          <p:nvSpPr>
            <p:cNvPr id="40" name="Oval 147"/>
            <p:cNvSpPr/>
            <p:nvPr/>
          </p:nvSpPr>
          <p:spPr bwMode="auto">
            <a:xfrm>
              <a:off x="179032" y="1123407"/>
              <a:ext cx="548640" cy="548640"/>
            </a:xfrm>
            <a:prstGeom prst="ellipse">
              <a:avLst/>
            </a:prstGeom>
            <a:solidFill>
              <a:srgbClr val="FFCC00"/>
            </a:solidFill>
            <a:ln>
              <a:solidFill>
                <a:srgbClr val="F2C81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err="1">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145"/>
            <p:cNvSpPr/>
            <p:nvPr/>
          </p:nvSpPr>
          <p:spPr bwMode="auto">
            <a:xfrm>
              <a:off x="805048" y="1206147"/>
              <a:ext cx="2010395" cy="3831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14367"/>
              <a:r>
                <a:rPr lang="en-US" sz="1400" b="1">
                  <a:solidFill>
                    <a:srgbClr val="F2C812"/>
                  </a:solidFill>
                  <a:cs typeface="Segoe UI Light" panose="020B0502040204020203" pitchFamily="34" charset="0"/>
                </a:rPr>
                <a:t>Management of BI systems</a:t>
              </a:r>
              <a:endParaRPr lang="en-US" sz="1200" b="1" i="1">
                <a:solidFill>
                  <a:srgbClr val="F2C812"/>
                </a:solidFill>
                <a:cs typeface="Segoe UI Light" panose="020B0502040204020203" pitchFamily="34" charset="0"/>
              </a:endParaRPr>
            </a:p>
          </p:txBody>
        </p:sp>
      </p:grpSp>
      <p:grpSp>
        <p:nvGrpSpPr>
          <p:cNvPr id="42" name="Group 41"/>
          <p:cNvGrpSpPr/>
          <p:nvPr/>
        </p:nvGrpSpPr>
        <p:grpSpPr>
          <a:xfrm>
            <a:off x="151322" y="1832204"/>
            <a:ext cx="2636411" cy="548640"/>
            <a:chOff x="212649" y="1959486"/>
            <a:chExt cx="2636411" cy="548640"/>
          </a:xfrm>
        </p:grpSpPr>
        <p:sp>
          <p:nvSpPr>
            <p:cNvPr id="43" name="Oval 147"/>
            <p:cNvSpPr/>
            <p:nvPr/>
          </p:nvSpPr>
          <p:spPr bwMode="auto">
            <a:xfrm>
              <a:off x="212649" y="1959486"/>
              <a:ext cx="548640" cy="548640"/>
            </a:xfrm>
            <a:prstGeom prst="ellipse">
              <a:avLst/>
            </a:prstGeom>
            <a:solidFill>
              <a:srgbClr val="FFCC00"/>
            </a:solidFill>
            <a:ln>
              <a:solidFill>
                <a:srgbClr val="F2C81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err="1">
                <a:gradFill>
                  <a:gsLst>
                    <a:gs pos="0">
                      <a:srgbClr val="FFFFFF"/>
                    </a:gs>
                    <a:gs pos="100000">
                      <a:srgbClr val="FFFFFF"/>
                    </a:gs>
                  </a:gsLst>
                  <a:lin ang="5400000" scaled="0"/>
                </a:gradFill>
                <a:ea typeface="Segoe UI" pitchFamily="34" charset="0"/>
                <a:cs typeface="Segoe UI" pitchFamily="34" charset="0"/>
              </a:endParaRPr>
            </a:p>
          </p:txBody>
        </p:sp>
        <p:sp>
          <p:nvSpPr>
            <p:cNvPr id="44" name="Rectangle 145"/>
            <p:cNvSpPr/>
            <p:nvPr/>
          </p:nvSpPr>
          <p:spPr bwMode="auto">
            <a:xfrm>
              <a:off x="838665" y="2042226"/>
              <a:ext cx="2010395" cy="3831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14367"/>
              <a:r>
                <a:rPr lang="en-US" sz="1400" b="1">
                  <a:solidFill>
                    <a:srgbClr val="F2C812"/>
                  </a:solidFill>
                  <a:cs typeface="Segoe UI Light" panose="020B0502040204020203" pitchFamily="34" charset="0"/>
                </a:rPr>
                <a:t>Variety of data sources</a:t>
              </a:r>
              <a:endParaRPr lang="en-US" sz="1200" b="1" i="1">
                <a:solidFill>
                  <a:srgbClr val="F2C812"/>
                </a:solidFill>
                <a:cs typeface="Segoe UI Light" panose="020B0502040204020203" pitchFamily="34" charset="0"/>
              </a:endParaRPr>
            </a:p>
          </p:txBody>
        </p:sp>
      </p:grpSp>
      <p:grpSp>
        <p:nvGrpSpPr>
          <p:cNvPr id="45" name="Group 44"/>
          <p:cNvGrpSpPr/>
          <p:nvPr/>
        </p:nvGrpSpPr>
        <p:grpSpPr>
          <a:xfrm>
            <a:off x="151322" y="2796494"/>
            <a:ext cx="2636411" cy="548640"/>
            <a:chOff x="179032" y="1123407"/>
            <a:chExt cx="2636411" cy="548640"/>
          </a:xfrm>
        </p:grpSpPr>
        <p:sp>
          <p:nvSpPr>
            <p:cNvPr id="46" name="Oval 147"/>
            <p:cNvSpPr/>
            <p:nvPr/>
          </p:nvSpPr>
          <p:spPr bwMode="auto">
            <a:xfrm>
              <a:off x="179032" y="1123407"/>
              <a:ext cx="548640" cy="548640"/>
            </a:xfrm>
            <a:prstGeom prst="ellipse">
              <a:avLst/>
            </a:prstGeom>
            <a:solidFill>
              <a:srgbClr val="FFCC00"/>
            </a:solidFill>
            <a:ln>
              <a:solidFill>
                <a:srgbClr val="F2C81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err="1">
                <a:gradFill>
                  <a:gsLst>
                    <a:gs pos="0">
                      <a:srgbClr val="FFFFFF"/>
                    </a:gs>
                    <a:gs pos="100000">
                      <a:srgbClr val="FFFFFF"/>
                    </a:gs>
                  </a:gsLst>
                  <a:lin ang="5400000" scaled="0"/>
                </a:gradFill>
                <a:ea typeface="Segoe UI" pitchFamily="34" charset="0"/>
                <a:cs typeface="Segoe UI" pitchFamily="34" charset="0"/>
              </a:endParaRPr>
            </a:p>
          </p:txBody>
        </p:sp>
        <p:sp>
          <p:nvSpPr>
            <p:cNvPr id="47" name="Rectangle 145"/>
            <p:cNvSpPr/>
            <p:nvPr/>
          </p:nvSpPr>
          <p:spPr bwMode="auto">
            <a:xfrm>
              <a:off x="805048" y="1206147"/>
              <a:ext cx="2010395" cy="3831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14367"/>
              <a:r>
                <a:rPr lang="en-US" sz="1400" b="1">
                  <a:solidFill>
                    <a:srgbClr val="F2C812"/>
                  </a:solidFill>
                  <a:cs typeface="Segoe UI Light" panose="020B0502040204020203" pitchFamily="34" charset="0"/>
                </a:rPr>
                <a:t>Managing data in the cloud</a:t>
              </a:r>
              <a:endParaRPr lang="en-US" sz="1200" b="1" i="1">
                <a:solidFill>
                  <a:srgbClr val="F2C812"/>
                </a:solidFill>
                <a:cs typeface="Segoe UI Light" panose="020B0502040204020203" pitchFamily="34" charset="0"/>
              </a:endParaRPr>
            </a:p>
          </p:txBody>
        </p:sp>
      </p:grpSp>
      <p:grpSp>
        <p:nvGrpSpPr>
          <p:cNvPr id="48" name="Group 47"/>
          <p:cNvGrpSpPr/>
          <p:nvPr/>
        </p:nvGrpSpPr>
        <p:grpSpPr>
          <a:xfrm>
            <a:off x="151322" y="3760784"/>
            <a:ext cx="2636411" cy="548640"/>
            <a:chOff x="179032" y="1123407"/>
            <a:chExt cx="2636411" cy="548640"/>
          </a:xfrm>
        </p:grpSpPr>
        <p:sp>
          <p:nvSpPr>
            <p:cNvPr id="50" name="Oval 147"/>
            <p:cNvSpPr/>
            <p:nvPr/>
          </p:nvSpPr>
          <p:spPr bwMode="auto">
            <a:xfrm>
              <a:off x="179032" y="1123407"/>
              <a:ext cx="548640" cy="548640"/>
            </a:xfrm>
            <a:prstGeom prst="ellipse">
              <a:avLst/>
            </a:prstGeom>
            <a:solidFill>
              <a:srgbClr val="FFCC00"/>
            </a:solidFill>
            <a:ln>
              <a:solidFill>
                <a:srgbClr val="F2C81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err="1">
                <a:gradFill>
                  <a:gsLst>
                    <a:gs pos="0">
                      <a:srgbClr val="FFFFFF"/>
                    </a:gs>
                    <a:gs pos="100000">
                      <a:srgbClr val="FFFFFF"/>
                    </a:gs>
                  </a:gsLst>
                  <a:lin ang="5400000" scaled="0"/>
                </a:gradFill>
                <a:ea typeface="Segoe UI" pitchFamily="34" charset="0"/>
                <a:cs typeface="Segoe UI" pitchFamily="34" charset="0"/>
              </a:endParaRPr>
            </a:p>
          </p:txBody>
        </p:sp>
        <p:sp>
          <p:nvSpPr>
            <p:cNvPr id="51" name="Rectangle 145"/>
            <p:cNvSpPr/>
            <p:nvPr/>
          </p:nvSpPr>
          <p:spPr bwMode="auto">
            <a:xfrm>
              <a:off x="805048" y="1206147"/>
              <a:ext cx="2010395" cy="3831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14367"/>
              <a:r>
                <a:rPr lang="en-US" sz="1400" b="1">
                  <a:solidFill>
                    <a:srgbClr val="F2C812"/>
                  </a:solidFill>
                  <a:cs typeface="Segoe UI Light" panose="020B0502040204020203" pitchFamily="34" charset="0"/>
                </a:rPr>
                <a:t>Integration with existing environment</a:t>
              </a:r>
              <a:endParaRPr lang="en-US" sz="1200" b="1" i="1">
                <a:solidFill>
                  <a:srgbClr val="F2C812"/>
                </a:solidFill>
                <a:cs typeface="Segoe UI Light" panose="020B0502040204020203" pitchFamily="34" charset="0"/>
              </a:endParaRPr>
            </a:p>
          </p:txBody>
        </p:sp>
      </p:grpSp>
      <p:grpSp>
        <p:nvGrpSpPr>
          <p:cNvPr id="52" name="Group 51"/>
          <p:cNvGrpSpPr/>
          <p:nvPr/>
        </p:nvGrpSpPr>
        <p:grpSpPr>
          <a:xfrm>
            <a:off x="132176" y="4725074"/>
            <a:ext cx="2655557" cy="548640"/>
            <a:chOff x="159886" y="1123407"/>
            <a:chExt cx="2655557" cy="548640"/>
          </a:xfrm>
        </p:grpSpPr>
        <p:sp>
          <p:nvSpPr>
            <p:cNvPr id="54" name="Oval 147"/>
            <p:cNvSpPr/>
            <p:nvPr/>
          </p:nvSpPr>
          <p:spPr bwMode="auto">
            <a:xfrm>
              <a:off x="159886" y="1123407"/>
              <a:ext cx="548640" cy="548640"/>
            </a:xfrm>
            <a:prstGeom prst="ellipse">
              <a:avLst/>
            </a:prstGeom>
            <a:solidFill>
              <a:srgbClr val="FFCC00"/>
            </a:solidFill>
            <a:ln>
              <a:solidFill>
                <a:srgbClr val="F2C81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err="1">
                <a:gradFill>
                  <a:gsLst>
                    <a:gs pos="0">
                      <a:srgbClr val="FFFFFF"/>
                    </a:gs>
                    <a:gs pos="100000">
                      <a:srgbClr val="FFFFFF"/>
                    </a:gs>
                  </a:gsLst>
                  <a:lin ang="5400000" scaled="0"/>
                </a:gradFill>
                <a:ea typeface="Segoe UI" pitchFamily="34" charset="0"/>
                <a:cs typeface="Segoe UI" pitchFamily="34" charset="0"/>
              </a:endParaRPr>
            </a:p>
          </p:txBody>
        </p:sp>
        <p:sp>
          <p:nvSpPr>
            <p:cNvPr id="55" name="Rectangle 145"/>
            <p:cNvSpPr/>
            <p:nvPr/>
          </p:nvSpPr>
          <p:spPr bwMode="auto">
            <a:xfrm>
              <a:off x="805048" y="1206147"/>
              <a:ext cx="2010395" cy="3831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14367"/>
              <a:r>
                <a:rPr lang="en-US" sz="1400" b="1">
                  <a:solidFill>
                    <a:srgbClr val="F2C812"/>
                  </a:solidFill>
                  <a:cs typeface="Segoe UI Light" panose="020B0502040204020203" pitchFamily="34" charset="0"/>
                </a:rPr>
                <a:t>Keeping data current</a:t>
              </a:r>
              <a:endParaRPr lang="en-US" sz="1200" b="1" i="1">
                <a:solidFill>
                  <a:srgbClr val="F2C812"/>
                </a:solidFill>
                <a:cs typeface="Segoe UI Light" panose="020B0502040204020203" pitchFamily="34" charset="0"/>
              </a:endParaRPr>
            </a:p>
          </p:txBody>
        </p:sp>
      </p:grpSp>
      <p:grpSp>
        <p:nvGrpSpPr>
          <p:cNvPr id="56" name="Group 55"/>
          <p:cNvGrpSpPr/>
          <p:nvPr/>
        </p:nvGrpSpPr>
        <p:grpSpPr>
          <a:xfrm>
            <a:off x="151322" y="5689364"/>
            <a:ext cx="2636411" cy="548640"/>
            <a:chOff x="179032" y="1123407"/>
            <a:chExt cx="2636411" cy="548640"/>
          </a:xfrm>
        </p:grpSpPr>
        <p:sp>
          <p:nvSpPr>
            <p:cNvPr id="57" name="Oval 147"/>
            <p:cNvSpPr/>
            <p:nvPr/>
          </p:nvSpPr>
          <p:spPr bwMode="auto">
            <a:xfrm>
              <a:off x="179032" y="1123407"/>
              <a:ext cx="548640" cy="548640"/>
            </a:xfrm>
            <a:prstGeom prst="ellipse">
              <a:avLst/>
            </a:prstGeom>
            <a:solidFill>
              <a:srgbClr val="FFCC00"/>
            </a:solidFill>
            <a:ln>
              <a:solidFill>
                <a:srgbClr val="F2C81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err="1">
                <a:gradFill>
                  <a:gsLst>
                    <a:gs pos="0">
                      <a:srgbClr val="FFFFFF"/>
                    </a:gs>
                    <a:gs pos="100000">
                      <a:srgbClr val="FFFFFF"/>
                    </a:gs>
                  </a:gsLst>
                  <a:lin ang="5400000" scaled="0"/>
                </a:gradFill>
                <a:ea typeface="Segoe UI" pitchFamily="34" charset="0"/>
                <a:cs typeface="Segoe UI" pitchFamily="34" charset="0"/>
              </a:endParaRPr>
            </a:p>
          </p:txBody>
        </p:sp>
        <p:sp>
          <p:nvSpPr>
            <p:cNvPr id="58" name="Rectangle 145"/>
            <p:cNvSpPr/>
            <p:nvPr/>
          </p:nvSpPr>
          <p:spPr bwMode="auto">
            <a:xfrm>
              <a:off x="805048" y="1206147"/>
              <a:ext cx="2010395" cy="3831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14367"/>
              <a:r>
                <a:rPr lang="en-US" sz="1400" b="1">
                  <a:solidFill>
                    <a:srgbClr val="F2C812"/>
                  </a:solidFill>
                  <a:cs typeface="Segoe UI Light" panose="020B0502040204020203" pitchFamily="34" charset="0"/>
                </a:rPr>
                <a:t>Ease of use and adoption</a:t>
              </a:r>
              <a:endParaRPr lang="en-US" sz="1200" b="1" i="1">
                <a:solidFill>
                  <a:srgbClr val="F2C812"/>
                </a:solidFill>
                <a:cs typeface="Segoe UI Light" panose="020B0502040204020203" pitchFamily="34" charset="0"/>
              </a:endParaRPr>
            </a:p>
          </p:txBody>
        </p:sp>
      </p:grpSp>
      <p:sp>
        <p:nvSpPr>
          <p:cNvPr id="59" name="Freeform 58"/>
          <p:cNvSpPr>
            <a:spLocks noChangeAspect="1"/>
          </p:cNvSpPr>
          <p:nvPr/>
        </p:nvSpPr>
        <p:spPr bwMode="black">
          <a:xfrm>
            <a:off x="242762" y="1024112"/>
            <a:ext cx="365760" cy="236244"/>
          </a:xfrm>
          <a:custGeom>
            <a:avLst/>
            <a:gdLst>
              <a:gd name="connsiteX0" fmla="*/ 93529 w 794079"/>
              <a:gd name="connsiteY0" fmla="*/ 409985 h 512894"/>
              <a:gd name="connsiteX1" fmla="*/ 57350 w 794079"/>
              <a:gd name="connsiteY1" fmla="*/ 446163 h 512894"/>
              <a:gd name="connsiteX2" fmla="*/ 93529 w 794079"/>
              <a:gd name="connsiteY2" fmla="*/ 482342 h 512894"/>
              <a:gd name="connsiteX3" fmla="*/ 129707 w 794079"/>
              <a:gd name="connsiteY3" fmla="*/ 446163 h 512894"/>
              <a:gd name="connsiteX4" fmla="*/ 93529 w 794079"/>
              <a:gd name="connsiteY4" fmla="*/ 409985 h 512894"/>
              <a:gd name="connsiteX5" fmla="*/ 22935 w 794079"/>
              <a:gd name="connsiteY5" fmla="*/ 375286 h 512894"/>
              <a:gd name="connsiteX6" fmla="*/ 771144 w 794079"/>
              <a:gd name="connsiteY6" fmla="*/ 375286 h 512894"/>
              <a:gd name="connsiteX7" fmla="*/ 794079 w 794079"/>
              <a:gd name="connsiteY7" fmla="*/ 398221 h 512894"/>
              <a:gd name="connsiteX8" fmla="*/ 794079 w 794079"/>
              <a:gd name="connsiteY8" fmla="*/ 489959 h 512894"/>
              <a:gd name="connsiteX9" fmla="*/ 771144 w 794079"/>
              <a:gd name="connsiteY9" fmla="*/ 512894 h 512894"/>
              <a:gd name="connsiteX10" fmla="*/ 22935 w 794079"/>
              <a:gd name="connsiteY10" fmla="*/ 512894 h 512894"/>
              <a:gd name="connsiteX11" fmla="*/ 0 w 794079"/>
              <a:gd name="connsiteY11" fmla="*/ 489959 h 512894"/>
              <a:gd name="connsiteX12" fmla="*/ 0 w 794079"/>
              <a:gd name="connsiteY12" fmla="*/ 398221 h 512894"/>
              <a:gd name="connsiteX13" fmla="*/ 22935 w 794079"/>
              <a:gd name="connsiteY13" fmla="*/ 375286 h 512894"/>
              <a:gd name="connsiteX14" fmla="*/ 93529 w 794079"/>
              <a:gd name="connsiteY14" fmla="*/ 222341 h 512894"/>
              <a:gd name="connsiteX15" fmla="*/ 57350 w 794079"/>
              <a:gd name="connsiteY15" fmla="*/ 258520 h 512894"/>
              <a:gd name="connsiteX16" fmla="*/ 93529 w 794079"/>
              <a:gd name="connsiteY16" fmla="*/ 294699 h 512894"/>
              <a:gd name="connsiteX17" fmla="*/ 129707 w 794079"/>
              <a:gd name="connsiteY17" fmla="*/ 258520 h 512894"/>
              <a:gd name="connsiteX18" fmla="*/ 93529 w 794079"/>
              <a:gd name="connsiteY18" fmla="*/ 222341 h 512894"/>
              <a:gd name="connsiteX19" fmla="*/ 22935 w 794079"/>
              <a:gd name="connsiteY19" fmla="*/ 187643 h 512894"/>
              <a:gd name="connsiteX20" fmla="*/ 771144 w 794079"/>
              <a:gd name="connsiteY20" fmla="*/ 187643 h 512894"/>
              <a:gd name="connsiteX21" fmla="*/ 794079 w 794079"/>
              <a:gd name="connsiteY21" fmla="*/ 210578 h 512894"/>
              <a:gd name="connsiteX22" fmla="*/ 794079 w 794079"/>
              <a:gd name="connsiteY22" fmla="*/ 302316 h 512894"/>
              <a:gd name="connsiteX23" fmla="*/ 771144 w 794079"/>
              <a:gd name="connsiteY23" fmla="*/ 325251 h 512894"/>
              <a:gd name="connsiteX24" fmla="*/ 22935 w 794079"/>
              <a:gd name="connsiteY24" fmla="*/ 325251 h 512894"/>
              <a:gd name="connsiteX25" fmla="*/ 0 w 794079"/>
              <a:gd name="connsiteY25" fmla="*/ 302316 h 512894"/>
              <a:gd name="connsiteX26" fmla="*/ 0 w 794079"/>
              <a:gd name="connsiteY26" fmla="*/ 210578 h 512894"/>
              <a:gd name="connsiteX27" fmla="*/ 22935 w 794079"/>
              <a:gd name="connsiteY27" fmla="*/ 187643 h 512894"/>
              <a:gd name="connsiteX28" fmla="*/ 93529 w 794079"/>
              <a:gd name="connsiteY28" fmla="*/ 34698 h 512894"/>
              <a:gd name="connsiteX29" fmla="*/ 57350 w 794079"/>
              <a:gd name="connsiteY29" fmla="*/ 70877 h 512894"/>
              <a:gd name="connsiteX30" fmla="*/ 93529 w 794079"/>
              <a:gd name="connsiteY30" fmla="*/ 107056 h 512894"/>
              <a:gd name="connsiteX31" fmla="*/ 129707 w 794079"/>
              <a:gd name="connsiteY31" fmla="*/ 70877 h 512894"/>
              <a:gd name="connsiteX32" fmla="*/ 93529 w 794079"/>
              <a:gd name="connsiteY32" fmla="*/ 34698 h 512894"/>
              <a:gd name="connsiteX33" fmla="*/ 22935 w 794079"/>
              <a:gd name="connsiteY33" fmla="*/ 0 h 512894"/>
              <a:gd name="connsiteX34" fmla="*/ 771144 w 794079"/>
              <a:gd name="connsiteY34" fmla="*/ 0 h 512894"/>
              <a:gd name="connsiteX35" fmla="*/ 794079 w 794079"/>
              <a:gd name="connsiteY35" fmla="*/ 22935 h 512894"/>
              <a:gd name="connsiteX36" fmla="*/ 794079 w 794079"/>
              <a:gd name="connsiteY36" fmla="*/ 114673 h 512894"/>
              <a:gd name="connsiteX37" fmla="*/ 771144 w 794079"/>
              <a:gd name="connsiteY37" fmla="*/ 137608 h 512894"/>
              <a:gd name="connsiteX38" fmla="*/ 22935 w 794079"/>
              <a:gd name="connsiteY38" fmla="*/ 137608 h 512894"/>
              <a:gd name="connsiteX39" fmla="*/ 0 w 794079"/>
              <a:gd name="connsiteY39" fmla="*/ 114673 h 512894"/>
              <a:gd name="connsiteX40" fmla="*/ 0 w 794079"/>
              <a:gd name="connsiteY40" fmla="*/ 22935 h 512894"/>
              <a:gd name="connsiteX41" fmla="*/ 22935 w 794079"/>
              <a:gd name="connsiteY41" fmla="*/ 0 h 5128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794079" h="512894">
                <a:moveTo>
                  <a:pt x="93529" y="409985"/>
                </a:moveTo>
                <a:cubicBezTo>
                  <a:pt x="73548" y="409985"/>
                  <a:pt x="57350" y="426182"/>
                  <a:pt x="57350" y="446163"/>
                </a:cubicBezTo>
                <a:cubicBezTo>
                  <a:pt x="57350" y="466144"/>
                  <a:pt x="73548" y="482342"/>
                  <a:pt x="93529" y="482342"/>
                </a:cubicBezTo>
                <a:cubicBezTo>
                  <a:pt x="113510" y="482342"/>
                  <a:pt x="129707" y="466144"/>
                  <a:pt x="129707" y="446163"/>
                </a:cubicBezTo>
                <a:cubicBezTo>
                  <a:pt x="129707" y="426182"/>
                  <a:pt x="113510" y="409985"/>
                  <a:pt x="93529" y="409985"/>
                </a:cubicBezTo>
                <a:close/>
                <a:moveTo>
                  <a:pt x="22935" y="375286"/>
                </a:moveTo>
                <a:lnTo>
                  <a:pt x="771144" y="375286"/>
                </a:lnTo>
                <a:cubicBezTo>
                  <a:pt x="783811" y="375286"/>
                  <a:pt x="794079" y="385555"/>
                  <a:pt x="794079" y="398221"/>
                </a:cubicBezTo>
                <a:lnTo>
                  <a:pt x="794079" y="489959"/>
                </a:lnTo>
                <a:cubicBezTo>
                  <a:pt x="794079" y="502626"/>
                  <a:pt x="783811" y="512894"/>
                  <a:pt x="771144" y="512894"/>
                </a:cubicBezTo>
                <a:lnTo>
                  <a:pt x="22935" y="512894"/>
                </a:lnTo>
                <a:cubicBezTo>
                  <a:pt x="10269" y="512894"/>
                  <a:pt x="0" y="502626"/>
                  <a:pt x="0" y="489959"/>
                </a:cubicBezTo>
                <a:lnTo>
                  <a:pt x="0" y="398221"/>
                </a:lnTo>
                <a:cubicBezTo>
                  <a:pt x="0" y="385555"/>
                  <a:pt x="10269" y="375286"/>
                  <a:pt x="22935" y="375286"/>
                </a:cubicBezTo>
                <a:close/>
                <a:moveTo>
                  <a:pt x="93529" y="222341"/>
                </a:moveTo>
                <a:cubicBezTo>
                  <a:pt x="73548" y="222341"/>
                  <a:pt x="57350" y="238539"/>
                  <a:pt x="57350" y="258520"/>
                </a:cubicBezTo>
                <a:cubicBezTo>
                  <a:pt x="57350" y="278501"/>
                  <a:pt x="73548" y="294699"/>
                  <a:pt x="93529" y="294699"/>
                </a:cubicBezTo>
                <a:cubicBezTo>
                  <a:pt x="113510" y="294699"/>
                  <a:pt x="129707" y="278501"/>
                  <a:pt x="129707" y="258520"/>
                </a:cubicBezTo>
                <a:cubicBezTo>
                  <a:pt x="129707" y="238539"/>
                  <a:pt x="113510" y="222341"/>
                  <a:pt x="93529" y="222341"/>
                </a:cubicBezTo>
                <a:close/>
                <a:moveTo>
                  <a:pt x="22935" y="187643"/>
                </a:moveTo>
                <a:lnTo>
                  <a:pt x="771144" y="187643"/>
                </a:lnTo>
                <a:cubicBezTo>
                  <a:pt x="783811" y="187643"/>
                  <a:pt x="794079" y="197911"/>
                  <a:pt x="794079" y="210578"/>
                </a:cubicBezTo>
                <a:lnTo>
                  <a:pt x="794079" y="302316"/>
                </a:lnTo>
                <a:cubicBezTo>
                  <a:pt x="794079" y="314982"/>
                  <a:pt x="783811" y="325251"/>
                  <a:pt x="771144" y="325251"/>
                </a:cubicBezTo>
                <a:lnTo>
                  <a:pt x="22935" y="325251"/>
                </a:lnTo>
                <a:cubicBezTo>
                  <a:pt x="10269" y="325251"/>
                  <a:pt x="0" y="314982"/>
                  <a:pt x="0" y="302316"/>
                </a:cubicBezTo>
                <a:lnTo>
                  <a:pt x="0" y="210578"/>
                </a:lnTo>
                <a:cubicBezTo>
                  <a:pt x="0" y="197911"/>
                  <a:pt x="10269" y="187643"/>
                  <a:pt x="22935" y="187643"/>
                </a:cubicBezTo>
                <a:close/>
                <a:moveTo>
                  <a:pt x="93529" y="34698"/>
                </a:moveTo>
                <a:cubicBezTo>
                  <a:pt x="73548" y="34698"/>
                  <a:pt x="57350" y="50896"/>
                  <a:pt x="57350" y="70877"/>
                </a:cubicBezTo>
                <a:cubicBezTo>
                  <a:pt x="57350" y="90858"/>
                  <a:pt x="73548" y="107056"/>
                  <a:pt x="93529" y="107056"/>
                </a:cubicBezTo>
                <a:cubicBezTo>
                  <a:pt x="113510" y="107056"/>
                  <a:pt x="129707" y="90858"/>
                  <a:pt x="129707" y="70877"/>
                </a:cubicBezTo>
                <a:cubicBezTo>
                  <a:pt x="129707" y="50896"/>
                  <a:pt x="113510" y="34698"/>
                  <a:pt x="93529" y="34698"/>
                </a:cubicBezTo>
                <a:close/>
                <a:moveTo>
                  <a:pt x="22935" y="0"/>
                </a:moveTo>
                <a:lnTo>
                  <a:pt x="771144" y="0"/>
                </a:lnTo>
                <a:cubicBezTo>
                  <a:pt x="783811" y="0"/>
                  <a:pt x="794079" y="10268"/>
                  <a:pt x="794079" y="22935"/>
                </a:cubicBezTo>
                <a:lnTo>
                  <a:pt x="794079" y="114673"/>
                </a:lnTo>
                <a:cubicBezTo>
                  <a:pt x="794079" y="127339"/>
                  <a:pt x="783811" y="137608"/>
                  <a:pt x="771144" y="137608"/>
                </a:cubicBezTo>
                <a:lnTo>
                  <a:pt x="22935" y="137608"/>
                </a:lnTo>
                <a:cubicBezTo>
                  <a:pt x="10269" y="137608"/>
                  <a:pt x="0" y="127339"/>
                  <a:pt x="0" y="114673"/>
                </a:cubicBezTo>
                <a:lnTo>
                  <a:pt x="0" y="22935"/>
                </a:lnTo>
                <a:cubicBezTo>
                  <a:pt x="0" y="10268"/>
                  <a:pt x="10269" y="0"/>
                  <a:pt x="22935"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8" tIns="109719" rIns="137148" bIns="109719" numCol="1" spcCol="0" rtlCol="0" fromWordArt="0" anchor="t" anchorCtr="0" forceAA="0" compatLnSpc="1">
            <a:prstTxWarp prst="textNoShape">
              <a:avLst/>
            </a:prstTxWarp>
            <a:noAutofit/>
          </a:bodyPr>
          <a:lstStyle/>
          <a:p>
            <a:pPr algn="ctr" defTabSz="699261" fontAlgn="base">
              <a:lnSpc>
                <a:spcPct val="90000"/>
              </a:lnSpc>
              <a:spcBef>
                <a:spcPct val="0"/>
              </a:spcBef>
              <a:spcAft>
                <a:spcPct val="0"/>
              </a:spcAft>
            </a:pPr>
            <a:endParaRPr lang="en-US">
              <a:gradFill>
                <a:gsLst>
                  <a:gs pos="0">
                    <a:srgbClr val="FFFFFF"/>
                  </a:gs>
                  <a:gs pos="100000">
                    <a:srgbClr val="FFFFFF"/>
                  </a:gs>
                </a:gsLst>
                <a:lin ang="5400000" scaled="0"/>
              </a:gradFill>
              <a:ea typeface="Segoe UI" pitchFamily="34" charset="0"/>
              <a:cs typeface="Segoe UI" pitchFamily="34" charset="0"/>
            </a:endParaRPr>
          </a:p>
        </p:txBody>
      </p:sp>
      <p:grpSp>
        <p:nvGrpSpPr>
          <p:cNvPr id="60" name="Group 59"/>
          <p:cNvGrpSpPr>
            <a:grpSpLocks noChangeAspect="1"/>
          </p:cNvGrpSpPr>
          <p:nvPr/>
        </p:nvGrpSpPr>
        <p:grpSpPr>
          <a:xfrm>
            <a:off x="284268" y="1947738"/>
            <a:ext cx="314004" cy="320040"/>
            <a:chOff x="810855" y="2271601"/>
            <a:chExt cx="457200" cy="465990"/>
          </a:xfrm>
        </p:grpSpPr>
        <p:sp>
          <p:nvSpPr>
            <p:cNvPr id="61" name="Freeform 5"/>
            <p:cNvSpPr>
              <a:spLocks noEditPoints="1"/>
            </p:cNvSpPr>
            <p:nvPr/>
          </p:nvSpPr>
          <p:spPr bwMode="black">
            <a:xfrm>
              <a:off x="892260" y="2271601"/>
              <a:ext cx="375795" cy="291633"/>
            </a:xfrm>
            <a:custGeom>
              <a:avLst/>
              <a:gdLst>
                <a:gd name="T0" fmla="*/ 22 w 277"/>
                <a:gd name="T1" fmla="*/ 1 h 215"/>
                <a:gd name="T2" fmla="*/ 22 w 277"/>
                <a:gd name="T3" fmla="*/ 10 h 215"/>
                <a:gd name="T4" fmla="*/ 22 w 277"/>
                <a:gd name="T5" fmla="*/ 10 h 215"/>
                <a:gd name="T6" fmla="*/ 66 w 277"/>
                <a:gd name="T7" fmla="*/ 15 h 215"/>
                <a:gd name="T8" fmla="*/ 54 w 277"/>
                <a:gd name="T9" fmla="*/ 20 h 215"/>
                <a:gd name="T10" fmla="*/ 79 w 277"/>
                <a:gd name="T11" fmla="*/ 0 h 215"/>
                <a:gd name="T12" fmla="*/ 118 w 277"/>
                <a:gd name="T13" fmla="*/ 1 h 215"/>
                <a:gd name="T14" fmla="*/ 118 w 277"/>
                <a:gd name="T15" fmla="*/ 10 h 215"/>
                <a:gd name="T16" fmla="*/ 118 w 277"/>
                <a:gd name="T17" fmla="*/ 10 h 215"/>
                <a:gd name="T18" fmla="*/ 163 w 277"/>
                <a:gd name="T19" fmla="*/ 15 h 215"/>
                <a:gd name="T20" fmla="*/ 150 w 277"/>
                <a:gd name="T21" fmla="*/ 20 h 215"/>
                <a:gd name="T22" fmla="*/ 176 w 277"/>
                <a:gd name="T23" fmla="*/ 0 h 215"/>
                <a:gd name="T24" fmla="*/ 215 w 277"/>
                <a:gd name="T25" fmla="*/ 1 h 215"/>
                <a:gd name="T26" fmla="*/ 214 w 277"/>
                <a:gd name="T27" fmla="*/ 10 h 215"/>
                <a:gd name="T28" fmla="*/ 214 w 277"/>
                <a:gd name="T29" fmla="*/ 10 h 215"/>
                <a:gd name="T30" fmla="*/ 259 w 277"/>
                <a:gd name="T31" fmla="*/ 15 h 215"/>
                <a:gd name="T32" fmla="*/ 247 w 277"/>
                <a:gd name="T33" fmla="*/ 20 h 215"/>
                <a:gd name="T34" fmla="*/ 272 w 277"/>
                <a:gd name="T35" fmla="*/ 0 h 215"/>
                <a:gd name="T36" fmla="*/ 12 w 277"/>
                <a:gd name="T37" fmla="*/ 92 h 215"/>
                <a:gd name="T38" fmla="*/ 0 w 277"/>
                <a:gd name="T39" fmla="*/ 97 h 215"/>
                <a:gd name="T40" fmla="*/ 25 w 277"/>
                <a:gd name="T41" fmla="*/ 77 h 215"/>
                <a:gd name="T42" fmla="*/ 64 w 277"/>
                <a:gd name="T43" fmla="*/ 77 h 215"/>
                <a:gd name="T44" fmla="*/ 64 w 277"/>
                <a:gd name="T45" fmla="*/ 87 h 215"/>
                <a:gd name="T46" fmla="*/ 64 w 277"/>
                <a:gd name="T47" fmla="*/ 87 h 215"/>
                <a:gd name="T48" fmla="*/ 109 w 277"/>
                <a:gd name="T49" fmla="*/ 92 h 215"/>
                <a:gd name="T50" fmla="*/ 96 w 277"/>
                <a:gd name="T51" fmla="*/ 97 h 215"/>
                <a:gd name="T52" fmla="*/ 122 w 277"/>
                <a:gd name="T53" fmla="*/ 77 h 215"/>
                <a:gd name="T54" fmla="*/ 161 w 277"/>
                <a:gd name="T55" fmla="*/ 77 h 215"/>
                <a:gd name="T56" fmla="*/ 160 w 277"/>
                <a:gd name="T57" fmla="*/ 87 h 215"/>
                <a:gd name="T58" fmla="*/ 160 w 277"/>
                <a:gd name="T59" fmla="*/ 87 h 215"/>
                <a:gd name="T60" fmla="*/ 205 w 277"/>
                <a:gd name="T61" fmla="*/ 92 h 215"/>
                <a:gd name="T62" fmla="*/ 192 w 277"/>
                <a:gd name="T63" fmla="*/ 97 h 215"/>
                <a:gd name="T64" fmla="*/ 218 w 277"/>
                <a:gd name="T65" fmla="*/ 77 h 215"/>
                <a:gd name="T66" fmla="*/ 257 w 277"/>
                <a:gd name="T67" fmla="*/ 77 h 215"/>
                <a:gd name="T68" fmla="*/ 256 w 277"/>
                <a:gd name="T69" fmla="*/ 87 h 215"/>
                <a:gd name="T70" fmla="*/ 256 w 277"/>
                <a:gd name="T71" fmla="*/ 87 h 215"/>
                <a:gd name="T72" fmla="*/ 22 w 277"/>
                <a:gd name="T73" fmla="*/ 154 h 215"/>
                <a:gd name="T74" fmla="*/ 22 w 277"/>
                <a:gd name="T75" fmla="*/ 164 h 215"/>
                <a:gd name="T76" fmla="*/ 22 w 277"/>
                <a:gd name="T77" fmla="*/ 164 h 215"/>
                <a:gd name="T78" fmla="*/ 66 w 277"/>
                <a:gd name="T79" fmla="*/ 168 h 215"/>
                <a:gd name="T80" fmla="*/ 54 w 277"/>
                <a:gd name="T81" fmla="*/ 173 h 215"/>
                <a:gd name="T82" fmla="*/ 79 w 277"/>
                <a:gd name="T83" fmla="*/ 154 h 215"/>
                <a:gd name="T84" fmla="*/ 118 w 277"/>
                <a:gd name="T85" fmla="*/ 154 h 215"/>
                <a:gd name="T86" fmla="*/ 118 w 277"/>
                <a:gd name="T87" fmla="*/ 164 h 215"/>
                <a:gd name="T88" fmla="*/ 118 w 277"/>
                <a:gd name="T89" fmla="*/ 164 h 215"/>
                <a:gd name="T90" fmla="*/ 163 w 277"/>
                <a:gd name="T91" fmla="*/ 168 h 215"/>
                <a:gd name="T92" fmla="*/ 150 w 277"/>
                <a:gd name="T93" fmla="*/ 173 h 215"/>
                <a:gd name="T94" fmla="*/ 176 w 277"/>
                <a:gd name="T95" fmla="*/ 154 h 215"/>
                <a:gd name="T96" fmla="*/ 215 w 277"/>
                <a:gd name="T97" fmla="*/ 154 h 215"/>
                <a:gd name="T98" fmla="*/ 214 w 277"/>
                <a:gd name="T99" fmla="*/ 164 h 215"/>
                <a:gd name="T100" fmla="*/ 214 w 277"/>
                <a:gd name="T101" fmla="*/ 164 h 215"/>
                <a:gd name="T102" fmla="*/ 259 w 277"/>
                <a:gd name="T103" fmla="*/ 168 h 215"/>
                <a:gd name="T104" fmla="*/ 247 w 277"/>
                <a:gd name="T105" fmla="*/ 173 h 215"/>
                <a:gd name="T106" fmla="*/ 272 w 277"/>
                <a:gd name="T107" fmla="*/ 154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77" h="215">
                  <a:moveTo>
                    <a:pt x="21" y="61"/>
                  </a:moveTo>
                  <a:cubicBezTo>
                    <a:pt x="7" y="61"/>
                    <a:pt x="0" y="51"/>
                    <a:pt x="0" y="32"/>
                  </a:cubicBezTo>
                  <a:cubicBezTo>
                    <a:pt x="0" y="22"/>
                    <a:pt x="2" y="14"/>
                    <a:pt x="6" y="9"/>
                  </a:cubicBezTo>
                  <a:cubicBezTo>
                    <a:pt x="9" y="3"/>
                    <a:pt x="15" y="1"/>
                    <a:pt x="22" y="1"/>
                  </a:cubicBezTo>
                  <a:cubicBezTo>
                    <a:pt x="36" y="1"/>
                    <a:pt x="43" y="11"/>
                    <a:pt x="43" y="30"/>
                  </a:cubicBezTo>
                  <a:cubicBezTo>
                    <a:pt x="43" y="40"/>
                    <a:pt x="41" y="48"/>
                    <a:pt x="37" y="53"/>
                  </a:cubicBezTo>
                  <a:cubicBezTo>
                    <a:pt x="33" y="59"/>
                    <a:pt x="28" y="61"/>
                    <a:pt x="21" y="61"/>
                  </a:cubicBezTo>
                  <a:close/>
                  <a:moveTo>
                    <a:pt x="22" y="10"/>
                  </a:moveTo>
                  <a:cubicBezTo>
                    <a:pt x="16" y="10"/>
                    <a:pt x="13" y="17"/>
                    <a:pt x="13" y="32"/>
                  </a:cubicBezTo>
                  <a:cubicBezTo>
                    <a:pt x="13" y="45"/>
                    <a:pt x="16" y="51"/>
                    <a:pt x="21" y="51"/>
                  </a:cubicBezTo>
                  <a:cubicBezTo>
                    <a:pt x="27" y="51"/>
                    <a:pt x="29" y="45"/>
                    <a:pt x="29" y="31"/>
                  </a:cubicBezTo>
                  <a:cubicBezTo>
                    <a:pt x="29" y="17"/>
                    <a:pt x="27" y="10"/>
                    <a:pt x="22" y="10"/>
                  </a:cubicBezTo>
                  <a:close/>
                  <a:moveTo>
                    <a:pt x="79" y="0"/>
                  </a:moveTo>
                  <a:cubicBezTo>
                    <a:pt x="79" y="60"/>
                    <a:pt x="79" y="60"/>
                    <a:pt x="79" y="60"/>
                  </a:cubicBezTo>
                  <a:cubicBezTo>
                    <a:pt x="66" y="60"/>
                    <a:pt x="66" y="60"/>
                    <a:pt x="66" y="60"/>
                  </a:cubicBezTo>
                  <a:cubicBezTo>
                    <a:pt x="66" y="15"/>
                    <a:pt x="66" y="15"/>
                    <a:pt x="66" y="15"/>
                  </a:cubicBezTo>
                  <a:cubicBezTo>
                    <a:pt x="66" y="15"/>
                    <a:pt x="65" y="16"/>
                    <a:pt x="64" y="17"/>
                  </a:cubicBezTo>
                  <a:cubicBezTo>
                    <a:pt x="63" y="17"/>
                    <a:pt x="62" y="18"/>
                    <a:pt x="61" y="18"/>
                  </a:cubicBezTo>
                  <a:cubicBezTo>
                    <a:pt x="60" y="19"/>
                    <a:pt x="59" y="19"/>
                    <a:pt x="57" y="19"/>
                  </a:cubicBezTo>
                  <a:cubicBezTo>
                    <a:pt x="56" y="20"/>
                    <a:pt x="55" y="20"/>
                    <a:pt x="54" y="20"/>
                  </a:cubicBezTo>
                  <a:cubicBezTo>
                    <a:pt x="54" y="9"/>
                    <a:pt x="54" y="9"/>
                    <a:pt x="54" y="9"/>
                  </a:cubicBezTo>
                  <a:cubicBezTo>
                    <a:pt x="57" y="8"/>
                    <a:pt x="61" y="7"/>
                    <a:pt x="64" y="5"/>
                  </a:cubicBezTo>
                  <a:cubicBezTo>
                    <a:pt x="66" y="4"/>
                    <a:pt x="69" y="2"/>
                    <a:pt x="72" y="0"/>
                  </a:cubicBezTo>
                  <a:lnTo>
                    <a:pt x="79" y="0"/>
                  </a:lnTo>
                  <a:close/>
                  <a:moveTo>
                    <a:pt x="117" y="61"/>
                  </a:moveTo>
                  <a:cubicBezTo>
                    <a:pt x="103" y="61"/>
                    <a:pt x="96" y="51"/>
                    <a:pt x="96" y="32"/>
                  </a:cubicBezTo>
                  <a:cubicBezTo>
                    <a:pt x="96" y="22"/>
                    <a:pt x="98" y="14"/>
                    <a:pt x="102" y="9"/>
                  </a:cubicBezTo>
                  <a:cubicBezTo>
                    <a:pt x="106" y="3"/>
                    <a:pt x="111" y="1"/>
                    <a:pt x="118" y="1"/>
                  </a:cubicBezTo>
                  <a:cubicBezTo>
                    <a:pt x="132" y="1"/>
                    <a:pt x="139" y="11"/>
                    <a:pt x="139" y="30"/>
                  </a:cubicBezTo>
                  <a:cubicBezTo>
                    <a:pt x="139" y="40"/>
                    <a:pt x="137" y="48"/>
                    <a:pt x="133" y="53"/>
                  </a:cubicBezTo>
                  <a:cubicBezTo>
                    <a:pt x="130" y="59"/>
                    <a:pt x="124" y="61"/>
                    <a:pt x="117" y="61"/>
                  </a:cubicBezTo>
                  <a:close/>
                  <a:moveTo>
                    <a:pt x="118" y="10"/>
                  </a:moveTo>
                  <a:cubicBezTo>
                    <a:pt x="112" y="10"/>
                    <a:pt x="109" y="17"/>
                    <a:pt x="109" y="32"/>
                  </a:cubicBezTo>
                  <a:cubicBezTo>
                    <a:pt x="109" y="45"/>
                    <a:pt x="112" y="51"/>
                    <a:pt x="118" y="51"/>
                  </a:cubicBezTo>
                  <a:cubicBezTo>
                    <a:pt x="123" y="51"/>
                    <a:pt x="126" y="45"/>
                    <a:pt x="126" y="31"/>
                  </a:cubicBezTo>
                  <a:cubicBezTo>
                    <a:pt x="126" y="17"/>
                    <a:pt x="123" y="10"/>
                    <a:pt x="118" y="10"/>
                  </a:cubicBezTo>
                  <a:close/>
                  <a:moveTo>
                    <a:pt x="176" y="0"/>
                  </a:moveTo>
                  <a:cubicBezTo>
                    <a:pt x="176" y="60"/>
                    <a:pt x="176" y="60"/>
                    <a:pt x="176" y="60"/>
                  </a:cubicBezTo>
                  <a:cubicBezTo>
                    <a:pt x="163" y="60"/>
                    <a:pt x="163" y="60"/>
                    <a:pt x="163" y="60"/>
                  </a:cubicBezTo>
                  <a:cubicBezTo>
                    <a:pt x="163" y="15"/>
                    <a:pt x="163" y="15"/>
                    <a:pt x="163" y="15"/>
                  </a:cubicBezTo>
                  <a:cubicBezTo>
                    <a:pt x="162" y="15"/>
                    <a:pt x="161" y="16"/>
                    <a:pt x="160" y="17"/>
                  </a:cubicBezTo>
                  <a:cubicBezTo>
                    <a:pt x="159" y="17"/>
                    <a:pt x="158" y="18"/>
                    <a:pt x="157" y="18"/>
                  </a:cubicBezTo>
                  <a:cubicBezTo>
                    <a:pt x="156" y="19"/>
                    <a:pt x="155" y="19"/>
                    <a:pt x="154" y="19"/>
                  </a:cubicBezTo>
                  <a:cubicBezTo>
                    <a:pt x="153" y="20"/>
                    <a:pt x="151" y="20"/>
                    <a:pt x="150" y="20"/>
                  </a:cubicBezTo>
                  <a:cubicBezTo>
                    <a:pt x="150" y="9"/>
                    <a:pt x="150" y="9"/>
                    <a:pt x="150" y="9"/>
                  </a:cubicBezTo>
                  <a:cubicBezTo>
                    <a:pt x="154" y="8"/>
                    <a:pt x="157" y="7"/>
                    <a:pt x="160" y="5"/>
                  </a:cubicBezTo>
                  <a:cubicBezTo>
                    <a:pt x="163" y="4"/>
                    <a:pt x="165" y="2"/>
                    <a:pt x="168" y="0"/>
                  </a:cubicBezTo>
                  <a:lnTo>
                    <a:pt x="176" y="0"/>
                  </a:lnTo>
                  <a:close/>
                  <a:moveTo>
                    <a:pt x="214" y="61"/>
                  </a:moveTo>
                  <a:cubicBezTo>
                    <a:pt x="200" y="61"/>
                    <a:pt x="193" y="51"/>
                    <a:pt x="193" y="32"/>
                  </a:cubicBezTo>
                  <a:cubicBezTo>
                    <a:pt x="193" y="22"/>
                    <a:pt x="195" y="14"/>
                    <a:pt x="198" y="9"/>
                  </a:cubicBezTo>
                  <a:cubicBezTo>
                    <a:pt x="202" y="3"/>
                    <a:pt x="208" y="1"/>
                    <a:pt x="215" y="1"/>
                  </a:cubicBezTo>
                  <a:cubicBezTo>
                    <a:pt x="228" y="1"/>
                    <a:pt x="235" y="11"/>
                    <a:pt x="235" y="30"/>
                  </a:cubicBezTo>
                  <a:cubicBezTo>
                    <a:pt x="235" y="40"/>
                    <a:pt x="233" y="48"/>
                    <a:pt x="230" y="53"/>
                  </a:cubicBezTo>
                  <a:cubicBezTo>
                    <a:pt x="226" y="59"/>
                    <a:pt x="221" y="61"/>
                    <a:pt x="214" y="61"/>
                  </a:cubicBezTo>
                  <a:close/>
                  <a:moveTo>
                    <a:pt x="214" y="10"/>
                  </a:moveTo>
                  <a:cubicBezTo>
                    <a:pt x="209" y="10"/>
                    <a:pt x="206" y="17"/>
                    <a:pt x="206" y="32"/>
                  </a:cubicBezTo>
                  <a:cubicBezTo>
                    <a:pt x="206" y="45"/>
                    <a:pt x="209" y="51"/>
                    <a:pt x="214" y="51"/>
                  </a:cubicBezTo>
                  <a:cubicBezTo>
                    <a:pt x="219" y="51"/>
                    <a:pt x="222" y="45"/>
                    <a:pt x="222" y="31"/>
                  </a:cubicBezTo>
                  <a:cubicBezTo>
                    <a:pt x="222" y="17"/>
                    <a:pt x="219" y="10"/>
                    <a:pt x="214" y="10"/>
                  </a:cubicBezTo>
                  <a:close/>
                  <a:moveTo>
                    <a:pt x="272" y="0"/>
                  </a:moveTo>
                  <a:cubicBezTo>
                    <a:pt x="272" y="60"/>
                    <a:pt x="272" y="60"/>
                    <a:pt x="272" y="60"/>
                  </a:cubicBezTo>
                  <a:cubicBezTo>
                    <a:pt x="259" y="60"/>
                    <a:pt x="259" y="60"/>
                    <a:pt x="259" y="60"/>
                  </a:cubicBezTo>
                  <a:cubicBezTo>
                    <a:pt x="259" y="15"/>
                    <a:pt x="259" y="15"/>
                    <a:pt x="259" y="15"/>
                  </a:cubicBezTo>
                  <a:cubicBezTo>
                    <a:pt x="258" y="15"/>
                    <a:pt x="258" y="16"/>
                    <a:pt x="257" y="17"/>
                  </a:cubicBezTo>
                  <a:cubicBezTo>
                    <a:pt x="256" y="17"/>
                    <a:pt x="255" y="18"/>
                    <a:pt x="254" y="18"/>
                  </a:cubicBezTo>
                  <a:cubicBezTo>
                    <a:pt x="252" y="19"/>
                    <a:pt x="251" y="19"/>
                    <a:pt x="250" y="19"/>
                  </a:cubicBezTo>
                  <a:cubicBezTo>
                    <a:pt x="249" y="20"/>
                    <a:pt x="248" y="20"/>
                    <a:pt x="247" y="20"/>
                  </a:cubicBezTo>
                  <a:cubicBezTo>
                    <a:pt x="247" y="9"/>
                    <a:pt x="247" y="9"/>
                    <a:pt x="247" y="9"/>
                  </a:cubicBezTo>
                  <a:cubicBezTo>
                    <a:pt x="250" y="8"/>
                    <a:pt x="253" y="7"/>
                    <a:pt x="256" y="5"/>
                  </a:cubicBezTo>
                  <a:cubicBezTo>
                    <a:pt x="259" y="4"/>
                    <a:pt x="262" y="2"/>
                    <a:pt x="264" y="0"/>
                  </a:cubicBezTo>
                  <a:lnTo>
                    <a:pt x="272" y="0"/>
                  </a:lnTo>
                  <a:close/>
                  <a:moveTo>
                    <a:pt x="25" y="77"/>
                  </a:moveTo>
                  <a:cubicBezTo>
                    <a:pt x="25" y="137"/>
                    <a:pt x="25" y="137"/>
                    <a:pt x="25" y="137"/>
                  </a:cubicBezTo>
                  <a:cubicBezTo>
                    <a:pt x="12" y="137"/>
                    <a:pt x="12" y="137"/>
                    <a:pt x="12" y="137"/>
                  </a:cubicBezTo>
                  <a:cubicBezTo>
                    <a:pt x="12" y="92"/>
                    <a:pt x="12" y="92"/>
                    <a:pt x="12" y="92"/>
                  </a:cubicBezTo>
                  <a:cubicBezTo>
                    <a:pt x="12" y="92"/>
                    <a:pt x="11" y="93"/>
                    <a:pt x="10" y="93"/>
                  </a:cubicBezTo>
                  <a:cubicBezTo>
                    <a:pt x="9" y="94"/>
                    <a:pt x="8" y="94"/>
                    <a:pt x="7" y="95"/>
                  </a:cubicBezTo>
                  <a:cubicBezTo>
                    <a:pt x="6" y="95"/>
                    <a:pt x="5" y="96"/>
                    <a:pt x="3" y="96"/>
                  </a:cubicBezTo>
                  <a:cubicBezTo>
                    <a:pt x="2" y="96"/>
                    <a:pt x="1" y="97"/>
                    <a:pt x="0" y="97"/>
                  </a:cubicBezTo>
                  <a:cubicBezTo>
                    <a:pt x="0" y="86"/>
                    <a:pt x="0" y="86"/>
                    <a:pt x="0" y="86"/>
                  </a:cubicBezTo>
                  <a:cubicBezTo>
                    <a:pt x="3" y="85"/>
                    <a:pt x="6" y="84"/>
                    <a:pt x="9" y="82"/>
                  </a:cubicBezTo>
                  <a:cubicBezTo>
                    <a:pt x="12" y="81"/>
                    <a:pt x="15" y="79"/>
                    <a:pt x="17" y="77"/>
                  </a:cubicBezTo>
                  <a:lnTo>
                    <a:pt x="25" y="77"/>
                  </a:lnTo>
                  <a:close/>
                  <a:moveTo>
                    <a:pt x="63" y="138"/>
                  </a:moveTo>
                  <a:cubicBezTo>
                    <a:pt x="49" y="138"/>
                    <a:pt x="42" y="128"/>
                    <a:pt x="42" y="109"/>
                  </a:cubicBezTo>
                  <a:cubicBezTo>
                    <a:pt x="42" y="98"/>
                    <a:pt x="44" y="91"/>
                    <a:pt x="48" y="85"/>
                  </a:cubicBezTo>
                  <a:cubicBezTo>
                    <a:pt x="52" y="80"/>
                    <a:pt x="57" y="77"/>
                    <a:pt x="64" y="77"/>
                  </a:cubicBezTo>
                  <a:cubicBezTo>
                    <a:pt x="78" y="77"/>
                    <a:pt x="85" y="87"/>
                    <a:pt x="85" y="107"/>
                  </a:cubicBezTo>
                  <a:cubicBezTo>
                    <a:pt x="85" y="117"/>
                    <a:pt x="83" y="125"/>
                    <a:pt x="79" y="130"/>
                  </a:cubicBezTo>
                  <a:cubicBezTo>
                    <a:pt x="75" y="135"/>
                    <a:pt x="70" y="138"/>
                    <a:pt x="63" y="138"/>
                  </a:cubicBezTo>
                  <a:close/>
                  <a:moveTo>
                    <a:pt x="64" y="87"/>
                  </a:moveTo>
                  <a:cubicBezTo>
                    <a:pt x="58" y="87"/>
                    <a:pt x="55" y="94"/>
                    <a:pt x="55" y="108"/>
                  </a:cubicBezTo>
                  <a:cubicBezTo>
                    <a:pt x="55" y="121"/>
                    <a:pt x="58" y="128"/>
                    <a:pt x="64" y="128"/>
                  </a:cubicBezTo>
                  <a:cubicBezTo>
                    <a:pt x="69" y="128"/>
                    <a:pt x="72" y="121"/>
                    <a:pt x="72" y="108"/>
                  </a:cubicBezTo>
                  <a:cubicBezTo>
                    <a:pt x="72" y="94"/>
                    <a:pt x="69" y="87"/>
                    <a:pt x="64" y="87"/>
                  </a:cubicBezTo>
                  <a:close/>
                  <a:moveTo>
                    <a:pt x="122" y="77"/>
                  </a:moveTo>
                  <a:cubicBezTo>
                    <a:pt x="122" y="137"/>
                    <a:pt x="122" y="137"/>
                    <a:pt x="122" y="137"/>
                  </a:cubicBezTo>
                  <a:cubicBezTo>
                    <a:pt x="109" y="137"/>
                    <a:pt x="109" y="137"/>
                    <a:pt x="109" y="137"/>
                  </a:cubicBezTo>
                  <a:cubicBezTo>
                    <a:pt x="109" y="92"/>
                    <a:pt x="109" y="92"/>
                    <a:pt x="109" y="92"/>
                  </a:cubicBezTo>
                  <a:cubicBezTo>
                    <a:pt x="108" y="92"/>
                    <a:pt x="107" y="93"/>
                    <a:pt x="106" y="93"/>
                  </a:cubicBezTo>
                  <a:cubicBezTo>
                    <a:pt x="105" y="94"/>
                    <a:pt x="104" y="94"/>
                    <a:pt x="103" y="95"/>
                  </a:cubicBezTo>
                  <a:cubicBezTo>
                    <a:pt x="102" y="95"/>
                    <a:pt x="101" y="96"/>
                    <a:pt x="100" y="96"/>
                  </a:cubicBezTo>
                  <a:cubicBezTo>
                    <a:pt x="98" y="96"/>
                    <a:pt x="97" y="97"/>
                    <a:pt x="96" y="97"/>
                  </a:cubicBezTo>
                  <a:cubicBezTo>
                    <a:pt x="96" y="86"/>
                    <a:pt x="96" y="86"/>
                    <a:pt x="96" y="86"/>
                  </a:cubicBezTo>
                  <a:cubicBezTo>
                    <a:pt x="100" y="85"/>
                    <a:pt x="103" y="84"/>
                    <a:pt x="106" y="82"/>
                  </a:cubicBezTo>
                  <a:cubicBezTo>
                    <a:pt x="109" y="81"/>
                    <a:pt x="111" y="79"/>
                    <a:pt x="114" y="77"/>
                  </a:cubicBezTo>
                  <a:lnTo>
                    <a:pt x="122" y="77"/>
                  </a:lnTo>
                  <a:close/>
                  <a:moveTo>
                    <a:pt x="159" y="138"/>
                  </a:moveTo>
                  <a:cubicBezTo>
                    <a:pt x="145" y="138"/>
                    <a:pt x="138" y="128"/>
                    <a:pt x="138" y="109"/>
                  </a:cubicBezTo>
                  <a:cubicBezTo>
                    <a:pt x="138" y="98"/>
                    <a:pt x="140" y="91"/>
                    <a:pt x="144" y="85"/>
                  </a:cubicBezTo>
                  <a:cubicBezTo>
                    <a:pt x="148" y="80"/>
                    <a:pt x="153" y="77"/>
                    <a:pt x="161" y="77"/>
                  </a:cubicBezTo>
                  <a:cubicBezTo>
                    <a:pt x="174" y="77"/>
                    <a:pt x="181" y="87"/>
                    <a:pt x="181" y="107"/>
                  </a:cubicBezTo>
                  <a:cubicBezTo>
                    <a:pt x="181" y="117"/>
                    <a:pt x="179" y="125"/>
                    <a:pt x="175" y="130"/>
                  </a:cubicBezTo>
                  <a:cubicBezTo>
                    <a:pt x="172" y="135"/>
                    <a:pt x="166" y="138"/>
                    <a:pt x="159" y="138"/>
                  </a:cubicBezTo>
                  <a:close/>
                  <a:moveTo>
                    <a:pt x="160" y="87"/>
                  </a:moveTo>
                  <a:cubicBezTo>
                    <a:pt x="154" y="87"/>
                    <a:pt x="152" y="94"/>
                    <a:pt x="152" y="108"/>
                  </a:cubicBezTo>
                  <a:cubicBezTo>
                    <a:pt x="152" y="121"/>
                    <a:pt x="154" y="128"/>
                    <a:pt x="160" y="128"/>
                  </a:cubicBezTo>
                  <a:cubicBezTo>
                    <a:pt x="165" y="128"/>
                    <a:pt x="168" y="121"/>
                    <a:pt x="168" y="108"/>
                  </a:cubicBezTo>
                  <a:cubicBezTo>
                    <a:pt x="168" y="94"/>
                    <a:pt x="165" y="87"/>
                    <a:pt x="160" y="87"/>
                  </a:cubicBezTo>
                  <a:close/>
                  <a:moveTo>
                    <a:pt x="218" y="77"/>
                  </a:moveTo>
                  <a:cubicBezTo>
                    <a:pt x="218" y="137"/>
                    <a:pt x="218" y="137"/>
                    <a:pt x="218" y="137"/>
                  </a:cubicBezTo>
                  <a:cubicBezTo>
                    <a:pt x="205" y="137"/>
                    <a:pt x="205" y="137"/>
                    <a:pt x="205" y="137"/>
                  </a:cubicBezTo>
                  <a:cubicBezTo>
                    <a:pt x="205" y="92"/>
                    <a:pt x="205" y="92"/>
                    <a:pt x="205" y="92"/>
                  </a:cubicBezTo>
                  <a:cubicBezTo>
                    <a:pt x="204" y="92"/>
                    <a:pt x="203" y="93"/>
                    <a:pt x="202" y="93"/>
                  </a:cubicBezTo>
                  <a:cubicBezTo>
                    <a:pt x="201" y="94"/>
                    <a:pt x="200" y="94"/>
                    <a:pt x="199" y="95"/>
                  </a:cubicBezTo>
                  <a:cubicBezTo>
                    <a:pt x="198" y="95"/>
                    <a:pt x="197" y="96"/>
                    <a:pt x="196" y="96"/>
                  </a:cubicBezTo>
                  <a:cubicBezTo>
                    <a:pt x="195" y="96"/>
                    <a:pt x="194" y="97"/>
                    <a:pt x="192" y="97"/>
                  </a:cubicBezTo>
                  <a:cubicBezTo>
                    <a:pt x="192" y="86"/>
                    <a:pt x="192" y="86"/>
                    <a:pt x="192" y="86"/>
                  </a:cubicBezTo>
                  <a:cubicBezTo>
                    <a:pt x="196" y="85"/>
                    <a:pt x="199" y="84"/>
                    <a:pt x="202" y="82"/>
                  </a:cubicBezTo>
                  <a:cubicBezTo>
                    <a:pt x="205" y="81"/>
                    <a:pt x="208" y="79"/>
                    <a:pt x="210" y="77"/>
                  </a:cubicBezTo>
                  <a:lnTo>
                    <a:pt x="218" y="77"/>
                  </a:lnTo>
                  <a:close/>
                  <a:moveTo>
                    <a:pt x="256" y="138"/>
                  </a:moveTo>
                  <a:cubicBezTo>
                    <a:pt x="242" y="138"/>
                    <a:pt x="235" y="128"/>
                    <a:pt x="235" y="109"/>
                  </a:cubicBezTo>
                  <a:cubicBezTo>
                    <a:pt x="235" y="98"/>
                    <a:pt x="237" y="91"/>
                    <a:pt x="240" y="85"/>
                  </a:cubicBezTo>
                  <a:cubicBezTo>
                    <a:pt x="244" y="80"/>
                    <a:pt x="250" y="77"/>
                    <a:pt x="257" y="77"/>
                  </a:cubicBezTo>
                  <a:cubicBezTo>
                    <a:pt x="270" y="77"/>
                    <a:pt x="277" y="87"/>
                    <a:pt x="277" y="107"/>
                  </a:cubicBezTo>
                  <a:cubicBezTo>
                    <a:pt x="277" y="117"/>
                    <a:pt x="275" y="125"/>
                    <a:pt x="272" y="130"/>
                  </a:cubicBezTo>
                  <a:cubicBezTo>
                    <a:pt x="268" y="135"/>
                    <a:pt x="263" y="138"/>
                    <a:pt x="256" y="138"/>
                  </a:cubicBezTo>
                  <a:close/>
                  <a:moveTo>
                    <a:pt x="256" y="87"/>
                  </a:moveTo>
                  <a:cubicBezTo>
                    <a:pt x="251" y="87"/>
                    <a:pt x="248" y="94"/>
                    <a:pt x="248" y="108"/>
                  </a:cubicBezTo>
                  <a:cubicBezTo>
                    <a:pt x="248" y="121"/>
                    <a:pt x="251" y="128"/>
                    <a:pt x="256" y="128"/>
                  </a:cubicBezTo>
                  <a:cubicBezTo>
                    <a:pt x="261" y="128"/>
                    <a:pt x="264" y="121"/>
                    <a:pt x="264" y="108"/>
                  </a:cubicBezTo>
                  <a:cubicBezTo>
                    <a:pt x="264" y="94"/>
                    <a:pt x="262" y="87"/>
                    <a:pt x="256" y="87"/>
                  </a:cubicBezTo>
                  <a:close/>
                  <a:moveTo>
                    <a:pt x="21" y="215"/>
                  </a:moveTo>
                  <a:cubicBezTo>
                    <a:pt x="7" y="215"/>
                    <a:pt x="0" y="205"/>
                    <a:pt x="0" y="185"/>
                  </a:cubicBezTo>
                  <a:cubicBezTo>
                    <a:pt x="0" y="175"/>
                    <a:pt x="2" y="167"/>
                    <a:pt x="6" y="162"/>
                  </a:cubicBezTo>
                  <a:cubicBezTo>
                    <a:pt x="9" y="157"/>
                    <a:pt x="15" y="154"/>
                    <a:pt x="22" y="154"/>
                  </a:cubicBezTo>
                  <a:cubicBezTo>
                    <a:pt x="36" y="154"/>
                    <a:pt x="43" y="164"/>
                    <a:pt x="43" y="184"/>
                  </a:cubicBezTo>
                  <a:cubicBezTo>
                    <a:pt x="43" y="194"/>
                    <a:pt x="41" y="201"/>
                    <a:pt x="37" y="207"/>
                  </a:cubicBezTo>
                  <a:cubicBezTo>
                    <a:pt x="33" y="212"/>
                    <a:pt x="28" y="215"/>
                    <a:pt x="21" y="215"/>
                  </a:cubicBezTo>
                  <a:close/>
                  <a:moveTo>
                    <a:pt x="22" y="164"/>
                  </a:moveTo>
                  <a:cubicBezTo>
                    <a:pt x="16" y="164"/>
                    <a:pt x="13" y="171"/>
                    <a:pt x="13" y="185"/>
                  </a:cubicBezTo>
                  <a:cubicBezTo>
                    <a:pt x="13" y="198"/>
                    <a:pt x="16" y="205"/>
                    <a:pt x="21" y="205"/>
                  </a:cubicBezTo>
                  <a:cubicBezTo>
                    <a:pt x="27" y="205"/>
                    <a:pt x="29" y="198"/>
                    <a:pt x="29" y="184"/>
                  </a:cubicBezTo>
                  <a:cubicBezTo>
                    <a:pt x="29" y="171"/>
                    <a:pt x="27" y="164"/>
                    <a:pt x="22" y="164"/>
                  </a:cubicBezTo>
                  <a:close/>
                  <a:moveTo>
                    <a:pt x="79" y="154"/>
                  </a:moveTo>
                  <a:cubicBezTo>
                    <a:pt x="79" y="214"/>
                    <a:pt x="79" y="214"/>
                    <a:pt x="79" y="214"/>
                  </a:cubicBezTo>
                  <a:cubicBezTo>
                    <a:pt x="66" y="214"/>
                    <a:pt x="66" y="214"/>
                    <a:pt x="66" y="214"/>
                  </a:cubicBezTo>
                  <a:cubicBezTo>
                    <a:pt x="66" y="168"/>
                    <a:pt x="66" y="168"/>
                    <a:pt x="66" y="168"/>
                  </a:cubicBezTo>
                  <a:cubicBezTo>
                    <a:pt x="66" y="169"/>
                    <a:pt x="65" y="170"/>
                    <a:pt x="64" y="170"/>
                  </a:cubicBezTo>
                  <a:cubicBezTo>
                    <a:pt x="63" y="171"/>
                    <a:pt x="62" y="171"/>
                    <a:pt x="61" y="172"/>
                  </a:cubicBezTo>
                  <a:cubicBezTo>
                    <a:pt x="60" y="172"/>
                    <a:pt x="59" y="172"/>
                    <a:pt x="57" y="173"/>
                  </a:cubicBezTo>
                  <a:cubicBezTo>
                    <a:pt x="56" y="173"/>
                    <a:pt x="55" y="173"/>
                    <a:pt x="54" y="173"/>
                  </a:cubicBezTo>
                  <a:cubicBezTo>
                    <a:pt x="54" y="163"/>
                    <a:pt x="54" y="163"/>
                    <a:pt x="54" y="163"/>
                  </a:cubicBezTo>
                  <a:cubicBezTo>
                    <a:pt x="57" y="162"/>
                    <a:pt x="61" y="160"/>
                    <a:pt x="64" y="159"/>
                  </a:cubicBezTo>
                  <a:cubicBezTo>
                    <a:pt x="66" y="157"/>
                    <a:pt x="69" y="156"/>
                    <a:pt x="72" y="154"/>
                  </a:cubicBezTo>
                  <a:lnTo>
                    <a:pt x="79" y="154"/>
                  </a:lnTo>
                  <a:close/>
                  <a:moveTo>
                    <a:pt x="117" y="215"/>
                  </a:moveTo>
                  <a:cubicBezTo>
                    <a:pt x="103" y="215"/>
                    <a:pt x="96" y="205"/>
                    <a:pt x="96" y="185"/>
                  </a:cubicBezTo>
                  <a:cubicBezTo>
                    <a:pt x="96" y="175"/>
                    <a:pt x="98" y="167"/>
                    <a:pt x="102" y="162"/>
                  </a:cubicBezTo>
                  <a:cubicBezTo>
                    <a:pt x="106" y="157"/>
                    <a:pt x="111" y="154"/>
                    <a:pt x="118" y="154"/>
                  </a:cubicBezTo>
                  <a:cubicBezTo>
                    <a:pt x="132" y="154"/>
                    <a:pt x="139" y="164"/>
                    <a:pt x="139" y="184"/>
                  </a:cubicBezTo>
                  <a:cubicBezTo>
                    <a:pt x="139" y="194"/>
                    <a:pt x="137" y="201"/>
                    <a:pt x="133" y="207"/>
                  </a:cubicBezTo>
                  <a:cubicBezTo>
                    <a:pt x="130" y="212"/>
                    <a:pt x="124" y="215"/>
                    <a:pt x="117" y="215"/>
                  </a:cubicBezTo>
                  <a:close/>
                  <a:moveTo>
                    <a:pt x="118" y="164"/>
                  </a:moveTo>
                  <a:cubicBezTo>
                    <a:pt x="112" y="164"/>
                    <a:pt x="109" y="171"/>
                    <a:pt x="109" y="185"/>
                  </a:cubicBezTo>
                  <a:cubicBezTo>
                    <a:pt x="109" y="198"/>
                    <a:pt x="112" y="205"/>
                    <a:pt x="118" y="205"/>
                  </a:cubicBezTo>
                  <a:cubicBezTo>
                    <a:pt x="123" y="205"/>
                    <a:pt x="126" y="198"/>
                    <a:pt x="126" y="184"/>
                  </a:cubicBezTo>
                  <a:cubicBezTo>
                    <a:pt x="126" y="171"/>
                    <a:pt x="123" y="164"/>
                    <a:pt x="118" y="164"/>
                  </a:cubicBezTo>
                  <a:close/>
                  <a:moveTo>
                    <a:pt x="176" y="154"/>
                  </a:moveTo>
                  <a:cubicBezTo>
                    <a:pt x="176" y="214"/>
                    <a:pt x="176" y="214"/>
                    <a:pt x="176" y="214"/>
                  </a:cubicBezTo>
                  <a:cubicBezTo>
                    <a:pt x="163" y="214"/>
                    <a:pt x="163" y="214"/>
                    <a:pt x="163" y="214"/>
                  </a:cubicBezTo>
                  <a:cubicBezTo>
                    <a:pt x="163" y="168"/>
                    <a:pt x="163" y="168"/>
                    <a:pt x="163" y="168"/>
                  </a:cubicBezTo>
                  <a:cubicBezTo>
                    <a:pt x="162" y="169"/>
                    <a:pt x="161" y="170"/>
                    <a:pt x="160" y="170"/>
                  </a:cubicBezTo>
                  <a:cubicBezTo>
                    <a:pt x="159" y="171"/>
                    <a:pt x="158" y="171"/>
                    <a:pt x="157" y="172"/>
                  </a:cubicBezTo>
                  <a:cubicBezTo>
                    <a:pt x="156" y="172"/>
                    <a:pt x="155" y="172"/>
                    <a:pt x="154" y="173"/>
                  </a:cubicBezTo>
                  <a:cubicBezTo>
                    <a:pt x="153" y="173"/>
                    <a:pt x="151" y="173"/>
                    <a:pt x="150" y="173"/>
                  </a:cubicBezTo>
                  <a:cubicBezTo>
                    <a:pt x="150" y="163"/>
                    <a:pt x="150" y="163"/>
                    <a:pt x="150" y="163"/>
                  </a:cubicBezTo>
                  <a:cubicBezTo>
                    <a:pt x="154" y="162"/>
                    <a:pt x="157" y="160"/>
                    <a:pt x="160" y="159"/>
                  </a:cubicBezTo>
                  <a:cubicBezTo>
                    <a:pt x="163" y="157"/>
                    <a:pt x="165" y="156"/>
                    <a:pt x="168" y="154"/>
                  </a:cubicBezTo>
                  <a:lnTo>
                    <a:pt x="176" y="154"/>
                  </a:lnTo>
                  <a:close/>
                  <a:moveTo>
                    <a:pt x="214" y="215"/>
                  </a:moveTo>
                  <a:cubicBezTo>
                    <a:pt x="200" y="215"/>
                    <a:pt x="193" y="205"/>
                    <a:pt x="193" y="185"/>
                  </a:cubicBezTo>
                  <a:cubicBezTo>
                    <a:pt x="193" y="175"/>
                    <a:pt x="195" y="167"/>
                    <a:pt x="198" y="162"/>
                  </a:cubicBezTo>
                  <a:cubicBezTo>
                    <a:pt x="202" y="157"/>
                    <a:pt x="208" y="154"/>
                    <a:pt x="215" y="154"/>
                  </a:cubicBezTo>
                  <a:cubicBezTo>
                    <a:pt x="228" y="154"/>
                    <a:pt x="235" y="164"/>
                    <a:pt x="235" y="184"/>
                  </a:cubicBezTo>
                  <a:cubicBezTo>
                    <a:pt x="235" y="194"/>
                    <a:pt x="233" y="201"/>
                    <a:pt x="230" y="207"/>
                  </a:cubicBezTo>
                  <a:cubicBezTo>
                    <a:pt x="226" y="212"/>
                    <a:pt x="221" y="215"/>
                    <a:pt x="214" y="215"/>
                  </a:cubicBezTo>
                  <a:close/>
                  <a:moveTo>
                    <a:pt x="214" y="164"/>
                  </a:moveTo>
                  <a:cubicBezTo>
                    <a:pt x="209" y="164"/>
                    <a:pt x="206" y="171"/>
                    <a:pt x="206" y="185"/>
                  </a:cubicBezTo>
                  <a:cubicBezTo>
                    <a:pt x="206" y="198"/>
                    <a:pt x="209" y="205"/>
                    <a:pt x="214" y="205"/>
                  </a:cubicBezTo>
                  <a:cubicBezTo>
                    <a:pt x="219" y="205"/>
                    <a:pt x="222" y="198"/>
                    <a:pt x="222" y="184"/>
                  </a:cubicBezTo>
                  <a:cubicBezTo>
                    <a:pt x="222" y="171"/>
                    <a:pt x="219" y="164"/>
                    <a:pt x="214" y="164"/>
                  </a:cubicBezTo>
                  <a:close/>
                  <a:moveTo>
                    <a:pt x="272" y="154"/>
                  </a:moveTo>
                  <a:cubicBezTo>
                    <a:pt x="272" y="214"/>
                    <a:pt x="272" y="214"/>
                    <a:pt x="272" y="214"/>
                  </a:cubicBezTo>
                  <a:cubicBezTo>
                    <a:pt x="259" y="214"/>
                    <a:pt x="259" y="214"/>
                    <a:pt x="259" y="214"/>
                  </a:cubicBezTo>
                  <a:cubicBezTo>
                    <a:pt x="259" y="168"/>
                    <a:pt x="259" y="168"/>
                    <a:pt x="259" y="168"/>
                  </a:cubicBezTo>
                  <a:cubicBezTo>
                    <a:pt x="258" y="169"/>
                    <a:pt x="258" y="170"/>
                    <a:pt x="257" y="170"/>
                  </a:cubicBezTo>
                  <a:cubicBezTo>
                    <a:pt x="256" y="171"/>
                    <a:pt x="255" y="171"/>
                    <a:pt x="254" y="172"/>
                  </a:cubicBezTo>
                  <a:cubicBezTo>
                    <a:pt x="252" y="172"/>
                    <a:pt x="251" y="172"/>
                    <a:pt x="250" y="173"/>
                  </a:cubicBezTo>
                  <a:cubicBezTo>
                    <a:pt x="249" y="173"/>
                    <a:pt x="248" y="173"/>
                    <a:pt x="247" y="173"/>
                  </a:cubicBezTo>
                  <a:cubicBezTo>
                    <a:pt x="247" y="163"/>
                    <a:pt x="247" y="163"/>
                    <a:pt x="247" y="163"/>
                  </a:cubicBezTo>
                  <a:cubicBezTo>
                    <a:pt x="250" y="162"/>
                    <a:pt x="253" y="160"/>
                    <a:pt x="256" y="159"/>
                  </a:cubicBezTo>
                  <a:cubicBezTo>
                    <a:pt x="259" y="157"/>
                    <a:pt x="262" y="156"/>
                    <a:pt x="264" y="154"/>
                  </a:cubicBezTo>
                  <a:lnTo>
                    <a:pt x="272" y="154"/>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62" name="Freeform 61"/>
            <p:cNvSpPr>
              <a:spLocks noChangeAspect="1"/>
            </p:cNvSpPr>
            <p:nvPr/>
          </p:nvSpPr>
          <p:spPr bwMode="black">
            <a:xfrm>
              <a:off x="810855" y="2476645"/>
              <a:ext cx="373866" cy="260946"/>
            </a:xfrm>
            <a:custGeom>
              <a:avLst/>
              <a:gdLst>
                <a:gd name="connsiteX0" fmla="*/ 541228 w 979570"/>
                <a:gd name="connsiteY0" fmla="*/ 531962 h 887227"/>
                <a:gd name="connsiteX1" fmla="*/ 547155 w 979570"/>
                <a:gd name="connsiteY1" fmla="*/ 538150 h 887227"/>
                <a:gd name="connsiteX2" fmla="*/ 760399 w 979570"/>
                <a:gd name="connsiteY2" fmla="*/ 601984 h 887227"/>
                <a:gd name="connsiteX3" fmla="*/ 973643 w 979570"/>
                <a:gd name="connsiteY3" fmla="*/ 538150 h 887227"/>
                <a:gd name="connsiteX4" fmla="*/ 979570 w 979570"/>
                <a:gd name="connsiteY4" fmla="*/ 531962 h 887227"/>
                <a:gd name="connsiteX5" fmla="*/ 979570 w 979570"/>
                <a:gd name="connsiteY5" fmla="*/ 776991 h 887227"/>
                <a:gd name="connsiteX6" fmla="*/ 979570 w 979570"/>
                <a:gd name="connsiteY6" fmla="*/ 776993 h 887227"/>
                <a:gd name="connsiteX7" fmla="*/ 760399 w 979570"/>
                <a:gd name="connsiteY7" fmla="*/ 887227 h 887227"/>
                <a:gd name="connsiteX8" fmla="*/ 541228 w 979570"/>
                <a:gd name="connsiteY8" fmla="*/ 776993 h 887227"/>
                <a:gd name="connsiteX9" fmla="*/ 541228 w 979570"/>
                <a:gd name="connsiteY9" fmla="*/ 776993 h 887227"/>
                <a:gd name="connsiteX10" fmla="*/ 0 w 979570"/>
                <a:gd name="connsiteY10" fmla="*/ 531962 h 887227"/>
                <a:gd name="connsiteX11" fmla="*/ 5927 w 979570"/>
                <a:gd name="connsiteY11" fmla="*/ 538150 h 887227"/>
                <a:gd name="connsiteX12" fmla="*/ 219171 w 979570"/>
                <a:gd name="connsiteY12" fmla="*/ 601984 h 887227"/>
                <a:gd name="connsiteX13" fmla="*/ 432415 w 979570"/>
                <a:gd name="connsiteY13" fmla="*/ 538150 h 887227"/>
                <a:gd name="connsiteX14" fmla="*/ 438342 w 979570"/>
                <a:gd name="connsiteY14" fmla="*/ 531962 h 887227"/>
                <a:gd name="connsiteX15" fmla="*/ 438342 w 979570"/>
                <a:gd name="connsiteY15" fmla="*/ 776991 h 887227"/>
                <a:gd name="connsiteX16" fmla="*/ 438342 w 979570"/>
                <a:gd name="connsiteY16" fmla="*/ 776993 h 887227"/>
                <a:gd name="connsiteX17" fmla="*/ 219171 w 979570"/>
                <a:gd name="connsiteY17" fmla="*/ 887227 h 887227"/>
                <a:gd name="connsiteX18" fmla="*/ 0 w 979570"/>
                <a:gd name="connsiteY18" fmla="*/ 776993 h 887227"/>
                <a:gd name="connsiteX19" fmla="*/ 0 w 979570"/>
                <a:gd name="connsiteY19" fmla="*/ 776993 h 887227"/>
                <a:gd name="connsiteX20" fmla="*/ 760036 w 979570"/>
                <a:gd name="connsiteY20" fmla="*/ 322411 h 887227"/>
                <a:gd name="connsiteX21" fmla="*/ 978844 w 979570"/>
                <a:gd name="connsiteY21" fmla="*/ 444386 h 887227"/>
                <a:gd name="connsiteX22" fmla="*/ 760036 w 979570"/>
                <a:gd name="connsiteY22" fmla="*/ 566361 h 887227"/>
                <a:gd name="connsiteX23" fmla="*/ 541228 w 979570"/>
                <a:gd name="connsiteY23" fmla="*/ 444386 h 887227"/>
                <a:gd name="connsiteX24" fmla="*/ 760036 w 979570"/>
                <a:gd name="connsiteY24" fmla="*/ 322411 h 887227"/>
                <a:gd name="connsiteX25" fmla="*/ 0 w 979570"/>
                <a:gd name="connsiteY25" fmla="*/ 209552 h 887227"/>
                <a:gd name="connsiteX26" fmla="*/ 5927 w 979570"/>
                <a:gd name="connsiteY26" fmla="*/ 215739 h 887227"/>
                <a:gd name="connsiteX27" fmla="*/ 219171 w 979570"/>
                <a:gd name="connsiteY27" fmla="*/ 279574 h 887227"/>
                <a:gd name="connsiteX28" fmla="*/ 432415 w 979570"/>
                <a:gd name="connsiteY28" fmla="*/ 215739 h 887227"/>
                <a:gd name="connsiteX29" fmla="*/ 438342 w 979570"/>
                <a:gd name="connsiteY29" fmla="*/ 209552 h 887227"/>
                <a:gd name="connsiteX30" fmla="*/ 438342 w 979570"/>
                <a:gd name="connsiteY30" fmla="*/ 454580 h 887227"/>
                <a:gd name="connsiteX31" fmla="*/ 438342 w 979570"/>
                <a:gd name="connsiteY31" fmla="*/ 454583 h 887227"/>
                <a:gd name="connsiteX32" fmla="*/ 219171 w 979570"/>
                <a:gd name="connsiteY32" fmla="*/ 564817 h 887227"/>
                <a:gd name="connsiteX33" fmla="*/ 0 w 979570"/>
                <a:gd name="connsiteY33" fmla="*/ 454583 h 887227"/>
                <a:gd name="connsiteX34" fmla="*/ 0 w 979570"/>
                <a:gd name="connsiteY34" fmla="*/ 454582 h 887227"/>
                <a:gd name="connsiteX35" fmla="*/ 218808 w 979570"/>
                <a:gd name="connsiteY35" fmla="*/ 0 h 887227"/>
                <a:gd name="connsiteX36" fmla="*/ 437616 w 979570"/>
                <a:gd name="connsiteY36" fmla="*/ 121975 h 887227"/>
                <a:gd name="connsiteX37" fmla="*/ 218808 w 979570"/>
                <a:gd name="connsiteY37" fmla="*/ 243950 h 887227"/>
                <a:gd name="connsiteX38" fmla="*/ 0 w 979570"/>
                <a:gd name="connsiteY38" fmla="*/ 121975 h 887227"/>
                <a:gd name="connsiteX39" fmla="*/ 218808 w 979570"/>
                <a:gd name="connsiteY39" fmla="*/ 0 h 8872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979570" h="887227">
                  <a:moveTo>
                    <a:pt x="541228" y="531962"/>
                  </a:moveTo>
                  <a:lnTo>
                    <a:pt x="547155" y="538150"/>
                  </a:lnTo>
                  <a:cubicBezTo>
                    <a:pt x="588222" y="576173"/>
                    <a:pt x="668317" y="601984"/>
                    <a:pt x="760399" y="601984"/>
                  </a:cubicBezTo>
                  <a:cubicBezTo>
                    <a:pt x="852481" y="601984"/>
                    <a:pt x="932576" y="576173"/>
                    <a:pt x="973643" y="538150"/>
                  </a:cubicBezTo>
                  <a:lnTo>
                    <a:pt x="979570" y="531962"/>
                  </a:lnTo>
                  <a:lnTo>
                    <a:pt x="979570" y="776991"/>
                  </a:lnTo>
                  <a:lnTo>
                    <a:pt x="979570" y="776993"/>
                  </a:lnTo>
                  <a:cubicBezTo>
                    <a:pt x="979570" y="837874"/>
                    <a:pt x="881444" y="887227"/>
                    <a:pt x="760399" y="887227"/>
                  </a:cubicBezTo>
                  <a:cubicBezTo>
                    <a:pt x="639354" y="887227"/>
                    <a:pt x="541228" y="837874"/>
                    <a:pt x="541228" y="776993"/>
                  </a:cubicBezTo>
                  <a:lnTo>
                    <a:pt x="541228" y="776993"/>
                  </a:lnTo>
                  <a:close/>
                  <a:moveTo>
                    <a:pt x="0" y="531962"/>
                  </a:moveTo>
                  <a:lnTo>
                    <a:pt x="5927" y="538150"/>
                  </a:lnTo>
                  <a:cubicBezTo>
                    <a:pt x="46994" y="576173"/>
                    <a:pt x="127089" y="601984"/>
                    <a:pt x="219171" y="601984"/>
                  </a:cubicBezTo>
                  <a:cubicBezTo>
                    <a:pt x="311253" y="601984"/>
                    <a:pt x="391348" y="576173"/>
                    <a:pt x="432415" y="538150"/>
                  </a:cubicBezTo>
                  <a:lnTo>
                    <a:pt x="438342" y="531962"/>
                  </a:lnTo>
                  <a:lnTo>
                    <a:pt x="438342" y="776991"/>
                  </a:lnTo>
                  <a:lnTo>
                    <a:pt x="438342" y="776993"/>
                  </a:lnTo>
                  <a:cubicBezTo>
                    <a:pt x="438342" y="837874"/>
                    <a:pt x="340216" y="887227"/>
                    <a:pt x="219171" y="887227"/>
                  </a:cubicBezTo>
                  <a:cubicBezTo>
                    <a:pt x="98126" y="887227"/>
                    <a:pt x="0" y="837874"/>
                    <a:pt x="0" y="776993"/>
                  </a:cubicBezTo>
                  <a:lnTo>
                    <a:pt x="0" y="776993"/>
                  </a:lnTo>
                  <a:close/>
                  <a:moveTo>
                    <a:pt x="760036" y="322411"/>
                  </a:moveTo>
                  <a:cubicBezTo>
                    <a:pt x="880880" y="322411"/>
                    <a:pt x="978844" y="377021"/>
                    <a:pt x="978844" y="444386"/>
                  </a:cubicBezTo>
                  <a:cubicBezTo>
                    <a:pt x="978844" y="511751"/>
                    <a:pt x="880880" y="566361"/>
                    <a:pt x="760036" y="566361"/>
                  </a:cubicBezTo>
                  <a:cubicBezTo>
                    <a:pt x="639192" y="566361"/>
                    <a:pt x="541228" y="511751"/>
                    <a:pt x="541228" y="444386"/>
                  </a:cubicBezTo>
                  <a:cubicBezTo>
                    <a:pt x="541228" y="377021"/>
                    <a:pt x="639192" y="322411"/>
                    <a:pt x="760036" y="322411"/>
                  </a:cubicBezTo>
                  <a:close/>
                  <a:moveTo>
                    <a:pt x="0" y="209552"/>
                  </a:moveTo>
                  <a:lnTo>
                    <a:pt x="5927" y="215739"/>
                  </a:lnTo>
                  <a:cubicBezTo>
                    <a:pt x="46994" y="253762"/>
                    <a:pt x="127089" y="279574"/>
                    <a:pt x="219171" y="279574"/>
                  </a:cubicBezTo>
                  <a:cubicBezTo>
                    <a:pt x="311253" y="279574"/>
                    <a:pt x="391348" y="253762"/>
                    <a:pt x="432415" y="215739"/>
                  </a:cubicBezTo>
                  <a:lnTo>
                    <a:pt x="438342" y="209552"/>
                  </a:lnTo>
                  <a:lnTo>
                    <a:pt x="438342" y="454580"/>
                  </a:lnTo>
                  <a:lnTo>
                    <a:pt x="438342" y="454583"/>
                  </a:lnTo>
                  <a:cubicBezTo>
                    <a:pt x="438342" y="515463"/>
                    <a:pt x="340216" y="564817"/>
                    <a:pt x="219171" y="564817"/>
                  </a:cubicBezTo>
                  <a:cubicBezTo>
                    <a:pt x="98126" y="564817"/>
                    <a:pt x="0" y="515463"/>
                    <a:pt x="0" y="454583"/>
                  </a:cubicBezTo>
                  <a:lnTo>
                    <a:pt x="0" y="454582"/>
                  </a:lnTo>
                  <a:close/>
                  <a:moveTo>
                    <a:pt x="218808" y="0"/>
                  </a:moveTo>
                  <a:cubicBezTo>
                    <a:pt x="339652" y="0"/>
                    <a:pt x="437616" y="54610"/>
                    <a:pt x="437616" y="121975"/>
                  </a:cubicBezTo>
                  <a:cubicBezTo>
                    <a:pt x="437616" y="189340"/>
                    <a:pt x="339652" y="243950"/>
                    <a:pt x="218808" y="243950"/>
                  </a:cubicBezTo>
                  <a:cubicBezTo>
                    <a:pt x="97964" y="243950"/>
                    <a:pt x="0" y="189340"/>
                    <a:pt x="0" y="121975"/>
                  </a:cubicBezTo>
                  <a:cubicBezTo>
                    <a:pt x="0" y="54610"/>
                    <a:pt x="97964" y="0"/>
                    <a:pt x="218808"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8" tIns="109719" rIns="137148" bIns="109719" numCol="1" spcCol="0" rtlCol="0" fromWordArt="0" anchor="t" anchorCtr="0" forceAA="0" compatLnSpc="1">
              <a:prstTxWarp prst="textNoShape">
                <a:avLst/>
              </a:prstTxWarp>
              <a:noAutofit/>
            </a:bodyPr>
            <a:lstStyle/>
            <a:p>
              <a:pPr algn="ctr" defTabSz="699261" fontAlgn="base">
                <a:lnSpc>
                  <a:spcPct val="90000"/>
                </a:lnSpc>
                <a:spcBef>
                  <a:spcPct val="0"/>
                </a:spcBef>
                <a:spcAft>
                  <a:spcPct val="0"/>
                </a:spcAft>
              </a:pPr>
              <a:endParaRPr lang="en-US">
                <a:gradFill>
                  <a:gsLst>
                    <a:gs pos="0">
                      <a:srgbClr val="FFFFFF"/>
                    </a:gs>
                    <a:gs pos="100000">
                      <a:srgbClr val="FFFFFF"/>
                    </a:gs>
                  </a:gsLst>
                  <a:lin ang="5400000" scaled="0"/>
                </a:gradFill>
                <a:ea typeface="Segoe UI" pitchFamily="34" charset="0"/>
                <a:cs typeface="Segoe UI" pitchFamily="34" charset="0"/>
              </a:endParaRPr>
            </a:p>
          </p:txBody>
        </p:sp>
      </p:grpSp>
      <p:grpSp>
        <p:nvGrpSpPr>
          <p:cNvPr id="63" name="Group 62"/>
          <p:cNvGrpSpPr>
            <a:grpSpLocks noChangeAspect="1"/>
          </p:cNvGrpSpPr>
          <p:nvPr/>
        </p:nvGrpSpPr>
        <p:grpSpPr>
          <a:xfrm>
            <a:off x="197042" y="2842214"/>
            <a:ext cx="457200" cy="457200"/>
            <a:chOff x="719415" y="3138080"/>
            <a:chExt cx="640080" cy="640080"/>
          </a:xfrm>
        </p:grpSpPr>
        <p:pic>
          <p:nvPicPr>
            <p:cNvPr id="64" name="Picture 6" descr="\\MAGNUM\Projects\Microsoft\Cloud Power FY12\Design\ICONS_PNG\Cloud.png"/>
            <p:cNvPicPr>
              <a:picLocks noChangeAspect="1" noChangeArrowheads="1"/>
            </p:cNvPicPr>
            <p:nvPr/>
          </p:nvPicPr>
          <p:blipFill>
            <a:blip r:embed="rId3" cstate="print">
              <a:biLevel thresh="75000"/>
            </a:blip>
            <a:srcRect/>
            <a:stretch>
              <a:fillRect/>
            </a:stretch>
          </p:blipFill>
          <p:spPr bwMode="auto">
            <a:xfrm>
              <a:off x="719415" y="3138080"/>
              <a:ext cx="640080" cy="640080"/>
            </a:xfrm>
            <a:prstGeom prst="rect">
              <a:avLst/>
            </a:prstGeom>
            <a:noFill/>
          </p:spPr>
        </p:pic>
        <p:pic>
          <p:nvPicPr>
            <p:cNvPr id="68" name="Picture 67"/>
            <p:cNvPicPr>
              <a:picLocks noChangeAspect="1"/>
            </p:cNvPicPr>
            <p:nvPr/>
          </p:nvPicPr>
          <p:blipFill>
            <a:blip r:embed="rId4"/>
            <a:stretch>
              <a:fillRect/>
            </a:stretch>
          </p:blipFill>
          <p:spPr>
            <a:xfrm flipH="1">
              <a:off x="975955" y="3370303"/>
              <a:ext cx="127000" cy="175846"/>
            </a:xfrm>
            <a:prstGeom prst="rect">
              <a:avLst/>
            </a:prstGeom>
          </p:spPr>
        </p:pic>
      </p:grpSp>
      <p:sp>
        <p:nvSpPr>
          <p:cNvPr id="69" name="Freeform 122"/>
          <p:cNvSpPr>
            <a:spLocks noChangeAspect="1"/>
          </p:cNvSpPr>
          <p:nvPr/>
        </p:nvSpPr>
        <p:spPr bwMode="black">
          <a:xfrm>
            <a:off x="266989" y="4843626"/>
            <a:ext cx="317305" cy="320040"/>
          </a:xfrm>
          <a:custGeom>
            <a:avLst/>
            <a:gdLst>
              <a:gd name="T0" fmla="*/ 61 w 70"/>
              <a:gd name="T1" fmla="*/ 11 h 71"/>
              <a:gd name="T2" fmla="*/ 60 w 70"/>
              <a:gd name="T3" fmla="*/ 11 h 71"/>
              <a:gd name="T4" fmla="*/ 53 w 70"/>
              <a:gd name="T5" fmla="*/ 18 h 71"/>
              <a:gd name="T6" fmla="*/ 53 w 70"/>
              <a:gd name="T7" fmla="*/ 19 h 71"/>
              <a:gd name="T8" fmla="*/ 53 w 70"/>
              <a:gd name="T9" fmla="*/ 19 h 71"/>
              <a:gd name="T10" fmla="*/ 60 w 70"/>
              <a:gd name="T11" fmla="*/ 35 h 71"/>
              <a:gd name="T12" fmla="*/ 35 w 70"/>
              <a:gd name="T13" fmla="*/ 60 h 71"/>
              <a:gd name="T14" fmla="*/ 10 w 70"/>
              <a:gd name="T15" fmla="*/ 36 h 71"/>
              <a:gd name="T16" fmla="*/ 16 w 70"/>
              <a:gd name="T17" fmla="*/ 21 h 71"/>
              <a:gd name="T18" fmla="*/ 18 w 70"/>
              <a:gd name="T19" fmla="*/ 18 h 71"/>
              <a:gd name="T20" fmla="*/ 25 w 70"/>
              <a:gd name="T21" fmla="*/ 26 h 71"/>
              <a:gd name="T22" fmla="*/ 30 w 70"/>
              <a:gd name="T23" fmla="*/ 0 h 71"/>
              <a:gd name="T24" fmla="*/ 4 w 70"/>
              <a:gd name="T25" fmla="*/ 2 h 71"/>
              <a:gd name="T26" fmla="*/ 11 w 70"/>
              <a:gd name="T27" fmla="*/ 10 h 71"/>
              <a:gd name="T28" fmla="*/ 9 w 70"/>
              <a:gd name="T29" fmla="*/ 12 h 71"/>
              <a:gd name="T30" fmla="*/ 0 w 70"/>
              <a:gd name="T31" fmla="*/ 36 h 71"/>
              <a:gd name="T32" fmla="*/ 35 w 70"/>
              <a:gd name="T33" fmla="*/ 71 h 71"/>
              <a:gd name="T34" fmla="*/ 35 w 70"/>
              <a:gd name="T35" fmla="*/ 71 h 71"/>
              <a:gd name="T36" fmla="*/ 70 w 70"/>
              <a:gd name="T37" fmla="*/ 35 h 71"/>
              <a:gd name="T38" fmla="*/ 61 w 70"/>
              <a:gd name="T39" fmla="*/ 1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0" h="71">
                <a:moveTo>
                  <a:pt x="61" y="11"/>
                </a:moveTo>
                <a:cubicBezTo>
                  <a:pt x="60" y="11"/>
                  <a:pt x="60" y="11"/>
                  <a:pt x="60" y="11"/>
                </a:cubicBezTo>
                <a:cubicBezTo>
                  <a:pt x="53" y="18"/>
                  <a:pt x="53" y="18"/>
                  <a:pt x="53" y="18"/>
                </a:cubicBezTo>
                <a:cubicBezTo>
                  <a:pt x="53" y="19"/>
                  <a:pt x="53" y="19"/>
                  <a:pt x="53" y="19"/>
                </a:cubicBezTo>
                <a:cubicBezTo>
                  <a:pt x="53" y="19"/>
                  <a:pt x="53" y="19"/>
                  <a:pt x="53" y="19"/>
                </a:cubicBezTo>
                <a:cubicBezTo>
                  <a:pt x="57" y="23"/>
                  <a:pt x="60" y="29"/>
                  <a:pt x="60" y="35"/>
                </a:cubicBezTo>
                <a:cubicBezTo>
                  <a:pt x="60" y="49"/>
                  <a:pt x="49" y="60"/>
                  <a:pt x="35" y="60"/>
                </a:cubicBezTo>
                <a:cubicBezTo>
                  <a:pt x="22" y="60"/>
                  <a:pt x="11" y="49"/>
                  <a:pt x="10" y="36"/>
                </a:cubicBezTo>
                <a:cubicBezTo>
                  <a:pt x="10" y="30"/>
                  <a:pt x="12" y="25"/>
                  <a:pt x="16" y="21"/>
                </a:cubicBezTo>
                <a:cubicBezTo>
                  <a:pt x="18" y="18"/>
                  <a:pt x="18" y="18"/>
                  <a:pt x="18" y="18"/>
                </a:cubicBezTo>
                <a:cubicBezTo>
                  <a:pt x="25" y="26"/>
                  <a:pt x="25" y="26"/>
                  <a:pt x="25" y="26"/>
                </a:cubicBezTo>
                <a:cubicBezTo>
                  <a:pt x="30" y="0"/>
                  <a:pt x="30" y="0"/>
                  <a:pt x="30" y="0"/>
                </a:cubicBezTo>
                <a:cubicBezTo>
                  <a:pt x="4" y="2"/>
                  <a:pt x="4" y="2"/>
                  <a:pt x="4" y="2"/>
                </a:cubicBezTo>
                <a:cubicBezTo>
                  <a:pt x="11" y="10"/>
                  <a:pt x="11" y="10"/>
                  <a:pt x="11" y="10"/>
                </a:cubicBezTo>
                <a:cubicBezTo>
                  <a:pt x="9" y="12"/>
                  <a:pt x="9" y="12"/>
                  <a:pt x="9" y="12"/>
                </a:cubicBezTo>
                <a:cubicBezTo>
                  <a:pt x="3" y="19"/>
                  <a:pt x="0" y="27"/>
                  <a:pt x="0" y="36"/>
                </a:cubicBezTo>
                <a:cubicBezTo>
                  <a:pt x="0" y="55"/>
                  <a:pt x="16" y="71"/>
                  <a:pt x="35" y="71"/>
                </a:cubicBezTo>
                <a:cubicBezTo>
                  <a:pt x="35" y="71"/>
                  <a:pt x="35" y="71"/>
                  <a:pt x="35" y="71"/>
                </a:cubicBezTo>
                <a:cubicBezTo>
                  <a:pt x="55" y="71"/>
                  <a:pt x="70" y="55"/>
                  <a:pt x="70" y="35"/>
                </a:cubicBezTo>
                <a:cubicBezTo>
                  <a:pt x="70" y="26"/>
                  <a:pt x="67" y="18"/>
                  <a:pt x="61" y="11"/>
                </a:cubicBezTo>
              </a:path>
            </a:pathLst>
          </a:custGeom>
          <a:solidFill>
            <a:schemeClr val="tx1"/>
          </a:solidFill>
          <a:ln>
            <a:noFill/>
          </a:ln>
        </p:spPr>
        <p:txBody>
          <a:bodyPr vert="horz" wrap="square" lIns="69953" tIns="34976" rIns="69953" bIns="34976" numCol="1" anchor="t" anchorCtr="0" compatLnSpc="1">
            <a:prstTxWarp prst="textNoShape">
              <a:avLst/>
            </a:prstTxWarp>
          </a:bodyPr>
          <a:lstStyle/>
          <a:p>
            <a:endParaRPr lang="en-US" sz="1350">
              <a:solidFill>
                <a:srgbClr val="000000"/>
              </a:solidFill>
            </a:endParaRPr>
          </a:p>
        </p:txBody>
      </p:sp>
      <p:sp>
        <p:nvSpPr>
          <p:cNvPr id="70" name="Freeform 21"/>
          <p:cNvSpPr>
            <a:spLocks noChangeAspect="1" noEditPoints="1"/>
          </p:cNvSpPr>
          <p:nvPr/>
        </p:nvSpPr>
        <p:spPr bwMode="black">
          <a:xfrm>
            <a:off x="242762" y="3875709"/>
            <a:ext cx="365760" cy="318790"/>
          </a:xfrm>
          <a:custGeom>
            <a:avLst/>
            <a:gdLst>
              <a:gd name="T0" fmla="*/ 1220 w 1220"/>
              <a:gd name="T1" fmla="*/ 204 h 1063"/>
              <a:gd name="T2" fmla="*/ 1096 w 1220"/>
              <a:gd name="T3" fmla="*/ 79 h 1063"/>
              <a:gd name="T4" fmla="*/ 978 w 1220"/>
              <a:gd name="T5" fmla="*/ 164 h 1063"/>
              <a:gd name="T6" fmla="*/ 589 w 1220"/>
              <a:gd name="T7" fmla="*/ 115 h 1063"/>
              <a:gd name="T8" fmla="*/ 465 w 1220"/>
              <a:gd name="T9" fmla="*/ 0 h 1063"/>
              <a:gd name="T10" fmla="*/ 340 w 1220"/>
              <a:gd name="T11" fmla="*/ 124 h 1063"/>
              <a:gd name="T12" fmla="*/ 370 w 1220"/>
              <a:gd name="T13" fmla="*/ 205 h 1063"/>
              <a:gd name="T14" fmla="*/ 180 w 1220"/>
              <a:gd name="T15" fmla="*/ 453 h 1063"/>
              <a:gd name="T16" fmla="*/ 125 w 1220"/>
              <a:gd name="T17" fmla="*/ 440 h 1063"/>
              <a:gd name="T18" fmla="*/ 0 w 1220"/>
              <a:gd name="T19" fmla="*/ 564 h 1063"/>
              <a:gd name="T20" fmla="*/ 125 w 1220"/>
              <a:gd name="T21" fmla="*/ 689 h 1063"/>
              <a:gd name="T22" fmla="*/ 197 w 1220"/>
              <a:gd name="T23" fmla="*/ 666 h 1063"/>
              <a:gd name="T24" fmla="*/ 416 w 1220"/>
              <a:gd name="T25" fmla="*/ 872 h 1063"/>
              <a:gd name="T26" fmla="*/ 397 w 1220"/>
              <a:gd name="T27" fmla="*/ 938 h 1063"/>
              <a:gd name="T28" fmla="*/ 521 w 1220"/>
              <a:gd name="T29" fmla="*/ 1063 h 1063"/>
              <a:gd name="T30" fmla="*/ 646 w 1220"/>
              <a:gd name="T31" fmla="*/ 938 h 1063"/>
              <a:gd name="T32" fmla="*/ 642 w 1220"/>
              <a:gd name="T33" fmla="*/ 908 h 1063"/>
              <a:gd name="T34" fmla="*/ 948 w 1220"/>
              <a:gd name="T35" fmla="*/ 763 h 1063"/>
              <a:gd name="T36" fmla="*/ 1048 w 1220"/>
              <a:gd name="T37" fmla="*/ 814 h 1063"/>
              <a:gd name="T38" fmla="*/ 1173 w 1220"/>
              <a:gd name="T39" fmla="*/ 689 h 1063"/>
              <a:gd name="T40" fmla="*/ 1084 w 1220"/>
              <a:gd name="T41" fmla="*/ 570 h 1063"/>
              <a:gd name="T42" fmla="*/ 1108 w 1220"/>
              <a:gd name="T43" fmla="*/ 327 h 1063"/>
              <a:gd name="T44" fmla="*/ 1220 w 1220"/>
              <a:gd name="T45" fmla="*/ 204 h 1063"/>
              <a:gd name="T46" fmla="*/ 521 w 1220"/>
              <a:gd name="T47" fmla="*/ 594 h 1063"/>
              <a:gd name="T48" fmla="*/ 493 w 1220"/>
              <a:gd name="T49" fmla="*/ 245 h 1063"/>
              <a:gd name="T50" fmla="*/ 535 w 1220"/>
              <a:gd name="T51" fmla="*/ 226 h 1063"/>
              <a:gd name="T52" fmla="*/ 944 w 1220"/>
              <a:gd name="T53" fmla="*/ 621 h 1063"/>
              <a:gd name="T54" fmla="*/ 930 w 1220"/>
              <a:gd name="T55" fmla="*/ 649 h 1063"/>
              <a:gd name="T56" fmla="*/ 521 w 1220"/>
              <a:gd name="T57" fmla="*/ 594 h 1063"/>
              <a:gd name="T58" fmla="*/ 490 w 1220"/>
              <a:gd name="T59" fmla="*/ 818 h 1063"/>
              <a:gd name="T60" fmla="*/ 449 w 1220"/>
              <a:gd name="T61" fmla="*/ 837 h 1063"/>
              <a:gd name="T62" fmla="*/ 230 w 1220"/>
              <a:gd name="T63" fmla="*/ 631 h 1063"/>
              <a:gd name="T64" fmla="*/ 242 w 1220"/>
              <a:gd name="T65" fmla="*/ 605 h 1063"/>
              <a:gd name="T66" fmla="*/ 476 w 1220"/>
              <a:gd name="T67" fmla="*/ 636 h 1063"/>
              <a:gd name="T68" fmla="*/ 490 w 1220"/>
              <a:gd name="T69" fmla="*/ 818 h 1063"/>
              <a:gd name="T70" fmla="*/ 249 w 1220"/>
              <a:gd name="T71" fmla="*/ 558 h 1063"/>
              <a:gd name="T72" fmla="*/ 218 w 1220"/>
              <a:gd name="T73" fmla="*/ 482 h 1063"/>
              <a:gd name="T74" fmla="*/ 408 w 1220"/>
              <a:gd name="T75" fmla="*/ 235 h 1063"/>
              <a:gd name="T76" fmla="*/ 445 w 1220"/>
              <a:gd name="T77" fmla="*/ 247 h 1063"/>
              <a:gd name="T78" fmla="*/ 472 w 1220"/>
              <a:gd name="T79" fmla="*/ 587 h 1063"/>
              <a:gd name="T80" fmla="*/ 249 w 1220"/>
              <a:gd name="T81" fmla="*/ 558 h 1063"/>
              <a:gd name="T82" fmla="*/ 977 w 1220"/>
              <a:gd name="T83" fmla="*/ 587 h 1063"/>
              <a:gd name="T84" fmla="*/ 569 w 1220"/>
              <a:gd name="T85" fmla="*/ 192 h 1063"/>
              <a:gd name="T86" fmla="*/ 583 w 1220"/>
              <a:gd name="T87" fmla="*/ 163 h 1063"/>
              <a:gd name="T88" fmla="*/ 972 w 1220"/>
              <a:gd name="T89" fmla="*/ 212 h 1063"/>
              <a:gd name="T90" fmla="*/ 1060 w 1220"/>
              <a:gd name="T91" fmla="*/ 323 h 1063"/>
              <a:gd name="T92" fmla="*/ 1036 w 1220"/>
              <a:gd name="T93" fmla="*/ 566 h 1063"/>
              <a:gd name="T94" fmla="*/ 977 w 1220"/>
              <a:gd name="T95" fmla="*/ 587 h 1063"/>
              <a:gd name="T96" fmla="*/ 621 w 1220"/>
              <a:gd name="T97" fmla="*/ 864 h 1063"/>
              <a:gd name="T98" fmla="*/ 538 w 1220"/>
              <a:gd name="T99" fmla="*/ 815 h 1063"/>
              <a:gd name="T100" fmla="*/ 524 w 1220"/>
              <a:gd name="T101" fmla="*/ 643 h 1063"/>
              <a:gd name="T102" fmla="*/ 924 w 1220"/>
              <a:gd name="T103" fmla="*/ 696 h 1063"/>
              <a:gd name="T104" fmla="*/ 927 w 1220"/>
              <a:gd name="T105" fmla="*/ 720 h 1063"/>
              <a:gd name="T106" fmla="*/ 621 w 1220"/>
              <a:gd name="T107" fmla="*/ 864 h 10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220" h="1063">
                <a:moveTo>
                  <a:pt x="1220" y="204"/>
                </a:moveTo>
                <a:cubicBezTo>
                  <a:pt x="1220" y="135"/>
                  <a:pt x="1164" y="79"/>
                  <a:pt x="1096" y="79"/>
                </a:cubicBezTo>
                <a:cubicBezTo>
                  <a:pt x="1041" y="79"/>
                  <a:pt x="994" y="115"/>
                  <a:pt x="978" y="164"/>
                </a:cubicBezTo>
                <a:cubicBezTo>
                  <a:pt x="589" y="115"/>
                  <a:pt x="589" y="115"/>
                  <a:pt x="589" y="115"/>
                </a:cubicBezTo>
                <a:cubicBezTo>
                  <a:pt x="584" y="51"/>
                  <a:pt x="530" y="0"/>
                  <a:pt x="465" y="0"/>
                </a:cubicBezTo>
                <a:cubicBezTo>
                  <a:pt x="396" y="0"/>
                  <a:pt x="340" y="55"/>
                  <a:pt x="340" y="124"/>
                </a:cubicBezTo>
                <a:cubicBezTo>
                  <a:pt x="340" y="155"/>
                  <a:pt x="352" y="183"/>
                  <a:pt x="370" y="205"/>
                </a:cubicBezTo>
                <a:cubicBezTo>
                  <a:pt x="180" y="453"/>
                  <a:pt x="180" y="453"/>
                  <a:pt x="180" y="453"/>
                </a:cubicBezTo>
                <a:cubicBezTo>
                  <a:pt x="163" y="445"/>
                  <a:pt x="145" y="440"/>
                  <a:pt x="125" y="440"/>
                </a:cubicBezTo>
                <a:cubicBezTo>
                  <a:pt x="56" y="440"/>
                  <a:pt x="0" y="496"/>
                  <a:pt x="0" y="564"/>
                </a:cubicBezTo>
                <a:cubicBezTo>
                  <a:pt x="0" y="633"/>
                  <a:pt x="56" y="689"/>
                  <a:pt x="125" y="689"/>
                </a:cubicBezTo>
                <a:cubicBezTo>
                  <a:pt x="152" y="689"/>
                  <a:pt x="177" y="680"/>
                  <a:pt x="197" y="666"/>
                </a:cubicBezTo>
                <a:cubicBezTo>
                  <a:pt x="416" y="872"/>
                  <a:pt x="416" y="872"/>
                  <a:pt x="416" y="872"/>
                </a:cubicBezTo>
                <a:cubicBezTo>
                  <a:pt x="404" y="891"/>
                  <a:pt x="397" y="914"/>
                  <a:pt x="397" y="938"/>
                </a:cubicBezTo>
                <a:cubicBezTo>
                  <a:pt x="397" y="1007"/>
                  <a:pt x="453" y="1063"/>
                  <a:pt x="521" y="1063"/>
                </a:cubicBezTo>
                <a:cubicBezTo>
                  <a:pt x="590" y="1063"/>
                  <a:pt x="646" y="1007"/>
                  <a:pt x="646" y="938"/>
                </a:cubicBezTo>
                <a:cubicBezTo>
                  <a:pt x="646" y="928"/>
                  <a:pt x="644" y="918"/>
                  <a:pt x="642" y="908"/>
                </a:cubicBezTo>
                <a:cubicBezTo>
                  <a:pt x="948" y="763"/>
                  <a:pt x="948" y="763"/>
                  <a:pt x="948" y="763"/>
                </a:cubicBezTo>
                <a:cubicBezTo>
                  <a:pt x="970" y="794"/>
                  <a:pt x="1007" y="814"/>
                  <a:pt x="1048" y="814"/>
                </a:cubicBezTo>
                <a:cubicBezTo>
                  <a:pt x="1117" y="814"/>
                  <a:pt x="1173" y="758"/>
                  <a:pt x="1173" y="689"/>
                </a:cubicBezTo>
                <a:cubicBezTo>
                  <a:pt x="1173" y="633"/>
                  <a:pt x="1135" y="586"/>
                  <a:pt x="1084" y="570"/>
                </a:cubicBezTo>
                <a:cubicBezTo>
                  <a:pt x="1108" y="327"/>
                  <a:pt x="1108" y="327"/>
                  <a:pt x="1108" y="327"/>
                </a:cubicBezTo>
                <a:cubicBezTo>
                  <a:pt x="1171" y="321"/>
                  <a:pt x="1220" y="268"/>
                  <a:pt x="1220" y="204"/>
                </a:cubicBezTo>
                <a:close/>
                <a:moveTo>
                  <a:pt x="521" y="594"/>
                </a:moveTo>
                <a:cubicBezTo>
                  <a:pt x="493" y="245"/>
                  <a:pt x="493" y="245"/>
                  <a:pt x="493" y="245"/>
                </a:cubicBezTo>
                <a:cubicBezTo>
                  <a:pt x="509" y="241"/>
                  <a:pt x="523" y="235"/>
                  <a:pt x="535" y="226"/>
                </a:cubicBezTo>
                <a:cubicBezTo>
                  <a:pt x="944" y="621"/>
                  <a:pt x="944" y="621"/>
                  <a:pt x="944" y="621"/>
                </a:cubicBezTo>
                <a:cubicBezTo>
                  <a:pt x="938" y="630"/>
                  <a:pt x="934" y="639"/>
                  <a:pt x="930" y="649"/>
                </a:cubicBezTo>
                <a:lnTo>
                  <a:pt x="521" y="594"/>
                </a:lnTo>
                <a:close/>
                <a:moveTo>
                  <a:pt x="490" y="818"/>
                </a:moveTo>
                <a:cubicBezTo>
                  <a:pt x="475" y="822"/>
                  <a:pt x="461" y="828"/>
                  <a:pt x="449" y="837"/>
                </a:cubicBezTo>
                <a:cubicBezTo>
                  <a:pt x="230" y="631"/>
                  <a:pt x="230" y="631"/>
                  <a:pt x="230" y="631"/>
                </a:cubicBezTo>
                <a:cubicBezTo>
                  <a:pt x="235" y="623"/>
                  <a:pt x="239" y="614"/>
                  <a:pt x="242" y="605"/>
                </a:cubicBezTo>
                <a:cubicBezTo>
                  <a:pt x="476" y="636"/>
                  <a:pt x="476" y="636"/>
                  <a:pt x="476" y="636"/>
                </a:cubicBezTo>
                <a:lnTo>
                  <a:pt x="490" y="818"/>
                </a:lnTo>
                <a:close/>
                <a:moveTo>
                  <a:pt x="249" y="558"/>
                </a:moveTo>
                <a:cubicBezTo>
                  <a:pt x="247" y="529"/>
                  <a:pt x="236" y="502"/>
                  <a:pt x="218" y="482"/>
                </a:cubicBezTo>
                <a:cubicBezTo>
                  <a:pt x="408" y="235"/>
                  <a:pt x="408" y="235"/>
                  <a:pt x="408" y="235"/>
                </a:cubicBezTo>
                <a:cubicBezTo>
                  <a:pt x="420" y="241"/>
                  <a:pt x="432" y="245"/>
                  <a:pt x="445" y="247"/>
                </a:cubicBezTo>
                <a:cubicBezTo>
                  <a:pt x="472" y="587"/>
                  <a:pt x="472" y="587"/>
                  <a:pt x="472" y="587"/>
                </a:cubicBezTo>
                <a:lnTo>
                  <a:pt x="249" y="558"/>
                </a:lnTo>
                <a:close/>
                <a:moveTo>
                  <a:pt x="977" y="587"/>
                </a:moveTo>
                <a:cubicBezTo>
                  <a:pt x="569" y="192"/>
                  <a:pt x="569" y="192"/>
                  <a:pt x="569" y="192"/>
                </a:cubicBezTo>
                <a:cubicBezTo>
                  <a:pt x="575" y="183"/>
                  <a:pt x="579" y="173"/>
                  <a:pt x="583" y="163"/>
                </a:cubicBezTo>
                <a:cubicBezTo>
                  <a:pt x="972" y="212"/>
                  <a:pt x="972" y="212"/>
                  <a:pt x="972" y="212"/>
                </a:cubicBezTo>
                <a:cubicBezTo>
                  <a:pt x="975" y="265"/>
                  <a:pt x="1011" y="308"/>
                  <a:pt x="1060" y="323"/>
                </a:cubicBezTo>
                <a:cubicBezTo>
                  <a:pt x="1036" y="566"/>
                  <a:pt x="1036" y="566"/>
                  <a:pt x="1036" y="566"/>
                </a:cubicBezTo>
                <a:cubicBezTo>
                  <a:pt x="1015" y="568"/>
                  <a:pt x="994" y="575"/>
                  <a:pt x="977" y="587"/>
                </a:cubicBezTo>
                <a:close/>
                <a:moveTo>
                  <a:pt x="621" y="864"/>
                </a:moveTo>
                <a:cubicBezTo>
                  <a:pt x="602" y="838"/>
                  <a:pt x="572" y="819"/>
                  <a:pt x="538" y="815"/>
                </a:cubicBezTo>
                <a:cubicBezTo>
                  <a:pt x="524" y="643"/>
                  <a:pt x="524" y="643"/>
                  <a:pt x="524" y="643"/>
                </a:cubicBezTo>
                <a:cubicBezTo>
                  <a:pt x="924" y="696"/>
                  <a:pt x="924" y="696"/>
                  <a:pt x="924" y="696"/>
                </a:cubicBezTo>
                <a:cubicBezTo>
                  <a:pt x="924" y="704"/>
                  <a:pt x="925" y="712"/>
                  <a:pt x="927" y="720"/>
                </a:cubicBezTo>
                <a:lnTo>
                  <a:pt x="621" y="864"/>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1177" tIns="56942" rIns="71177" bIns="56942" numCol="1" spcCol="0" rtlCol="0" fromWordArt="0" anchor="t" anchorCtr="0" forceAA="0" compatLnSpc="1">
            <a:prstTxWarp prst="textNoShape">
              <a:avLst/>
            </a:prstTxWarp>
            <a:noAutofit/>
          </a:bodyPr>
          <a:lstStyle/>
          <a:p>
            <a:pPr algn="ctr" defTabSz="362895" fontAlgn="base">
              <a:lnSpc>
                <a:spcPct val="90000"/>
              </a:lnSpc>
              <a:spcBef>
                <a:spcPct val="0"/>
              </a:spcBef>
              <a:spcAft>
                <a:spcPct val="0"/>
              </a:spcAft>
            </a:pPr>
            <a:endParaRPr lang="en-US" sz="934">
              <a:gradFill>
                <a:gsLst>
                  <a:gs pos="0">
                    <a:srgbClr val="FFFFFF"/>
                  </a:gs>
                  <a:gs pos="100000">
                    <a:srgbClr val="FFFFFF"/>
                  </a:gs>
                </a:gsLst>
                <a:lin ang="5400000" scaled="0"/>
              </a:gradFill>
              <a:ea typeface="Segoe UI" pitchFamily="34" charset="0"/>
              <a:cs typeface="Segoe UI" pitchFamily="34" charset="0"/>
            </a:endParaRPr>
          </a:p>
        </p:txBody>
      </p:sp>
      <p:sp>
        <p:nvSpPr>
          <p:cNvPr id="71" name="Freeform 70"/>
          <p:cNvSpPr>
            <a:spLocks noChangeAspect="1"/>
          </p:cNvSpPr>
          <p:nvPr/>
        </p:nvSpPr>
        <p:spPr bwMode="black">
          <a:xfrm>
            <a:off x="242762" y="5803220"/>
            <a:ext cx="365760" cy="320928"/>
          </a:xfrm>
          <a:custGeom>
            <a:avLst/>
            <a:gdLst/>
            <a:ahLst/>
            <a:cxnLst/>
            <a:rect l="l" t="t" r="r" b="b"/>
            <a:pathLst>
              <a:path w="4740335" h="4048081">
                <a:moveTo>
                  <a:pt x="3683614" y="1098549"/>
                </a:moveTo>
                <a:cubicBezTo>
                  <a:pt x="3683654" y="1098549"/>
                  <a:pt x="3689354" y="1098549"/>
                  <a:pt x="4502870" y="1098549"/>
                </a:cubicBezTo>
                <a:cubicBezTo>
                  <a:pt x="4633477" y="1098549"/>
                  <a:pt x="4740335" y="1205183"/>
                  <a:pt x="4740335" y="1335514"/>
                </a:cubicBezTo>
                <a:cubicBezTo>
                  <a:pt x="4740335" y="1335569"/>
                  <a:pt x="4740335" y="1343335"/>
                  <a:pt x="4740335" y="2449249"/>
                </a:cubicBezTo>
                <a:cubicBezTo>
                  <a:pt x="4740335" y="2579580"/>
                  <a:pt x="4633477" y="2686214"/>
                  <a:pt x="4502870" y="2686214"/>
                </a:cubicBezTo>
                <a:cubicBezTo>
                  <a:pt x="4502870" y="2686253"/>
                  <a:pt x="4502870" y="2691777"/>
                  <a:pt x="4502870" y="3480046"/>
                </a:cubicBezTo>
                <a:cubicBezTo>
                  <a:pt x="4502870" y="3610377"/>
                  <a:pt x="4396011" y="3717011"/>
                  <a:pt x="4265405" y="3717011"/>
                </a:cubicBezTo>
                <a:cubicBezTo>
                  <a:pt x="4265376" y="3717011"/>
                  <a:pt x="4262133" y="3717011"/>
                  <a:pt x="3909206" y="3717011"/>
                </a:cubicBezTo>
                <a:cubicBezTo>
                  <a:pt x="3790473" y="3717011"/>
                  <a:pt x="3683614" y="3610377"/>
                  <a:pt x="3683614" y="3480046"/>
                </a:cubicBezTo>
                <a:cubicBezTo>
                  <a:pt x="3683614" y="3480010"/>
                  <a:pt x="3683614" y="3474701"/>
                  <a:pt x="3683614" y="2686214"/>
                </a:cubicBezTo>
                <a:cubicBezTo>
                  <a:pt x="3553008" y="2686214"/>
                  <a:pt x="3446148" y="2579580"/>
                  <a:pt x="3446148" y="2449249"/>
                </a:cubicBezTo>
                <a:cubicBezTo>
                  <a:pt x="3446148" y="2449192"/>
                  <a:pt x="3446148" y="2441288"/>
                  <a:pt x="3446148" y="1335514"/>
                </a:cubicBezTo>
                <a:cubicBezTo>
                  <a:pt x="3446148" y="1205183"/>
                  <a:pt x="3553008" y="1098549"/>
                  <a:pt x="3683614" y="1098549"/>
                </a:cubicBezTo>
                <a:close/>
                <a:moveTo>
                  <a:pt x="236546" y="1098549"/>
                </a:moveTo>
                <a:cubicBezTo>
                  <a:pt x="236570" y="1098549"/>
                  <a:pt x="240947" y="1098549"/>
                  <a:pt x="1052628" y="1098549"/>
                </a:cubicBezTo>
                <a:cubicBezTo>
                  <a:pt x="1182728" y="1098549"/>
                  <a:pt x="1289174" y="1205183"/>
                  <a:pt x="1289174" y="1335514"/>
                </a:cubicBezTo>
                <a:cubicBezTo>
                  <a:pt x="1289174" y="1335532"/>
                  <a:pt x="1289174" y="1340039"/>
                  <a:pt x="1289174" y="2449249"/>
                </a:cubicBezTo>
                <a:cubicBezTo>
                  <a:pt x="1289174" y="2579580"/>
                  <a:pt x="1182728" y="2686214"/>
                  <a:pt x="1052628" y="2686214"/>
                </a:cubicBezTo>
                <a:cubicBezTo>
                  <a:pt x="1052628" y="2686235"/>
                  <a:pt x="1052628" y="2690268"/>
                  <a:pt x="1052628" y="3480046"/>
                </a:cubicBezTo>
                <a:cubicBezTo>
                  <a:pt x="1052628" y="3610377"/>
                  <a:pt x="946183" y="3717011"/>
                  <a:pt x="827910" y="3717011"/>
                </a:cubicBezTo>
                <a:cubicBezTo>
                  <a:pt x="827894" y="3717011"/>
                  <a:pt x="825508" y="3717011"/>
                  <a:pt x="473091" y="3717011"/>
                </a:cubicBezTo>
                <a:cubicBezTo>
                  <a:pt x="342991" y="3717011"/>
                  <a:pt x="236546" y="3610377"/>
                  <a:pt x="236546" y="3480046"/>
                </a:cubicBezTo>
                <a:cubicBezTo>
                  <a:pt x="236546" y="3480026"/>
                  <a:pt x="236546" y="3476021"/>
                  <a:pt x="236546" y="2686214"/>
                </a:cubicBezTo>
                <a:cubicBezTo>
                  <a:pt x="106446" y="2686214"/>
                  <a:pt x="0" y="2579580"/>
                  <a:pt x="0" y="2449249"/>
                </a:cubicBezTo>
                <a:cubicBezTo>
                  <a:pt x="0" y="2449230"/>
                  <a:pt x="0" y="2444630"/>
                  <a:pt x="0" y="1335514"/>
                </a:cubicBezTo>
                <a:cubicBezTo>
                  <a:pt x="0" y="1205183"/>
                  <a:pt x="106446" y="1098549"/>
                  <a:pt x="236546" y="1098549"/>
                </a:cubicBezTo>
                <a:close/>
                <a:moveTo>
                  <a:pt x="1895194" y="993211"/>
                </a:moveTo>
                <a:cubicBezTo>
                  <a:pt x="1895245" y="993211"/>
                  <a:pt x="1902161" y="993211"/>
                  <a:pt x="2845141" y="993211"/>
                </a:cubicBezTo>
                <a:cubicBezTo>
                  <a:pt x="2999507" y="993211"/>
                  <a:pt x="3130125" y="1123457"/>
                  <a:pt x="3130125" y="1277385"/>
                </a:cubicBezTo>
                <a:cubicBezTo>
                  <a:pt x="3130125" y="1277420"/>
                  <a:pt x="3130125" y="1284134"/>
                  <a:pt x="3130125" y="2568008"/>
                </a:cubicBezTo>
                <a:cubicBezTo>
                  <a:pt x="3130125" y="2721936"/>
                  <a:pt x="2999507" y="2852182"/>
                  <a:pt x="2845141" y="2852182"/>
                </a:cubicBezTo>
                <a:cubicBezTo>
                  <a:pt x="2845141" y="2852231"/>
                  <a:pt x="2845141" y="2858826"/>
                  <a:pt x="2845141" y="3763907"/>
                </a:cubicBezTo>
                <a:cubicBezTo>
                  <a:pt x="2845141" y="3917835"/>
                  <a:pt x="2726398" y="4048081"/>
                  <a:pt x="2572031" y="4048081"/>
                </a:cubicBezTo>
                <a:cubicBezTo>
                  <a:pt x="2571992" y="4048081"/>
                  <a:pt x="2568051" y="4048081"/>
                  <a:pt x="2168304" y="4048081"/>
                </a:cubicBezTo>
                <a:cubicBezTo>
                  <a:pt x="2013937" y="4048081"/>
                  <a:pt x="1895194" y="3917835"/>
                  <a:pt x="1895194" y="3763907"/>
                </a:cubicBezTo>
                <a:cubicBezTo>
                  <a:pt x="1895194" y="3763858"/>
                  <a:pt x="1895194" y="3757193"/>
                  <a:pt x="1895194" y="2852182"/>
                </a:cubicBezTo>
                <a:cubicBezTo>
                  <a:pt x="1740828" y="2852182"/>
                  <a:pt x="1610210" y="2721936"/>
                  <a:pt x="1610210" y="2568008"/>
                </a:cubicBezTo>
                <a:cubicBezTo>
                  <a:pt x="1610210" y="2567966"/>
                  <a:pt x="1610210" y="2560581"/>
                  <a:pt x="1610210" y="1277385"/>
                </a:cubicBezTo>
                <a:cubicBezTo>
                  <a:pt x="1610210" y="1123457"/>
                  <a:pt x="1740828" y="993211"/>
                  <a:pt x="1895194" y="993211"/>
                </a:cubicBezTo>
                <a:close/>
                <a:moveTo>
                  <a:pt x="4093246" y="245790"/>
                </a:moveTo>
                <a:cubicBezTo>
                  <a:pt x="4306565" y="245790"/>
                  <a:pt x="4479495" y="420965"/>
                  <a:pt x="4479495" y="637055"/>
                </a:cubicBezTo>
                <a:cubicBezTo>
                  <a:pt x="4479495" y="853145"/>
                  <a:pt x="4306565" y="1028320"/>
                  <a:pt x="4093246" y="1028320"/>
                </a:cubicBezTo>
                <a:cubicBezTo>
                  <a:pt x="3879927" y="1028320"/>
                  <a:pt x="3706997" y="853145"/>
                  <a:pt x="3706997" y="637055"/>
                </a:cubicBezTo>
                <a:cubicBezTo>
                  <a:pt x="3706997" y="420965"/>
                  <a:pt x="3879927" y="245790"/>
                  <a:pt x="4093246" y="245790"/>
                </a:cubicBezTo>
                <a:close/>
                <a:moveTo>
                  <a:pt x="644584" y="245790"/>
                </a:moveTo>
                <a:cubicBezTo>
                  <a:pt x="856519" y="245790"/>
                  <a:pt x="1028326" y="420965"/>
                  <a:pt x="1028326" y="637055"/>
                </a:cubicBezTo>
                <a:cubicBezTo>
                  <a:pt x="1028326" y="853145"/>
                  <a:pt x="856519" y="1028320"/>
                  <a:pt x="644584" y="1028320"/>
                </a:cubicBezTo>
                <a:cubicBezTo>
                  <a:pt x="432649" y="1028320"/>
                  <a:pt x="260842" y="853145"/>
                  <a:pt x="260842" y="637055"/>
                </a:cubicBezTo>
                <a:cubicBezTo>
                  <a:pt x="260842" y="420965"/>
                  <a:pt x="432649" y="245790"/>
                  <a:pt x="644584" y="245790"/>
                </a:cubicBezTo>
                <a:close/>
                <a:moveTo>
                  <a:pt x="2367657" y="0"/>
                </a:moveTo>
                <a:cubicBezTo>
                  <a:pt x="2616992" y="0"/>
                  <a:pt x="2819118" y="203249"/>
                  <a:pt x="2819118" y="453969"/>
                </a:cubicBezTo>
                <a:cubicBezTo>
                  <a:pt x="2819118" y="704689"/>
                  <a:pt x="2616992" y="907938"/>
                  <a:pt x="2367657" y="907938"/>
                </a:cubicBezTo>
                <a:cubicBezTo>
                  <a:pt x="2118322" y="907938"/>
                  <a:pt x="1916196" y="704689"/>
                  <a:pt x="1916196" y="453969"/>
                </a:cubicBezTo>
                <a:cubicBezTo>
                  <a:pt x="1916196" y="203249"/>
                  <a:pt x="2118322" y="0"/>
                  <a:pt x="2367657"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37148" tIns="109719" rIns="137148" bIns="109719"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699261" fontAlgn="base">
              <a:lnSpc>
                <a:spcPct val="90000"/>
              </a:lnSpc>
              <a:spcBef>
                <a:spcPct val="0"/>
              </a:spcBef>
              <a:spcAft>
                <a:spcPct val="0"/>
              </a:spcAft>
            </a:pPr>
            <a:endParaRPr lang="en-US">
              <a:gradFill>
                <a:gsLst>
                  <a:gs pos="0">
                    <a:srgbClr val="FFFFFF"/>
                  </a:gs>
                  <a:gs pos="100000">
                    <a:srgbClr val="FFFFFF"/>
                  </a:gs>
                </a:gsLst>
                <a:lin ang="5400000" scaled="0"/>
              </a:gradFill>
              <a:ea typeface="Segoe UI" pitchFamily="34" charset="0"/>
              <a:cs typeface="Segoe UI" pitchFamily="34" charset="0"/>
            </a:endParaRPr>
          </a:p>
        </p:txBody>
      </p:sp>
      <p:sp>
        <p:nvSpPr>
          <p:cNvPr id="73" name="Rectangle 72"/>
          <p:cNvSpPr/>
          <p:nvPr/>
        </p:nvSpPr>
        <p:spPr bwMode="auto">
          <a:xfrm>
            <a:off x="-1464" y="2637201"/>
            <a:ext cx="2816907" cy="4220799"/>
          </a:xfrm>
          <a:prstGeom prst="rect">
            <a:avLst/>
          </a:prstGeom>
          <a:solidFill>
            <a:schemeClr val="tx1">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74" name="Rectangle 73"/>
          <p:cNvSpPr/>
          <p:nvPr/>
        </p:nvSpPr>
        <p:spPr bwMode="auto">
          <a:xfrm>
            <a:off x="0" y="657643"/>
            <a:ext cx="2787733" cy="874445"/>
          </a:xfrm>
          <a:prstGeom prst="rect">
            <a:avLst/>
          </a:prstGeom>
          <a:solidFill>
            <a:schemeClr val="tx1">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31" name="Rectangle 130"/>
          <p:cNvSpPr/>
          <p:nvPr/>
        </p:nvSpPr>
        <p:spPr>
          <a:xfrm>
            <a:off x="2861164" y="1155073"/>
            <a:ext cx="4671446" cy="4062651"/>
          </a:xfrm>
          <a:prstGeom prst="rect">
            <a:avLst/>
          </a:prstGeom>
        </p:spPr>
        <p:txBody>
          <a:bodyPr wrap="square">
            <a:spAutoFit/>
          </a:bodyPr>
          <a:lstStyle/>
          <a:p>
            <a:pPr marL="342900" marR="0" lvl="0" indent="-342900">
              <a:spcBef>
                <a:spcPts val="600"/>
              </a:spcBef>
              <a:spcAft>
                <a:spcPts val="600"/>
              </a:spcAft>
              <a:buFont typeface="Symbol" panose="05050102010706020507" pitchFamily="18" charset="2"/>
              <a:buChar char=""/>
            </a:pPr>
            <a:r>
              <a:rPr lang="en-US" sz="2000" dirty="0">
                <a:latin typeface="+mj-lt"/>
                <a:ea typeface="Calibri" panose="020F0502020204030204" pitchFamily="34" charset="0"/>
                <a:cs typeface="Times New Roman" panose="02020603050405020304" pitchFamily="18" charset="0"/>
              </a:rPr>
              <a:t>Connect live to your existing on-premises data sources:</a:t>
            </a:r>
          </a:p>
          <a:p>
            <a:pPr marL="800100" lvl="1" indent="-342900">
              <a:buFont typeface="Courier New" panose="02070309020205020404" pitchFamily="49" charset="0"/>
              <a:buChar char="o"/>
            </a:pPr>
            <a:r>
              <a:rPr lang="en-US" dirty="0">
                <a:latin typeface="+mj-lt"/>
                <a:ea typeface="Calibri" panose="020F0502020204030204" pitchFamily="34" charset="0"/>
                <a:cs typeface="Times New Roman" panose="02020603050405020304" pitchFamily="18" charset="0"/>
              </a:rPr>
              <a:t>Analysis Services</a:t>
            </a:r>
            <a:br>
              <a:rPr lang="en-US" dirty="0">
                <a:latin typeface="+mj-lt"/>
                <a:ea typeface="Calibri" panose="020F0502020204030204" pitchFamily="34" charset="0"/>
                <a:cs typeface="Times New Roman" panose="02020603050405020304" pitchFamily="18" charset="0"/>
              </a:rPr>
            </a:br>
            <a:r>
              <a:rPr lang="en-US" dirty="0">
                <a:latin typeface="+mj-lt"/>
                <a:ea typeface="Calibri" panose="020F0502020204030204" pitchFamily="34" charset="0"/>
                <a:cs typeface="Times New Roman" panose="02020603050405020304" pitchFamily="18" charset="0"/>
              </a:rPr>
              <a:t>(tabular and multidimensional)</a:t>
            </a:r>
          </a:p>
          <a:p>
            <a:pPr marL="800100" lvl="1" indent="-342900">
              <a:buFont typeface="Courier New" panose="02070309020205020404" pitchFamily="49" charset="0"/>
              <a:buChar char="o"/>
            </a:pPr>
            <a:r>
              <a:rPr lang="en-US" dirty="0">
                <a:latin typeface="+mj-lt"/>
                <a:ea typeface="Calibri" panose="020F0502020204030204" pitchFamily="34" charset="0"/>
                <a:cs typeface="Times New Roman" panose="02020603050405020304" pitchFamily="18" charset="0"/>
              </a:rPr>
              <a:t>SQL Server</a:t>
            </a:r>
          </a:p>
          <a:p>
            <a:pPr marL="800100" lvl="1" indent="-342900">
              <a:buFont typeface="Courier New" panose="02070309020205020404" pitchFamily="49" charset="0"/>
              <a:buChar char="o"/>
            </a:pPr>
            <a:r>
              <a:rPr lang="en-US" dirty="0">
                <a:latin typeface="+mj-lt"/>
                <a:ea typeface="Calibri" panose="020F0502020204030204" pitchFamily="34" charset="0"/>
                <a:cs typeface="Times New Roman" panose="02020603050405020304" pitchFamily="18" charset="0"/>
              </a:rPr>
              <a:t>SAP HANA</a:t>
            </a:r>
          </a:p>
          <a:p>
            <a:pPr marL="800100" lvl="1" indent="-342900">
              <a:buFont typeface="Courier New" panose="02070309020205020404" pitchFamily="49" charset="0"/>
              <a:buChar char="o"/>
            </a:pPr>
            <a:r>
              <a:rPr lang="en-US" dirty="0">
                <a:latin typeface="+mj-lt"/>
                <a:ea typeface="Calibri" panose="020F0502020204030204" pitchFamily="34" charset="0"/>
                <a:cs typeface="Times New Roman" panose="02020603050405020304" pitchFamily="18" charset="0"/>
              </a:rPr>
              <a:t>Oracle</a:t>
            </a:r>
          </a:p>
          <a:p>
            <a:pPr marL="800100" lvl="1" indent="-342900">
              <a:buFont typeface="Courier New" panose="02070309020205020404" pitchFamily="49" charset="0"/>
              <a:buChar char="o"/>
            </a:pPr>
            <a:r>
              <a:rPr lang="en-US" dirty="0">
                <a:latin typeface="+mj-lt"/>
                <a:ea typeface="Calibri" panose="020F0502020204030204" pitchFamily="34" charset="0"/>
                <a:cs typeface="Times New Roman" panose="02020603050405020304" pitchFamily="18" charset="0"/>
              </a:rPr>
              <a:t>Teradata</a:t>
            </a:r>
          </a:p>
          <a:p>
            <a:pPr marL="342900" marR="0" lvl="0" indent="-342900">
              <a:spcBef>
                <a:spcPts val="600"/>
              </a:spcBef>
              <a:spcAft>
                <a:spcPts val="600"/>
              </a:spcAft>
              <a:buFont typeface="Symbol" panose="05050102010706020507" pitchFamily="18" charset="2"/>
              <a:buChar char=""/>
            </a:pPr>
            <a:r>
              <a:rPr lang="en-US" sz="2000" dirty="0">
                <a:latin typeface="+mj-lt"/>
                <a:ea typeface="Calibri" panose="020F0502020204030204" pitchFamily="34" charset="0"/>
                <a:cs typeface="Times New Roman" panose="02020603050405020304" pitchFamily="18" charset="0"/>
              </a:rPr>
              <a:t>Requires On-Premises Data Gateway</a:t>
            </a:r>
          </a:p>
          <a:p>
            <a:pPr marL="342900" marR="0" lvl="0" indent="-342900">
              <a:spcBef>
                <a:spcPts val="600"/>
              </a:spcBef>
              <a:spcAft>
                <a:spcPts val="600"/>
              </a:spcAft>
              <a:buFont typeface="Symbol" panose="05050102010706020507" pitchFamily="18" charset="2"/>
              <a:buChar char=""/>
            </a:pPr>
            <a:r>
              <a:rPr lang="en-US" sz="2000" dirty="0">
                <a:latin typeface="+mj-lt"/>
                <a:ea typeface="Calibri" panose="020F0502020204030204" pitchFamily="34" charset="0"/>
                <a:cs typeface="Times New Roman" panose="02020603050405020304" pitchFamily="18" charset="0"/>
              </a:rPr>
              <a:t>Role-based and row-level data security </a:t>
            </a:r>
          </a:p>
          <a:p>
            <a:pPr marL="342900" marR="0" lvl="0" indent="-342900">
              <a:spcBef>
                <a:spcPts val="600"/>
              </a:spcBef>
              <a:spcAft>
                <a:spcPts val="600"/>
              </a:spcAft>
              <a:buFont typeface="Symbol" panose="05050102010706020507" pitchFamily="18" charset="2"/>
              <a:buChar char=""/>
            </a:pPr>
            <a:r>
              <a:rPr lang="en-US" sz="2000" dirty="0">
                <a:latin typeface="+mj-lt"/>
                <a:ea typeface="Calibri" panose="020F0502020204030204" pitchFamily="34" charset="0"/>
                <a:cs typeface="Times New Roman" panose="02020603050405020304" pitchFamily="18" charset="0"/>
              </a:rPr>
              <a:t>Data remains on-premise, only query is stored in Power BI</a:t>
            </a:r>
          </a:p>
        </p:txBody>
      </p:sp>
      <p:sp>
        <p:nvSpPr>
          <p:cNvPr id="132" name="Oval 131"/>
          <p:cNvSpPr/>
          <p:nvPr/>
        </p:nvSpPr>
        <p:spPr bwMode="auto">
          <a:xfrm>
            <a:off x="9280898" y="3571378"/>
            <a:ext cx="254504" cy="256539"/>
          </a:xfrm>
          <a:prstGeom prst="ellipse">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336080" indent="-336080" algn="ctr" defTabSz="913927" fontAlgn="base">
              <a:lnSpc>
                <a:spcPct val="90000"/>
              </a:lnSpc>
              <a:spcBef>
                <a:spcPct val="0"/>
              </a:spcBef>
              <a:spcAft>
                <a:spcPct val="0"/>
              </a:spcAft>
              <a:buFont typeface="Wingdings 3" panose="05040102010807070707" pitchFamily="18" charset="2"/>
              <a:buChar char="Æ"/>
              <a:defRPr/>
            </a:pPr>
            <a:endParaRPr lang="en-US" sz="1961" b="1" kern="0" err="1">
              <a:solidFill>
                <a:srgbClr val="FFFFFF"/>
              </a:solidFill>
              <a:latin typeface="Segoe UI Light"/>
              <a:ea typeface="Segoe UI" pitchFamily="34" charset="0"/>
              <a:cs typeface="Segoe UI" pitchFamily="34" charset="0"/>
            </a:endParaRPr>
          </a:p>
        </p:txBody>
      </p:sp>
      <p:cxnSp>
        <p:nvCxnSpPr>
          <p:cNvPr id="136" name="Straight Connector 135"/>
          <p:cNvCxnSpPr/>
          <p:nvPr/>
        </p:nvCxnSpPr>
        <p:spPr>
          <a:xfrm>
            <a:off x="7767360" y="3608234"/>
            <a:ext cx="4069612" cy="6374"/>
          </a:xfrm>
          <a:prstGeom prst="line">
            <a:avLst/>
          </a:prstGeom>
          <a:noFill/>
          <a:ln w="15875" cap="flat" cmpd="sng" algn="ctr">
            <a:solidFill>
              <a:srgbClr val="505050"/>
            </a:solidFill>
            <a:prstDash val="dash"/>
            <a:headEnd type="none"/>
            <a:tailEnd type="none"/>
          </a:ln>
          <a:effectLst/>
        </p:spPr>
      </p:cxnSp>
      <p:grpSp>
        <p:nvGrpSpPr>
          <p:cNvPr id="137" name="Group 136"/>
          <p:cNvGrpSpPr/>
          <p:nvPr/>
        </p:nvGrpSpPr>
        <p:grpSpPr>
          <a:xfrm>
            <a:off x="10284096" y="4206663"/>
            <a:ext cx="1018940" cy="604490"/>
            <a:chOff x="2927465" y="5236638"/>
            <a:chExt cx="1470768" cy="865618"/>
          </a:xfrm>
        </p:grpSpPr>
        <p:sp>
          <p:nvSpPr>
            <p:cNvPr id="144" name="Freeform 143"/>
            <p:cNvSpPr>
              <a:spLocks noEditPoints="1"/>
            </p:cNvSpPr>
            <p:nvPr/>
          </p:nvSpPr>
          <p:spPr bwMode="auto">
            <a:xfrm>
              <a:off x="2927465" y="5236638"/>
              <a:ext cx="360348" cy="865616"/>
            </a:xfrm>
            <a:custGeom>
              <a:avLst/>
              <a:gdLst>
                <a:gd name="T0" fmla="*/ 0 w 184"/>
                <a:gd name="T1" fmla="*/ 0 h 442"/>
                <a:gd name="T2" fmla="*/ 0 w 184"/>
                <a:gd name="T3" fmla="*/ 442 h 442"/>
                <a:gd name="T4" fmla="*/ 184 w 184"/>
                <a:gd name="T5" fmla="*/ 442 h 442"/>
                <a:gd name="T6" fmla="*/ 184 w 184"/>
                <a:gd name="T7" fmla="*/ 0 h 442"/>
                <a:gd name="T8" fmla="*/ 0 w 184"/>
                <a:gd name="T9" fmla="*/ 0 h 442"/>
                <a:gd name="T10" fmla="*/ 85 w 184"/>
                <a:gd name="T11" fmla="*/ 370 h 442"/>
                <a:gd name="T12" fmla="*/ 19 w 184"/>
                <a:gd name="T13" fmla="*/ 370 h 442"/>
                <a:gd name="T14" fmla="*/ 19 w 184"/>
                <a:gd name="T15" fmla="*/ 310 h 442"/>
                <a:gd name="T16" fmla="*/ 85 w 184"/>
                <a:gd name="T17" fmla="*/ 310 h 442"/>
                <a:gd name="T18" fmla="*/ 85 w 184"/>
                <a:gd name="T19" fmla="*/ 370 h 442"/>
                <a:gd name="T20" fmla="*/ 85 w 184"/>
                <a:gd name="T21" fmla="*/ 296 h 442"/>
                <a:gd name="T22" fmla="*/ 19 w 184"/>
                <a:gd name="T23" fmla="*/ 296 h 442"/>
                <a:gd name="T24" fmla="*/ 19 w 184"/>
                <a:gd name="T25" fmla="*/ 237 h 442"/>
                <a:gd name="T26" fmla="*/ 85 w 184"/>
                <a:gd name="T27" fmla="*/ 237 h 442"/>
                <a:gd name="T28" fmla="*/ 85 w 184"/>
                <a:gd name="T29" fmla="*/ 296 h 442"/>
                <a:gd name="T30" fmla="*/ 85 w 184"/>
                <a:gd name="T31" fmla="*/ 223 h 442"/>
                <a:gd name="T32" fmla="*/ 19 w 184"/>
                <a:gd name="T33" fmla="*/ 223 h 442"/>
                <a:gd name="T34" fmla="*/ 19 w 184"/>
                <a:gd name="T35" fmla="*/ 164 h 442"/>
                <a:gd name="T36" fmla="*/ 85 w 184"/>
                <a:gd name="T37" fmla="*/ 164 h 442"/>
                <a:gd name="T38" fmla="*/ 85 w 184"/>
                <a:gd name="T39" fmla="*/ 223 h 442"/>
                <a:gd name="T40" fmla="*/ 85 w 184"/>
                <a:gd name="T41" fmla="*/ 151 h 442"/>
                <a:gd name="T42" fmla="*/ 19 w 184"/>
                <a:gd name="T43" fmla="*/ 151 h 442"/>
                <a:gd name="T44" fmla="*/ 19 w 184"/>
                <a:gd name="T45" fmla="*/ 91 h 442"/>
                <a:gd name="T46" fmla="*/ 85 w 184"/>
                <a:gd name="T47" fmla="*/ 91 h 442"/>
                <a:gd name="T48" fmla="*/ 85 w 184"/>
                <a:gd name="T49" fmla="*/ 151 h 442"/>
                <a:gd name="T50" fmla="*/ 85 w 184"/>
                <a:gd name="T51" fmla="*/ 78 h 442"/>
                <a:gd name="T52" fmla="*/ 19 w 184"/>
                <a:gd name="T53" fmla="*/ 78 h 442"/>
                <a:gd name="T54" fmla="*/ 19 w 184"/>
                <a:gd name="T55" fmla="*/ 18 h 442"/>
                <a:gd name="T56" fmla="*/ 85 w 184"/>
                <a:gd name="T57" fmla="*/ 18 h 442"/>
                <a:gd name="T58" fmla="*/ 85 w 184"/>
                <a:gd name="T59" fmla="*/ 78 h 442"/>
                <a:gd name="T60" fmla="*/ 164 w 184"/>
                <a:gd name="T61" fmla="*/ 370 h 442"/>
                <a:gd name="T62" fmla="*/ 99 w 184"/>
                <a:gd name="T63" fmla="*/ 370 h 442"/>
                <a:gd name="T64" fmla="*/ 99 w 184"/>
                <a:gd name="T65" fmla="*/ 310 h 442"/>
                <a:gd name="T66" fmla="*/ 164 w 184"/>
                <a:gd name="T67" fmla="*/ 310 h 442"/>
                <a:gd name="T68" fmla="*/ 164 w 184"/>
                <a:gd name="T69" fmla="*/ 370 h 442"/>
                <a:gd name="T70" fmla="*/ 164 w 184"/>
                <a:gd name="T71" fmla="*/ 296 h 442"/>
                <a:gd name="T72" fmla="*/ 99 w 184"/>
                <a:gd name="T73" fmla="*/ 296 h 442"/>
                <a:gd name="T74" fmla="*/ 99 w 184"/>
                <a:gd name="T75" fmla="*/ 237 h 442"/>
                <a:gd name="T76" fmla="*/ 164 w 184"/>
                <a:gd name="T77" fmla="*/ 237 h 442"/>
                <a:gd name="T78" fmla="*/ 164 w 184"/>
                <a:gd name="T79" fmla="*/ 296 h 442"/>
                <a:gd name="T80" fmla="*/ 164 w 184"/>
                <a:gd name="T81" fmla="*/ 223 h 442"/>
                <a:gd name="T82" fmla="*/ 99 w 184"/>
                <a:gd name="T83" fmla="*/ 223 h 442"/>
                <a:gd name="T84" fmla="*/ 99 w 184"/>
                <a:gd name="T85" fmla="*/ 164 h 442"/>
                <a:gd name="T86" fmla="*/ 164 w 184"/>
                <a:gd name="T87" fmla="*/ 164 h 442"/>
                <a:gd name="T88" fmla="*/ 164 w 184"/>
                <a:gd name="T89" fmla="*/ 223 h 442"/>
                <a:gd name="T90" fmla="*/ 164 w 184"/>
                <a:gd name="T91" fmla="*/ 151 h 442"/>
                <a:gd name="T92" fmla="*/ 99 w 184"/>
                <a:gd name="T93" fmla="*/ 151 h 442"/>
                <a:gd name="T94" fmla="*/ 99 w 184"/>
                <a:gd name="T95" fmla="*/ 91 h 442"/>
                <a:gd name="T96" fmla="*/ 164 w 184"/>
                <a:gd name="T97" fmla="*/ 91 h 442"/>
                <a:gd name="T98" fmla="*/ 164 w 184"/>
                <a:gd name="T99" fmla="*/ 151 h 442"/>
                <a:gd name="T100" fmla="*/ 164 w 184"/>
                <a:gd name="T101" fmla="*/ 78 h 442"/>
                <a:gd name="T102" fmla="*/ 99 w 184"/>
                <a:gd name="T103" fmla="*/ 78 h 442"/>
                <a:gd name="T104" fmla="*/ 99 w 184"/>
                <a:gd name="T105" fmla="*/ 18 h 442"/>
                <a:gd name="T106" fmla="*/ 164 w 184"/>
                <a:gd name="T107" fmla="*/ 18 h 442"/>
                <a:gd name="T108" fmla="*/ 164 w 184"/>
                <a:gd name="T109" fmla="*/ 78 h 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4" h="442">
                  <a:moveTo>
                    <a:pt x="0" y="0"/>
                  </a:moveTo>
                  <a:lnTo>
                    <a:pt x="0" y="442"/>
                  </a:lnTo>
                  <a:lnTo>
                    <a:pt x="184" y="442"/>
                  </a:lnTo>
                  <a:lnTo>
                    <a:pt x="184" y="0"/>
                  </a:lnTo>
                  <a:lnTo>
                    <a:pt x="0" y="0"/>
                  </a:lnTo>
                  <a:close/>
                  <a:moveTo>
                    <a:pt x="85" y="370"/>
                  </a:moveTo>
                  <a:lnTo>
                    <a:pt x="19" y="370"/>
                  </a:lnTo>
                  <a:lnTo>
                    <a:pt x="19" y="310"/>
                  </a:lnTo>
                  <a:lnTo>
                    <a:pt x="85" y="310"/>
                  </a:lnTo>
                  <a:lnTo>
                    <a:pt x="85" y="370"/>
                  </a:lnTo>
                  <a:close/>
                  <a:moveTo>
                    <a:pt x="85" y="296"/>
                  </a:moveTo>
                  <a:lnTo>
                    <a:pt x="19" y="296"/>
                  </a:lnTo>
                  <a:lnTo>
                    <a:pt x="19" y="237"/>
                  </a:lnTo>
                  <a:lnTo>
                    <a:pt x="85" y="237"/>
                  </a:lnTo>
                  <a:lnTo>
                    <a:pt x="85" y="296"/>
                  </a:lnTo>
                  <a:close/>
                  <a:moveTo>
                    <a:pt x="85" y="223"/>
                  </a:moveTo>
                  <a:lnTo>
                    <a:pt x="19" y="223"/>
                  </a:lnTo>
                  <a:lnTo>
                    <a:pt x="19" y="164"/>
                  </a:lnTo>
                  <a:lnTo>
                    <a:pt x="85" y="164"/>
                  </a:lnTo>
                  <a:lnTo>
                    <a:pt x="85" y="223"/>
                  </a:lnTo>
                  <a:close/>
                  <a:moveTo>
                    <a:pt x="85" y="151"/>
                  </a:moveTo>
                  <a:lnTo>
                    <a:pt x="19" y="151"/>
                  </a:lnTo>
                  <a:lnTo>
                    <a:pt x="19" y="91"/>
                  </a:lnTo>
                  <a:lnTo>
                    <a:pt x="85" y="91"/>
                  </a:lnTo>
                  <a:lnTo>
                    <a:pt x="85" y="151"/>
                  </a:lnTo>
                  <a:close/>
                  <a:moveTo>
                    <a:pt x="85" y="78"/>
                  </a:moveTo>
                  <a:lnTo>
                    <a:pt x="19" y="78"/>
                  </a:lnTo>
                  <a:lnTo>
                    <a:pt x="19" y="18"/>
                  </a:lnTo>
                  <a:lnTo>
                    <a:pt x="85" y="18"/>
                  </a:lnTo>
                  <a:lnTo>
                    <a:pt x="85" y="78"/>
                  </a:lnTo>
                  <a:close/>
                  <a:moveTo>
                    <a:pt x="164" y="370"/>
                  </a:moveTo>
                  <a:lnTo>
                    <a:pt x="99" y="370"/>
                  </a:lnTo>
                  <a:lnTo>
                    <a:pt x="99" y="310"/>
                  </a:lnTo>
                  <a:lnTo>
                    <a:pt x="164" y="310"/>
                  </a:lnTo>
                  <a:lnTo>
                    <a:pt x="164" y="370"/>
                  </a:lnTo>
                  <a:close/>
                  <a:moveTo>
                    <a:pt x="164" y="296"/>
                  </a:moveTo>
                  <a:lnTo>
                    <a:pt x="99" y="296"/>
                  </a:lnTo>
                  <a:lnTo>
                    <a:pt x="99" y="237"/>
                  </a:lnTo>
                  <a:lnTo>
                    <a:pt x="164" y="237"/>
                  </a:lnTo>
                  <a:lnTo>
                    <a:pt x="164" y="296"/>
                  </a:lnTo>
                  <a:close/>
                  <a:moveTo>
                    <a:pt x="164" y="223"/>
                  </a:moveTo>
                  <a:lnTo>
                    <a:pt x="99" y="223"/>
                  </a:lnTo>
                  <a:lnTo>
                    <a:pt x="99" y="164"/>
                  </a:lnTo>
                  <a:lnTo>
                    <a:pt x="164" y="164"/>
                  </a:lnTo>
                  <a:lnTo>
                    <a:pt x="164" y="223"/>
                  </a:lnTo>
                  <a:close/>
                  <a:moveTo>
                    <a:pt x="164" y="151"/>
                  </a:moveTo>
                  <a:lnTo>
                    <a:pt x="99" y="151"/>
                  </a:lnTo>
                  <a:lnTo>
                    <a:pt x="99" y="91"/>
                  </a:lnTo>
                  <a:lnTo>
                    <a:pt x="164" y="91"/>
                  </a:lnTo>
                  <a:lnTo>
                    <a:pt x="164" y="151"/>
                  </a:lnTo>
                  <a:close/>
                  <a:moveTo>
                    <a:pt x="164" y="78"/>
                  </a:moveTo>
                  <a:lnTo>
                    <a:pt x="99" y="78"/>
                  </a:lnTo>
                  <a:lnTo>
                    <a:pt x="99" y="18"/>
                  </a:lnTo>
                  <a:lnTo>
                    <a:pt x="164" y="18"/>
                  </a:lnTo>
                  <a:lnTo>
                    <a:pt x="164" y="78"/>
                  </a:lnTo>
                  <a:close/>
                </a:path>
              </a:pathLst>
            </a:custGeom>
            <a:solidFill>
              <a:srgbClr val="0070C0"/>
            </a:solidFill>
            <a:ln>
              <a:noFill/>
            </a:ln>
          </p:spPr>
          <p:txBody>
            <a:bodyPr vert="horz" wrap="square" lIns="89604" tIns="44802" rIns="89604" bIns="44802"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a:defRPr/>
              </a:pPr>
              <a:endParaRPr lang="en-US" sz="2353">
                <a:solidFill>
                  <a:srgbClr val="000000"/>
                </a:solidFill>
              </a:endParaRPr>
            </a:p>
          </p:txBody>
        </p:sp>
        <p:sp>
          <p:nvSpPr>
            <p:cNvPr id="145" name="Freeform 144"/>
            <p:cNvSpPr>
              <a:spLocks noEditPoints="1"/>
            </p:cNvSpPr>
            <p:nvPr/>
          </p:nvSpPr>
          <p:spPr bwMode="auto">
            <a:xfrm>
              <a:off x="3323066" y="5236638"/>
              <a:ext cx="321181" cy="865616"/>
            </a:xfrm>
            <a:custGeom>
              <a:avLst/>
              <a:gdLst>
                <a:gd name="T0" fmla="*/ 148 w 164"/>
                <a:gd name="T1" fmla="*/ 181 h 442"/>
                <a:gd name="T2" fmla="*/ 148 w 164"/>
                <a:gd name="T3" fmla="*/ 136 h 442"/>
                <a:gd name="T4" fmla="*/ 123 w 164"/>
                <a:gd name="T5" fmla="*/ 136 h 442"/>
                <a:gd name="T6" fmla="*/ 123 w 164"/>
                <a:gd name="T7" fmla="*/ 84 h 442"/>
                <a:gd name="T8" fmla="*/ 101 w 164"/>
                <a:gd name="T9" fmla="*/ 84 h 442"/>
                <a:gd name="T10" fmla="*/ 101 w 164"/>
                <a:gd name="T11" fmla="*/ 45 h 442"/>
                <a:gd name="T12" fmla="*/ 87 w 164"/>
                <a:gd name="T13" fmla="*/ 45 h 442"/>
                <a:gd name="T14" fmla="*/ 87 w 164"/>
                <a:gd name="T15" fmla="*/ 0 h 442"/>
                <a:gd name="T16" fmla="*/ 77 w 164"/>
                <a:gd name="T17" fmla="*/ 0 h 442"/>
                <a:gd name="T18" fmla="*/ 77 w 164"/>
                <a:gd name="T19" fmla="*/ 45 h 442"/>
                <a:gd name="T20" fmla="*/ 63 w 164"/>
                <a:gd name="T21" fmla="*/ 45 h 442"/>
                <a:gd name="T22" fmla="*/ 63 w 164"/>
                <a:gd name="T23" fmla="*/ 84 h 442"/>
                <a:gd name="T24" fmla="*/ 41 w 164"/>
                <a:gd name="T25" fmla="*/ 84 h 442"/>
                <a:gd name="T26" fmla="*/ 41 w 164"/>
                <a:gd name="T27" fmla="*/ 136 h 442"/>
                <a:gd name="T28" fmla="*/ 16 w 164"/>
                <a:gd name="T29" fmla="*/ 136 h 442"/>
                <a:gd name="T30" fmla="*/ 16 w 164"/>
                <a:gd name="T31" fmla="*/ 181 h 442"/>
                <a:gd name="T32" fmla="*/ 0 w 164"/>
                <a:gd name="T33" fmla="*/ 181 h 442"/>
                <a:gd name="T34" fmla="*/ 0 w 164"/>
                <a:gd name="T35" fmla="*/ 442 h 442"/>
                <a:gd name="T36" fmla="*/ 164 w 164"/>
                <a:gd name="T37" fmla="*/ 442 h 442"/>
                <a:gd name="T38" fmla="*/ 164 w 164"/>
                <a:gd name="T39" fmla="*/ 181 h 442"/>
                <a:gd name="T40" fmla="*/ 148 w 164"/>
                <a:gd name="T41" fmla="*/ 181 h 442"/>
                <a:gd name="T42" fmla="*/ 16 w 164"/>
                <a:gd name="T43" fmla="*/ 207 h 442"/>
                <a:gd name="T44" fmla="*/ 82 w 164"/>
                <a:gd name="T45" fmla="*/ 207 h 442"/>
                <a:gd name="T46" fmla="*/ 82 w 164"/>
                <a:gd name="T47" fmla="*/ 266 h 442"/>
                <a:gd name="T48" fmla="*/ 16 w 164"/>
                <a:gd name="T49" fmla="*/ 266 h 442"/>
                <a:gd name="T50" fmla="*/ 16 w 164"/>
                <a:gd name="T51" fmla="*/ 207 h 442"/>
                <a:gd name="T52" fmla="*/ 82 w 164"/>
                <a:gd name="T53" fmla="*/ 411 h 442"/>
                <a:gd name="T54" fmla="*/ 16 w 164"/>
                <a:gd name="T55" fmla="*/ 411 h 442"/>
                <a:gd name="T56" fmla="*/ 16 w 164"/>
                <a:gd name="T57" fmla="*/ 352 h 442"/>
                <a:gd name="T58" fmla="*/ 82 w 164"/>
                <a:gd name="T59" fmla="*/ 352 h 442"/>
                <a:gd name="T60" fmla="*/ 82 w 164"/>
                <a:gd name="T61" fmla="*/ 411 h 442"/>
                <a:gd name="T62" fmla="*/ 148 w 164"/>
                <a:gd name="T63" fmla="*/ 340 h 442"/>
                <a:gd name="T64" fmla="*/ 82 w 164"/>
                <a:gd name="T65" fmla="*/ 340 h 442"/>
                <a:gd name="T66" fmla="*/ 82 w 164"/>
                <a:gd name="T67" fmla="*/ 280 h 442"/>
                <a:gd name="T68" fmla="*/ 148 w 164"/>
                <a:gd name="T69" fmla="*/ 280 h 442"/>
                <a:gd name="T70" fmla="*/ 148 w 164"/>
                <a:gd name="T71" fmla="*/ 340 h 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64" h="442">
                  <a:moveTo>
                    <a:pt x="148" y="181"/>
                  </a:moveTo>
                  <a:lnTo>
                    <a:pt x="148" y="136"/>
                  </a:lnTo>
                  <a:lnTo>
                    <a:pt x="123" y="136"/>
                  </a:lnTo>
                  <a:lnTo>
                    <a:pt x="123" y="84"/>
                  </a:lnTo>
                  <a:lnTo>
                    <a:pt x="101" y="84"/>
                  </a:lnTo>
                  <a:lnTo>
                    <a:pt x="101" y="45"/>
                  </a:lnTo>
                  <a:lnTo>
                    <a:pt x="87" y="45"/>
                  </a:lnTo>
                  <a:lnTo>
                    <a:pt x="87" y="0"/>
                  </a:lnTo>
                  <a:lnTo>
                    <a:pt x="77" y="0"/>
                  </a:lnTo>
                  <a:lnTo>
                    <a:pt x="77" y="45"/>
                  </a:lnTo>
                  <a:lnTo>
                    <a:pt x="63" y="45"/>
                  </a:lnTo>
                  <a:lnTo>
                    <a:pt x="63" y="84"/>
                  </a:lnTo>
                  <a:lnTo>
                    <a:pt x="41" y="84"/>
                  </a:lnTo>
                  <a:lnTo>
                    <a:pt x="41" y="136"/>
                  </a:lnTo>
                  <a:lnTo>
                    <a:pt x="16" y="136"/>
                  </a:lnTo>
                  <a:lnTo>
                    <a:pt x="16" y="181"/>
                  </a:lnTo>
                  <a:lnTo>
                    <a:pt x="0" y="181"/>
                  </a:lnTo>
                  <a:lnTo>
                    <a:pt x="0" y="442"/>
                  </a:lnTo>
                  <a:lnTo>
                    <a:pt x="164" y="442"/>
                  </a:lnTo>
                  <a:lnTo>
                    <a:pt x="164" y="181"/>
                  </a:lnTo>
                  <a:lnTo>
                    <a:pt x="148" y="181"/>
                  </a:lnTo>
                  <a:close/>
                  <a:moveTo>
                    <a:pt x="16" y="207"/>
                  </a:moveTo>
                  <a:lnTo>
                    <a:pt x="82" y="207"/>
                  </a:lnTo>
                  <a:lnTo>
                    <a:pt x="82" y="266"/>
                  </a:lnTo>
                  <a:lnTo>
                    <a:pt x="16" y="266"/>
                  </a:lnTo>
                  <a:lnTo>
                    <a:pt x="16" y="207"/>
                  </a:lnTo>
                  <a:close/>
                  <a:moveTo>
                    <a:pt x="82" y="411"/>
                  </a:moveTo>
                  <a:lnTo>
                    <a:pt x="16" y="411"/>
                  </a:lnTo>
                  <a:lnTo>
                    <a:pt x="16" y="352"/>
                  </a:lnTo>
                  <a:lnTo>
                    <a:pt x="82" y="352"/>
                  </a:lnTo>
                  <a:lnTo>
                    <a:pt x="82" y="411"/>
                  </a:lnTo>
                  <a:close/>
                  <a:moveTo>
                    <a:pt x="148" y="340"/>
                  </a:moveTo>
                  <a:lnTo>
                    <a:pt x="82" y="340"/>
                  </a:lnTo>
                  <a:lnTo>
                    <a:pt x="82" y="280"/>
                  </a:lnTo>
                  <a:lnTo>
                    <a:pt x="148" y="280"/>
                  </a:lnTo>
                  <a:lnTo>
                    <a:pt x="148" y="340"/>
                  </a:lnTo>
                  <a:close/>
                </a:path>
              </a:pathLst>
            </a:custGeom>
            <a:solidFill>
              <a:srgbClr val="0070C0"/>
            </a:solidFill>
            <a:ln>
              <a:noFill/>
            </a:ln>
          </p:spPr>
          <p:txBody>
            <a:bodyPr vert="horz" wrap="square" lIns="89604" tIns="44802" rIns="89604" bIns="44802"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a:defRPr/>
              </a:pPr>
              <a:endParaRPr lang="en-US" sz="2353">
                <a:solidFill>
                  <a:srgbClr val="000000"/>
                </a:solidFill>
              </a:endParaRPr>
            </a:p>
          </p:txBody>
        </p:sp>
        <p:sp>
          <p:nvSpPr>
            <p:cNvPr id="146" name="Freeform 145"/>
            <p:cNvSpPr>
              <a:spLocks noEditPoints="1"/>
            </p:cNvSpPr>
            <p:nvPr/>
          </p:nvSpPr>
          <p:spPr bwMode="auto">
            <a:xfrm>
              <a:off x="4077052" y="5424647"/>
              <a:ext cx="321181" cy="677609"/>
            </a:xfrm>
            <a:custGeom>
              <a:avLst/>
              <a:gdLst>
                <a:gd name="T0" fmla="*/ 148 w 164"/>
                <a:gd name="T1" fmla="*/ 181 h 346"/>
                <a:gd name="T2" fmla="*/ 148 w 164"/>
                <a:gd name="T3" fmla="*/ 136 h 346"/>
                <a:gd name="T4" fmla="*/ 123 w 164"/>
                <a:gd name="T5" fmla="*/ 136 h 346"/>
                <a:gd name="T6" fmla="*/ 123 w 164"/>
                <a:gd name="T7" fmla="*/ 82 h 346"/>
                <a:gd name="T8" fmla="*/ 101 w 164"/>
                <a:gd name="T9" fmla="*/ 82 h 346"/>
                <a:gd name="T10" fmla="*/ 101 w 164"/>
                <a:gd name="T11" fmla="*/ 45 h 346"/>
                <a:gd name="T12" fmla="*/ 87 w 164"/>
                <a:gd name="T13" fmla="*/ 45 h 346"/>
                <a:gd name="T14" fmla="*/ 87 w 164"/>
                <a:gd name="T15" fmla="*/ 0 h 346"/>
                <a:gd name="T16" fmla="*/ 77 w 164"/>
                <a:gd name="T17" fmla="*/ 0 h 346"/>
                <a:gd name="T18" fmla="*/ 77 w 164"/>
                <a:gd name="T19" fmla="*/ 45 h 346"/>
                <a:gd name="T20" fmla="*/ 63 w 164"/>
                <a:gd name="T21" fmla="*/ 45 h 346"/>
                <a:gd name="T22" fmla="*/ 63 w 164"/>
                <a:gd name="T23" fmla="*/ 82 h 346"/>
                <a:gd name="T24" fmla="*/ 42 w 164"/>
                <a:gd name="T25" fmla="*/ 82 h 346"/>
                <a:gd name="T26" fmla="*/ 42 w 164"/>
                <a:gd name="T27" fmla="*/ 136 h 346"/>
                <a:gd name="T28" fmla="*/ 16 w 164"/>
                <a:gd name="T29" fmla="*/ 136 h 346"/>
                <a:gd name="T30" fmla="*/ 16 w 164"/>
                <a:gd name="T31" fmla="*/ 181 h 346"/>
                <a:gd name="T32" fmla="*/ 0 w 164"/>
                <a:gd name="T33" fmla="*/ 181 h 346"/>
                <a:gd name="T34" fmla="*/ 0 w 164"/>
                <a:gd name="T35" fmla="*/ 346 h 346"/>
                <a:gd name="T36" fmla="*/ 164 w 164"/>
                <a:gd name="T37" fmla="*/ 346 h 346"/>
                <a:gd name="T38" fmla="*/ 164 w 164"/>
                <a:gd name="T39" fmla="*/ 181 h 346"/>
                <a:gd name="T40" fmla="*/ 148 w 164"/>
                <a:gd name="T41" fmla="*/ 181 h 346"/>
                <a:gd name="T42" fmla="*/ 35 w 164"/>
                <a:gd name="T43" fmla="*/ 158 h 346"/>
                <a:gd name="T44" fmla="*/ 82 w 164"/>
                <a:gd name="T45" fmla="*/ 158 h 346"/>
                <a:gd name="T46" fmla="*/ 82 w 164"/>
                <a:gd name="T47" fmla="*/ 200 h 346"/>
                <a:gd name="T48" fmla="*/ 35 w 164"/>
                <a:gd name="T49" fmla="*/ 200 h 346"/>
                <a:gd name="T50" fmla="*/ 35 w 164"/>
                <a:gd name="T51" fmla="*/ 158 h 346"/>
                <a:gd name="T52" fmla="*/ 82 w 164"/>
                <a:gd name="T53" fmla="*/ 302 h 346"/>
                <a:gd name="T54" fmla="*/ 35 w 164"/>
                <a:gd name="T55" fmla="*/ 302 h 346"/>
                <a:gd name="T56" fmla="*/ 35 w 164"/>
                <a:gd name="T57" fmla="*/ 260 h 346"/>
                <a:gd name="T58" fmla="*/ 82 w 164"/>
                <a:gd name="T59" fmla="*/ 260 h 346"/>
                <a:gd name="T60" fmla="*/ 82 w 164"/>
                <a:gd name="T61" fmla="*/ 302 h 346"/>
                <a:gd name="T62" fmla="*/ 129 w 164"/>
                <a:gd name="T63" fmla="*/ 251 h 346"/>
                <a:gd name="T64" fmla="*/ 82 w 164"/>
                <a:gd name="T65" fmla="*/ 251 h 346"/>
                <a:gd name="T66" fmla="*/ 82 w 164"/>
                <a:gd name="T67" fmla="*/ 209 h 346"/>
                <a:gd name="T68" fmla="*/ 129 w 164"/>
                <a:gd name="T69" fmla="*/ 209 h 346"/>
                <a:gd name="T70" fmla="*/ 129 w 164"/>
                <a:gd name="T71" fmla="*/ 251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64" h="346">
                  <a:moveTo>
                    <a:pt x="148" y="181"/>
                  </a:moveTo>
                  <a:lnTo>
                    <a:pt x="148" y="136"/>
                  </a:lnTo>
                  <a:lnTo>
                    <a:pt x="123" y="136"/>
                  </a:lnTo>
                  <a:lnTo>
                    <a:pt x="123" y="82"/>
                  </a:lnTo>
                  <a:lnTo>
                    <a:pt x="101" y="82"/>
                  </a:lnTo>
                  <a:lnTo>
                    <a:pt x="101" y="45"/>
                  </a:lnTo>
                  <a:lnTo>
                    <a:pt x="87" y="45"/>
                  </a:lnTo>
                  <a:lnTo>
                    <a:pt x="87" y="0"/>
                  </a:lnTo>
                  <a:lnTo>
                    <a:pt x="77" y="0"/>
                  </a:lnTo>
                  <a:lnTo>
                    <a:pt x="77" y="45"/>
                  </a:lnTo>
                  <a:lnTo>
                    <a:pt x="63" y="45"/>
                  </a:lnTo>
                  <a:lnTo>
                    <a:pt x="63" y="82"/>
                  </a:lnTo>
                  <a:lnTo>
                    <a:pt x="42" y="82"/>
                  </a:lnTo>
                  <a:lnTo>
                    <a:pt x="42" y="136"/>
                  </a:lnTo>
                  <a:lnTo>
                    <a:pt x="16" y="136"/>
                  </a:lnTo>
                  <a:lnTo>
                    <a:pt x="16" y="181"/>
                  </a:lnTo>
                  <a:lnTo>
                    <a:pt x="0" y="181"/>
                  </a:lnTo>
                  <a:lnTo>
                    <a:pt x="0" y="346"/>
                  </a:lnTo>
                  <a:lnTo>
                    <a:pt x="164" y="346"/>
                  </a:lnTo>
                  <a:lnTo>
                    <a:pt x="164" y="181"/>
                  </a:lnTo>
                  <a:lnTo>
                    <a:pt x="148" y="181"/>
                  </a:lnTo>
                  <a:close/>
                  <a:moveTo>
                    <a:pt x="35" y="158"/>
                  </a:moveTo>
                  <a:lnTo>
                    <a:pt x="82" y="158"/>
                  </a:lnTo>
                  <a:lnTo>
                    <a:pt x="82" y="200"/>
                  </a:lnTo>
                  <a:lnTo>
                    <a:pt x="35" y="200"/>
                  </a:lnTo>
                  <a:lnTo>
                    <a:pt x="35" y="158"/>
                  </a:lnTo>
                  <a:close/>
                  <a:moveTo>
                    <a:pt x="82" y="302"/>
                  </a:moveTo>
                  <a:lnTo>
                    <a:pt x="35" y="302"/>
                  </a:lnTo>
                  <a:lnTo>
                    <a:pt x="35" y="260"/>
                  </a:lnTo>
                  <a:lnTo>
                    <a:pt x="82" y="260"/>
                  </a:lnTo>
                  <a:lnTo>
                    <a:pt x="82" y="302"/>
                  </a:lnTo>
                  <a:close/>
                  <a:moveTo>
                    <a:pt x="129" y="251"/>
                  </a:moveTo>
                  <a:lnTo>
                    <a:pt x="82" y="251"/>
                  </a:lnTo>
                  <a:lnTo>
                    <a:pt x="82" y="209"/>
                  </a:lnTo>
                  <a:lnTo>
                    <a:pt x="129" y="209"/>
                  </a:lnTo>
                  <a:lnTo>
                    <a:pt x="129" y="251"/>
                  </a:lnTo>
                  <a:close/>
                </a:path>
              </a:pathLst>
            </a:custGeom>
            <a:solidFill>
              <a:srgbClr val="0070C0"/>
            </a:solidFill>
            <a:ln>
              <a:noFill/>
            </a:ln>
          </p:spPr>
          <p:txBody>
            <a:bodyPr vert="horz" wrap="square" lIns="89604" tIns="44802" rIns="89604" bIns="44802"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a:defRPr/>
              </a:pPr>
              <a:endParaRPr lang="en-US" sz="2353">
                <a:solidFill>
                  <a:srgbClr val="000000"/>
                </a:solidFill>
              </a:endParaRPr>
            </a:p>
          </p:txBody>
        </p:sp>
        <p:sp>
          <p:nvSpPr>
            <p:cNvPr id="147" name="Freeform 146"/>
            <p:cNvSpPr>
              <a:spLocks noEditPoints="1"/>
            </p:cNvSpPr>
            <p:nvPr/>
          </p:nvSpPr>
          <p:spPr bwMode="auto">
            <a:xfrm>
              <a:off x="3679497" y="5365893"/>
              <a:ext cx="362307" cy="736363"/>
            </a:xfrm>
            <a:custGeom>
              <a:avLst/>
              <a:gdLst>
                <a:gd name="T0" fmla="*/ 0 w 185"/>
                <a:gd name="T1" fmla="*/ 0 h 376"/>
                <a:gd name="T2" fmla="*/ 0 w 185"/>
                <a:gd name="T3" fmla="*/ 376 h 376"/>
                <a:gd name="T4" fmla="*/ 185 w 185"/>
                <a:gd name="T5" fmla="*/ 376 h 376"/>
                <a:gd name="T6" fmla="*/ 185 w 185"/>
                <a:gd name="T7" fmla="*/ 0 h 376"/>
                <a:gd name="T8" fmla="*/ 0 w 185"/>
                <a:gd name="T9" fmla="*/ 0 h 376"/>
                <a:gd name="T10" fmla="*/ 86 w 185"/>
                <a:gd name="T11" fmla="*/ 304 h 376"/>
                <a:gd name="T12" fmla="*/ 20 w 185"/>
                <a:gd name="T13" fmla="*/ 304 h 376"/>
                <a:gd name="T14" fmla="*/ 20 w 185"/>
                <a:gd name="T15" fmla="*/ 244 h 376"/>
                <a:gd name="T16" fmla="*/ 86 w 185"/>
                <a:gd name="T17" fmla="*/ 244 h 376"/>
                <a:gd name="T18" fmla="*/ 86 w 185"/>
                <a:gd name="T19" fmla="*/ 304 h 376"/>
                <a:gd name="T20" fmla="*/ 86 w 185"/>
                <a:gd name="T21" fmla="*/ 230 h 376"/>
                <a:gd name="T22" fmla="*/ 20 w 185"/>
                <a:gd name="T23" fmla="*/ 230 h 376"/>
                <a:gd name="T24" fmla="*/ 20 w 185"/>
                <a:gd name="T25" fmla="*/ 171 h 376"/>
                <a:gd name="T26" fmla="*/ 86 w 185"/>
                <a:gd name="T27" fmla="*/ 171 h 376"/>
                <a:gd name="T28" fmla="*/ 86 w 185"/>
                <a:gd name="T29" fmla="*/ 230 h 376"/>
                <a:gd name="T30" fmla="*/ 86 w 185"/>
                <a:gd name="T31" fmla="*/ 157 h 376"/>
                <a:gd name="T32" fmla="*/ 20 w 185"/>
                <a:gd name="T33" fmla="*/ 157 h 376"/>
                <a:gd name="T34" fmla="*/ 20 w 185"/>
                <a:gd name="T35" fmla="*/ 98 h 376"/>
                <a:gd name="T36" fmla="*/ 86 w 185"/>
                <a:gd name="T37" fmla="*/ 98 h 376"/>
                <a:gd name="T38" fmla="*/ 86 w 185"/>
                <a:gd name="T39" fmla="*/ 157 h 376"/>
                <a:gd name="T40" fmla="*/ 86 w 185"/>
                <a:gd name="T41" fmla="*/ 85 h 376"/>
                <a:gd name="T42" fmla="*/ 20 w 185"/>
                <a:gd name="T43" fmla="*/ 85 h 376"/>
                <a:gd name="T44" fmla="*/ 20 w 185"/>
                <a:gd name="T45" fmla="*/ 25 h 376"/>
                <a:gd name="T46" fmla="*/ 86 w 185"/>
                <a:gd name="T47" fmla="*/ 25 h 376"/>
                <a:gd name="T48" fmla="*/ 86 w 185"/>
                <a:gd name="T49" fmla="*/ 85 h 376"/>
                <a:gd name="T50" fmla="*/ 166 w 185"/>
                <a:gd name="T51" fmla="*/ 304 h 376"/>
                <a:gd name="T52" fmla="*/ 99 w 185"/>
                <a:gd name="T53" fmla="*/ 304 h 376"/>
                <a:gd name="T54" fmla="*/ 99 w 185"/>
                <a:gd name="T55" fmla="*/ 244 h 376"/>
                <a:gd name="T56" fmla="*/ 166 w 185"/>
                <a:gd name="T57" fmla="*/ 244 h 376"/>
                <a:gd name="T58" fmla="*/ 166 w 185"/>
                <a:gd name="T59" fmla="*/ 304 h 376"/>
                <a:gd name="T60" fmla="*/ 166 w 185"/>
                <a:gd name="T61" fmla="*/ 230 h 376"/>
                <a:gd name="T62" fmla="*/ 99 w 185"/>
                <a:gd name="T63" fmla="*/ 230 h 376"/>
                <a:gd name="T64" fmla="*/ 99 w 185"/>
                <a:gd name="T65" fmla="*/ 171 h 376"/>
                <a:gd name="T66" fmla="*/ 166 w 185"/>
                <a:gd name="T67" fmla="*/ 171 h 376"/>
                <a:gd name="T68" fmla="*/ 166 w 185"/>
                <a:gd name="T69" fmla="*/ 230 h 376"/>
                <a:gd name="T70" fmla="*/ 166 w 185"/>
                <a:gd name="T71" fmla="*/ 157 h 376"/>
                <a:gd name="T72" fmla="*/ 99 w 185"/>
                <a:gd name="T73" fmla="*/ 157 h 376"/>
                <a:gd name="T74" fmla="*/ 99 w 185"/>
                <a:gd name="T75" fmla="*/ 98 h 376"/>
                <a:gd name="T76" fmla="*/ 166 w 185"/>
                <a:gd name="T77" fmla="*/ 98 h 376"/>
                <a:gd name="T78" fmla="*/ 166 w 185"/>
                <a:gd name="T79" fmla="*/ 157 h 376"/>
                <a:gd name="T80" fmla="*/ 166 w 185"/>
                <a:gd name="T81" fmla="*/ 85 h 376"/>
                <a:gd name="T82" fmla="*/ 99 w 185"/>
                <a:gd name="T83" fmla="*/ 85 h 376"/>
                <a:gd name="T84" fmla="*/ 99 w 185"/>
                <a:gd name="T85" fmla="*/ 25 h 376"/>
                <a:gd name="T86" fmla="*/ 166 w 185"/>
                <a:gd name="T87" fmla="*/ 25 h 376"/>
                <a:gd name="T88" fmla="*/ 166 w 185"/>
                <a:gd name="T89" fmla="*/ 85 h 3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85" h="376">
                  <a:moveTo>
                    <a:pt x="0" y="0"/>
                  </a:moveTo>
                  <a:lnTo>
                    <a:pt x="0" y="376"/>
                  </a:lnTo>
                  <a:lnTo>
                    <a:pt x="185" y="376"/>
                  </a:lnTo>
                  <a:lnTo>
                    <a:pt x="185" y="0"/>
                  </a:lnTo>
                  <a:lnTo>
                    <a:pt x="0" y="0"/>
                  </a:lnTo>
                  <a:close/>
                  <a:moveTo>
                    <a:pt x="86" y="304"/>
                  </a:moveTo>
                  <a:lnTo>
                    <a:pt x="20" y="304"/>
                  </a:lnTo>
                  <a:lnTo>
                    <a:pt x="20" y="244"/>
                  </a:lnTo>
                  <a:lnTo>
                    <a:pt x="86" y="244"/>
                  </a:lnTo>
                  <a:lnTo>
                    <a:pt x="86" y="304"/>
                  </a:lnTo>
                  <a:close/>
                  <a:moveTo>
                    <a:pt x="86" y="230"/>
                  </a:moveTo>
                  <a:lnTo>
                    <a:pt x="20" y="230"/>
                  </a:lnTo>
                  <a:lnTo>
                    <a:pt x="20" y="171"/>
                  </a:lnTo>
                  <a:lnTo>
                    <a:pt x="86" y="171"/>
                  </a:lnTo>
                  <a:lnTo>
                    <a:pt x="86" y="230"/>
                  </a:lnTo>
                  <a:close/>
                  <a:moveTo>
                    <a:pt x="86" y="157"/>
                  </a:moveTo>
                  <a:lnTo>
                    <a:pt x="20" y="157"/>
                  </a:lnTo>
                  <a:lnTo>
                    <a:pt x="20" y="98"/>
                  </a:lnTo>
                  <a:lnTo>
                    <a:pt x="86" y="98"/>
                  </a:lnTo>
                  <a:lnTo>
                    <a:pt x="86" y="157"/>
                  </a:lnTo>
                  <a:close/>
                  <a:moveTo>
                    <a:pt x="86" y="85"/>
                  </a:moveTo>
                  <a:lnTo>
                    <a:pt x="20" y="85"/>
                  </a:lnTo>
                  <a:lnTo>
                    <a:pt x="20" y="25"/>
                  </a:lnTo>
                  <a:lnTo>
                    <a:pt x="86" y="25"/>
                  </a:lnTo>
                  <a:lnTo>
                    <a:pt x="86" y="85"/>
                  </a:lnTo>
                  <a:close/>
                  <a:moveTo>
                    <a:pt x="166" y="304"/>
                  </a:moveTo>
                  <a:lnTo>
                    <a:pt x="99" y="304"/>
                  </a:lnTo>
                  <a:lnTo>
                    <a:pt x="99" y="244"/>
                  </a:lnTo>
                  <a:lnTo>
                    <a:pt x="166" y="244"/>
                  </a:lnTo>
                  <a:lnTo>
                    <a:pt x="166" y="304"/>
                  </a:lnTo>
                  <a:close/>
                  <a:moveTo>
                    <a:pt x="166" y="230"/>
                  </a:moveTo>
                  <a:lnTo>
                    <a:pt x="99" y="230"/>
                  </a:lnTo>
                  <a:lnTo>
                    <a:pt x="99" y="171"/>
                  </a:lnTo>
                  <a:lnTo>
                    <a:pt x="166" y="171"/>
                  </a:lnTo>
                  <a:lnTo>
                    <a:pt x="166" y="230"/>
                  </a:lnTo>
                  <a:close/>
                  <a:moveTo>
                    <a:pt x="166" y="157"/>
                  </a:moveTo>
                  <a:lnTo>
                    <a:pt x="99" y="157"/>
                  </a:lnTo>
                  <a:lnTo>
                    <a:pt x="99" y="98"/>
                  </a:lnTo>
                  <a:lnTo>
                    <a:pt x="166" y="98"/>
                  </a:lnTo>
                  <a:lnTo>
                    <a:pt x="166" y="157"/>
                  </a:lnTo>
                  <a:close/>
                  <a:moveTo>
                    <a:pt x="166" y="85"/>
                  </a:moveTo>
                  <a:lnTo>
                    <a:pt x="99" y="85"/>
                  </a:lnTo>
                  <a:lnTo>
                    <a:pt x="99" y="25"/>
                  </a:lnTo>
                  <a:lnTo>
                    <a:pt x="166" y="25"/>
                  </a:lnTo>
                  <a:lnTo>
                    <a:pt x="166" y="85"/>
                  </a:lnTo>
                  <a:close/>
                </a:path>
              </a:pathLst>
            </a:custGeom>
            <a:solidFill>
              <a:srgbClr val="0070C0"/>
            </a:solidFill>
            <a:ln>
              <a:noFill/>
            </a:ln>
          </p:spPr>
          <p:txBody>
            <a:bodyPr vert="horz" wrap="square" lIns="89604" tIns="44802" rIns="89604" bIns="44802"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a:defRPr/>
              </a:pPr>
              <a:endParaRPr lang="en-US" sz="2353">
                <a:solidFill>
                  <a:srgbClr val="000000"/>
                </a:solidFill>
              </a:endParaRPr>
            </a:p>
          </p:txBody>
        </p:sp>
      </p:grpSp>
      <p:sp>
        <p:nvSpPr>
          <p:cNvPr id="138" name="Freeform 137"/>
          <p:cNvSpPr>
            <a:spLocks/>
          </p:cNvSpPr>
          <p:nvPr/>
        </p:nvSpPr>
        <p:spPr bwMode="auto">
          <a:xfrm>
            <a:off x="7767360" y="5040501"/>
            <a:ext cx="4104338" cy="67369"/>
          </a:xfrm>
          <a:custGeom>
            <a:avLst/>
            <a:gdLst>
              <a:gd name="T0" fmla="*/ 2028 w 2087"/>
              <a:gd name="T1" fmla="*/ 139 h 139"/>
              <a:gd name="T2" fmla="*/ 59 w 2087"/>
              <a:gd name="T3" fmla="*/ 139 h 139"/>
              <a:gd name="T4" fmla="*/ 26 w 2087"/>
              <a:gd name="T5" fmla="*/ 65 h 139"/>
              <a:gd name="T6" fmla="*/ 73 w 2087"/>
              <a:gd name="T7" fmla="*/ 14 h 139"/>
              <a:gd name="T8" fmla="*/ 106 w 2087"/>
              <a:gd name="T9" fmla="*/ 0 h 139"/>
              <a:gd name="T10" fmla="*/ 1981 w 2087"/>
              <a:gd name="T11" fmla="*/ 0 h 139"/>
              <a:gd name="T12" fmla="*/ 2014 w 2087"/>
              <a:gd name="T13" fmla="*/ 14 h 139"/>
              <a:gd name="T14" fmla="*/ 2061 w 2087"/>
              <a:gd name="T15" fmla="*/ 65 h 139"/>
              <a:gd name="T16" fmla="*/ 2028 w 2087"/>
              <a:gd name="T17" fmla="*/ 139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87" h="139">
                <a:moveTo>
                  <a:pt x="2028" y="139"/>
                </a:moveTo>
                <a:cubicBezTo>
                  <a:pt x="59" y="139"/>
                  <a:pt x="59" y="139"/>
                  <a:pt x="59" y="139"/>
                </a:cubicBezTo>
                <a:cubicBezTo>
                  <a:pt x="20" y="139"/>
                  <a:pt x="0" y="94"/>
                  <a:pt x="26" y="65"/>
                </a:cubicBezTo>
                <a:cubicBezTo>
                  <a:pt x="73" y="14"/>
                  <a:pt x="73" y="14"/>
                  <a:pt x="73" y="14"/>
                </a:cubicBezTo>
                <a:cubicBezTo>
                  <a:pt x="82" y="5"/>
                  <a:pt x="94" y="0"/>
                  <a:pt x="106" y="0"/>
                </a:cubicBezTo>
                <a:cubicBezTo>
                  <a:pt x="1981" y="0"/>
                  <a:pt x="1981" y="0"/>
                  <a:pt x="1981" y="0"/>
                </a:cubicBezTo>
                <a:cubicBezTo>
                  <a:pt x="1994" y="0"/>
                  <a:pt x="2006" y="5"/>
                  <a:pt x="2014" y="14"/>
                </a:cubicBezTo>
                <a:cubicBezTo>
                  <a:pt x="2061" y="65"/>
                  <a:pt x="2061" y="65"/>
                  <a:pt x="2061" y="65"/>
                </a:cubicBezTo>
                <a:cubicBezTo>
                  <a:pt x="2087" y="94"/>
                  <a:pt x="2067" y="139"/>
                  <a:pt x="2028" y="139"/>
                </a:cubicBezTo>
                <a:close/>
              </a:path>
            </a:pathLst>
          </a:custGeom>
          <a:solidFill>
            <a:srgbClr val="DDDCD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a:defRPr/>
            </a:pPr>
            <a:endParaRPr lang="en-US" sz="2353">
              <a:solidFill>
                <a:srgbClr val="000000"/>
              </a:solidFill>
            </a:endParaRPr>
          </a:p>
        </p:txBody>
      </p:sp>
      <p:sp>
        <p:nvSpPr>
          <p:cNvPr id="139" name="Freeform 138"/>
          <p:cNvSpPr>
            <a:spLocks noChangeAspect="1"/>
          </p:cNvSpPr>
          <p:nvPr/>
        </p:nvSpPr>
        <p:spPr bwMode="auto">
          <a:xfrm>
            <a:off x="9614824" y="1321788"/>
            <a:ext cx="2253457" cy="1395791"/>
          </a:xfrm>
          <a:custGeom>
            <a:avLst/>
            <a:gdLst>
              <a:gd name="T0" fmla="*/ 860 w 994"/>
              <a:gd name="T1" fmla="*/ 342 h 610"/>
              <a:gd name="T2" fmla="*/ 858 w 994"/>
              <a:gd name="T3" fmla="*/ 342 h 610"/>
              <a:gd name="T4" fmla="*/ 860 w 994"/>
              <a:gd name="T5" fmla="*/ 305 h 610"/>
              <a:gd name="T6" fmla="*/ 555 w 994"/>
              <a:gd name="T7" fmla="*/ 0 h 610"/>
              <a:gd name="T8" fmla="*/ 272 w 994"/>
              <a:gd name="T9" fmla="*/ 193 h 610"/>
              <a:gd name="T10" fmla="*/ 212 w 994"/>
              <a:gd name="T11" fmla="*/ 185 h 610"/>
              <a:gd name="T12" fmla="*/ 0 w 994"/>
              <a:gd name="T13" fmla="*/ 397 h 610"/>
              <a:gd name="T14" fmla="*/ 212 w 994"/>
              <a:gd name="T15" fmla="*/ 610 h 610"/>
              <a:gd name="T16" fmla="*/ 860 w 994"/>
              <a:gd name="T17" fmla="*/ 610 h 610"/>
              <a:gd name="T18" fmla="*/ 994 w 994"/>
              <a:gd name="T19" fmla="*/ 476 h 610"/>
              <a:gd name="T20" fmla="*/ 860 w 994"/>
              <a:gd name="T21" fmla="*/ 342 h 6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94" h="610">
                <a:moveTo>
                  <a:pt x="860" y="342"/>
                </a:moveTo>
                <a:cubicBezTo>
                  <a:pt x="859" y="342"/>
                  <a:pt x="858" y="342"/>
                  <a:pt x="858" y="342"/>
                </a:cubicBezTo>
                <a:cubicBezTo>
                  <a:pt x="859" y="330"/>
                  <a:pt x="860" y="318"/>
                  <a:pt x="860" y="305"/>
                </a:cubicBezTo>
                <a:cubicBezTo>
                  <a:pt x="860" y="137"/>
                  <a:pt x="723" y="0"/>
                  <a:pt x="555" y="0"/>
                </a:cubicBezTo>
                <a:cubicBezTo>
                  <a:pt x="426" y="0"/>
                  <a:pt x="316" y="80"/>
                  <a:pt x="272" y="193"/>
                </a:cubicBezTo>
                <a:cubicBezTo>
                  <a:pt x="253" y="188"/>
                  <a:pt x="233" y="185"/>
                  <a:pt x="212" y="185"/>
                </a:cubicBezTo>
                <a:cubicBezTo>
                  <a:pt x="95" y="185"/>
                  <a:pt x="0" y="280"/>
                  <a:pt x="0" y="397"/>
                </a:cubicBezTo>
                <a:cubicBezTo>
                  <a:pt x="0" y="515"/>
                  <a:pt x="95" y="610"/>
                  <a:pt x="212" y="610"/>
                </a:cubicBezTo>
                <a:cubicBezTo>
                  <a:pt x="860" y="610"/>
                  <a:pt x="860" y="610"/>
                  <a:pt x="860" y="610"/>
                </a:cubicBezTo>
                <a:cubicBezTo>
                  <a:pt x="934" y="610"/>
                  <a:pt x="994" y="550"/>
                  <a:pt x="994" y="476"/>
                </a:cubicBezTo>
                <a:cubicBezTo>
                  <a:pt x="994" y="402"/>
                  <a:pt x="934" y="342"/>
                  <a:pt x="860" y="342"/>
                </a:cubicBezTo>
                <a:close/>
              </a:path>
            </a:pathLst>
          </a:custGeom>
          <a:solidFill>
            <a:schemeClr val="accent3">
              <a:lumMod val="40000"/>
              <a:lumOff val="60000"/>
            </a:scheme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defTabSz="913330" fontAlgn="base">
              <a:spcBef>
                <a:spcPct val="0"/>
              </a:spcBef>
              <a:spcAft>
                <a:spcPct val="0"/>
              </a:spcAft>
            </a:pPr>
            <a:endParaRPr lang="en-US" sz="2353">
              <a:solidFill>
                <a:srgbClr val="000000"/>
              </a:solidFill>
              <a:ea typeface="MS PGothic" charset="0"/>
              <a:cs typeface="MS PGothic" charset="0"/>
            </a:endParaRPr>
          </a:p>
        </p:txBody>
      </p:sp>
      <p:sp>
        <p:nvSpPr>
          <p:cNvPr id="140" name="Freeform 139"/>
          <p:cNvSpPr>
            <a:spLocks noChangeAspect="1"/>
          </p:cNvSpPr>
          <p:nvPr/>
        </p:nvSpPr>
        <p:spPr bwMode="auto">
          <a:xfrm>
            <a:off x="9847781" y="1919285"/>
            <a:ext cx="2165642" cy="987892"/>
          </a:xfrm>
          <a:custGeom>
            <a:avLst/>
            <a:gdLst>
              <a:gd name="T0" fmla="*/ 951 w 1004"/>
              <a:gd name="T1" fmla="*/ 296 h 454"/>
              <a:gd name="T2" fmla="*/ 809 w 1004"/>
              <a:gd name="T3" fmla="*/ 168 h 454"/>
              <a:gd name="T4" fmla="*/ 730 w 1004"/>
              <a:gd name="T5" fmla="*/ 191 h 454"/>
              <a:gd name="T6" fmla="*/ 506 w 1004"/>
              <a:gd name="T7" fmla="*/ 0 h 454"/>
              <a:gd name="T8" fmla="*/ 286 w 1004"/>
              <a:gd name="T9" fmla="*/ 169 h 454"/>
              <a:gd name="T10" fmla="*/ 266 w 1004"/>
              <a:gd name="T11" fmla="*/ 168 h 454"/>
              <a:gd name="T12" fmla="*/ 133 w 1004"/>
              <a:gd name="T13" fmla="*/ 256 h 454"/>
              <a:gd name="T14" fmla="*/ 102 w 1004"/>
              <a:gd name="T15" fmla="*/ 251 h 454"/>
              <a:gd name="T16" fmla="*/ 0 w 1004"/>
              <a:gd name="T17" fmla="*/ 353 h 454"/>
              <a:gd name="T18" fmla="*/ 102 w 1004"/>
              <a:gd name="T19" fmla="*/ 454 h 454"/>
              <a:gd name="T20" fmla="*/ 921 w 1004"/>
              <a:gd name="T21" fmla="*/ 454 h 454"/>
              <a:gd name="T22" fmla="*/ 1004 w 1004"/>
              <a:gd name="T23" fmla="*/ 372 h 454"/>
              <a:gd name="T24" fmla="*/ 951 w 1004"/>
              <a:gd name="T25" fmla="*/ 296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04" h="454">
                <a:moveTo>
                  <a:pt x="951" y="296"/>
                </a:moveTo>
                <a:cubicBezTo>
                  <a:pt x="944" y="224"/>
                  <a:pt x="883" y="168"/>
                  <a:pt x="809" y="168"/>
                </a:cubicBezTo>
                <a:cubicBezTo>
                  <a:pt x="780" y="168"/>
                  <a:pt x="753" y="176"/>
                  <a:pt x="730" y="191"/>
                </a:cubicBezTo>
                <a:cubicBezTo>
                  <a:pt x="713" y="83"/>
                  <a:pt x="619" y="0"/>
                  <a:pt x="506" y="0"/>
                </a:cubicBezTo>
                <a:cubicBezTo>
                  <a:pt x="401" y="0"/>
                  <a:pt x="312" y="72"/>
                  <a:pt x="286" y="169"/>
                </a:cubicBezTo>
                <a:cubicBezTo>
                  <a:pt x="280" y="168"/>
                  <a:pt x="273" y="168"/>
                  <a:pt x="266" y="168"/>
                </a:cubicBezTo>
                <a:cubicBezTo>
                  <a:pt x="206" y="168"/>
                  <a:pt x="155" y="204"/>
                  <a:pt x="133" y="256"/>
                </a:cubicBezTo>
                <a:cubicBezTo>
                  <a:pt x="123" y="253"/>
                  <a:pt x="113" y="251"/>
                  <a:pt x="102" y="251"/>
                </a:cubicBezTo>
                <a:cubicBezTo>
                  <a:pt x="45" y="251"/>
                  <a:pt x="0" y="297"/>
                  <a:pt x="0" y="353"/>
                </a:cubicBezTo>
                <a:cubicBezTo>
                  <a:pt x="0" y="409"/>
                  <a:pt x="45" y="454"/>
                  <a:pt x="102" y="454"/>
                </a:cubicBezTo>
                <a:cubicBezTo>
                  <a:pt x="921" y="454"/>
                  <a:pt x="921" y="454"/>
                  <a:pt x="921" y="454"/>
                </a:cubicBezTo>
                <a:cubicBezTo>
                  <a:pt x="967" y="454"/>
                  <a:pt x="1004" y="417"/>
                  <a:pt x="1004" y="372"/>
                </a:cubicBezTo>
                <a:cubicBezTo>
                  <a:pt x="1004" y="337"/>
                  <a:pt x="982" y="308"/>
                  <a:pt x="951" y="296"/>
                </a:cubicBezTo>
                <a:close/>
              </a:path>
            </a:pathLst>
          </a:custGeom>
          <a:solidFill>
            <a:schemeClr val="accent3">
              <a:lumMod val="20000"/>
              <a:lumOff val="80000"/>
            </a:scheme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a:defRPr/>
            </a:pPr>
            <a:endParaRPr lang="en-US" sz="2353">
              <a:solidFill>
                <a:srgbClr val="000000"/>
              </a:solidFill>
            </a:endParaRPr>
          </a:p>
        </p:txBody>
      </p:sp>
      <p:sp>
        <p:nvSpPr>
          <p:cNvPr id="141" name="TextBox 140"/>
          <p:cNvSpPr txBox="1"/>
          <p:nvPr/>
        </p:nvSpPr>
        <p:spPr>
          <a:xfrm>
            <a:off x="6105643" y="1821349"/>
            <a:ext cx="1617816" cy="554151"/>
          </a:xfrm>
          <a:prstGeom prst="rect">
            <a:avLst/>
          </a:prstGeom>
          <a:noFill/>
        </p:spPr>
        <p:txBody>
          <a:bodyPr wrap="square" lIns="179208" tIns="143366" rIns="179208" bIns="143366" rtlCol="0">
            <a:noAutofit/>
          </a:bodyPr>
          <a:lstStyle/>
          <a:p>
            <a:pPr marL="335951" indent="-335951" defTabSz="912979" fontAlgn="base">
              <a:lnSpc>
                <a:spcPct val="90000"/>
              </a:lnSpc>
              <a:spcBef>
                <a:spcPct val="0"/>
              </a:spcBef>
              <a:spcAft>
                <a:spcPts val="588"/>
              </a:spcAft>
              <a:buFont typeface="Wingdings 3" panose="05040102010807070707" pitchFamily="18" charset="2"/>
              <a:buChar char="Æ"/>
            </a:pPr>
            <a:endParaRPr lang="en-US" sz="2353" err="1">
              <a:gradFill>
                <a:gsLst>
                  <a:gs pos="2917">
                    <a:srgbClr val="000000"/>
                  </a:gs>
                  <a:gs pos="30000">
                    <a:srgbClr val="000000"/>
                  </a:gs>
                </a:gsLst>
                <a:lin ang="5400000" scaled="0"/>
              </a:gradFill>
              <a:ea typeface="MS PGothic" charset="0"/>
            </a:endParaRPr>
          </a:p>
        </p:txBody>
      </p:sp>
      <p:sp>
        <p:nvSpPr>
          <p:cNvPr id="142" name="TextBox 141"/>
          <p:cNvSpPr txBox="1"/>
          <p:nvPr/>
        </p:nvSpPr>
        <p:spPr>
          <a:xfrm>
            <a:off x="10554329" y="3398468"/>
            <a:ext cx="1220597" cy="136232"/>
          </a:xfrm>
          <a:prstGeom prst="rect">
            <a:avLst/>
          </a:prstGeom>
          <a:noFill/>
        </p:spPr>
        <p:txBody>
          <a:bodyPr wrap="square" lIns="179259" tIns="143407" rIns="179259" bIns="143407" rtlCol="0" anchor="ctr">
            <a:noAutofit/>
          </a:bodyPr>
          <a:lstStyle/>
          <a:p>
            <a:pPr defTabSz="914192">
              <a:lnSpc>
                <a:spcPct val="90000"/>
              </a:lnSpc>
              <a:spcAft>
                <a:spcPts val="588"/>
              </a:spcAft>
              <a:defRPr/>
            </a:pPr>
            <a:r>
              <a:rPr lang="en-US" sz="1175" kern="0">
                <a:gradFill>
                  <a:gsLst>
                    <a:gs pos="2917">
                      <a:srgbClr val="000000"/>
                    </a:gs>
                    <a:gs pos="30000">
                      <a:srgbClr val="000000"/>
                    </a:gs>
                  </a:gsLst>
                  <a:lin ang="5400000" scaled="0"/>
                </a:gradFill>
              </a:rPr>
              <a:t>Cloud</a:t>
            </a:r>
          </a:p>
        </p:txBody>
      </p:sp>
      <p:sp>
        <p:nvSpPr>
          <p:cNvPr id="143" name="TextBox 142"/>
          <p:cNvSpPr txBox="1"/>
          <p:nvPr/>
        </p:nvSpPr>
        <p:spPr>
          <a:xfrm>
            <a:off x="10407381" y="3711503"/>
            <a:ext cx="1220595" cy="136232"/>
          </a:xfrm>
          <a:prstGeom prst="rect">
            <a:avLst/>
          </a:prstGeom>
          <a:noFill/>
        </p:spPr>
        <p:txBody>
          <a:bodyPr wrap="square" lIns="179259" tIns="143407" rIns="179259" bIns="143407" rtlCol="0" anchor="ctr">
            <a:noAutofit/>
          </a:bodyPr>
          <a:lstStyle/>
          <a:p>
            <a:pPr defTabSz="914192">
              <a:lnSpc>
                <a:spcPct val="90000"/>
              </a:lnSpc>
              <a:spcAft>
                <a:spcPts val="588"/>
              </a:spcAft>
              <a:defRPr/>
            </a:pPr>
            <a:r>
              <a:rPr lang="en-US" sz="1175" kern="0">
                <a:gradFill>
                  <a:gsLst>
                    <a:gs pos="2917">
                      <a:srgbClr val="000000"/>
                    </a:gs>
                    <a:gs pos="30000">
                      <a:srgbClr val="000000"/>
                    </a:gs>
                  </a:gsLst>
                  <a:lin ang="5400000" scaled="0"/>
                </a:gradFill>
              </a:rPr>
              <a:t>On-premises</a:t>
            </a:r>
          </a:p>
        </p:txBody>
      </p:sp>
      <p:sp>
        <p:nvSpPr>
          <p:cNvPr id="134" name="TextBox 133"/>
          <p:cNvSpPr txBox="1"/>
          <p:nvPr/>
        </p:nvSpPr>
        <p:spPr>
          <a:xfrm>
            <a:off x="8048312" y="3233838"/>
            <a:ext cx="1702998" cy="725505"/>
          </a:xfrm>
          <a:prstGeom prst="rect">
            <a:avLst/>
          </a:prstGeom>
          <a:solidFill>
            <a:schemeClr val="bg1"/>
          </a:solidFill>
          <a:ln>
            <a:solidFill>
              <a:schemeClr val="accent3">
                <a:lumMod val="20000"/>
                <a:lumOff val="80000"/>
              </a:schemeClr>
            </a:solidFill>
          </a:ln>
        </p:spPr>
        <p:txBody>
          <a:bodyPr wrap="square" lIns="179208" tIns="143366" rIns="179208" bIns="143366" rtlCol="0" anchor="ctr">
            <a:noAutofit/>
          </a:bodyPr>
          <a:lstStyle/>
          <a:p>
            <a:pPr algn="ctr" defTabSz="912979" fontAlgn="base">
              <a:lnSpc>
                <a:spcPct val="90000"/>
              </a:lnSpc>
              <a:spcBef>
                <a:spcPct val="0"/>
              </a:spcBef>
              <a:spcAft>
                <a:spcPts val="588"/>
              </a:spcAft>
            </a:pPr>
            <a:r>
              <a:rPr lang="en-US" sz="1176">
                <a:gradFill>
                  <a:gsLst>
                    <a:gs pos="87611">
                      <a:srgbClr val="00BCF2"/>
                    </a:gs>
                    <a:gs pos="72000">
                      <a:srgbClr val="00BCF2"/>
                    </a:gs>
                  </a:gsLst>
                  <a:lin ang="5400000" scaled="0"/>
                </a:gradFill>
                <a:latin typeface="Segoe UI Semibold" panose="020B0702040204020203" pitchFamily="34" charset="0"/>
                <a:ea typeface="MS PGothic" charset="0"/>
                <a:cs typeface="Segoe UI Semibold" panose="020B0702040204020203" pitchFamily="34" charset="0"/>
              </a:rPr>
              <a:t>Scheduled Refresh</a:t>
            </a:r>
          </a:p>
          <a:p>
            <a:pPr algn="ctr" defTabSz="912979" fontAlgn="base">
              <a:lnSpc>
                <a:spcPct val="90000"/>
              </a:lnSpc>
              <a:spcBef>
                <a:spcPct val="0"/>
              </a:spcBef>
              <a:spcAft>
                <a:spcPts val="588"/>
              </a:spcAft>
            </a:pPr>
            <a:endParaRPr lang="en-US" sz="1176">
              <a:gradFill>
                <a:gsLst>
                  <a:gs pos="87611">
                    <a:srgbClr val="00BCF2"/>
                  </a:gs>
                  <a:gs pos="72000">
                    <a:srgbClr val="00BCF2"/>
                  </a:gs>
                </a:gsLst>
                <a:lin ang="5400000" scaled="0"/>
              </a:gradFill>
              <a:latin typeface="Segoe UI Semibold" panose="020B0702040204020203" pitchFamily="34" charset="0"/>
              <a:ea typeface="MS PGothic" charset="0"/>
              <a:cs typeface="Segoe UI Semibold" panose="020B0702040204020203" pitchFamily="34" charset="0"/>
            </a:endParaRPr>
          </a:p>
          <a:p>
            <a:pPr algn="ctr" defTabSz="912979" fontAlgn="base">
              <a:lnSpc>
                <a:spcPct val="90000"/>
              </a:lnSpc>
              <a:spcBef>
                <a:spcPct val="0"/>
              </a:spcBef>
              <a:spcAft>
                <a:spcPts val="588"/>
              </a:spcAft>
            </a:pPr>
            <a:r>
              <a:rPr lang="en-US" sz="1176">
                <a:gradFill>
                  <a:gsLst>
                    <a:gs pos="87611">
                      <a:srgbClr val="00BCF2"/>
                    </a:gs>
                    <a:gs pos="72000">
                      <a:srgbClr val="00BCF2"/>
                    </a:gs>
                  </a:gsLst>
                  <a:lin ang="5400000" scaled="0"/>
                </a:gradFill>
                <a:latin typeface="Segoe UI Semibold" panose="020B0702040204020203" pitchFamily="34" charset="0"/>
                <a:ea typeface="MS PGothic" charset="0"/>
                <a:cs typeface="Segoe UI Semibold" panose="020B0702040204020203" pitchFamily="34" charset="0"/>
              </a:rPr>
              <a:t>Manage &amp; Monitor</a:t>
            </a:r>
          </a:p>
        </p:txBody>
      </p:sp>
      <p:sp>
        <p:nvSpPr>
          <p:cNvPr id="135" name="Freeform 5"/>
          <p:cNvSpPr>
            <a:spLocks noEditPoints="1"/>
          </p:cNvSpPr>
          <p:nvPr/>
        </p:nvSpPr>
        <p:spPr bwMode="auto">
          <a:xfrm>
            <a:off x="8748040" y="3452519"/>
            <a:ext cx="268565" cy="270816"/>
          </a:xfrm>
          <a:custGeom>
            <a:avLst/>
            <a:gdLst>
              <a:gd name="T0" fmla="*/ 1131 w 2204"/>
              <a:gd name="T1" fmla="*/ 1075 h 2204"/>
              <a:gd name="T2" fmla="*/ 849 w 2204"/>
              <a:gd name="T3" fmla="*/ 764 h 2204"/>
              <a:gd name="T4" fmla="*/ 849 w 2204"/>
              <a:gd name="T5" fmla="*/ 1470 h 2204"/>
              <a:gd name="T6" fmla="*/ 645 w 2204"/>
              <a:gd name="T7" fmla="*/ 1470 h 2204"/>
              <a:gd name="T8" fmla="*/ 645 w 2204"/>
              <a:gd name="T9" fmla="*/ 764 h 2204"/>
              <a:gd name="T10" fmla="*/ 344 w 2204"/>
              <a:gd name="T11" fmla="*/ 1075 h 2204"/>
              <a:gd name="T12" fmla="*/ 344 w 2204"/>
              <a:gd name="T13" fmla="*/ 819 h 2204"/>
              <a:gd name="T14" fmla="*/ 738 w 2204"/>
              <a:gd name="T15" fmla="*/ 397 h 2204"/>
              <a:gd name="T16" fmla="*/ 1131 w 2204"/>
              <a:gd name="T17" fmla="*/ 819 h 2204"/>
              <a:gd name="T18" fmla="*/ 1131 w 2204"/>
              <a:gd name="T19" fmla="*/ 1075 h 2204"/>
              <a:gd name="T20" fmla="*/ 1802 w 2204"/>
              <a:gd name="T21" fmla="*/ 1194 h 2204"/>
              <a:gd name="T22" fmla="*/ 1519 w 2204"/>
              <a:gd name="T23" fmla="*/ 1505 h 2204"/>
              <a:gd name="T24" fmla="*/ 1519 w 2204"/>
              <a:gd name="T25" fmla="*/ 799 h 2204"/>
              <a:gd name="T26" fmla="*/ 1316 w 2204"/>
              <a:gd name="T27" fmla="*/ 799 h 2204"/>
              <a:gd name="T28" fmla="*/ 1316 w 2204"/>
              <a:gd name="T29" fmla="*/ 1505 h 2204"/>
              <a:gd name="T30" fmla="*/ 1015 w 2204"/>
              <a:gd name="T31" fmla="*/ 1194 h 2204"/>
              <a:gd name="T32" fmla="*/ 1015 w 2204"/>
              <a:gd name="T33" fmla="*/ 1449 h 2204"/>
              <a:gd name="T34" fmla="*/ 1408 w 2204"/>
              <a:gd name="T35" fmla="*/ 1872 h 2204"/>
              <a:gd name="T36" fmla="*/ 1802 w 2204"/>
              <a:gd name="T37" fmla="*/ 1449 h 2204"/>
              <a:gd name="T38" fmla="*/ 1802 w 2204"/>
              <a:gd name="T39" fmla="*/ 1194 h 2204"/>
              <a:gd name="T40" fmla="*/ 1095 w 2204"/>
              <a:gd name="T41" fmla="*/ 2204 h 2204"/>
              <a:gd name="T42" fmla="*/ 2204 w 2204"/>
              <a:gd name="T43" fmla="*/ 1092 h 2204"/>
              <a:gd name="T44" fmla="*/ 1095 w 2204"/>
              <a:gd name="T45" fmla="*/ 0 h 2204"/>
              <a:gd name="T46" fmla="*/ 0 w 2204"/>
              <a:gd name="T47" fmla="*/ 1092 h 2204"/>
              <a:gd name="T48" fmla="*/ 1095 w 2204"/>
              <a:gd name="T49" fmla="*/ 2204 h 2204"/>
              <a:gd name="T50" fmla="*/ 1095 w 2204"/>
              <a:gd name="T51" fmla="*/ 132 h 2204"/>
              <a:gd name="T52" fmla="*/ 2072 w 2204"/>
              <a:gd name="T53" fmla="*/ 1092 h 2204"/>
              <a:gd name="T54" fmla="*/ 1095 w 2204"/>
              <a:gd name="T55" fmla="*/ 2068 h 2204"/>
              <a:gd name="T56" fmla="*/ 137 w 2204"/>
              <a:gd name="T57" fmla="*/ 1092 h 2204"/>
              <a:gd name="T58" fmla="*/ 1095 w 2204"/>
              <a:gd name="T59" fmla="*/ 132 h 2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204" h="2204">
                <a:moveTo>
                  <a:pt x="1131" y="1075"/>
                </a:moveTo>
                <a:cubicBezTo>
                  <a:pt x="1131" y="1075"/>
                  <a:pt x="1131" y="1075"/>
                  <a:pt x="849" y="764"/>
                </a:cubicBezTo>
                <a:cubicBezTo>
                  <a:pt x="849" y="1470"/>
                  <a:pt x="849" y="1470"/>
                  <a:pt x="849" y="1470"/>
                </a:cubicBezTo>
                <a:cubicBezTo>
                  <a:pt x="849" y="1470"/>
                  <a:pt x="849" y="1470"/>
                  <a:pt x="645" y="1470"/>
                </a:cubicBezTo>
                <a:cubicBezTo>
                  <a:pt x="645" y="1470"/>
                  <a:pt x="645" y="1470"/>
                  <a:pt x="645" y="764"/>
                </a:cubicBezTo>
                <a:cubicBezTo>
                  <a:pt x="645" y="764"/>
                  <a:pt x="645" y="764"/>
                  <a:pt x="344" y="1075"/>
                </a:cubicBezTo>
                <a:cubicBezTo>
                  <a:pt x="344" y="1075"/>
                  <a:pt x="344" y="1075"/>
                  <a:pt x="344" y="819"/>
                </a:cubicBezTo>
                <a:cubicBezTo>
                  <a:pt x="344" y="819"/>
                  <a:pt x="344" y="819"/>
                  <a:pt x="738" y="397"/>
                </a:cubicBezTo>
                <a:cubicBezTo>
                  <a:pt x="738" y="397"/>
                  <a:pt x="738" y="397"/>
                  <a:pt x="1131" y="819"/>
                </a:cubicBezTo>
                <a:cubicBezTo>
                  <a:pt x="1131" y="819"/>
                  <a:pt x="1131" y="819"/>
                  <a:pt x="1131" y="1075"/>
                </a:cubicBezTo>
                <a:close/>
                <a:moveTo>
                  <a:pt x="1802" y="1194"/>
                </a:moveTo>
                <a:cubicBezTo>
                  <a:pt x="1802" y="1194"/>
                  <a:pt x="1802" y="1194"/>
                  <a:pt x="1519" y="1505"/>
                </a:cubicBezTo>
                <a:cubicBezTo>
                  <a:pt x="1519" y="799"/>
                  <a:pt x="1519" y="799"/>
                  <a:pt x="1519" y="799"/>
                </a:cubicBezTo>
                <a:cubicBezTo>
                  <a:pt x="1519" y="799"/>
                  <a:pt x="1519" y="799"/>
                  <a:pt x="1316" y="799"/>
                </a:cubicBezTo>
                <a:cubicBezTo>
                  <a:pt x="1316" y="799"/>
                  <a:pt x="1316" y="799"/>
                  <a:pt x="1316" y="1505"/>
                </a:cubicBezTo>
                <a:cubicBezTo>
                  <a:pt x="1316" y="1505"/>
                  <a:pt x="1316" y="1505"/>
                  <a:pt x="1015" y="1194"/>
                </a:cubicBezTo>
                <a:cubicBezTo>
                  <a:pt x="1015" y="1194"/>
                  <a:pt x="1015" y="1194"/>
                  <a:pt x="1015" y="1449"/>
                </a:cubicBezTo>
                <a:cubicBezTo>
                  <a:pt x="1015" y="1449"/>
                  <a:pt x="1015" y="1449"/>
                  <a:pt x="1408" y="1872"/>
                </a:cubicBezTo>
                <a:cubicBezTo>
                  <a:pt x="1408" y="1872"/>
                  <a:pt x="1408" y="1872"/>
                  <a:pt x="1802" y="1449"/>
                </a:cubicBezTo>
                <a:cubicBezTo>
                  <a:pt x="1802" y="1449"/>
                  <a:pt x="1802" y="1449"/>
                  <a:pt x="1802" y="1194"/>
                </a:cubicBezTo>
                <a:close/>
                <a:moveTo>
                  <a:pt x="1095" y="2204"/>
                </a:moveTo>
                <a:cubicBezTo>
                  <a:pt x="1718" y="2204"/>
                  <a:pt x="2204" y="1714"/>
                  <a:pt x="2204" y="1092"/>
                </a:cubicBezTo>
                <a:cubicBezTo>
                  <a:pt x="2204" y="485"/>
                  <a:pt x="1718" y="0"/>
                  <a:pt x="1095" y="0"/>
                </a:cubicBezTo>
                <a:cubicBezTo>
                  <a:pt x="492" y="0"/>
                  <a:pt x="0" y="485"/>
                  <a:pt x="0" y="1092"/>
                </a:cubicBezTo>
                <a:cubicBezTo>
                  <a:pt x="0" y="1714"/>
                  <a:pt x="492" y="2204"/>
                  <a:pt x="1095" y="2204"/>
                </a:cubicBezTo>
                <a:close/>
                <a:moveTo>
                  <a:pt x="1095" y="132"/>
                </a:moveTo>
                <a:cubicBezTo>
                  <a:pt x="1627" y="132"/>
                  <a:pt x="2072" y="561"/>
                  <a:pt x="2072" y="1092"/>
                </a:cubicBezTo>
                <a:cubicBezTo>
                  <a:pt x="2072" y="1628"/>
                  <a:pt x="1627" y="2068"/>
                  <a:pt x="1095" y="2068"/>
                </a:cubicBezTo>
                <a:cubicBezTo>
                  <a:pt x="563" y="2068"/>
                  <a:pt x="137" y="1628"/>
                  <a:pt x="137" y="1092"/>
                </a:cubicBezTo>
                <a:cubicBezTo>
                  <a:pt x="137" y="561"/>
                  <a:pt x="563" y="132"/>
                  <a:pt x="1095" y="132"/>
                </a:cubicBezTo>
                <a:close/>
              </a:path>
            </a:pathLst>
          </a:custGeom>
          <a:solidFill>
            <a:srgbClr val="00B0F0"/>
          </a:solidFill>
          <a:ln w="9525" cap="flat" cmpd="sng" algn="ctr">
            <a:noFill/>
            <a:prstDash val="solid"/>
            <a:headEnd type="none" w="med" len="med"/>
            <a:tailEnd type="none" w="med" len="med"/>
          </a:ln>
          <a:effectLst/>
        </p:spPr>
        <p:txBody>
          <a:bodyPr rot="0" spcFirstLastPara="0" vertOverflow="overflow" horzOverflow="overflow" vert="horz" wrap="square" lIns="179208" tIns="143366" rIns="179208" bIns="143366" numCol="1" spcCol="0" rtlCol="0" fromWordArt="0" anchor="t" anchorCtr="0" forceAA="0" compatLnSpc="1">
            <a:prstTxWarp prst="textNoShape">
              <a:avLst/>
            </a:prstTxWarp>
            <a:noAutofit/>
          </a:bodyPr>
          <a:lstStyle/>
          <a:p>
            <a:pPr marL="335951" indent="-335951" algn="ctr" defTabSz="913576">
              <a:lnSpc>
                <a:spcPct val="90000"/>
              </a:lnSpc>
              <a:buFont typeface="Wingdings 3" panose="05040102010807070707" pitchFamily="18" charset="2"/>
              <a:buChar char="Æ"/>
              <a:defRPr/>
            </a:pPr>
            <a:endParaRPr lang="en-US" sz="1961" b="1" kern="0">
              <a:solidFill>
                <a:srgbClr val="FFFFFF"/>
              </a:solidFill>
              <a:latin typeface="Segoe UI Light"/>
              <a:ea typeface="Segoe UI" pitchFamily="34" charset="0"/>
              <a:cs typeface="Segoe UI" pitchFamily="34" charset="0"/>
            </a:endParaRPr>
          </a:p>
        </p:txBody>
      </p:sp>
      <p:sp>
        <p:nvSpPr>
          <p:cNvPr id="148" name="Freeform 5"/>
          <p:cNvSpPr>
            <a:spLocks noEditPoints="1"/>
          </p:cNvSpPr>
          <p:nvPr/>
        </p:nvSpPr>
        <p:spPr bwMode="auto">
          <a:xfrm>
            <a:off x="8343269" y="4102197"/>
            <a:ext cx="415685" cy="448082"/>
          </a:xfrm>
          <a:custGeom>
            <a:avLst/>
            <a:gdLst>
              <a:gd name="T0" fmla="*/ 1460 w 1460"/>
              <a:gd name="T1" fmla="*/ 384 h 1615"/>
              <a:gd name="T2" fmla="*/ 1460 w 1460"/>
              <a:gd name="T3" fmla="*/ 1359 h 1615"/>
              <a:gd name="T4" fmla="*/ 1460 w 1460"/>
              <a:gd name="T5" fmla="*/ 1359 h 1615"/>
              <a:gd name="T6" fmla="*/ 730 w 1460"/>
              <a:gd name="T7" fmla="*/ 1615 h 1615"/>
              <a:gd name="T8" fmla="*/ 0 w 1460"/>
              <a:gd name="T9" fmla="*/ 1359 h 1615"/>
              <a:gd name="T10" fmla="*/ 0 w 1460"/>
              <a:gd name="T11" fmla="*/ 1359 h 1615"/>
              <a:gd name="T12" fmla="*/ 0 w 1460"/>
              <a:gd name="T13" fmla="*/ 1359 h 1615"/>
              <a:gd name="T14" fmla="*/ 0 w 1460"/>
              <a:gd name="T15" fmla="*/ 1339 h 1615"/>
              <a:gd name="T16" fmla="*/ 0 w 1460"/>
              <a:gd name="T17" fmla="*/ 1329 h 1615"/>
              <a:gd name="T18" fmla="*/ 0 w 1460"/>
              <a:gd name="T19" fmla="*/ 394 h 1615"/>
              <a:gd name="T20" fmla="*/ 730 w 1460"/>
              <a:gd name="T21" fmla="*/ 591 h 1615"/>
              <a:gd name="T22" fmla="*/ 1460 w 1460"/>
              <a:gd name="T23" fmla="*/ 384 h 1615"/>
              <a:gd name="T24" fmla="*/ 730 w 1460"/>
              <a:gd name="T25" fmla="*/ 541 h 1615"/>
              <a:gd name="T26" fmla="*/ 1460 w 1460"/>
              <a:gd name="T27" fmla="*/ 275 h 1615"/>
              <a:gd name="T28" fmla="*/ 730 w 1460"/>
              <a:gd name="T29" fmla="*/ 0 h 1615"/>
              <a:gd name="T30" fmla="*/ 0 w 1460"/>
              <a:gd name="T31" fmla="*/ 275 h 1615"/>
              <a:gd name="T32" fmla="*/ 730 w 1460"/>
              <a:gd name="T33" fmla="*/ 541 h 16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60" h="1615">
                <a:moveTo>
                  <a:pt x="1460" y="384"/>
                </a:moveTo>
                <a:cubicBezTo>
                  <a:pt x="1460" y="1359"/>
                  <a:pt x="1460" y="1359"/>
                  <a:pt x="1460" y="1359"/>
                </a:cubicBezTo>
                <a:cubicBezTo>
                  <a:pt x="1460" y="1359"/>
                  <a:pt x="1460" y="1359"/>
                  <a:pt x="1460" y="1359"/>
                </a:cubicBezTo>
                <a:cubicBezTo>
                  <a:pt x="1431" y="1507"/>
                  <a:pt x="1115" y="1615"/>
                  <a:pt x="730" y="1615"/>
                </a:cubicBezTo>
                <a:cubicBezTo>
                  <a:pt x="346" y="1615"/>
                  <a:pt x="30" y="1507"/>
                  <a:pt x="0" y="1359"/>
                </a:cubicBezTo>
                <a:cubicBezTo>
                  <a:pt x="0" y="1359"/>
                  <a:pt x="0" y="1359"/>
                  <a:pt x="0" y="1359"/>
                </a:cubicBezTo>
                <a:cubicBezTo>
                  <a:pt x="0" y="1359"/>
                  <a:pt x="0" y="1359"/>
                  <a:pt x="0" y="1359"/>
                </a:cubicBezTo>
                <a:cubicBezTo>
                  <a:pt x="0" y="1349"/>
                  <a:pt x="0" y="1349"/>
                  <a:pt x="0" y="1339"/>
                </a:cubicBezTo>
                <a:cubicBezTo>
                  <a:pt x="0" y="1339"/>
                  <a:pt x="0" y="1339"/>
                  <a:pt x="0" y="1329"/>
                </a:cubicBezTo>
                <a:cubicBezTo>
                  <a:pt x="0" y="394"/>
                  <a:pt x="0" y="394"/>
                  <a:pt x="0" y="394"/>
                </a:cubicBezTo>
                <a:cubicBezTo>
                  <a:pt x="119" y="522"/>
                  <a:pt x="434" y="591"/>
                  <a:pt x="730" y="591"/>
                </a:cubicBezTo>
                <a:cubicBezTo>
                  <a:pt x="1026" y="591"/>
                  <a:pt x="1342" y="522"/>
                  <a:pt x="1460" y="384"/>
                </a:cubicBezTo>
                <a:close/>
                <a:moveTo>
                  <a:pt x="730" y="541"/>
                </a:moveTo>
                <a:cubicBezTo>
                  <a:pt x="1135" y="541"/>
                  <a:pt x="1460" y="423"/>
                  <a:pt x="1460" y="275"/>
                </a:cubicBezTo>
                <a:cubicBezTo>
                  <a:pt x="1460" y="128"/>
                  <a:pt x="1135" y="0"/>
                  <a:pt x="730" y="0"/>
                </a:cubicBezTo>
                <a:cubicBezTo>
                  <a:pt x="326" y="0"/>
                  <a:pt x="0" y="128"/>
                  <a:pt x="0" y="275"/>
                </a:cubicBezTo>
                <a:cubicBezTo>
                  <a:pt x="0" y="423"/>
                  <a:pt x="326" y="541"/>
                  <a:pt x="730" y="541"/>
                </a:cubicBezTo>
                <a:close/>
              </a:path>
            </a:pathLst>
          </a:custGeom>
          <a:solidFill>
            <a:srgbClr val="0070C0"/>
          </a:solidFill>
          <a:ln>
            <a:noFill/>
          </a:ln>
        </p:spPr>
        <p:txBody>
          <a:bodyPr vert="horz" wrap="square" lIns="87843" tIns="43920" rIns="87843" bIns="43920" numCol="1" anchor="t" anchorCtr="0" compatLnSpc="1">
            <a:prstTxWarp prst="textNoShape">
              <a:avLst/>
            </a:prstTxWarp>
          </a:bodyPr>
          <a:lstStyle/>
          <a:p>
            <a:pPr defTabSz="895838">
              <a:defRPr/>
            </a:pPr>
            <a:endParaRPr lang="en-US" sz="1729" kern="0">
              <a:solidFill>
                <a:srgbClr val="505050"/>
              </a:solidFill>
            </a:endParaRPr>
          </a:p>
        </p:txBody>
      </p:sp>
      <p:sp>
        <p:nvSpPr>
          <p:cNvPr id="149" name="TextBox 148"/>
          <p:cNvSpPr txBox="1"/>
          <p:nvPr/>
        </p:nvSpPr>
        <p:spPr>
          <a:xfrm>
            <a:off x="8100154" y="4540362"/>
            <a:ext cx="936265" cy="590888"/>
          </a:xfrm>
          <a:prstGeom prst="rect">
            <a:avLst/>
          </a:prstGeom>
          <a:noFill/>
        </p:spPr>
        <p:txBody>
          <a:bodyPr wrap="square" lIns="179208" tIns="143366" rIns="179208" bIns="143366" rtlCol="0" anchor="ctr">
            <a:noAutofit/>
          </a:bodyPr>
          <a:lstStyle/>
          <a:p>
            <a:pPr algn="ctr" defTabSz="912979" fontAlgn="base">
              <a:lnSpc>
                <a:spcPct val="90000"/>
              </a:lnSpc>
              <a:spcBef>
                <a:spcPct val="0"/>
              </a:spcBef>
              <a:spcAft>
                <a:spcPts val="588"/>
              </a:spcAft>
            </a:pPr>
            <a:r>
              <a:rPr lang="en-US" sz="1176">
                <a:gradFill>
                  <a:gsLst>
                    <a:gs pos="72566">
                      <a:srgbClr val="505050"/>
                    </a:gs>
                    <a:gs pos="43000">
                      <a:srgbClr val="505050"/>
                    </a:gs>
                  </a:gsLst>
                  <a:lin ang="5400000" scaled="0"/>
                </a:gradFill>
                <a:latin typeface="Segoe UI Semibold" panose="020B0702040204020203" pitchFamily="34" charset="0"/>
                <a:ea typeface="MS PGothic" charset="0"/>
                <a:cs typeface="Segoe UI Semibold" panose="020B0702040204020203" pitchFamily="34" charset="0"/>
              </a:rPr>
              <a:t>Data Source	</a:t>
            </a:r>
          </a:p>
        </p:txBody>
      </p:sp>
      <p:sp>
        <p:nvSpPr>
          <p:cNvPr id="150" name="Freeform 5"/>
          <p:cNvSpPr>
            <a:spLocks noEditPoints="1"/>
          </p:cNvSpPr>
          <p:nvPr/>
        </p:nvSpPr>
        <p:spPr bwMode="auto">
          <a:xfrm>
            <a:off x="8990783" y="4102197"/>
            <a:ext cx="415685" cy="448082"/>
          </a:xfrm>
          <a:custGeom>
            <a:avLst/>
            <a:gdLst>
              <a:gd name="T0" fmla="*/ 1460 w 1460"/>
              <a:gd name="T1" fmla="*/ 384 h 1615"/>
              <a:gd name="T2" fmla="*/ 1460 w 1460"/>
              <a:gd name="T3" fmla="*/ 1359 h 1615"/>
              <a:gd name="T4" fmla="*/ 1460 w 1460"/>
              <a:gd name="T5" fmla="*/ 1359 h 1615"/>
              <a:gd name="T6" fmla="*/ 730 w 1460"/>
              <a:gd name="T7" fmla="*/ 1615 h 1615"/>
              <a:gd name="T8" fmla="*/ 0 w 1460"/>
              <a:gd name="T9" fmla="*/ 1359 h 1615"/>
              <a:gd name="T10" fmla="*/ 0 w 1460"/>
              <a:gd name="T11" fmla="*/ 1359 h 1615"/>
              <a:gd name="T12" fmla="*/ 0 w 1460"/>
              <a:gd name="T13" fmla="*/ 1359 h 1615"/>
              <a:gd name="T14" fmla="*/ 0 w 1460"/>
              <a:gd name="T15" fmla="*/ 1339 h 1615"/>
              <a:gd name="T16" fmla="*/ 0 w 1460"/>
              <a:gd name="T17" fmla="*/ 1329 h 1615"/>
              <a:gd name="T18" fmla="*/ 0 w 1460"/>
              <a:gd name="T19" fmla="*/ 394 h 1615"/>
              <a:gd name="T20" fmla="*/ 730 w 1460"/>
              <a:gd name="T21" fmla="*/ 591 h 1615"/>
              <a:gd name="T22" fmla="*/ 1460 w 1460"/>
              <a:gd name="T23" fmla="*/ 384 h 1615"/>
              <a:gd name="T24" fmla="*/ 730 w 1460"/>
              <a:gd name="T25" fmla="*/ 541 h 1615"/>
              <a:gd name="T26" fmla="*/ 1460 w 1460"/>
              <a:gd name="T27" fmla="*/ 275 h 1615"/>
              <a:gd name="T28" fmla="*/ 730 w 1460"/>
              <a:gd name="T29" fmla="*/ 0 h 1615"/>
              <a:gd name="T30" fmla="*/ 0 w 1460"/>
              <a:gd name="T31" fmla="*/ 275 h 1615"/>
              <a:gd name="T32" fmla="*/ 730 w 1460"/>
              <a:gd name="T33" fmla="*/ 541 h 16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60" h="1615">
                <a:moveTo>
                  <a:pt x="1460" y="384"/>
                </a:moveTo>
                <a:cubicBezTo>
                  <a:pt x="1460" y="1359"/>
                  <a:pt x="1460" y="1359"/>
                  <a:pt x="1460" y="1359"/>
                </a:cubicBezTo>
                <a:cubicBezTo>
                  <a:pt x="1460" y="1359"/>
                  <a:pt x="1460" y="1359"/>
                  <a:pt x="1460" y="1359"/>
                </a:cubicBezTo>
                <a:cubicBezTo>
                  <a:pt x="1431" y="1507"/>
                  <a:pt x="1115" y="1615"/>
                  <a:pt x="730" y="1615"/>
                </a:cubicBezTo>
                <a:cubicBezTo>
                  <a:pt x="346" y="1615"/>
                  <a:pt x="30" y="1507"/>
                  <a:pt x="0" y="1359"/>
                </a:cubicBezTo>
                <a:cubicBezTo>
                  <a:pt x="0" y="1359"/>
                  <a:pt x="0" y="1359"/>
                  <a:pt x="0" y="1359"/>
                </a:cubicBezTo>
                <a:cubicBezTo>
                  <a:pt x="0" y="1359"/>
                  <a:pt x="0" y="1359"/>
                  <a:pt x="0" y="1359"/>
                </a:cubicBezTo>
                <a:cubicBezTo>
                  <a:pt x="0" y="1349"/>
                  <a:pt x="0" y="1349"/>
                  <a:pt x="0" y="1339"/>
                </a:cubicBezTo>
                <a:cubicBezTo>
                  <a:pt x="0" y="1339"/>
                  <a:pt x="0" y="1339"/>
                  <a:pt x="0" y="1329"/>
                </a:cubicBezTo>
                <a:cubicBezTo>
                  <a:pt x="0" y="394"/>
                  <a:pt x="0" y="394"/>
                  <a:pt x="0" y="394"/>
                </a:cubicBezTo>
                <a:cubicBezTo>
                  <a:pt x="119" y="522"/>
                  <a:pt x="434" y="591"/>
                  <a:pt x="730" y="591"/>
                </a:cubicBezTo>
                <a:cubicBezTo>
                  <a:pt x="1026" y="591"/>
                  <a:pt x="1342" y="522"/>
                  <a:pt x="1460" y="384"/>
                </a:cubicBezTo>
                <a:close/>
                <a:moveTo>
                  <a:pt x="730" y="541"/>
                </a:moveTo>
                <a:cubicBezTo>
                  <a:pt x="1135" y="541"/>
                  <a:pt x="1460" y="423"/>
                  <a:pt x="1460" y="275"/>
                </a:cubicBezTo>
                <a:cubicBezTo>
                  <a:pt x="1460" y="128"/>
                  <a:pt x="1135" y="0"/>
                  <a:pt x="730" y="0"/>
                </a:cubicBezTo>
                <a:cubicBezTo>
                  <a:pt x="326" y="0"/>
                  <a:pt x="0" y="128"/>
                  <a:pt x="0" y="275"/>
                </a:cubicBezTo>
                <a:cubicBezTo>
                  <a:pt x="0" y="423"/>
                  <a:pt x="326" y="541"/>
                  <a:pt x="730" y="541"/>
                </a:cubicBezTo>
                <a:close/>
              </a:path>
            </a:pathLst>
          </a:custGeom>
          <a:solidFill>
            <a:srgbClr val="0070C0"/>
          </a:solidFill>
          <a:ln>
            <a:noFill/>
          </a:ln>
        </p:spPr>
        <p:txBody>
          <a:bodyPr vert="horz" wrap="square" lIns="87843" tIns="43920" rIns="87843" bIns="43920" numCol="1" anchor="t" anchorCtr="0" compatLnSpc="1">
            <a:prstTxWarp prst="textNoShape">
              <a:avLst/>
            </a:prstTxWarp>
          </a:bodyPr>
          <a:lstStyle/>
          <a:p>
            <a:pPr defTabSz="895838">
              <a:defRPr/>
            </a:pPr>
            <a:endParaRPr lang="en-US" sz="1729" kern="0">
              <a:solidFill>
                <a:srgbClr val="505050"/>
              </a:solidFill>
            </a:endParaRPr>
          </a:p>
        </p:txBody>
      </p:sp>
      <p:sp>
        <p:nvSpPr>
          <p:cNvPr id="151" name="TextBox 150"/>
          <p:cNvSpPr txBox="1"/>
          <p:nvPr/>
        </p:nvSpPr>
        <p:spPr>
          <a:xfrm>
            <a:off x="8751047" y="4540362"/>
            <a:ext cx="936265" cy="590888"/>
          </a:xfrm>
          <a:prstGeom prst="rect">
            <a:avLst/>
          </a:prstGeom>
          <a:noFill/>
        </p:spPr>
        <p:txBody>
          <a:bodyPr wrap="square" lIns="179208" tIns="143366" rIns="179208" bIns="143366" rtlCol="0" anchor="ctr">
            <a:noAutofit/>
          </a:bodyPr>
          <a:lstStyle/>
          <a:p>
            <a:pPr algn="ctr" defTabSz="912979" fontAlgn="base">
              <a:lnSpc>
                <a:spcPct val="90000"/>
              </a:lnSpc>
              <a:spcBef>
                <a:spcPct val="0"/>
              </a:spcBef>
              <a:spcAft>
                <a:spcPts val="588"/>
              </a:spcAft>
            </a:pPr>
            <a:r>
              <a:rPr lang="en-US" sz="1176">
                <a:gradFill>
                  <a:gsLst>
                    <a:gs pos="72566">
                      <a:srgbClr val="505050"/>
                    </a:gs>
                    <a:gs pos="43000">
                      <a:srgbClr val="505050"/>
                    </a:gs>
                  </a:gsLst>
                  <a:lin ang="5400000" scaled="0"/>
                </a:gradFill>
                <a:latin typeface="Segoe UI Semibold" panose="020B0702040204020203" pitchFamily="34" charset="0"/>
                <a:ea typeface="MS PGothic" charset="0"/>
                <a:cs typeface="Segoe UI Semibold" panose="020B0702040204020203" pitchFamily="34" charset="0"/>
              </a:rPr>
              <a:t>Data Source	</a:t>
            </a:r>
          </a:p>
        </p:txBody>
      </p:sp>
      <p:sp>
        <p:nvSpPr>
          <p:cNvPr id="152" name="TextBox 151"/>
          <p:cNvSpPr txBox="1"/>
          <p:nvPr/>
        </p:nvSpPr>
        <p:spPr>
          <a:xfrm>
            <a:off x="7367925" y="4023769"/>
            <a:ext cx="1158082" cy="583792"/>
          </a:xfrm>
          <a:prstGeom prst="rect">
            <a:avLst/>
          </a:prstGeom>
          <a:noFill/>
        </p:spPr>
        <p:txBody>
          <a:bodyPr wrap="square" lIns="179259" tIns="143407" rIns="179259" bIns="143407" rtlCol="0" anchor="ctr">
            <a:noAutofit/>
          </a:bodyPr>
          <a:lstStyle/>
          <a:p>
            <a:pPr algn="ctr" defTabSz="914192">
              <a:lnSpc>
                <a:spcPct val="90000"/>
              </a:lnSpc>
              <a:spcAft>
                <a:spcPts val="588"/>
              </a:spcAft>
              <a:defRPr/>
            </a:pPr>
            <a:r>
              <a:rPr lang="en-US" sz="1175" kern="0">
                <a:gradFill>
                  <a:gsLst>
                    <a:gs pos="2917">
                      <a:srgbClr val="000000"/>
                    </a:gs>
                    <a:gs pos="30000">
                      <a:srgbClr val="000000"/>
                    </a:gs>
                  </a:gsLst>
                  <a:lin ang="5400000" scaled="0"/>
                </a:gradFill>
              </a:rPr>
              <a:t>On-Premises Data Gateway</a:t>
            </a:r>
          </a:p>
        </p:txBody>
      </p:sp>
      <p:sp>
        <p:nvSpPr>
          <p:cNvPr id="153" name="TextBox 152"/>
          <p:cNvSpPr txBox="1"/>
          <p:nvPr/>
        </p:nvSpPr>
        <p:spPr>
          <a:xfrm>
            <a:off x="10316566" y="1497494"/>
            <a:ext cx="1182661" cy="447287"/>
          </a:xfrm>
          <a:prstGeom prst="rect">
            <a:avLst/>
          </a:prstGeom>
          <a:noFill/>
          <a:ln>
            <a:noFill/>
          </a:ln>
        </p:spPr>
        <p:txBody>
          <a:bodyPr wrap="square" lIns="179259" tIns="143407" rIns="179259" bIns="143407" rtlCol="0" anchor="ctr">
            <a:noAutofit/>
          </a:bodyPr>
          <a:lstStyle/>
          <a:p>
            <a:pPr algn="ctr" defTabSz="914192">
              <a:lnSpc>
                <a:spcPct val="90000"/>
              </a:lnSpc>
              <a:spcAft>
                <a:spcPts val="588"/>
              </a:spcAft>
              <a:defRPr/>
            </a:pPr>
            <a:r>
              <a:rPr lang="en-US" sz="1200" kern="0" err="1">
                <a:gradFill>
                  <a:gsLst>
                    <a:gs pos="2917">
                      <a:srgbClr val="000000"/>
                    </a:gs>
                    <a:gs pos="30000">
                      <a:srgbClr val="000000"/>
                    </a:gs>
                  </a:gsLst>
                  <a:lin ang="5400000" scaled="0"/>
                </a:gradFill>
              </a:rPr>
              <a:t>PowerApps</a:t>
            </a:r>
            <a:endParaRPr lang="en-US" sz="1200" kern="0">
              <a:gradFill>
                <a:gsLst>
                  <a:gs pos="2917">
                    <a:srgbClr val="000000"/>
                  </a:gs>
                  <a:gs pos="30000">
                    <a:srgbClr val="000000"/>
                  </a:gs>
                </a:gsLst>
                <a:lin ang="5400000" scaled="0"/>
              </a:gradFill>
            </a:endParaRPr>
          </a:p>
        </p:txBody>
      </p:sp>
      <p:sp>
        <p:nvSpPr>
          <p:cNvPr id="154" name="TextBox 153"/>
          <p:cNvSpPr txBox="1"/>
          <p:nvPr/>
        </p:nvSpPr>
        <p:spPr>
          <a:xfrm>
            <a:off x="10087420" y="2017056"/>
            <a:ext cx="1371600" cy="431298"/>
          </a:xfrm>
          <a:prstGeom prst="rect">
            <a:avLst/>
          </a:prstGeom>
          <a:noFill/>
          <a:ln>
            <a:noFill/>
          </a:ln>
        </p:spPr>
        <p:txBody>
          <a:bodyPr wrap="square" lIns="179259" tIns="143407" rIns="179259" bIns="143407" rtlCol="0" anchor="ctr">
            <a:noAutofit/>
          </a:bodyPr>
          <a:lstStyle/>
          <a:p>
            <a:pPr algn="ctr" defTabSz="914192">
              <a:lnSpc>
                <a:spcPct val="90000"/>
              </a:lnSpc>
              <a:spcAft>
                <a:spcPts val="588"/>
              </a:spcAft>
              <a:defRPr/>
            </a:pPr>
            <a:r>
              <a:rPr lang="en-US" sz="1200" kern="0">
                <a:gradFill>
                  <a:gsLst>
                    <a:gs pos="2917">
                      <a:srgbClr val="000000"/>
                    </a:gs>
                    <a:gs pos="30000">
                      <a:srgbClr val="000000"/>
                    </a:gs>
                  </a:gsLst>
                  <a:lin ang="5400000" scaled="0"/>
                </a:gradFill>
              </a:rPr>
              <a:t>Microsoft Flow</a:t>
            </a:r>
          </a:p>
        </p:txBody>
      </p:sp>
      <p:sp>
        <p:nvSpPr>
          <p:cNvPr id="155" name="TextBox 154"/>
          <p:cNvSpPr txBox="1"/>
          <p:nvPr/>
        </p:nvSpPr>
        <p:spPr>
          <a:xfrm>
            <a:off x="10450136" y="2527905"/>
            <a:ext cx="1636998" cy="404347"/>
          </a:xfrm>
          <a:prstGeom prst="rect">
            <a:avLst/>
          </a:prstGeom>
          <a:noFill/>
          <a:ln>
            <a:noFill/>
          </a:ln>
        </p:spPr>
        <p:txBody>
          <a:bodyPr wrap="square" lIns="179259" tIns="143407" rIns="179259" bIns="143407" rtlCol="0" anchor="ctr">
            <a:noAutofit/>
          </a:bodyPr>
          <a:lstStyle/>
          <a:p>
            <a:pPr algn="ctr" defTabSz="914192">
              <a:lnSpc>
                <a:spcPct val="90000"/>
              </a:lnSpc>
              <a:spcAft>
                <a:spcPts val="588"/>
              </a:spcAft>
              <a:defRPr/>
            </a:pPr>
            <a:r>
              <a:rPr lang="en-US" sz="1200" kern="0">
                <a:gradFill>
                  <a:gsLst>
                    <a:gs pos="2917">
                      <a:srgbClr val="000000"/>
                    </a:gs>
                    <a:gs pos="30000">
                      <a:srgbClr val="000000"/>
                    </a:gs>
                  </a:gsLst>
                  <a:lin ang="5400000" scaled="0"/>
                </a:gradFill>
              </a:rPr>
              <a:t>Azure Logic Apps</a:t>
            </a:r>
          </a:p>
        </p:txBody>
      </p:sp>
      <p:pic>
        <p:nvPicPr>
          <p:cNvPr id="156" name="Picture 155"/>
          <p:cNvPicPr>
            <a:picLocks noChangeAspect="1"/>
          </p:cNvPicPr>
          <p:nvPr/>
        </p:nvPicPr>
        <p:blipFill>
          <a:blip r:embed="rId5" cstate="screen">
            <a:extLst>
              <a:ext uri="{28A0092B-C50C-407E-A947-70E740481C1C}">
                <a14:useLocalDpi xmlns:a14="http://schemas.microsoft.com/office/drawing/2010/main" val="0"/>
              </a:ext>
            </a:extLst>
          </a:blip>
          <a:stretch>
            <a:fillRect/>
          </a:stretch>
        </p:blipFill>
        <p:spPr>
          <a:xfrm>
            <a:off x="7796903" y="1801110"/>
            <a:ext cx="2103121" cy="1192464"/>
          </a:xfrm>
          <a:prstGeom prst="rect">
            <a:avLst/>
          </a:prstGeom>
          <a:ln>
            <a:noFill/>
          </a:ln>
          <a:effectLst>
            <a:outerShdw blurRad="292100" dist="139700" dir="2700000" algn="tl" rotWithShape="0">
              <a:srgbClr val="333333">
                <a:alpha val="65000"/>
              </a:srgbClr>
            </a:outerShdw>
          </a:effectLst>
        </p:spPr>
      </p:pic>
      <p:sp>
        <p:nvSpPr>
          <p:cNvPr id="157" name="TextBox 156"/>
          <p:cNvSpPr txBox="1"/>
          <p:nvPr/>
        </p:nvSpPr>
        <p:spPr>
          <a:xfrm>
            <a:off x="7655156" y="1143372"/>
            <a:ext cx="1376225" cy="634358"/>
          </a:xfrm>
          <a:prstGeom prst="rect">
            <a:avLst/>
          </a:prstGeom>
          <a:noFill/>
        </p:spPr>
        <p:txBody>
          <a:bodyPr wrap="square" lIns="179259" tIns="143407" rIns="179259" bIns="143407" rtlCol="0" anchor="ctr">
            <a:noAutofit/>
          </a:bodyPr>
          <a:lstStyle/>
          <a:p>
            <a:pPr algn="ctr" defTabSz="914192">
              <a:lnSpc>
                <a:spcPct val="90000"/>
              </a:lnSpc>
              <a:spcAft>
                <a:spcPts val="588"/>
              </a:spcAft>
              <a:defRPr/>
            </a:pPr>
            <a:r>
              <a:rPr lang="en-US" sz="1175" kern="0">
                <a:gradFill>
                  <a:gsLst>
                    <a:gs pos="2917">
                      <a:srgbClr val="000000"/>
                    </a:gs>
                    <a:gs pos="30000">
                      <a:srgbClr val="000000"/>
                    </a:gs>
                  </a:gsLst>
                  <a:lin ang="5400000" scaled="0"/>
                </a:gradFill>
              </a:rPr>
              <a:t>Live Power BI Dashboards and Reports</a:t>
            </a:r>
          </a:p>
        </p:txBody>
      </p:sp>
    </p:spTree>
    <p:extLst>
      <p:ext uri="{BB962C8B-B14F-4D97-AF65-F5344CB8AC3E}">
        <p14:creationId xmlns:p14="http://schemas.microsoft.com/office/powerpoint/2010/main" val="9007164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 name="Text Placeholder 2"/>
          <p:cNvSpPr txBox="1">
            <a:spLocks/>
          </p:cNvSpPr>
          <p:nvPr/>
        </p:nvSpPr>
        <p:spPr>
          <a:xfrm>
            <a:off x="2846172" y="1340643"/>
            <a:ext cx="8244615" cy="2130144"/>
          </a:xfrm>
          <a:prstGeom prst="rect">
            <a:avLst/>
          </a:prstGeom>
        </p:spPr>
        <p:txBody>
          <a:bodyPr vert="horz" wrap="square" lIns="182880" tIns="146304" rIns="182880" bIns="146304" rtlCol="0">
            <a:noAutofit/>
          </a:bodyPr>
          <a:lstStyle>
            <a:lvl1pPr marL="182845" marR="0"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3921" kern="1200" spc="0" baseline="0">
                <a:gradFill>
                  <a:gsLst>
                    <a:gs pos="1250">
                      <a:schemeClr val="tx2"/>
                    </a:gs>
                    <a:gs pos="99000">
                      <a:schemeClr val="tx2"/>
                    </a:gs>
                  </a:gsLst>
                  <a:lin ang="5400000" scaled="0"/>
                </a:gradFill>
                <a:latin typeface="+mj-lt"/>
                <a:ea typeface="+mn-ea"/>
                <a:cs typeface="+mn-cs"/>
              </a:defRPr>
            </a:lvl1pPr>
            <a:lvl2pPr marL="365690" marR="0"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2400" kern="1200" spc="0" baseline="0">
                <a:solidFill>
                  <a:schemeClr val="tx2"/>
                </a:solidFill>
                <a:latin typeface="+mj-lt"/>
                <a:ea typeface="+mn-ea"/>
                <a:cs typeface="+mn-cs"/>
              </a:defRPr>
            </a:lvl2pPr>
            <a:lvl3pPr marL="548535" marR="0"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2000" kern="1200" spc="0" baseline="0">
                <a:solidFill>
                  <a:schemeClr val="tx2"/>
                </a:solidFill>
                <a:latin typeface="+mj-lt"/>
                <a:ea typeface="+mn-ea"/>
                <a:cs typeface="+mn-cs"/>
              </a:defRPr>
            </a:lvl3pPr>
            <a:lvl4pPr marL="733802" marR="0" indent="-28569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1765" kern="1200" spc="0" baseline="0">
                <a:solidFill>
                  <a:schemeClr val="tx2"/>
                </a:solidFill>
                <a:latin typeface="+mn-lt"/>
                <a:ea typeface="+mn-ea"/>
                <a:cs typeface="+mn-cs"/>
              </a:defRPr>
            </a:lvl4pPr>
            <a:lvl5pPr marL="957856" marR="0" indent="-28569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1765" kern="1200" spc="0" baseline="0">
                <a:solidFill>
                  <a:schemeClr val="tx2"/>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r>
              <a:rPr kumimoji="0" lang="en-US" sz="2000" b="1"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rPr>
              <a:t>Get notifications </a:t>
            </a:r>
            <a:r>
              <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rPr>
              <a:t>when a metric on your dashboard exceeds a set threshold</a:t>
            </a:r>
          </a:p>
          <a:p>
            <a:pPr marL="182845" marR="0" lvl="1" indent="0" algn="l" defTabSz="914367" rtl="0" eaLnBrk="1" fontAlgn="auto" latinLnBrk="0" hangingPunct="1">
              <a:lnSpc>
                <a:spcPct val="90000"/>
              </a:lnSpc>
              <a:spcBef>
                <a:spcPct val="20000"/>
              </a:spcBef>
              <a:spcAft>
                <a:spcPts val="0"/>
              </a:spcAft>
              <a:buClrTx/>
              <a:buSzPct val="90000"/>
              <a:buFont typeface="Arial" panose="020B0604020202020204" pitchFamily="34" charset="0"/>
              <a:buNone/>
              <a:tabLst/>
              <a:defRPr/>
            </a:pPr>
            <a:endParaRPr kumimoji="0" lang="en-US" sz="2000" b="1"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r>
              <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rPr>
              <a:t>Alerts work for </a:t>
            </a:r>
            <a:r>
              <a:rPr kumimoji="0" lang="en-US" sz="2000" b="1"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rPr>
              <a:t>numeric tiles </a:t>
            </a:r>
            <a:r>
              <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rPr>
              <a:t>featuring cards and gauges</a:t>
            </a: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1"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r>
              <a:rPr kumimoji="0" lang="en-US" sz="2000" b="1"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rPr>
              <a:t>Fully synchronized </a:t>
            </a:r>
            <a:r>
              <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rPr>
              <a:t>across platforms – set and view alerts in mobile app and Power BI Service.</a:t>
            </a:r>
            <a:endParaRPr kumimoji="0" lang="en-US" sz="2000" b="1"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a:p>
            <a:pPr marL="182845" marR="0" lvl="1" indent="0" algn="l" defTabSz="914367" rtl="0" eaLnBrk="1" fontAlgn="auto" latinLnBrk="0" hangingPunct="1">
              <a:lnSpc>
                <a:spcPct val="90000"/>
              </a:lnSpc>
              <a:spcBef>
                <a:spcPct val="20000"/>
              </a:spcBef>
              <a:spcAft>
                <a:spcPts val="0"/>
              </a:spcAft>
              <a:buClrTx/>
              <a:buSzPct val="90000"/>
              <a:buFont typeface="Arial" panose="020B0604020202020204" pitchFamily="34" charset="0"/>
              <a:buNone/>
              <a:tabLst/>
              <a:defRPr/>
            </a:pPr>
            <a:endPar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a:p>
            <a:pPr marL="182845" marR="0" lvl="1" indent="0" algn="l" defTabSz="914367" rtl="0" eaLnBrk="1" fontAlgn="auto" latinLnBrk="0" hangingPunct="1">
              <a:lnSpc>
                <a:spcPct val="90000"/>
              </a:lnSpc>
              <a:spcBef>
                <a:spcPct val="20000"/>
              </a:spcBef>
              <a:spcAft>
                <a:spcPts val="0"/>
              </a:spcAft>
              <a:buClrTx/>
              <a:buSzPct val="90000"/>
              <a:buFont typeface="Arial" panose="020B0604020202020204" pitchFamily="34" charset="0"/>
              <a:buNone/>
              <a:tabLst/>
              <a:defRPr/>
            </a:pPr>
            <a:endPar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a:p>
            <a:pPr marL="182845" marR="0" lvl="1" indent="0" algn="l" defTabSz="914367" rtl="0" eaLnBrk="1" fontAlgn="auto" latinLnBrk="0" hangingPunct="1">
              <a:lnSpc>
                <a:spcPct val="90000"/>
              </a:lnSpc>
              <a:spcBef>
                <a:spcPct val="20000"/>
              </a:spcBef>
              <a:spcAft>
                <a:spcPts val="0"/>
              </a:spcAft>
              <a:buClrTx/>
              <a:buSzPct val="90000"/>
              <a:buFont typeface="Arial" panose="020B0604020202020204" pitchFamily="34" charset="0"/>
              <a:buNone/>
              <a:tabLst/>
              <a:defRPr/>
            </a:pPr>
            <a:r>
              <a:rPr kumimoji="0" lang="en-US" sz="2000" b="0" i="1" u="none" strike="noStrike" kern="1200" cap="none" spc="0" normalizeH="0" baseline="0" noProof="0">
                <a:ln>
                  <a:noFill/>
                </a:ln>
                <a:solidFill>
                  <a:srgbClr val="000000"/>
                </a:solidFill>
                <a:effectLst/>
                <a:uLnTx/>
                <a:uFillTx/>
                <a:latin typeface="Segoe UI Light"/>
                <a:ea typeface="+mn-ea"/>
                <a:cs typeface="+mn-cs"/>
              </a:rPr>
              <a:t>.</a:t>
            </a:r>
            <a:endParaRPr kumimoji="0" lang="en-US" sz="2000" b="0" i="1"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1"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a:p>
            <a:pPr marL="182845" marR="0" lvl="1" indent="0" algn="l" defTabSz="914367" rtl="0" eaLnBrk="1" fontAlgn="auto" latinLnBrk="0" hangingPunct="1">
              <a:lnSpc>
                <a:spcPct val="90000"/>
              </a:lnSpc>
              <a:spcBef>
                <a:spcPct val="20000"/>
              </a:spcBef>
              <a:spcAft>
                <a:spcPts val="0"/>
              </a:spcAft>
              <a:buClrTx/>
              <a:buSzPct val="90000"/>
              <a:buFont typeface="Arial" panose="020B0604020202020204" pitchFamily="34" charset="0"/>
              <a:buNone/>
              <a:tabLst/>
              <a:defRPr/>
            </a:pPr>
            <a:endPar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1"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1"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p:txBody>
      </p:sp>
      <p:sp>
        <p:nvSpPr>
          <p:cNvPr id="53" name="Title 10"/>
          <p:cNvSpPr txBox="1">
            <a:spLocks/>
          </p:cNvSpPr>
          <p:nvPr/>
        </p:nvSpPr>
        <p:spPr>
          <a:xfrm>
            <a:off x="2849060" y="0"/>
            <a:ext cx="9342940" cy="665151"/>
          </a:xfrm>
          <a:prstGeom prst="rect">
            <a:avLst/>
          </a:prstGeom>
          <a:noFill/>
        </p:spPr>
        <p:txBody>
          <a:bodyPr vert="horz" wrap="square" lIns="0" tIns="91440" rIns="0" bIns="91440" rtlCol="0" anchor="t">
            <a:noAutofit/>
          </a:bodyPr>
          <a:lstStyle>
            <a:lvl1pPr defTabSz="914367">
              <a:lnSpc>
                <a:spcPct val="90000"/>
              </a:lnSpc>
              <a:spcBef>
                <a:spcPct val="0"/>
              </a:spcBef>
              <a:buNone/>
              <a:defRPr lang="en-US" sz="5294" b="0" cap="none" spc="-100" baseline="0" dirty="0" smtClean="0">
                <a:ln w="3175">
                  <a:noFill/>
                </a:ln>
                <a:solidFill>
                  <a:schemeClr val="tx2"/>
                </a:solidFill>
                <a:effectLst/>
                <a:latin typeface="+mj-lt"/>
                <a:cs typeface="Segoe UI" pitchFamily="34" charset="0"/>
              </a:defRPr>
            </a:lvl1pPr>
          </a:lstStyle>
          <a:p>
            <a:pPr marL="168275" marR="0" lvl="0" indent="0" algn="l" defTabSz="914367" rtl="0" eaLnBrk="1" fontAlgn="auto" latinLnBrk="0" hangingPunct="1">
              <a:lnSpc>
                <a:spcPct val="90000"/>
              </a:lnSpc>
              <a:spcBef>
                <a:spcPct val="0"/>
              </a:spcBef>
              <a:spcAft>
                <a:spcPts val="0"/>
              </a:spcAft>
              <a:buClrTx/>
              <a:buSzTx/>
              <a:buFontTx/>
              <a:buNone/>
              <a:tabLst/>
              <a:defRPr/>
            </a:pPr>
            <a:r>
              <a:rPr kumimoji="0" lang="en-US" sz="3600" b="0" i="0" u="none" strike="noStrike" kern="1200" cap="none" spc="-100" normalizeH="0" baseline="0" noProof="0">
                <a:ln w="3175">
                  <a:noFill/>
                </a:ln>
                <a:solidFill>
                  <a:prstClr val="black"/>
                </a:solidFill>
                <a:effectLst/>
                <a:uLnTx/>
                <a:uFillTx/>
                <a:latin typeface="Segoe UI Light"/>
                <a:ea typeface="+mn-ea"/>
                <a:cs typeface="Segoe UI" pitchFamily="34" charset="0"/>
              </a:rPr>
              <a:t>Pinning and Navigation</a:t>
            </a:r>
            <a:endParaRPr kumimoji="0" lang="en-IN" sz="3600" b="0" i="0" u="none" strike="noStrike" kern="1200" cap="none" spc="-100" normalizeH="0" baseline="0" noProof="0">
              <a:ln w="3175">
                <a:noFill/>
              </a:ln>
              <a:solidFill>
                <a:prstClr val="black"/>
              </a:solidFill>
              <a:effectLst/>
              <a:uLnTx/>
              <a:uFillTx/>
              <a:latin typeface="Segoe UI Light"/>
              <a:ea typeface="+mn-ea"/>
              <a:cs typeface="Segoe UI" pitchFamily="34" charset="0"/>
            </a:endParaRPr>
          </a:p>
        </p:txBody>
      </p:sp>
      <p:sp>
        <p:nvSpPr>
          <p:cNvPr id="41" name="Rectangle 3"/>
          <p:cNvSpPr/>
          <p:nvPr/>
        </p:nvSpPr>
        <p:spPr bwMode="auto">
          <a:xfrm>
            <a:off x="3202216" y="665151"/>
            <a:ext cx="8105312" cy="44435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PT" sz="2000" b="0" i="1" u="none" strike="noStrike" kern="1200" cap="none" spc="0" normalizeH="0" baseline="0" noProof="0">
                <a:ln>
                  <a:noFill/>
                </a:ln>
                <a:solidFill>
                  <a:prstClr val="black"/>
                </a:solidFill>
                <a:effectLst/>
                <a:uLnTx/>
                <a:uFillTx/>
                <a:latin typeface="Segoe UI Light"/>
                <a:ea typeface="+mn-ea"/>
                <a:cs typeface="+mn-cs"/>
              </a:rPr>
              <a:t>Dashboard – Data driven alerts</a:t>
            </a:r>
            <a:endParaRPr kumimoji="0" lang="en-US" sz="2000" b="0" i="1" u="none" strike="noStrike" kern="1200" cap="none" spc="0" normalizeH="0" baseline="0" noProof="0">
              <a:ln>
                <a:noFill/>
              </a:ln>
              <a:solidFill>
                <a:prstClr val="black"/>
              </a:solidFill>
              <a:effectLst/>
              <a:uLnTx/>
              <a:uFillTx/>
              <a:latin typeface="Segoe UI Light"/>
              <a:ea typeface="+mn-ea"/>
              <a:cs typeface="+mn-cs"/>
            </a:endParaRPr>
          </a:p>
        </p:txBody>
      </p:sp>
      <p:grpSp>
        <p:nvGrpSpPr>
          <p:cNvPr id="81" name="Group 80"/>
          <p:cNvGrpSpPr/>
          <p:nvPr/>
        </p:nvGrpSpPr>
        <p:grpSpPr>
          <a:xfrm>
            <a:off x="-2887" y="973"/>
            <a:ext cx="2849058" cy="6857027"/>
            <a:chOff x="2" y="487"/>
            <a:chExt cx="2849058" cy="6857027"/>
          </a:xfrm>
        </p:grpSpPr>
        <p:sp>
          <p:nvSpPr>
            <p:cNvPr id="94" name="Rectangle 15"/>
            <p:cNvSpPr/>
            <p:nvPr/>
          </p:nvSpPr>
          <p:spPr bwMode="auto">
            <a:xfrm>
              <a:off x="2" y="487"/>
              <a:ext cx="2849058" cy="685702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5" name="Rectangle 145"/>
            <p:cNvSpPr/>
            <p:nvPr/>
          </p:nvSpPr>
          <p:spPr bwMode="auto">
            <a:xfrm>
              <a:off x="696152" y="956997"/>
              <a:ext cx="1821468" cy="3831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2C812"/>
                  </a:solidFill>
                  <a:effectLst/>
                  <a:uLnTx/>
                  <a:uFillTx/>
                  <a:latin typeface="Segoe UI"/>
                  <a:ea typeface="+mn-ea"/>
                  <a:cs typeface="Segoe UI Light" panose="020B0502040204020203" pitchFamily="34" charset="0"/>
                </a:rPr>
                <a:t>Get Data</a:t>
              </a:r>
              <a:endParaRPr kumimoji="0" lang="en-US" sz="1200" b="1" i="1" u="none" strike="noStrike" kern="1200" cap="none" spc="0" normalizeH="0" baseline="0" noProof="0">
                <a:ln>
                  <a:noFill/>
                </a:ln>
                <a:solidFill>
                  <a:srgbClr val="F2C812"/>
                </a:solidFill>
                <a:effectLst/>
                <a:uLnTx/>
                <a:uFillTx/>
                <a:latin typeface="Segoe UI"/>
                <a:ea typeface="+mn-ea"/>
                <a:cs typeface="Segoe UI Light" panose="020B0502040204020203" pitchFamily="34" charset="0"/>
              </a:endParaRPr>
            </a:p>
          </p:txBody>
        </p:sp>
        <p:grpSp>
          <p:nvGrpSpPr>
            <p:cNvPr id="96" name="Group 95"/>
            <p:cNvGrpSpPr/>
            <p:nvPr/>
          </p:nvGrpSpPr>
          <p:grpSpPr>
            <a:xfrm>
              <a:off x="219373" y="934583"/>
              <a:ext cx="433844" cy="433844"/>
              <a:chOff x="440005" y="997815"/>
              <a:chExt cx="296322" cy="296322"/>
            </a:xfrm>
          </p:grpSpPr>
          <p:sp>
            <p:nvSpPr>
              <p:cNvPr id="115" name="Oval 147"/>
              <p:cNvSpPr/>
              <p:nvPr/>
            </p:nvSpPr>
            <p:spPr bwMode="auto">
              <a:xfrm>
                <a:off x="440005" y="997815"/>
                <a:ext cx="296322" cy="296322"/>
              </a:xfrm>
              <a:prstGeom prst="ellipse">
                <a:avLst/>
              </a:prstGeom>
              <a:solidFill>
                <a:srgbClr val="FFCC00"/>
              </a:solidFill>
              <a:ln>
                <a:solidFill>
                  <a:srgbClr val="F2C81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16" name="Group 332"/>
              <p:cNvGrpSpPr/>
              <p:nvPr/>
            </p:nvGrpSpPr>
            <p:grpSpPr>
              <a:xfrm>
                <a:off x="482167" y="1059311"/>
                <a:ext cx="211997" cy="173292"/>
                <a:chOff x="2123129" y="293070"/>
                <a:chExt cx="2472585" cy="2021178"/>
              </a:xfrm>
            </p:grpSpPr>
            <p:sp>
              <p:nvSpPr>
                <p:cNvPr id="117" name="Freeform 13"/>
                <p:cNvSpPr>
                  <a:spLocks/>
                </p:cNvSpPr>
                <p:nvPr/>
              </p:nvSpPr>
              <p:spPr bwMode="auto">
                <a:xfrm rot="20700000">
                  <a:off x="3155853" y="872796"/>
                  <a:ext cx="1439861" cy="1441452"/>
                </a:xfrm>
                <a:custGeom>
                  <a:avLst/>
                  <a:gdLst>
                    <a:gd name="T0" fmla="*/ 138 w 441"/>
                    <a:gd name="T1" fmla="*/ 341 h 441"/>
                    <a:gd name="T2" fmla="*/ 183 w 441"/>
                    <a:gd name="T3" fmla="*/ 374 h 441"/>
                    <a:gd name="T4" fmla="*/ 220 w 441"/>
                    <a:gd name="T5" fmla="*/ 423 h 441"/>
                    <a:gd name="T6" fmla="*/ 422 w 441"/>
                    <a:gd name="T7" fmla="*/ 220 h 441"/>
                    <a:gd name="T8" fmla="*/ 373 w 441"/>
                    <a:gd name="T9" fmla="*/ 184 h 441"/>
                    <a:gd name="T10" fmla="*/ 341 w 441"/>
                    <a:gd name="T11" fmla="*/ 139 h 441"/>
                    <a:gd name="T12" fmla="*/ 382 w 441"/>
                    <a:gd name="T13" fmla="*/ 58 h 441"/>
                    <a:gd name="T14" fmla="*/ 302 w 441"/>
                    <a:gd name="T15" fmla="*/ 100 h 441"/>
                    <a:gd name="T16" fmla="*/ 257 w 441"/>
                    <a:gd name="T17" fmla="*/ 67 h 441"/>
                    <a:gd name="T18" fmla="*/ 220 w 441"/>
                    <a:gd name="T19" fmla="*/ 18 h 441"/>
                    <a:gd name="T20" fmla="*/ 171 w 441"/>
                    <a:gd name="T21" fmla="*/ 55 h 441"/>
                    <a:gd name="T22" fmla="*/ 138 w 441"/>
                    <a:gd name="T23" fmla="*/ 100 h 441"/>
                    <a:gd name="T24" fmla="*/ 180 w 441"/>
                    <a:gd name="T25" fmla="*/ 181 h 441"/>
                    <a:gd name="T26" fmla="*/ 100 w 441"/>
                    <a:gd name="T27" fmla="*/ 139 h 441"/>
                    <a:gd name="T28" fmla="*/ 55 w 441"/>
                    <a:gd name="T29" fmla="*/ 171 h 441"/>
                    <a:gd name="T30" fmla="*/ 18 w 441"/>
                    <a:gd name="T31" fmla="*/ 220 h 441"/>
                    <a:gd name="T32" fmla="*/ 67 w 441"/>
                    <a:gd name="T33" fmla="*/ 257 h 441"/>
                    <a:gd name="T34" fmla="*/ 100 w 441"/>
                    <a:gd name="T35" fmla="*/ 302 h 441"/>
                    <a:gd name="T36" fmla="*/ 58 w 441"/>
                    <a:gd name="T37" fmla="*/ 383 h 441"/>
                    <a:gd name="T38" fmla="*/ 138 w 441"/>
                    <a:gd name="T39" fmla="*/ 341 h 4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41" h="441">
                      <a:moveTo>
                        <a:pt x="138" y="341"/>
                      </a:moveTo>
                      <a:cubicBezTo>
                        <a:pt x="147" y="337"/>
                        <a:pt x="171" y="361"/>
                        <a:pt x="183" y="374"/>
                      </a:cubicBezTo>
                      <a:cubicBezTo>
                        <a:pt x="196" y="386"/>
                        <a:pt x="220" y="423"/>
                        <a:pt x="220" y="423"/>
                      </a:cubicBezTo>
                      <a:cubicBezTo>
                        <a:pt x="422" y="220"/>
                        <a:pt x="422" y="220"/>
                        <a:pt x="422" y="220"/>
                      </a:cubicBezTo>
                      <a:cubicBezTo>
                        <a:pt x="422" y="220"/>
                        <a:pt x="386" y="196"/>
                        <a:pt x="373" y="184"/>
                      </a:cubicBezTo>
                      <a:cubicBezTo>
                        <a:pt x="361" y="171"/>
                        <a:pt x="338" y="149"/>
                        <a:pt x="341" y="139"/>
                      </a:cubicBezTo>
                      <a:cubicBezTo>
                        <a:pt x="343" y="129"/>
                        <a:pt x="441" y="116"/>
                        <a:pt x="382" y="58"/>
                      </a:cubicBezTo>
                      <a:cubicBezTo>
                        <a:pt x="324" y="0"/>
                        <a:pt x="310" y="96"/>
                        <a:pt x="302" y="100"/>
                      </a:cubicBezTo>
                      <a:cubicBezTo>
                        <a:pt x="294" y="104"/>
                        <a:pt x="269" y="80"/>
                        <a:pt x="257" y="67"/>
                      </a:cubicBezTo>
                      <a:cubicBezTo>
                        <a:pt x="245" y="55"/>
                        <a:pt x="220" y="18"/>
                        <a:pt x="220" y="18"/>
                      </a:cubicBezTo>
                      <a:cubicBezTo>
                        <a:pt x="220" y="18"/>
                        <a:pt x="183" y="43"/>
                        <a:pt x="171" y="55"/>
                      </a:cubicBezTo>
                      <a:cubicBezTo>
                        <a:pt x="159" y="67"/>
                        <a:pt x="134" y="92"/>
                        <a:pt x="138" y="100"/>
                      </a:cubicBezTo>
                      <a:cubicBezTo>
                        <a:pt x="142" y="108"/>
                        <a:pt x="238" y="122"/>
                        <a:pt x="180" y="181"/>
                      </a:cubicBezTo>
                      <a:cubicBezTo>
                        <a:pt x="122" y="239"/>
                        <a:pt x="110" y="141"/>
                        <a:pt x="100" y="139"/>
                      </a:cubicBezTo>
                      <a:cubicBezTo>
                        <a:pt x="89" y="137"/>
                        <a:pt x="67" y="159"/>
                        <a:pt x="55" y="171"/>
                      </a:cubicBezTo>
                      <a:cubicBezTo>
                        <a:pt x="42" y="184"/>
                        <a:pt x="18" y="220"/>
                        <a:pt x="18" y="220"/>
                      </a:cubicBezTo>
                      <a:cubicBezTo>
                        <a:pt x="18" y="220"/>
                        <a:pt x="55" y="245"/>
                        <a:pt x="67" y="257"/>
                      </a:cubicBezTo>
                      <a:cubicBezTo>
                        <a:pt x="79" y="269"/>
                        <a:pt x="102" y="292"/>
                        <a:pt x="100" y="302"/>
                      </a:cubicBezTo>
                      <a:cubicBezTo>
                        <a:pt x="98" y="312"/>
                        <a:pt x="0" y="325"/>
                        <a:pt x="58" y="383"/>
                      </a:cubicBezTo>
                      <a:cubicBezTo>
                        <a:pt x="116" y="441"/>
                        <a:pt x="130" y="345"/>
                        <a:pt x="138" y="341"/>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118" name="Freeform 14"/>
                <p:cNvSpPr>
                  <a:spLocks/>
                </p:cNvSpPr>
                <p:nvPr/>
              </p:nvSpPr>
              <p:spPr bwMode="auto">
                <a:xfrm rot="9900000">
                  <a:off x="2123129" y="293070"/>
                  <a:ext cx="1377948" cy="1377947"/>
                </a:xfrm>
                <a:custGeom>
                  <a:avLst/>
                  <a:gdLst>
                    <a:gd name="T0" fmla="*/ 422 w 422"/>
                    <a:gd name="T1" fmla="*/ 220 h 422"/>
                    <a:gd name="T2" fmla="*/ 386 w 422"/>
                    <a:gd name="T3" fmla="*/ 171 h 422"/>
                    <a:gd name="T4" fmla="*/ 341 w 422"/>
                    <a:gd name="T5" fmla="*/ 138 h 422"/>
                    <a:gd name="T6" fmla="*/ 260 w 422"/>
                    <a:gd name="T7" fmla="*/ 180 h 422"/>
                    <a:gd name="T8" fmla="*/ 302 w 422"/>
                    <a:gd name="T9" fmla="*/ 100 h 422"/>
                    <a:gd name="T10" fmla="*/ 269 w 422"/>
                    <a:gd name="T11" fmla="*/ 55 h 422"/>
                    <a:gd name="T12" fmla="*/ 220 w 422"/>
                    <a:gd name="T13" fmla="*/ 18 h 422"/>
                    <a:gd name="T14" fmla="*/ 183 w 422"/>
                    <a:gd name="T15" fmla="*/ 67 h 422"/>
                    <a:gd name="T16" fmla="*/ 138 w 422"/>
                    <a:gd name="T17" fmla="*/ 100 h 422"/>
                    <a:gd name="T18" fmla="*/ 58 w 422"/>
                    <a:gd name="T19" fmla="*/ 58 h 422"/>
                    <a:gd name="T20" fmla="*/ 100 w 422"/>
                    <a:gd name="T21" fmla="*/ 138 h 422"/>
                    <a:gd name="T22" fmla="*/ 67 w 422"/>
                    <a:gd name="T23" fmla="*/ 183 h 422"/>
                    <a:gd name="T24" fmla="*/ 18 w 422"/>
                    <a:gd name="T25" fmla="*/ 220 h 422"/>
                    <a:gd name="T26" fmla="*/ 55 w 422"/>
                    <a:gd name="T27" fmla="*/ 269 h 422"/>
                    <a:gd name="T28" fmla="*/ 100 w 422"/>
                    <a:gd name="T29" fmla="*/ 302 h 422"/>
                    <a:gd name="T30" fmla="*/ 180 w 422"/>
                    <a:gd name="T31" fmla="*/ 260 h 422"/>
                    <a:gd name="T32" fmla="*/ 138 w 422"/>
                    <a:gd name="T33" fmla="*/ 341 h 422"/>
                    <a:gd name="T34" fmla="*/ 171 w 422"/>
                    <a:gd name="T35" fmla="*/ 386 h 422"/>
                    <a:gd name="T36" fmla="*/ 220 w 422"/>
                    <a:gd name="T37" fmla="*/ 422 h 422"/>
                    <a:gd name="T38" fmla="*/ 422 w 422"/>
                    <a:gd name="T39" fmla="*/ 220 h 4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22" h="422">
                      <a:moveTo>
                        <a:pt x="422" y="220"/>
                      </a:moveTo>
                      <a:cubicBezTo>
                        <a:pt x="422" y="220"/>
                        <a:pt x="398" y="183"/>
                        <a:pt x="386" y="171"/>
                      </a:cubicBezTo>
                      <a:cubicBezTo>
                        <a:pt x="373" y="159"/>
                        <a:pt x="349" y="134"/>
                        <a:pt x="341" y="138"/>
                      </a:cubicBezTo>
                      <a:cubicBezTo>
                        <a:pt x="332" y="142"/>
                        <a:pt x="318" y="239"/>
                        <a:pt x="260" y="180"/>
                      </a:cubicBezTo>
                      <a:cubicBezTo>
                        <a:pt x="202" y="122"/>
                        <a:pt x="300" y="110"/>
                        <a:pt x="302" y="100"/>
                      </a:cubicBezTo>
                      <a:cubicBezTo>
                        <a:pt x="304" y="90"/>
                        <a:pt x="281" y="67"/>
                        <a:pt x="269" y="55"/>
                      </a:cubicBezTo>
                      <a:cubicBezTo>
                        <a:pt x="257" y="42"/>
                        <a:pt x="220" y="18"/>
                        <a:pt x="220" y="18"/>
                      </a:cubicBezTo>
                      <a:cubicBezTo>
                        <a:pt x="220" y="18"/>
                        <a:pt x="196" y="55"/>
                        <a:pt x="183" y="67"/>
                      </a:cubicBezTo>
                      <a:cubicBezTo>
                        <a:pt x="171" y="79"/>
                        <a:pt x="149" y="102"/>
                        <a:pt x="138" y="100"/>
                      </a:cubicBezTo>
                      <a:cubicBezTo>
                        <a:pt x="128" y="98"/>
                        <a:pt x="116" y="0"/>
                        <a:pt x="58" y="58"/>
                      </a:cubicBezTo>
                      <a:cubicBezTo>
                        <a:pt x="0" y="116"/>
                        <a:pt x="96" y="130"/>
                        <a:pt x="100" y="138"/>
                      </a:cubicBezTo>
                      <a:cubicBezTo>
                        <a:pt x="104" y="147"/>
                        <a:pt x="79" y="171"/>
                        <a:pt x="67" y="183"/>
                      </a:cubicBezTo>
                      <a:cubicBezTo>
                        <a:pt x="55" y="196"/>
                        <a:pt x="18" y="220"/>
                        <a:pt x="18" y="220"/>
                      </a:cubicBezTo>
                      <a:cubicBezTo>
                        <a:pt x="18" y="220"/>
                        <a:pt x="42" y="257"/>
                        <a:pt x="55" y="269"/>
                      </a:cubicBezTo>
                      <a:cubicBezTo>
                        <a:pt x="67" y="281"/>
                        <a:pt x="91" y="306"/>
                        <a:pt x="100" y="302"/>
                      </a:cubicBezTo>
                      <a:cubicBezTo>
                        <a:pt x="108" y="298"/>
                        <a:pt x="122" y="202"/>
                        <a:pt x="180" y="260"/>
                      </a:cubicBezTo>
                      <a:cubicBezTo>
                        <a:pt x="238" y="318"/>
                        <a:pt x="140" y="330"/>
                        <a:pt x="138" y="341"/>
                      </a:cubicBezTo>
                      <a:cubicBezTo>
                        <a:pt x="136" y="351"/>
                        <a:pt x="159" y="373"/>
                        <a:pt x="171" y="386"/>
                      </a:cubicBezTo>
                      <a:cubicBezTo>
                        <a:pt x="183" y="398"/>
                        <a:pt x="220" y="422"/>
                        <a:pt x="220" y="422"/>
                      </a:cubicBezTo>
                      <a:lnTo>
                        <a:pt x="422" y="22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grpSp>
        </p:grpSp>
        <p:sp>
          <p:nvSpPr>
            <p:cNvPr id="97" name="Rectangle 152"/>
            <p:cNvSpPr/>
            <p:nvPr/>
          </p:nvSpPr>
          <p:spPr bwMode="auto">
            <a:xfrm>
              <a:off x="669652" y="2738277"/>
              <a:ext cx="1805162" cy="37532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2C812"/>
                  </a:solidFill>
                  <a:effectLst/>
                  <a:uLnTx/>
                  <a:uFillTx/>
                  <a:latin typeface="Segoe UI"/>
                  <a:ea typeface="+mn-ea"/>
                  <a:cs typeface="Segoe UI Light" panose="020B0502040204020203" pitchFamily="34" charset="0"/>
                </a:rPr>
                <a:t>Keeping Data Current</a:t>
              </a:r>
            </a:p>
          </p:txBody>
        </p:sp>
        <p:grpSp>
          <p:nvGrpSpPr>
            <p:cNvPr id="98" name="Group 97"/>
            <p:cNvGrpSpPr/>
            <p:nvPr/>
          </p:nvGrpSpPr>
          <p:grpSpPr>
            <a:xfrm>
              <a:off x="199649" y="2692629"/>
              <a:ext cx="433844" cy="433844"/>
              <a:chOff x="342620" y="2228265"/>
              <a:chExt cx="433844" cy="433844"/>
            </a:xfrm>
            <a:solidFill>
              <a:schemeClr val="bg1"/>
            </a:solidFill>
          </p:grpSpPr>
          <p:sp>
            <p:nvSpPr>
              <p:cNvPr id="113" name="Oval 154"/>
              <p:cNvSpPr/>
              <p:nvPr/>
            </p:nvSpPr>
            <p:spPr bwMode="auto">
              <a:xfrm>
                <a:off x="342620" y="2228265"/>
                <a:ext cx="433844" cy="433844"/>
              </a:xfrm>
              <a:prstGeom prst="ellipse">
                <a:avLst/>
              </a:prstGeom>
              <a:solidFill>
                <a:srgbClr val="FFC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4" name="Freeform 30"/>
              <p:cNvSpPr>
                <a:spLocks noEditPoints="1"/>
              </p:cNvSpPr>
              <p:nvPr/>
            </p:nvSpPr>
            <p:spPr bwMode="auto">
              <a:xfrm>
                <a:off x="444786" y="2340040"/>
                <a:ext cx="238402" cy="210293"/>
              </a:xfrm>
              <a:custGeom>
                <a:avLst/>
                <a:gdLst>
                  <a:gd name="T0" fmla="*/ 883 w 916"/>
                  <a:gd name="T1" fmla="*/ 286 h 808"/>
                  <a:gd name="T2" fmla="*/ 539 w 916"/>
                  <a:gd name="T3" fmla="*/ 723 h 808"/>
                  <a:gd name="T4" fmla="*/ 504 w 916"/>
                  <a:gd name="T5" fmla="*/ 0 h 808"/>
                  <a:gd name="T6" fmla="*/ 35 w 916"/>
                  <a:gd name="T7" fmla="*/ 723 h 808"/>
                  <a:gd name="T8" fmla="*/ 0 w 916"/>
                  <a:gd name="T9" fmla="*/ 808 h 808"/>
                  <a:gd name="T10" fmla="*/ 916 w 916"/>
                  <a:gd name="T11" fmla="*/ 723 h 808"/>
                  <a:gd name="T12" fmla="*/ 229 w 916"/>
                  <a:gd name="T13" fmla="*/ 665 h 808"/>
                  <a:gd name="T14" fmla="*/ 109 w 916"/>
                  <a:gd name="T15" fmla="*/ 596 h 808"/>
                  <a:gd name="T16" fmla="*/ 229 w 916"/>
                  <a:gd name="T17" fmla="*/ 665 h 808"/>
                  <a:gd name="T18" fmla="*/ 109 w 916"/>
                  <a:gd name="T19" fmla="*/ 501 h 808"/>
                  <a:gd name="T20" fmla="*/ 229 w 916"/>
                  <a:gd name="T21" fmla="*/ 432 h 808"/>
                  <a:gd name="T22" fmla="*/ 229 w 916"/>
                  <a:gd name="T23" fmla="*/ 337 h 808"/>
                  <a:gd name="T24" fmla="*/ 109 w 916"/>
                  <a:gd name="T25" fmla="*/ 267 h 808"/>
                  <a:gd name="T26" fmla="*/ 229 w 916"/>
                  <a:gd name="T27" fmla="*/ 337 h 808"/>
                  <a:gd name="T28" fmla="*/ 109 w 916"/>
                  <a:gd name="T29" fmla="*/ 172 h 808"/>
                  <a:gd name="T30" fmla="*/ 229 w 916"/>
                  <a:gd name="T31" fmla="*/ 103 h 808"/>
                  <a:gd name="T32" fmla="*/ 428 w 916"/>
                  <a:gd name="T33" fmla="*/ 665 h 808"/>
                  <a:gd name="T34" fmla="*/ 307 w 916"/>
                  <a:gd name="T35" fmla="*/ 596 h 808"/>
                  <a:gd name="T36" fmla="*/ 428 w 916"/>
                  <a:gd name="T37" fmla="*/ 665 h 808"/>
                  <a:gd name="T38" fmla="*/ 307 w 916"/>
                  <a:gd name="T39" fmla="*/ 501 h 808"/>
                  <a:gd name="T40" fmla="*/ 428 w 916"/>
                  <a:gd name="T41" fmla="*/ 432 h 808"/>
                  <a:gd name="T42" fmla="*/ 428 w 916"/>
                  <a:gd name="T43" fmla="*/ 337 h 808"/>
                  <a:gd name="T44" fmla="*/ 307 w 916"/>
                  <a:gd name="T45" fmla="*/ 267 h 808"/>
                  <a:gd name="T46" fmla="*/ 428 w 916"/>
                  <a:gd name="T47" fmla="*/ 337 h 808"/>
                  <a:gd name="T48" fmla="*/ 307 w 916"/>
                  <a:gd name="T49" fmla="*/ 172 h 808"/>
                  <a:gd name="T50" fmla="*/ 428 w 916"/>
                  <a:gd name="T51" fmla="*/ 103 h 808"/>
                  <a:gd name="T52" fmla="*/ 684 w 916"/>
                  <a:gd name="T53" fmla="*/ 668 h 808"/>
                  <a:gd name="T54" fmla="*/ 606 w 916"/>
                  <a:gd name="T55" fmla="*/ 549 h 808"/>
                  <a:gd name="T56" fmla="*/ 684 w 916"/>
                  <a:gd name="T57" fmla="*/ 668 h 808"/>
                  <a:gd name="T58" fmla="*/ 606 w 916"/>
                  <a:gd name="T59" fmla="*/ 482 h 808"/>
                  <a:gd name="T60" fmla="*/ 684 w 916"/>
                  <a:gd name="T61" fmla="*/ 365 h 808"/>
                  <a:gd name="T62" fmla="*/ 816 w 916"/>
                  <a:gd name="T63" fmla="*/ 668 h 808"/>
                  <a:gd name="T64" fmla="*/ 738 w 916"/>
                  <a:gd name="T65" fmla="*/ 549 h 808"/>
                  <a:gd name="T66" fmla="*/ 816 w 916"/>
                  <a:gd name="T67" fmla="*/ 668 h 808"/>
                  <a:gd name="T68" fmla="*/ 738 w 916"/>
                  <a:gd name="T69" fmla="*/ 482 h 808"/>
                  <a:gd name="T70" fmla="*/ 816 w 916"/>
                  <a:gd name="T71" fmla="*/ 365 h 8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16" h="808">
                    <a:moveTo>
                      <a:pt x="883" y="723"/>
                    </a:moveTo>
                    <a:lnTo>
                      <a:pt x="883" y="286"/>
                    </a:lnTo>
                    <a:lnTo>
                      <a:pt x="539" y="286"/>
                    </a:lnTo>
                    <a:lnTo>
                      <a:pt x="539" y="723"/>
                    </a:lnTo>
                    <a:lnTo>
                      <a:pt x="504" y="723"/>
                    </a:lnTo>
                    <a:lnTo>
                      <a:pt x="504" y="0"/>
                    </a:lnTo>
                    <a:lnTo>
                      <a:pt x="35" y="0"/>
                    </a:lnTo>
                    <a:lnTo>
                      <a:pt x="35" y="723"/>
                    </a:lnTo>
                    <a:lnTo>
                      <a:pt x="0" y="723"/>
                    </a:lnTo>
                    <a:lnTo>
                      <a:pt x="0" y="808"/>
                    </a:lnTo>
                    <a:lnTo>
                      <a:pt x="916" y="808"/>
                    </a:lnTo>
                    <a:lnTo>
                      <a:pt x="916" y="723"/>
                    </a:lnTo>
                    <a:lnTo>
                      <a:pt x="883" y="723"/>
                    </a:lnTo>
                    <a:close/>
                    <a:moveTo>
                      <a:pt x="229" y="665"/>
                    </a:moveTo>
                    <a:lnTo>
                      <a:pt x="109" y="665"/>
                    </a:lnTo>
                    <a:lnTo>
                      <a:pt x="109" y="596"/>
                    </a:lnTo>
                    <a:lnTo>
                      <a:pt x="229" y="596"/>
                    </a:lnTo>
                    <a:lnTo>
                      <a:pt x="229" y="665"/>
                    </a:lnTo>
                    <a:close/>
                    <a:moveTo>
                      <a:pt x="229" y="501"/>
                    </a:moveTo>
                    <a:lnTo>
                      <a:pt x="109" y="501"/>
                    </a:lnTo>
                    <a:lnTo>
                      <a:pt x="109" y="432"/>
                    </a:lnTo>
                    <a:lnTo>
                      <a:pt x="229" y="432"/>
                    </a:lnTo>
                    <a:lnTo>
                      <a:pt x="229" y="501"/>
                    </a:lnTo>
                    <a:close/>
                    <a:moveTo>
                      <a:pt x="229" y="337"/>
                    </a:moveTo>
                    <a:lnTo>
                      <a:pt x="109" y="337"/>
                    </a:lnTo>
                    <a:lnTo>
                      <a:pt x="109" y="267"/>
                    </a:lnTo>
                    <a:lnTo>
                      <a:pt x="229" y="267"/>
                    </a:lnTo>
                    <a:lnTo>
                      <a:pt x="229" y="337"/>
                    </a:lnTo>
                    <a:close/>
                    <a:moveTo>
                      <a:pt x="229" y="172"/>
                    </a:moveTo>
                    <a:lnTo>
                      <a:pt x="109" y="172"/>
                    </a:lnTo>
                    <a:lnTo>
                      <a:pt x="109" y="103"/>
                    </a:lnTo>
                    <a:lnTo>
                      <a:pt x="229" y="103"/>
                    </a:lnTo>
                    <a:lnTo>
                      <a:pt x="229" y="172"/>
                    </a:lnTo>
                    <a:close/>
                    <a:moveTo>
                      <a:pt x="428" y="665"/>
                    </a:moveTo>
                    <a:lnTo>
                      <a:pt x="307" y="665"/>
                    </a:lnTo>
                    <a:lnTo>
                      <a:pt x="307" y="596"/>
                    </a:lnTo>
                    <a:lnTo>
                      <a:pt x="428" y="596"/>
                    </a:lnTo>
                    <a:lnTo>
                      <a:pt x="428" y="665"/>
                    </a:lnTo>
                    <a:close/>
                    <a:moveTo>
                      <a:pt x="428" y="501"/>
                    </a:moveTo>
                    <a:lnTo>
                      <a:pt x="307" y="501"/>
                    </a:lnTo>
                    <a:lnTo>
                      <a:pt x="307" y="432"/>
                    </a:lnTo>
                    <a:lnTo>
                      <a:pt x="428" y="432"/>
                    </a:lnTo>
                    <a:lnTo>
                      <a:pt x="428" y="501"/>
                    </a:lnTo>
                    <a:close/>
                    <a:moveTo>
                      <a:pt x="428" y="337"/>
                    </a:moveTo>
                    <a:lnTo>
                      <a:pt x="307" y="337"/>
                    </a:lnTo>
                    <a:lnTo>
                      <a:pt x="307" y="267"/>
                    </a:lnTo>
                    <a:lnTo>
                      <a:pt x="428" y="267"/>
                    </a:lnTo>
                    <a:lnTo>
                      <a:pt x="428" y="337"/>
                    </a:lnTo>
                    <a:close/>
                    <a:moveTo>
                      <a:pt x="428" y="172"/>
                    </a:moveTo>
                    <a:lnTo>
                      <a:pt x="307" y="172"/>
                    </a:lnTo>
                    <a:lnTo>
                      <a:pt x="307" y="103"/>
                    </a:lnTo>
                    <a:lnTo>
                      <a:pt x="428" y="103"/>
                    </a:lnTo>
                    <a:lnTo>
                      <a:pt x="428" y="172"/>
                    </a:lnTo>
                    <a:close/>
                    <a:moveTo>
                      <a:pt x="684" y="668"/>
                    </a:moveTo>
                    <a:lnTo>
                      <a:pt x="606" y="668"/>
                    </a:lnTo>
                    <a:lnTo>
                      <a:pt x="606" y="549"/>
                    </a:lnTo>
                    <a:lnTo>
                      <a:pt x="684" y="549"/>
                    </a:lnTo>
                    <a:lnTo>
                      <a:pt x="684" y="668"/>
                    </a:lnTo>
                    <a:close/>
                    <a:moveTo>
                      <a:pt x="684" y="482"/>
                    </a:moveTo>
                    <a:lnTo>
                      <a:pt x="606" y="482"/>
                    </a:lnTo>
                    <a:lnTo>
                      <a:pt x="606" y="365"/>
                    </a:lnTo>
                    <a:lnTo>
                      <a:pt x="684" y="365"/>
                    </a:lnTo>
                    <a:lnTo>
                      <a:pt x="684" y="482"/>
                    </a:lnTo>
                    <a:close/>
                    <a:moveTo>
                      <a:pt x="816" y="668"/>
                    </a:moveTo>
                    <a:lnTo>
                      <a:pt x="738" y="668"/>
                    </a:lnTo>
                    <a:lnTo>
                      <a:pt x="738" y="549"/>
                    </a:lnTo>
                    <a:lnTo>
                      <a:pt x="816" y="549"/>
                    </a:lnTo>
                    <a:lnTo>
                      <a:pt x="816" y="668"/>
                    </a:lnTo>
                    <a:close/>
                    <a:moveTo>
                      <a:pt x="816" y="482"/>
                    </a:moveTo>
                    <a:lnTo>
                      <a:pt x="738" y="482"/>
                    </a:lnTo>
                    <a:lnTo>
                      <a:pt x="738" y="365"/>
                    </a:lnTo>
                    <a:lnTo>
                      <a:pt x="816" y="365"/>
                    </a:lnTo>
                    <a:lnTo>
                      <a:pt x="816" y="482"/>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grpSp>
        <p:sp>
          <p:nvSpPr>
            <p:cNvPr id="99" name="TextBox 98"/>
            <p:cNvSpPr txBox="1"/>
            <p:nvPr/>
          </p:nvSpPr>
          <p:spPr>
            <a:xfrm>
              <a:off x="83345" y="113808"/>
              <a:ext cx="2532630" cy="627864"/>
            </a:xfrm>
            <a:prstGeom prst="rect">
              <a:avLst/>
            </a:prstGeom>
            <a:noFill/>
          </p:spPr>
          <p:txBody>
            <a:bodyPr wrap="square" lIns="182880" tIns="146304" rIns="182880" bIns="146304" rtlCol="0">
              <a:spAutoFit/>
            </a:bodyPr>
            <a:lstStyle>
              <a:defPPr>
                <a:defRPr lang="en-US"/>
              </a:defPPr>
              <a:lvl1pPr>
                <a:lnSpc>
                  <a:spcPct val="90000"/>
                </a:lnSpc>
                <a:spcAft>
                  <a:spcPts val="600"/>
                </a:spcAft>
                <a:defRPr sz="2800" b="1">
                  <a:solidFill>
                    <a:srgbClr val="F2C812"/>
                  </a:solidFill>
                  <a:latin typeface="Segoe UI Light"/>
                </a:defRPr>
              </a:lvl1p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400" b="1" i="0" u="none" strike="noStrike" kern="1200" cap="none" spc="0" normalizeH="0" baseline="0" noProof="0">
                  <a:ln>
                    <a:noFill/>
                  </a:ln>
                  <a:solidFill>
                    <a:srgbClr val="F2C812"/>
                  </a:solidFill>
                  <a:effectLst/>
                  <a:uLnTx/>
                  <a:uFillTx/>
                  <a:latin typeface="Segoe UI Light"/>
                  <a:ea typeface="+mn-ea"/>
                  <a:cs typeface="+mn-cs"/>
                </a:rPr>
                <a:t>Power BI Service</a:t>
              </a:r>
              <a:endParaRPr kumimoji="0" lang="en-US" sz="2800" b="1" i="0" u="none" strike="noStrike" kern="1200" cap="none" spc="0" normalizeH="0" baseline="0" noProof="0">
                <a:ln>
                  <a:noFill/>
                </a:ln>
                <a:solidFill>
                  <a:srgbClr val="F2C812"/>
                </a:solidFill>
                <a:effectLst/>
                <a:uLnTx/>
                <a:uFillTx/>
                <a:latin typeface="Segoe UI Light"/>
                <a:ea typeface="+mn-ea"/>
                <a:cs typeface="+mn-cs"/>
              </a:endParaRPr>
            </a:p>
          </p:txBody>
        </p:sp>
        <p:grpSp>
          <p:nvGrpSpPr>
            <p:cNvPr id="100" name="Group 99"/>
            <p:cNvGrpSpPr/>
            <p:nvPr/>
          </p:nvGrpSpPr>
          <p:grpSpPr>
            <a:xfrm>
              <a:off x="219373" y="3621383"/>
              <a:ext cx="433844" cy="645668"/>
              <a:chOff x="280990" y="3358164"/>
              <a:chExt cx="433844" cy="645668"/>
            </a:xfrm>
          </p:grpSpPr>
          <p:sp>
            <p:nvSpPr>
              <p:cNvPr id="106" name="Oval 1083"/>
              <p:cNvSpPr/>
              <p:nvPr/>
            </p:nvSpPr>
            <p:spPr bwMode="auto">
              <a:xfrm>
                <a:off x="280990" y="3358164"/>
                <a:ext cx="433844" cy="433847"/>
              </a:xfrm>
              <a:prstGeom prst="ellipse">
                <a:avLst/>
              </a:prstGeom>
              <a:solidFill>
                <a:srgbClr val="F2C812"/>
              </a:solidFill>
              <a:ln>
                <a:solidFill>
                  <a:srgbClr val="FFCC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07" name="Group 379"/>
              <p:cNvGrpSpPr/>
              <p:nvPr/>
            </p:nvGrpSpPr>
            <p:grpSpPr>
              <a:xfrm>
                <a:off x="453702" y="3910852"/>
                <a:ext cx="175660" cy="92980"/>
                <a:chOff x="3895793" y="7466656"/>
                <a:chExt cx="785810" cy="415941"/>
              </a:xfrm>
              <a:solidFill>
                <a:srgbClr val="00BCF2"/>
              </a:solidFill>
            </p:grpSpPr>
            <p:sp>
              <p:nvSpPr>
                <p:cNvPr id="108" name="Freeform 132"/>
                <p:cNvSpPr>
                  <a:spLocks/>
                </p:cNvSpPr>
                <p:nvPr/>
              </p:nvSpPr>
              <p:spPr bwMode="auto">
                <a:xfrm>
                  <a:off x="4125979" y="7688918"/>
                  <a:ext cx="0" cy="6353"/>
                </a:xfrm>
                <a:custGeom>
                  <a:avLst/>
                  <a:gdLst>
                    <a:gd name="T0" fmla="*/ 1 w 1"/>
                    <a:gd name="T1" fmla="*/ 0 h 8"/>
                    <a:gd name="T2" fmla="*/ 0 w 1"/>
                    <a:gd name="T3" fmla="*/ 0 h 8"/>
                    <a:gd name="T4" fmla="*/ 1 w 1"/>
                    <a:gd name="T5" fmla="*/ 8 h 8"/>
                    <a:gd name="T6" fmla="*/ 1 w 1"/>
                    <a:gd name="T7" fmla="*/ 0 h 8"/>
                  </a:gdLst>
                  <a:ahLst/>
                  <a:cxnLst>
                    <a:cxn ang="0">
                      <a:pos x="T0" y="T1"/>
                    </a:cxn>
                    <a:cxn ang="0">
                      <a:pos x="T2" y="T3"/>
                    </a:cxn>
                    <a:cxn ang="0">
                      <a:pos x="T4" y="T5"/>
                    </a:cxn>
                    <a:cxn ang="0">
                      <a:pos x="T6" y="T7"/>
                    </a:cxn>
                  </a:cxnLst>
                  <a:rect l="0" t="0" r="r" b="b"/>
                  <a:pathLst>
                    <a:path w="1" h="8">
                      <a:moveTo>
                        <a:pt x="1" y="0"/>
                      </a:moveTo>
                      <a:cubicBezTo>
                        <a:pt x="0" y="0"/>
                        <a:pt x="0" y="0"/>
                        <a:pt x="0" y="0"/>
                      </a:cubicBezTo>
                      <a:cubicBezTo>
                        <a:pt x="0" y="3"/>
                        <a:pt x="1" y="5"/>
                        <a:pt x="1" y="8"/>
                      </a:cubicBezTo>
                      <a:lnTo>
                        <a:pt x="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109" name="Freeform 133"/>
                <p:cNvSpPr>
                  <a:spLocks/>
                </p:cNvSpPr>
                <p:nvPr/>
              </p:nvSpPr>
              <p:spPr bwMode="auto">
                <a:xfrm>
                  <a:off x="3895793" y="7812745"/>
                  <a:ext cx="219078" cy="69852"/>
                </a:xfrm>
                <a:custGeom>
                  <a:avLst/>
                  <a:gdLst>
                    <a:gd name="T0" fmla="*/ 186 w 238"/>
                    <a:gd name="T1" fmla="*/ 9 h 76"/>
                    <a:gd name="T2" fmla="*/ 131 w 238"/>
                    <a:gd name="T3" fmla="*/ 22 h 76"/>
                    <a:gd name="T4" fmla="*/ 60 w 238"/>
                    <a:gd name="T5" fmla="*/ 0 h 76"/>
                    <a:gd name="T6" fmla="*/ 0 w 238"/>
                    <a:gd name="T7" fmla="*/ 42 h 76"/>
                    <a:gd name="T8" fmla="*/ 0 w 238"/>
                    <a:gd name="T9" fmla="*/ 76 h 76"/>
                    <a:gd name="T10" fmla="*/ 238 w 238"/>
                    <a:gd name="T11" fmla="*/ 76 h 76"/>
                    <a:gd name="T12" fmla="*/ 236 w 238"/>
                    <a:gd name="T13" fmla="*/ 53 h 76"/>
                    <a:gd name="T14" fmla="*/ 236 w 238"/>
                    <a:gd name="T15" fmla="*/ 49 h 76"/>
                    <a:gd name="T16" fmla="*/ 186 w 238"/>
                    <a:gd name="T17" fmla="*/ 9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8" h="76">
                      <a:moveTo>
                        <a:pt x="186" y="9"/>
                      </a:moveTo>
                      <a:cubicBezTo>
                        <a:pt x="169" y="18"/>
                        <a:pt x="150" y="22"/>
                        <a:pt x="131" y="22"/>
                      </a:cubicBezTo>
                      <a:cubicBezTo>
                        <a:pt x="105" y="22"/>
                        <a:pt x="80" y="14"/>
                        <a:pt x="60" y="0"/>
                      </a:cubicBezTo>
                      <a:cubicBezTo>
                        <a:pt x="0" y="42"/>
                        <a:pt x="0" y="42"/>
                        <a:pt x="0" y="42"/>
                      </a:cubicBezTo>
                      <a:cubicBezTo>
                        <a:pt x="0" y="76"/>
                        <a:pt x="0" y="76"/>
                        <a:pt x="0" y="76"/>
                      </a:cubicBezTo>
                      <a:cubicBezTo>
                        <a:pt x="238" y="76"/>
                        <a:pt x="238" y="76"/>
                        <a:pt x="238" y="76"/>
                      </a:cubicBezTo>
                      <a:cubicBezTo>
                        <a:pt x="237" y="68"/>
                        <a:pt x="236" y="61"/>
                        <a:pt x="236" y="53"/>
                      </a:cubicBezTo>
                      <a:cubicBezTo>
                        <a:pt x="236" y="51"/>
                        <a:pt x="236" y="50"/>
                        <a:pt x="236" y="49"/>
                      </a:cubicBezTo>
                      <a:lnTo>
                        <a:pt x="186" y="9"/>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110" name="Freeform 137"/>
                <p:cNvSpPr>
                  <a:spLocks/>
                </p:cNvSpPr>
                <p:nvPr/>
              </p:nvSpPr>
              <p:spPr bwMode="auto">
                <a:xfrm>
                  <a:off x="4338704" y="7809561"/>
                  <a:ext cx="65090" cy="73028"/>
                </a:xfrm>
                <a:custGeom>
                  <a:avLst/>
                  <a:gdLst>
                    <a:gd name="T0" fmla="*/ 71 w 71"/>
                    <a:gd name="T1" fmla="*/ 79 h 79"/>
                    <a:gd name="T2" fmla="*/ 71 w 71"/>
                    <a:gd name="T3" fmla="*/ 0 h 79"/>
                    <a:gd name="T4" fmla="*/ 2 w 71"/>
                    <a:gd name="T5" fmla="*/ 53 h 79"/>
                    <a:gd name="T6" fmla="*/ 2 w 71"/>
                    <a:gd name="T7" fmla="*/ 56 h 79"/>
                    <a:gd name="T8" fmla="*/ 0 w 71"/>
                    <a:gd name="T9" fmla="*/ 79 h 79"/>
                    <a:gd name="T10" fmla="*/ 71 w 71"/>
                    <a:gd name="T11" fmla="*/ 79 h 79"/>
                  </a:gdLst>
                  <a:ahLst/>
                  <a:cxnLst>
                    <a:cxn ang="0">
                      <a:pos x="T0" y="T1"/>
                    </a:cxn>
                    <a:cxn ang="0">
                      <a:pos x="T2" y="T3"/>
                    </a:cxn>
                    <a:cxn ang="0">
                      <a:pos x="T4" y="T5"/>
                    </a:cxn>
                    <a:cxn ang="0">
                      <a:pos x="T6" y="T7"/>
                    </a:cxn>
                    <a:cxn ang="0">
                      <a:pos x="T8" y="T9"/>
                    </a:cxn>
                    <a:cxn ang="0">
                      <a:pos x="T10" y="T11"/>
                    </a:cxn>
                  </a:cxnLst>
                  <a:rect l="0" t="0" r="r" b="b"/>
                  <a:pathLst>
                    <a:path w="71" h="79">
                      <a:moveTo>
                        <a:pt x="71" y="79"/>
                      </a:moveTo>
                      <a:cubicBezTo>
                        <a:pt x="71" y="0"/>
                        <a:pt x="71" y="0"/>
                        <a:pt x="71" y="0"/>
                      </a:cubicBezTo>
                      <a:cubicBezTo>
                        <a:pt x="2" y="53"/>
                        <a:pt x="2" y="53"/>
                        <a:pt x="2" y="53"/>
                      </a:cubicBezTo>
                      <a:cubicBezTo>
                        <a:pt x="2" y="54"/>
                        <a:pt x="2" y="55"/>
                        <a:pt x="2" y="56"/>
                      </a:cubicBezTo>
                      <a:cubicBezTo>
                        <a:pt x="2" y="64"/>
                        <a:pt x="1" y="71"/>
                        <a:pt x="0" y="79"/>
                      </a:cubicBezTo>
                      <a:lnTo>
                        <a:pt x="71" y="79"/>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111" name="Freeform 140"/>
                <p:cNvSpPr>
                  <a:spLocks/>
                </p:cNvSpPr>
                <p:nvPr/>
              </p:nvSpPr>
              <p:spPr bwMode="auto">
                <a:xfrm>
                  <a:off x="4600643" y="7622229"/>
                  <a:ext cx="80960" cy="38099"/>
                </a:xfrm>
                <a:custGeom>
                  <a:avLst/>
                  <a:gdLst>
                    <a:gd name="T0" fmla="*/ 0 w 51"/>
                    <a:gd name="T1" fmla="*/ 24 h 24"/>
                    <a:gd name="T2" fmla="*/ 51 w 51"/>
                    <a:gd name="T3" fmla="*/ 24 h 24"/>
                    <a:gd name="T4" fmla="*/ 32 w 51"/>
                    <a:gd name="T5" fmla="*/ 0 h 24"/>
                    <a:gd name="T6" fmla="*/ 0 w 51"/>
                    <a:gd name="T7" fmla="*/ 24 h 24"/>
                  </a:gdLst>
                  <a:ahLst/>
                  <a:cxnLst>
                    <a:cxn ang="0">
                      <a:pos x="T0" y="T1"/>
                    </a:cxn>
                    <a:cxn ang="0">
                      <a:pos x="T2" y="T3"/>
                    </a:cxn>
                    <a:cxn ang="0">
                      <a:pos x="T4" y="T5"/>
                    </a:cxn>
                    <a:cxn ang="0">
                      <a:pos x="T6" y="T7"/>
                    </a:cxn>
                  </a:cxnLst>
                  <a:rect l="0" t="0" r="r" b="b"/>
                  <a:pathLst>
                    <a:path w="51" h="24">
                      <a:moveTo>
                        <a:pt x="0" y="24"/>
                      </a:moveTo>
                      <a:lnTo>
                        <a:pt x="51" y="24"/>
                      </a:lnTo>
                      <a:lnTo>
                        <a:pt x="32" y="0"/>
                      </a:lnTo>
                      <a:lnTo>
                        <a:pt x="0" y="24"/>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112" name="Freeform 141"/>
                <p:cNvSpPr>
                  <a:spLocks/>
                </p:cNvSpPr>
                <p:nvPr/>
              </p:nvSpPr>
              <p:spPr bwMode="auto">
                <a:xfrm>
                  <a:off x="4449825" y="7466656"/>
                  <a:ext cx="119065" cy="139703"/>
                </a:xfrm>
                <a:custGeom>
                  <a:avLst/>
                  <a:gdLst>
                    <a:gd name="T0" fmla="*/ 52 w 75"/>
                    <a:gd name="T1" fmla="*/ 0 h 88"/>
                    <a:gd name="T2" fmla="*/ 0 w 75"/>
                    <a:gd name="T3" fmla="*/ 0 h 88"/>
                    <a:gd name="T4" fmla="*/ 0 w 75"/>
                    <a:gd name="T5" fmla="*/ 88 h 88"/>
                    <a:gd name="T6" fmla="*/ 75 w 75"/>
                    <a:gd name="T7" fmla="*/ 30 h 88"/>
                    <a:gd name="T8" fmla="*/ 52 w 75"/>
                    <a:gd name="T9" fmla="*/ 0 h 88"/>
                  </a:gdLst>
                  <a:ahLst/>
                  <a:cxnLst>
                    <a:cxn ang="0">
                      <a:pos x="T0" y="T1"/>
                    </a:cxn>
                    <a:cxn ang="0">
                      <a:pos x="T2" y="T3"/>
                    </a:cxn>
                    <a:cxn ang="0">
                      <a:pos x="T4" y="T5"/>
                    </a:cxn>
                    <a:cxn ang="0">
                      <a:pos x="T6" y="T7"/>
                    </a:cxn>
                    <a:cxn ang="0">
                      <a:pos x="T8" y="T9"/>
                    </a:cxn>
                  </a:cxnLst>
                  <a:rect l="0" t="0" r="r" b="b"/>
                  <a:pathLst>
                    <a:path w="75" h="88">
                      <a:moveTo>
                        <a:pt x="52" y="0"/>
                      </a:moveTo>
                      <a:lnTo>
                        <a:pt x="0" y="0"/>
                      </a:lnTo>
                      <a:lnTo>
                        <a:pt x="0" y="88"/>
                      </a:lnTo>
                      <a:lnTo>
                        <a:pt x="75" y="30"/>
                      </a:lnTo>
                      <a:lnTo>
                        <a:pt x="52"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grpSp>
        </p:grpSp>
        <p:sp>
          <p:nvSpPr>
            <p:cNvPr id="101" name="Rectangle 152"/>
            <p:cNvSpPr/>
            <p:nvPr/>
          </p:nvSpPr>
          <p:spPr bwMode="auto">
            <a:xfrm>
              <a:off x="712458" y="3628917"/>
              <a:ext cx="1805162" cy="37532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2C812"/>
                  </a:solidFill>
                  <a:effectLst/>
                  <a:uLnTx/>
                  <a:uFillTx/>
                  <a:latin typeface="Segoe UI"/>
                  <a:ea typeface="+mn-ea"/>
                  <a:cs typeface="Segoe UI Light" panose="020B0502040204020203" pitchFamily="34" charset="0"/>
                </a:rPr>
                <a:t>Q&amp;A and </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2C812"/>
                  </a:solidFill>
                  <a:effectLst/>
                  <a:uLnTx/>
                  <a:uFillTx/>
                  <a:latin typeface="Segoe UI"/>
                  <a:ea typeface="+mn-ea"/>
                  <a:cs typeface="Segoe UI Light" panose="020B0502040204020203" pitchFamily="34" charset="0"/>
                </a:rPr>
                <a:t>Quick Insights</a:t>
              </a:r>
              <a:endParaRPr kumimoji="0" lang="en-US" sz="1200" b="1" i="0" u="none" strike="noStrike" kern="1200" cap="none" spc="0" normalizeH="0" baseline="0" noProof="0">
                <a:ln>
                  <a:noFill/>
                </a:ln>
                <a:solidFill>
                  <a:srgbClr val="F2C812"/>
                </a:solidFill>
                <a:effectLst/>
                <a:uLnTx/>
                <a:uFillTx/>
                <a:latin typeface="Segoe UI"/>
                <a:ea typeface="+mn-ea"/>
                <a:cs typeface="Segoe UI Light" panose="020B0502040204020203" pitchFamily="34" charset="0"/>
              </a:endParaRPr>
            </a:p>
          </p:txBody>
        </p:sp>
        <p:sp>
          <p:nvSpPr>
            <p:cNvPr id="102" name="Oval 162"/>
            <p:cNvSpPr/>
            <p:nvPr/>
          </p:nvSpPr>
          <p:spPr bwMode="auto">
            <a:xfrm>
              <a:off x="226619" y="4551712"/>
              <a:ext cx="433844" cy="433844"/>
            </a:xfrm>
            <a:prstGeom prst="ellipse">
              <a:avLst/>
            </a:prstGeom>
            <a:solidFill>
              <a:srgbClr val="F2C812"/>
            </a:solidFill>
            <a:ln>
              <a:solidFill>
                <a:srgbClr val="FFCC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3" name="Rectangle 152"/>
            <p:cNvSpPr/>
            <p:nvPr/>
          </p:nvSpPr>
          <p:spPr bwMode="auto">
            <a:xfrm>
              <a:off x="738443" y="4596194"/>
              <a:ext cx="1884825" cy="30233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2C812"/>
                  </a:solidFill>
                  <a:effectLst/>
                  <a:uLnTx/>
                  <a:uFillTx/>
                  <a:latin typeface="Segoe UI"/>
                  <a:ea typeface="+mn-ea"/>
                  <a:cs typeface="Segoe UI Light" panose="020B0502040204020203" pitchFamily="34" charset="0"/>
                </a:rPr>
                <a:t>Sharing</a:t>
              </a:r>
              <a:endParaRPr kumimoji="0" lang="en-US" sz="1200" b="1" i="1" u="none" strike="noStrike" kern="1200" cap="none" spc="0" normalizeH="0" baseline="0" noProof="0">
                <a:ln>
                  <a:noFill/>
                </a:ln>
                <a:solidFill>
                  <a:srgbClr val="F2C812"/>
                </a:solidFill>
                <a:effectLst/>
                <a:uLnTx/>
                <a:uFillTx/>
                <a:latin typeface="Segoe UI"/>
                <a:ea typeface="+mn-ea"/>
                <a:cs typeface="Segoe UI Light" panose="020B0502040204020203" pitchFamily="34" charset="0"/>
              </a:endParaRPr>
            </a:p>
          </p:txBody>
        </p:sp>
        <p:sp>
          <p:nvSpPr>
            <p:cNvPr id="104" name="Rectangle 145"/>
            <p:cNvSpPr/>
            <p:nvPr/>
          </p:nvSpPr>
          <p:spPr bwMode="auto">
            <a:xfrm>
              <a:off x="697198" y="1847637"/>
              <a:ext cx="1821468" cy="3831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2C812"/>
                  </a:solidFill>
                  <a:effectLst/>
                  <a:uLnTx/>
                  <a:uFillTx/>
                  <a:latin typeface="Segoe UI"/>
                  <a:ea typeface="+mn-ea"/>
                  <a:cs typeface="Segoe UI Light" panose="020B0502040204020203" pitchFamily="34" charset="0"/>
                </a:rPr>
                <a:t>Pinning and Navigation</a:t>
              </a:r>
            </a:p>
          </p:txBody>
        </p:sp>
        <p:sp>
          <p:nvSpPr>
            <p:cNvPr id="105" name="Oval 162"/>
            <p:cNvSpPr/>
            <p:nvPr/>
          </p:nvSpPr>
          <p:spPr bwMode="auto">
            <a:xfrm>
              <a:off x="224136" y="1813606"/>
              <a:ext cx="433844" cy="433844"/>
            </a:xfrm>
            <a:prstGeom prst="ellipse">
              <a:avLst/>
            </a:prstGeom>
            <a:solidFill>
              <a:srgbClr val="FFCC00"/>
            </a:solidFill>
            <a:ln>
              <a:solidFill>
                <a:srgbClr val="F2C81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pic>
        <p:nvPicPr>
          <p:cNvPr id="119" name="Picture 118"/>
          <p:cNvPicPr>
            <a:picLocks noChangeAspect="1"/>
          </p:cNvPicPr>
          <p:nvPr/>
        </p:nvPicPr>
        <p:blipFill rotWithShape="1">
          <a:blip r:embed="rId3"/>
          <a:srcRect l="6503" t="21287" r="74698" b="20220"/>
          <a:stretch/>
        </p:blipFill>
        <p:spPr>
          <a:xfrm>
            <a:off x="339111" y="1946110"/>
            <a:ext cx="228600" cy="231962"/>
          </a:xfrm>
          <a:prstGeom prst="rect">
            <a:avLst/>
          </a:prstGeom>
        </p:spPr>
      </p:pic>
      <p:pic>
        <p:nvPicPr>
          <p:cNvPr id="120" name="Picture 119"/>
          <p:cNvPicPr>
            <a:picLocks noChangeAspect="1"/>
          </p:cNvPicPr>
          <p:nvPr/>
        </p:nvPicPr>
        <p:blipFill>
          <a:blip r:embed="rId4"/>
          <a:stretch>
            <a:fillRect/>
          </a:stretch>
        </p:blipFill>
        <p:spPr>
          <a:xfrm>
            <a:off x="284769" y="3673076"/>
            <a:ext cx="311766" cy="303106"/>
          </a:xfrm>
          <a:prstGeom prst="rect">
            <a:avLst/>
          </a:prstGeom>
        </p:spPr>
      </p:pic>
      <p:sp>
        <p:nvSpPr>
          <p:cNvPr id="121" name="Rectangle 145"/>
          <p:cNvSpPr/>
          <p:nvPr/>
        </p:nvSpPr>
        <p:spPr bwMode="auto">
          <a:xfrm>
            <a:off x="718897" y="5436715"/>
            <a:ext cx="1821468" cy="3831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2C812"/>
                </a:solidFill>
                <a:effectLst/>
                <a:uLnTx/>
                <a:uFillTx/>
                <a:latin typeface="Segoe UI"/>
                <a:ea typeface="+mn-ea"/>
                <a:cs typeface="Segoe UI Light" panose="020B0502040204020203" pitchFamily="34" charset="0"/>
              </a:rPr>
              <a:t>Connect from Excel</a:t>
            </a:r>
          </a:p>
        </p:txBody>
      </p:sp>
      <p:sp>
        <p:nvSpPr>
          <p:cNvPr id="122" name="Oval 162"/>
          <p:cNvSpPr/>
          <p:nvPr/>
        </p:nvSpPr>
        <p:spPr bwMode="auto">
          <a:xfrm>
            <a:off x="231441" y="5429649"/>
            <a:ext cx="433844" cy="433844"/>
          </a:xfrm>
          <a:prstGeom prst="ellipse">
            <a:avLst/>
          </a:prstGeom>
          <a:solidFill>
            <a:srgbClr val="FFCC00"/>
          </a:solidFill>
          <a:ln>
            <a:solidFill>
              <a:srgbClr val="F2C81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23" name="Picture 122"/>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flipH="1">
            <a:off x="283763" y="4596680"/>
            <a:ext cx="357484" cy="357484"/>
          </a:xfrm>
          <a:prstGeom prst="rect">
            <a:avLst/>
          </a:prstGeom>
        </p:spPr>
      </p:pic>
      <p:sp>
        <p:nvSpPr>
          <p:cNvPr id="124" name="Oval 162"/>
          <p:cNvSpPr/>
          <p:nvPr/>
        </p:nvSpPr>
        <p:spPr bwMode="auto">
          <a:xfrm>
            <a:off x="233032" y="6267344"/>
            <a:ext cx="433844" cy="433844"/>
          </a:xfrm>
          <a:prstGeom prst="ellipse">
            <a:avLst/>
          </a:prstGeom>
          <a:solidFill>
            <a:srgbClr val="FFCC00"/>
          </a:solidFill>
          <a:ln>
            <a:solidFill>
              <a:srgbClr val="F2C81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5" name="Rectangle 145"/>
          <p:cNvSpPr/>
          <p:nvPr/>
        </p:nvSpPr>
        <p:spPr bwMode="auto">
          <a:xfrm>
            <a:off x="701416" y="6289969"/>
            <a:ext cx="1821468" cy="3831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2C812"/>
                </a:solidFill>
                <a:effectLst/>
                <a:uLnTx/>
                <a:uFillTx/>
                <a:latin typeface="Segoe UI"/>
                <a:ea typeface="+mn-ea"/>
                <a:cs typeface="Segoe UI Light" panose="020B0502040204020203" pitchFamily="34" charset="0"/>
              </a:rPr>
              <a:t>Mobile Reports</a:t>
            </a:r>
          </a:p>
        </p:txBody>
      </p:sp>
      <p:pic>
        <p:nvPicPr>
          <p:cNvPr id="126" name="Picture 125"/>
          <p:cNvPicPr>
            <a:picLocks noChangeAspect="1"/>
          </p:cNvPicPr>
          <p:nvPr/>
        </p:nvPicPr>
        <p:blipFill>
          <a:blip r:embed="rId6" cstate="print">
            <a:extLst>
              <a:ext uri="{BEBA8EAE-BF5A-486C-A8C5-ECC9F3942E4B}">
                <a14:imgProps xmlns:a14="http://schemas.microsoft.com/office/drawing/2010/main">
                  <a14:imgLayer r:embed="rId7">
                    <a14:imgEffect>
                      <a14:saturation sat="0"/>
                    </a14:imgEffect>
                  </a14:imgLayer>
                </a14:imgProps>
              </a:ext>
              <a:ext uri="{28A0092B-C50C-407E-A947-70E740481C1C}">
                <a14:useLocalDpi xmlns:a14="http://schemas.microsoft.com/office/drawing/2010/main" val="0"/>
              </a:ext>
            </a:extLst>
          </a:blip>
          <a:stretch>
            <a:fillRect/>
          </a:stretch>
        </p:blipFill>
        <p:spPr>
          <a:xfrm>
            <a:off x="391946" y="6350039"/>
            <a:ext cx="133350" cy="251587"/>
          </a:xfrm>
          <a:prstGeom prst="rect">
            <a:avLst/>
          </a:prstGeom>
        </p:spPr>
      </p:pic>
      <p:pic>
        <p:nvPicPr>
          <p:cNvPr id="127" name="Picture 126"/>
          <p:cNvPicPr>
            <a:picLocks noChangeAspect="1"/>
          </p:cNvPicPr>
          <p:nvPr/>
        </p:nvPicPr>
        <p:blipFill>
          <a:blip r:embed="rId8" cstate="print">
            <a:biLevel thresh="50000"/>
            <a:extLst>
              <a:ext uri="{28A0092B-C50C-407E-A947-70E740481C1C}">
                <a14:useLocalDpi xmlns:a14="http://schemas.microsoft.com/office/drawing/2010/main" val="0"/>
              </a:ext>
            </a:extLst>
          </a:blip>
          <a:stretch>
            <a:fillRect/>
          </a:stretch>
        </p:blipFill>
        <p:spPr>
          <a:xfrm>
            <a:off x="332658" y="5538489"/>
            <a:ext cx="268940" cy="268940"/>
          </a:xfrm>
          <a:prstGeom prst="rect">
            <a:avLst/>
          </a:prstGeom>
        </p:spPr>
      </p:pic>
      <p:sp>
        <p:nvSpPr>
          <p:cNvPr id="128" name="Rectangle 127"/>
          <p:cNvSpPr/>
          <p:nvPr/>
        </p:nvSpPr>
        <p:spPr bwMode="auto">
          <a:xfrm>
            <a:off x="35912" y="2594112"/>
            <a:ext cx="2464420" cy="4194313"/>
          </a:xfrm>
          <a:prstGeom prst="rect">
            <a:avLst/>
          </a:prstGeom>
          <a:solidFill>
            <a:srgbClr val="000000">
              <a:alpha val="6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9" name="Rectangle 128"/>
          <p:cNvSpPr/>
          <p:nvPr/>
        </p:nvSpPr>
        <p:spPr bwMode="auto">
          <a:xfrm>
            <a:off x="95936" y="731576"/>
            <a:ext cx="2464420" cy="880187"/>
          </a:xfrm>
          <a:prstGeom prst="rect">
            <a:avLst/>
          </a:prstGeom>
          <a:solidFill>
            <a:srgbClr val="000000">
              <a:alpha val="6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5" name="Picture 4"/>
          <p:cNvPicPr>
            <a:picLocks noChangeAspect="1"/>
          </p:cNvPicPr>
          <p:nvPr/>
        </p:nvPicPr>
        <p:blipFill>
          <a:blip r:embed="rId9"/>
          <a:stretch>
            <a:fillRect/>
          </a:stretch>
        </p:blipFill>
        <p:spPr>
          <a:xfrm>
            <a:off x="3324429" y="3836671"/>
            <a:ext cx="1884415" cy="1328580"/>
          </a:xfrm>
          <a:prstGeom prst="rect">
            <a:avLst/>
          </a:prstGeom>
        </p:spPr>
      </p:pic>
      <p:pic>
        <p:nvPicPr>
          <p:cNvPr id="7" name="Picture 6"/>
          <p:cNvPicPr>
            <a:picLocks noChangeAspect="1"/>
          </p:cNvPicPr>
          <p:nvPr/>
        </p:nvPicPr>
        <p:blipFill>
          <a:blip r:embed="rId10"/>
          <a:stretch>
            <a:fillRect/>
          </a:stretch>
        </p:blipFill>
        <p:spPr>
          <a:xfrm>
            <a:off x="3344095" y="5208776"/>
            <a:ext cx="1910274" cy="1329495"/>
          </a:xfrm>
          <a:prstGeom prst="rect">
            <a:avLst/>
          </a:prstGeom>
        </p:spPr>
      </p:pic>
      <p:sp>
        <p:nvSpPr>
          <p:cNvPr id="49" name="Text Placeholder 2"/>
          <p:cNvSpPr txBox="1">
            <a:spLocks/>
          </p:cNvSpPr>
          <p:nvPr/>
        </p:nvSpPr>
        <p:spPr>
          <a:xfrm>
            <a:off x="3436108" y="2680313"/>
            <a:ext cx="6061854" cy="2715074"/>
          </a:xfrm>
          <a:prstGeom prst="rect">
            <a:avLst/>
          </a:prstGeom>
        </p:spPr>
        <p:txBody>
          <a:bodyPr vert="horz" wrap="square" lIns="182880" tIns="146304" rIns="182880" bIns="146304" rtlCol="0">
            <a:noAutofit/>
          </a:bodyPr>
          <a:lstStyle>
            <a:lvl1pPr marL="182845" marR="0"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3921" kern="1200" spc="0" baseline="0">
                <a:gradFill>
                  <a:gsLst>
                    <a:gs pos="1250">
                      <a:schemeClr val="tx2"/>
                    </a:gs>
                    <a:gs pos="99000">
                      <a:schemeClr val="tx2"/>
                    </a:gs>
                  </a:gsLst>
                  <a:lin ang="5400000" scaled="0"/>
                </a:gradFill>
                <a:latin typeface="+mj-lt"/>
                <a:ea typeface="+mn-ea"/>
                <a:cs typeface="+mn-cs"/>
              </a:defRPr>
            </a:lvl1pPr>
            <a:lvl2pPr marL="365690" marR="0"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2400" kern="1200" spc="0" baseline="0">
                <a:solidFill>
                  <a:schemeClr val="tx2"/>
                </a:solidFill>
                <a:latin typeface="+mj-lt"/>
                <a:ea typeface="+mn-ea"/>
                <a:cs typeface="+mn-cs"/>
              </a:defRPr>
            </a:lvl2pPr>
            <a:lvl3pPr marL="548535" marR="0"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2000" kern="1200" spc="0" baseline="0">
                <a:solidFill>
                  <a:schemeClr val="tx2"/>
                </a:solidFill>
                <a:latin typeface="+mj-lt"/>
                <a:ea typeface="+mn-ea"/>
                <a:cs typeface="+mn-cs"/>
              </a:defRPr>
            </a:lvl3pPr>
            <a:lvl4pPr marL="733802" marR="0" indent="-28569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1765" kern="1200" spc="0" baseline="0">
                <a:solidFill>
                  <a:schemeClr val="tx2"/>
                </a:solidFill>
                <a:latin typeface="+mn-lt"/>
                <a:ea typeface="+mn-ea"/>
                <a:cs typeface="+mn-cs"/>
              </a:defRPr>
            </a:lvl4pPr>
            <a:lvl5pPr marL="957856" marR="0" indent="-28569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1765" kern="1200" spc="0" baseline="0">
                <a:solidFill>
                  <a:schemeClr val="tx2"/>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1"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p:txBody>
      </p:sp>
      <p:pic>
        <p:nvPicPr>
          <p:cNvPr id="8" name="Picture 7"/>
          <p:cNvPicPr>
            <a:picLocks noChangeAspect="1"/>
          </p:cNvPicPr>
          <p:nvPr/>
        </p:nvPicPr>
        <p:blipFill>
          <a:blip r:embed="rId11"/>
          <a:stretch>
            <a:fillRect/>
          </a:stretch>
        </p:blipFill>
        <p:spPr>
          <a:xfrm>
            <a:off x="5336889" y="3838849"/>
            <a:ext cx="2950188" cy="2699422"/>
          </a:xfrm>
          <a:prstGeom prst="rect">
            <a:avLst/>
          </a:prstGeom>
        </p:spPr>
      </p:pic>
      <p:pic>
        <p:nvPicPr>
          <p:cNvPr id="11" name="Picture 10"/>
          <p:cNvPicPr>
            <a:picLocks noChangeAspect="1"/>
          </p:cNvPicPr>
          <p:nvPr/>
        </p:nvPicPr>
        <p:blipFill>
          <a:blip r:embed="rId12"/>
          <a:stretch>
            <a:fillRect/>
          </a:stretch>
        </p:blipFill>
        <p:spPr>
          <a:xfrm>
            <a:off x="8395397" y="3836671"/>
            <a:ext cx="2764216" cy="2702940"/>
          </a:xfrm>
          <a:prstGeom prst="rect">
            <a:avLst/>
          </a:prstGeom>
        </p:spPr>
      </p:pic>
      <p:sp>
        <p:nvSpPr>
          <p:cNvPr id="54" name="Rectangle 53"/>
          <p:cNvSpPr/>
          <p:nvPr/>
        </p:nvSpPr>
        <p:spPr bwMode="auto">
          <a:xfrm>
            <a:off x="4876800" y="3976181"/>
            <a:ext cx="186814" cy="170098"/>
          </a:xfrm>
          <a:prstGeom prst="rect">
            <a:avLst/>
          </a:prstGeom>
          <a:noFill/>
          <a:ln w="38100">
            <a:solidFill>
              <a:srgbClr val="FF00F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34965475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 name="Text Placeholder 2"/>
          <p:cNvSpPr txBox="1">
            <a:spLocks/>
          </p:cNvSpPr>
          <p:nvPr/>
        </p:nvSpPr>
        <p:spPr>
          <a:xfrm>
            <a:off x="2846172" y="1340643"/>
            <a:ext cx="4692845" cy="5009396"/>
          </a:xfrm>
          <a:prstGeom prst="rect">
            <a:avLst/>
          </a:prstGeom>
        </p:spPr>
        <p:txBody>
          <a:bodyPr vert="horz" wrap="square" lIns="182880" tIns="146304" rIns="182880" bIns="146304" rtlCol="0">
            <a:noAutofit/>
          </a:bodyPr>
          <a:lstStyle>
            <a:lvl1pPr marL="182845" marR="0"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3921" kern="1200" spc="0" baseline="0">
                <a:gradFill>
                  <a:gsLst>
                    <a:gs pos="1250">
                      <a:schemeClr val="tx2"/>
                    </a:gs>
                    <a:gs pos="99000">
                      <a:schemeClr val="tx2"/>
                    </a:gs>
                  </a:gsLst>
                  <a:lin ang="5400000" scaled="0"/>
                </a:gradFill>
                <a:latin typeface="+mj-lt"/>
                <a:ea typeface="+mn-ea"/>
                <a:cs typeface="+mn-cs"/>
              </a:defRPr>
            </a:lvl1pPr>
            <a:lvl2pPr marL="365690" marR="0"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2400" kern="1200" spc="0" baseline="0">
                <a:solidFill>
                  <a:schemeClr val="tx2"/>
                </a:solidFill>
                <a:latin typeface="+mj-lt"/>
                <a:ea typeface="+mn-ea"/>
                <a:cs typeface="+mn-cs"/>
              </a:defRPr>
            </a:lvl2pPr>
            <a:lvl3pPr marL="548535" marR="0"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2000" kern="1200" spc="0" baseline="0">
                <a:solidFill>
                  <a:schemeClr val="tx2"/>
                </a:solidFill>
                <a:latin typeface="+mj-lt"/>
                <a:ea typeface="+mn-ea"/>
                <a:cs typeface="+mn-cs"/>
              </a:defRPr>
            </a:lvl3pPr>
            <a:lvl4pPr marL="733802" marR="0" indent="-28569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1765" kern="1200" spc="0" baseline="0">
                <a:solidFill>
                  <a:schemeClr val="tx2"/>
                </a:solidFill>
                <a:latin typeface="+mn-lt"/>
                <a:ea typeface="+mn-ea"/>
                <a:cs typeface="+mn-cs"/>
              </a:defRPr>
            </a:lvl4pPr>
            <a:lvl5pPr marL="957856" marR="0" indent="-28569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1765" kern="1200" spc="0" baseline="0">
                <a:solidFill>
                  <a:schemeClr val="tx2"/>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r>
              <a:rPr kumimoji="0" lang="en-US" sz="2000" b="1"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rPr>
              <a:t>Important information </a:t>
            </a:r>
            <a:r>
              <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rPr>
              <a:t>related to your Power BI experience in </a:t>
            </a:r>
            <a:r>
              <a:rPr kumimoji="0" lang="en-US" sz="2000" b="1"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rPr>
              <a:t>one place</a:t>
            </a:r>
          </a:p>
          <a:p>
            <a:pPr marL="182845" marR="0" lvl="1" indent="0" algn="l" defTabSz="914367" rtl="0" eaLnBrk="1" fontAlgn="auto" latinLnBrk="0" hangingPunct="1">
              <a:lnSpc>
                <a:spcPct val="90000"/>
              </a:lnSpc>
              <a:spcBef>
                <a:spcPct val="20000"/>
              </a:spcBef>
              <a:spcAft>
                <a:spcPts val="0"/>
              </a:spcAft>
              <a:buClrTx/>
              <a:buSzPct val="90000"/>
              <a:buFont typeface="Arial" panose="020B0604020202020204" pitchFamily="34" charset="0"/>
              <a:buNone/>
              <a:tabLst/>
              <a:defRPr/>
            </a:pPr>
            <a:endParaRPr kumimoji="0" lang="en-US" sz="2000" b="1"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r>
              <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rPr>
              <a:t>Notification on </a:t>
            </a:r>
            <a:r>
              <a:rPr kumimoji="0" lang="en-US" sz="2000" b="1"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rPr>
              <a:t>all platforms </a:t>
            </a:r>
            <a:r>
              <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rPr>
              <a:t>– web (Power BI Service) and mobile app</a:t>
            </a: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1"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r>
              <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rPr>
              <a:t>Includes </a:t>
            </a:r>
            <a:r>
              <a:rPr kumimoji="0" lang="en-US" sz="2000" b="1"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rPr>
              <a:t>data driven alerts</a:t>
            </a: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a:p>
            <a:pPr marL="182845" marR="0" lvl="1" indent="0" algn="l" defTabSz="914367" rtl="0" eaLnBrk="1" fontAlgn="auto" latinLnBrk="0" hangingPunct="1">
              <a:lnSpc>
                <a:spcPct val="90000"/>
              </a:lnSpc>
              <a:spcBef>
                <a:spcPct val="20000"/>
              </a:spcBef>
              <a:spcAft>
                <a:spcPts val="0"/>
              </a:spcAft>
              <a:buClrTx/>
              <a:buSzPct val="90000"/>
              <a:buFont typeface="Arial" panose="020B0604020202020204" pitchFamily="34" charset="0"/>
              <a:buNone/>
              <a:tabLst/>
              <a:defRPr/>
            </a:pPr>
            <a:endPar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a:p>
            <a:pPr marL="182845" marR="0" lvl="1" indent="0" algn="l" defTabSz="914367" rtl="0" eaLnBrk="1" fontAlgn="auto" latinLnBrk="0" hangingPunct="1">
              <a:lnSpc>
                <a:spcPct val="90000"/>
              </a:lnSpc>
              <a:spcBef>
                <a:spcPct val="20000"/>
              </a:spcBef>
              <a:spcAft>
                <a:spcPts val="0"/>
              </a:spcAft>
              <a:buClrTx/>
              <a:buSzPct val="90000"/>
              <a:buFont typeface="Arial" panose="020B0604020202020204" pitchFamily="34" charset="0"/>
              <a:buNone/>
              <a:tabLst/>
              <a:defRPr/>
            </a:pPr>
            <a:endPar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a:p>
            <a:pPr marL="182845" marR="0" lvl="1" indent="0" algn="l" defTabSz="914367" rtl="0" eaLnBrk="1" fontAlgn="auto" latinLnBrk="0" hangingPunct="1">
              <a:lnSpc>
                <a:spcPct val="90000"/>
              </a:lnSpc>
              <a:spcBef>
                <a:spcPct val="20000"/>
              </a:spcBef>
              <a:spcAft>
                <a:spcPts val="0"/>
              </a:spcAft>
              <a:buClrTx/>
              <a:buSzPct val="90000"/>
              <a:buFont typeface="Arial" panose="020B0604020202020204" pitchFamily="34" charset="0"/>
              <a:buNone/>
              <a:tabLst/>
              <a:defRPr/>
            </a:pPr>
            <a:r>
              <a:rPr kumimoji="0" lang="en-US" sz="2000" b="0" i="1" u="none" strike="noStrike" kern="1200" cap="none" spc="0" normalizeH="0" baseline="0" noProof="0">
                <a:ln>
                  <a:noFill/>
                </a:ln>
                <a:solidFill>
                  <a:srgbClr val="000000"/>
                </a:solidFill>
                <a:effectLst/>
                <a:uLnTx/>
                <a:uFillTx/>
                <a:latin typeface="Segoe UI Light"/>
                <a:ea typeface="+mn-ea"/>
                <a:cs typeface="+mn-cs"/>
              </a:rPr>
              <a:t>.</a:t>
            </a:r>
            <a:endParaRPr kumimoji="0" lang="en-US" sz="2000" b="0" i="1"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1"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a:p>
            <a:pPr marL="182845" marR="0" lvl="1" indent="0" algn="l" defTabSz="914367" rtl="0" eaLnBrk="1" fontAlgn="auto" latinLnBrk="0" hangingPunct="1">
              <a:lnSpc>
                <a:spcPct val="90000"/>
              </a:lnSpc>
              <a:spcBef>
                <a:spcPct val="20000"/>
              </a:spcBef>
              <a:spcAft>
                <a:spcPts val="0"/>
              </a:spcAft>
              <a:buClrTx/>
              <a:buSzPct val="90000"/>
              <a:buFont typeface="Arial" panose="020B0604020202020204" pitchFamily="34" charset="0"/>
              <a:buNone/>
              <a:tabLst/>
              <a:defRPr/>
            </a:pPr>
            <a:endPar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1"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1"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p:txBody>
      </p:sp>
      <p:sp>
        <p:nvSpPr>
          <p:cNvPr id="53" name="Title 10"/>
          <p:cNvSpPr txBox="1">
            <a:spLocks/>
          </p:cNvSpPr>
          <p:nvPr/>
        </p:nvSpPr>
        <p:spPr>
          <a:xfrm>
            <a:off x="2849060" y="0"/>
            <a:ext cx="9342940" cy="665151"/>
          </a:xfrm>
          <a:prstGeom prst="rect">
            <a:avLst/>
          </a:prstGeom>
          <a:noFill/>
        </p:spPr>
        <p:txBody>
          <a:bodyPr vert="horz" wrap="square" lIns="0" tIns="91440" rIns="0" bIns="91440" rtlCol="0" anchor="t">
            <a:noAutofit/>
          </a:bodyPr>
          <a:lstStyle>
            <a:lvl1pPr defTabSz="914367">
              <a:lnSpc>
                <a:spcPct val="90000"/>
              </a:lnSpc>
              <a:spcBef>
                <a:spcPct val="0"/>
              </a:spcBef>
              <a:buNone/>
              <a:defRPr lang="en-US" sz="5294" b="0" cap="none" spc="-100" baseline="0" dirty="0" smtClean="0">
                <a:ln w="3175">
                  <a:noFill/>
                </a:ln>
                <a:solidFill>
                  <a:schemeClr val="tx2"/>
                </a:solidFill>
                <a:effectLst/>
                <a:latin typeface="+mj-lt"/>
                <a:cs typeface="Segoe UI" pitchFamily="34" charset="0"/>
              </a:defRPr>
            </a:lvl1pPr>
          </a:lstStyle>
          <a:p>
            <a:pPr marL="168275" marR="0" lvl="0" indent="0" algn="l" defTabSz="914367" rtl="0" eaLnBrk="1" fontAlgn="auto" latinLnBrk="0" hangingPunct="1">
              <a:lnSpc>
                <a:spcPct val="90000"/>
              </a:lnSpc>
              <a:spcBef>
                <a:spcPct val="0"/>
              </a:spcBef>
              <a:spcAft>
                <a:spcPts val="0"/>
              </a:spcAft>
              <a:buClrTx/>
              <a:buSzTx/>
              <a:buFontTx/>
              <a:buNone/>
              <a:tabLst/>
              <a:defRPr/>
            </a:pPr>
            <a:r>
              <a:rPr kumimoji="0" lang="en-US" sz="3600" b="0" i="0" u="none" strike="noStrike" kern="1200" cap="none" spc="-100" normalizeH="0" baseline="0" noProof="0">
                <a:ln w="3175">
                  <a:noFill/>
                </a:ln>
                <a:solidFill>
                  <a:prstClr val="black"/>
                </a:solidFill>
                <a:effectLst/>
                <a:uLnTx/>
                <a:uFillTx/>
                <a:latin typeface="Segoe UI Light"/>
                <a:ea typeface="+mn-ea"/>
                <a:cs typeface="Segoe UI" pitchFamily="34" charset="0"/>
              </a:rPr>
              <a:t>Pinning and Navigation</a:t>
            </a:r>
            <a:endParaRPr kumimoji="0" lang="en-IN" sz="3600" b="0" i="0" u="none" strike="noStrike" kern="1200" cap="none" spc="-100" normalizeH="0" baseline="0" noProof="0">
              <a:ln w="3175">
                <a:noFill/>
              </a:ln>
              <a:solidFill>
                <a:prstClr val="black"/>
              </a:solidFill>
              <a:effectLst/>
              <a:uLnTx/>
              <a:uFillTx/>
              <a:latin typeface="Segoe UI Light"/>
              <a:ea typeface="+mn-ea"/>
              <a:cs typeface="Segoe UI" pitchFamily="34" charset="0"/>
            </a:endParaRPr>
          </a:p>
        </p:txBody>
      </p:sp>
      <p:sp>
        <p:nvSpPr>
          <p:cNvPr id="41" name="Rectangle 3"/>
          <p:cNvSpPr/>
          <p:nvPr/>
        </p:nvSpPr>
        <p:spPr bwMode="auto">
          <a:xfrm>
            <a:off x="3202216" y="665151"/>
            <a:ext cx="8105312" cy="44435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PT" sz="2000" b="0" i="1" u="none" strike="noStrike" kern="1200" cap="none" spc="0" normalizeH="0" baseline="0" noProof="0">
                <a:ln>
                  <a:noFill/>
                </a:ln>
                <a:solidFill>
                  <a:prstClr val="black"/>
                </a:solidFill>
                <a:effectLst/>
                <a:uLnTx/>
                <a:uFillTx/>
                <a:latin typeface="Segoe UI Light"/>
                <a:ea typeface="+mn-ea"/>
                <a:cs typeface="+mn-cs"/>
              </a:rPr>
              <a:t>Power BI Notification Center</a:t>
            </a:r>
            <a:endParaRPr kumimoji="0" lang="en-US" sz="2000" b="0" i="1" u="none" strike="noStrike" kern="1200" cap="none" spc="0" normalizeH="0" baseline="0" noProof="0">
              <a:ln>
                <a:noFill/>
              </a:ln>
              <a:solidFill>
                <a:prstClr val="black"/>
              </a:solidFill>
              <a:effectLst/>
              <a:uLnTx/>
              <a:uFillTx/>
              <a:latin typeface="Segoe UI Light"/>
              <a:ea typeface="+mn-ea"/>
              <a:cs typeface="+mn-cs"/>
            </a:endParaRPr>
          </a:p>
        </p:txBody>
      </p:sp>
      <p:grpSp>
        <p:nvGrpSpPr>
          <p:cNvPr id="81" name="Group 80"/>
          <p:cNvGrpSpPr/>
          <p:nvPr/>
        </p:nvGrpSpPr>
        <p:grpSpPr>
          <a:xfrm>
            <a:off x="-2887" y="973"/>
            <a:ext cx="2849058" cy="6857027"/>
            <a:chOff x="2" y="487"/>
            <a:chExt cx="2849058" cy="6857027"/>
          </a:xfrm>
        </p:grpSpPr>
        <p:sp>
          <p:nvSpPr>
            <p:cNvPr id="94" name="Rectangle 15"/>
            <p:cNvSpPr/>
            <p:nvPr/>
          </p:nvSpPr>
          <p:spPr bwMode="auto">
            <a:xfrm>
              <a:off x="2" y="487"/>
              <a:ext cx="2849058" cy="685702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5" name="Rectangle 145"/>
            <p:cNvSpPr/>
            <p:nvPr/>
          </p:nvSpPr>
          <p:spPr bwMode="auto">
            <a:xfrm>
              <a:off x="696152" y="956997"/>
              <a:ext cx="1821468" cy="3831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2C812"/>
                  </a:solidFill>
                  <a:effectLst/>
                  <a:uLnTx/>
                  <a:uFillTx/>
                  <a:latin typeface="Segoe UI"/>
                  <a:ea typeface="+mn-ea"/>
                  <a:cs typeface="Segoe UI Light" panose="020B0502040204020203" pitchFamily="34" charset="0"/>
                </a:rPr>
                <a:t>Get Data</a:t>
              </a:r>
              <a:endParaRPr kumimoji="0" lang="en-US" sz="1200" b="1" i="1" u="none" strike="noStrike" kern="1200" cap="none" spc="0" normalizeH="0" baseline="0" noProof="0">
                <a:ln>
                  <a:noFill/>
                </a:ln>
                <a:solidFill>
                  <a:srgbClr val="F2C812"/>
                </a:solidFill>
                <a:effectLst/>
                <a:uLnTx/>
                <a:uFillTx/>
                <a:latin typeface="Segoe UI"/>
                <a:ea typeface="+mn-ea"/>
                <a:cs typeface="Segoe UI Light" panose="020B0502040204020203" pitchFamily="34" charset="0"/>
              </a:endParaRPr>
            </a:p>
          </p:txBody>
        </p:sp>
        <p:grpSp>
          <p:nvGrpSpPr>
            <p:cNvPr id="96" name="Group 95"/>
            <p:cNvGrpSpPr/>
            <p:nvPr/>
          </p:nvGrpSpPr>
          <p:grpSpPr>
            <a:xfrm>
              <a:off x="219373" y="934583"/>
              <a:ext cx="433844" cy="433844"/>
              <a:chOff x="440005" y="997815"/>
              <a:chExt cx="296322" cy="296322"/>
            </a:xfrm>
          </p:grpSpPr>
          <p:sp>
            <p:nvSpPr>
              <p:cNvPr id="115" name="Oval 147"/>
              <p:cNvSpPr/>
              <p:nvPr/>
            </p:nvSpPr>
            <p:spPr bwMode="auto">
              <a:xfrm>
                <a:off x="440005" y="997815"/>
                <a:ext cx="296322" cy="296322"/>
              </a:xfrm>
              <a:prstGeom prst="ellipse">
                <a:avLst/>
              </a:prstGeom>
              <a:solidFill>
                <a:srgbClr val="FFCC00"/>
              </a:solidFill>
              <a:ln>
                <a:solidFill>
                  <a:srgbClr val="F2C81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16" name="Group 332"/>
              <p:cNvGrpSpPr/>
              <p:nvPr/>
            </p:nvGrpSpPr>
            <p:grpSpPr>
              <a:xfrm>
                <a:off x="482167" y="1059311"/>
                <a:ext cx="211997" cy="173292"/>
                <a:chOff x="2123129" y="293070"/>
                <a:chExt cx="2472585" cy="2021178"/>
              </a:xfrm>
            </p:grpSpPr>
            <p:sp>
              <p:nvSpPr>
                <p:cNvPr id="117" name="Freeform 13"/>
                <p:cNvSpPr>
                  <a:spLocks/>
                </p:cNvSpPr>
                <p:nvPr/>
              </p:nvSpPr>
              <p:spPr bwMode="auto">
                <a:xfrm rot="20700000">
                  <a:off x="3155853" y="872796"/>
                  <a:ext cx="1439861" cy="1441452"/>
                </a:xfrm>
                <a:custGeom>
                  <a:avLst/>
                  <a:gdLst>
                    <a:gd name="T0" fmla="*/ 138 w 441"/>
                    <a:gd name="T1" fmla="*/ 341 h 441"/>
                    <a:gd name="T2" fmla="*/ 183 w 441"/>
                    <a:gd name="T3" fmla="*/ 374 h 441"/>
                    <a:gd name="T4" fmla="*/ 220 w 441"/>
                    <a:gd name="T5" fmla="*/ 423 h 441"/>
                    <a:gd name="T6" fmla="*/ 422 w 441"/>
                    <a:gd name="T7" fmla="*/ 220 h 441"/>
                    <a:gd name="T8" fmla="*/ 373 w 441"/>
                    <a:gd name="T9" fmla="*/ 184 h 441"/>
                    <a:gd name="T10" fmla="*/ 341 w 441"/>
                    <a:gd name="T11" fmla="*/ 139 h 441"/>
                    <a:gd name="T12" fmla="*/ 382 w 441"/>
                    <a:gd name="T13" fmla="*/ 58 h 441"/>
                    <a:gd name="T14" fmla="*/ 302 w 441"/>
                    <a:gd name="T15" fmla="*/ 100 h 441"/>
                    <a:gd name="T16" fmla="*/ 257 w 441"/>
                    <a:gd name="T17" fmla="*/ 67 h 441"/>
                    <a:gd name="T18" fmla="*/ 220 w 441"/>
                    <a:gd name="T19" fmla="*/ 18 h 441"/>
                    <a:gd name="T20" fmla="*/ 171 w 441"/>
                    <a:gd name="T21" fmla="*/ 55 h 441"/>
                    <a:gd name="T22" fmla="*/ 138 w 441"/>
                    <a:gd name="T23" fmla="*/ 100 h 441"/>
                    <a:gd name="T24" fmla="*/ 180 w 441"/>
                    <a:gd name="T25" fmla="*/ 181 h 441"/>
                    <a:gd name="T26" fmla="*/ 100 w 441"/>
                    <a:gd name="T27" fmla="*/ 139 h 441"/>
                    <a:gd name="T28" fmla="*/ 55 w 441"/>
                    <a:gd name="T29" fmla="*/ 171 h 441"/>
                    <a:gd name="T30" fmla="*/ 18 w 441"/>
                    <a:gd name="T31" fmla="*/ 220 h 441"/>
                    <a:gd name="T32" fmla="*/ 67 w 441"/>
                    <a:gd name="T33" fmla="*/ 257 h 441"/>
                    <a:gd name="T34" fmla="*/ 100 w 441"/>
                    <a:gd name="T35" fmla="*/ 302 h 441"/>
                    <a:gd name="T36" fmla="*/ 58 w 441"/>
                    <a:gd name="T37" fmla="*/ 383 h 441"/>
                    <a:gd name="T38" fmla="*/ 138 w 441"/>
                    <a:gd name="T39" fmla="*/ 341 h 4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41" h="441">
                      <a:moveTo>
                        <a:pt x="138" y="341"/>
                      </a:moveTo>
                      <a:cubicBezTo>
                        <a:pt x="147" y="337"/>
                        <a:pt x="171" y="361"/>
                        <a:pt x="183" y="374"/>
                      </a:cubicBezTo>
                      <a:cubicBezTo>
                        <a:pt x="196" y="386"/>
                        <a:pt x="220" y="423"/>
                        <a:pt x="220" y="423"/>
                      </a:cubicBezTo>
                      <a:cubicBezTo>
                        <a:pt x="422" y="220"/>
                        <a:pt x="422" y="220"/>
                        <a:pt x="422" y="220"/>
                      </a:cubicBezTo>
                      <a:cubicBezTo>
                        <a:pt x="422" y="220"/>
                        <a:pt x="386" y="196"/>
                        <a:pt x="373" y="184"/>
                      </a:cubicBezTo>
                      <a:cubicBezTo>
                        <a:pt x="361" y="171"/>
                        <a:pt x="338" y="149"/>
                        <a:pt x="341" y="139"/>
                      </a:cubicBezTo>
                      <a:cubicBezTo>
                        <a:pt x="343" y="129"/>
                        <a:pt x="441" y="116"/>
                        <a:pt x="382" y="58"/>
                      </a:cubicBezTo>
                      <a:cubicBezTo>
                        <a:pt x="324" y="0"/>
                        <a:pt x="310" y="96"/>
                        <a:pt x="302" y="100"/>
                      </a:cubicBezTo>
                      <a:cubicBezTo>
                        <a:pt x="294" y="104"/>
                        <a:pt x="269" y="80"/>
                        <a:pt x="257" y="67"/>
                      </a:cubicBezTo>
                      <a:cubicBezTo>
                        <a:pt x="245" y="55"/>
                        <a:pt x="220" y="18"/>
                        <a:pt x="220" y="18"/>
                      </a:cubicBezTo>
                      <a:cubicBezTo>
                        <a:pt x="220" y="18"/>
                        <a:pt x="183" y="43"/>
                        <a:pt x="171" y="55"/>
                      </a:cubicBezTo>
                      <a:cubicBezTo>
                        <a:pt x="159" y="67"/>
                        <a:pt x="134" y="92"/>
                        <a:pt x="138" y="100"/>
                      </a:cubicBezTo>
                      <a:cubicBezTo>
                        <a:pt x="142" y="108"/>
                        <a:pt x="238" y="122"/>
                        <a:pt x="180" y="181"/>
                      </a:cubicBezTo>
                      <a:cubicBezTo>
                        <a:pt x="122" y="239"/>
                        <a:pt x="110" y="141"/>
                        <a:pt x="100" y="139"/>
                      </a:cubicBezTo>
                      <a:cubicBezTo>
                        <a:pt x="89" y="137"/>
                        <a:pt x="67" y="159"/>
                        <a:pt x="55" y="171"/>
                      </a:cubicBezTo>
                      <a:cubicBezTo>
                        <a:pt x="42" y="184"/>
                        <a:pt x="18" y="220"/>
                        <a:pt x="18" y="220"/>
                      </a:cubicBezTo>
                      <a:cubicBezTo>
                        <a:pt x="18" y="220"/>
                        <a:pt x="55" y="245"/>
                        <a:pt x="67" y="257"/>
                      </a:cubicBezTo>
                      <a:cubicBezTo>
                        <a:pt x="79" y="269"/>
                        <a:pt x="102" y="292"/>
                        <a:pt x="100" y="302"/>
                      </a:cubicBezTo>
                      <a:cubicBezTo>
                        <a:pt x="98" y="312"/>
                        <a:pt x="0" y="325"/>
                        <a:pt x="58" y="383"/>
                      </a:cubicBezTo>
                      <a:cubicBezTo>
                        <a:pt x="116" y="441"/>
                        <a:pt x="130" y="345"/>
                        <a:pt x="138" y="341"/>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118" name="Freeform 14"/>
                <p:cNvSpPr>
                  <a:spLocks/>
                </p:cNvSpPr>
                <p:nvPr/>
              </p:nvSpPr>
              <p:spPr bwMode="auto">
                <a:xfrm rot="9900000">
                  <a:off x="2123129" y="293070"/>
                  <a:ext cx="1377948" cy="1377947"/>
                </a:xfrm>
                <a:custGeom>
                  <a:avLst/>
                  <a:gdLst>
                    <a:gd name="T0" fmla="*/ 422 w 422"/>
                    <a:gd name="T1" fmla="*/ 220 h 422"/>
                    <a:gd name="T2" fmla="*/ 386 w 422"/>
                    <a:gd name="T3" fmla="*/ 171 h 422"/>
                    <a:gd name="T4" fmla="*/ 341 w 422"/>
                    <a:gd name="T5" fmla="*/ 138 h 422"/>
                    <a:gd name="T6" fmla="*/ 260 w 422"/>
                    <a:gd name="T7" fmla="*/ 180 h 422"/>
                    <a:gd name="T8" fmla="*/ 302 w 422"/>
                    <a:gd name="T9" fmla="*/ 100 h 422"/>
                    <a:gd name="T10" fmla="*/ 269 w 422"/>
                    <a:gd name="T11" fmla="*/ 55 h 422"/>
                    <a:gd name="T12" fmla="*/ 220 w 422"/>
                    <a:gd name="T13" fmla="*/ 18 h 422"/>
                    <a:gd name="T14" fmla="*/ 183 w 422"/>
                    <a:gd name="T15" fmla="*/ 67 h 422"/>
                    <a:gd name="T16" fmla="*/ 138 w 422"/>
                    <a:gd name="T17" fmla="*/ 100 h 422"/>
                    <a:gd name="T18" fmla="*/ 58 w 422"/>
                    <a:gd name="T19" fmla="*/ 58 h 422"/>
                    <a:gd name="T20" fmla="*/ 100 w 422"/>
                    <a:gd name="T21" fmla="*/ 138 h 422"/>
                    <a:gd name="T22" fmla="*/ 67 w 422"/>
                    <a:gd name="T23" fmla="*/ 183 h 422"/>
                    <a:gd name="T24" fmla="*/ 18 w 422"/>
                    <a:gd name="T25" fmla="*/ 220 h 422"/>
                    <a:gd name="T26" fmla="*/ 55 w 422"/>
                    <a:gd name="T27" fmla="*/ 269 h 422"/>
                    <a:gd name="T28" fmla="*/ 100 w 422"/>
                    <a:gd name="T29" fmla="*/ 302 h 422"/>
                    <a:gd name="T30" fmla="*/ 180 w 422"/>
                    <a:gd name="T31" fmla="*/ 260 h 422"/>
                    <a:gd name="T32" fmla="*/ 138 w 422"/>
                    <a:gd name="T33" fmla="*/ 341 h 422"/>
                    <a:gd name="T34" fmla="*/ 171 w 422"/>
                    <a:gd name="T35" fmla="*/ 386 h 422"/>
                    <a:gd name="T36" fmla="*/ 220 w 422"/>
                    <a:gd name="T37" fmla="*/ 422 h 422"/>
                    <a:gd name="T38" fmla="*/ 422 w 422"/>
                    <a:gd name="T39" fmla="*/ 220 h 4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22" h="422">
                      <a:moveTo>
                        <a:pt x="422" y="220"/>
                      </a:moveTo>
                      <a:cubicBezTo>
                        <a:pt x="422" y="220"/>
                        <a:pt x="398" y="183"/>
                        <a:pt x="386" y="171"/>
                      </a:cubicBezTo>
                      <a:cubicBezTo>
                        <a:pt x="373" y="159"/>
                        <a:pt x="349" y="134"/>
                        <a:pt x="341" y="138"/>
                      </a:cubicBezTo>
                      <a:cubicBezTo>
                        <a:pt x="332" y="142"/>
                        <a:pt x="318" y="239"/>
                        <a:pt x="260" y="180"/>
                      </a:cubicBezTo>
                      <a:cubicBezTo>
                        <a:pt x="202" y="122"/>
                        <a:pt x="300" y="110"/>
                        <a:pt x="302" y="100"/>
                      </a:cubicBezTo>
                      <a:cubicBezTo>
                        <a:pt x="304" y="90"/>
                        <a:pt x="281" y="67"/>
                        <a:pt x="269" y="55"/>
                      </a:cubicBezTo>
                      <a:cubicBezTo>
                        <a:pt x="257" y="42"/>
                        <a:pt x="220" y="18"/>
                        <a:pt x="220" y="18"/>
                      </a:cubicBezTo>
                      <a:cubicBezTo>
                        <a:pt x="220" y="18"/>
                        <a:pt x="196" y="55"/>
                        <a:pt x="183" y="67"/>
                      </a:cubicBezTo>
                      <a:cubicBezTo>
                        <a:pt x="171" y="79"/>
                        <a:pt x="149" y="102"/>
                        <a:pt x="138" y="100"/>
                      </a:cubicBezTo>
                      <a:cubicBezTo>
                        <a:pt x="128" y="98"/>
                        <a:pt x="116" y="0"/>
                        <a:pt x="58" y="58"/>
                      </a:cubicBezTo>
                      <a:cubicBezTo>
                        <a:pt x="0" y="116"/>
                        <a:pt x="96" y="130"/>
                        <a:pt x="100" y="138"/>
                      </a:cubicBezTo>
                      <a:cubicBezTo>
                        <a:pt x="104" y="147"/>
                        <a:pt x="79" y="171"/>
                        <a:pt x="67" y="183"/>
                      </a:cubicBezTo>
                      <a:cubicBezTo>
                        <a:pt x="55" y="196"/>
                        <a:pt x="18" y="220"/>
                        <a:pt x="18" y="220"/>
                      </a:cubicBezTo>
                      <a:cubicBezTo>
                        <a:pt x="18" y="220"/>
                        <a:pt x="42" y="257"/>
                        <a:pt x="55" y="269"/>
                      </a:cubicBezTo>
                      <a:cubicBezTo>
                        <a:pt x="67" y="281"/>
                        <a:pt x="91" y="306"/>
                        <a:pt x="100" y="302"/>
                      </a:cubicBezTo>
                      <a:cubicBezTo>
                        <a:pt x="108" y="298"/>
                        <a:pt x="122" y="202"/>
                        <a:pt x="180" y="260"/>
                      </a:cubicBezTo>
                      <a:cubicBezTo>
                        <a:pt x="238" y="318"/>
                        <a:pt x="140" y="330"/>
                        <a:pt x="138" y="341"/>
                      </a:cubicBezTo>
                      <a:cubicBezTo>
                        <a:pt x="136" y="351"/>
                        <a:pt x="159" y="373"/>
                        <a:pt x="171" y="386"/>
                      </a:cubicBezTo>
                      <a:cubicBezTo>
                        <a:pt x="183" y="398"/>
                        <a:pt x="220" y="422"/>
                        <a:pt x="220" y="422"/>
                      </a:cubicBezTo>
                      <a:lnTo>
                        <a:pt x="422" y="22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grpSp>
        </p:grpSp>
        <p:sp>
          <p:nvSpPr>
            <p:cNvPr id="97" name="Rectangle 152"/>
            <p:cNvSpPr/>
            <p:nvPr/>
          </p:nvSpPr>
          <p:spPr bwMode="auto">
            <a:xfrm>
              <a:off x="669652" y="2738277"/>
              <a:ext cx="1805162" cy="37532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2C812"/>
                  </a:solidFill>
                  <a:effectLst/>
                  <a:uLnTx/>
                  <a:uFillTx/>
                  <a:latin typeface="Segoe UI"/>
                  <a:ea typeface="+mn-ea"/>
                  <a:cs typeface="Segoe UI Light" panose="020B0502040204020203" pitchFamily="34" charset="0"/>
                </a:rPr>
                <a:t>Keeping Data Current</a:t>
              </a:r>
            </a:p>
          </p:txBody>
        </p:sp>
        <p:grpSp>
          <p:nvGrpSpPr>
            <p:cNvPr id="98" name="Group 97"/>
            <p:cNvGrpSpPr/>
            <p:nvPr/>
          </p:nvGrpSpPr>
          <p:grpSpPr>
            <a:xfrm>
              <a:off x="199649" y="2692629"/>
              <a:ext cx="433844" cy="433844"/>
              <a:chOff x="342620" y="2228265"/>
              <a:chExt cx="433844" cy="433844"/>
            </a:xfrm>
            <a:solidFill>
              <a:schemeClr val="bg1"/>
            </a:solidFill>
          </p:grpSpPr>
          <p:sp>
            <p:nvSpPr>
              <p:cNvPr id="113" name="Oval 154"/>
              <p:cNvSpPr/>
              <p:nvPr/>
            </p:nvSpPr>
            <p:spPr bwMode="auto">
              <a:xfrm>
                <a:off x="342620" y="2228265"/>
                <a:ext cx="433844" cy="433844"/>
              </a:xfrm>
              <a:prstGeom prst="ellipse">
                <a:avLst/>
              </a:prstGeom>
              <a:solidFill>
                <a:srgbClr val="FFC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4" name="Freeform 30"/>
              <p:cNvSpPr>
                <a:spLocks noEditPoints="1"/>
              </p:cNvSpPr>
              <p:nvPr/>
            </p:nvSpPr>
            <p:spPr bwMode="auto">
              <a:xfrm>
                <a:off x="444786" y="2340040"/>
                <a:ext cx="238402" cy="210293"/>
              </a:xfrm>
              <a:custGeom>
                <a:avLst/>
                <a:gdLst>
                  <a:gd name="T0" fmla="*/ 883 w 916"/>
                  <a:gd name="T1" fmla="*/ 286 h 808"/>
                  <a:gd name="T2" fmla="*/ 539 w 916"/>
                  <a:gd name="T3" fmla="*/ 723 h 808"/>
                  <a:gd name="T4" fmla="*/ 504 w 916"/>
                  <a:gd name="T5" fmla="*/ 0 h 808"/>
                  <a:gd name="T6" fmla="*/ 35 w 916"/>
                  <a:gd name="T7" fmla="*/ 723 h 808"/>
                  <a:gd name="T8" fmla="*/ 0 w 916"/>
                  <a:gd name="T9" fmla="*/ 808 h 808"/>
                  <a:gd name="T10" fmla="*/ 916 w 916"/>
                  <a:gd name="T11" fmla="*/ 723 h 808"/>
                  <a:gd name="T12" fmla="*/ 229 w 916"/>
                  <a:gd name="T13" fmla="*/ 665 h 808"/>
                  <a:gd name="T14" fmla="*/ 109 w 916"/>
                  <a:gd name="T15" fmla="*/ 596 h 808"/>
                  <a:gd name="T16" fmla="*/ 229 w 916"/>
                  <a:gd name="T17" fmla="*/ 665 h 808"/>
                  <a:gd name="T18" fmla="*/ 109 w 916"/>
                  <a:gd name="T19" fmla="*/ 501 h 808"/>
                  <a:gd name="T20" fmla="*/ 229 w 916"/>
                  <a:gd name="T21" fmla="*/ 432 h 808"/>
                  <a:gd name="T22" fmla="*/ 229 w 916"/>
                  <a:gd name="T23" fmla="*/ 337 h 808"/>
                  <a:gd name="T24" fmla="*/ 109 w 916"/>
                  <a:gd name="T25" fmla="*/ 267 h 808"/>
                  <a:gd name="T26" fmla="*/ 229 w 916"/>
                  <a:gd name="T27" fmla="*/ 337 h 808"/>
                  <a:gd name="T28" fmla="*/ 109 w 916"/>
                  <a:gd name="T29" fmla="*/ 172 h 808"/>
                  <a:gd name="T30" fmla="*/ 229 w 916"/>
                  <a:gd name="T31" fmla="*/ 103 h 808"/>
                  <a:gd name="T32" fmla="*/ 428 w 916"/>
                  <a:gd name="T33" fmla="*/ 665 h 808"/>
                  <a:gd name="T34" fmla="*/ 307 w 916"/>
                  <a:gd name="T35" fmla="*/ 596 h 808"/>
                  <a:gd name="T36" fmla="*/ 428 w 916"/>
                  <a:gd name="T37" fmla="*/ 665 h 808"/>
                  <a:gd name="T38" fmla="*/ 307 w 916"/>
                  <a:gd name="T39" fmla="*/ 501 h 808"/>
                  <a:gd name="T40" fmla="*/ 428 w 916"/>
                  <a:gd name="T41" fmla="*/ 432 h 808"/>
                  <a:gd name="T42" fmla="*/ 428 w 916"/>
                  <a:gd name="T43" fmla="*/ 337 h 808"/>
                  <a:gd name="T44" fmla="*/ 307 w 916"/>
                  <a:gd name="T45" fmla="*/ 267 h 808"/>
                  <a:gd name="T46" fmla="*/ 428 w 916"/>
                  <a:gd name="T47" fmla="*/ 337 h 808"/>
                  <a:gd name="T48" fmla="*/ 307 w 916"/>
                  <a:gd name="T49" fmla="*/ 172 h 808"/>
                  <a:gd name="T50" fmla="*/ 428 w 916"/>
                  <a:gd name="T51" fmla="*/ 103 h 808"/>
                  <a:gd name="T52" fmla="*/ 684 w 916"/>
                  <a:gd name="T53" fmla="*/ 668 h 808"/>
                  <a:gd name="T54" fmla="*/ 606 w 916"/>
                  <a:gd name="T55" fmla="*/ 549 h 808"/>
                  <a:gd name="T56" fmla="*/ 684 w 916"/>
                  <a:gd name="T57" fmla="*/ 668 h 808"/>
                  <a:gd name="T58" fmla="*/ 606 w 916"/>
                  <a:gd name="T59" fmla="*/ 482 h 808"/>
                  <a:gd name="T60" fmla="*/ 684 w 916"/>
                  <a:gd name="T61" fmla="*/ 365 h 808"/>
                  <a:gd name="T62" fmla="*/ 816 w 916"/>
                  <a:gd name="T63" fmla="*/ 668 h 808"/>
                  <a:gd name="T64" fmla="*/ 738 w 916"/>
                  <a:gd name="T65" fmla="*/ 549 h 808"/>
                  <a:gd name="T66" fmla="*/ 816 w 916"/>
                  <a:gd name="T67" fmla="*/ 668 h 808"/>
                  <a:gd name="T68" fmla="*/ 738 w 916"/>
                  <a:gd name="T69" fmla="*/ 482 h 808"/>
                  <a:gd name="T70" fmla="*/ 816 w 916"/>
                  <a:gd name="T71" fmla="*/ 365 h 8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16" h="808">
                    <a:moveTo>
                      <a:pt x="883" y="723"/>
                    </a:moveTo>
                    <a:lnTo>
                      <a:pt x="883" y="286"/>
                    </a:lnTo>
                    <a:lnTo>
                      <a:pt x="539" y="286"/>
                    </a:lnTo>
                    <a:lnTo>
                      <a:pt x="539" y="723"/>
                    </a:lnTo>
                    <a:lnTo>
                      <a:pt x="504" y="723"/>
                    </a:lnTo>
                    <a:lnTo>
                      <a:pt x="504" y="0"/>
                    </a:lnTo>
                    <a:lnTo>
                      <a:pt x="35" y="0"/>
                    </a:lnTo>
                    <a:lnTo>
                      <a:pt x="35" y="723"/>
                    </a:lnTo>
                    <a:lnTo>
                      <a:pt x="0" y="723"/>
                    </a:lnTo>
                    <a:lnTo>
                      <a:pt x="0" y="808"/>
                    </a:lnTo>
                    <a:lnTo>
                      <a:pt x="916" y="808"/>
                    </a:lnTo>
                    <a:lnTo>
                      <a:pt x="916" y="723"/>
                    </a:lnTo>
                    <a:lnTo>
                      <a:pt x="883" y="723"/>
                    </a:lnTo>
                    <a:close/>
                    <a:moveTo>
                      <a:pt x="229" y="665"/>
                    </a:moveTo>
                    <a:lnTo>
                      <a:pt x="109" y="665"/>
                    </a:lnTo>
                    <a:lnTo>
                      <a:pt x="109" y="596"/>
                    </a:lnTo>
                    <a:lnTo>
                      <a:pt x="229" y="596"/>
                    </a:lnTo>
                    <a:lnTo>
                      <a:pt x="229" y="665"/>
                    </a:lnTo>
                    <a:close/>
                    <a:moveTo>
                      <a:pt x="229" y="501"/>
                    </a:moveTo>
                    <a:lnTo>
                      <a:pt x="109" y="501"/>
                    </a:lnTo>
                    <a:lnTo>
                      <a:pt x="109" y="432"/>
                    </a:lnTo>
                    <a:lnTo>
                      <a:pt x="229" y="432"/>
                    </a:lnTo>
                    <a:lnTo>
                      <a:pt x="229" y="501"/>
                    </a:lnTo>
                    <a:close/>
                    <a:moveTo>
                      <a:pt x="229" y="337"/>
                    </a:moveTo>
                    <a:lnTo>
                      <a:pt x="109" y="337"/>
                    </a:lnTo>
                    <a:lnTo>
                      <a:pt x="109" y="267"/>
                    </a:lnTo>
                    <a:lnTo>
                      <a:pt x="229" y="267"/>
                    </a:lnTo>
                    <a:lnTo>
                      <a:pt x="229" y="337"/>
                    </a:lnTo>
                    <a:close/>
                    <a:moveTo>
                      <a:pt x="229" y="172"/>
                    </a:moveTo>
                    <a:lnTo>
                      <a:pt x="109" y="172"/>
                    </a:lnTo>
                    <a:lnTo>
                      <a:pt x="109" y="103"/>
                    </a:lnTo>
                    <a:lnTo>
                      <a:pt x="229" y="103"/>
                    </a:lnTo>
                    <a:lnTo>
                      <a:pt x="229" y="172"/>
                    </a:lnTo>
                    <a:close/>
                    <a:moveTo>
                      <a:pt x="428" y="665"/>
                    </a:moveTo>
                    <a:lnTo>
                      <a:pt x="307" y="665"/>
                    </a:lnTo>
                    <a:lnTo>
                      <a:pt x="307" y="596"/>
                    </a:lnTo>
                    <a:lnTo>
                      <a:pt x="428" y="596"/>
                    </a:lnTo>
                    <a:lnTo>
                      <a:pt x="428" y="665"/>
                    </a:lnTo>
                    <a:close/>
                    <a:moveTo>
                      <a:pt x="428" y="501"/>
                    </a:moveTo>
                    <a:lnTo>
                      <a:pt x="307" y="501"/>
                    </a:lnTo>
                    <a:lnTo>
                      <a:pt x="307" y="432"/>
                    </a:lnTo>
                    <a:lnTo>
                      <a:pt x="428" y="432"/>
                    </a:lnTo>
                    <a:lnTo>
                      <a:pt x="428" y="501"/>
                    </a:lnTo>
                    <a:close/>
                    <a:moveTo>
                      <a:pt x="428" y="337"/>
                    </a:moveTo>
                    <a:lnTo>
                      <a:pt x="307" y="337"/>
                    </a:lnTo>
                    <a:lnTo>
                      <a:pt x="307" y="267"/>
                    </a:lnTo>
                    <a:lnTo>
                      <a:pt x="428" y="267"/>
                    </a:lnTo>
                    <a:lnTo>
                      <a:pt x="428" y="337"/>
                    </a:lnTo>
                    <a:close/>
                    <a:moveTo>
                      <a:pt x="428" y="172"/>
                    </a:moveTo>
                    <a:lnTo>
                      <a:pt x="307" y="172"/>
                    </a:lnTo>
                    <a:lnTo>
                      <a:pt x="307" y="103"/>
                    </a:lnTo>
                    <a:lnTo>
                      <a:pt x="428" y="103"/>
                    </a:lnTo>
                    <a:lnTo>
                      <a:pt x="428" y="172"/>
                    </a:lnTo>
                    <a:close/>
                    <a:moveTo>
                      <a:pt x="684" y="668"/>
                    </a:moveTo>
                    <a:lnTo>
                      <a:pt x="606" y="668"/>
                    </a:lnTo>
                    <a:lnTo>
                      <a:pt x="606" y="549"/>
                    </a:lnTo>
                    <a:lnTo>
                      <a:pt x="684" y="549"/>
                    </a:lnTo>
                    <a:lnTo>
                      <a:pt x="684" y="668"/>
                    </a:lnTo>
                    <a:close/>
                    <a:moveTo>
                      <a:pt x="684" y="482"/>
                    </a:moveTo>
                    <a:lnTo>
                      <a:pt x="606" y="482"/>
                    </a:lnTo>
                    <a:lnTo>
                      <a:pt x="606" y="365"/>
                    </a:lnTo>
                    <a:lnTo>
                      <a:pt x="684" y="365"/>
                    </a:lnTo>
                    <a:lnTo>
                      <a:pt x="684" y="482"/>
                    </a:lnTo>
                    <a:close/>
                    <a:moveTo>
                      <a:pt x="816" y="668"/>
                    </a:moveTo>
                    <a:lnTo>
                      <a:pt x="738" y="668"/>
                    </a:lnTo>
                    <a:lnTo>
                      <a:pt x="738" y="549"/>
                    </a:lnTo>
                    <a:lnTo>
                      <a:pt x="816" y="549"/>
                    </a:lnTo>
                    <a:lnTo>
                      <a:pt x="816" y="668"/>
                    </a:lnTo>
                    <a:close/>
                    <a:moveTo>
                      <a:pt x="816" y="482"/>
                    </a:moveTo>
                    <a:lnTo>
                      <a:pt x="738" y="482"/>
                    </a:lnTo>
                    <a:lnTo>
                      <a:pt x="738" y="365"/>
                    </a:lnTo>
                    <a:lnTo>
                      <a:pt x="816" y="365"/>
                    </a:lnTo>
                    <a:lnTo>
                      <a:pt x="816" y="482"/>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grpSp>
        <p:sp>
          <p:nvSpPr>
            <p:cNvPr id="99" name="TextBox 98"/>
            <p:cNvSpPr txBox="1"/>
            <p:nvPr/>
          </p:nvSpPr>
          <p:spPr>
            <a:xfrm>
              <a:off x="83345" y="113808"/>
              <a:ext cx="2532630" cy="627864"/>
            </a:xfrm>
            <a:prstGeom prst="rect">
              <a:avLst/>
            </a:prstGeom>
            <a:noFill/>
          </p:spPr>
          <p:txBody>
            <a:bodyPr wrap="square" lIns="182880" tIns="146304" rIns="182880" bIns="146304" rtlCol="0">
              <a:spAutoFit/>
            </a:bodyPr>
            <a:lstStyle>
              <a:defPPr>
                <a:defRPr lang="en-US"/>
              </a:defPPr>
              <a:lvl1pPr>
                <a:lnSpc>
                  <a:spcPct val="90000"/>
                </a:lnSpc>
                <a:spcAft>
                  <a:spcPts val="600"/>
                </a:spcAft>
                <a:defRPr sz="2800" b="1">
                  <a:solidFill>
                    <a:srgbClr val="F2C812"/>
                  </a:solidFill>
                  <a:latin typeface="Segoe UI Light"/>
                </a:defRPr>
              </a:lvl1p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400" b="1" i="0" u="none" strike="noStrike" kern="1200" cap="none" spc="0" normalizeH="0" baseline="0" noProof="0">
                  <a:ln>
                    <a:noFill/>
                  </a:ln>
                  <a:solidFill>
                    <a:srgbClr val="F2C812"/>
                  </a:solidFill>
                  <a:effectLst/>
                  <a:uLnTx/>
                  <a:uFillTx/>
                  <a:latin typeface="Segoe UI Light"/>
                  <a:ea typeface="+mn-ea"/>
                  <a:cs typeface="+mn-cs"/>
                </a:rPr>
                <a:t>Power BI Service</a:t>
              </a:r>
              <a:endParaRPr kumimoji="0" lang="en-US" sz="2800" b="1" i="0" u="none" strike="noStrike" kern="1200" cap="none" spc="0" normalizeH="0" baseline="0" noProof="0">
                <a:ln>
                  <a:noFill/>
                </a:ln>
                <a:solidFill>
                  <a:srgbClr val="F2C812"/>
                </a:solidFill>
                <a:effectLst/>
                <a:uLnTx/>
                <a:uFillTx/>
                <a:latin typeface="Segoe UI Light"/>
                <a:ea typeface="+mn-ea"/>
                <a:cs typeface="+mn-cs"/>
              </a:endParaRPr>
            </a:p>
          </p:txBody>
        </p:sp>
        <p:grpSp>
          <p:nvGrpSpPr>
            <p:cNvPr id="100" name="Group 99"/>
            <p:cNvGrpSpPr/>
            <p:nvPr/>
          </p:nvGrpSpPr>
          <p:grpSpPr>
            <a:xfrm>
              <a:off x="219373" y="3621383"/>
              <a:ext cx="433844" cy="645668"/>
              <a:chOff x="280990" y="3358164"/>
              <a:chExt cx="433844" cy="645668"/>
            </a:xfrm>
          </p:grpSpPr>
          <p:sp>
            <p:nvSpPr>
              <p:cNvPr id="106" name="Oval 1083"/>
              <p:cNvSpPr/>
              <p:nvPr/>
            </p:nvSpPr>
            <p:spPr bwMode="auto">
              <a:xfrm>
                <a:off x="280990" y="3358164"/>
                <a:ext cx="433844" cy="433847"/>
              </a:xfrm>
              <a:prstGeom prst="ellipse">
                <a:avLst/>
              </a:prstGeom>
              <a:solidFill>
                <a:srgbClr val="F2C812"/>
              </a:solidFill>
              <a:ln>
                <a:solidFill>
                  <a:srgbClr val="FFCC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07" name="Group 379"/>
              <p:cNvGrpSpPr/>
              <p:nvPr/>
            </p:nvGrpSpPr>
            <p:grpSpPr>
              <a:xfrm>
                <a:off x="453702" y="3910852"/>
                <a:ext cx="175660" cy="92980"/>
                <a:chOff x="3895793" y="7466656"/>
                <a:chExt cx="785810" cy="415941"/>
              </a:xfrm>
              <a:solidFill>
                <a:srgbClr val="00BCF2"/>
              </a:solidFill>
            </p:grpSpPr>
            <p:sp>
              <p:nvSpPr>
                <p:cNvPr id="108" name="Freeform 132"/>
                <p:cNvSpPr>
                  <a:spLocks/>
                </p:cNvSpPr>
                <p:nvPr/>
              </p:nvSpPr>
              <p:spPr bwMode="auto">
                <a:xfrm>
                  <a:off x="4125979" y="7688918"/>
                  <a:ext cx="0" cy="6353"/>
                </a:xfrm>
                <a:custGeom>
                  <a:avLst/>
                  <a:gdLst>
                    <a:gd name="T0" fmla="*/ 1 w 1"/>
                    <a:gd name="T1" fmla="*/ 0 h 8"/>
                    <a:gd name="T2" fmla="*/ 0 w 1"/>
                    <a:gd name="T3" fmla="*/ 0 h 8"/>
                    <a:gd name="T4" fmla="*/ 1 w 1"/>
                    <a:gd name="T5" fmla="*/ 8 h 8"/>
                    <a:gd name="T6" fmla="*/ 1 w 1"/>
                    <a:gd name="T7" fmla="*/ 0 h 8"/>
                  </a:gdLst>
                  <a:ahLst/>
                  <a:cxnLst>
                    <a:cxn ang="0">
                      <a:pos x="T0" y="T1"/>
                    </a:cxn>
                    <a:cxn ang="0">
                      <a:pos x="T2" y="T3"/>
                    </a:cxn>
                    <a:cxn ang="0">
                      <a:pos x="T4" y="T5"/>
                    </a:cxn>
                    <a:cxn ang="0">
                      <a:pos x="T6" y="T7"/>
                    </a:cxn>
                  </a:cxnLst>
                  <a:rect l="0" t="0" r="r" b="b"/>
                  <a:pathLst>
                    <a:path w="1" h="8">
                      <a:moveTo>
                        <a:pt x="1" y="0"/>
                      </a:moveTo>
                      <a:cubicBezTo>
                        <a:pt x="0" y="0"/>
                        <a:pt x="0" y="0"/>
                        <a:pt x="0" y="0"/>
                      </a:cubicBezTo>
                      <a:cubicBezTo>
                        <a:pt x="0" y="3"/>
                        <a:pt x="1" y="5"/>
                        <a:pt x="1" y="8"/>
                      </a:cubicBezTo>
                      <a:lnTo>
                        <a:pt x="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109" name="Freeform 133"/>
                <p:cNvSpPr>
                  <a:spLocks/>
                </p:cNvSpPr>
                <p:nvPr/>
              </p:nvSpPr>
              <p:spPr bwMode="auto">
                <a:xfrm>
                  <a:off x="3895793" y="7812745"/>
                  <a:ext cx="219078" cy="69852"/>
                </a:xfrm>
                <a:custGeom>
                  <a:avLst/>
                  <a:gdLst>
                    <a:gd name="T0" fmla="*/ 186 w 238"/>
                    <a:gd name="T1" fmla="*/ 9 h 76"/>
                    <a:gd name="T2" fmla="*/ 131 w 238"/>
                    <a:gd name="T3" fmla="*/ 22 h 76"/>
                    <a:gd name="T4" fmla="*/ 60 w 238"/>
                    <a:gd name="T5" fmla="*/ 0 h 76"/>
                    <a:gd name="T6" fmla="*/ 0 w 238"/>
                    <a:gd name="T7" fmla="*/ 42 h 76"/>
                    <a:gd name="T8" fmla="*/ 0 w 238"/>
                    <a:gd name="T9" fmla="*/ 76 h 76"/>
                    <a:gd name="T10" fmla="*/ 238 w 238"/>
                    <a:gd name="T11" fmla="*/ 76 h 76"/>
                    <a:gd name="T12" fmla="*/ 236 w 238"/>
                    <a:gd name="T13" fmla="*/ 53 h 76"/>
                    <a:gd name="T14" fmla="*/ 236 w 238"/>
                    <a:gd name="T15" fmla="*/ 49 h 76"/>
                    <a:gd name="T16" fmla="*/ 186 w 238"/>
                    <a:gd name="T17" fmla="*/ 9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8" h="76">
                      <a:moveTo>
                        <a:pt x="186" y="9"/>
                      </a:moveTo>
                      <a:cubicBezTo>
                        <a:pt x="169" y="18"/>
                        <a:pt x="150" y="22"/>
                        <a:pt x="131" y="22"/>
                      </a:cubicBezTo>
                      <a:cubicBezTo>
                        <a:pt x="105" y="22"/>
                        <a:pt x="80" y="14"/>
                        <a:pt x="60" y="0"/>
                      </a:cubicBezTo>
                      <a:cubicBezTo>
                        <a:pt x="0" y="42"/>
                        <a:pt x="0" y="42"/>
                        <a:pt x="0" y="42"/>
                      </a:cubicBezTo>
                      <a:cubicBezTo>
                        <a:pt x="0" y="76"/>
                        <a:pt x="0" y="76"/>
                        <a:pt x="0" y="76"/>
                      </a:cubicBezTo>
                      <a:cubicBezTo>
                        <a:pt x="238" y="76"/>
                        <a:pt x="238" y="76"/>
                        <a:pt x="238" y="76"/>
                      </a:cubicBezTo>
                      <a:cubicBezTo>
                        <a:pt x="237" y="68"/>
                        <a:pt x="236" y="61"/>
                        <a:pt x="236" y="53"/>
                      </a:cubicBezTo>
                      <a:cubicBezTo>
                        <a:pt x="236" y="51"/>
                        <a:pt x="236" y="50"/>
                        <a:pt x="236" y="49"/>
                      </a:cubicBezTo>
                      <a:lnTo>
                        <a:pt x="186" y="9"/>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110" name="Freeform 137"/>
                <p:cNvSpPr>
                  <a:spLocks/>
                </p:cNvSpPr>
                <p:nvPr/>
              </p:nvSpPr>
              <p:spPr bwMode="auto">
                <a:xfrm>
                  <a:off x="4338704" y="7809561"/>
                  <a:ext cx="65090" cy="73028"/>
                </a:xfrm>
                <a:custGeom>
                  <a:avLst/>
                  <a:gdLst>
                    <a:gd name="T0" fmla="*/ 71 w 71"/>
                    <a:gd name="T1" fmla="*/ 79 h 79"/>
                    <a:gd name="T2" fmla="*/ 71 w 71"/>
                    <a:gd name="T3" fmla="*/ 0 h 79"/>
                    <a:gd name="T4" fmla="*/ 2 w 71"/>
                    <a:gd name="T5" fmla="*/ 53 h 79"/>
                    <a:gd name="T6" fmla="*/ 2 w 71"/>
                    <a:gd name="T7" fmla="*/ 56 h 79"/>
                    <a:gd name="T8" fmla="*/ 0 w 71"/>
                    <a:gd name="T9" fmla="*/ 79 h 79"/>
                    <a:gd name="T10" fmla="*/ 71 w 71"/>
                    <a:gd name="T11" fmla="*/ 79 h 79"/>
                  </a:gdLst>
                  <a:ahLst/>
                  <a:cxnLst>
                    <a:cxn ang="0">
                      <a:pos x="T0" y="T1"/>
                    </a:cxn>
                    <a:cxn ang="0">
                      <a:pos x="T2" y="T3"/>
                    </a:cxn>
                    <a:cxn ang="0">
                      <a:pos x="T4" y="T5"/>
                    </a:cxn>
                    <a:cxn ang="0">
                      <a:pos x="T6" y="T7"/>
                    </a:cxn>
                    <a:cxn ang="0">
                      <a:pos x="T8" y="T9"/>
                    </a:cxn>
                    <a:cxn ang="0">
                      <a:pos x="T10" y="T11"/>
                    </a:cxn>
                  </a:cxnLst>
                  <a:rect l="0" t="0" r="r" b="b"/>
                  <a:pathLst>
                    <a:path w="71" h="79">
                      <a:moveTo>
                        <a:pt x="71" y="79"/>
                      </a:moveTo>
                      <a:cubicBezTo>
                        <a:pt x="71" y="0"/>
                        <a:pt x="71" y="0"/>
                        <a:pt x="71" y="0"/>
                      </a:cubicBezTo>
                      <a:cubicBezTo>
                        <a:pt x="2" y="53"/>
                        <a:pt x="2" y="53"/>
                        <a:pt x="2" y="53"/>
                      </a:cubicBezTo>
                      <a:cubicBezTo>
                        <a:pt x="2" y="54"/>
                        <a:pt x="2" y="55"/>
                        <a:pt x="2" y="56"/>
                      </a:cubicBezTo>
                      <a:cubicBezTo>
                        <a:pt x="2" y="64"/>
                        <a:pt x="1" y="71"/>
                        <a:pt x="0" y="79"/>
                      </a:cubicBezTo>
                      <a:lnTo>
                        <a:pt x="71" y="79"/>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111" name="Freeform 140"/>
                <p:cNvSpPr>
                  <a:spLocks/>
                </p:cNvSpPr>
                <p:nvPr/>
              </p:nvSpPr>
              <p:spPr bwMode="auto">
                <a:xfrm>
                  <a:off x="4600643" y="7622229"/>
                  <a:ext cx="80960" cy="38099"/>
                </a:xfrm>
                <a:custGeom>
                  <a:avLst/>
                  <a:gdLst>
                    <a:gd name="T0" fmla="*/ 0 w 51"/>
                    <a:gd name="T1" fmla="*/ 24 h 24"/>
                    <a:gd name="T2" fmla="*/ 51 w 51"/>
                    <a:gd name="T3" fmla="*/ 24 h 24"/>
                    <a:gd name="T4" fmla="*/ 32 w 51"/>
                    <a:gd name="T5" fmla="*/ 0 h 24"/>
                    <a:gd name="T6" fmla="*/ 0 w 51"/>
                    <a:gd name="T7" fmla="*/ 24 h 24"/>
                  </a:gdLst>
                  <a:ahLst/>
                  <a:cxnLst>
                    <a:cxn ang="0">
                      <a:pos x="T0" y="T1"/>
                    </a:cxn>
                    <a:cxn ang="0">
                      <a:pos x="T2" y="T3"/>
                    </a:cxn>
                    <a:cxn ang="0">
                      <a:pos x="T4" y="T5"/>
                    </a:cxn>
                    <a:cxn ang="0">
                      <a:pos x="T6" y="T7"/>
                    </a:cxn>
                  </a:cxnLst>
                  <a:rect l="0" t="0" r="r" b="b"/>
                  <a:pathLst>
                    <a:path w="51" h="24">
                      <a:moveTo>
                        <a:pt x="0" y="24"/>
                      </a:moveTo>
                      <a:lnTo>
                        <a:pt x="51" y="24"/>
                      </a:lnTo>
                      <a:lnTo>
                        <a:pt x="32" y="0"/>
                      </a:lnTo>
                      <a:lnTo>
                        <a:pt x="0" y="24"/>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112" name="Freeform 141"/>
                <p:cNvSpPr>
                  <a:spLocks/>
                </p:cNvSpPr>
                <p:nvPr/>
              </p:nvSpPr>
              <p:spPr bwMode="auto">
                <a:xfrm>
                  <a:off x="4449825" y="7466656"/>
                  <a:ext cx="119065" cy="139703"/>
                </a:xfrm>
                <a:custGeom>
                  <a:avLst/>
                  <a:gdLst>
                    <a:gd name="T0" fmla="*/ 52 w 75"/>
                    <a:gd name="T1" fmla="*/ 0 h 88"/>
                    <a:gd name="T2" fmla="*/ 0 w 75"/>
                    <a:gd name="T3" fmla="*/ 0 h 88"/>
                    <a:gd name="T4" fmla="*/ 0 w 75"/>
                    <a:gd name="T5" fmla="*/ 88 h 88"/>
                    <a:gd name="T6" fmla="*/ 75 w 75"/>
                    <a:gd name="T7" fmla="*/ 30 h 88"/>
                    <a:gd name="T8" fmla="*/ 52 w 75"/>
                    <a:gd name="T9" fmla="*/ 0 h 88"/>
                  </a:gdLst>
                  <a:ahLst/>
                  <a:cxnLst>
                    <a:cxn ang="0">
                      <a:pos x="T0" y="T1"/>
                    </a:cxn>
                    <a:cxn ang="0">
                      <a:pos x="T2" y="T3"/>
                    </a:cxn>
                    <a:cxn ang="0">
                      <a:pos x="T4" y="T5"/>
                    </a:cxn>
                    <a:cxn ang="0">
                      <a:pos x="T6" y="T7"/>
                    </a:cxn>
                    <a:cxn ang="0">
                      <a:pos x="T8" y="T9"/>
                    </a:cxn>
                  </a:cxnLst>
                  <a:rect l="0" t="0" r="r" b="b"/>
                  <a:pathLst>
                    <a:path w="75" h="88">
                      <a:moveTo>
                        <a:pt x="52" y="0"/>
                      </a:moveTo>
                      <a:lnTo>
                        <a:pt x="0" y="0"/>
                      </a:lnTo>
                      <a:lnTo>
                        <a:pt x="0" y="88"/>
                      </a:lnTo>
                      <a:lnTo>
                        <a:pt x="75" y="30"/>
                      </a:lnTo>
                      <a:lnTo>
                        <a:pt x="52"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grpSp>
        </p:grpSp>
        <p:sp>
          <p:nvSpPr>
            <p:cNvPr id="101" name="Rectangle 152"/>
            <p:cNvSpPr/>
            <p:nvPr/>
          </p:nvSpPr>
          <p:spPr bwMode="auto">
            <a:xfrm>
              <a:off x="712458" y="3628917"/>
              <a:ext cx="1805162" cy="37532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2C812"/>
                  </a:solidFill>
                  <a:effectLst/>
                  <a:uLnTx/>
                  <a:uFillTx/>
                  <a:latin typeface="Segoe UI"/>
                  <a:ea typeface="+mn-ea"/>
                  <a:cs typeface="Segoe UI Light" panose="020B0502040204020203" pitchFamily="34" charset="0"/>
                </a:rPr>
                <a:t>Q&amp;A and </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2C812"/>
                  </a:solidFill>
                  <a:effectLst/>
                  <a:uLnTx/>
                  <a:uFillTx/>
                  <a:latin typeface="Segoe UI"/>
                  <a:ea typeface="+mn-ea"/>
                  <a:cs typeface="Segoe UI Light" panose="020B0502040204020203" pitchFamily="34" charset="0"/>
                </a:rPr>
                <a:t>Quick Insights</a:t>
              </a:r>
              <a:endParaRPr kumimoji="0" lang="en-US" sz="1200" b="1" i="0" u="none" strike="noStrike" kern="1200" cap="none" spc="0" normalizeH="0" baseline="0" noProof="0">
                <a:ln>
                  <a:noFill/>
                </a:ln>
                <a:solidFill>
                  <a:srgbClr val="F2C812"/>
                </a:solidFill>
                <a:effectLst/>
                <a:uLnTx/>
                <a:uFillTx/>
                <a:latin typeface="Segoe UI"/>
                <a:ea typeface="+mn-ea"/>
                <a:cs typeface="Segoe UI Light" panose="020B0502040204020203" pitchFamily="34" charset="0"/>
              </a:endParaRPr>
            </a:p>
          </p:txBody>
        </p:sp>
        <p:sp>
          <p:nvSpPr>
            <p:cNvPr id="102" name="Oval 162"/>
            <p:cNvSpPr/>
            <p:nvPr/>
          </p:nvSpPr>
          <p:spPr bwMode="auto">
            <a:xfrm>
              <a:off x="226619" y="4551712"/>
              <a:ext cx="433844" cy="433844"/>
            </a:xfrm>
            <a:prstGeom prst="ellipse">
              <a:avLst/>
            </a:prstGeom>
            <a:solidFill>
              <a:srgbClr val="F2C812"/>
            </a:solidFill>
            <a:ln>
              <a:solidFill>
                <a:srgbClr val="FFCC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3" name="Rectangle 152"/>
            <p:cNvSpPr/>
            <p:nvPr/>
          </p:nvSpPr>
          <p:spPr bwMode="auto">
            <a:xfrm>
              <a:off x="738443" y="4596194"/>
              <a:ext cx="1884825" cy="30233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2C812"/>
                  </a:solidFill>
                  <a:effectLst/>
                  <a:uLnTx/>
                  <a:uFillTx/>
                  <a:latin typeface="Segoe UI"/>
                  <a:ea typeface="+mn-ea"/>
                  <a:cs typeface="Segoe UI Light" panose="020B0502040204020203" pitchFamily="34" charset="0"/>
                </a:rPr>
                <a:t>Sharing</a:t>
              </a:r>
              <a:endParaRPr kumimoji="0" lang="en-US" sz="1200" b="1" i="1" u="none" strike="noStrike" kern="1200" cap="none" spc="0" normalizeH="0" baseline="0" noProof="0">
                <a:ln>
                  <a:noFill/>
                </a:ln>
                <a:solidFill>
                  <a:srgbClr val="F2C812"/>
                </a:solidFill>
                <a:effectLst/>
                <a:uLnTx/>
                <a:uFillTx/>
                <a:latin typeface="Segoe UI"/>
                <a:ea typeface="+mn-ea"/>
                <a:cs typeface="Segoe UI Light" panose="020B0502040204020203" pitchFamily="34" charset="0"/>
              </a:endParaRPr>
            </a:p>
          </p:txBody>
        </p:sp>
        <p:sp>
          <p:nvSpPr>
            <p:cNvPr id="104" name="Rectangle 145"/>
            <p:cNvSpPr/>
            <p:nvPr/>
          </p:nvSpPr>
          <p:spPr bwMode="auto">
            <a:xfrm>
              <a:off x="697198" y="1847637"/>
              <a:ext cx="1821468" cy="3831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2C812"/>
                  </a:solidFill>
                  <a:effectLst/>
                  <a:uLnTx/>
                  <a:uFillTx/>
                  <a:latin typeface="Segoe UI"/>
                  <a:ea typeface="+mn-ea"/>
                  <a:cs typeface="Segoe UI Light" panose="020B0502040204020203" pitchFamily="34" charset="0"/>
                </a:rPr>
                <a:t>Pinning and Navigation</a:t>
              </a:r>
            </a:p>
          </p:txBody>
        </p:sp>
        <p:sp>
          <p:nvSpPr>
            <p:cNvPr id="105" name="Oval 162"/>
            <p:cNvSpPr/>
            <p:nvPr/>
          </p:nvSpPr>
          <p:spPr bwMode="auto">
            <a:xfrm>
              <a:off x="224136" y="1813606"/>
              <a:ext cx="433844" cy="433844"/>
            </a:xfrm>
            <a:prstGeom prst="ellipse">
              <a:avLst/>
            </a:prstGeom>
            <a:solidFill>
              <a:srgbClr val="FFCC00"/>
            </a:solidFill>
            <a:ln>
              <a:solidFill>
                <a:srgbClr val="F2C81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pic>
        <p:nvPicPr>
          <p:cNvPr id="119" name="Picture 118"/>
          <p:cNvPicPr>
            <a:picLocks noChangeAspect="1"/>
          </p:cNvPicPr>
          <p:nvPr/>
        </p:nvPicPr>
        <p:blipFill rotWithShape="1">
          <a:blip r:embed="rId3"/>
          <a:srcRect l="6503" t="21287" r="74698" b="20220"/>
          <a:stretch/>
        </p:blipFill>
        <p:spPr>
          <a:xfrm>
            <a:off x="339111" y="1946110"/>
            <a:ext cx="228600" cy="231962"/>
          </a:xfrm>
          <a:prstGeom prst="rect">
            <a:avLst/>
          </a:prstGeom>
        </p:spPr>
      </p:pic>
      <p:pic>
        <p:nvPicPr>
          <p:cNvPr id="120" name="Picture 119"/>
          <p:cNvPicPr>
            <a:picLocks noChangeAspect="1"/>
          </p:cNvPicPr>
          <p:nvPr/>
        </p:nvPicPr>
        <p:blipFill>
          <a:blip r:embed="rId4"/>
          <a:stretch>
            <a:fillRect/>
          </a:stretch>
        </p:blipFill>
        <p:spPr>
          <a:xfrm>
            <a:off x="284769" y="3673076"/>
            <a:ext cx="311766" cy="303106"/>
          </a:xfrm>
          <a:prstGeom prst="rect">
            <a:avLst/>
          </a:prstGeom>
        </p:spPr>
      </p:pic>
      <p:sp>
        <p:nvSpPr>
          <p:cNvPr id="121" name="Rectangle 145"/>
          <p:cNvSpPr/>
          <p:nvPr/>
        </p:nvSpPr>
        <p:spPr bwMode="auto">
          <a:xfrm>
            <a:off x="718897" y="5436715"/>
            <a:ext cx="1821468" cy="3831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2C812"/>
                </a:solidFill>
                <a:effectLst/>
                <a:uLnTx/>
                <a:uFillTx/>
                <a:latin typeface="Segoe UI"/>
                <a:ea typeface="+mn-ea"/>
                <a:cs typeface="Segoe UI Light" panose="020B0502040204020203" pitchFamily="34" charset="0"/>
              </a:rPr>
              <a:t>Connect from Excel</a:t>
            </a:r>
          </a:p>
        </p:txBody>
      </p:sp>
      <p:sp>
        <p:nvSpPr>
          <p:cNvPr id="122" name="Oval 162"/>
          <p:cNvSpPr/>
          <p:nvPr/>
        </p:nvSpPr>
        <p:spPr bwMode="auto">
          <a:xfrm>
            <a:off x="231441" y="5429649"/>
            <a:ext cx="433844" cy="433844"/>
          </a:xfrm>
          <a:prstGeom prst="ellipse">
            <a:avLst/>
          </a:prstGeom>
          <a:solidFill>
            <a:srgbClr val="FFCC00"/>
          </a:solidFill>
          <a:ln>
            <a:solidFill>
              <a:srgbClr val="F2C81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23" name="Picture 122"/>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flipH="1">
            <a:off x="283763" y="4596680"/>
            <a:ext cx="357484" cy="357484"/>
          </a:xfrm>
          <a:prstGeom prst="rect">
            <a:avLst/>
          </a:prstGeom>
        </p:spPr>
      </p:pic>
      <p:sp>
        <p:nvSpPr>
          <p:cNvPr id="124" name="Oval 162"/>
          <p:cNvSpPr/>
          <p:nvPr/>
        </p:nvSpPr>
        <p:spPr bwMode="auto">
          <a:xfrm>
            <a:off x="233032" y="6267344"/>
            <a:ext cx="433844" cy="433844"/>
          </a:xfrm>
          <a:prstGeom prst="ellipse">
            <a:avLst/>
          </a:prstGeom>
          <a:solidFill>
            <a:srgbClr val="FFCC00"/>
          </a:solidFill>
          <a:ln>
            <a:solidFill>
              <a:srgbClr val="F2C81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5" name="Rectangle 145"/>
          <p:cNvSpPr/>
          <p:nvPr/>
        </p:nvSpPr>
        <p:spPr bwMode="auto">
          <a:xfrm>
            <a:off x="701416" y="6289969"/>
            <a:ext cx="1821468" cy="3831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2C812"/>
                </a:solidFill>
                <a:effectLst/>
                <a:uLnTx/>
                <a:uFillTx/>
                <a:latin typeface="Segoe UI"/>
                <a:ea typeface="+mn-ea"/>
                <a:cs typeface="Segoe UI Light" panose="020B0502040204020203" pitchFamily="34" charset="0"/>
              </a:rPr>
              <a:t>Mobile Reports</a:t>
            </a:r>
          </a:p>
        </p:txBody>
      </p:sp>
      <p:pic>
        <p:nvPicPr>
          <p:cNvPr id="126" name="Picture 125"/>
          <p:cNvPicPr>
            <a:picLocks noChangeAspect="1"/>
          </p:cNvPicPr>
          <p:nvPr/>
        </p:nvPicPr>
        <p:blipFill>
          <a:blip r:embed="rId6" cstate="print">
            <a:extLst>
              <a:ext uri="{BEBA8EAE-BF5A-486C-A8C5-ECC9F3942E4B}">
                <a14:imgProps xmlns:a14="http://schemas.microsoft.com/office/drawing/2010/main">
                  <a14:imgLayer r:embed="rId7">
                    <a14:imgEffect>
                      <a14:saturation sat="0"/>
                    </a14:imgEffect>
                  </a14:imgLayer>
                </a14:imgProps>
              </a:ext>
              <a:ext uri="{28A0092B-C50C-407E-A947-70E740481C1C}">
                <a14:useLocalDpi xmlns:a14="http://schemas.microsoft.com/office/drawing/2010/main" val="0"/>
              </a:ext>
            </a:extLst>
          </a:blip>
          <a:stretch>
            <a:fillRect/>
          </a:stretch>
        </p:blipFill>
        <p:spPr>
          <a:xfrm>
            <a:off x="391946" y="6350039"/>
            <a:ext cx="133350" cy="251587"/>
          </a:xfrm>
          <a:prstGeom prst="rect">
            <a:avLst/>
          </a:prstGeom>
        </p:spPr>
      </p:pic>
      <p:pic>
        <p:nvPicPr>
          <p:cNvPr id="127" name="Picture 126"/>
          <p:cNvPicPr>
            <a:picLocks noChangeAspect="1"/>
          </p:cNvPicPr>
          <p:nvPr/>
        </p:nvPicPr>
        <p:blipFill>
          <a:blip r:embed="rId8" cstate="print">
            <a:biLevel thresh="50000"/>
            <a:extLst>
              <a:ext uri="{28A0092B-C50C-407E-A947-70E740481C1C}">
                <a14:useLocalDpi xmlns:a14="http://schemas.microsoft.com/office/drawing/2010/main" val="0"/>
              </a:ext>
            </a:extLst>
          </a:blip>
          <a:stretch>
            <a:fillRect/>
          </a:stretch>
        </p:blipFill>
        <p:spPr>
          <a:xfrm>
            <a:off x="332658" y="5538489"/>
            <a:ext cx="268940" cy="268940"/>
          </a:xfrm>
          <a:prstGeom prst="rect">
            <a:avLst/>
          </a:prstGeom>
        </p:spPr>
      </p:pic>
      <p:sp>
        <p:nvSpPr>
          <p:cNvPr id="128" name="Rectangle 127"/>
          <p:cNvSpPr/>
          <p:nvPr/>
        </p:nvSpPr>
        <p:spPr bwMode="auto">
          <a:xfrm>
            <a:off x="35912" y="2594112"/>
            <a:ext cx="2464420" cy="4194313"/>
          </a:xfrm>
          <a:prstGeom prst="rect">
            <a:avLst/>
          </a:prstGeom>
          <a:solidFill>
            <a:srgbClr val="000000">
              <a:alpha val="6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9" name="Rectangle 128"/>
          <p:cNvSpPr/>
          <p:nvPr/>
        </p:nvSpPr>
        <p:spPr bwMode="auto">
          <a:xfrm>
            <a:off x="95936" y="731576"/>
            <a:ext cx="2464420" cy="880187"/>
          </a:xfrm>
          <a:prstGeom prst="rect">
            <a:avLst/>
          </a:prstGeom>
          <a:solidFill>
            <a:srgbClr val="000000">
              <a:alpha val="6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9" name="Text Placeholder 2"/>
          <p:cNvSpPr txBox="1">
            <a:spLocks/>
          </p:cNvSpPr>
          <p:nvPr/>
        </p:nvSpPr>
        <p:spPr>
          <a:xfrm>
            <a:off x="3436108" y="2680313"/>
            <a:ext cx="6061854" cy="2715074"/>
          </a:xfrm>
          <a:prstGeom prst="rect">
            <a:avLst/>
          </a:prstGeom>
        </p:spPr>
        <p:txBody>
          <a:bodyPr vert="horz" wrap="square" lIns="182880" tIns="146304" rIns="182880" bIns="146304" rtlCol="0">
            <a:noAutofit/>
          </a:bodyPr>
          <a:lstStyle>
            <a:lvl1pPr marL="182845" marR="0"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3921" kern="1200" spc="0" baseline="0">
                <a:gradFill>
                  <a:gsLst>
                    <a:gs pos="1250">
                      <a:schemeClr val="tx2"/>
                    </a:gs>
                    <a:gs pos="99000">
                      <a:schemeClr val="tx2"/>
                    </a:gs>
                  </a:gsLst>
                  <a:lin ang="5400000" scaled="0"/>
                </a:gradFill>
                <a:latin typeface="+mj-lt"/>
                <a:ea typeface="+mn-ea"/>
                <a:cs typeface="+mn-cs"/>
              </a:defRPr>
            </a:lvl1pPr>
            <a:lvl2pPr marL="365690" marR="0"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2400" kern="1200" spc="0" baseline="0">
                <a:solidFill>
                  <a:schemeClr val="tx2"/>
                </a:solidFill>
                <a:latin typeface="+mj-lt"/>
                <a:ea typeface="+mn-ea"/>
                <a:cs typeface="+mn-cs"/>
              </a:defRPr>
            </a:lvl2pPr>
            <a:lvl3pPr marL="548535" marR="0"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2000" kern="1200" spc="0" baseline="0">
                <a:solidFill>
                  <a:schemeClr val="tx2"/>
                </a:solidFill>
                <a:latin typeface="+mj-lt"/>
                <a:ea typeface="+mn-ea"/>
                <a:cs typeface="+mn-cs"/>
              </a:defRPr>
            </a:lvl3pPr>
            <a:lvl4pPr marL="733802" marR="0" indent="-28569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1765" kern="1200" spc="0" baseline="0">
                <a:solidFill>
                  <a:schemeClr val="tx2"/>
                </a:solidFill>
                <a:latin typeface="+mn-lt"/>
                <a:ea typeface="+mn-ea"/>
                <a:cs typeface="+mn-cs"/>
              </a:defRPr>
            </a:lvl4pPr>
            <a:lvl5pPr marL="957856" marR="0" indent="-28569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1765" kern="1200" spc="0" baseline="0">
                <a:solidFill>
                  <a:schemeClr val="tx2"/>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1"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p:txBody>
      </p:sp>
      <p:pic>
        <p:nvPicPr>
          <p:cNvPr id="2" name="Picture 1"/>
          <p:cNvPicPr>
            <a:picLocks noChangeAspect="1"/>
          </p:cNvPicPr>
          <p:nvPr/>
        </p:nvPicPr>
        <p:blipFill>
          <a:blip r:embed="rId9"/>
          <a:stretch>
            <a:fillRect/>
          </a:stretch>
        </p:blipFill>
        <p:spPr>
          <a:xfrm>
            <a:off x="7767698" y="386630"/>
            <a:ext cx="2654711" cy="3422088"/>
          </a:xfrm>
          <a:prstGeom prst="rect">
            <a:avLst/>
          </a:prstGeom>
        </p:spPr>
      </p:pic>
      <p:pic>
        <p:nvPicPr>
          <p:cNvPr id="3" name="Picture 2"/>
          <p:cNvPicPr>
            <a:picLocks noChangeAspect="1"/>
          </p:cNvPicPr>
          <p:nvPr/>
        </p:nvPicPr>
        <p:blipFill>
          <a:blip r:embed="rId10"/>
          <a:stretch>
            <a:fillRect/>
          </a:stretch>
        </p:blipFill>
        <p:spPr>
          <a:xfrm>
            <a:off x="9523235" y="2331968"/>
            <a:ext cx="2438828" cy="4269658"/>
          </a:xfrm>
          <a:prstGeom prst="rect">
            <a:avLst/>
          </a:prstGeom>
        </p:spPr>
      </p:pic>
    </p:spTree>
    <p:extLst>
      <p:ext uri="{BB962C8B-B14F-4D97-AF65-F5344CB8AC3E}">
        <p14:creationId xmlns:p14="http://schemas.microsoft.com/office/powerpoint/2010/main" val="15666454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2.xml><?xml version="1.0" encoding="utf-8"?>
<p:sld xmlns:a="http://schemas.openxmlformats.org/drawingml/2006/main" xmlns:r="http://schemas.openxmlformats.org/officeDocument/2006/relationships" xmlns:p="http://schemas.openxmlformats.org/presentationml/2006/main">
  <p:cSld>
    <p:bg>
      <p:bgPr>
        <a:solidFill>
          <a:srgbClr val="F2C81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Power BI Service:</a:t>
            </a:r>
            <a:br>
              <a:rPr lang="en-US"/>
            </a:br>
            <a:r>
              <a:rPr lang="en-US" sz="7200"/>
              <a:t>Sharing</a:t>
            </a:r>
            <a:endParaRPr lang="en-US"/>
          </a:p>
        </p:txBody>
      </p:sp>
    </p:spTree>
    <p:extLst>
      <p:ext uri="{BB962C8B-B14F-4D97-AF65-F5344CB8AC3E}">
        <p14:creationId xmlns:p14="http://schemas.microsoft.com/office/powerpoint/2010/main" val="8593812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 name="Title 10"/>
          <p:cNvSpPr txBox="1">
            <a:spLocks/>
          </p:cNvSpPr>
          <p:nvPr/>
        </p:nvSpPr>
        <p:spPr>
          <a:xfrm>
            <a:off x="2849060" y="0"/>
            <a:ext cx="9342940" cy="665151"/>
          </a:xfrm>
          <a:prstGeom prst="rect">
            <a:avLst/>
          </a:prstGeom>
          <a:noFill/>
        </p:spPr>
        <p:txBody>
          <a:bodyPr vert="horz" wrap="square" lIns="0" tIns="91440" rIns="0" bIns="91440" rtlCol="0" anchor="t">
            <a:noAutofit/>
          </a:bodyPr>
          <a:lstStyle>
            <a:lvl1pPr defTabSz="914367">
              <a:lnSpc>
                <a:spcPct val="90000"/>
              </a:lnSpc>
              <a:spcBef>
                <a:spcPct val="0"/>
              </a:spcBef>
              <a:buNone/>
              <a:defRPr lang="en-US" sz="5294" b="0" cap="none" spc="-100" baseline="0" dirty="0" smtClean="0">
                <a:ln w="3175">
                  <a:noFill/>
                </a:ln>
                <a:solidFill>
                  <a:schemeClr val="tx2"/>
                </a:solidFill>
                <a:effectLst/>
                <a:latin typeface="+mj-lt"/>
                <a:cs typeface="Segoe UI" pitchFamily="34" charset="0"/>
              </a:defRPr>
            </a:lvl1pPr>
          </a:lstStyle>
          <a:p>
            <a:pPr marL="168275" marR="0" lvl="0" indent="0" algn="l" defTabSz="914367" rtl="0" eaLnBrk="1" fontAlgn="auto" latinLnBrk="0" hangingPunct="1">
              <a:lnSpc>
                <a:spcPct val="90000"/>
              </a:lnSpc>
              <a:spcBef>
                <a:spcPct val="0"/>
              </a:spcBef>
              <a:spcAft>
                <a:spcPts val="0"/>
              </a:spcAft>
              <a:buClrTx/>
              <a:buSzTx/>
              <a:buFontTx/>
              <a:buNone/>
              <a:tabLst/>
              <a:defRPr/>
            </a:pPr>
            <a:r>
              <a:rPr kumimoji="0" lang="en-US" sz="3600" b="0" i="0" u="none" strike="noStrike" kern="1200" cap="none" spc="-100" normalizeH="0" baseline="0" noProof="0">
                <a:ln w="3175">
                  <a:noFill/>
                </a:ln>
                <a:solidFill>
                  <a:prstClr val="black"/>
                </a:solidFill>
                <a:effectLst/>
                <a:uLnTx/>
                <a:uFillTx/>
                <a:latin typeface="Segoe UI Light"/>
                <a:ea typeface="+mn-ea"/>
                <a:cs typeface="Segoe UI" pitchFamily="34" charset="0"/>
              </a:rPr>
              <a:t>Sharing</a:t>
            </a:r>
            <a:endParaRPr kumimoji="0" lang="en-IN" sz="3600" b="0" i="0" u="none" strike="noStrike" kern="1200" cap="none" spc="-100" normalizeH="0" baseline="0" noProof="0">
              <a:ln w="3175">
                <a:noFill/>
              </a:ln>
              <a:solidFill>
                <a:prstClr val="black"/>
              </a:solidFill>
              <a:effectLst/>
              <a:uLnTx/>
              <a:uFillTx/>
              <a:latin typeface="Segoe UI Light"/>
              <a:ea typeface="+mn-ea"/>
              <a:cs typeface="Segoe UI" pitchFamily="34" charset="0"/>
            </a:endParaRPr>
          </a:p>
        </p:txBody>
      </p:sp>
      <p:sp>
        <p:nvSpPr>
          <p:cNvPr id="41" name="Rectangle 3"/>
          <p:cNvSpPr/>
          <p:nvPr/>
        </p:nvSpPr>
        <p:spPr bwMode="auto">
          <a:xfrm>
            <a:off x="3202216" y="704712"/>
            <a:ext cx="8105312" cy="44435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PT" sz="2000" b="0" i="1" u="none" strike="noStrike" kern="1200" cap="none" spc="0" normalizeH="0" baseline="0" noProof="0">
                <a:ln>
                  <a:noFill/>
                </a:ln>
                <a:solidFill>
                  <a:prstClr val="black"/>
                </a:solidFill>
                <a:effectLst/>
                <a:uLnTx/>
                <a:uFillTx/>
                <a:latin typeface="Segoe UI Light"/>
                <a:ea typeface="+mn-ea"/>
                <a:cs typeface="+mn-cs"/>
              </a:rPr>
              <a:t>Peer-to-peer/Peer-to-distribution group</a:t>
            </a:r>
            <a:endParaRPr kumimoji="0" lang="en-US" sz="2000" b="0" i="1" u="none" strike="noStrike" kern="1200" cap="none" spc="0" normalizeH="0" baseline="0" noProof="0">
              <a:ln>
                <a:noFill/>
              </a:ln>
              <a:solidFill>
                <a:prstClr val="black"/>
              </a:solidFill>
              <a:effectLst/>
              <a:uLnTx/>
              <a:uFillTx/>
              <a:latin typeface="Segoe UI Light"/>
              <a:ea typeface="+mn-ea"/>
              <a:cs typeface="+mn-cs"/>
            </a:endParaRPr>
          </a:p>
        </p:txBody>
      </p:sp>
      <p:sp>
        <p:nvSpPr>
          <p:cNvPr id="87" name="Text Placeholder 2"/>
          <p:cNvSpPr txBox="1">
            <a:spLocks/>
          </p:cNvSpPr>
          <p:nvPr/>
        </p:nvSpPr>
        <p:spPr>
          <a:xfrm>
            <a:off x="2941660" y="1449075"/>
            <a:ext cx="8914339" cy="897374"/>
          </a:xfrm>
          <a:prstGeom prst="rect">
            <a:avLst/>
          </a:prstGeom>
        </p:spPr>
        <p:txBody>
          <a:bodyPr vert="horz" wrap="square" lIns="182880" tIns="146304" rIns="182880" bIns="146304" rtlCol="0">
            <a:noAutofit/>
          </a:bodyPr>
          <a:lstStyle>
            <a:lvl1pPr marL="182845" marR="0"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3921" kern="1200" spc="0" baseline="0">
                <a:gradFill>
                  <a:gsLst>
                    <a:gs pos="1250">
                      <a:schemeClr val="tx2"/>
                    </a:gs>
                    <a:gs pos="99000">
                      <a:schemeClr val="tx2"/>
                    </a:gs>
                  </a:gsLst>
                  <a:lin ang="5400000" scaled="0"/>
                </a:gradFill>
                <a:latin typeface="+mj-lt"/>
                <a:ea typeface="+mn-ea"/>
                <a:cs typeface="+mn-cs"/>
              </a:defRPr>
            </a:lvl1pPr>
            <a:lvl2pPr marL="365690" marR="0"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2400" kern="1200" spc="0" baseline="0">
                <a:solidFill>
                  <a:schemeClr val="tx2"/>
                </a:solidFill>
                <a:latin typeface="+mj-lt"/>
                <a:ea typeface="+mn-ea"/>
                <a:cs typeface="+mn-cs"/>
              </a:defRPr>
            </a:lvl2pPr>
            <a:lvl3pPr marL="548535" marR="0"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2000" kern="1200" spc="0" baseline="0">
                <a:solidFill>
                  <a:schemeClr val="tx2"/>
                </a:solidFill>
                <a:latin typeface="+mj-lt"/>
                <a:ea typeface="+mn-ea"/>
                <a:cs typeface="+mn-cs"/>
              </a:defRPr>
            </a:lvl3pPr>
            <a:lvl4pPr marL="733802" marR="0" indent="-28569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1765" kern="1200" spc="0" baseline="0">
                <a:solidFill>
                  <a:schemeClr val="tx2"/>
                </a:solidFill>
                <a:latin typeface="+mn-lt"/>
                <a:ea typeface="+mn-ea"/>
                <a:cs typeface="+mn-cs"/>
              </a:defRPr>
            </a:lvl4pPr>
            <a:lvl5pPr marL="957856" marR="0" indent="-28569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1765" kern="1200" spc="0" baseline="0">
                <a:solidFill>
                  <a:schemeClr val="tx2"/>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r>
              <a:rPr kumimoji="0" lang="en-US" sz="2000" b="0" i="0" u="none" strike="noStrike" kern="1200" cap="none" spc="0" normalizeH="0" baseline="0" noProof="0">
                <a:ln>
                  <a:noFill/>
                </a:ln>
                <a:solidFill>
                  <a:srgbClr val="000000"/>
                </a:solidFill>
                <a:effectLst/>
                <a:uLnTx/>
                <a:uFillTx/>
                <a:latin typeface="Segoe UI Light"/>
                <a:ea typeface="+mn-ea"/>
                <a:cs typeface="+mn-cs"/>
              </a:rPr>
              <a:t>It is possible to </a:t>
            </a:r>
            <a:r>
              <a:rPr kumimoji="0" lang="en-US" sz="2000" b="1" i="0" u="none" strike="noStrike" kern="1200" cap="none" spc="0" normalizeH="0" baseline="0" noProof="0">
                <a:ln>
                  <a:noFill/>
                </a:ln>
                <a:solidFill>
                  <a:srgbClr val="000000"/>
                </a:solidFill>
                <a:effectLst/>
                <a:uLnTx/>
                <a:uFillTx/>
                <a:latin typeface="Segoe UI Light"/>
                <a:ea typeface="+mn-ea"/>
                <a:cs typeface="+mn-cs"/>
              </a:rPr>
              <a:t>share dashboards </a:t>
            </a:r>
            <a:r>
              <a:rPr kumimoji="0" lang="en-US" sz="2000" b="0" i="0" u="none" strike="noStrike" kern="1200" cap="none" spc="0" normalizeH="0" baseline="0" noProof="0">
                <a:ln>
                  <a:noFill/>
                </a:ln>
                <a:solidFill>
                  <a:srgbClr val="000000"/>
                </a:solidFill>
                <a:effectLst/>
                <a:uLnTx/>
                <a:uFillTx/>
                <a:latin typeface="Segoe UI Light"/>
                <a:ea typeface="+mn-ea"/>
                <a:cs typeface="+mn-cs"/>
              </a:rPr>
              <a:t>and </a:t>
            </a:r>
            <a:r>
              <a:rPr kumimoji="0" lang="en-US" sz="2000" b="1" i="0" u="none" strike="noStrike" kern="1200" cap="none" spc="0" normalizeH="0" baseline="0" noProof="0">
                <a:ln>
                  <a:noFill/>
                </a:ln>
                <a:solidFill>
                  <a:srgbClr val="000000"/>
                </a:solidFill>
                <a:effectLst/>
                <a:uLnTx/>
                <a:uFillTx/>
                <a:latin typeface="Segoe UI Light"/>
                <a:ea typeface="+mn-ea"/>
                <a:cs typeface="+mn-cs"/>
              </a:rPr>
              <a:t>underlying reports </a:t>
            </a:r>
            <a:r>
              <a:rPr kumimoji="0" lang="en-US" sz="2000" b="0" i="0" u="none" strike="noStrike" kern="1200" cap="none" spc="0" normalizeH="0" baseline="0" noProof="0">
                <a:ln>
                  <a:noFill/>
                </a:ln>
                <a:solidFill>
                  <a:srgbClr val="000000"/>
                </a:solidFill>
                <a:effectLst/>
                <a:uLnTx/>
                <a:uFillTx/>
                <a:latin typeface="Segoe UI Light"/>
                <a:ea typeface="+mn-ea"/>
                <a:cs typeface="+mn-cs"/>
              </a:rPr>
              <a:t>with colleagues </a:t>
            </a:r>
            <a:r>
              <a:rPr kumimoji="0" lang="en-US" sz="2000" b="1" i="0" u="none" strike="noStrike" kern="1200" cap="none" spc="0" normalizeH="0" baseline="0" noProof="0">
                <a:ln>
                  <a:noFill/>
                </a:ln>
                <a:solidFill>
                  <a:srgbClr val="000000"/>
                </a:solidFill>
                <a:effectLst/>
                <a:uLnTx/>
                <a:uFillTx/>
                <a:latin typeface="Segoe UI Light"/>
                <a:ea typeface="+mn-ea"/>
                <a:cs typeface="+mn-cs"/>
              </a:rPr>
              <a:t>inside and outside</a:t>
            </a:r>
            <a:r>
              <a:rPr kumimoji="0" lang="en-US" sz="2000" b="0" i="0" u="none" strike="noStrike" kern="1200" cap="none" spc="0" normalizeH="0" baseline="0" noProof="0">
                <a:ln>
                  <a:noFill/>
                </a:ln>
                <a:solidFill>
                  <a:srgbClr val="000000"/>
                </a:solidFill>
                <a:effectLst/>
                <a:uLnTx/>
                <a:uFillTx/>
                <a:latin typeface="Segoe UI Light"/>
                <a:ea typeface="+mn-ea"/>
                <a:cs typeface="+mn-cs"/>
              </a:rPr>
              <a:t> of your organization</a:t>
            </a: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0" i="0" u="none" strike="noStrike" kern="1200" cap="none" spc="0" normalizeH="0" baseline="0" noProof="0">
              <a:ln>
                <a:noFill/>
              </a:ln>
              <a:solidFill>
                <a:srgbClr val="000000"/>
              </a:solidFill>
              <a:effectLst/>
              <a:uLnTx/>
              <a:uFillTx/>
              <a:latin typeface="Segoe UI Light"/>
              <a:ea typeface="+mn-ea"/>
              <a:cs typeface="+mn-cs"/>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r>
              <a:rPr kumimoji="0" lang="en-US" sz="2000" b="0" i="0" u="none" strike="noStrike" kern="1200" cap="none" spc="0" normalizeH="0" baseline="0" noProof="0">
                <a:ln>
                  <a:noFill/>
                </a:ln>
                <a:solidFill>
                  <a:srgbClr val="000000"/>
                </a:solidFill>
                <a:effectLst/>
                <a:uLnTx/>
                <a:uFillTx/>
                <a:latin typeface="Segoe UI Light"/>
                <a:ea typeface="+mn-ea"/>
                <a:cs typeface="+mn-cs"/>
              </a:rPr>
              <a:t>The </a:t>
            </a:r>
            <a:r>
              <a:rPr kumimoji="0" lang="en-US" sz="2000" b="1" i="0" u="none" strike="noStrike" kern="1200" cap="none" spc="0" normalizeH="0" baseline="0" noProof="0">
                <a:ln>
                  <a:noFill/>
                </a:ln>
                <a:solidFill>
                  <a:srgbClr val="000000"/>
                </a:solidFill>
                <a:effectLst/>
                <a:uLnTx/>
                <a:uFillTx/>
                <a:latin typeface="Segoe UI Light"/>
                <a:ea typeface="+mn-ea"/>
                <a:cs typeface="+mn-cs"/>
              </a:rPr>
              <a:t>share happens at the dashboard level </a:t>
            </a:r>
            <a:r>
              <a:rPr kumimoji="0" lang="en-US" sz="2000" b="0" i="0" u="none" strike="noStrike" kern="1200" cap="none" spc="0" normalizeH="0" baseline="0" noProof="0">
                <a:ln>
                  <a:noFill/>
                </a:ln>
                <a:solidFill>
                  <a:srgbClr val="000000"/>
                </a:solidFill>
                <a:effectLst/>
                <a:uLnTx/>
                <a:uFillTx/>
                <a:latin typeface="Segoe UI Light"/>
                <a:ea typeface="+mn-ea"/>
                <a:cs typeface="+mn-cs"/>
              </a:rPr>
              <a:t>and each recipient gets an additional dashboard and reports in their </a:t>
            </a:r>
            <a:r>
              <a:rPr kumimoji="0" lang="en-US" sz="2000" b="1" i="0" u="none" strike="noStrike" kern="1200" cap="none" spc="0" normalizeH="0" baseline="0" noProof="0">
                <a:ln>
                  <a:noFill/>
                </a:ln>
                <a:solidFill>
                  <a:srgbClr val="000000"/>
                </a:solidFill>
                <a:effectLst/>
                <a:uLnTx/>
                <a:uFillTx/>
                <a:latin typeface="Segoe UI Light"/>
                <a:ea typeface="+mn-ea"/>
                <a:cs typeface="+mn-cs"/>
              </a:rPr>
              <a:t>My Workspace</a:t>
            </a:r>
            <a:endParaRPr kumimoji="0" lang="en-US" sz="2000" b="0" i="0" u="none" strike="noStrike" kern="1200" cap="none" spc="0" normalizeH="0" baseline="0" noProof="0">
              <a:ln>
                <a:noFill/>
              </a:ln>
              <a:solidFill>
                <a:srgbClr val="000000"/>
              </a:solidFill>
              <a:effectLst/>
              <a:uLnTx/>
              <a:uFillTx/>
              <a:latin typeface="Segoe UI Light"/>
              <a:ea typeface="+mn-ea"/>
              <a:cs typeface="+mn-cs"/>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0" i="0" u="none" strike="noStrike" kern="1200" cap="none" spc="0" normalizeH="0" baseline="0" noProof="0">
              <a:ln>
                <a:noFill/>
              </a:ln>
              <a:solidFill>
                <a:srgbClr val="000000"/>
              </a:solidFill>
              <a:effectLst/>
              <a:uLnTx/>
              <a:uFillTx/>
              <a:latin typeface="Segoe UI Light"/>
              <a:ea typeface="+mn-ea"/>
              <a:cs typeface="+mn-cs"/>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0" i="0" u="none" strike="noStrike" kern="1200" cap="none" spc="0" normalizeH="0" baseline="0" noProof="0">
              <a:ln>
                <a:noFill/>
              </a:ln>
              <a:solidFill>
                <a:srgbClr val="000000"/>
              </a:solidFill>
              <a:effectLst/>
              <a:uLnTx/>
              <a:uFillTx/>
              <a:latin typeface="Segoe UI Light"/>
              <a:ea typeface="+mn-ea"/>
              <a:cs typeface="+mn-cs"/>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0" i="0" u="none" strike="noStrike" kern="1200" cap="none" spc="0" normalizeH="0" baseline="0" noProof="0">
              <a:ln>
                <a:noFill/>
              </a:ln>
              <a:solidFill>
                <a:srgbClr val="000000"/>
              </a:solidFill>
              <a:effectLst/>
              <a:uLnTx/>
              <a:uFillTx/>
              <a:latin typeface="Segoe UI Light"/>
              <a:ea typeface="+mn-ea"/>
              <a:cs typeface="+mn-cs"/>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p:txBody>
      </p:sp>
      <p:pic>
        <p:nvPicPr>
          <p:cNvPr id="2" name="Picture 1"/>
          <p:cNvPicPr>
            <a:picLocks noChangeAspect="1"/>
          </p:cNvPicPr>
          <p:nvPr/>
        </p:nvPicPr>
        <p:blipFill>
          <a:blip r:embed="rId3"/>
          <a:stretch>
            <a:fillRect/>
          </a:stretch>
        </p:blipFill>
        <p:spPr>
          <a:xfrm>
            <a:off x="3697357" y="3326972"/>
            <a:ext cx="8002863" cy="3159848"/>
          </a:xfrm>
          <a:prstGeom prst="rect">
            <a:avLst/>
          </a:prstGeom>
        </p:spPr>
      </p:pic>
      <p:sp>
        <p:nvSpPr>
          <p:cNvPr id="42" name="Rectangle 41"/>
          <p:cNvSpPr/>
          <p:nvPr/>
        </p:nvSpPr>
        <p:spPr bwMode="auto">
          <a:xfrm flipH="1" flipV="1">
            <a:off x="10913526" y="3651948"/>
            <a:ext cx="486657" cy="277519"/>
          </a:xfrm>
          <a:prstGeom prst="rect">
            <a:avLst/>
          </a:prstGeom>
          <a:noFill/>
          <a:ln w="38100">
            <a:solidFill>
              <a:srgbClr val="FF00F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51" name="Group 50"/>
          <p:cNvGrpSpPr/>
          <p:nvPr/>
        </p:nvGrpSpPr>
        <p:grpSpPr>
          <a:xfrm>
            <a:off x="-2887" y="973"/>
            <a:ext cx="2849058" cy="6857027"/>
            <a:chOff x="2" y="487"/>
            <a:chExt cx="2849058" cy="6857027"/>
          </a:xfrm>
        </p:grpSpPr>
        <p:sp>
          <p:nvSpPr>
            <p:cNvPr id="80" name="Rectangle 15"/>
            <p:cNvSpPr/>
            <p:nvPr/>
          </p:nvSpPr>
          <p:spPr bwMode="auto">
            <a:xfrm>
              <a:off x="2" y="487"/>
              <a:ext cx="2849058" cy="685702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1" name="Rectangle 145"/>
            <p:cNvSpPr/>
            <p:nvPr/>
          </p:nvSpPr>
          <p:spPr bwMode="auto">
            <a:xfrm>
              <a:off x="696152" y="956997"/>
              <a:ext cx="1821468" cy="3831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2C812"/>
                  </a:solidFill>
                  <a:effectLst/>
                  <a:uLnTx/>
                  <a:uFillTx/>
                  <a:latin typeface="Segoe UI"/>
                  <a:ea typeface="+mn-ea"/>
                  <a:cs typeface="Segoe UI Light" panose="020B0502040204020203" pitchFamily="34" charset="0"/>
                </a:rPr>
                <a:t>Get Data</a:t>
              </a:r>
              <a:endParaRPr kumimoji="0" lang="en-US" sz="1200" b="1" i="1" u="none" strike="noStrike" kern="1200" cap="none" spc="0" normalizeH="0" baseline="0" noProof="0">
                <a:ln>
                  <a:noFill/>
                </a:ln>
                <a:solidFill>
                  <a:srgbClr val="F2C812"/>
                </a:solidFill>
                <a:effectLst/>
                <a:uLnTx/>
                <a:uFillTx/>
                <a:latin typeface="Segoe UI"/>
                <a:ea typeface="+mn-ea"/>
                <a:cs typeface="Segoe UI Light" panose="020B0502040204020203" pitchFamily="34" charset="0"/>
              </a:endParaRPr>
            </a:p>
          </p:txBody>
        </p:sp>
        <p:grpSp>
          <p:nvGrpSpPr>
            <p:cNvPr id="82" name="Group 81"/>
            <p:cNvGrpSpPr/>
            <p:nvPr/>
          </p:nvGrpSpPr>
          <p:grpSpPr>
            <a:xfrm>
              <a:off x="219373" y="934583"/>
              <a:ext cx="433844" cy="433844"/>
              <a:chOff x="440005" y="997815"/>
              <a:chExt cx="296322" cy="296322"/>
            </a:xfrm>
          </p:grpSpPr>
          <p:sp>
            <p:nvSpPr>
              <p:cNvPr id="102" name="Oval 147"/>
              <p:cNvSpPr/>
              <p:nvPr/>
            </p:nvSpPr>
            <p:spPr bwMode="auto">
              <a:xfrm>
                <a:off x="440005" y="997815"/>
                <a:ext cx="296322" cy="296322"/>
              </a:xfrm>
              <a:prstGeom prst="ellipse">
                <a:avLst/>
              </a:prstGeom>
              <a:solidFill>
                <a:srgbClr val="FFCC00"/>
              </a:solidFill>
              <a:ln>
                <a:solidFill>
                  <a:srgbClr val="F2C81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03" name="Group 332"/>
              <p:cNvGrpSpPr/>
              <p:nvPr/>
            </p:nvGrpSpPr>
            <p:grpSpPr>
              <a:xfrm>
                <a:off x="482167" y="1059311"/>
                <a:ext cx="211997" cy="173292"/>
                <a:chOff x="2123129" y="293070"/>
                <a:chExt cx="2472585" cy="2021178"/>
              </a:xfrm>
            </p:grpSpPr>
            <p:sp>
              <p:nvSpPr>
                <p:cNvPr id="104" name="Freeform 13"/>
                <p:cNvSpPr>
                  <a:spLocks/>
                </p:cNvSpPr>
                <p:nvPr/>
              </p:nvSpPr>
              <p:spPr bwMode="auto">
                <a:xfrm rot="20700000">
                  <a:off x="3155853" y="872796"/>
                  <a:ext cx="1439861" cy="1441452"/>
                </a:xfrm>
                <a:custGeom>
                  <a:avLst/>
                  <a:gdLst>
                    <a:gd name="T0" fmla="*/ 138 w 441"/>
                    <a:gd name="T1" fmla="*/ 341 h 441"/>
                    <a:gd name="T2" fmla="*/ 183 w 441"/>
                    <a:gd name="T3" fmla="*/ 374 h 441"/>
                    <a:gd name="T4" fmla="*/ 220 w 441"/>
                    <a:gd name="T5" fmla="*/ 423 h 441"/>
                    <a:gd name="T6" fmla="*/ 422 w 441"/>
                    <a:gd name="T7" fmla="*/ 220 h 441"/>
                    <a:gd name="T8" fmla="*/ 373 w 441"/>
                    <a:gd name="T9" fmla="*/ 184 h 441"/>
                    <a:gd name="T10" fmla="*/ 341 w 441"/>
                    <a:gd name="T11" fmla="*/ 139 h 441"/>
                    <a:gd name="T12" fmla="*/ 382 w 441"/>
                    <a:gd name="T13" fmla="*/ 58 h 441"/>
                    <a:gd name="T14" fmla="*/ 302 w 441"/>
                    <a:gd name="T15" fmla="*/ 100 h 441"/>
                    <a:gd name="T16" fmla="*/ 257 w 441"/>
                    <a:gd name="T17" fmla="*/ 67 h 441"/>
                    <a:gd name="T18" fmla="*/ 220 w 441"/>
                    <a:gd name="T19" fmla="*/ 18 h 441"/>
                    <a:gd name="T20" fmla="*/ 171 w 441"/>
                    <a:gd name="T21" fmla="*/ 55 h 441"/>
                    <a:gd name="T22" fmla="*/ 138 w 441"/>
                    <a:gd name="T23" fmla="*/ 100 h 441"/>
                    <a:gd name="T24" fmla="*/ 180 w 441"/>
                    <a:gd name="T25" fmla="*/ 181 h 441"/>
                    <a:gd name="T26" fmla="*/ 100 w 441"/>
                    <a:gd name="T27" fmla="*/ 139 h 441"/>
                    <a:gd name="T28" fmla="*/ 55 w 441"/>
                    <a:gd name="T29" fmla="*/ 171 h 441"/>
                    <a:gd name="T30" fmla="*/ 18 w 441"/>
                    <a:gd name="T31" fmla="*/ 220 h 441"/>
                    <a:gd name="T32" fmla="*/ 67 w 441"/>
                    <a:gd name="T33" fmla="*/ 257 h 441"/>
                    <a:gd name="T34" fmla="*/ 100 w 441"/>
                    <a:gd name="T35" fmla="*/ 302 h 441"/>
                    <a:gd name="T36" fmla="*/ 58 w 441"/>
                    <a:gd name="T37" fmla="*/ 383 h 441"/>
                    <a:gd name="T38" fmla="*/ 138 w 441"/>
                    <a:gd name="T39" fmla="*/ 341 h 4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41" h="441">
                      <a:moveTo>
                        <a:pt x="138" y="341"/>
                      </a:moveTo>
                      <a:cubicBezTo>
                        <a:pt x="147" y="337"/>
                        <a:pt x="171" y="361"/>
                        <a:pt x="183" y="374"/>
                      </a:cubicBezTo>
                      <a:cubicBezTo>
                        <a:pt x="196" y="386"/>
                        <a:pt x="220" y="423"/>
                        <a:pt x="220" y="423"/>
                      </a:cubicBezTo>
                      <a:cubicBezTo>
                        <a:pt x="422" y="220"/>
                        <a:pt x="422" y="220"/>
                        <a:pt x="422" y="220"/>
                      </a:cubicBezTo>
                      <a:cubicBezTo>
                        <a:pt x="422" y="220"/>
                        <a:pt x="386" y="196"/>
                        <a:pt x="373" y="184"/>
                      </a:cubicBezTo>
                      <a:cubicBezTo>
                        <a:pt x="361" y="171"/>
                        <a:pt x="338" y="149"/>
                        <a:pt x="341" y="139"/>
                      </a:cubicBezTo>
                      <a:cubicBezTo>
                        <a:pt x="343" y="129"/>
                        <a:pt x="441" y="116"/>
                        <a:pt x="382" y="58"/>
                      </a:cubicBezTo>
                      <a:cubicBezTo>
                        <a:pt x="324" y="0"/>
                        <a:pt x="310" y="96"/>
                        <a:pt x="302" y="100"/>
                      </a:cubicBezTo>
                      <a:cubicBezTo>
                        <a:pt x="294" y="104"/>
                        <a:pt x="269" y="80"/>
                        <a:pt x="257" y="67"/>
                      </a:cubicBezTo>
                      <a:cubicBezTo>
                        <a:pt x="245" y="55"/>
                        <a:pt x="220" y="18"/>
                        <a:pt x="220" y="18"/>
                      </a:cubicBezTo>
                      <a:cubicBezTo>
                        <a:pt x="220" y="18"/>
                        <a:pt x="183" y="43"/>
                        <a:pt x="171" y="55"/>
                      </a:cubicBezTo>
                      <a:cubicBezTo>
                        <a:pt x="159" y="67"/>
                        <a:pt x="134" y="92"/>
                        <a:pt x="138" y="100"/>
                      </a:cubicBezTo>
                      <a:cubicBezTo>
                        <a:pt x="142" y="108"/>
                        <a:pt x="238" y="122"/>
                        <a:pt x="180" y="181"/>
                      </a:cubicBezTo>
                      <a:cubicBezTo>
                        <a:pt x="122" y="239"/>
                        <a:pt x="110" y="141"/>
                        <a:pt x="100" y="139"/>
                      </a:cubicBezTo>
                      <a:cubicBezTo>
                        <a:pt x="89" y="137"/>
                        <a:pt x="67" y="159"/>
                        <a:pt x="55" y="171"/>
                      </a:cubicBezTo>
                      <a:cubicBezTo>
                        <a:pt x="42" y="184"/>
                        <a:pt x="18" y="220"/>
                        <a:pt x="18" y="220"/>
                      </a:cubicBezTo>
                      <a:cubicBezTo>
                        <a:pt x="18" y="220"/>
                        <a:pt x="55" y="245"/>
                        <a:pt x="67" y="257"/>
                      </a:cubicBezTo>
                      <a:cubicBezTo>
                        <a:pt x="79" y="269"/>
                        <a:pt x="102" y="292"/>
                        <a:pt x="100" y="302"/>
                      </a:cubicBezTo>
                      <a:cubicBezTo>
                        <a:pt x="98" y="312"/>
                        <a:pt x="0" y="325"/>
                        <a:pt x="58" y="383"/>
                      </a:cubicBezTo>
                      <a:cubicBezTo>
                        <a:pt x="116" y="441"/>
                        <a:pt x="130" y="345"/>
                        <a:pt x="138" y="341"/>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105" name="Freeform 14"/>
                <p:cNvSpPr>
                  <a:spLocks/>
                </p:cNvSpPr>
                <p:nvPr/>
              </p:nvSpPr>
              <p:spPr bwMode="auto">
                <a:xfrm rot="9900000">
                  <a:off x="2123129" y="293070"/>
                  <a:ext cx="1377948" cy="1377947"/>
                </a:xfrm>
                <a:custGeom>
                  <a:avLst/>
                  <a:gdLst>
                    <a:gd name="T0" fmla="*/ 422 w 422"/>
                    <a:gd name="T1" fmla="*/ 220 h 422"/>
                    <a:gd name="T2" fmla="*/ 386 w 422"/>
                    <a:gd name="T3" fmla="*/ 171 h 422"/>
                    <a:gd name="T4" fmla="*/ 341 w 422"/>
                    <a:gd name="T5" fmla="*/ 138 h 422"/>
                    <a:gd name="T6" fmla="*/ 260 w 422"/>
                    <a:gd name="T7" fmla="*/ 180 h 422"/>
                    <a:gd name="T8" fmla="*/ 302 w 422"/>
                    <a:gd name="T9" fmla="*/ 100 h 422"/>
                    <a:gd name="T10" fmla="*/ 269 w 422"/>
                    <a:gd name="T11" fmla="*/ 55 h 422"/>
                    <a:gd name="T12" fmla="*/ 220 w 422"/>
                    <a:gd name="T13" fmla="*/ 18 h 422"/>
                    <a:gd name="T14" fmla="*/ 183 w 422"/>
                    <a:gd name="T15" fmla="*/ 67 h 422"/>
                    <a:gd name="T16" fmla="*/ 138 w 422"/>
                    <a:gd name="T17" fmla="*/ 100 h 422"/>
                    <a:gd name="T18" fmla="*/ 58 w 422"/>
                    <a:gd name="T19" fmla="*/ 58 h 422"/>
                    <a:gd name="T20" fmla="*/ 100 w 422"/>
                    <a:gd name="T21" fmla="*/ 138 h 422"/>
                    <a:gd name="T22" fmla="*/ 67 w 422"/>
                    <a:gd name="T23" fmla="*/ 183 h 422"/>
                    <a:gd name="T24" fmla="*/ 18 w 422"/>
                    <a:gd name="T25" fmla="*/ 220 h 422"/>
                    <a:gd name="T26" fmla="*/ 55 w 422"/>
                    <a:gd name="T27" fmla="*/ 269 h 422"/>
                    <a:gd name="T28" fmla="*/ 100 w 422"/>
                    <a:gd name="T29" fmla="*/ 302 h 422"/>
                    <a:gd name="T30" fmla="*/ 180 w 422"/>
                    <a:gd name="T31" fmla="*/ 260 h 422"/>
                    <a:gd name="T32" fmla="*/ 138 w 422"/>
                    <a:gd name="T33" fmla="*/ 341 h 422"/>
                    <a:gd name="T34" fmla="*/ 171 w 422"/>
                    <a:gd name="T35" fmla="*/ 386 h 422"/>
                    <a:gd name="T36" fmla="*/ 220 w 422"/>
                    <a:gd name="T37" fmla="*/ 422 h 422"/>
                    <a:gd name="T38" fmla="*/ 422 w 422"/>
                    <a:gd name="T39" fmla="*/ 220 h 4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22" h="422">
                      <a:moveTo>
                        <a:pt x="422" y="220"/>
                      </a:moveTo>
                      <a:cubicBezTo>
                        <a:pt x="422" y="220"/>
                        <a:pt x="398" y="183"/>
                        <a:pt x="386" y="171"/>
                      </a:cubicBezTo>
                      <a:cubicBezTo>
                        <a:pt x="373" y="159"/>
                        <a:pt x="349" y="134"/>
                        <a:pt x="341" y="138"/>
                      </a:cubicBezTo>
                      <a:cubicBezTo>
                        <a:pt x="332" y="142"/>
                        <a:pt x="318" y="239"/>
                        <a:pt x="260" y="180"/>
                      </a:cubicBezTo>
                      <a:cubicBezTo>
                        <a:pt x="202" y="122"/>
                        <a:pt x="300" y="110"/>
                        <a:pt x="302" y="100"/>
                      </a:cubicBezTo>
                      <a:cubicBezTo>
                        <a:pt x="304" y="90"/>
                        <a:pt x="281" y="67"/>
                        <a:pt x="269" y="55"/>
                      </a:cubicBezTo>
                      <a:cubicBezTo>
                        <a:pt x="257" y="42"/>
                        <a:pt x="220" y="18"/>
                        <a:pt x="220" y="18"/>
                      </a:cubicBezTo>
                      <a:cubicBezTo>
                        <a:pt x="220" y="18"/>
                        <a:pt x="196" y="55"/>
                        <a:pt x="183" y="67"/>
                      </a:cubicBezTo>
                      <a:cubicBezTo>
                        <a:pt x="171" y="79"/>
                        <a:pt x="149" y="102"/>
                        <a:pt x="138" y="100"/>
                      </a:cubicBezTo>
                      <a:cubicBezTo>
                        <a:pt x="128" y="98"/>
                        <a:pt x="116" y="0"/>
                        <a:pt x="58" y="58"/>
                      </a:cubicBezTo>
                      <a:cubicBezTo>
                        <a:pt x="0" y="116"/>
                        <a:pt x="96" y="130"/>
                        <a:pt x="100" y="138"/>
                      </a:cubicBezTo>
                      <a:cubicBezTo>
                        <a:pt x="104" y="147"/>
                        <a:pt x="79" y="171"/>
                        <a:pt x="67" y="183"/>
                      </a:cubicBezTo>
                      <a:cubicBezTo>
                        <a:pt x="55" y="196"/>
                        <a:pt x="18" y="220"/>
                        <a:pt x="18" y="220"/>
                      </a:cubicBezTo>
                      <a:cubicBezTo>
                        <a:pt x="18" y="220"/>
                        <a:pt x="42" y="257"/>
                        <a:pt x="55" y="269"/>
                      </a:cubicBezTo>
                      <a:cubicBezTo>
                        <a:pt x="67" y="281"/>
                        <a:pt x="91" y="306"/>
                        <a:pt x="100" y="302"/>
                      </a:cubicBezTo>
                      <a:cubicBezTo>
                        <a:pt x="108" y="298"/>
                        <a:pt x="122" y="202"/>
                        <a:pt x="180" y="260"/>
                      </a:cubicBezTo>
                      <a:cubicBezTo>
                        <a:pt x="238" y="318"/>
                        <a:pt x="140" y="330"/>
                        <a:pt x="138" y="341"/>
                      </a:cubicBezTo>
                      <a:cubicBezTo>
                        <a:pt x="136" y="351"/>
                        <a:pt x="159" y="373"/>
                        <a:pt x="171" y="386"/>
                      </a:cubicBezTo>
                      <a:cubicBezTo>
                        <a:pt x="183" y="398"/>
                        <a:pt x="220" y="422"/>
                        <a:pt x="220" y="422"/>
                      </a:cubicBezTo>
                      <a:lnTo>
                        <a:pt x="422" y="22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grpSp>
        </p:grpSp>
        <p:sp>
          <p:nvSpPr>
            <p:cNvPr id="83" name="Rectangle 152"/>
            <p:cNvSpPr/>
            <p:nvPr/>
          </p:nvSpPr>
          <p:spPr bwMode="auto">
            <a:xfrm>
              <a:off x="669652" y="2738277"/>
              <a:ext cx="1805162" cy="37532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2C812"/>
                  </a:solidFill>
                  <a:effectLst/>
                  <a:uLnTx/>
                  <a:uFillTx/>
                  <a:latin typeface="Segoe UI"/>
                  <a:ea typeface="+mn-ea"/>
                  <a:cs typeface="Segoe UI Light" panose="020B0502040204020203" pitchFamily="34" charset="0"/>
                </a:rPr>
                <a:t>Keeping Data Current</a:t>
              </a:r>
            </a:p>
          </p:txBody>
        </p:sp>
        <p:grpSp>
          <p:nvGrpSpPr>
            <p:cNvPr id="84" name="Group 83"/>
            <p:cNvGrpSpPr/>
            <p:nvPr/>
          </p:nvGrpSpPr>
          <p:grpSpPr>
            <a:xfrm>
              <a:off x="199649" y="2692629"/>
              <a:ext cx="433844" cy="433844"/>
              <a:chOff x="342620" y="2228265"/>
              <a:chExt cx="433844" cy="433844"/>
            </a:xfrm>
            <a:solidFill>
              <a:schemeClr val="bg1"/>
            </a:solidFill>
          </p:grpSpPr>
          <p:sp>
            <p:nvSpPr>
              <p:cNvPr id="100" name="Oval 154"/>
              <p:cNvSpPr/>
              <p:nvPr/>
            </p:nvSpPr>
            <p:spPr bwMode="auto">
              <a:xfrm>
                <a:off x="342620" y="2228265"/>
                <a:ext cx="433844" cy="433844"/>
              </a:xfrm>
              <a:prstGeom prst="ellipse">
                <a:avLst/>
              </a:prstGeom>
              <a:solidFill>
                <a:srgbClr val="FFC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1" name="Freeform 30"/>
              <p:cNvSpPr>
                <a:spLocks noEditPoints="1"/>
              </p:cNvSpPr>
              <p:nvPr/>
            </p:nvSpPr>
            <p:spPr bwMode="auto">
              <a:xfrm>
                <a:off x="444786" y="2340040"/>
                <a:ext cx="238402" cy="210293"/>
              </a:xfrm>
              <a:custGeom>
                <a:avLst/>
                <a:gdLst>
                  <a:gd name="T0" fmla="*/ 883 w 916"/>
                  <a:gd name="T1" fmla="*/ 286 h 808"/>
                  <a:gd name="T2" fmla="*/ 539 w 916"/>
                  <a:gd name="T3" fmla="*/ 723 h 808"/>
                  <a:gd name="T4" fmla="*/ 504 w 916"/>
                  <a:gd name="T5" fmla="*/ 0 h 808"/>
                  <a:gd name="T6" fmla="*/ 35 w 916"/>
                  <a:gd name="T7" fmla="*/ 723 h 808"/>
                  <a:gd name="T8" fmla="*/ 0 w 916"/>
                  <a:gd name="T9" fmla="*/ 808 h 808"/>
                  <a:gd name="T10" fmla="*/ 916 w 916"/>
                  <a:gd name="T11" fmla="*/ 723 h 808"/>
                  <a:gd name="T12" fmla="*/ 229 w 916"/>
                  <a:gd name="T13" fmla="*/ 665 h 808"/>
                  <a:gd name="T14" fmla="*/ 109 w 916"/>
                  <a:gd name="T15" fmla="*/ 596 h 808"/>
                  <a:gd name="T16" fmla="*/ 229 w 916"/>
                  <a:gd name="T17" fmla="*/ 665 h 808"/>
                  <a:gd name="T18" fmla="*/ 109 w 916"/>
                  <a:gd name="T19" fmla="*/ 501 h 808"/>
                  <a:gd name="T20" fmla="*/ 229 w 916"/>
                  <a:gd name="T21" fmla="*/ 432 h 808"/>
                  <a:gd name="T22" fmla="*/ 229 w 916"/>
                  <a:gd name="T23" fmla="*/ 337 h 808"/>
                  <a:gd name="T24" fmla="*/ 109 w 916"/>
                  <a:gd name="T25" fmla="*/ 267 h 808"/>
                  <a:gd name="T26" fmla="*/ 229 w 916"/>
                  <a:gd name="T27" fmla="*/ 337 h 808"/>
                  <a:gd name="T28" fmla="*/ 109 w 916"/>
                  <a:gd name="T29" fmla="*/ 172 h 808"/>
                  <a:gd name="T30" fmla="*/ 229 w 916"/>
                  <a:gd name="T31" fmla="*/ 103 h 808"/>
                  <a:gd name="T32" fmla="*/ 428 w 916"/>
                  <a:gd name="T33" fmla="*/ 665 h 808"/>
                  <a:gd name="T34" fmla="*/ 307 w 916"/>
                  <a:gd name="T35" fmla="*/ 596 h 808"/>
                  <a:gd name="T36" fmla="*/ 428 w 916"/>
                  <a:gd name="T37" fmla="*/ 665 h 808"/>
                  <a:gd name="T38" fmla="*/ 307 w 916"/>
                  <a:gd name="T39" fmla="*/ 501 h 808"/>
                  <a:gd name="T40" fmla="*/ 428 w 916"/>
                  <a:gd name="T41" fmla="*/ 432 h 808"/>
                  <a:gd name="T42" fmla="*/ 428 w 916"/>
                  <a:gd name="T43" fmla="*/ 337 h 808"/>
                  <a:gd name="T44" fmla="*/ 307 w 916"/>
                  <a:gd name="T45" fmla="*/ 267 h 808"/>
                  <a:gd name="T46" fmla="*/ 428 w 916"/>
                  <a:gd name="T47" fmla="*/ 337 h 808"/>
                  <a:gd name="T48" fmla="*/ 307 w 916"/>
                  <a:gd name="T49" fmla="*/ 172 h 808"/>
                  <a:gd name="T50" fmla="*/ 428 w 916"/>
                  <a:gd name="T51" fmla="*/ 103 h 808"/>
                  <a:gd name="T52" fmla="*/ 684 w 916"/>
                  <a:gd name="T53" fmla="*/ 668 h 808"/>
                  <a:gd name="T54" fmla="*/ 606 w 916"/>
                  <a:gd name="T55" fmla="*/ 549 h 808"/>
                  <a:gd name="T56" fmla="*/ 684 w 916"/>
                  <a:gd name="T57" fmla="*/ 668 h 808"/>
                  <a:gd name="T58" fmla="*/ 606 w 916"/>
                  <a:gd name="T59" fmla="*/ 482 h 808"/>
                  <a:gd name="T60" fmla="*/ 684 w 916"/>
                  <a:gd name="T61" fmla="*/ 365 h 808"/>
                  <a:gd name="T62" fmla="*/ 816 w 916"/>
                  <a:gd name="T63" fmla="*/ 668 h 808"/>
                  <a:gd name="T64" fmla="*/ 738 w 916"/>
                  <a:gd name="T65" fmla="*/ 549 h 808"/>
                  <a:gd name="T66" fmla="*/ 816 w 916"/>
                  <a:gd name="T67" fmla="*/ 668 h 808"/>
                  <a:gd name="T68" fmla="*/ 738 w 916"/>
                  <a:gd name="T69" fmla="*/ 482 h 808"/>
                  <a:gd name="T70" fmla="*/ 816 w 916"/>
                  <a:gd name="T71" fmla="*/ 365 h 8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16" h="808">
                    <a:moveTo>
                      <a:pt x="883" y="723"/>
                    </a:moveTo>
                    <a:lnTo>
                      <a:pt x="883" y="286"/>
                    </a:lnTo>
                    <a:lnTo>
                      <a:pt x="539" y="286"/>
                    </a:lnTo>
                    <a:lnTo>
                      <a:pt x="539" y="723"/>
                    </a:lnTo>
                    <a:lnTo>
                      <a:pt x="504" y="723"/>
                    </a:lnTo>
                    <a:lnTo>
                      <a:pt x="504" y="0"/>
                    </a:lnTo>
                    <a:lnTo>
                      <a:pt x="35" y="0"/>
                    </a:lnTo>
                    <a:lnTo>
                      <a:pt x="35" y="723"/>
                    </a:lnTo>
                    <a:lnTo>
                      <a:pt x="0" y="723"/>
                    </a:lnTo>
                    <a:lnTo>
                      <a:pt x="0" y="808"/>
                    </a:lnTo>
                    <a:lnTo>
                      <a:pt x="916" y="808"/>
                    </a:lnTo>
                    <a:lnTo>
                      <a:pt x="916" y="723"/>
                    </a:lnTo>
                    <a:lnTo>
                      <a:pt x="883" y="723"/>
                    </a:lnTo>
                    <a:close/>
                    <a:moveTo>
                      <a:pt x="229" y="665"/>
                    </a:moveTo>
                    <a:lnTo>
                      <a:pt x="109" y="665"/>
                    </a:lnTo>
                    <a:lnTo>
                      <a:pt x="109" y="596"/>
                    </a:lnTo>
                    <a:lnTo>
                      <a:pt x="229" y="596"/>
                    </a:lnTo>
                    <a:lnTo>
                      <a:pt x="229" y="665"/>
                    </a:lnTo>
                    <a:close/>
                    <a:moveTo>
                      <a:pt x="229" y="501"/>
                    </a:moveTo>
                    <a:lnTo>
                      <a:pt x="109" y="501"/>
                    </a:lnTo>
                    <a:lnTo>
                      <a:pt x="109" y="432"/>
                    </a:lnTo>
                    <a:lnTo>
                      <a:pt x="229" y="432"/>
                    </a:lnTo>
                    <a:lnTo>
                      <a:pt x="229" y="501"/>
                    </a:lnTo>
                    <a:close/>
                    <a:moveTo>
                      <a:pt x="229" y="337"/>
                    </a:moveTo>
                    <a:lnTo>
                      <a:pt x="109" y="337"/>
                    </a:lnTo>
                    <a:lnTo>
                      <a:pt x="109" y="267"/>
                    </a:lnTo>
                    <a:lnTo>
                      <a:pt x="229" y="267"/>
                    </a:lnTo>
                    <a:lnTo>
                      <a:pt x="229" y="337"/>
                    </a:lnTo>
                    <a:close/>
                    <a:moveTo>
                      <a:pt x="229" y="172"/>
                    </a:moveTo>
                    <a:lnTo>
                      <a:pt x="109" y="172"/>
                    </a:lnTo>
                    <a:lnTo>
                      <a:pt x="109" y="103"/>
                    </a:lnTo>
                    <a:lnTo>
                      <a:pt x="229" y="103"/>
                    </a:lnTo>
                    <a:lnTo>
                      <a:pt x="229" y="172"/>
                    </a:lnTo>
                    <a:close/>
                    <a:moveTo>
                      <a:pt x="428" y="665"/>
                    </a:moveTo>
                    <a:lnTo>
                      <a:pt x="307" y="665"/>
                    </a:lnTo>
                    <a:lnTo>
                      <a:pt x="307" y="596"/>
                    </a:lnTo>
                    <a:lnTo>
                      <a:pt x="428" y="596"/>
                    </a:lnTo>
                    <a:lnTo>
                      <a:pt x="428" y="665"/>
                    </a:lnTo>
                    <a:close/>
                    <a:moveTo>
                      <a:pt x="428" y="501"/>
                    </a:moveTo>
                    <a:lnTo>
                      <a:pt x="307" y="501"/>
                    </a:lnTo>
                    <a:lnTo>
                      <a:pt x="307" y="432"/>
                    </a:lnTo>
                    <a:lnTo>
                      <a:pt x="428" y="432"/>
                    </a:lnTo>
                    <a:lnTo>
                      <a:pt x="428" y="501"/>
                    </a:lnTo>
                    <a:close/>
                    <a:moveTo>
                      <a:pt x="428" y="337"/>
                    </a:moveTo>
                    <a:lnTo>
                      <a:pt x="307" y="337"/>
                    </a:lnTo>
                    <a:lnTo>
                      <a:pt x="307" y="267"/>
                    </a:lnTo>
                    <a:lnTo>
                      <a:pt x="428" y="267"/>
                    </a:lnTo>
                    <a:lnTo>
                      <a:pt x="428" y="337"/>
                    </a:lnTo>
                    <a:close/>
                    <a:moveTo>
                      <a:pt x="428" y="172"/>
                    </a:moveTo>
                    <a:lnTo>
                      <a:pt x="307" y="172"/>
                    </a:lnTo>
                    <a:lnTo>
                      <a:pt x="307" y="103"/>
                    </a:lnTo>
                    <a:lnTo>
                      <a:pt x="428" y="103"/>
                    </a:lnTo>
                    <a:lnTo>
                      <a:pt x="428" y="172"/>
                    </a:lnTo>
                    <a:close/>
                    <a:moveTo>
                      <a:pt x="684" y="668"/>
                    </a:moveTo>
                    <a:lnTo>
                      <a:pt x="606" y="668"/>
                    </a:lnTo>
                    <a:lnTo>
                      <a:pt x="606" y="549"/>
                    </a:lnTo>
                    <a:lnTo>
                      <a:pt x="684" y="549"/>
                    </a:lnTo>
                    <a:lnTo>
                      <a:pt x="684" y="668"/>
                    </a:lnTo>
                    <a:close/>
                    <a:moveTo>
                      <a:pt x="684" y="482"/>
                    </a:moveTo>
                    <a:lnTo>
                      <a:pt x="606" y="482"/>
                    </a:lnTo>
                    <a:lnTo>
                      <a:pt x="606" y="365"/>
                    </a:lnTo>
                    <a:lnTo>
                      <a:pt x="684" y="365"/>
                    </a:lnTo>
                    <a:lnTo>
                      <a:pt x="684" y="482"/>
                    </a:lnTo>
                    <a:close/>
                    <a:moveTo>
                      <a:pt x="816" y="668"/>
                    </a:moveTo>
                    <a:lnTo>
                      <a:pt x="738" y="668"/>
                    </a:lnTo>
                    <a:lnTo>
                      <a:pt x="738" y="549"/>
                    </a:lnTo>
                    <a:lnTo>
                      <a:pt x="816" y="549"/>
                    </a:lnTo>
                    <a:lnTo>
                      <a:pt x="816" y="668"/>
                    </a:lnTo>
                    <a:close/>
                    <a:moveTo>
                      <a:pt x="816" y="482"/>
                    </a:moveTo>
                    <a:lnTo>
                      <a:pt x="738" y="482"/>
                    </a:lnTo>
                    <a:lnTo>
                      <a:pt x="738" y="365"/>
                    </a:lnTo>
                    <a:lnTo>
                      <a:pt x="816" y="365"/>
                    </a:lnTo>
                    <a:lnTo>
                      <a:pt x="816" y="482"/>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grpSp>
        <p:sp>
          <p:nvSpPr>
            <p:cNvPr id="85" name="TextBox 84"/>
            <p:cNvSpPr txBox="1"/>
            <p:nvPr/>
          </p:nvSpPr>
          <p:spPr>
            <a:xfrm>
              <a:off x="83345" y="113808"/>
              <a:ext cx="2532630" cy="627864"/>
            </a:xfrm>
            <a:prstGeom prst="rect">
              <a:avLst/>
            </a:prstGeom>
            <a:noFill/>
          </p:spPr>
          <p:txBody>
            <a:bodyPr wrap="square" lIns="182880" tIns="146304" rIns="182880" bIns="146304" rtlCol="0">
              <a:spAutoFit/>
            </a:bodyPr>
            <a:lstStyle>
              <a:defPPr>
                <a:defRPr lang="en-US"/>
              </a:defPPr>
              <a:lvl1pPr>
                <a:lnSpc>
                  <a:spcPct val="90000"/>
                </a:lnSpc>
                <a:spcAft>
                  <a:spcPts val="600"/>
                </a:spcAft>
                <a:defRPr sz="2800" b="1">
                  <a:solidFill>
                    <a:srgbClr val="F2C812"/>
                  </a:solidFill>
                  <a:latin typeface="Segoe UI Light"/>
                </a:defRPr>
              </a:lvl1p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400" b="1" i="0" u="none" strike="noStrike" kern="1200" cap="none" spc="0" normalizeH="0" baseline="0" noProof="0">
                  <a:ln>
                    <a:noFill/>
                  </a:ln>
                  <a:solidFill>
                    <a:srgbClr val="F2C812"/>
                  </a:solidFill>
                  <a:effectLst/>
                  <a:uLnTx/>
                  <a:uFillTx/>
                  <a:latin typeface="Segoe UI Light"/>
                  <a:ea typeface="+mn-ea"/>
                  <a:cs typeface="+mn-cs"/>
                </a:rPr>
                <a:t>Power BI Service</a:t>
              </a:r>
              <a:endParaRPr kumimoji="0" lang="en-US" sz="2800" b="1" i="0" u="none" strike="noStrike" kern="1200" cap="none" spc="0" normalizeH="0" baseline="0" noProof="0">
                <a:ln>
                  <a:noFill/>
                </a:ln>
                <a:solidFill>
                  <a:srgbClr val="F2C812"/>
                </a:solidFill>
                <a:effectLst/>
                <a:uLnTx/>
                <a:uFillTx/>
                <a:latin typeface="Segoe UI Light"/>
                <a:ea typeface="+mn-ea"/>
                <a:cs typeface="+mn-cs"/>
              </a:endParaRPr>
            </a:p>
          </p:txBody>
        </p:sp>
        <p:grpSp>
          <p:nvGrpSpPr>
            <p:cNvPr id="86" name="Group 85"/>
            <p:cNvGrpSpPr/>
            <p:nvPr/>
          </p:nvGrpSpPr>
          <p:grpSpPr>
            <a:xfrm>
              <a:off x="219373" y="3621383"/>
              <a:ext cx="433844" cy="645668"/>
              <a:chOff x="280990" y="3358164"/>
              <a:chExt cx="433844" cy="645668"/>
            </a:xfrm>
          </p:grpSpPr>
          <p:sp>
            <p:nvSpPr>
              <p:cNvPr id="93" name="Oval 1083"/>
              <p:cNvSpPr/>
              <p:nvPr/>
            </p:nvSpPr>
            <p:spPr bwMode="auto">
              <a:xfrm>
                <a:off x="280990" y="3358164"/>
                <a:ext cx="433844" cy="433847"/>
              </a:xfrm>
              <a:prstGeom prst="ellipse">
                <a:avLst/>
              </a:prstGeom>
              <a:solidFill>
                <a:srgbClr val="F2C812"/>
              </a:solidFill>
              <a:ln>
                <a:solidFill>
                  <a:srgbClr val="FFCC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94" name="Group 379"/>
              <p:cNvGrpSpPr/>
              <p:nvPr/>
            </p:nvGrpSpPr>
            <p:grpSpPr>
              <a:xfrm>
                <a:off x="453702" y="3910852"/>
                <a:ext cx="175660" cy="92980"/>
                <a:chOff x="3895793" y="7466656"/>
                <a:chExt cx="785810" cy="415941"/>
              </a:xfrm>
              <a:solidFill>
                <a:srgbClr val="00BCF2"/>
              </a:solidFill>
            </p:grpSpPr>
            <p:sp>
              <p:nvSpPr>
                <p:cNvPr id="95" name="Freeform 132"/>
                <p:cNvSpPr>
                  <a:spLocks/>
                </p:cNvSpPr>
                <p:nvPr/>
              </p:nvSpPr>
              <p:spPr bwMode="auto">
                <a:xfrm>
                  <a:off x="4125979" y="7688918"/>
                  <a:ext cx="0" cy="6353"/>
                </a:xfrm>
                <a:custGeom>
                  <a:avLst/>
                  <a:gdLst>
                    <a:gd name="T0" fmla="*/ 1 w 1"/>
                    <a:gd name="T1" fmla="*/ 0 h 8"/>
                    <a:gd name="T2" fmla="*/ 0 w 1"/>
                    <a:gd name="T3" fmla="*/ 0 h 8"/>
                    <a:gd name="T4" fmla="*/ 1 w 1"/>
                    <a:gd name="T5" fmla="*/ 8 h 8"/>
                    <a:gd name="T6" fmla="*/ 1 w 1"/>
                    <a:gd name="T7" fmla="*/ 0 h 8"/>
                  </a:gdLst>
                  <a:ahLst/>
                  <a:cxnLst>
                    <a:cxn ang="0">
                      <a:pos x="T0" y="T1"/>
                    </a:cxn>
                    <a:cxn ang="0">
                      <a:pos x="T2" y="T3"/>
                    </a:cxn>
                    <a:cxn ang="0">
                      <a:pos x="T4" y="T5"/>
                    </a:cxn>
                    <a:cxn ang="0">
                      <a:pos x="T6" y="T7"/>
                    </a:cxn>
                  </a:cxnLst>
                  <a:rect l="0" t="0" r="r" b="b"/>
                  <a:pathLst>
                    <a:path w="1" h="8">
                      <a:moveTo>
                        <a:pt x="1" y="0"/>
                      </a:moveTo>
                      <a:cubicBezTo>
                        <a:pt x="0" y="0"/>
                        <a:pt x="0" y="0"/>
                        <a:pt x="0" y="0"/>
                      </a:cubicBezTo>
                      <a:cubicBezTo>
                        <a:pt x="0" y="3"/>
                        <a:pt x="1" y="5"/>
                        <a:pt x="1" y="8"/>
                      </a:cubicBezTo>
                      <a:lnTo>
                        <a:pt x="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96" name="Freeform 133"/>
                <p:cNvSpPr>
                  <a:spLocks/>
                </p:cNvSpPr>
                <p:nvPr/>
              </p:nvSpPr>
              <p:spPr bwMode="auto">
                <a:xfrm>
                  <a:off x="3895793" y="7812745"/>
                  <a:ext cx="219078" cy="69852"/>
                </a:xfrm>
                <a:custGeom>
                  <a:avLst/>
                  <a:gdLst>
                    <a:gd name="T0" fmla="*/ 186 w 238"/>
                    <a:gd name="T1" fmla="*/ 9 h 76"/>
                    <a:gd name="T2" fmla="*/ 131 w 238"/>
                    <a:gd name="T3" fmla="*/ 22 h 76"/>
                    <a:gd name="T4" fmla="*/ 60 w 238"/>
                    <a:gd name="T5" fmla="*/ 0 h 76"/>
                    <a:gd name="T6" fmla="*/ 0 w 238"/>
                    <a:gd name="T7" fmla="*/ 42 h 76"/>
                    <a:gd name="T8" fmla="*/ 0 w 238"/>
                    <a:gd name="T9" fmla="*/ 76 h 76"/>
                    <a:gd name="T10" fmla="*/ 238 w 238"/>
                    <a:gd name="T11" fmla="*/ 76 h 76"/>
                    <a:gd name="T12" fmla="*/ 236 w 238"/>
                    <a:gd name="T13" fmla="*/ 53 h 76"/>
                    <a:gd name="T14" fmla="*/ 236 w 238"/>
                    <a:gd name="T15" fmla="*/ 49 h 76"/>
                    <a:gd name="T16" fmla="*/ 186 w 238"/>
                    <a:gd name="T17" fmla="*/ 9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8" h="76">
                      <a:moveTo>
                        <a:pt x="186" y="9"/>
                      </a:moveTo>
                      <a:cubicBezTo>
                        <a:pt x="169" y="18"/>
                        <a:pt x="150" y="22"/>
                        <a:pt x="131" y="22"/>
                      </a:cubicBezTo>
                      <a:cubicBezTo>
                        <a:pt x="105" y="22"/>
                        <a:pt x="80" y="14"/>
                        <a:pt x="60" y="0"/>
                      </a:cubicBezTo>
                      <a:cubicBezTo>
                        <a:pt x="0" y="42"/>
                        <a:pt x="0" y="42"/>
                        <a:pt x="0" y="42"/>
                      </a:cubicBezTo>
                      <a:cubicBezTo>
                        <a:pt x="0" y="76"/>
                        <a:pt x="0" y="76"/>
                        <a:pt x="0" y="76"/>
                      </a:cubicBezTo>
                      <a:cubicBezTo>
                        <a:pt x="238" y="76"/>
                        <a:pt x="238" y="76"/>
                        <a:pt x="238" y="76"/>
                      </a:cubicBezTo>
                      <a:cubicBezTo>
                        <a:pt x="237" y="68"/>
                        <a:pt x="236" y="61"/>
                        <a:pt x="236" y="53"/>
                      </a:cubicBezTo>
                      <a:cubicBezTo>
                        <a:pt x="236" y="51"/>
                        <a:pt x="236" y="50"/>
                        <a:pt x="236" y="49"/>
                      </a:cubicBezTo>
                      <a:lnTo>
                        <a:pt x="186" y="9"/>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97" name="Freeform 137"/>
                <p:cNvSpPr>
                  <a:spLocks/>
                </p:cNvSpPr>
                <p:nvPr/>
              </p:nvSpPr>
              <p:spPr bwMode="auto">
                <a:xfrm>
                  <a:off x="4338704" y="7809561"/>
                  <a:ext cx="65090" cy="73028"/>
                </a:xfrm>
                <a:custGeom>
                  <a:avLst/>
                  <a:gdLst>
                    <a:gd name="T0" fmla="*/ 71 w 71"/>
                    <a:gd name="T1" fmla="*/ 79 h 79"/>
                    <a:gd name="T2" fmla="*/ 71 w 71"/>
                    <a:gd name="T3" fmla="*/ 0 h 79"/>
                    <a:gd name="T4" fmla="*/ 2 w 71"/>
                    <a:gd name="T5" fmla="*/ 53 h 79"/>
                    <a:gd name="T6" fmla="*/ 2 w 71"/>
                    <a:gd name="T7" fmla="*/ 56 h 79"/>
                    <a:gd name="T8" fmla="*/ 0 w 71"/>
                    <a:gd name="T9" fmla="*/ 79 h 79"/>
                    <a:gd name="T10" fmla="*/ 71 w 71"/>
                    <a:gd name="T11" fmla="*/ 79 h 79"/>
                  </a:gdLst>
                  <a:ahLst/>
                  <a:cxnLst>
                    <a:cxn ang="0">
                      <a:pos x="T0" y="T1"/>
                    </a:cxn>
                    <a:cxn ang="0">
                      <a:pos x="T2" y="T3"/>
                    </a:cxn>
                    <a:cxn ang="0">
                      <a:pos x="T4" y="T5"/>
                    </a:cxn>
                    <a:cxn ang="0">
                      <a:pos x="T6" y="T7"/>
                    </a:cxn>
                    <a:cxn ang="0">
                      <a:pos x="T8" y="T9"/>
                    </a:cxn>
                    <a:cxn ang="0">
                      <a:pos x="T10" y="T11"/>
                    </a:cxn>
                  </a:cxnLst>
                  <a:rect l="0" t="0" r="r" b="b"/>
                  <a:pathLst>
                    <a:path w="71" h="79">
                      <a:moveTo>
                        <a:pt x="71" y="79"/>
                      </a:moveTo>
                      <a:cubicBezTo>
                        <a:pt x="71" y="0"/>
                        <a:pt x="71" y="0"/>
                        <a:pt x="71" y="0"/>
                      </a:cubicBezTo>
                      <a:cubicBezTo>
                        <a:pt x="2" y="53"/>
                        <a:pt x="2" y="53"/>
                        <a:pt x="2" y="53"/>
                      </a:cubicBezTo>
                      <a:cubicBezTo>
                        <a:pt x="2" y="54"/>
                        <a:pt x="2" y="55"/>
                        <a:pt x="2" y="56"/>
                      </a:cubicBezTo>
                      <a:cubicBezTo>
                        <a:pt x="2" y="64"/>
                        <a:pt x="1" y="71"/>
                        <a:pt x="0" y="79"/>
                      </a:cubicBezTo>
                      <a:lnTo>
                        <a:pt x="71" y="79"/>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98" name="Freeform 140"/>
                <p:cNvSpPr>
                  <a:spLocks/>
                </p:cNvSpPr>
                <p:nvPr/>
              </p:nvSpPr>
              <p:spPr bwMode="auto">
                <a:xfrm>
                  <a:off x="4600643" y="7622229"/>
                  <a:ext cx="80960" cy="38099"/>
                </a:xfrm>
                <a:custGeom>
                  <a:avLst/>
                  <a:gdLst>
                    <a:gd name="T0" fmla="*/ 0 w 51"/>
                    <a:gd name="T1" fmla="*/ 24 h 24"/>
                    <a:gd name="T2" fmla="*/ 51 w 51"/>
                    <a:gd name="T3" fmla="*/ 24 h 24"/>
                    <a:gd name="T4" fmla="*/ 32 w 51"/>
                    <a:gd name="T5" fmla="*/ 0 h 24"/>
                    <a:gd name="T6" fmla="*/ 0 w 51"/>
                    <a:gd name="T7" fmla="*/ 24 h 24"/>
                  </a:gdLst>
                  <a:ahLst/>
                  <a:cxnLst>
                    <a:cxn ang="0">
                      <a:pos x="T0" y="T1"/>
                    </a:cxn>
                    <a:cxn ang="0">
                      <a:pos x="T2" y="T3"/>
                    </a:cxn>
                    <a:cxn ang="0">
                      <a:pos x="T4" y="T5"/>
                    </a:cxn>
                    <a:cxn ang="0">
                      <a:pos x="T6" y="T7"/>
                    </a:cxn>
                  </a:cxnLst>
                  <a:rect l="0" t="0" r="r" b="b"/>
                  <a:pathLst>
                    <a:path w="51" h="24">
                      <a:moveTo>
                        <a:pt x="0" y="24"/>
                      </a:moveTo>
                      <a:lnTo>
                        <a:pt x="51" y="24"/>
                      </a:lnTo>
                      <a:lnTo>
                        <a:pt x="32" y="0"/>
                      </a:lnTo>
                      <a:lnTo>
                        <a:pt x="0" y="24"/>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99" name="Freeform 141"/>
                <p:cNvSpPr>
                  <a:spLocks/>
                </p:cNvSpPr>
                <p:nvPr/>
              </p:nvSpPr>
              <p:spPr bwMode="auto">
                <a:xfrm>
                  <a:off x="4449825" y="7466656"/>
                  <a:ext cx="119065" cy="139703"/>
                </a:xfrm>
                <a:custGeom>
                  <a:avLst/>
                  <a:gdLst>
                    <a:gd name="T0" fmla="*/ 52 w 75"/>
                    <a:gd name="T1" fmla="*/ 0 h 88"/>
                    <a:gd name="T2" fmla="*/ 0 w 75"/>
                    <a:gd name="T3" fmla="*/ 0 h 88"/>
                    <a:gd name="T4" fmla="*/ 0 w 75"/>
                    <a:gd name="T5" fmla="*/ 88 h 88"/>
                    <a:gd name="T6" fmla="*/ 75 w 75"/>
                    <a:gd name="T7" fmla="*/ 30 h 88"/>
                    <a:gd name="T8" fmla="*/ 52 w 75"/>
                    <a:gd name="T9" fmla="*/ 0 h 88"/>
                  </a:gdLst>
                  <a:ahLst/>
                  <a:cxnLst>
                    <a:cxn ang="0">
                      <a:pos x="T0" y="T1"/>
                    </a:cxn>
                    <a:cxn ang="0">
                      <a:pos x="T2" y="T3"/>
                    </a:cxn>
                    <a:cxn ang="0">
                      <a:pos x="T4" y="T5"/>
                    </a:cxn>
                    <a:cxn ang="0">
                      <a:pos x="T6" y="T7"/>
                    </a:cxn>
                    <a:cxn ang="0">
                      <a:pos x="T8" y="T9"/>
                    </a:cxn>
                  </a:cxnLst>
                  <a:rect l="0" t="0" r="r" b="b"/>
                  <a:pathLst>
                    <a:path w="75" h="88">
                      <a:moveTo>
                        <a:pt x="52" y="0"/>
                      </a:moveTo>
                      <a:lnTo>
                        <a:pt x="0" y="0"/>
                      </a:lnTo>
                      <a:lnTo>
                        <a:pt x="0" y="88"/>
                      </a:lnTo>
                      <a:lnTo>
                        <a:pt x="75" y="30"/>
                      </a:lnTo>
                      <a:lnTo>
                        <a:pt x="52"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grpSp>
        </p:grpSp>
        <p:sp>
          <p:nvSpPr>
            <p:cNvPr id="88" name="Rectangle 152"/>
            <p:cNvSpPr/>
            <p:nvPr/>
          </p:nvSpPr>
          <p:spPr bwMode="auto">
            <a:xfrm>
              <a:off x="712458" y="3628917"/>
              <a:ext cx="1805162" cy="37532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2C812"/>
                  </a:solidFill>
                  <a:effectLst/>
                  <a:uLnTx/>
                  <a:uFillTx/>
                  <a:latin typeface="Segoe UI"/>
                  <a:ea typeface="+mn-ea"/>
                  <a:cs typeface="Segoe UI Light" panose="020B0502040204020203" pitchFamily="34" charset="0"/>
                </a:rPr>
                <a:t>Q&amp;A and </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2C812"/>
                  </a:solidFill>
                  <a:effectLst/>
                  <a:uLnTx/>
                  <a:uFillTx/>
                  <a:latin typeface="Segoe UI"/>
                  <a:ea typeface="+mn-ea"/>
                  <a:cs typeface="Segoe UI Light" panose="020B0502040204020203" pitchFamily="34" charset="0"/>
                </a:rPr>
                <a:t>Quick Insights</a:t>
              </a:r>
              <a:endParaRPr kumimoji="0" lang="en-US" sz="1200" b="1" i="0" u="none" strike="noStrike" kern="1200" cap="none" spc="0" normalizeH="0" baseline="0" noProof="0">
                <a:ln>
                  <a:noFill/>
                </a:ln>
                <a:solidFill>
                  <a:srgbClr val="F2C812"/>
                </a:solidFill>
                <a:effectLst/>
                <a:uLnTx/>
                <a:uFillTx/>
                <a:latin typeface="Segoe UI"/>
                <a:ea typeface="+mn-ea"/>
                <a:cs typeface="Segoe UI Light" panose="020B0502040204020203" pitchFamily="34" charset="0"/>
              </a:endParaRPr>
            </a:p>
          </p:txBody>
        </p:sp>
        <p:sp>
          <p:nvSpPr>
            <p:cNvPr id="89" name="Oval 162"/>
            <p:cNvSpPr/>
            <p:nvPr/>
          </p:nvSpPr>
          <p:spPr bwMode="auto">
            <a:xfrm>
              <a:off x="226619" y="4551712"/>
              <a:ext cx="433844" cy="433844"/>
            </a:xfrm>
            <a:prstGeom prst="ellipse">
              <a:avLst/>
            </a:prstGeom>
            <a:solidFill>
              <a:srgbClr val="F2C812"/>
            </a:solidFill>
            <a:ln>
              <a:solidFill>
                <a:srgbClr val="FFCC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0" name="Rectangle 152"/>
            <p:cNvSpPr/>
            <p:nvPr/>
          </p:nvSpPr>
          <p:spPr bwMode="auto">
            <a:xfrm>
              <a:off x="738443" y="4596194"/>
              <a:ext cx="1884825" cy="30233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2C812"/>
                  </a:solidFill>
                  <a:effectLst/>
                  <a:uLnTx/>
                  <a:uFillTx/>
                  <a:latin typeface="Segoe UI"/>
                  <a:ea typeface="+mn-ea"/>
                  <a:cs typeface="Segoe UI Light" panose="020B0502040204020203" pitchFamily="34" charset="0"/>
                </a:rPr>
                <a:t>Sharing</a:t>
              </a:r>
              <a:endParaRPr kumimoji="0" lang="en-US" sz="1200" b="1" i="1" u="none" strike="noStrike" kern="1200" cap="none" spc="0" normalizeH="0" baseline="0" noProof="0">
                <a:ln>
                  <a:noFill/>
                </a:ln>
                <a:solidFill>
                  <a:srgbClr val="F2C812"/>
                </a:solidFill>
                <a:effectLst/>
                <a:uLnTx/>
                <a:uFillTx/>
                <a:latin typeface="Segoe UI"/>
                <a:ea typeface="+mn-ea"/>
                <a:cs typeface="Segoe UI Light" panose="020B0502040204020203" pitchFamily="34" charset="0"/>
              </a:endParaRPr>
            </a:p>
          </p:txBody>
        </p:sp>
        <p:sp>
          <p:nvSpPr>
            <p:cNvPr id="91" name="Rectangle 145"/>
            <p:cNvSpPr/>
            <p:nvPr/>
          </p:nvSpPr>
          <p:spPr bwMode="auto">
            <a:xfrm>
              <a:off x="697198" y="1847637"/>
              <a:ext cx="1821468" cy="3831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2C812"/>
                  </a:solidFill>
                  <a:effectLst/>
                  <a:uLnTx/>
                  <a:uFillTx/>
                  <a:latin typeface="Segoe UI"/>
                  <a:ea typeface="+mn-ea"/>
                  <a:cs typeface="Segoe UI Light" panose="020B0502040204020203" pitchFamily="34" charset="0"/>
                </a:rPr>
                <a:t>Pinning and Navigation</a:t>
              </a:r>
            </a:p>
          </p:txBody>
        </p:sp>
        <p:sp>
          <p:nvSpPr>
            <p:cNvPr id="92" name="Oval 162"/>
            <p:cNvSpPr/>
            <p:nvPr/>
          </p:nvSpPr>
          <p:spPr bwMode="auto">
            <a:xfrm>
              <a:off x="224136" y="1813606"/>
              <a:ext cx="433844" cy="433844"/>
            </a:xfrm>
            <a:prstGeom prst="ellipse">
              <a:avLst/>
            </a:prstGeom>
            <a:solidFill>
              <a:srgbClr val="FFCC00"/>
            </a:solidFill>
            <a:ln>
              <a:solidFill>
                <a:srgbClr val="F2C81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pic>
        <p:nvPicPr>
          <p:cNvPr id="106" name="Picture 105"/>
          <p:cNvPicPr>
            <a:picLocks noChangeAspect="1"/>
          </p:cNvPicPr>
          <p:nvPr/>
        </p:nvPicPr>
        <p:blipFill rotWithShape="1">
          <a:blip r:embed="rId4"/>
          <a:srcRect l="6503" t="21287" r="74698" b="20220"/>
          <a:stretch/>
        </p:blipFill>
        <p:spPr>
          <a:xfrm>
            <a:off x="339111" y="1946110"/>
            <a:ext cx="228600" cy="231962"/>
          </a:xfrm>
          <a:prstGeom prst="rect">
            <a:avLst/>
          </a:prstGeom>
        </p:spPr>
      </p:pic>
      <p:pic>
        <p:nvPicPr>
          <p:cNvPr id="107" name="Picture 106"/>
          <p:cNvPicPr>
            <a:picLocks noChangeAspect="1"/>
          </p:cNvPicPr>
          <p:nvPr/>
        </p:nvPicPr>
        <p:blipFill>
          <a:blip r:embed="rId5"/>
          <a:stretch>
            <a:fillRect/>
          </a:stretch>
        </p:blipFill>
        <p:spPr>
          <a:xfrm>
            <a:off x="284769" y="3673076"/>
            <a:ext cx="311766" cy="303106"/>
          </a:xfrm>
          <a:prstGeom prst="rect">
            <a:avLst/>
          </a:prstGeom>
        </p:spPr>
      </p:pic>
      <p:sp>
        <p:nvSpPr>
          <p:cNvPr id="108" name="Rectangle 145"/>
          <p:cNvSpPr/>
          <p:nvPr/>
        </p:nvSpPr>
        <p:spPr bwMode="auto">
          <a:xfrm>
            <a:off x="718897" y="5436715"/>
            <a:ext cx="1821468" cy="3831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2C812"/>
                </a:solidFill>
                <a:effectLst/>
                <a:uLnTx/>
                <a:uFillTx/>
                <a:latin typeface="Segoe UI"/>
                <a:ea typeface="+mn-ea"/>
                <a:cs typeface="Segoe UI Light" panose="020B0502040204020203" pitchFamily="34" charset="0"/>
              </a:rPr>
              <a:t>Connect from Excel</a:t>
            </a:r>
          </a:p>
        </p:txBody>
      </p:sp>
      <p:sp>
        <p:nvSpPr>
          <p:cNvPr id="109" name="Oval 162"/>
          <p:cNvSpPr/>
          <p:nvPr/>
        </p:nvSpPr>
        <p:spPr bwMode="auto">
          <a:xfrm>
            <a:off x="231441" y="5429649"/>
            <a:ext cx="433844" cy="433844"/>
          </a:xfrm>
          <a:prstGeom prst="ellipse">
            <a:avLst/>
          </a:prstGeom>
          <a:solidFill>
            <a:srgbClr val="FFCC00"/>
          </a:solidFill>
          <a:ln>
            <a:solidFill>
              <a:srgbClr val="F2C81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10" name="Picture 109"/>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flipH="1">
            <a:off x="283763" y="4596680"/>
            <a:ext cx="357484" cy="357484"/>
          </a:xfrm>
          <a:prstGeom prst="rect">
            <a:avLst/>
          </a:prstGeom>
        </p:spPr>
      </p:pic>
      <p:sp>
        <p:nvSpPr>
          <p:cNvPr id="111" name="Oval 162"/>
          <p:cNvSpPr/>
          <p:nvPr/>
        </p:nvSpPr>
        <p:spPr bwMode="auto">
          <a:xfrm>
            <a:off x="233032" y="6267344"/>
            <a:ext cx="433844" cy="433844"/>
          </a:xfrm>
          <a:prstGeom prst="ellipse">
            <a:avLst/>
          </a:prstGeom>
          <a:solidFill>
            <a:srgbClr val="FFCC00"/>
          </a:solidFill>
          <a:ln>
            <a:solidFill>
              <a:srgbClr val="F2C81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2" name="Rectangle 145"/>
          <p:cNvSpPr/>
          <p:nvPr/>
        </p:nvSpPr>
        <p:spPr bwMode="auto">
          <a:xfrm>
            <a:off x="701416" y="6289969"/>
            <a:ext cx="1821468" cy="3831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2C812"/>
                </a:solidFill>
                <a:effectLst/>
                <a:uLnTx/>
                <a:uFillTx/>
                <a:latin typeface="Segoe UI"/>
                <a:ea typeface="+mn-ea"/>
                <a:cs typeface="Segoe UI Light" panose="020B0502040204020203" pitchFamily="34" charset="0"/>
              </a:rPr>
              <a:t>Mobile Reports</a:t>
            </a:r>
          </a:p>
        </p:txBody>
      </p:sp>
      <p:pic>
        <p:nvPicPr>
          <p:cNvPr id="113" name="Picture 112"/>
          <p:cNvPicPr>
            <a:picLocks noChangeAspect="1"/>
          </p:cNvPicPr>
          <p:nvPr/>
        </p:nvPicPr>
        <p:blipFill>
          <a:blip r:embed="rId7" cstate="print">
            <a:extLst>
              <a:ext uri="{BEBA8EAE-BF5A-486C-A8C5-ECC9F3942E4B}">
                <a14:imgProps xmlns:a14="http://schemas.microsoft.com/office/drawing/2010/main">
                  <a14:imgLayer r:embed="rId8">
                    <a14:imgEffect>
                      <a14:saturation sat="0"/>
                    </a14:imgEffect>
                  </a14:imgLayer>
                </a14:imgProps>
              </a:ext>
              <a:ext uri="{28A0092B-C50C-407E-A947-70E740481C1C}">
                <a14:useLocalDpi xmlns:a14="http://schemas.microsoft.com/office/drawing/2010/main" val="0"/>
              </a:ext>
            </a:extLst>
          </a:blip>
          <a:stretch>
            <a:fillRect/>
          </a:stretch>
        </p:blipFill>
        <p:spPr>
          <a:xfrm>
            <a:off x="391946" y="6350039"/>
            <a:ext cx="133350" cy="251587"/>
          </a:xfrm>
          <a:prstGeom prst="rect">
            <a:avLst/>
          </a:prstGeom>
        </p:spPr>
      </p:pic>
      <p:pic>
        <p:nvPicPr>
          <p:cNvPr id="114" name="Picture 113"/>
          <p:cNvPicPr>
            <a:picLocks noChangeAspect="1"/>
          </p:cNvPicPr>
          <p:nvPr/>
        </p:nvPicPr>
        <p:blipFill>
          <a:blip r:embed="rId9" cstate="print">
            <a:biLevel thresh="50000"/>
            <a:extLst>
              <a:ext uri="{28A0092B-C50C-407E-A947-70E740481C1C}">
                <a14:useLocalDpi xmlns:a14="http://schemas.microsoft.com/office/drawing/2010/main" val="0"/>
              </a:ext>
            </a:extLst>
          </a:blip>
          <a:stretch>
            <a:fillRect/>
          </a:stretch>
        </p:blipFill>
        <p:spPr>
          <a:xfrm>
            <a:off x="332658" y="5538489"/>
            <a:ext cx="268940" cy="268940"/>
          </a:xfrm>
          <a:prstGeom prst="rect">
            <a:avLst/>
          </a:prstGeom>
        </p:spPr>
      </p:pic>
      <p:sp>
        <p:nvSpPr>
          <p:cNvPr id="115" name="Rectangle 114"/>
          <p:cNvSpPr/>
          <p:nvPr/>
        </p:nvSpPr>
        <p:spPr bwMode="auto">
          <a:xfrm>
            <a:off x="35912" y="5223435"/>
            <a:ext cx="2464420" cy="1564989"/>
          </a:xfrm>
          <a:prstGeom prst="rect">
            <a:avLst/>
          </a:prstGeom>
          <a:solidFill>
            <a:srgbClr val="000000">
              <a:alpha val="6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6" name="Rectangle 115"/>
          <p:cNvSpPr/>
          <p:nvPr/>
        </p:nvSpPr>
        <p:spPr bwMode="auto">
          <a:xfrm>
            <a:off x="95936" y="731575"/>
            <a:ext cx="2464420" cy="3635751"/>
          </a:xfrm>
          <a:prstGeom prst="rect">
            <a:avLst/>
          </a:prstGeom>
          <a:solidFill>
            <a:srgbClr val="000000">
              <a:alpha val="6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1990576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4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2" grpId="0" animBg="1"/>
    </p:bldLst>
  </p:timing>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 name="Title 10"/>
          <p:cNvSpPr txBox="1">
            <a:spLocks/>
          </p:cNvSpPr>
          <p:nvPr/>
        </p:nvSpPr>
        <p:spPr>
          <a:xfrm>
            <a:off x="2849060" y="0"/>
            <a:ext cx="9342940" cy="665151"/>
          </a:xfrm>
          <a:prstGeom prst="rect">
            <a:avLst/>
          </a:prstGeom>
          <a:noFill/>
        </p:spPr>
        <p:txBody>
          <a:bodyPr vert="horz" wrap="square" lIns="0" tIns="91440" rIns="0" bIns="91440" rtlCol="0" anchor="t">
            <a:noAutofit/>
          </a:bodyPr>
          <a:lstStyle>
            <a:lvl1pPr defTabSz="914367">
              <a:lnSpc>
                <a:spcPct val="90000"/>
              </a:lnSpc>
              <a:spcBef>
                <a:spcPct val="0"/>
              </a:spcBef>
              <a:buNone/>
              <a:defRPr lang="en-US" sz="5294" b="0" cap="none" spc="-100" baseline="0" dirty="0" smtClean="0">
                <a:ln w="3175">
                  <a:noFill/>
                </a:ln>
                <a:solidFill>
                  <a:schemeClr val="tx2"/>
                </a:solidFill>
                <a:effectLst/>
                <a:latin typeface="+mj-lt"/>
                <a:cs typeface="Segoe UI" pitchFamily="34" charset="0"/>
              </a:defRPr>
            </a:lvl1pPr>
          </a:lstStyle>
          <a:p>
            <a:pPr marL="168275" marR="0" lvl="0" indent="0" algn="l" defTabSz="914367" rtl="0" eaLnBrk="1" fontAlgn="auto" latinLnBrk="0" hangingPunct="1">
              <a:lnSpc>
                <a:spcPct val="90000"/>
              </a:lnSpc>
              <a:spcBef>
                <a:spcPct val="0"/>
              </a:spcBef>
              <a:spcAft>
                <a:spcPts val="0"/>
              </a:spcAft>
              <a:buClrTx/>
              <a:buSzTx/>
              <a:buFontTx/>
              <a:buNone/>
              <a:tabLst/>
              <a:defRPr/>
            </a:pPr>
            <a:r>
              <a:rPr kumimoji="0" lang="en-US" sz="3600" b="0" i="0" u="none" strike="noStrike" kern="1200" cap="none" spc="-100" normalizeH="0" baseline="0" noProof="0">
                <a:ln w="3175">
                  <a:noFill/>
                </a:ln>
                <a:solidFill>
                  <a:prstClr val="black"/>
                </a:solidFill>
                <a:effectLst/>
                <a:uLnTx/>
                <a:uFillTx/>
                <a:latin typeface="Segoe UI Light"/>
                <a:ea typeface="+mn-ea"/>
                <a:cs typeface="Segoe UI" pitchFamily="34" charset="0"/>
              </a:rPr>
              <a:t>Sharing</a:t>
            </a:r>
            <a:endParaRPr kumimoji="0" lang="en-IN" sz="3600" b="0" i="0" u="none" strike="noStrike" kern="1200" cap="none" spc="-100" normalizeH="0" baseline="0" noProof="0">
              <a:ln w="3175">
                <a:noFill/>
              </a:ln>
              <a:solidFill>
                <a:prstClr val="black"/>
              </a:solidFill>
              <a:effectLst/>
              <a:uLnTx/>
              <a:uFillTx/>
              <a:latin typeface="Segoe UI Light"/>
              <a:ea typeface="+mn-ea"/>
              <a:cs typeface="Segoe UI" pitchFamily="34" charset="0"/>
            </a:endParaRPr>
          </a:p>
        </p:txBody>
      </p:sp>
      <p:sp>
        <p:nvSpPr>
          <p:cNvPr id="41" name="Rectangle 3"/>
          <p:cNvSpPr/>
          <p:nvPr/>
        </p:nvSpPr>
        <p:spPr bwMode="auto">
          <a:xfrm>
            <a:off x="3202216" y="704712"/>
            <a:ext cx="8105312" cy="44435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PT" sz="2000" b="0" i="1" u="none" strike="noStrike" kern="1200" cap="none" spc="0" normalizeH="0" baseline="0" noProof="0">
                <a:ln>
                  <a:noFill/>
                </a:ln>
                <a:solidFill>
                  <a:prstClr val="black"/>
                </a:solidFill>
                <a:effectLst/>
                <a:uLnTx/>
                <a:uFillTx/>
                <a:latin typeface="Segoe UI Light"/>
                <a:ea typeface="+mn-ea"/>
                <a:cs typeface="+mn-cs"/>
              </a:rPr>
              <a:t>Peer-to-peer/Peer-to-distribution group</a:t>
            </a:r>
            <a:endParaRPr kumimoji="0" lang="en-US" sz="2000" b="0" i="1" u="none" strike="noStrike" kern="1200" cap="none" spc="0" normalizeH="0" baseline="0" noProof="0">
              <a:ln>
                <a:noFill/>
              </a:ln>
              <a:solidFill>
                <a:prstClr val="black"/>
              </a:solidFill>
              <a:effectLst/>
              <a:uLnTx/>
              <a:uFillTx/>
              <a:latin typeface="Segoe UI Light"/>
              <a:ea typeface="+mn-ea"/>
              <a:cs typeface="+mn-cs"/>
            </a:endParaRPr>
          </a:p>
        </p:txBody>
      </p:sp>
      <p:sp>
        <p:nvSpPr>
          <p:cNvPr id="87" name="Text Placeholder 2"/>
          <p:cNvSpPr txBox="1">
            <a:spLocks/>
          </p:cNvSpPr>
          <p:nvPr/>
        </p:nvSpPr>
        <p:spPr>
          <a:xfrm>
            <a:off x="2953103" y="1798811"/>
            <a:ext cx="3666014" cy="897374"/>
          </a:xfrm>
          <a:prstGeom prst="rect">
            <a:avLst/>
          </a:prstGeom>
        </p:spPr>
        <p:txBody>
          <a:bodyPr vert="horz" wrap="square" lIns="182880" tIns="146304" rIns="182880" bIns="146304" rtlCol="0">
            <a:noAutofit/>
          </a:bodyPr>
          <a:lstStyle>
            <a:lvl1pPr marL="182845" marR="0"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3921" kern="1200" spc="0" baseline="0">
                <a:gradFill>
                  <a:gsLst>
                    <a:gs pos="1250">
                      <a:schemeClr val="tx2"/>
                    </a:gs>
                    <a:gs pos="99000">
                      <a:schemeClr val="tx2"/>
                    </a:gs>
                  </a:gsLst>
                  <a:lin ang="5400000" scaled="0"/>
                </a:gradFill>
                <a:latin typeface="+mj-lt"/>
                <a:ea typeface="+mn-ea"/>
                <a:cs typeface="+mn-cs"/>
              </a:defRPr>
            </a:lvl1pPr>
            <a:lvl2pPr marL="365690" marR="0"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2400" kern="1200" spc="0" baseline="0">
                <a:solidFill>
                  <a:schemeClr val="tx2"/>
                </a:solidFill>
                <a:latin typeface="+mj-lt"/>
                <a:ea typeface="+mn-ea"/>
                <a:cs typeface="+mn-cs"/>
              </a:defRPr>
            </a:lvl2pPr>
            <a:lvl3pPr marL="548535" marR="0"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2000" kern="1200" spc="0" baseline="0">
                <a:solidFill>
                  <a:schemeClr val="tx2"/>
                </a:solidFill>
                <a:latin typeface="+mj-lt"/>
                <a:ea typeface="+mn-ea"/>
                <a:cs typeface="+mn-cs"/>
              </a:defRPr>
            </a:lvl3pPr>
            <a:lvl4pPr marL="733802" marR="0" indent="-28569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1765" kern="1200" spc="0" baseline="0">
                <a:solidFill>
                  <a:schemeClr val="tx2"/>
                </a:solidFill>
                <a:latin typeface="+mn-lt"/>
                <a:ea typeface="+mn-ea"/>
                <a:cs typeface="+mn-cs"/>
              </a:defRPr>
            </a:lvl4pPr>
            <a:lvl5pPr marL="957856" marR="0" indent="-28569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1765" kern="1200" spc="0" baseline="0">
                <a:solidFill>
                  <a:schemeClr val="tx2"/>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r>
              <a:rPr kumimoji="0" lang="en-US" sz="2000" b="0" i="0" u="none" strike="noStrike" kern="1200" cap="none" spc="0" normalizeH="0" baseline="0" noProof="0">
                <a:ln>
                  <a:noFill/>
                </a:ln>
                <a:solidFill>
                  <a:srgbClr val="000000"/>
                </a:solidFill>
                <a:effectLst/>
                <a:uLnTx/>
                <a:uFillTx/>
                <a:latin typeface="Segoe UI Light"/>
                <a:ea typeface="+mn-ea"/>
                <a:cs typeface="+mn-cs"/>
              </a:rPr>
              <a:t>Recipient e-mail can be a </a:t>
            </a:r>
            <a:r>
              <a:rPr kumimoji="0" lang="en-US" sz="2000" b="1" i="0" u="none" strike="noStrike" kern="1200" cap="none" spc="0" normalizeH="0" baseline="0" noProof="0">
                <a:ln>
                  <a:noFill/>
                </a:ln>
                <a:solidFill>
                  <a:srgbClr val="000000"/>
                </a:solidFill>
                <a:effectLst/>
                <a:uLnTx/>
                <a:uFillTx/>
                <a:latin typeface="Segoe UI Light"/>
                <a:ea typeface="+mn-ea"/>
                <a:cs typeface="+mn-cs"/>
              </a:rPr>
              <a:t>distribution group </a:t>
            </a:r>
            <a:r>
              <a:rPr kumimoji="0" lang="en-US" sz="2000" b="0" i="0" u="none" strike="noStrike" kern="1200" cap="none" spc="0" normalizeH="0" baseline="0" noProof="0">
                <a:ln>
                  <a:noFill/>
                </a:ln>
                <a:solidFill>
                  <a:srgbClr val="000000"/>
                </a:solidFill>
                <a:effectLst/>
                <a:uLnTx/>
                <a:uFillTx/>
                <a:latin typeface="Segoe UI Light"/>
                <a:ea typeface="+mn-ea"/>
                <a:cs typeface="+mn-cs"/>
              </a:rPr>
              <a:t>(if using O365 for email)</a:t>
            </a: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0" i="0" u="none" strike="noStrike" kern="1200" cap="none" spc="0" normalizeH="0" baseline="0" noProof="0">
              <a:ln>
                <a:noFill/>
              </a:ln>
              <a:solidFill>
                <a:srgbClr val="000000"/>
              </a:solidFill>
              <a:effectLst/>
              <a:uLnTx/>
              <a:uFillTx/>
              <a:latin typeface="Segoe UI Light"/>
              <a:ea typeface="+mn-ea"/>
              <a:cs typeface="+mn-cs"/>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r>
              <a:rPr kumimoji="0" lang="en-US" sz="2000" b="0" i="0" u="none" strike="noStrike" kern="1200" cap="none" spc="0" normalizeH="0" baseline="0" noProof="0">
                <a:ln>
                  <a:noFill/>
                </a:ln>
                <a:solidFill>
                  <a:srgbClr val="000000"/>
                </a:solidFill>
                <a:effectLst/>
                <a:uLnTx/>
                <a:uFillTx/>
                <a:latin typeface="Segoe UI Light"/>
                <a:ea typeface="+mn-ea"/>
                <a:cs typeface="+mn-cs"/>
              </a:rPr>
              <a:t>Can </a:t>
            </a:r>
            <a:r>
              <a:rPr kumimoji="0" lang="en-US" sz="2000" b="1" i="0" u="none" strike="noStrike" kern="1200" cap="none" spc="0" normalizeH="0" baseline="0" noProof="0">
                <a:ln>
                  <a:noFill/>
                </a:ln>
                <a:solidFill>
                  <a:srgbClr val="000000"/>
                </a:solidFill>
                <a:effectLst/>
                <a:uLnTx/>
                <a:uFillTx/>
                <a:latin typeface="Segoe UI Light"/>
                <a:ea typeface="+mn-ea"/>
                <a:cs typeface="+mn-cs"/>
              </a:rPr>
              <a:t>control if recipients can re-share</a:t>
            </a: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0" i="0" u="none" strike="noStrike" kern="1200" cap="none" spc="0" normalizeH="0" baseline="0" noProof="0">
              <a:ln>
                <a:noFill/>
              </a:ln>
              <a:solidFill>
                <a:srgbClr val="000000"/>
              </a:solidFill>
              <a:effectLst/>
              <a:uLnTx/>
              <a:uFillTx/>
              <a:latin typeface="Segoe UI Light"/>
              <a:ea typeface="+mn-ea"/>
              <a:cs typeface="+mn-cs"/>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r>
              <a:rPr kumimoji="0" lang="en-US" sz="2000" b="0" i="0" u="none" strike="noStrike" kern="1200" cap="none" spc="0" normalizeH="0" baseline="0" noProof="0">
                <a:ln>
                  <a:noFill/>
                </a:ln>
                <a:solidFill>
                  <a:srgbClr val="000000"/>
                </a:solidFill>
                <a:effectLst/>
                <a:uLnTx/>
                <a:uFillTx/>
                <a:latin typeface="Segoe UI Light"/>
                <a:ea typeface="+mn-ea"/>
                <a:cs typeface="+mn-cs"/>
              </a:rPr>
              <a:t>Recipients get an </a:t>
            </a:r>
            <a:r>
              <a:rPr kumimoji="0" lang="en-US" sz="2000" b="1" i="0" u="none" strike="noStrike" kern="1200" cap="none" spc="0" normalizeH="0" baseline="0" noProof="0">
                <a:ln>
                  <a:noFill/>
                </a:ln>
                <a:solidFill>
                  <a:srgbClr val="000000"/>
                </a:solidFill>
                <a:effectLst/>
                <a:uLnTx/>
                <a:uFillTx/>
                <a:latin typeface="Segoe UI Light"/>
                <a:ea typeface="+mn-ea"/>
                <a:cs typeface="+mn-cs"/>
              </a:rPr>
              <a:t>e-mail with a link </a:t>
            </a:r>
            <a:r>
              <a:rPr kumimoji="0" lang="en-US" sz="2000" b="0" i="0" u="none" strike="noStrike" kern="1200" cap="none" spc="0" normalizeH="0" baseline="0" noProof="0">
                <a:ln>
                  <a:noFill/>
                </a:ln>
                <a:solidFill>
                  <a:srgbClr val="000000"/>
                </a:solidFill>
                <a:effectLst/>
                <a:uLnTx/>
                <a:uFillTx/>
                <a:latin typeface="Segoe UI Light"/>
                <a:ea typeface="+mn-ea"/>
                <a:cs typeface="+mn-cs"/>
              </a:rPr>
              <a:t>(lasts one month)</a:t>
            </a:r>
            <a:endParaRPr kumimoji="0" lang="en-US" sz="2000" b="1" i="0" u="none" strike="noStrike" kern="1200" cap="none" spc="0" normalizeH="0" baseline="0" noProof="0">
              <a:ln>
                <a:noFill/>
              </a:ln>
              <a:solidFill>
                <a:srgbClr val="000000"/>
              </a:solidFill>
              <a:effectLst/>
              <a:uLnTx/>
              <a:uFillTx/>
              <a:latin typeface="Segoe UI Light"/>
              <a:ea typeface="+mn-ea"/>
              <a:cs typeface="+mn-cs"/>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0" i="0" u="none" strike="noStrike" kern="1200" cap="none" spc="0" normalizeH="0" baseline="0" noProof="0">
              <a:ln>
                <a:noFill/>
              </a:ln>
              <a:solidFill>
                <a:srgbClr val="000000"/>
              </a:solidFill>
              <a:effectLst/>
              <a:uLnTx/>
              <a:uFillTx/>
              <a:latin typeface="Segoe UI Light"/>
              <a:ea typeface="+mn-ea"/>
              <a:cs typeface="+mn-cs"/>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r>
              <a:rPr kumimoji="0" lang="en-US" sz="2000" b="0" i="0" u="none" strike="noStrike" kern="1200" cap="none" spc="0" normalizeH="0" baseline="0" noProof="0">
                <a:ln>
                  <a:noFill/>
                </a:ln>
                <a:solidFill>
                  <a:srgbClr val="000000"/>
                </a:solidFill>
                <a:effectLst/>
                <a:uLnTx/>
                <a:uFillTx/>
                <a:latin typeface="Segoe UI Light"/>
                <a:ea typeface="+mn-ea"/>
                <a:cs typeface="+mn-cs"/>
              </a:rPr>
              <a:t>A shared dashboard appears with the symbol</a:t>
            </a: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0" i="0" u="none" strike="noStrike" kern="1200" cap="none" spc="0" normalizeH="0" baseline="0" noProof="0">
              <a:ln>
                <a:noFill/>
              </a:ln>
              <a:solidFill>
                <a:srgbClr val="000000"/>
              </a:solidFill>
              <a:effectLst/>
              <a:uLnTx/>
              <a:uFillTx/>
              <a:latin typeface="Segoe UI Light"/>
              <a:ea typeface="+mn-ea"/>
              <a:cs typeface="+mn-cs"/>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0" i="0" u="none" strike="noStrike" kern="1200" cap="none" spc="0" normalizeH="0" baseline="0" noProof="0">
              <a:ln>
                <a:noFill/>
              </a:ln>
              <a:solidFill>
                <a:srgbClr val="000000"/>
              </a:solidFill>
              <a:effectLst/>
              <a:uLnTx/>
              <a:uFillTx/>
              <a:latin typeface="Segoe UI Light"/>
              <a:ea typeface="+mn-ea"/>
              <a:cs typeface="+mn-cs"/>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p:txBody>
      </p:sp>
      <p:pic>
        <p:nvPicPr>
          <p:cNvPr id="3" name="Picture 2"/>
          <p:cNvPicPr>
            <a:picLocks noChangeAspect="1"/>
          </p:cNvPicPr>
          <p:nvPr/>
        </p:nvPicPr>
        <p:blipFill>
          <a:blip r:embed="rId3"/>
          <a:stretch>
            <a:fillRect/>
          </a:stretch>
        </p:blipFill>
        <p:spPr>
          <a:xfrm>
            <a:off x="6994956" y="2015536"/>
            <a:ext cx="4915019" cy="3773389"/>
          </a:xfrm>
          <a:prstGeom prst="rect">
            <a:avLst/>
          </a:prstGeom>
          <a:ln>
            <a:noFill/>
          </a:ln>
          <a:effectLst>
            <a:outerShdw blurRad="190500" algn="tl" rotWithShape="0">
              <a:srgbClr val="000000">
                <a:alpha val="70000"/>
              </a:srgbClr>
            </a:outerShdw>
          </a:effectLst>
        </p:spPr>
      </p:pic>
      <p:pic>
        <p:nvPicPr>
          <p:cNvPr id="4" name="Picture 3"/>
          <p:cNvPicPr>
            <a:picLocks noChangeAspect="1"/>
          </p:cNvPicPr>
          <p:nvPr/>
        </p:nvPicPr>
        <p:blipFill>
          <a:blip r:embed="rId4"/>
          <a:stretch>
            <a:fillRect/>
          </a:stretch>
        </p:blipFill>
        <p:spPr>
          <a:xfrm>
            <a:off x="6214719" y="5483116"/>
            <a:ext cx="404398" cy="439563"/>
          </a:xfrm>
          <a:prstGeom prst="rect">
            <a:avLst/>
          </a:prstGeom>
        </p:spPr>
      </p:pic>
      <p:grpSp>
        <p:nvGrpSpPr>
          <p:cNvPr id="42" name="Group 41"/>
          <p:cNvGrpSpPr/>
          <p:nvPr/>
        </p:nvGrpSpPr>
        <p:grpSpPr>
          <a:xfrm>
            <a:off x="-2887" y="973"/>
            <a:ext cx="2849058" cy="6857027"/>
            <a:chOff x="2" y="487"/>
            <a:chExt cx="2849058" cy="6857027"/>
          </a:xfrm>
        </p:grpSpPr>
        <p:sp>
          <p:nvSpPr>
            <p:cNvPr id="51" name="Rectangle 15"/>
            <p:cNvSpPr/>
            <p:nvPr/>
          </p:nvSpPr>
          <p:spPr bwMode="auto">
            <a:xfrm>
              <a:off x="2" y="487"/>
              <a:ext cx="2849058" cy="685702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0" name="Rectangle 145"/>
            <p:cNvSpPr/>
            <p:nvPr/>
          </p:nvSpPr>
          <p:spPr bwMode="auto">
            <a:xfrm>
              <a:off x="696152" y="956997"/>
              <a:ext cx="1821468" cy="3831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2C812"/>
                  </a:solidFill>
                  <a:effectLst/>
                  <a:uLnTx/>
                  <a:uFillTx/>
                  <a:latin typeface="Segoe UI"/>
                  <a:ea typeface="+mn-ea"/>
                  <a:cs typeface="Segoe UI Light" panose="020B0502040204020203" pitchFamily="34" charset="0"/>
                </a:rPr>
                <a:t>Get Data</a:t>
              </a:r>
              <a:endParaRPr kumimoji="0" lang="en-US" sz="1200" b="1" i="1" u="none" strike="noStrike" kern="1200" cap="none" spc="0" normalizeH="0" baseline="0" noProof="0">
                <a:ln>
                  <a:noFill/>
                </a:ln>
                <a:solidFill>
                  <a:srgbClr val="F2C812"/>
                </a:solidFill>
                <a:effectLst/>
                <a:uLnTx/>
                <a:uFillTx/>
                <a:latin typeface="Segoe UI"/>
                <a:ea typeface="+mn-ea"/>
                <a:cs typeface="Segoe UI Light" panose="020B0502040204020203" pitchFamily="34" charset="0"/>
              </a:endParaRPr>
            </a:p>
          </p:txBody>
        </p:sp>
        <p:grpSp>
          <p:nvGrpSpPr>
            <p:cNvPr id="81" name="Group 80"/>
            <p:cNvGrpSpPr/>
            <p:nvPr/>
          </p:nvGrpSpPr>
          <p:grpSpPr>
            <a:xfrm>
              <a:off x="219373" y="934583"/>
              <a:ext cx="433844" cy="433844"/>
              <a:chOff x="440005" y="997815"/>
              <a:chExt cx="296322" cy="296322"/>
            </a:xfrm>
          </p:grpSpPr>
          <p:sp>
            <p:nvSpPr>
              <p:cNvPr id="101" name="Oval 147"/>
              <p:cNvSpPr/>
              <p:nvPr/>
            </p:nvSpPr>
            <p:spPr bwMode="auto">
              <a:xfrm>
                <a:off x="440005" y="997815"/>
                <a:ext cx="296322" cy="296322"/>
              </a:xfrm>
              <a:prstGeom prst="ellipse">
                <a:avLst/>
              </a:prstGeom>
              <a:solidFill>
                <a:srgbClr val="FFCC00"/>
              </a:solidFill>
              <a:ln>
                <a:solidFill>
                  <a:srgbClr val="F2C81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02" name="Group 332"/>
              <p:cNvGrpSpPr/>
              <p:nvPr/>
            </p:nvGrpSpPr>
            <p:grpSpPr>
              <a:xfrm>
                <a:off x="482167" y="1059311"/>
                <a:ext cx="211997" cy="173292"/>
                <a:chOff x="2123129" y="293070"/>
                <a:chExt cx="2472585" cy="2021178"/>
              </a:xfrm>
            </p:grpSpPr>
            <p:sp>
              <p:nvSpPr>
                <p:cNvPr id="103" name="Freeform 13"/>
                <p:cNvSpPr>
                  <a:spLocks/>
                </p:cNvSpPr>
                <p:nvPr/>
              </p:nvSpPr>
              <p:spPr bwMode="auto">
                <a:xfrm rot="20700000">
                  <a:off x="3155853" y="872796"/>
                  <a:ext cx="1439861" cy="1441452"/>
                </a:xfrm>
                <a:custGeom>
                  <a:avLst/>
                  <a:gdLst>
                    <a:gd name="T0" fmla="*/ 138 w 441"/>
                    <a:gd name="T1" fmla="*/ 341 h 441"/>
                    <a:gd name="T2" fmla="*/ 183 w 441"/>
                    <a:gd name="T3" fmla="*/ 374 h 441"/>
                    <a:gd name="T4" fmla="*/ 220 w 441"/>
                    <a:gd name="T5" fmla="*/ 423 h 441"/>
                    <a:gd name="T6" fmla="*/ 422 w 441"/>
                    <a:gd name="T7" fmla="*/ 220 h 441"/>
                    <a:gd name="T8" fmla="*/ 373 w 441"/>
                    <a:gd name="T9" fmla="*/ 184 h 441"/>
                    <a:gd name="T10" fmla="*/ 341 w 441"/>
                    <a:gd name="T11" fmla="*/ 139 h 441"/>
                    <a:gd name="T12" fmla="*/ 382 w 441"/>
                    <a:gd name="T13" fmla="*/ 58 h 441"/>
                    <a:gd name="T14" fmla="*/ 302 w 441"/>
                    <a:gd name="T15" fmla="*/ 100 h 441"/>
                    <a:gd name="T16" fmla="*/ 257 w 441"/>
                    <a:gd name="T17" fmla="*/ 67 h 441"/>
                    <a:gd name="T18" fmla="*/ 220 w 441"/>
                    <a:gd name="T19" fmla="*/ 18 h 441"/>
                    <a:gd name="T20" fmla="*/ 171 w 441"/>
                    <a:gd name="T21" fmla="*/ 55 h 441"/>
                    <a:gd name="T22" fmla="*/ 138 w 441"/>
                    <a:gd name="T23" fmla="*/ 100 h 441"/>
                    <a:gd name="T24" fmla="*/ 180 w 441"/>
                    <a:gd name="T25" fmla="*/ 181 h 441"/>
                    <a:gd name="T26" fmla="*/ 100 w 441"/>
                    <a:gd name="T27" fmla="*/ 139 h 441"/>
                    <a:gd name="T28" fmla="*/ 55 w 441"/>
                    <a:gd name="T29" fmla="*/ 171 h 441"/>
                    <a:gd name="T30" fmla="*/ 18 w 441"/>
                    <a:gd name="T31" fmla="*/ 220 h 441"/>
                    <a:gd name="T32" fmla="*/ 67 w 441"/>
                    <a:gd name="T33" fmla="*/ 257 h 441"/>
                    <a:gd name="T34" fmla="*/ 100 w 441"/>
                    <a:gd name="T35" fmla="*/ 302 h 441"/>
                    <a:gd name="T36" fmla="*/ 58 w 441"/>
                    <a:gd name="T37" fmla="*/ 383 h 441"/>
                    <a:gd name="T38" fmla="*/ 138 w 441"/>
                    <a:gd name="T39" fmla="*/ 341 h 4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41" h="441">
                      <a:moveTo>
                        <a:pt x="138" y="341"/>
                      </a:moveTo>
                      <a:cubicBezTo>
                        <a:pt x="147" y="337"/>
                        <a:pt x="171" y="361"/>
                        <a:pt x="183" y="374"/>
                      </a:cubicBezTo>
                      <a:cubicBezTo>
                        <a:pt x="196" y="386"/>
                        <a:pt x="220" y="423"/>
                        <a:pt x="220" y="423"/>
                      </a:cubicBezTo>
                      <a:cubicBezTo>
                        <a:pt x="422" y="220"/>
                        <a:pt x="422" y="220"/>
                        <a:pt x="422" y="220"/>
                      </a:cubicBezTo>
                      <a:cubicBezTo>
                        <a:pt x="422" y="220"/>
                        <a:pt x="386" y="196"/>
                        <a:pt x="373" y="184"/>
                      </a:cubicBezTo>
                      <a:cubicBezTo>
                        <a:pt x="361" y="171"/>
                        <a:pt x="338" y="149"/>
                        <a:pt x="341" y="139"/>
                      </a:cubicBezTo>
                      <a:cubicBezTo>
                        <a:pt x="343" y="129"/>
                        <a:pt x="441" y="116"/>
                        <a:pt x="382" y="58"/>
                      </a:cubicBezTo>
                      <a:cubicBezTo>
                        <a:pt x="324" y="0"/>
                        <a:pt x="310" y="96"/>
                        <a:pt x="302" y="100"/>
                      </a:cubicBezTo>
                      <a:cubicBezTo>
                        <a:pt x="294" y="104"/>
                        <a:pt x="269" y="80"/>
                        <a:pt x="257" y="67"/>
                      </a:cubicBezTo>
                      <a:cubicBezTo>
                        <a:pt x="245" y="55"/>
                        <a:pt x="220" y="18"/>
                        <a:pt x="220" y="18"/>
                      </a:cubicBezTo>
                      <a:cubicBezTo>
                        <a:pt x="220" y="18"/>
                        <a:pt x="183" y="43"/>
                        <a:pt x="171" y="55"/>
                      </a:cubicBezTo>
                      <a:cubicBezTo>
                        <a:pt x="159" y="67"/>
                        <a:pt x="134" y="92"/>
                        <a:pt x="138" y="100"/>
                      </a:cubicBezTo>
                      <a:cubicBezTo>
                        <a:pt x="142" y="108"/>
                        <a:pt x="238" y="122"/>
                        <a:pt x="180" y="181"/>
                      </a:cubicBezTo>
                      <a:cubicBezTo>
                        <a:pt x="122" y="239"/>
                        <a:pt x="110" y="141"/>
                        <a:pt x="100" y="139"/>
                      </a:cubicBezTo>
                      <a:cubicBezTo>
                        <a:pt x="89" y="137"/>
                        <a:pt x="67" y="159"/>
                        <a:pt x="55" y="171"/>
                      </a:cubicBezTo>
                      <a:cubicBezTo>
                        <a:pt x="42" y="184"/>
                        <a:pt x="18" y="220"/>
                        <a:pt x="18" y="220"/>
                      </a:cubicBezTo>
                      <a:cubicBezTo>
                        <a:pt x="18" y="220"/>
                        <a:pt x="55" y="245"/>
                        <a:pt x="67" y="257"/>
                      </a:cubicBezTo>
                      <a:cubicBezTo>
                        <a:pt x="79" y="269"/>
                        <a:pt x="102" y="292"/>
                        <a:pt x="100" y="302"/>
                      </a:cubicBezTo>
                      <a:cubicBezTo>
                        <a:pt x="98" y="312"/>
                        <a:pt x="0" y="325"/>
                        <a:pt x="58" y="383"/>
                      </a:cubicBezTo>
                      <a:cubicBezTo>
                        <a:pt x="116" y="441"/>
                        <a:pt x="130" y="345"/>
                        <a:pt x="138" y="341"/>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104" name="Freeform 14"/>
                <p:cNvSpPr>
                  <a:spLocks/>
                </p:cNvSpPr>
                <p:nvPr/>
              </p:nvSpPr>
              <p:spPr bwMode="auto">
                <a:xfrm rot="9900000">
                  <a:off x="2123129" y="293070"/>
                  <a:ext cx="1377948" cy="1377947"/>
                </a:xfrm>
                <a:custGeom>
                  <a:avLst/>
                  <a:gdLst>
                    <a:gd name="T0" fmla="*/ 422 w 422"/>
                    <a:gd name="T1" fmla="*/ 220 h 422"/>
                    <a:gd name="T2" fmla="*/ 386 w 422"/>
                    <a:gd name="T3" fmla="*/ 171 h 422"/>
                    <a:gd name="T4" fmla="*/ 341 w 422"/>
                    <a:gd name="T5" fmla="*/ 138 h 422"/>
                    <a:gd name="T6" fmla="*/ 260 w 422"/>
                    <a:gd name="T7" fmla="*/ 180 h 422"/>
                    <a:gd name="T8" fmla="*/ 302 w 422"/>
                    <a:gd name="T9" fmla="*/ 100 h 422"/>
                    <a:gd name="T10" fmla="*/ 269 w 422"/>
                    <a:gd name="T11" fmla="*/ 55 h 422"/>
                    <a:gd name="T12" fmla="*/ 220 w 422"/>
                    <a:gd name="T13" fmla="*/ 18 h 422"/>
                    <a:gd name="T14" fmla="*/ 183 w 422"/>
                    <a:gd name="T15" fmla="*/ 67 h 422"/>
                    <a:gd name="T16" fmla="*/ 138 w 422"/>
                    <a:gd name="T17" fmla="*/ 100 h 422"/>
                    <a:gd name="T18" fmla="*/ 58 w 422"/>
                    <a:gd name="T19" fmla="*/ 58 h 422"/>
                    <a:gd name="T20" fmla="*/ 100 w 422"/>
                    <a:gd name="T21" fmla="*/ 138 h 422"/>
                    <a:gd name="T22" fmla="*/ 67 w 422"/>
                    <a:gd name="T23" fmla="*/ 183 h 422"/>
                    <a:gd name="T24" fmla="*/ 18 w 422"/>
                    <a:gd name="T25" fmla="*/ 220 h 422"/>
                    <a:gd name="T26" fmla="*/ 55 w 422"/>
                    <a:gd name="T27" fmla="*/ 269 h 422"/>
                    <a:gd name="T28" fmla="*/ 100 w 422"/>
                    <a:gd name="T29" fmla="*/ 302 h 422"/>
                    <a:gd name="T30" fmla="*/ 180 w 422"/>
                    <a:gd name="T31" fmla="*/ 260 h 422"/>
                    <a:gd name="T32" fmla="*/ 138 w 422"/>
                    <a:gd name="T33" fmla="*/ 341 h 422"/>
                    <a:gd name="T34" fmla="*/ 171 w 422"/>
                    <a:gd name="T35" fmla="*/ 386 h 422"/>
                    <a:gd name="T36" fmla="*/ 220 w 422"/>
                    <a:gd name="T37" fmla="*/ 422 h 422"/>
                    <a:gd name="T38" fmla="*/ 422 w 422"/>
                    <a:gd name="T39" fmla="*/ 220 h 4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22" h="422">
                      <a:moveTo>
                        <a:pt x="422" y="220"/>
                      </a:moveTo>
                      <a:cubicBezTo>
                        <a:pt x="422" y="220"/>
                        <a:pt x="398" y="183"/>
                        <a:pt x="386" y="171"/>
                      </a:cubicBezTo>
                      <a:cubicBezTo>
                        <a:pt x="373" y="159"/>
                        <a:pt x="349" y="134"/>
                        <a:pt x="341" y="138"/>
                      </a:cubicBezTo>
                      <a:cubicBezTo>
                        <a:pt x="332" y="142"/>
                        <a:pt x="318" y="239"/>
                        <a:pt x="260" y="180"/>
                      </a:cubicBezTo>
                      <a:cubicBezTo>
                        <a:pt x="202" y="122"/>
                        <a:pt x="300" y="110"/>
                        <a:pt x="302" y="100"/>
                      </a:cubicBezTo>
                      <a:cubicBezTo>
                        <a:pt x="304" y="90"/>
                        <a:pt x="281" y="67"/>
                        <a:pt x="269" y="55"/>
                      </a:cubicBezTo>
                      <a:cubicBezTo>
                        <a:pt x="257" y="42"/>
                        <a:pt x="220" y="18"/>
                        <a:pt x="220" y="18"/>
                      </a:cubicBezTo>
                      <a:cubicBezTo>
                        <a:pt x="220" y="18"/>
                        <a:pt x="196" y="55"/>
                        <a:pt x="183" y="67"/>
                      </a:cubicBezTo>
                      <a:cubicBezTo>
                        <a:pt x="171" y="79"/>
                        <a:pt x="149" y="102"/>
                        <a:pt x="138" y="100"/>
                      </a:cubicBezTo>
                      <a:cubicBezTo>
                        <a:pt x="128" y="98"/>
                        <a:pt x="116" y="0"/>
                        <a:pt x="58" y="58"/>
                      </a:cubicBezTo>
                      <a:cubicBezTo>
                        <a:pt x="0" y="116"/>
                        <a:pt x="96" y="130"/>
                        <a:pt x="100" y="138"/>
                      </a:cubicBezTo>
                      <a:cubicBezTo>
                        <a:pt x="104" y="147"/>
                        <a:pt x="79" y="171"/>
                        <a:pt x="67" y="183"/>
                      </a:cubicBezTo>
                      <a:cubicBezTo>
                        <a:pt x="55" y="196"/>
                        <a:pt x="18" y="220"/>
                        <a:pt x="18" y="220"/>
                      </a:cubicBezTo>
                      <a:cubicBezTo>
                        <a:pt x="18" y="220"/>
                        <a:pt x="42" y="257"/>
                        <a:pt x="55" y="269"/>
                      </a:cubicBezTo>
                      <a:cubicBezTo>
                        <a:pt x="67" y="281"/>
                        <a:pt x="91" y="306"/>
                        <a:pt x="100" y="302"/>
                      </a:cubicBezTo>
                      <a:cubicBezTo>
                        <a:pt x="108" y="298"/>
                        <a:pt x="122" y="202"/>
                        <a:pt x="180" y="260"/>
                      </a:cubicBezTo>
                      <a:cubicBezTo>
                        <a:pt x="238" y="318"/>
                        <a:pt x="140" y="330"/>
                        <a:pt x="138" y="341"/>
                      </a:cubicBezTo>
                      <a:cubicBezTo>
                        <a:pt x="136" y="351"/>
                        <a:pt x="159" y="373"/>
                        <a:pt x="171" y="386"/>
                      </a:cubicBezTo>
                      <a:cubicBezTo>
                        <a:pt x="183" y="398"/>
                        <a:pt x="220" y="422"/>
                        <a:pt x="220" y="422"/>
                      </a:cubicBezTo>
                      <a:lnTo>
                        <a:pt x="422" y="22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grpSp>
        </p:grpSp>
        <p:sp>
          <p:nvSpPr>
            <p:cNvPr id="82" name="Rectangle 152"/>
            <p:cNvSpPr/>
            <p:nvPr/>
          </p:nvSpPr>
          <p:spPr bwMode="auto">
            <a:xfrm>
              <a:off x="669652" y="2738277"/>
              <a:ext cx="1805162" cy="37532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2C812"/>
                  </a:solidFill>
                  <a:effectLst/>
                  <a:uLnTx/>
                  <a:uFillTx/>
                  <a:latin typeface="Segoe UI"/>
                  <a:ea typeface="+mn-ea"/>
                  <a:cs typeface="Segoe UI Light" panose="020B0502040204020203" pitchFamily="34" charset="0"/>
                </a:rPr>
                <a:t>Keeping Data Current</a:t>
              </a:r>
            </a:p>
          </p:txBody>
        </p:sp>
        <p:grpSp>
          <p:nvGrpSpPr>
            <p:cNvPr id="83" name="Group 82"/>
            <p:cNvGrpSpPr/>
            <p:nvPr/>
          </p:nvGrpSpPr>
          <p:grpSpPr>
            <a:xfrm>
              <a:off x="199649" y="2692629"/>
              <a:ext cx="433844" cy="433844"/>
              <a:chOff x="342620" y="2228265"/>
              <a:chExt cx="433844" cy="433844"/>
            </a:xfrm>
            <a:solidFill>
              <a:schemeClr val="bg1"/>
            </a:solidFill>
          </p:grpSpPr>
          <p:sp>
            <p:nvSpPr>
              <p:cNvPr id="99" name="Oval 154"/>
              <p:cNvSpPr/>
              <p:nvPr/>
            </p:nvSpPr>
            <p:spPr bwMode="auto">
              <a:xfrm>
                <a:off x="342620" y="2228265"/>
                <a:ext cx="433844" cy="433844"/>
              </a:xfrm>
              <a:prstGeom prst="ellipse">
                <a:avLst/>
              </a:prstGeom>
              <a:solidFill>
                <a:srgbClr val="FFC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0" name="Freeform 30"/>
              <p:cNvSpPr>
                <a:spLocks noEditPoints="1"/>
              </p:cNvSpPr>
              <p:nvPr/>
            </p:nvSpPr>
            <p:spPr bwMode="auto">
              <a:xfrm>
                <a:off x="444786" y="2340040"/>
                <a:ext cx="238402" cy="210293"/>
              </a:xfrm>
              <a:custGeom>
                <a:avLst/>
                <a:gdLst>
                  <a:gd name="T0" fmla="*/ 883 w 916"/>
                  <a:gd name="T1" fmla="*/ 286 h 808"/>
                  <a:gd name="T2" fmla="*/ 539 w 916"/>
                  <a:gd name="T3" fmla="*/ 723 h 808"/>
                  <a:gd name="T4" fmla="*/ 504 w 916"/>
                  <a:gd name="T5" fmla="*/ 0 h 808"/>
                  <a:gd name="T6" fmla="*/ 35 w 916"/>
                  <a:gd name="T7" fmla="*/ 723 h 808"/>
                  <a:gd name="T8" fmla="*/ 0 w 916"/>
                  <a:gd name="T9" fmla="*/ 808 h 808"/>
                  <a:gd name="T10" fmla="*/ 916 w 916"/>
                  <a:gd name="T11" fmla="*/ 723 h 808"/>
                  <a:gd name="T12" fmla="*/ 229 w 916"/>
                  <a:gd name="T13" fmla="*/ 665 h 808"/>
                  <a:gd name="T14" fmla="*/ 109 w 916"/>
                  <a:gd name="T15" fmla="*/ 596 h 808"/>
                  <a:gd name="T16" fmla="*/ 229 w 916"/>
                  <a:gd name="T17" fmla="*/ 665 h 808"/>
                  <a:gd name="T18" fmla="*/ 109 w 916"/>
                  <a:gd name="T19" fmla="*/ 501 h 808"/>
                  <a:gd name="T20" fmla="*/ 229 w 916"/>
                  <a:gd name="T21" fmla="*/ 432 h 808"/>
                  <a:gd name="T22" fmla="*/ 229 w 916"/>
                  <a:gd name="T23" fmla="*/ 337 h 808"/>
                  <a:gd name="T24" fmla="*/ 109 w 916"/>
                  <a:gd name="T25" fmla="*/ 267 h 808"/>
                  <a:gd name="T26" fmla="*/ 229 w 916"/>
                  <a:gd name="T27" fmla="*/ 337 h 808"/>
                  <a:gd name="T28" fmla="*/ 109 w 916"/>
                  <a:gd name="T29" fmla="*/ 172 h 808"/>
                  <a:gd name="T30" fmla="*/ 229 w 916"/>
                  <a:gd name="T31" fmla="*/ 103 h 808"/>
                  <a:gd name="T32" fmla="*/ 428 w 916"/>
                  <a:gd name="T33" fmla="*/ 665 h 808"/>
                  <a:gd name="T34" fmla="*/ 307 w 916"/>
                  <a:gd name="T35" fmla="*/ 596 h 808"/>
                  <a:gd name="T36" fmla="*/ 428 w 916"/>
                  <a:gd name="T37" fmla="*/ 665 h 808"/>
                  <a:gd name="T38" fmla="*/ 307 w 916"/>
                  <a:gd name="T39" fmla="*/ 501 h 808"/>
                  <a:gd name="T40" fmla="*/ 428 w 916"/>
                  <a:gd name="T41" fmla="*/ 432 h 808"/>
                  <a:gd name="T42" fmla="*/ 428 w 916"/>
                  <a:gd name="T43" fmla="*/ 337 h 808"/>
                  <a:gd name="T44" fmla="*/ 307 w 916"/>
                  <a:gd name="T45" fmla="*/ 267 h 808"/>
                  <a:gd name="T46" fmla="*/ 428 w 916"/>
                  <a:gd name="T47" fmla="*/ 337 h 808"/>
                  <a:gd name="T48" fmla="*/ 307 w 916"/>
                  <a:gd name="T49" fmla="*/ 172 h 808"/>
                  <a:gd name="T50" fmla="*/ 428 w 916"/>
                  <a:gd name="T51" fmla="*/ 103 h 808"/>
                  <a:gd name="T52" fmla="*/ 684 w 916"/>
                  <a:gd name="T53" fmla="*/ 668 h 808"/>
                  <a:gd name="T54" fmla="*/ 606 w 916"/>
                  <a:gd name="T55" fmla="*/ 549 h 808"/>
                  <a:gd name="T56" fmla="*/ 684 w 916"/>
                  <a:gd name="T57" fmla="*/ 668 h 808"/>
                  <a:gd name="T58" fmla="*/ 606 w 916"/>
                  <a:gd name="T59" fmla="*/ 482 h 808"/>
                  <a:gd name="T60" fmla="*/ 684 w 916"/>
                  <a:gd name="T61" fmla="*/ 365 h 808"/>
                  <a:gd name="T62" fmla="*/ 816 w 916"/>
                  <a:gd name="T63" fmla="*/ 668 h 808"/>
                  <a:gd name="T64" fmla="*/ 738 w 916"/>
                  <a:gd name="T65" fmla="*/ 549 h 808"/>
                  <a:gd name="T66" fmla="*/ 816 w 916"/>
                  <a:gd name="T67" fmla="*/ 668 h 808"/>
                  <a:gd name="T68" fmla="*/ 738 w 916"/>
                  <a:gd name="T69" fmla="*/ 482 h 808"/>
                  <a:gd name="T70" fmla="*/ 816 w 916"/>
                  <a:gd name="T71" fmla="*/ 365 h 8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16" h="808">
                    <a:moveTo>
                      <a:pt x="883" y="723"/>
                    </a:moveTo>
                    <a:lnTo>
                      <a:pt x="883" y="286"/>
                    </a:lnTo>
                    <a:lnTo>
                      <a:pt x="539" y="286"/>
                    </a:lnTo>
                    <a:lnTo>
                      <a:pt x="539" y="723"/>
                    </a:lnTo>
                    <a:lnTo>
                      <a:pt x="504" y="723"/>
                    </a:lnTo>
                    <a:lnTo>
                      <a:pt x="504" y="0"/>
                    </a:lnTo>
                    <a:lnTo>
                      <a:pt x="35" y="0"/>
                    </a:lnTo>
                    <a:lnTo>
                      <a:pt x="35" y="723"/>
                    </a:lnTo>
                    <a:lnTo>
                      <a:pt x="0" y="723"/>
                    </a:lnTo>
                    <a:lnTo>
                      <a:pt x="0" y="808"/>
                    </a:lnTo>
                    <a:lnTo>
                      <a:pt x="916" y="808"/>
                    </a:lnTo>
                    <a:lnTo>
                      <a:pt x="916" y="723"/>
                    </a:lnTo>
                    <a:lnTo>
                      <a:pt x="883" y="723"/>
                    </a:lnTo>
                    <a:close/>
                    <a:moveTo>
                      <a:pt x="229" y="665"/>
                    </a:moveTo>
                    <a:lnTo>
                      <a:pt x="109" y="665"/>
                    </a:lnTo>
                    <a:lnTo>
                      <a:pt x="109" y="596"/>
                    </a:lnTo>
                    <a:lnTo>
                      <a:pt x="229" y="596"/>
                    </a:lnTo>
                    <a:lnTo>
                      <a:pt x="229" y="665"/>
                    </a:lnTo>
                    <a:close/>
                    <a:moveTo>
                      <a:pt x="229" y="501"/>
                    </a:moveTo>
                    <a:lnTo>
                      <a:pt x="109" y="501"/>
                    </a:lnTo>
                    <a:lnTo>
                      <a:pt x="109" y="432"/>
                    </a:lnTo>
                    <a:lnTo>
                      <a:pt x="229" y="432"/>
                    </a:lnTo>
                    <a:lnTo>
                      <a:pt x="229" y="501"/>
                    </a:lnTo>
                    <a:close/>
                    <a:moveTo>
                      <a:pt x="229" y="337"/>
                    </a:moveTo>
                    <a:lnTo>
                      <a:pt x="109" y="337"/>
                    </a:lnTo>
                    <a:lnTo>
                      <a:pt x="109" y="267"/>
                    </a:lnTo>
                    <a:lnTo>
                      <a:pt x="229" y="267"/>
                    </a:lnTo>
                    <a:lnTo>
                      <a:pt x="229" y="337"/>
                    </a:lnTo>
                    <a:close/>
                    <a:moveTo>
                      <a:pt x="229" y="172"/>
                    </a:moveTo>
                    <a:lnTo>
                      <a:pt x="109" y="172"/>
                    </a:lnTo>
                    <a:lnTo>
                      <a:pt x="109" y="103"/>
                    </a:lnTo>
                    <a:lnTo>
                      <a:pt x="229" y="103"/>
                    </a:lnTo>
                    <a:lnTo>
                      <a:pt x="229" y="172"/>
                    </a:lnTo>
                    <a:close/>
                    <a:moveTo>
                      <a:pt x="428" y="665"/>
                    </a:moveTo>
                    <a:lnTo>
                      <a:pt x="307" y="665"/>
                    </a:lnTo>
                    <a:lnTo>
                      <a:pt x="307" y="596"/>
                    </a:lnTo>
                    <a:lnTo>
                      <a:pt x="428" y="596"/>
                    </a:lnTo>
                    <a:lnTo>
                      <a:pt x="428" y="665"/>
                    </a:lnTo>
                    <a:close/>
                    <a:moveTo>
                      <a:pt x="428" y="501"/>
                    </a:moveTo>
                    <a:lnTo>
                      <a:pt x="307" y="501"/>
                    </a:lnTo>
                    <a:lnTo>
                      <a:pt x="307" y="432"/>
                    </a:lnTo>
                    <a:lnTo>
                      <a:pt x="428" y="432"/>
                    </a:lnTo>
                    <a:lnTo>
                      <a:pt x="428" y="501"/>
                    </a:lnTo>
                    <a:close/>
                    <a:moveTo>
                      <a:pt x="428" y="337"/>
                    </a:moveTo>
                    <a:lnTo>
                      <a:pt x="307" y="337"/>
                    </a:lnTo>
                    <a:lnTo>
                      <a:pt x="307" y="267"/>
                    </a:lnTo>
                    <a:lnTo>
                      <a:pt x="428" y="267"/>
                    </a:lnTo>
                    <a:lnTo>
                      <a:pt x="428" y="337"/>
                    </a:lnTo>
                    <a:close/>
                    <a:moveTo>
                      <a:pt x="428" y="172"/>
                    </a:moveTo>
                    <a:lnTo>
                      <a:pt x="307" y="172"/>
                    </a:lnTo>
                    <a:lnTo>
                      <a:pt x="307" y="103"/>
                    </a:lnTo>
                    <a:lnTo>
                      <a:pt x="428" y="103"/>
                    </a:lnTo>
                    <a:lnTo>
                      <a:pt x="428" y="172"/>
                    </a:lnTo>
                    <a:close/>
                    <a:moveTo>
                      <a:pt x="684" y="668"/>
                    </a:moveTo>
                    <a:lnTo>
                      <a:pt x="606" y="668"/>
                    </a:lnTo>
                    <a:lnTo>
                      <a:pt x="606" y="549"/>
                    </a:lnTo>
                    <a:lnTo>
                      <a:pt x="684" y="549"/>
                    </a:lnTo>
                    <a:lnTo>
                      <a:pt x="684" y="668"/>
                    </a:lnTo>
                    <a:close/>
                    <a:moveTo>
                      <a:pt x="684" y="482"/>
                    </a:moveTo>
                    <a:lnTo>
                      <a:pt x="606" y="482"/>
                    </a:lnTo>
                    <a:lnTo>
                      <a:pt x="606" y="365"/>
                    </a:lnTo>
                    <a:lnTo>
                      <a:pt x="684" y="365"/>
                    </a:lnTo>
                    <a:lnTo>
                      <a:pt x="684" y="482"/>
                    </a:lnTo>
                    <a:close/>
                    <a:moveTo>
                      <a:pt x="816" y="668"/>
                    </a:moveTo>
                    <a:lnTo>
                      <a:pt x="738" y="668"/>
                    </a:lnTo>
                    <a:lnTo>
                      <a:pt x="738" y="549"/>
                    </a:lnTo>
                    <a:lnTo>
                      <a:pt x="816" y="549"/>
                    </a:lnTo>
                    <a:lnTo>
                      <a:pt x="816" y="668"/>
                    </a:lnTo>
                    <a:close/>
                    <a:moveTo>
                      <a:pt x="816" y="482"/>
                    </a:moveTo>
                    <a:lnTo>
                      <a:pt x="738" y="482"/>
                    </a:lnTo>
                    <a:lnTo>
                      <a:pt x="738" y="365"/>
                    </a:lnTo>
                    <a:lnTo>
                      <a:pt x="816" y="365"/>
                    </a:lnTo>
                    <a:lnTo>
                      <a:pt x="816" y="482"/>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grpSp>
        <p:sp>
          <p:nvSpPr>
            <p:cNvPr id="84" name="TextBox 83"/>
            <p:cNvSpPr txBox="1"/>
            <p:nvPr/>
          </p:nvSpPr>
          <p:spPr>
            <a:xfrm>
              <a:off x="83345" y="113808"/>
              <a:ext cx="2532630" cy="627864"/>
            </a:xfrm>
            <a:prstGeom prst="rect">
              <a:avLst/>
            </a:prstGeom>
            <a:noFill/>
          </p:spPr>
          <p:txBody>
            <a:bodyPr wrap="square" lIns="182880" tIns="146304" rIns="182880" bIns="146304" rtlCol="0">
              <a:spAutoFit/>
            </a:bodyPr>
            <a:lstStyle>
              <a:defPPr>
                <a:defRPr lang="en-US"/>
              </a:defPPr>
              <a:lvl1pPr>
                <a:lnSpc>
                  <a:spcPct val="90000"/>
                </a:lnSpc>
                <a:spcAft>
                  <a:spcPts val="600"/>
                </a:spcAft>
                <a:defRPr sz="2800" b="1">
                  <a:solidFill>
                    <a:srgbClr val="F2C812"/>
                  </a:solidFill>
                  <a:latin typeface="Segoe UI Light"/>
                </a:defRPr>
              </a:lvl1p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400" b="1" i="0" u="none" strike="noStrike" kern="1200" cap="none" spc="0" normalizeH="0" baseline="0" noProof="0">
                  <a:ln>
                    <a:noFill/>
                  </a:ln>
                  <a:solidFill>
                    <a:srgbClr val="F2C812"/>
                  </a:solidFill>
                  <a:effectLst/>
                  <a:uLnTx/>
                  <a:uFillTx/>
                  <a:latin typeface="Segoe UI Light"/>
                  <a:ea typeface="+mn-ea"/>
                  <a:cs typeface="+mn-cs"/>
                </a:rPr>
                <a:t>Power BI Service</a:t>
              </a:r>
              <a:endParaRPr kumimoji="0" lang="en-US" sz="2800" b="1" i="0" u="none" strike="noStrike" kern="1200" cap="none" spc="0" normalizeH="0" baseline="0" noProof="0">
                <a:ln>
                  <a:noFill/>
                </a:ln>
                <a:solidFill>
                  <a:srgbClr val="F2C812"/>
                </a:solidFill>
                <a:effectLst/>
                <a:uLnTx/>
                <a:uFillTx/>
                <a:latin typeface="Segoe UI Light"/>
                <a:ea typeface="+mn-ea"/>
                <a:cs typeface="+mn-cs"/>
              </a:endParaRPr>
            </a:p>
          </p:txBody>
        </p:sp>
        <p:grpSp>
          <p:nvGrpSpPr>
            <p:cNvPr id="85" name="Group 84"/>
            <p:cNvGrpSpPr/>
            <p:nvPr/>
          </p:nvGrpSpPr>
          <p:grpSpPr>
            <a:xfrm>
              <a:off x="219373" y="3621383"/>
              <a:ext cx="433844" cy="645668"/>
              <a:chOff x="280990" y="3358164"/>
              <a:chExt cx="433844" cy="645668"/>
            </a:xfrm>
          </p:grpSpPr>
          <p:sp>
            <p:nvSpPr>
              <p:cNvPr id="92" name="Oval 1083"/>
              <p:cNvSpPr/>
              <p:nvPr/>
            </p:nvSpPr>
            <p:spPr bwMode="auto">
              <a:xfrm>
                <a:off x="280990" y="3358164"/>
                <a:ext cx="433844" cy="433847"/>
              </a:xfrm>
              <a:prstGeom prst="ellipse">
                <a:avLst/>
              </a:prstGeom>
              <a:solidFill>
                <a:srgbClr val="F2C812"/>
              </a:solidFill>
              <a:ln>
                <a:solidFill>
                  <a:srgbClr val="FFCC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93" name="Group 379"/>
              <p:cNvGrpSpPr/>
              <p:nvPr/>
            </p:nvGrpSpPr>
            <p:grpSpPr>
              <a:xfrm>
                <a:off x="453702" y="3910852"/>
                <a:ext cx="175660" cy="92980"/>
                <a:chOff x="3895793" y="7466656"/>
                <a:chExt cx="785810" cy="415941"/>
              </a:xfrm>
              <a:solidFill>
                <a:srgbClr val="00BCF2"/>
              </a:solidFill>
            </p:grpSpPr>
            <p:sp>
              <p:nvSpPr>
                <p:cNvPr id="94" name="Freeform 132"/>
                <p:cNvSpPr>
                  <a:spLocks/>
                </p:cNvSpPr>
                <p:nvPr/>
              </p:nvSpPr>
              <p:spPr bwMode="auto">
                <a:xfrm>
                  <a:off x="4125979" y="7688918"/>
                  <a:ext cx="0" cy="6353"/>
                </a:xfrm>
                <a:custGeom>
                  <a:avLst/>
                  <a:gdLst>
                    <a:gd name="T0" fmla="*/ 1 w 1"/>
                    <a:gd name="T1" fmla="*/ 0 h 8"/>
                    <a:gd name="T2" fmla="*/ 0 w 1"/>
                    <a:gd name="T3" fmla="*/ 0 h 8"/>
                    <a:gd name="T4" fmla="*/ 1 w 1"/>
                    <a:gd name="T5" fmla="*/ 8 h 8"/>
                    <a:gd name="T6" fmla="*/ 1 w 1"/>
                    <a:gd name="T7" fmla="*/ 0 h 8"/>
                  </a:gdLst>
                  <a:ahLst/>
                  <a:cxnLst>
                    <a:cxn ang="0">
                      <a:pos x="T0" y="T1"/>
                    </a:cxn>
                    <a:cxn ang="0">
                      <a:pos x="T2" y="T3"/>
                    </a:cxn>
                    <a:cxn ang="0">
                      <a:pos x="T4" y="T5"/>
                    </a:cxn>
                    <a:cxn ang="0">
                      <a:pos x="T6" y="T7"/>
                    </a:cxn>
                  </a:cxnLst>
                  <a:rect l="0" t="0" r="r" b="b"/>
                  <a:pathLst>
                    <a:path w="1" h="8">
                      <a:moveTo>
                        <a:pt x="1" y="0"/>
                      </a:moveTo>
                      <a:cubicBezTo>
                        <a:pt x="0" y="0"/>
                        <a:pt x="0" y="0"/>
                        <a:pt x="0" y="0"/>
                      </a:cubicBezTo>
                      <a:cubicBezTo>
                        <a:pt x="0" y="3"/>
                        <a:pt x="1" y="5"/>
                        <a:pt x="1" y="8"/>
                      </a:cubicBezTo>
                      <a:lnTo>
                        <a:pt x="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95" name="Freeform 133"/>
                <p:cNvSpPr>
                  <a:spLocks/>
                </p:cNvSpPr>
                <p:nvPr/>
              </p:nvSpPr>
              <p:spPr bwMode="auto">
                <a:xfrm>
                  <a:off x="3895793" y="7812745"/>
                  <a:ext cx="219078" cy="69852"/>
                </a:xfrm>
                <a:custGeom>
                  <a:avLst/>
                  <a:gdLst>
                    <a:gd name="T0" fmla="*/ 186 w 238"/>
                    <a:gd name="T1" fmla="*/ 9 h 76"/>
                    <a:gd name="T2" fmla="*/ 131 w 238"/>
                    <a:gd name="T3" fmla="*/ 22 h 76"/>
                    <a:gd name="T4" fmla="*/ 60 w 238"/>
                    <a:gd name="T5" fmla="*/ 0 h 76"/>
                    <a:gd name="T6" fmla="*/ 0 w 238"/>
                    <a:gd name="T7" fmla="*/ 42 h 76"/>
                    <a:gd name="T8" fmla="*/ 0 w 238"/>
                    <a:gd name="T9" fmla="*/ 76 h 76"/>
                    <a:gd name="T10" fmla="*/ 238 w 238"/>
                    <a:gd name="T11" fmla="*/ 76 h 76"/>
                    <a:gd name="T12" fmla="*/ 236 w 238"/>
                    <a:gd name="T13" fmla="*/ 53 h 76"/>
                    <a:gd name="T14" fmla="*/ 236 w 238"/>
                    <a:gd name="T15" fmla="*/ 49 h 76"/>
                    <a:gd name="T16" fmla="*/ 186 w 238"/>
                    <a:gd name="T17" fmla="*/ 9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8" h="76">
                      <a:moveTo>
                        <a:pt x="186" y="9"/>
                      </a:moveTo>
                      <a:cubicBezTo>
                        <a:pt x="169" y="18"/>
                        <a:pt x="150" y="22"/>
                        <a:pt x="131" y="22"/>
                      </a:cubicBezTo>
                      <a:cubicBezTo>
                        <a:pt x="105" y="22"/>
                        <a:pt x="80" y="14"/>
                        <a:pt x="60" y="0"/>
                      </a:cubicBezTo>
                      <a:cubicBezTo>
                        <a:pt x="0" y="42"/>
                        <a:pt x="0" y="42"/>
                        <a:pt x="0" y="42"/>
                      </a:cubicBezTo>
                      <a:cubicBezTo>
                        <a:pt x="0" y="76"/>
                        <a:pt x="0" y="76"/>
                        <a:pt x="0" y="76"/>
                      </a:cubicBezTo>
                      <a:cubicBezTo>
                        <a:pt x="238" y="76"/>
                        <a:pt x="238" y="76"/>
                        <a:pt x="238" y="76"/>
                      </a:cubicBezTo>
                      <a:cubicBezTo>
                        <a:pt x="237" y="68"/>
                        <a:pt x="236" y="61"/>
                        <a:pt x="236" y="53"/>
                      </a:cubicBezTo>
                      <a:cubicBezTo>
                        <a:pt x="236" y="51"/>
                        <a:pt x="236" y="50"/>
                        <a:pt x="236" y="49"/>
                      </a:cubicBezTo>
                      <a:lnTo>
                        <a:pt x="186" y="9"/>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96" name="Freeform 137"/>
                <p:cNvSpPr>
                  <a:spLocks/>
                </p:cNvSpPr>
                <p:nvPr/>
              </p:nvSpPr>
              <p:spPr bwMode="auto">
                <a:xfrm>
                  <a:off x="4338704" y="7809561"/>
                  <a:ext cx="65090" cy="73028"/>
                </a:xfrm>
                <a:custGeom>
                  <a:avLst/>
                  <a:gdLst>
                    <a:gd name="T0" fmla="*/ 71 w 71"/>
                    <a:gd name="T1" fmla="*/ 79 h 79"/>
                    <a:gd name="T2" fmla="*/ 71 w 71"/>
                    <a:gd name="T3" fmla="*/ 0 h 79"/>
                    <a:gd name="T4" fmla="*/ 2 w 71"/>
                    <a:gd name="T5" fmla="*/ 53 h 79"/>
                    <a:gd name="T6" fmla="*/ 2 w 71"/>
                    <a:gd name="T7" fmla="*/ 56 h 79"/>
                    <a:gd name="T8" fmla="*/ 0 w 71"/>
                    <a:gd name="T9" fmla="*/ 79 h 79"/>
                    <a:gd name="T10" fmla="*/ 71 w 71"/>
                    <a:gd name="T11" fmla="*/ 79 h 79"/>
                  </a:gdLst>
                  <a:ahLst/>
                  <a:cxnLst>
                    <a:cxn ang="0">
                      <a:pos x="T0" y="T1"/>
                    </a:cxn>
                    <a:cxn ang="0">
                      <a:pos x="T2" y="T3"/>
                    </a:cxn>
                    <a:cxn ang="0">
                      <a:pos x="T4" y="T5"/>
                    </a:cxn>
                    <a:cxn ang="0">
                      <a:pos x="T6" y="T7"/>
                    </a:cxn>
                    <a:cxn ang="0">
                      <a:pos x="T8" y="T9"/>
                    </a:cxn>
                    <a:cxn ang="0">
                      <a:pos x="T10" y="T11"/>
                    </a:cxn>
                  </a:cxnLst>
                  <a:rect l="0" t="0" r="r" b="b"/>
                  <a:pathLst>
                    <a:path w="71" h="79">
                      <a:moveTo>
                        <a:pt x="71" y="79"/>
                      </a:moveTo>
                      <a:cubicBezTo>
                        <a:pt x="71" y="0"/>
                        <a:pt x="71" y="0"/>
                        <a:pt x="71" y="0"/>
                      </a:cubicBezTo>
                      <a:cubicBezTo>
                        <a:pt x="2" y="53"/>
                        <a:pt x="2" y="53"/>
                        <a:pt x="2" y="53"/>
                      </a:cubicBezTo>
                      <a:cubicBezTo>
                        <a:pt x="2" y="54"/>
                        <a:pt x="2" y="55"/>
                        <a:pt x="2" y="56"/>
                      </a:cubicBezTo>
                      <a:cubicBezTo>
                        <a:pt x="2" y="64"/>
                        <a:pt x="1" y="71"/>
                        <a:pt x="0" y="79"/>
                      </a:cubicBezTo>
                      <a:lnTo>
                        <a:pt x="71" y="79"/>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97" name="Freeform 140"/>
                <p:cNvSpPr>
                  <a:spLocks/>
                </p:cNvSpPr>
                <p:nvPr/>
              </p:nvSpPr>
              <p:spPr bwMode="auto">
                <a:xfrm>
                  <a:off x="4600643" y="7622229"/>
                  <a:ext cx="80960" cy="38099"/>
                </a:xfrm>
                <a:custGeom>
                  <a:avLst/>
                  <a:gdLst>
                    <a:gd name="T0" fmla="*/ 0 w 51"/>
                    <a:gd name="T1" fmla="*/ 24 h 24"/>
                    <a:gd name="T2" fmla="*/ 51 w 51"/>
                    <a:gd name="T3" fmla="*/ 24 h 24"/>
                    <a:gd name="T4" fmla="*/ 32 w 51"/>
                    <a:gd name="T5" fmla="*/ 0 h 24"/>
                    <a:gd name="T6" fmla="*/ 0 w 51"/>
                    <a:gd name="T7" fmla="*/ 24 h 24"/>
                  </a:gdLst>
                  <a:ahLst/>
                  <a:cxnLst>
                    <a:cxn ang="0">
                      <a:pos x="T0" y="T1"/>
                    </a:cxn>
                    <a:cxn ang="0">
                      <a:pos x="T2" y="T3"/>
                    </a:cxn>
                    <a:cxn ang="0">
                      <a:pos x="T4" y="T5"/>
                    </a:cxn>
                    <a:cxn ang="0">
                      <a:pos x="T6" y="T7"/>
                    </a:cxn>
                  </a:cxnLst>
                  <a:rect l="0" t="0" r="r" b="b"/>
                  <a:pathLst>
                    <a:path w="51" h="24">
                      <a:moveTo>
                        <a:pt x="0" y="24"/>
                      </a:moveTo>
                      <a:lnTo>
                        <a:pt x="51" y="24"/>
                      </a:lnTo>
                      <a:lnTo>
                        <a:pt x="32" y="0"/>
                      </a:lnTo>
                      <a:lnTo>
                        <a:pt x="0" y="24"/>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98" name="Freeform 141"/>
                <p:cNvSpPr>
                  <a:spLocks/>
                </p:cNvSpPr>
                <p:nvPr/>
              </p:nvSpPr>
              <p:spPr bwMode="auto">
                <a:xfrm>
                  <a:off x="4449825" y="7466656"/>
                  <a:ext cx="119065" cy="139703"/>
                </a:xfrm>
                <a:custGeom>
                  <a:avLst/>
                  <a:gdLst>
                    <a:gd name="T0" fmla="*/ 52 w 75"/>
                    <a:gd name="T1" fmla="*/ 0 h 88"/>
                    <a:gd name="T2" fmla="*/ 0 w 75"/>
                    <a:gd name="T3" fmla="*/ 0 h 88"/>
                    <a:gd name="T4" fmla="*/ 0 w 75"/>
                    <a:gd name="T5" fmla="*/ 88 h 88"/>
                    <a:gd name="T6" fmla="*/ 75 w 75"/>
                    <a:gd name="T7" fmla="*/ 30 h 88"/>
                    <a:gd name="T8" fmla="*/ 52 w 75"/>
                    <a:gd name="T9" fmla="*/ 0 h 88"/>
                  </a:gdLst>
                  <a:ahLst/>
                  <a:cxnLst>
                    <a:cxn ang="0">
                      <a:pos x="T0" y="T1"/>
                    </a:cxn>
                    <a:cxn ang="0">
                      <a:pos x="T2" y="T3"/>
                    </a:cxn>
                    <a:cxn ang="0">
                      <a:pos x="T4" y="T5"/>
                    </a:cxn>
                    <a:cxn ang="0">
                      <a:pos x="T6" y="T7"/>
                    </a:cxn>
                    <a:cxn ang="0">
                      <a:pos x="T8" y="T9"/>
                    </a:cxn>
                  </a:cxnLst>
                  <a:rect l="0" t="0" r="r" b="b"/>
                  <a:pathLst>
                    <a:path w="75" h="88">
                      <a:moveTo>
                        <a:pt x="52" y="0"/>
                      </a:moveTo>
                      <a:lnTo>
                        <a:pt x="0" y="0"/>
                      </a:lnTo>
                      <a:lnTo>
                        <a:pt x="0" y="88"/>
                      </a:lnTo>
                      <a:lnTo>
                        <a:pt x="75" y="30"/>
                      </a:lnTo>
                      <a:lnTo>
                        <a:pt x="52"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grpSp>
        </p:grpSp>
        <p:sp>
          <p:nvSpPr>
            <p:cNvPr id="86" name="Rectangle 152"/>
            <p:cNvSpPr/>
            <p:nvPr/>
          </p:nvSpPr>
          <p:spPr bwMode="auto">
            <a:xfrm>
              <a:off x="712458" y="3628917"/>
              <a:ext cx="1805162" cy="37532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2C812"/>
                  </a:solidFill>
                  <a:effectLst/>
                  <a:uLnTx/>
                  <a:uFillTx/>
                  <a:latin typeface="Segoe UI"/>
                  <a:ea typeface="+mn-ea"/>
                  <a:cs typeface="Segoe UI Light" panose="020B0502040204020203" pitchFamily="34" charset="0"/>
                </a:rPr>
                <a:t>Q&amp;A and </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2C812"/>
                  </a:solidFill>
                  <a:effectLst/>
                  <a:uLnTx/>
                  <a:uFillTx/>
                  <a:latin typeface="Segoe UI"/>
                  <a:ea typeface="+mn-ea"/>
                  <a:cs typeface="Segoe UI Light" panose="020B0502040204020203" pitchFamily="34" charset="0"/>
                </a:rPr>
                <a:t>Quick Insights</a:t>
              </a:r>
              <a:endParaRPr kumimoji="0" lang="en-US" sz="1200" b="1" i="0" u="none" strike="noStrike" kern="1200" cap="none" spc="0" normalizeH="0" baseline="0" noProof="0">
                <a:ln>
                  <a:noFill/>
                </a:ln>
                <a:solidFill>
                  <a:srgbClr val="F2C812"/>
                </a:solidFill>
                <a:effectLst/>
                <a:uLnTx/>
                <a:uFillTx/>
                <a:latin typeface="Segoe UI"/>
                <a:ea typeface="+mn-ea"/>
                <a:cs typeface="Segoe UI Light" panose="020B0502040204020203" pitchFamily="34" charset="0"/>
              </a:endParaRPr>
            </a:p>
          </p:txBody>
        </p:sp>
        <p:sp>
          <p:nvSpPr>
            <p:cNvPr id="88" name="Oval 162"/>
            <p:cNvSpPr/>
            <p:nvPr/>
          </p:nvSpPr>
          <p:spPr bwMode="auto">
            <a:xfrm>
              <a:off x="226619" y="4551712"/>
              <a:ext cx="433844" cy="433844"/>
            </a:xfrm>
            <a:prstGeom prst="ellipse">
              <a:avLst/>
            </a:prstGeom>
            <a:solidFill>
              <a:srgbClr val="F2C812"/>
            </a:solidFill>
            <a:ln>
              <a:solidFill>
                <a:srgbClr val="FFCC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9" name="Rectangle 152"/>
            <p:cNvSpPr/>
            <p:nvPr/>
          </p:nvSpPr>
          <p:spPr bwMode="auto">
            <a:xfrm>
              <a:off x="738443" y="4596194"/>
              <a:ext cx="1884825" cy="30233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2C812"/>
                  </a:solidFill>
                  <a:effectLst/>
                  <a:uLnTx/>
                  <a:uFillTx/>
                  <a:latin typeface="Segoe UI"/>
                  <a:ea typeface="+mn-ea"/>
                  <a:cs typeface="Segoe UI Light" panose="020B0502040204020203" pitchFamily="34" charset="0"/>
                </a:rPr>
                <a:t>Sharing</a:t>
              </a:r>
              <a:endParaRPr kumimoji="0" lang="en-US" sz="1200" b="1" i="1" u="none" strike="noStrike" kern="1200" cap="none" spc="0" normalizeH="0" baseline="0" noProof="0">
                <a:ln>
                  <a:noFill/>
                </a:ln>
                <a:solidFill>
                  <a:srgbClr val="F2C812"/>
                </a:solidFill>
                <a:effectLst/>
                <a:uLnTx/>
                <a:uFillTx/>
                <a:latin typeface="Segoe UI"/>
                <a:ea typeface="+mn-ea"/>
                <a:cs typeface="Segoe UI Light" panose="020B0502040204020203" pitchFamily="34" charset="0"/>
              </a:endParaRPr>
            </a:p>
          </p:txBody>
        </p:sp>
        <p:sp>
          <p:nvSpPr>
            <p:cNvPr id="90" name="Rectangle 145"/>
            <p:cNvSpPr/>
            <p:nvPr/>
          </p:nvSpPr>
          <p:spPr bwMode="auto">
            <a:xfrm>
              <a:off x="697198" y="1847637"/>
              <a:ext cx="1821468" cy="3831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2C812"/>
                  </a:solidFill>
                  <a:effectLst/>
                  <a:uLnTx/>
                  <a:uFillTx/>
                  <a:latin typeface="Segoe UI"/>
                  <a:ea typeface="+mn-ea"/>
                  <a:cs typeface="Segoe UI Light" panose="020B0502040204020203" pitchFamily="34" charset="0"/>
                </a:rPr>
                <a:t>Pinning and Navigation</a:t>
              </a:r>
            </a:p>
          </p:txBody>
        </p:sp>
        <p:sp>
          <p:nvSpPr>
            <p:cNvPr id="91" name="Oval 162"/>
            <p:cNvSpPr/>
            <p:nvPr/>
          </p:nvSpPr>
          <p:spPr bwMode="auto">
            <a:xfrm>
              <a:off x="224136" y="1813606"/>
              <a:ext cx="433844" cy="433844"/>
            </a:xfrm>
            <a:prstGeom prst="ellipse">
              <a:avLst/>
            </a:prstGeom>
            <a:solidFill>
              <a:srgbClr val="FFCC00"/>
            </a:solidFill>
            <a:ln>
              <a:solidFill>
                <a:srgbClr val="F2C81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pic>
        <p:nvPicPr>
          <p:cNvPr id="105" name="Picture 104"/>
          <p:cNvPicPr>
            <a:picLocks noChangeAspect="1"/>
          </p:cNvPicPr>
          <p:nvPr/>
        </p:nvPicPr>
        <p:blipFill rotWithShape="1">
          <a:blip r:embed="rId5"/>
          <a:srcRect l="6503" t="21287" r="74698" b="20220"/>
          <a:stretch/>
        </p:blipFill>
        <p:spPr>
          <a:xfrm>
            <a:off x="339111" y="1946110"/>
            <a:ext cx="228600" cy="231962"/>
          </a:xfrm>
          <a:prstGeom prst="rect">
            <a:avLst/>
          </a:prstGeom>
        </p:spPr>
      </p:pic>
      <p:pic>
        <p:nvPicPr>
          <p:cNvPr id="106" name="Picture 105"/>
          <p:cNvPicPr>
            <a:picLocks noChangeAspect="1"/>
          </p:cNvPicPr>
          <p:nvPr/>
        </p:nvPicPr>
        <p:blipFill>
          <a:blip r:embed="rId6"/>
          <a:stretch>
            <a:fillRect/>
          </a:stretch>
        </p:blipFill>
        <p:spPr>
          <a:xfrm>
            <a:off x="284769" y="3673076"/>
            <a:ext cx="311766" cy="303106"/>
          </a:xfrm>
          <a:prstGeom prst="rect">
            <a:avLst/>
          </a:prstGeom>
        </p:spPr>
      </p:pic>
      <p:sp>
        <p:nvSpPr>
          <p:cNvPr id="107" name="Rectangle 145"/>
          <p:cNvSpPr/>
          <p:nvPr/>
        </p:nvSpPr>
        <p:spPr bwMode="auto">
          <a:xfrm>
            <a:off x="718897" y="5436715"/>
            <a:ext cx="1821468" cy="3831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2C812"/>
                </a:solidFill>
                <a:effectLst/>
                <a:uLnTx/>
                <a:uFillTx/>
                <a:latin typeface="Segoe UI"/>
                <a:ea typeface="+mn-ea"/>
                <a:cs typeface="Segoe UI Light" panose="020B0502040204020203" pitchFamily="34" charset="0"/>
              </a:rPr>
              <a:t>Connect from Excel</a:t>
            </a:r>
          </a:p>
        </p:txBody>
      </p:sp>
      <p:sp>
        <p:nvSpPr>
          <p:cNvPr id="108" name="Oval 162"/>
          <p:cNvSpPr/>
          <p:nvPr/>
        </p:nvSpPr>
        <p:spPr bwMode="auto">
          <a:xfrm>
            <a:off x="231441" y="5429649"/>
            <a:ext cx="433844" cy="433844"/>
          </a:xfrm>
          <a:prstGeom prst="ellipse">
            <a:avLst/>
          </a:prstGeom>
          <a:solidFill>
            <a:srgbClr val="FFCC00"/>
          </a:solidFill>
          <a:ln>
            <a:solidFill>
              <a:srgbClr val="F2C81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09" name="Picture 108"/>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flipH="1">
            <a:off x="283763" y="4596680"/>
            <a:ext cx="357484" cy="357484"/>
          </a:xfrm>
          <a:prstGeom prst="rect">
            <a:avLst/>
          </a:prstGeom>
        </p:spPr>
      </p:pic>
      <p:sp>
        <p:nvSpPr>
          <p:cNvPr id="110" name="Oval 162"/>
          <p:cNvSpPr/>
          <p:nvPr/>
        </p:nvSpPr>
        <p:spPr bwMode="auto">
          <a:xfrm>
            <a:off x="233032" y="6267344"/>
            <a:ext cx="433844" cy="433844"/>
          </a:xfrm>
          <a:prstGeom prst="ellipse">
            <a:avLst/>
          </a:prstGeom>
          <a:solidFill>
            <a:srgbClr val="FFCC00"/>
          </a:solidFill>
          <a:ln>
            <a:solidFill>
              <a:srgbClr val="F2C81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1" name="Rectangle 145"/>
          <p:cNvSpPr/>
          <p:nvPr/>
        </p:nvSpPr>
        <p:spPr bwMode="auto">
          <a:xfrm>
            <a:off x="701416" y="6289969"/>
            <a:ext cx="1821468" cy="3831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2C812"/>
                </a:solidFill>
                <a:effectLst/>
                <a:uLnTx/>
                <a:uFillTx/>
                <a:latin typeface="Segoe UI"/>
                <a:ea typeface="+mn-ea"/>
                <a:cs typeface="Segoe UI Light" panose="020B0502040204020203" pitchFamily="34" charset="0"/>
              </a:rPr>
              <a:t>Mobile Reports</a:t>
            </a:r>
          </a:p>
        </p:txBody>
      </p:sp>
      <p:pic>
        <p:nvPicPr>
          <p:cNvPr id="112" name="Picture 111"/>
          <p:cNvPicPr>
            <a:picLocks noChangeAspect="1"/>
          </p:cNvPicPr>
          <p:nvPr/>
        </p:nvPicPr>
        <p:blipFill>
          <a:blip r:embed="rId8" cstate="print">
            <a:extLst>
              <a:ext uri="{BEBA8EAE-BF5A-486C-A8C5-ECC9F3942E4B}">
                <a14:imgProps xmlns:a14="http://schemas.microsoft.com/office/drawing/2010/main">
                  <a14:imgLayer r:embed="rId9">
                    <a14:imgEffect>
                      <a14:saturation sat="0"/>
                    </a14:imgEffect>
                  </a14:imgLayer>
                </a14:imgProps>
              </a:ext>
              <a:ext uri="{28A0092B-C50C-407E-A947-70E740481C1C}">
                <a14:useLocalDpi xmlns:a14="http://schemas.microsoft.com/office/drawing/2010/main" val="0"/>
              </a:ext>
            </a:extLst>
          </a:blip>
          <a:stretch>
            <a:fillRect/>
          </a:stretch>
        </p:blipFill>
        <p:spPr>
          <a:xfrm>
            <a:off x="391946" y="6350039"/>
            <a:ext cx="133350" cy="251587"/>
          </a:xfrm>
          <a:prstGeom prst="rect">
            <a:avLst/>
          </a:prstGeom>
        </p:spPr>
      </p:pic>
      <p:pic>
        <p:nvPicPr>
          <p:cNvPr id="113" name="Picture 112"/>
          <p:cNvPicPr>
            <a:picLocks noChangeAspect="1"/>
          </p:cNvPicPr>
          <p:nvPr/>
        </p:nvPicPr>
        <p:blipFill>
          <a:blip r:embed="rId10" cstate="print">
            <a:biLevel thresh="50000"/>
            <a:extLst>
              <a:ext uri="{28A0092B-C50C-407E-A947-70E740481C1C}">
                <a14:useLocalDpi xmlns:a14="http://schemas.microsoft.com/office/drawing/2010/main" val="0"/>
              </a:ext>
            </a:extLst>
          </a:blip>
          <a:stretch>
            <a:fillRect/>
          </a:stretch>
        </p:blipFill>
        <p:spPr>
          <a:xfrm>
            <a:off x="332658" y="5538489"/>
            <a:ext cx="268940" cy="268940"/>
          </a:xfrm>
          <a:prstGeom prst="rect">
            <a:avLst/>
          </a:prstGeom>
        </p:spPr>
      </p:pic>
      <p:sp>
        <p:nvSpPr>
          <p:cNvPr id="114" name="Rectangle 113"/>
          <p:cNvSpPr/>
          <p:nvPr/>
        </p:nvSpPr>
        <p:spPr bwMode="auto">
          <a:xfrm>
            <a:off x="35912" y="5223435"/>
            <a:ext cx="2464420" cy="1564989"/>
          </a:xfrm>
          <a:prstGeom prst="rect">
            <a:avLst/>
          </a:prstGeom>
          <a:solidFill>
            <a:srgbClr val="000000">
              <a:alpha val="6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5" name="Rectangle 114"/>
          <p:cNvSpPr/>
          <p:nvPr/>
        </p:nvSpPr>
        <p:spPr bwMode="auto">
          <a:xfrm>
            <a:off x="95936" y="731575"/>
            <a:ext cx="2464420" cy="3635751"/>
          </a:xfrm>
          <a:prstGeom prst="rect">
            <a:avLst/>
          </a:prstGeom>
          <a:solidFill>
            <a:srgbClr val="000000">
              <a:alpha val="6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14047495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 name="Title 10"/>
          <p:cNvSpPr txBox="1">
            <a:spLocks/>
          </p:cNvSpPr>
          <p:nvPr/>
        </p:nvSpPr>
        <p:spPr>
          <a:xfrm>
            <a:off x="2849060" y="0"/>
            <a:ext cx="9342940" cy="665151"/>
          </a:xfrm>
          <a:prstGeom prst="rect">
            <a:avLst/>
          </a:prstGeom>
          <a:noFill/>
        </p:spPr>
        <p:txBody>
          <a:bodyPr vert="horz" wrap="square" lIns="0" tIns="91440" rIns="0" bIns="91440" rtlCol="0" anchor="t">
            <a:noAutofit/>
          </a:bodyPr>
          <a:lstStyle>
            <a:lvl1pPr defTabSz="914367">
              <a:lnSpc>
                <a:spcPct val="90000"/>
              </a:lnSpc>
              <a:spcBef>
                <a:spcPct val="0"/>
              </a:spcBef>
              <a:buNone/>
              <a:defRPr lang="en-US" sz="5294" b="0" cap="none" spc="-100" baseline="0" dirty="0" smtClean="0">
                <a:ln w="3175">
                  <a:noFill/>
                </a:ln>
                <a:solidFill>
                  <a:schemeClr val="tx2"/>
                </a:solidFill>
                <a:effectLst/>
                <a:latin typeface="+mj-lt"/>
                <a:cs typeface="Segoe UI" pitchFamily="34" charset="0"/>
              </a:defRPr>
            </a:lvl1pPr>
          </a:lstStyle>
          <a:p>
            <a:pPr marL="168275" marR="0" lvl="0" indent="0" algn="l" defTabSz="914367" rtl="0" eaLnBrk="1" fontAlgn="auto" latinLnBrk="0" hangingPunct="1">
              <a:lnSpc>
                <a:spcPct val="90000"/>
              </a:lnSpc>
              <a:spcBef>
                <a:spcPct val="0"/>
              </a:spcBef>
              <a:spcAft>
                <a:spcPts val="0"/>
              </a:spcAft>
              <a:buClrTx/>
              <a:buSzTx/>
              <a:buFontTx/>
              <a:buNone/>
              <a:tabLst/>
              <a:defRPr/>
            </a:pPr>
            <a:r>
              <a:rPr kumimoji="0" lang="en-US" sz="3600" b="0" i="0" u="none" strike="noStrike" kern="1200" cap="none" spc="-100" normalizeH="0" baseline="0" noProof="0">
                <a:ln w="3175">
                  <a:noFill/>
                </a:ln>
                <a:solidFill>
                  <a:prstClr val="black"/>
                </a:solidFill>
                <a:effectLst/>
                <a:uLnTx/>
                <a:uFillTx/>
                <a:latin typeface="Segoe UI Light"/>
                <a:ea typeface="+mn-ea"/>
                <a:cs typeface="Segoe UI" pitchFamily="34" charset="0"/>
              </a:rPr>
              <a:t>Sharing</a:t>
            </a:r>
            <a:endParaRPr kumimoji="0" lang="en-IN" sz="3600" b="0" i="0" u="none" strike="noStrike" kern="1200" cap="none" spc="-100" normalizeH="0" baseline="0" noProof="0">
              <a:ln w="3175">
                <a:noFill/>
              </a:ln>
              <a:solidFill>
                <a:prstClr val="black"/>
              </a:solidFill>
              <a:effectLst/>
              <a:uLnTx/>
              <a:uFillTx/>
              <a:latin typeface="Segoe UI Light"/>
              <a:ea typeface="+mn-ea"/>
              <a:cs typeface="Segoe UI" pitchFamily="34" charset="0"/>
            </a:endParaRPr>
          </a:p>
        </p:txBody>
      </p:sp>
      <p:sp>
        <p:nvSpPr>
          <p:cNvPr id="41" name="Rectangle 3"/>
          <p:cNvSpPr/>
          <p:nvPr/>
        </p:nvSpPr>
        <p:spPr bwMode="auto">
          <a:xfrm>
            <a:off x="3202216" y="704712"/>
            <a:ext cx="8105312" cy="44435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PT" sz="2000" b="0" i="1" u="none" strike="noStrike" kern="1200" cap="none" spc="0" normalizeH="0" baseline="0" noProof="0">
                <a:ln>
                  <a:noFill/>
                </a:ln>
                <a:solidFill>
                  <a:prstClr val="black"/>
                </a:solidFill>
                <a:effectLst/>
                <a:uLnTx/>
                <a:uFillTx/>
                <a:latin typeface="Segoe UI Light"/>
                <a:ea typeface="+mn-ea"/>
                <a:cs typeface="+mn-cs"/>
              </a:rPr>
              <a:t>Peer-to-peer/Peer-to-distribution group</a:t>
            </a:r>
            <a:endParaRPr kumimoji="0" lang="en-US" sz="2000" b="0" i="1" u="none" strike="noStrike" kern="1200" cap="none" spc="0" normalizeH="0" baseline="0" noProof="0">
              <a:ln>
                <a:noFill/>
              </a:ln>
              <a:solidFill>
                <a:prstClr val="black"/>
              </a:solidFill>
              <a:effectLst/>
              <a:uLnTx/>
              <a:uFillTx/>
              <a:latin typeface="Segoe UI Light"/>
              <a:ea typeface="+mn-ea"/>
              <a:cs typeface="+mn-cs"/>
            </a:endParaRPr>
          </a:p>
        </p:txBody>
      </p:sp>
      <p:sp>
        <p:nvSpPr>
          <p:cNvPr id="87" name="Text Placeholder 2"/>
          <p:cNvSpPr txBox="1">
            <a:spLocks/>
          </p:cNvSpPr>
          <p:nvPr/>
        </p:nvSpPr>
        <p:spPr>
          <a:xfrm>
            <a:off x="2941659" y="1566849"/>
            <a:ext cx="8707001" cy="897374"/>
          </a:xfrm>
          <a:prstGeom prst="rect">
            <a:avLst/>
          </a:prstGeom>
        </p:spPr>
        <p:txBody>
          <a:bodyPr vert="horz" wrap="square" lIns="182880" tIns="146304" rIns="182880" bIns="146304" rtlCol="0">
            <a:noAutofit/>
          </a:bodyPr>
          <a:lstStyle>
            <a:lvl1pPr marL="182845" marR="0"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3921" kern="1200" spc="0" baseline="0">
                <a:gradFill>
                  <a:gsLst>
                    <a:gs pos="1250">
                      <a:schemeClr val="tx2"/>
                    </a:gs>
                    <a:gs pos="99000">
                      <a:schemeClr val="tx2"/>
                    </a:gs>
                  </a:gsLst>
                  <a:lin ang="5400000" scaled="0"/>
                </a:gradFill>
                <a:latin typeface="+mj-lt"/>
                <a:ea typeface="+mn-ea"/>
                <a:cs typeface="+mn-cs"/>
              </a:defRPr>
            </a:lvl1pPr>
            <a:lvl2pPr marL="365690" marR="0"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2400" kern="1200" spc="0" baseline="0">
                <a:solidFill>
                  <a:schemeClr val="tx2"/>
                </a:solidFill>
                <a:latin typeface="+mj-lt"/>
                <a:ea typeface="+mn-ea"/>
                <a:cs typeface="+mn-cs"/>
              </a:defRPr>
            </a:lvl2pPr>
            <a:lvl3pPr marL="548535" marR="0"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2000" kern="1200" spc="0" baseline="0">
                <a:solidFill>
                  <a:schemeClr val="tx2"/>
                </a:solidFill>
                <a:latin typeface="+mj-lt"/>
                <a:ea typeface="+mn-ea"/>
                <a:cs typeface="+mn-cs"/>
              </a:defRPr>
            </a:lvl3pPr>
            <a:lvl4pPr marL="733802" marR="0" indent="-28569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1765" kern="1200" spc="0" baseline="0">
                <a:solidFill>
                  <a:schemeClr val="tx2"/>
                </a:solidFill>
                <a:latin typeface="+mn-lt"/>
                <a:ea typeface="+mn-ea"/>
                <a:cs typeface="+mn-cs"/>
              </a:defRPr>
            </a:lvl4pPr>
            <a:lvl5pPr marL="957856" marR="0" indent="-28569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1765" kern="1200" spc="0" baseline="0">
                <a:solidFill>
                  <a:schemeClr val="tx2"/>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r>
              <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rPr>
              <a:t>Recipients can </a:t>
            </a:r>
            <a:r>
              <a:rPr kumimoji="0" lang="en-US" sz="2000" b="1"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rPr>
              <a:t>see the dashboard </a:t>
            </a:r>
            <a:r>
              <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rPr>
              <a:t>and </a:t>
            </a:r>
            <a:r>
              <a:rPr kumimoji="0" lang="en-US" sz="2000" b="1"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rPr>
              <a:t>interact with reports in Reading View</a:t>
            </a:r>
            <a:r>
              <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rPr>
              <a:t> </a:t>
            </a: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r>
              <a:rPr kumimoji="0" lang="en-US" sz="2000" b="1"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rPr>
              <a:t>Changes </a:t>
            </a:r>
            <a:r>
              <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rPr>
              <a:t>made by the </a:t>
            </a:r>
            <a:r>
              <a:rPr kumimoji="0" lang="en-US" sz="2000" b="1"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rPr>
              <a:t>owner </a:t>
            </a:r>
            <a:r>
              <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rPr>
              <a:t>are </a:t>
            </a:r>
            <a:r>
              <a:rPr kumimoji="0" lang="en-US" sz="2000" b="1"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rPr>
              <a:t>available for everyone </a:t>
            </a:r>
            <a:r>
              <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rPr>
              <a:t>when saved</a:t>
            </a: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r>
              <a:rPr kumimoji="0" lang="en-US" sz="2000" b="1"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rPr>
              <a:t>No one can see the dataset</a:t>
            </a: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1"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r>
              <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rPr>
              <a:t>When re-sharing is enabled, users outside the organization can also share if their domain is registered in your tenant.</a:t>
            </a: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r>
              <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rPr>
              <a:t>If users already have access to a dashboard, they can </a:t>
            </a:r>
            <a:r>
              <a:rPr kumimoji="0" lang="en-US" sz="2000" b="1"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rPr>
              <a:t>access it directly via the dashboard’s URL</a:t>
            </a: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1"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r>
              <a:rPr kumimoji="0" lang="en-US" sz="2000" b="1"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rPr>
              <a:t>Users outside the organization </a:t>
            </a:r>
            <a:r>
              <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rPr>
              <a:t>have to </a:t>
            </a:r>
            <a:r>
              <a:rPr kumimoji="0" lang="en-US" sz="2000" b="1"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rPr>
              <a:t>bookmark the URL, </a:t>
            </a:r>
            <a:r>
              <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rPr>
              <a:t>it will not appear in their My Workspace</a:t>
            </a:r>
          </a:p>
        </p:txBody>
      </p:sp>
      <p:grpSp>
        <p:nvGrpSpPr>
          <p:cNvPr id="40" name="Group 39"/>
          <p:cNvGrpSpPr/>
          <p:nvPr/>
        </p:nvGrpSpPr>
        <p:grpSpPr>
          <a:xfrm>
            <a:off x="-2887" y="973"/>
            <a:ext cx="2849058" cy="6857027"/>
            <a:chOff x="2" y="487"/>
            <a:chExt cx="2849058" cy="6857027"/>
          </a:xfrm>
        </p:grpSpPr>
        <p:sp>
          <p:nvSpPr>
            <p:cNvPr id="43" name="Rectangle 15"/>
            <p:cNvSpPr/>
            <p:nvPr/>
          </p:nvSpPr>
          <p:spPr bwMode="auto">
            <a:xfrm>
              <a:off x="2" y="487"/>
              <a:ext cx="2849058" cy="685702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1" name="Rectangle 145"/>
            <p:cNvSpPr/>
            <p:nvPr/>
          </p:nvSpPr>
          <p:spPr bwMode="auto">
            <a:xfrm>
              <a:off x="696152" y="956997"/>
              <a:ext cx="1821468" cy="3831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2C812"/>
                  </a:solidFill>
                  <a:effectLst/>
                  <a:uLnTx/>
                  <a:uFillTx/>
                  <a:latin typeface="Segoe UI"/>
                  <a:ea typeface="+mn-ea"/>
                  <a:cs typeface="Segoe UI Light" panose="020B0502040204020203" pitchFamily="34" charset="0"/>
                </a:rPr>
                <a:t>Get Data</a:t>
              </a:r>
              <a:endParaRPr kumimoji="0" lang="en-US" sz="1200" b="1" i="1" u="none" strike="noStrike" kern="1200" cap="none" spc="0" normalizeH="0" baseline="0" noProof="0">
                <a:ln>
                  <a:noFill/>
                </a:ln>
                <a:solidFill>
                  <a:srgbClr val="F2C812"/>
                </a:solidFill>
                <a:effectLst/>
                <a:uLnTx/>
                <a:uFillTx/>
                <a:latin typeface="Segoe UI"/>
                <a:ea typeface="+mn-ea"/>
                <a:cs typeface="Segoe UI Light" panose="020B0502040204020203" pitchFamily="34" charset="0"/>
              </a:endParaRPr>
            </a:p>
          </p:txBody>
        </p:sp>
        <p:grpSp>
          <p:nvGrpSpPr>
            <p:cNvPr id="80" name="Group 79"/>
            <p:cNvGrpSpPr/>
            <p:nvPr/>
          </p:nvGrpSpPr>
          <p:grpSpPr>
            <a:xfrm>
              <a:off x="219373" y="934583"/>
              <a:ext cx="433844" cy="433844"/>
              <a:chOff x="440005" y="997815"/>
              <a:chExt cx="296322" cy="296322"/>
            </a:xfrm>
          </p:grpSpPr>
          <p:sp>
            <p:nvSpPr>
              <p:cNvPr id="100" name="Oval 147"/>
              <p:cNvSpPr/>
              <p:nvPr/>
            </p:nvSpPr>
            <p:spPr bwMode="auto">
              <a:xfrm>
                <a:off x="440005" y="997815"/>
                <a:ext cx="296322" cy="296322"/>
              </a:xfrm>
              <a:prstGeom prst="ellipse">
                <a:avLst/>
              </a:prstGeom>
              <a:solidFill>
                <a:srgbClr val="FFCC00"/>
              </a:solidFill>
              <a:ln>
                <a:solidFill>
                  <a:srgbClr val="F2C81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01" name="Group 332"/>
              <p:cNvGrpSpPr/>
              <p:nvPr/>
            </p:nvGrpSpPr>
            <p:grpSpPr>
              <a:xfrm>
                <a:off x="482167" y="1059311"/>
                <a:ext cx="211997" cy="173292"/>
                <a:chOff x="2123129" y="293070"/>
                <a:chExt cx="2472585" cy="2021178"/>
              </a:xfrm>
            </p:grpSpPr>
            <p:sp>
              <p:nvSpPr>
                <p:cNvPr id="102" name="Freeform 13"/>
                <p:cNvSpPr>
                  <a:spLocks/>
                </p:cNvSpPr>
                <p:nvPr/>
              </p:nvSpPr>
              <p:spPr bwMode="auto">
                <a:xfrm rot="20700000">
                  <a:off x="3155853" y="872796"/>
                  <a:ext cx="1439861" cy="1441452"/>
                </a:xfrm>
                <a:custGeom>
                  <a:avLst/>
                  <a:gdLst>
                    <a:gd name="T0" fmla="*/ 138 w 441"/>
                    <a:gd name="T1" fmla="*/ 341 h 441"/>
                    <a:gd name="T2" fmla="*/ 183 w 441"/>
                    <a:gd name="T3" fmla="*/ 374 h 441"/>
                    <a:gd name="T4" fmla="*/ 220 w 441"/>
                    <a:gd name="T5" fmla="*/ 423 h 441"/>
                    <a:gd name="T6" fmla="*/ 422 w 441"/>
                    <a:gd name="T7" fmla="*/ 220 h 441"/>
                    <a:gd name="T8" fmla="*/ 373 w 441"/>
                    <a:gd name="T9" fmla="*/ 184 h 441"/>
                    <a:gd name="T10" fmla="*/ 341 w 441"/>
                    <a:gd name="T11" fmla="*/ 139 h 441"/>
                    <a:gd name="T12" fmla="*/ 382 w 441"/>
                    <a:gd name="T13" fmla="*/ 58 h 441"/>
                    <a:gd name="T14" fmla="*/ 302 w 441"/>
                    <a:gd name="T15" fmla="*/ 100 h 441"/>
                    <a:gd name="T16" fmla="*/ 257 w 441"/>
                    <a:gd name="T17" fmla="*/ 67 h 441"/>
                    <a:gd name="T18" fmla="*/ 220 w 441"/>
                    <a:gd name="T19" fmla="*/ 18 h 441"/>
                    <a:gd name="T20" fmla="*/ 171 w 441"/>
                    <a:gd name="T21" fmla="*/ 55 h 441"/>
                    <a:gd name="T22" fmla="*/ 138 w 441"/>
                    <a:gd name="T23" fmla="*/ 100 h 441"/>
                    <a:gd name="T24" fmla="*/ 180 w 441"/>
                    <a:gd name="T25" fmla="*/ 181 h 441"/>
                    <a:gd name="T26" fmla="*/ 100 w 441"/>
                    <a:gd name="T27" fmla="*/ 139 h 441"/>
                    <a:gd name="T28" fmla="*/ 55 w 441"/>
                    <a:gd name="T29" fmla="*/ 171 h 441"/>
                    <a:gd name="T30" fmla="*/ 18 w 441"/>
                    <a:gd name="T31" fmla="*/ 220 h 441"/>
                    <a:gd name="T32" fmla="*/ 67 w 441"/>
                    <a:gd name="T33" fmla="*/ 257 h 441"/>
                    <a:gd name="T34" fmla="*/ 100 w 441"/>
                    <a:gd name="T35" fmla="*/ 302 h 441"/>
                    <a:gd name="T36" fmla="*/ 58 w 441"/>
                    <a:gd name="T37" fmla="*/ 383 h 441"/>
                    <a:gd name="T38" fmla="*/ 138 w 441"/>
                    <a:gd name="T39" fmla="*/ 341 h 4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41" h="441">
                      <a:moveTo>
                        <a:pt x="138" y="341"/>
                      </a:moveTo>
                      <a:cubicBezTo>
                        <a:pt x="147" y="337"/>
                        <a:pt x="171" y="361"/>
                        <a:pt x="183" y="374"/>
                      </a:cubicBezTo>
                      <a:cubicBezTo>
                        <a:pt x="196" y="386"/>
                        <a:pt x="220" y="423"/>
                        <a:pt x="220" y="423"/>
                      </a:cubicBezTo>
                      <a:cubicBezTo>
                        <a:pt x="422" y="220"/>
                        <a:pt x="422" y="220"/>
                        <a:pt x="422" y="220"/>
                      </a:cubicBezTo>
                      <a:cubicBezTo>
                        <a:pt x="422" y="220"/>
                        <a:pt x="386" y="196"/>
                        <a:pt x="373" y="184"/>
                      </a:cubicBezTo>
                      <a:cubicBezTo>
                        <a:pt x="361" y="171"/>
                        <a:pt x="338" y="149"/>
                        <a:pt x="341" y="139"/>
                      </a:cubicBezTo>
                      <a:cubicBezTo>
                        <a:pt x="343" y="129"/>
                        <a:pt x="441" y="116"/>
                        <a:pt x="382" y="58"/>
                      </a:cubicBezTo>
                      <a:cubicBezTo>
                        <a:pt x="324" y="0"/>
                        <a:pt x="310" y="96"/>
                        <a:pt x="302" y="100"/>
                      </a:cubicBezTo>
                      <a:cubicBezTo>
                        <a:pt x="294" y="104"/>
                        <a:pt x="269" y="80"/>
                        <a:pt x="257" y="67"/>
                      </a:cubicBezTo>
                      <a:cubicBezTo>
                        <a:pt x="245" y="55"/>
                        <a:pt x="220" y="18"/>
                        <a:pt x="220" y="18"/>
                      </a:cubicBezTo>
                      <a:cubicBezTo>
                        <a:pt x="220" y="18"/>
                        <a:pt x="183" y="43"/>
                        <a:pt x="171" y="55"/>
                      </a:cubicBezTo>
                      <a:cubicBezTo>
                        <a:pt x="159" y="67"/>
                        <a:pt x="134" y="92"/>
                        <a:pt x="138" y="100"/>
                      </a:cubicBezTo>
                      <a:cubicBezTo>
                        <a:pt x="142" y="108"/>
                        <a:pt x="238" y="122"/>
                        <a:pt x="180" y="181"/>
                      </a:cubicBezTo>
                      <a:cubicBezTo>
                        <a:pt x="122" y="239"/>
                        <a:pt x="110" y="141"/>
                        <a:pt x="100" y="139"/>
                      </a:cubicBezTo>
                      <a:cubicBezTo>
                        <a:pt x="89" y="137"/>
                        <a:pt x="67" y="159"/>
                        <a:pt x="55" y="171"/>
                      </a:cubicBezTo>
                      <a:cubicBezTo>
                        <a:pt x="42" y="184"/>
                        <a:pt x="18" y="220"/>
                        <a:pt x="18" y="220"/>
                      </a:cubicBezTo>
                      <a:cubicBezTo>
                        <a:pt x="18" y="220"/>
                        <a:pt x="55" y="245"/>
                        <a:pt x="67" y="257"/>
                      </a:cubicBezTo>
                      <a:cubicBezTo>
                        <a:pt x="79" y="269"/>
                        <a:pt x="102" y="292"/>
                        <a:pt x="100" y="302"/>
                      </a:cubicBezTo>
                      <a:cubicBezTo>
                        <a:pt x="98" y="312"/>
                        <a:pt x="0" y="325"/>
                        <a:pt x="58" y="383"/>
                      </a:cubicBezTo>
                      <a:cubicBezTo>
                        <a:pt x="116" y="441"/>
                        <a:pt x="130" y="345"/>
                        <a:pt x="138" y="341"/>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103" name="Freeform 14"/>
                <p:cNvSpPr>
                  <a:spLocks/>
                </p:cNvSpPr>
                <p:nvPr/>
              </p:nvSpPr>
              <p:spPr bwMode="auto">
                <a:xfrm rot="9900000">
                  <a:off x="2123129" y="293070"/>
                  <a:ext cx="1377948" cy="1377947"/>
                </a:xfrm>
                <a:custGeom>
                  <a:avLst/>
                  <a:gdLst>
                    <a:gd name="T0" fmla="*/ 422 w 422"/>
                    <a:gd name="T1" fmla="*/ 220 h 422"/>
                    <a:gd name="T2" fmla="*/ 386 w 422"/>
                    <a:gd name="T3" fmla="*/ 171 h 422"/>
                    <a:gd name="T4" fmla="*/ 341 w 422"/>
                    <a:gd name="T5" fmla="*/ 138 h 422"/>
                    <a:gd name="T6" fmla="*/ 260 w 422"/>
                    <a:gd name="T7" fmla="*/ 180 h 422"/>
                    <a:gd name="T8" fmla="*/ 302 w 422"/>
                    <a:gd name="T9" fmla="*/ 100 h 422"/>
                    <a:gd name="T10" fmla="*/ 269 w 422"/>
                    <a:gd name="T11" fmla="*/ 55 h 422"/>
                    <a:gd name="T12" fmla="*/ 220 w 422"/>
                    <a:gd name="T13" fmla="*/ 18 h 422"/>
                    <a:gd name="T14" fmla="*/ 183 w 422"/>
                    <a:gd name="T15" fmla="*/ 67 h 422"/>
                    <a:gd name="T16" fmla="*/ 138 w 422"/>
                    <a:gd name="T17" fmla="*/ 100 h 422"/>
                    <a:gd name="T18" fmla="*/ 58 w 422"/>
                    <a:gd name="T19" fmla="*/ 58 h 422"/>
                    <a:gd name="T20" fmla="*/ 100 w 422"/>
                    <a:gd name="T21" fmla="*/ 138 h 422"/>
                    <a:gd name="T22" fmla="*/ 67 w 422"/>
                    <a:gd name="T23" fmla="*/ 183 h 422"/>
                    <a:gd name="T24" fmla="*/ 18 w 422"/>
                    <a:gd name="T25" fmla="*/ 220 h 422"/>
                    <a:gd name="T26" fmla="*/ 55 w 422"/>
                    <a:gd name="T27" fmla="*/ 269 h 422"/>
                    <a:gd name="T28" fmla="*/ 100 w 422"/>
                    <a:gd name="T29" fmla="*/ 302 h 422"/>
                    <a:gd name="T30" fmla="*/ 180 w 422"/>
                    <a:gd name="T31" fmla="*/ 260 h 422"/>
                    <a:gd name="T32" fmla="*/ 138 w 422"/>
                    <a:gd name="T33" fmla="*/ 341 h 422"/>
                    <a:gd name="T34" fmla="*/ 171 w 422"/>
                    <a:gd name="T35" fmla="*/ 386 h 422"/>
                    <a:gd name="T36" fmla="*/ 220 w 422"/>
                    <a:gd name="T37" fmla="*/ 422 h 422"/>
                    <a:gd name="T38" fmla="*/ 422 w 422"/>
                    <a:gd name="T39" fmla="*/ 220 h 4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22" h="422">
                      <a:moveTo>
                        <a:pt x="422" y="220"/>
                      </a:moveTo>
                      <a:cubicBezTo>
                        <a:pt x="422" y="220"/>
                        <a:pt x="398" y="183"/>
                        <a:pt x="386" y="171"/>
                      </a:cubicBezTo>
                      <a:cubicBezTo>
                        <a:pt x="373" y="159"/>
                        <a:pt x="349" y="134"/>
                        <a:pt x="341" y="138"/>
                      </a:cubicBezTo>
                      <a:cubicBezTo>
                        <a:pt x="332" y="142"/>
                        <a:pt x="318" y="239"/>
                        <a:pt x="260" y="180"/>
                      </a:cubicBezTo>
                      <a:cubicBezTo>
                        <a:pt x="202" y="122"/>
                        <a:pt x="300" y="110"/>
                        <a:pt x="302" y="100"/>
                      </a:cubicBezTo>
                      <a:cubicBezTo>
                        <a:pt x="304" y="90"/>
                        <a:pt x="281" y="67"/>
                        <a:pt x="269" y="55"/>
                      </a:cubicBezTo>
                      <a:cubicBezTo>
                        <a:pt x="257" y="42"/>
                        <a:pt x="220" y="18"/>
                        <a:pt x="220" y="18"/>
                      </a:cubicBezTo>
                      <a:cubicBezTo>
                        <a:pt x="220" y="18"/>
                        <a:pt x="196" y="55"/>
                        <a:pt x="183" y="67"/>
                      </a:cubicBezTo>
                      <a:cubicBezTo>
                        <a:pt x="171" y="79"/>
                        <a:pt x="149" y="102"/>
                        <a:pt x="138" y="100"/>
                      </a:cubicBezTo>
                      <a:cubicBezTo>
                        <a:pt x="128" y="98"/>
                        <a:pt x="116" y="0"/>
                        <a:pt x="58" y="58"/>
                      </a:cubicBezTo>
                      <a:cubicBezTo>
                        <a:pt x="0" y="116"/>
                        <a:pt x="96" y="130"/>
                        <a:pt x="100" y="138"/>
                      </a:cubicBezTo>
                      <a:cubicBezTo>
                        <a:pt x="104" y="147"/>
                        <a:pt x="79" y="171"/>
                        <a:pt x="67" y="183"/>
                      </a:cubicBezTo>
                      <a:cubicBezTo>
                        <a:pt x="55" y="196"/>
                        <a:pt x="18" y="220"/>
                        <a:pt x="18" y="220"/>
                      </a:cubicBezTo>
                      <a:cubicBezTo>
                        <a:pt x="18" y="220"/>
                        <a:pt x="42" y="257"/>
                        <a:pt x="55" y="269"/>
                      </a:cubicBezTo>
                      <a:cubicBezTo>
                        <a:pt x="67" y="281"/>
                        <a:pt x="91" y="306"/>
                        <a:pt x="100" y="302"/>
                      </a:cubicBezTo>
                      <a:cubicBezTo>
                        <a:pt x="108" y="298"/>
                        <a:pt x="122" y="202"/>
                        <a:pt x="180" y="260"/>
                      </a:cubicBezTo>
                      <a:cubicBezTo>
                        <a:pt x="238" y="318"/>
                        <a:pt x="140" y="330"/>
                        <a:pt x="138" y="341"/>
                      </a:cubicBezTo>
                      <a:cubicBezTo>
                        <a:pt x="136" y="351"/>
                        <a:pt x="159" y="373"/>
                        <a:pt x="171" y="386"/>
                      </a:cubicBezTo>
                      <a:cubicBezTo>
                        <a:pt x="183" y="398"/>
                        <a:pt x="220" y="422"/>
                        <a:pt x="220" y="422"/>
                      </a:cubicBezTo>
                      <a:lnTo>
                        <a:pt x="422" y="22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grpSp>
        </p:grpSp>
        <p:sp>
          <p:nvSpPr>
            <p:cNvPr id="81" name="Rectangle 152"/>
            <p:cNvSpPr/>
            <p:nvPr/>
          </p:nvSpPr>
          <p:spPr bwMode="auto">
            <a:xfrm>
              <a:off x="669652" y="2738277"/>
              <a:ext cx="1805162" cy="37532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2C812"/>
                  </a:solidFill>
                  <a:effectLst/>
                  <a:uLnTx/>
                  <a:uFillTx/>
                  <a:latin typeface="Segoe UI"/>
                  <a:ea typeface="+mn-ea"/>
                  <a:cs typeface="Segoe UI Light" panose="020B0502040204020203" pitchFamily="34" charset="0"/>
                </a:rPr>
                <a:t>Keeping Data Current</a:t>
              </a:r>
            </a:p>
          </p:txBody>
        </p:sp>
        <p:grpSp>
          <p:nvGrpSpPr>
            <p:cNvPr id="82" name="Group 81"/>
            <p:cNvGrpSpPr/>
            <p:nvPr/>
          </p:nvGrpSpPr>
          <p:grpSpPr>
            <a:xfrm>
              <a:off x="199649" y="2692629"/>
              <a:ext cx="433844" cy="433844"/>
              <a:chOff x="342620" y="2228265"/>
              <a:chExt cx="433844" cy="433844"/>
            </a:xfrm>
            <a:solidFill>
              <a:schemeClr val="bg1"/>
            </a:solidFill>
          </p:grpSpPr>
          <p:sp>
            <p:nvSpPr>
              <p:cNvPr id="98" name="Oval 154"/>
              <p:cNvSpPr/>
              <p:nvPr/>
            </p:nvSpPr>
            <p:spPr bwMode="auto">
              <a:xfrm>
                <a:off x="342620" y="2228265"/>
                <a:ext cx="433844" cy="433844"/>
              </a:xfrm>
              <a:prstGeom prst="ellipse">
                <a:avLst/>
              </a:prstGeom>
              <a:solidFill>
                <a:srgbClr val="FFC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9" name="Freeform 30"/>
              <p:cNvSpPr>
                <a:spLocks noEditPoints="1"/>
              </p:cNvSpPr>
              <p:nvPr/>
            </p:nvSpPr>
            <p:spPr bwMode="auto">
              <a:xfrm>
                <a:off x="444786" y="2340040"/>
                <a:ext cx="238402" cy="210293"/>
              </a:xfrm>
              <a:custGeom>
                <a:avLst/>
                <a:gdLst>
                  <a:gd name="T0" fmla="*/ 883 w 916"/>
                  <a:gd name="T1" fmla="*/ 286 h 808"/>
                  <a:gd name="T2" fmla="*/ 539 w 916"/>
                  <a:gd name="T3" fmla="*/ 723 h 808"/>
                  <a:gd name="T4" fmla="*/ 504 w 916"/>
                  <a:gd name="T5" fmla="*/ 0 h 808"/>
                  <a:gd name="T6" fmla="*/ 35 w 916"/>
                  <a:gd name="T7" fmla="*/ 723 h 808"/>
                  <a:gd name="T8" fmla="*/ 0 w 916"/>
                  <a:gd name="T9" fmla="*/ 808 h 808"/>
                  <a:gd name="T10" fmla="*/ 916 w 916"/>
                  <a:gd name="T11" fmla="*/ 723 h 808"/>
                  <a:gd name="T12" fmla="*/ 229 w 916"/>
                  <a:gd name="T13" fmla="*/ 665 h 808"/>
                  <a:gd name="T14" fmla="*/ 109 w 916"/>
                  <a:gd name="T15" fmla="*/ 596 h 808"/>
                  <a:gd name="T16" fmla="*/ 229 w 916"/>
                  <a:gd name="T17" fmla="*/ 665 h 808"/>
                  <a:gd name="T18" fmla="*/ 109 w 916"/>
                  <a:gd name="T19" fmla="*/ 501 h 808"/>
                  <a:gd name="T20" fmla="*/ 229 w 916"/>
                  <a:gd name="T21" fmla="*/ 432 h 808"/>
                  <a:gd name="T22" fmla="*/ 229 w 916"/>
                  <a:gd name="T23" fmla="*/ 337 h 808"/>
                  <a:gd name="T24" fmla="*/ 109 w 916"/>
                  <a:gd name="T25" fmla="*/ 267 h 808"/>
                  <a:gd name="T26" fmla="*/ 229 w 916"/>
                  <a:gd name="T27" fmla="*/ 337 h 808"/>
                  <a:gd name="T28" fmla="*/ 109 w 916"/>
                  <a:gd name="T29" fmla="*/ 172 h 808"/>
                  <a:gd name="T30" fmla="*/ 229 w 916"/>
                  <a:gd name="T31" fmla="*/ 103 h 808"/>
                  <a:gd name="T32" fmla="*/ 428 w 916"/>
                  <a:gd name="T33" fmla="*/ 665 h 808"/>
                  <a:gd name="T34" fmla="*/ 307 w 916"/>
                  <a:gd name="T35" fmla="*/ 596 h 808"/>
                  <a:gd name="T36" fmla="*/ 428 w 916"/>
                  <a:gd name="T37" fmla="*/ 665 h 808"/>
                  <a:gd name="T38" fmla="*/ 307 w 916"/>
                  <a:gd name="T39" fmla="*/ 501 h 808"/>
                  <a:gd name="T40" fmla="*/ 428 w 916"/>
                  <a:gd name="T41" fmla="*/ 432 h 808"/>
                  <a:gd name="T42" fmla="*/ 428 w 916"/>
                  <a:gd name="T43" fmla="*/ 337 h 808"/>
                  <a:gd name="T44" fmla="*/ 307 w 916"/>
                  <a:gd name="T45" fmla="*/ 267 h 808"/>
                  <a:gd name="T46" fmla="*/ 428 w 916"/>
                  <a:gd name="T47" fmla="*/ 337 h 808"/>
                  <a:gd name="T48" fmla="*/ 307 w 916"/>
                  <a:gd name="T49" fmla="*/ 172 h 808"/>
                  <a:gd name="T50" fmla="*/ 428 w 916"/>
                  <a:gd name="T51" fmla="*/ 103 h 808"/>
                  <a:gd name="T52" fmla="*/ 684 w 916"/>
                  <a:gd name="T53" fmla="*/ 668 h 808"/>
                  <a:gd name="T54" fmla="*/ 606 w 916"/>
                  <a:gd name="T55" fmla="*/ 549 h 808"/>
                  <a:gd name="T56" fmla="*/ 684 w 916"/>
                  <a:gd name="T57" fmla="*/ 668 h 808"/>
                  <a:gd name="T58" fmla="*/ 606 w 916"/>
                  <a:gd name="T59" fmla="*/ 482 h 808"/>
                  <a:gd name="T60" fmla="*/ 684 w 916"/>
                  <a:gd name="T61" fmla="*/ 365 h 808"/>
                  <a:gd name="T62" fmla="*/ 816 w 916"/>
                  <a:gd name="T63" fmla="*/ 668 h 808"/>
                  <a:gd name="T64" fmla="*/ 738 w 916"/>
                  <a:gd name="T65" fmla="*/ 549 h 808"/>
                  <a:gd name="T66" fmla="*/ 816 w 916"/>
                  <a:gd name="T67" fmla="*/ 668 h 808"/>
                  <a:gd name="T68" fmla="*/ 738 w 916"/>
                  <a:gd name="T69" fmla="*/ 482 h 808"/>
                  <a:gd name="T70" fmla="*/ 816 w 916"/>
                  <a:gd name="T71" fmla="*/ 365 h 8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16" h="808">
                    <a:moveTo>
                      <a:pt x="883" y="723"/>
                    </a:moveTo>
                    <a:lnTo>
                      <a:pt x="883" y="286"/>
                    </a:lnTo>
                    <a:lnTo>
                      <a:pt x="539" y="286"/>
                    </a:lnTo>
                    <a:lnTo>
                      <a:pt x="539" y="723"/>
                    </a:lnTo>
                    <a:lnTo>
                      <a:pt x="504" y="723"/>
                    </a:lnTo>
                    <a:lnTo>
                      <a:pt x="504" y="0"/>
                    </a:lnTo>
                    <a:lnTo>
                      <a:pt x="35" y="0"/>
                    </a:lnTo>
                    <a:lnTo>
                      <a:pt x="35" y="723"/>
                    </a:lnTo>
                    <a:lnTo>
                      <a:pt x="0" y="723"/>
                    </a:lnTo>
                    <a:lnTo>
                      <a:pt x="0" y="808"/>
                    </a:lnTo>
                    <a:lnTo>
                      <a:pt x="916" y="808"/>
                    </a:lnTo>
                    <a:lnTo>
                      <a:pt x="916" y="723"/>
                    </a:lnTo>
                    <a:lnTo>
                      <a:pt x="883" y="723"/>
                    </a:lnTo>
                    <a:close/>
                    <a:moveTo>
                      <a:pt x="229" y="665"/>
                    </a:moveTo>
                    <a:lnTo>
                      <a:pt x="109" y="665"/>
                    </a:lnTo>
                    <a:lnTo>
                      <a:pt x="109" y="596"/>
                    </a:lnTo>
                    <a:lnTo>
                      <a:pt x="229" y="596"/>
                    </a:lnTo>
                    <a:lnTo>
                      <a:pt x="229" y="665"/>
                    </a:lnTo>
                    <a:close/>
                    <a:moveTo>
                      <a:pt x="229" y="501"/>
                    </a:moveTo>
                    <a:lnTo>
                      <a:pt x="109" y="501"/>
                    </a:lnTo>
                    <a:lnTo>
                      <a:pt x="109" y="432"/>
                    </a:lnTo>
                    <a:lnTo>
                      <a:pt x="229" y="432"/>
                    </a:lnTo>
                    <a:lnTo>
                      <a:pt x="229" y="501"/>
                    </a:lnTo>
                    <a:close/>
                    <a:moveTo>
                      <a:pt x="229" y="337"/>
                    </a:moveTo>
                    <a:lnTo>
                      <a:pt x="109" y="337"/>
                    </a:lnTo>
                    <a:lnTo>
                      <a:pt x="109" y="267"/>
                    </a:lnTo>
                    <a:lnTo>
                      <a:pt x="229" y="267"/>
                    </a:lnTo>
                    <a:lnTo>
                      <a:pt x="229" y="337"/>
                    </a:lnTo>
                    <a:close/>
                    <a:moveTo>
                      <a:pt x="229" y="172"/>
                    </a:moveTo>
                    <a:lnTo>
                      <a:pt x="109" y="172"/>
                    </a:lnTo>
                    <a:lnTo>
                      <a:pt x="109" y="103"/>
                    </a:lnTo>
                    <a:lnTo>
                      <a:pt x="229" y="103"/>
                    </a:lnTo>
                    <a:lnTo>
                      <a:pt x="229" y="172"/>
                    </a:lnTo>
                    <a:close/>
                    <a:moveTo>
                      <a:pt x="428" y="665"/>
                    </a:moveTo>
                    <a:lnTo>
                      <a:pt x="307" y="665"/>
                    </a:lnTo>
                    <a:lnTo>
                      <a:pt x="307" y="596"/>
                    </a:lnTo>
                    <a:lnTo>
                      <a:pt x="428" y="596"/>
                    </a:lnTo>
                    <a:lnTo>
                      <a:pt x="428" y="665"/>
                    </a:lnTo>
                    <a:close/>
                    <a:moveTo>
                      <a:pt x="428" y="501"/>
                    </a:moveTo>
                    <a:lnTo>
                      <a:pt x="307" y="501"/>
                    </a:lnTo>
                    <a:lnTo>
                      <a:pt x="307" y="432"/>
                    </a:lnTo>
                    <a:lnTo>
                      <a:pt x="428" y="432"/>
                    </a:lnTo>
                    <a:lnTo>
                      <a:pt x="428" y="501"/>
                    </a:lnTo>
                    <a:close/>
                    <a:moveTo>
                      <a:pt x="428" y="337"/>
                    </a:moveTo>
                    <a:lnTo>
                      <a:pt x="307" y="337"/>
                    </a:lnTo>
                    <a:lnTo>
                      <a:pt x="307" y="267"/>
                    </a:lnTo>
                    <a:lnTo>
                      <a:pt x="428" y="267"/>
                    </a:lnTo>
                    <a:lnTo>
                      <a:pt x="428" y="337"/>
                    </a:lnTo>
                    <a:close/>
                    <a:moveTo>
                      <a:pt x="428" y="172"/>
                    </a:moveTo>
                    <a:lnTo>
                      <a:pt x="307" y="172"/>
                    </a:lnTo>
                    <a:lnTo>
                      <a:pt x="307" y="103"/>
                    </a:lnTo>
                    <a:lnTo>
                      <a:pt x="428" y="103"/>
                    </a:lnTo>
                    <a:lnTo>
                      <a:pt x="428" y="172"/>
                    </a:lnTo>
                    <a:close/>
                    <a:moveTo>
                      <a:pt x="684" y="668"/>
                    </a:moveTo>
                    <a:lnTo>
                      <a:pt x="606" y="668"/>
                    </a:lnTo>
                    <a:lnTo>
                      <a:pt x="606" y="549"/>
                    </a:lnTo>
                    <a:lnTo>
                      <a:pt x="684" y="549"/>
                    </a:lnTo>
                    <a:lnTo>
                      <a:pt x="684" y="668"/>
                    </a:lnTo>
                    <a:close/>
                    <a:moveTo>
                      <a:pt x="684" y="482"/>
                    </a:moveTo>
                    <a:lnTo>
                      <a:pt x="606" y="482"/>
                    </a:lnTo>
                    <a:lnTo>
                      <a:pt x="606" y="365"/>
                    </a:lnTo>
                    <a:lnTo>
                      <a:pt x="684" y="365"/>
                    </a:lnTo>
                    <a:lnTo>
                      <a:pt x="684" y="482"/>
                    </a:lnTo>
                    <a:close/>
                    <a:moveTo>
                      <a:pt x="816" y="668"/>
                    </a:moveTo>
                    <a:lnTo>
                      <a:pt x="738" y="668"/>
                    </a:lnTo>
                    <a:lnTo>
                      <a:pt x="738" y="549"/>
                    </a:lnTo>
                    <a:lnTo>
                      <a:pt x="816" y="549"/>
                    </a:lnTo>
                    <a:lnTo>
                      <a:pt x="816" y="668"/>
                    </a:lnTo>
                    <a:close/>
                    <a:moveTo>
                      <a:pt x="816" y="482"/>
                    </a:moveTo>
                    <a:lnTo>
                      <a:pt x="738" y="482"/>
                    </a:lnTo>
                    <a:lnTo>
                      <a:pt x="738" y="365"/>
                    </a:lnTo>
                    <a:lnTo>
                      <a:pt x="816" y="365"/>
                    </a:lnTo>
                    <a:lnTo>
                      <a:pt x="816" y="482"/>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grpSp>
        <p:sp>
          <p:nvSpPr>
            <p:cNvPr id="83" name="TextBox 82"/>
            <p:cNvSpPr txBox="1"/>
            <p:nvPr/>
          </p:nvSpPr>
          <p:spPr>
            <a:xfrm>
              <a:off x="83345" y="113808"/>
              <a:ext cx="2532630" cy="627864"/>
            </a:xfrm>
            <a:prstGeom prst="rect">
              <a:avLst/>
            </a:prstGeom>
            <a:noFill/>
          </p:spPr>
          <p:txBody>
            <a:bodyPr wrap="square" lIns="182880" tIns="146304" rIns="182880" bIns="146304" rtlCol="0">
              <a:spAutoFit/>
            </a:bodyPr>
            <a:lstStyle>
              <a:defPPr>
                <a:defRPr lang="en-US"/>
              </a:defPPr>
              <a:lvl1pPr>
                <a:lnSpc>
                  <a:spcPct val="90000"/>
                </a:lnSpc>
                <a:spcAft>
                  <a:spcPts val="600"/>
                </a:spcAft>
                <a:defRPr sz="2800" b="1">
                  <a:solidFill>
                    <a:srgbClr val="F2C812"/>
                  </a:solidFill>
                  <a:latin typeface="Segoe UI Light"/>
                </a:defRPr>
              </a:lvl1p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400" b="1" i="0" u="none" strike="noStrike" kern="1200" cap="none" spc="0" normalizeH="0" baseline="0" noProof="0">
                  <a:ln>
                    <a:noFill/>
                  </a:ln>
                  <a:solidFill>
                    <a:srgbClr val="F2C812"/>
                  </a:solidFill>
                  <a:effectLst/>
                  <a:uLnTx/>
                  <a:uFillTx/>
                  <a:latin typeface="Segoe UI Light"/>
                  <a:ea typeface="+mn-ea"/>
                  <a:cs typeface="+mn-cs"/>
                </a:rPr>
                <a:t>Power BI Service</a:t>
              </a:r>
              <a:endParaRPr kumimoji="0" lang="en-US" sz="2800" b="1" i="0" u="none" strike="noStrike" kern="1200" cap="none" spc="0" normalizeH="0" baseline="0" noProof="0">
                <a:ln>
                  <a:noFill/>
                </a:ln>
                <a:solidFill>
                  <a:srgbClr val="F2C812"/>
                </a:solidFill>
                <a:effectLst/>
                <a:uLnTx/>
                <a:uFillTx/>
                <a:latin typeface="Segoe UI Light"/>
                <a:ea typeface="+mn-ea"/>
                <a:cs typeface="+mn-cs"/>
              </a:endParaRPr>
            </a:p>
          </p:txBody>
        </p:sp>
        <p:grpSp>
          <p:nvGrpSpPr>
            <p:cNvPr id="84" name="Group 83"/>
            <p:cNvGrpSpPr/>
            <p:nvPr/>
          </p:nvGrpSpPr>
          <p:grpSpPr>
            <a:xfrm>
              <a:off x="219373" y="3621383"/>
              <a:ext cx="433844" cy="645668"/>
              <a:chOff x="280990" y="3358164"/>
              <a:chExt cx="433844" cy="645668"/>
            </a:xfrm>
          </p:grpSpPr>
          <p:sp>
            <p:nvSpPr>
              <p:cNvPr id="91" name="Oval 1083"/>
              <p:cNvSpPr/>
              <p:nvPr/>
            </p:nvSpPr>
            <p:spPr bwMode="auto">
              <a:xfrm>
                <a:off x="280990" y="3358164"/>
                <a:ext cx="433844" cy="433847"/>
              </a:xfrm>
              <a:prstGeom prst="ellipse">
                <a:avLst/>
              </a:prstGeom>
              <a:solidFill>
                <a:srgbClr val="F2C812"/>
              </a:solidFill>
              <a:ln>
                <a:solidFill>
                  <a:srgbClr val="FFCC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92" name="Group 379"/>
              <p:cNvGrpSpPr/>
              <p:nvPr/>
            </p:nvGrpSpPr>
            <p:grpSpPr>
              <a:xfrm>
                <a:off x="453702" y="3910852"/>
                <a:ext cx="175660" cy="92980"/>
                <a:chOff x="3895793" y="7466656"/>
                <a:chExt cx="785810" cy="415941"/>
              </a:xfrm>
              <a:solidFill>
                <a:srgbClr val="00BCF2"/>
              </a:solidFill>
            </p:grpSpPr>
            <p:sp>
              <p:nvSpPr>
                <p:cNvPr id="93" name="Freeform 132"/>
                <p:cNvSpPr>
                  <a:spLocks/>
                </p:cNvSpPr>
                <p:nvPr/>
              </p:nvSpPr>
              <p:spPr bwMode="auto">
                <a:xfrm>
                  <a:off x="4125979" y="7688918"/>
                  <a:ext cx="0" cy="6353"/>
                </a:xfrm>
                <a:custGeom>
                  <a:avLst/>
                  <a:gdLst>
                    <a:gd name="T0" fmla="*/ 1 w 1"/>
                    <a:gd name="T1" fmla="*/ 0 h 8"/>
                    <a:gd name="T2" fmla="*/ 0 w 1"/>
                    <a:gd name="T3" fmla="*/ 0 h 8"/>
                    <a:gd name="T4" fmla="*/ 1 w 1"/>
                    <a:gd name="T5" fmla="*/ 8 h 8"/>
                    <a:gd name="T6" fmla="*/ 1 w 1"/>
                    <a:gd name="T7" fmla="*/ 0 h 8"/>
                  </a:gdLst>
                  <a:ahLst/>
                  <a:cxnLst>
                    <a:cxn ang="0">
                      <a:pos x="T0" y="T1"/>
                    </a:cxn>
                    <a:cxn ang="0">
                      <a:pos x="T2" y="T3"/>
                    </a:cxn>
                    <a:cxn ang="0">
                      <a:pos x="T4" y="T5"/>
                    </a:cxn>
                    <a:cxn ang="0">
                      <a:pos x="T6" y="T7"/>
                    </a:cxn>
                  </a:cxnLst>
                  <a:rect l="0" t="0" r="r" b="b"/>
                  <a:pathLst>
                    <a:path w="1" h="8">
                      <a:moveTo>
                        <a:pt x="1" y="0"/>
                      </a:moveTo>
                      <a:cubicBezTo>
                        <a:pt x="0" y="0"/>
                        <a:pt x="0" y="0"/>
                        <a:pt x="0" y="0"/>
                      </a:cubicBezTo>
                      <a:cubicBezTo>
                        <a:pt x="0" y="3"/>
                        <a:pt x="1" y="5"/>
                        <a:pt x="1" y="8"/>
                      </a:cubicBezTo>
                      <a:lnTo>
                        <a:pt x="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94" name="Freeform 133"/>
                <p:cNvSpPr>
                  <a:spLocks/>
                </p:cNvSpPr>
                <p:nvPr/>
              </p:nvSpPr>
              <p:spPr bwMode="auto">
                <a:xfrm>
                  <a:off x="3895793" y="7812745"/>
                  <a:ext cx="219078" cy="69852"/>
                </a:xfrm>
                <a:custGeom>
                  <a:avLst/>
                  <a:gdLst>
                    <a:gd name="T0" fmla="*/ 186 w 238"/>
                    <a:gd name="T1" fmla="*/ 9 h 76"/>
                    <a:gd name="T2" fmla="*/ 131 w 238"/>
                    <a:gd name="T3" fmla="*/ 22 h 76"/>
                    <a:gd name="T4" fmla="*/ 60 w 238"/>
                    <a:gd name="T5" fmla="*/ 0 h 76"/>
                    <a:gd name="T6" fmla="*/ 0 w 238"/>
                    <a:gd name="T7" fmla="*/ 42 h 76"/>
                    <a:gd name="T8" fmla="*/ 0 w 238"/>
                    <a:gd name="T9" fmla="*/ 76 h 76"/>
                    <a:gd name="T10" fmla="*/ 238 w 238"/>
                    <a:gd name="T11" fmla="*/ 76 h 76"/>
                    <a:gd name="T12" fmla="*/ 236 w 238"/>
                    <a:gd name="T13" fmla="*/ 53 h 76"/>
                    <a:gd name="T14" fmla="*/ 236 w 238"/>
                    <a:gd name="T15" fmla="*/ 49 h 76"/>
                    <a:gd name="T16" fmla="*/ 186 w 238"/>
                    <a:gd name="T17" fmla="*/ 9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8" h="76">
                      <a:moveTo>
                        <a:pt x="186" y="9"/>
                      </a:moveTo>
                      <a:cubicBezTo>
                        <a:pt x="169" y="18"/>
                        <a:pt x="150" y="22"/>
                        <a:pt x="131" y="22"/>
                      </a:cubicBezTo>
                      <a:cubicBezTo>
                        <a:pt x="105" y="22"/>
                        <a:pt x="80" y="14"/>
                        <a:pt x="60" y="0"/>
                      </a:cubicBezTo>
                      <a:cubicBezTo>
                        <a:pt x="0" y="42"/>
                        <a:pt x="0" y="42"/>
                        <a:pt x="0" y="42"/>
                      </a:cubicBezTo>
                      <a:cubicBezTo>
                        <a:pt x="0" y="76"/>
                        <a:pt x="0" y="76"/>
                        <a:pt x="0" y="76"/>
                      </a:cubicBezTo>
                      <a:cubicBezTo>
                        <a:pt x="238" y="76"/>
                        <a:pt x="238" y="76"/>
                        <a:pt x="238" y="76"/>
                      </a:cubicBezTo>
                      <a:cubicBezTo>
                        <a:pt x="237" y="68"/>
                        <a:pt x="236" y="61"/>
                        <a:pt x="236" y="53"/>
                      </a:cubicBezTo>
                      <a:cubicBezTo>
                        <a:pt x="236" y="51"/>
                        <a:pt x="236" y="50"/>
                        <a:pt x="236" y="49"/>
                      </a:cubicBezTo>
                      <a:lnTo>
                        <a:pt x="186" y="9"/>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95" name="Freeform 137"/>
                <p:cNvSpPr>
                  <a:spLocks/>
                </p:cNvSpPr>
                <p:nvPr/>
              </p:nvSpPr>
              <p:spPr bwMode="auto">
                <a:xfrm>
                  <a:off x="4338704" y="7809561"/>
                  <a:ext cx="65090" cy="73028"/>
                </a:xfrm>
                <a:custGeom>
                  <a:avLst/>
                  <a:gdLst>
                    <a:gd name="T0" fmla="*/ 71 w 71"/>
                    <a:gd name="T1" fmla="*/ 79 h 79"/>
                    <a:gd name="T2" fmla="*/ 71 w 71"/>
                    <a:gd name="T3" fmla="*/ 0 h 79"/>
                    <a:gd name="T4" fmla="*/ 2 w 71"/>
                    <a:gd name="T5" fmla="*/ 53 h 79"/>
                    <a:gd name="T6" fmla="*/ 2 w 71"/>
                    <a:gd name="T7" fmla="*/ 56 h 79"/>
                    <a:gd name="T8" fmla="*/ 0 w 71"/>
                    <a:gd name="T9" fmla="*/ 79 h 79"/>
                    <a:gd name="T10" fmla="*/ 71 w 71"/>
                    <a:gd name="T11" fmla="*/ 79 h 79"/>
                  </a:gdLst>
                  <a:ahLst/>
                  <a:cxnLst>
                    <a:cxn ang="0">
                      <a:pos x="T0" y="T1"/>
                    </a:cxn>
                    <a:cxn ang="0">
                      <a:pos x="T2" y="T3"/>
                    </a:cxn>
                    <a:cxn ang="0">
                      <a:pos x="T4" y="T5"/>
                    </a:cxn>
                    <a:cxn ang="0">
                      <a:pos x="T6" y="T7"/>
                    </a:cxn>
                    <a:cxn ang="0">
                      <a:pos x="T8" y="T9"/>
                    </a:cxn>
                    <a:cxn ang="0">
                      <a:pos x="T10" y="T11"/>
                    </a:cxn>
                  </a:cxnLst>
                  <a:rect l="0" t="0" r="r" b="b"/>
                  <a:pathLst>
                    <a:path w="71" h="79">
                      <a:moveTo>
                        <a:pt x="71" y="79"/>
                      </a:moveTo>
                      <a:cubicBezTo>
                        <a:pt x="71" y="0"/>
                        <a:pt x="71" y="0"/>
                        <a:pt x="71" y="0"/>
                      </a:cubicBezTo>
                      <a:cubicBezTo>
                        <a:pt x="2" y="53"/>
                        <a:pt x="2" y="53"/>
                        <a:pt x="2" y="53"/>
                      </a:cubicBezTo>
                      <a:cubicBezTo>
                        <a:pt x="2" y="54"/>
                        <a:pt x="2" y="55"/>
                        <a:pt x="2" y="56"/>
                      </a:cubicBezTo>
                      <a:cubicBezTo>
                        <a:pt x="2" y="64"/>
                        <a:pt x="1" y="71"/>
                        <a:pt x="0" y="79"/>
                      </a:cubicBezTo>
                      <a:lnTo>
                        <a:pt x="71" y="79"/>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96" name="Freeform 140"/>
                <p:cNvSpPr>
                  <a:spLocks/>
                </p:cNvSpPr>
                <p:nvPr/>
              </p:nvSpPr>
              <p:spPr bwMode="auto">
                <a:xfrm>
                  <a:off x="4600643" y="7622229"/>
                  <a:ext cx="80960" cy="38099"/>
                </a:xfrm>
                <a:custGeom>
                  <a:avLst/>
                  <a:gdLst>
                    <a:gd name="T0" fmla="*/ 0 w 51"/>
                    <a:gd name="T1" fmla="*/ 24 h 24"/>
                    <a:gd name="T2" fmla="*/ 51 w 51"/>
                    <a:gd name="T3" fmla="*/ 24 h 24"/>
                    <a:gd name="T4" fmla="*/ 32 w 51"/>
                    <a:gd name="T5" fmla="*/ 0 h 24"/>
                    <a:gd name="T6" fmla="*/ 0 w 51"/>
                    <a:gd name="T7" fmla="*/ 24 h 24"/>
                  </a:gdLst>
                  <a:ahLst/>
                  <a:cxnLst>
                    <a:cxn ang="0">
                      <a:pos x="T0" y="T1"/>
                    </a:cxn>
                    <a:cxn ang="0">
                      <a:pos x="T2" y="T3"/>
                    </a:cxn>
                    <a:cxn ang="0">
                      <a:pos x="T4" y="T5"/>
                    </a:cxn>
                    <a:cxn ang="0">
                      <a:pos x="T6" y="T7"/>
                    </a:cxn>
                  </a:cxnLst>
                  <a:rect l="0" t="0" r="r" b="b"/>
                  <a:pathLst>
                    <a:path w="51" h="24">
                      <a:moveTo>
                        <a:pt x="0" y="24"/>
                      </a:moveTo>
                      <a:lnTo>
                        <a:pt x="51" y="24"/>
                      </a:lnTo>
                      <a:lnTo>
                        <a:pt x="32" y="0"/>
                      </a:lnTo>
                      <a:lnTo>
                        <a:pt x="0" y="24"/>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97" name="Freeform 141"/>
                <p:cNvSpPr>
                  <a:spLocks/>
                </p:cNvSpPr>
                <p:nvPr/>
              </p:nvSpPr>
              <p:spPr bwMode="auto">
                <a:xfrm>
                  <a:off x="4449825" y="7466656"/>
                  <a:ext cx="119065" cy="139703"/>
                </a:xfrm>
                <a:custGeom>
                  <a:avLst/>
                  <a:gdLst>
                    <a:gd name="T0" fmla="*/ 52 w 75"/>
                    <a:gd name="T1" fmla="*/ 0 h 88"/>
                    <a:gd name="T2" fmla="*/ 0 w 75"/>
                    <a:gd name="T3" fmla="*/ 0 h 88"/>
                    <a:gd name="T4" fmla="*/ 0 w 75"/>
                    <a:gd name="T5" fmla="*/ 88 h 88"/>
                    <a:gd name="T6" fmla="*/ 75 w 75"/>
                    <a:gd name="T7" fmla="*/ 30 h 88"/>
                    <a:gd name="T8" fmla="*/ 52 w 75"/>
                    <a:gd name="T9" fmla="*/ 0 h 88"/>
                  </a:gdLst>
                  <a:ahLst/>
                  <a:cxnLst>
                    <a:cxn ang="0">
                      <a:pos x="T0" y="T1"/>
                    </a:cxn>
                    <a:cxn ang="0">
                      <a:pos x="T2" y="T3"/>
                    </a:cxn>
                    <a:cxn ang="0">
                      <a:pos x="T4" y="T5"/>
                    </a:cxn>
                    <a:cxn ang="0">
                      <a:pos x="T6" y="T7"/>
                    </a:cxn>
                    <a:cxn ang="0">
                      <a:pos x="T8" y="T9"/>
                    </a:cxn>
                  </a:cxnLst>
                  <a:rect l="0" t="0" r="r" b="b"/>
                  <a:pathLst>
                    <a:path w="75" h="88">
                      <a:moveTo>
                        <a:pt x="52" y="0"/>
                      </a:moveTo>
                      <a:lnTo>
                        <a:pt x="0" y="0"/>
                      </a:lnTo>
                      <a:lnTo>
                        <a:pt x="0" y="88"/>
                      </a:lnTo>
                      <a:lnTo>
                        <a:pt x="75" y="30"/>
                      </a:lnTo>
                      <a:lnTo>
                        <a:pt x="52"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grpSp>
        </p:grpSp>
        <p:sp>
          <p:nvSpPr>
            <p:cNvPr id="85" name="Rectangle 152"/>
            <p:cNvSpPr/>
            <p:nvPr/>
          </p:nvSpPr>
          <p:spPr bwMode="auto">
            <a:xfrm>
              <a:off x="712458" y="3628917"/>
              <a:ext cx="1805162" cy="37532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2C812"/>
                  </a:solidFill>
                  <a:effectLst/>
                  <a:uLnTx/>
                  <a:uFillTx/>
                  <a:latin typeface="Segoe UI"/>
                  <a:ea typeface="+mn-ea"/>
                  <a:cs typeface="Segoe UI Light" panose="020B0502040204020203" pitchFamily="34" charset="0"/>
                </a:rPr>
                <a:t>Q&amp;A and </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2C812"/>
                  </a:solidFill>
                  <a:effectLst/>
                  <a:uLnTx/>
                  <a:uFillTx/>
                  <a:latin typeface="Segoe UI"/>
                  <a:ea typeface="+mn-ea"/>
                  <a:cs typeface="Segoe UI Light" panose="020B0502040204020203" pitchFamily="34" charset="0"/>
                </a:rPr>
                <a:t>Quick Insights</a:t>
              </a:r>
              <a:endParaRPr kumimoji="0" lang="en-US" sz="1200" b="1" i="0" u="none" strike="noStrike" kern="1200" cap="none" spc="0" normalizeH="0" baseline="0" noProof="0">
                <a:ln>
                  <a:noFill/>
                </a:ln>
                <a:solidFill>
                  <a:srgbClr val="F2C812"/>
                </a:solidFill>
                <a:effectLst/>
                <a:uLnTx/>
                <a:uFillTx/>
                <a:latin typeface="Segoe UI"/>
                <a:ea typeface="+mn-ea"/>
                <a:cs typeface="Segoe UI Light" panose="020B0502040204020203" pitchFamily="34" charset="0"/>
              </a:endParaRPr>
            </a:p>
          </p:txBody>
        </p:sp>
        <p:sp>
          <p:nvSpPr>
            <p:cNvPr id="86" name="Oval 162"/>
            <p:cNvSpPr/>
            <p:nvPr/>
          </p:nvSpPr>
          <p:spPr bwMode="auto">
            <a:xfrm>
              <a:off x="226619" y="4551712"/>
              <a:ext cx="433844" cy="433844"/>
            </a:xfrm>
            <a:prstGeom prst="ellipse">
              <a:avLst/>
            </a:prstGeom>
            <a:solidFill>
              <a:srgbClr val="F2C812"/>
            </a:solidFill>
            <a:ln>
              <a:solidFill>
                <a:srgbClr val="FFCC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8" name="Rectangle 152"/>
            <p:cNvSpPr/>
            <p:nvPr/>
          </p:nvSpPr>
          <p:spPr bwMode="auto">
            <a:xfrm>
              <a:off x="738443" y="4596194"/>
              <a:ext cx="1884825" cy="30233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2C812"/>
                  </a:solidFill>
                  <a:effectLst/>
                  <a:uLnTx/>
                  <a:uFillTx/>
                  <a:latin typeface="Segoe UI"/>
                  <a:ea typeface="+mn-ea"/>
                  <a:cs typeface="Segoe UI Light" panose="020B0502040204020203" pitchFamily="34" charset="0"/>
                </a:rPr>
                <a:t>Sharing</a:t>
              </a:r>
              <a:endParaRPr kumimoji="0" lang="en-US" sz="1200" b="1" i="1" u="none" strike="noStrike" kern="1200" cap="none" spc="0" normalizeH="0" baseline="0" noProof="0">
                <a:ln>
                  <a:noFill/>
                </a:ln>
                <a:solidFill>
                  <a:srgbClr val="F2C812"/>
                </a:solidFill>
                <a:effectLst/>
                <a:uLnTx/>
                <a:uFillTx/>
                <a:latin typeface="Segoe UI"/>
                <a:ea typeface="+mn-ea"/>
                <a:cs typeface="Segoe UI Light" panose="020B0502040204020203" pitchFamily="34" charset="0"/>
              </a:endParaRPr>
            </a:p>
          </p:txBody>
        </p:sp>
        <p:sp>
          <p:nvSpPr>
            <p:cNvPr id="89" name="Rectangle 145"/>
            <p:cNvSpPr/>
            <p:nvPr/>
          </p:nvSpPr>
          <p:spPr bwMode="auto">
            <a:xfrm>
              <a:off x="697198" y="1847637"/>
              <a:ext cx="1821468" cy="3831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2C812"/>
                  </a:solidFill>
                  <a:effectLst/>
                  <a:uLnTx/>
                  <a:uFillTx/>
                  <a:latin typeface="Segoe UI"/>
                  <a:ea typeface="+mn-ea"/>
                  <a:cs typeface="Segoe UI Light" panose="020B0502040204020203" pitchFamily="34" charset="0"/>
                </a:rPr>
                <a:t>Pinning and Navigation</a:t>
              </a:r>
            </a:p>
          </p:txBody>
        </p:sp>
        <p:sp>
          <p:nvSpPr>
            <p:cNvPr id="90" name="Oval 162"/>
            <p:cNvSpPr/>
            <p:nvPr/>
          </p:nvSpPr>
          <p:spPr bwMode="auto">
            <a:xfrm>
              <a:off x="224136" y="1813606"/>
              <a:ext cx="433844" cy="433844"/>
            </a:xfrm>
            <a:prstGeom prst="ellipse">
              <a:avLst/>
            </a:prstGeom>
            <a:solidFill>
              <a:srgbClr val="FFCC00"/>
            </a:solidFill>
            <a:ln>
              <a:solidFill>
                <a:srgbClr val="F2C81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pic>
        <p:nvPicPr>
          <p:cNvPr id="104" name="Picture 103"/>
          <p:cNvPicPr>
            <a:picLocks noChangeAspect="1"/>
          </p:cNvPicPr>
          <p:nvPr/>
        </p:nvPicPr>
        <p:blipFill rotWithShape="1">
          <a:blip r:embed="rId3"/>
          <a:srcRect l="6503" t="21287" r="74698" b="20220"/>
          <a:stretch/>
        </p:blipFill>
        <p:spPr>
          <a:xfrm>
            <a:off x="339111" y="1946110"/>
            <a:ext cx="228600" cy="231962"/>
          </a:xfrm>
          <a:prstGeom prst="rect">
            <a:avLst/>
          </a:prstGeom>
        </p:spPr>
      </p:pic>
      <p:pic>
        <p:nvPicPr>
          <p:cNvPr id="105" name="Picture 104"/>
          <p:cNvPicPr>
            <a:picLocks noChangeAspect="1"/>
          </p:cNvPicPr>
          <p:nvPr/>
        </p:nvPicPr>
        <p:blipFill>
          <a:blip r:embed="rId4"/>
          <a:stretch>
            <a:fillRect/>
          </a:stretch>
        </p:blipFill>
        <p:spPr>
          <a:xfrm>
            <a:off x="284769" y="3673076"/>
            <a:ext cx="311766" cy="303106"/>
          </a:xfrm>
          <a:prstGeom prst="rect">
            <a:avLst/>
          </a:prstGeom>
        </p:spPr>
      </p:pic>
      <p:sp>
        <p:nvSpPr>
          <p:cNvPr id="106" name="Rectangle 145"/>
          <p:cNvSpPr/>
          <p:nvPr/>
        </p:nvSpPr>
        <p:spPr bwMode="auto">
          <a:xfrm>
            <a:off x="718897" y="5436715"/>
            <a:ext cx="1821468" cy="3831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2C812"/>
                </a:solidFill>
                <a:effectLst/>
                <a:uLnTx/>
                <a:uFillTx/>
                <a:latin typeface="Segoe UI"/>
                <a:ea typeface="+mn-ea"/>
                <a:cs typeface="Segoe UI Light" panose="020B0502040204020203" pitchFamily="34" charset="0"/>
              </a:rPr>
              <a:t>Connect from Excel</a:t>
            </a:r>
          </a:p>
        </p:txBody>
      </p:sp>
      <p:sp>
        <p:nvSpPr>
          <p:cNvPr id="107" name="Oval 162"/>
          <p:cNvSpPr/>
          <p:nvPr/>
        </p:nvSpPr>
        <p:spPr bwMode="auto">
          <a:xfrm>
            <a:off x="231441" y="5429649"/>
            <a:ext cx="433844" cy="433844"/>
          </a:xfrm>
          <a:prstGeom prst="ellipse">
            <a:avLst/>
          </a:prstGeom>
          <a:solidFill>
            <a:srgbClr val="FFCC00"/>
          </a:solidFill>
          <a:ln>
            <a:solidFill>
              <a:srgbClr val="F2C81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08" name="Picture 107"/>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flipH="1">
            <a:off x="283763" y="4596680"/>
            <a:ext cx="357484" cy="357484"/>
          </a:xfrm>
          <a:prstGeom prst="rect">
            <a:avLst/>
          </a:prstGeom>
        </p:spPr>
      </p:pic>
      <p:sp>
        <p:nvSpPr>
          <p:cNvPr id="109" name="Oval 162"/>
          <p:cNvSpPr/>
          <p:nvPr/>
        </p:nvSpPr>
        <p:spPr bwMode="auto">
          <a:xfrm>
            <a:off x="233032" y="6267344"/>
            <a:ext cx="433844" cy="433844"/>
          </a:xfrm>
          <a:prstGeom prst="ellipse">
            <a:avLst/>
          </a:prstGeom>
          <a:solidFill>
            <a:srgbClr val="FFCC00"/>
          </a:solidFill>
          <a:ln>
            <a:solidFill>
              <a:srgbClr val="F2C81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0" name="Rectangle 145"/>
          <p:cNvSpPr/>
          <p:nvPr/>
        </p:nvSpPr>
        <p:spPr bwMode="auto">
          <a:xfrm>
            <a:off x="701416" y="6289969"/>
            <a:ext cx="1821468" cy="3831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2C812"/>
                </a:solidFill>
                <a:effectLst/>
                <a:uLnTx/>
                <a:uFillTx/>
                <a:latin typeface="Segoe UI"/>
                <a:ea typeface="+mn-ea"/>
                <a:cs typeface="Segoe UI Light" panose="020B0502040204020203" pitchFamily="34" charset="0"/>
              </a:rPr>
              <a:t>Mobile Reports</a:t>
            </a:r>
          </a:p>
        </p:txBody>
      </p:sp>
      <p:pic>
        <p:nvPicPr>
          <p:cNvPr id="111" name="Picture 110"/>
          <p:cNvPicPr>
            <a:picLocks noChangeAspect="1"/>
          </p:cNvPicPr>
          <p:nvPr/>
        </p:nvPicPr>
        <p:blipFill>
          <a:blip r:embed="rId6" cstate="print">
            <a:extLst>
              <a:ext uri="{BEBA8EAE-BF5A-486C-A8C5-ECC9F3942E4B}">
                <a14:imgProps xmlns:a14="http://schemas.microsoft.com/office/drawing/2010/main">
                  <a14:imgLayer r:embed="rId7">
                    <a14:imgEffect>
                      <a14:saturation sat="0"/>
                    </a14:imgEffect>
                  </a14:imgLayer>
                </a14:imgProps>
              </a:ext>
              <a:ext uri="{28A0092B-C50C-407E-A947-70E740481C1C}">
                <a14:useLocalDpi xmlns:a14="http://schemas.microsoft.com/office/drawing/2010/main" val="0"/>
              </a:ext>
            </a:extLst>
          </a:blip>
          <a:stretch>
            <a:fillRect/>
          </a:stretch>
        </p:blipFill>
        <p:spPr>
          <a:xfrm>
            <a:off x="391946" y="6350039"/>
            <a:ext cx="133350" cy="251587"/>
          </a:xfrm>
          <a:prstGeom prst="rect">
            <a:avLst/>
          </a:prstGeom>
        </p:spPr>
      </p:pic>
      <p:pic>
        <p:nvPicPr>
          <p:cNvPr id="112" name="Picture 111"/>
          <p:cNvPicPr>
            <a:picLocks noChangeAspect="1"/>
          </p:cNvPicPr>
          <p:nvPr/>
        </p:nvPicPr>
        <p:blipFill>
          <a:blip r:embed="rId8" cstate="print">
            <a:biLevel thresh="50000"/>
            <a:extLst>
              <a:ext uri="{28A0092B-C50C-407E-A947-70E740481C1C}">
                <a14:useLocalDpi xmlns:a14="http://schemas.microsoft.com/office/drawing/2010/main" val="0"/>
              </a:ext>
            </a:extLst>
          </a:blip>
          <a:stretch>
            <a:fillRect/>
          </a:stretch>
        </p:blipFill>
        <p:spPr>
          <a:xfrm>
            <a:off x="332658" y="5538489"/>
            <a:ext cx="268940" cy="268940"/>
          </a:xfrm>
          <a:prstGeom prst="rect">
            <a:avLst/>
          </a:prstGeom>
        </p:spPr>
      </p:pic>
      <p:sp>
        <p:nvSpPr>
          <p:cNvPr id="113" name="Rectangle 112"/>
          <p:cNvSpPr/>
          <p:nvPr/>
        </p:nvSpPr>
        <p:spPr bwMode="auto">
          <a:xfrm>
            <a:off x="35912" y="5223435"/>
            <a:ext cx="2464420" cy="1564989"/>
          </a:xfrm>
          <a:prstGeom prst="rect">
            <a:avLst/>
          </a:prstGeom>
          <a:solidFill>
            <a:srgbClr val="000000">
              <a:alpha val="6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4" name="Rectangle 113"/>
          <p:cNvSpPr/>
          <p:nvPr/>
        </p:nvSpPr>
        <p:spPr bwMode="auto">
          <a:xfrm>
            <a:off x="95936" y="731575"/>
            <a:ext cx="2464420" cy="3635751"/>
          </a:xfrm>
          <a:prstGeom prst="rect">
            <a:avLst/>
          </a:prstGeom>
          <a:solidFill>
            <a:srgbClr val="000000">
              <a:alpha val="6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24647461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 name="Title 10"/>
          <p:cNvSpPr txBox="1">
            <a:spLocks/>
          </p:cNvSpPr>
          <p:nvPr/>
        </p:nvSpPr>
        <p:spPr>
          <a:xfrm>
            <a:off x="2849060" y="0"/>
            <a:ext cx="9342940" cy="665151"/>
          </a:xfrm>
          <a:prstGeom prst="rect">
            <a:avLst/>
          </a:prstGeom>
          <a:noFill/>
        </p:spPr>
        <p:txBody>
          <a:bodyPr vert="horz" wrap="square" lIns="0" tIns="91440" rIns="0" bIns="91440" rtlCol="0" anchor="t">
            <a:noAutofit/>
          </a:bodyPr>
          <a:lstStyle>
            <a:lvl1pPr defTabSz="914367">
              <a:lnSpc>
                <a:spcPct val="90000"/>
              </a:lnSpc>
              <a:spcBef>
                <a:spcPct val="0"/>
              </a:spcBef>
              <a:buNone/>
              <a:defRPr lang="en-US" sz="5294" b="0" cap="none" spc="-100" baseline="0" dirty="0" smtClean="0">
                <a:ln w="3175">
                  <a:noFill/>
                </a:ln>
                <a:solidFill>
                  <a:schemeClr val="tx2"/>
                </a:solidFill>
                <a:effectLst/>
                <a:latin typeface="+mj-lt"/>
                <a:cs typeface="Segoe UI" pitchFamily="34" charset="0"/>
              </a:defRPr>
            </a:lvl1pPr>
          </a:lstStyle>
          <a:p>
            <a:pPr marL="168275" marR="0" lvl="0" indent="0" algn="l" defTabSz="914367" rtl="0" eaLnBrk="1" fontAlgn="auto" latinLnBrk="0" hangingPunct="1">
              <a:lnSpc>
                <a:spcPct val="90000"/>
              </a:lnSpc>
              <a:spcBef>
                <a:spcPct val="0"/>
              </a:spcBef>
              <a:spcAft>
                <a:spcPts val="0"/>
              </a:spcAft>
              <a:buClrTx/>
              <a:buSzTx/>
              <a:buFontTx/>
              <a:buNone/>
              <a:tabLst/>
              <a:defRPr/>
            </a:pPr>
            <a:r>
              <a:rPr kumimoji="0" lang="en-US" sz="3600" b="0" i="0" u="none" strike="noStrike" kern="1200" cap="none" spc="-100" normalizeH="0" baseline="0" noProof="0">
                <a:ln w="3175">
                  <a:noFill/>
                </a:ln>
                <a:solidFill>
                  <a:prstClr val="black"/>
                </a:solidFill>
                <a:effectLst/>
                <a:uLnTx/>
                <a:uFillTx/>
                <a:latin typeface="Segoe UI Light"/>
                <a:ea typeface="+mn-ea"/>
                <a:cs typeface="Segoe UI" pitchFamily="34" charset="0"/>
              </a:rPr>
              <a:t>Sharing</a:t>
            </a:r>
            <a:endParaRPr kumimoji="0" lang="en-IN" sz="3600" b="0" i="0" u="none" strike="noStrike" kern="1200" cap="none" spc="-100" normalizeH="0" baseline="0" noProof="0">
              <a:ln w="3175">
                <a:noFill/>
              </a:ln>
              <a:solidFill>
                <a:prstClr val="black"/>
              </a:solidFill>
              <a:effectLst/>
              <a:uLnTx/>
              <a:uFillTx/>
              <a:latin typeface="Segoe UI Light"/>
              <a:ea typeface="+mn-ea"/>
              <a:cs typeface="Segoe UI" pitchFamily="34" charset="0"/>
            </a:endParaRPr>
          </a:p>
        </p:txBody>
      </p:sp>
      <p:sp>
        <p:nvSpPr>
          <p:cNvPr id="41" name="Rectangle 3"/>
          <p:cNvSpPr/>
          <p:nvPr/>
        </p:nvSpPr>
        <p:spPr bwMode="auto">
          <a:xfrm>
            <a:off x="3202216" y="704712"/>
            <a:ext cx="8105312" cy="44435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PT" sz="2000" b="0" i="1" u="none" strike="noStrike" kern="1200" cap="none" spc="0" normalizeH="0" baseline="0" noProof="0">
                <a:ln>
                  <a:noFill/>
                </a:ln>
                <a:solidFill>
                  <a:prstClr val="black"/>
                </a:solidFill>
                <a:effectLst/>
                <a:uLnTx/>
                <a:uFillTx/>
                <a:latin typeface="Segoe UI Light"/>
                <a:ea typeface="+mn-ea"/>
                <a:cs typeface="+mn-cs"/>
              </a:rPr>
              <a:t>Peer-to-peer/Peer-to-distribution group</a:t>
            </a:r>
            <a:endParaRPr kumimoji="0" lang="en-US" sz="2000" b="0" i="1" u="none" strike="noStrike" kern="1200" cap="none" spc="0" normalizeH="0" baseline="0" noProof="0">
              <a:ln>
                <a:noFill/>
              </a:ln>
              <a:solidFill>
                <a:prstClr val="black"/>
              </a:solidFill>
              <a:effectLst/>
              <a:uLnTx/>
              <a:uFillTx/>
              <a:latin typeface="Segoe UI Light"/>
              <a:ea typeface="+mn-ea"/>
              <a:cs typeface="+mn-cs"/>
            </a:endParaRPr>
          </a:p>
        </p:txBody>
      </p:sp>
      <p:sp>
        <p:nvSpPr>
          <p:cNvPr id="87" name="Text Placeholder 2"/>
          <p:cNvSpPr txBox="1">
            <a:spLocks/>
          </p:cNvSpPr>
          <p:nvPr/>
        </p:nvSpPr>
        <p:spPr>
          <a:xfrm>
            <a:off x="2941659" y="1566849"/>
            <a:ext cx="8707001" cy="897374"/>
          </a:xfrm>
          <a:prstGeom prst="rect">
            <a:avLst/>
          </a:prstGeom>
        </p:spPr>
        <p:txBody>
          <a:bodyPr vert="horz" wrap="square" lIns="182880" tIns="146304" rIns="182880" bIns="146304" rtlCol="0">
            <a:noAutofit/>
          </a:bodyPr>
          <a:lstStyle>
            <a:lvl1pPr marL="182845" marR="0"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3921" kern="1200" spc="0" baseline="0">
                <a:gradFill>
                  <a:gsLst>
                    <a:gs pos="1250">
                      <a:schemeClr val="tx2"/>
                    </a:gs>
                    <a:gs pos="99000">
                      <a:schemeClr val="tx2"/>
                    </a:gs>
                  </a:gsLst>
                  <a:lin ang="5400000" scaled="0"/>
                </a:gradFill>
                <a:latin typeface="+mj-lt"/>
                <a:ea typeface="+mn-ea"/>
                <a:cs typeface="+mn-cs"/>
              </a:defRPr>
            </a:lvl1pPr>
            <a:lvl2pPr marL="365690" marR="0"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2400" kern="1200" spc="0" baseline="0">
                <a:solidFill>
                  <a:schemeClr val="tx2"/>
                </a:solidFill>
                <a:latin typeface="+mj-lt"/>
                <a:ea typeface="+mn-ea"/>
                <a:cs typeface="+mn-cs"/>
              </a:defRPr>
            </a:lvl2pPr>
            <a:lvl3pPr marL="548535" marR="0"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2000" kern="1200" spc="0" baseline="0">
                <a:solidFill>
                  <a:schemeClr val="tx2"/>
                </a:solidFill>
                <a:latin typeface="+mj-lt"/>
                <a:ea typeface="+mn-ea"/>
                <a:cs typeface="+mn-cs"/>
              </a:defRPr>
            </a:lvl3pPr>
            <a:lvl4pPr marL="733802" marR="0" indent="-28569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1765" kern="1200" spc="0" baseline="0">
                <a:solidFill>
                  <a:schemeClr val="tx2"/>
                </a:solidFill>
                <a:latin typeface="+mn-lt"/>
                <a:ea typeface="+mn-ea"/>
                <a:cs typeface="+mn-cs"/>
              </a:defRPr>
            </a:lvl4pPr>
            <a:lvl5pPr marL="957856" marR="0" indent="-28569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1765" kern="1200" spc="0" baseline="0">
                <a:solidFill>
                  <a:schemeClr val="tx2"/>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r>
              <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rPr>
              <a:t>It is possible to see with </a:t>
            </a:r>
            <a:r>
              <a:rPr kumimoji="0" lang="en-US" sz="2000" b="1"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rPr>
              <a:t>whom</a:t>
            </a:r>
            <a:r>
              <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rPr>
              <a:t> the dashboard is </a:t>
            </a:r>
            <a:r>
              <a:rPr kumimoji="0" lang="en-US" sz="2000" b="1"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rPr>
              <a:t>currently shared</a:t>
            </a:r>
            <a:r>
              <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rPr>
              <a:t> and </a:t>
            </a:r>
            <a:r>
              <a:rPr kumimoji="0" lang="en-US" sz="2000" b="1"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rPr>
              <a:t>revoke re-sharing </a:t>
            </a:r>
            <a:r>
              <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rPr>
              <a:t>rights individually</a:t>
            </a: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r>
              <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rPr>
              <a:t>People outside the organization are listed as </a:t>
            </a:r>
            <a:r>
              <a:rPr kumimoji="0" lang="en-US" sz="2000" b="1"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rPr>
              <a:t>Guest</a:t>
            </a:r>
            <a:endPar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p:txBody>
      </p:sp>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639001" y="3365921"/>
            <a:ext cx="3822896" cy="3156112"/>
          </a:xfrm>
          <a:prstGeom prst="rect">
            <a:avLst/>
          </a:prstGeom>
          <a:ln>
            <a:noFill/>
          </a:ln>
          <a:effectLst>
            <a:outerShdw blurRad="190500" algn="tl" rotWithShape="0">
              <a:srgbClr val="000000">
                <a:alpha val="70000"/>
              </a:srgbClr>
            </a:outerShdw>
          </a:effectLst>
        </p:spPr>
      </p:pic>
      <p:pic>
        <p:nvPicPr>
          <p:cNvPr id="3" name="Picture 2"/>
          <p:cNvPicPr>
            <a:picLocks noChangeAspect="1"/>
          </p:cNvPicPr>
          <p:nvPr/>
        </p:nvPicPr>
        <p:blipFill>
          <a:blip r:embed="rId4"/>
          <a:stretch>
            <a:fillRect/>
          </a:stretch>
        </p:blipFill>
        <p:spPr>
          <a:xfrm>
            <a:off x="8784535" y="5221292"/>
            <a:ext cx="2057400" cy="1171575"/>
          </a:xfrm>
          <a:prstGeom prst="rect">
            <a:avLst/>
          </a:prstGeom>
          <a:ln>
            <a:noFill/>
          </a:ln>
          <a:effectLst>
            <a:outerShdw blurRad="190500" algn="tl" rotWithShape="0">
              <a:srgbClr val="000000">
                <a:alpha val="70000"/>
              </a:srgbClr>
            </a:outerShdw>
          </a:effectLst>
        </p:spPr>
      </p:pic>
      <p:grpSp>
        <p:nvGrpSpPr>
          <p:cNvPr id="43" name="Group 42"/>
          <p:cNvGrpSpPr/>
          <p:nvPr/>
        </p:nvGrpSpPr>
        <p:grpSpPr>
          <a:xfrm>
            <a:off x="-2887" y="973"/>
            <a:ext cx="2849058" cy="6857027"/>
            <a:chOff x="2" y="487"/>
            <a:chExt cx="2849058" cy="6857027"/>
          </a:xfrm>
        </p:grpSpPr>
        <p:sp>
          <p:nvSpPr>
            <p:cNvPr id="51" name="Rectangle 15"/>
            <p:cNvSpPr/>
            <p:nvPr/>
          </p:nvSpPr>
          <p:spPr bwMode="auto">
            <a:xfrm>
              <a:off x="2" y="487"/>
              <a:ext cx="2849058" cy="685702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0" name="Rectangle 145"/>
            <p:cNvSpPr/>
            <p:nvPr/>
          </p:nvSpPr>
          <p:spPr bwMode="auto">
            <a:xfrm>
              <a:off x="696152" y="956997"/>
              <a:ext cx="1821468" cy="3831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2C812"/>
                  </a:solidFill>
                  <a:effectLst/>
                  <a:uLnTx/>
                  <a:uFillTx/>
                  <a:latin typeface="Segoe UI"/>
                  <a:ea typeface="+mn-ea"/>
                  <a:cs typeface="Segoe UI Light" panose="020B0502040204020203" pitchFamily="34" charset="0"/>
                </a:rPr>
                <a:t>Get Data</a:t>
              </a:r>
              <a:endParaRPr kumimoji="0" lang="en-US" sz="1200" b="1" i="1" u="none" strike="noStrike" kern="1200" cap="none" spc="0" normalizeH="0" baseline="0" noProof="0">
                <a:ln>
                  <a:noFill/>
                </a:ln>
                <a:solidFill>
                  <a:srgbClr val="F2C812"/>
                </a:solidFill>
                <a:effectLst/>
                <a:uLnTx/>
                <a:uFillTx/>
                <a:latin typeface="Segoe UI"/>
                <a:ea typeface="+mn-ea"/>
                <a:cs typeface="Segoe UI Light" panose="020B0502040204020203" pitchFamily="34" charset="0"/>
              </a:endParaRPr>
            </a:p>
          </p:txBody>
        </p:sp>
        <p:grpSp>
          <p:nvGrpSpPr>
            <p:cNvPr id="81" name="Group 80"/>
            <p:cNvGrpSpPr/>
            <p:nvPr/>
          </p:nvGrpSpPr>
          <p:grpSpPr>
            <a:xfrm>
              <a:off x="219373" y="934583"/>
              <a:ext cx="433844" cy="433844"/>
              <a:chOff x="440005" y="997815"/>
              <a:chExt cx="296322" cy="296322"/>
            </a:xfrm>
          </p:grpSpPr>
          <p:sp>
            <p:nvSpPr>
              <p:cNvPr id="101" name="Oval 147"/>
              <p:cNvSpPr/>
              <p:nvPr/>
            </p:nvSpPr>
            <p:spPr bwMode="auto">
              <a:xfrm>
                <a:off x="440005" y="997815"/>
                <a:ext cx="296322" cy="296322"/>
              </a:xfrm>
              <a:prstGeom prst="ellipse">
                <a:avLst/>
              </a:prstGeom>
              <a:solidFill>
                <a:srgbClr val="FFCC00"/>
              </a:solidFill>
              <a:ln>
                <a:solidFill>
                  <a:srgbClr val="F2C81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02" name="Group 332"/>
              <p:cNvGrpSpPr/>
              <p:nvPr/>
            </p:nvGrpSpPr>
            <p:grpSpPr>
              <a:xfrm>
                <a:off x="482167" y="1059311"/>
                <a:ext cx="211997" cy="173292"/>
                <a:chOff x="2123129" y="293070"/>
                <a:chExt cx="2472585" cy="2021178"/>
              </a:xfrm>
            </p:grpSpPr>
            <p:sp>
              <p:nvSpPr>
                <p:cNvPr id="103" name="Freeform 13"/>
                <p:cNvSpPr>
                  <a:spLocks/>
                </p:cNvSpPr>
                <p:nvPr/>
              </p:nvSpPr>
              <p:spPr bwMode="auto">
                <a:xfrm rot="20700000">
                  <a:off x="3155853" y="872796"/>
                  <a:ext cx="1439861" cy="1441452"/>
                </a:xfrm>
                <a:custGeom>
                  <a:avLst/>
                  <a:gdLst>
                    <a:gd name="T0" fmla="*/ 138 w 441"/>
                    <a:gd name="T1" fmla="*/ 341 h 441"/>
                    <a:gd name="T2" fmla="*/ 183 w 441"/>
                    <a:gd name="T3" fmla="*/ 374 h 441"/>
                    <a:gd name="T4" fmla="*/ 220 w 441"/>
                    <a:gd name="T5" fmla="*/ 423 h 441"/>
                    <a:gd name="T6" fmla="*/ 422 w 441"/>
                    <a:gd name="T7" fmla="*/ 220 h 441"/>
                    <a:gd name="T8" fmla="*/ 373 w 441"/>
                    <a:gd name="T9" fmla="*/ 184 h 441"/>
                    <a:gd name="T10" fmla="*/ 341 w 441"/>
                    <a:gd name="T11" fmla="*/ 139 h 441"/>
                    <a:gd name="T12" fmla="*/ 382 w 441"/>
                    <a:gd name="T13" fmla="*/ 58 h 441"/>
                    <a:gd name="T14" fmla="*/ 302 w 441"/>
                    <a:gd name="T15" fmla="*/ 100 h 441"/>
                    <a:gd name="T16" fmla="*/ 257 w 441"/>
                    <a:gd name="T17" fmla="*/ 67 h 441"/>
                    <a:gd name="T18" fmla="*/ 220 w 441"/>
                    <a:gd name="T19" fmla="*/ 18 h 441"/>
                    <a:gd name="T20" fmla="*/ 171 w 441"/>
                    <a:gd name="T21" fmla="*/ 55 h 441"/>
                    <a:gd name="T22" fmla="*/ 138 w 441"/>
                    <a:gd name="T23" fmla="*/ 100 h 441"/>
                    <a:gd name="T24" fmla="*/ 180 w 441"/>
                    <a:gd name="T25" fmla="*/ 181 h 441"/>
                    <a:gd name="T26" fmla="*/ 100 w 441"/>
                    <a:gd name="T27" fmla="*/ 139 h 441"/>
                    <a:gd name="T28" fmla="*/ 55 w 441"/>
                    <a:gd name="T29" fmla="*/ 171 h 441"/>
                    <a:gd name="T30" fmla="*/ 18 w 441"/>
                    <a:gd name="T31" fmla="*/ 220 h 441"/>
                    <a:gd name="T32" fmla="*/ 67 w 441"/>
                    <a:gd name="T33" fmla="*/ 257 h 441"/>
                    <a:gd name="T34" fmla="*/ 100 w 441"/>
                    <a:gd name="T35" fmla="*/ 302 h 441"/>
                    <a:gd name="T36" fmla="*/ 58 w 441"/>
                    <a:gd name="T37" fmla="*/ 383 h 441"/>
                    <a:gd name="T38" fmla="*/ 138 w 441"/>
                    <a:gd name="T39" fmla="*/ 341 h 4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41" h="441">
                      <a:moveTo>
                        <a:pt x="138" y="341"/>
                      </a:moveTo>
                      <a:cubicBezTo>
                        <a:pt x="147" y="337"/>
                        <a:pt x="171" y="361"/>
                        <a:pt x="183" y="374"/>
                      </a:cubicBezTo>
                      <a:cubicBezTo>
                        <a:pt x="196" y="386"/>
                        <a:pt x="220" y="423"/>
                        <a:pt x="220" y="423"/>
                      </a:cubicBezTo>
                      <a:cubicBezTo>
                        <a:pt x="422" y="220"/>
                        <a:pt x="422" y="220"/>
                        <a:pt x="422" y="220"/>
                      </a:cubicBezTo>
                      <a:cubicBezTo>
                        <a:pt x="422" y="220"/>
                        <a:pt x="386" y="196"/>
                        <a:pt x="373" y="184"/>
                      </a:cubicBezTo>
                      <a:cubicBezTo>
                        <a:pt x="361" y="171"/>
                        <a:pt x="338" y="149"/>
                        <a:pt x="341" y="139"/>
                      </a:cubicBezTo>
                      <a:cubicBezTo>
                        <a:pt x="343" y="129"/>
                        <a:pt x="441" y="116"/>
                        <a:pt x="382" y="58"/>
                      </a:cubicBezTo>
                      <a:cubicBezTo>
                        <a:pt x="324" y="0"/>
                        <a:pt x="310" y="96"/>
                        <a:pt x="302" y="100"/>
                      </a:cubicBezTo>
                      <a:cubicBezTo>
                        <a:pt x="294" y="104"/>
                        <a:pt x="269" y="80"/>
                        <a:pt x="257" y="67"/>
                      </a:cubicBezTo>
                      <a:cubicBezTo>
                        <a:pt x="245" y="55"/>
                        <a:pt x="220" y="18"/>
                        <a:pt x="220" y="18"/>
                      </a:cubicBezTo>
                      <a:cubicBezTo>
                        <a:pt x="220" y="18"/>
                        <a:pt x="183" y="43"/>
                        <a:pt x="171" y="55"/>
                      </a:cubicBezTo>
                      <a:cubicBezTo>
                        <a:pt x="159" y="67"/>
                        <a:pt x="134" y="92"/>
                        <a:pt x="138" y="100"/>
                      </a:cubicBezTo>
                      <a:cubicBezTo>
                        <a:pt x="142" y="108"/>
                        <a:pt x="238" y="122"/>
                        <a:pt x="180" y="181"/>
                      </a:cubicBezTo>
                      <a:cubicBezTo>
                        <a:pt x="122" y="239"/>
                        <a:pt x="110" y="141"/>
                        <a:pt x="100" y="139"/>
                      </a:cubicBezTo>
                      <a:cubicBezTo>
                        <a:pt x="89" y="137"/>
                        <a:pt x="67" y="159"/>
                        <a:pt x="55" y="171"/>
                      </a:cubicBezTo>
                      <a:cubicBezTo>
                        <a:pt x="42" y="184"/>
                        <a:pt x="18" y="220"/>
                        <a:pt x="18" y="220"/>
                      </a:cubicBezTo>
                      <a:cubicBezTo>
                        <a:pt x="18" y="220"/>
                        <a:pt x="55" y="245"/>
                        <a:pt x="67" y="257"/>
                      </a:cubicBezTo>
                      <a:cubicBezTo>
                        <a:pt x="79" y="269"/>
                        <a:pt x="102" y="292"/>
                        <a:pt x="100" y="302"/>
                      </a:cubicBezTo>
                      <a:cubicBezTo>
                        <a:pt x="98" y="312"/>
                        <a:pt x="0" y="325"/>
                        <a:pt x="58" y="383"/>
                      </a:cubicBezTo>
                      <a:cubicBezTo>
                        <a:pt x="116" y="441"/>
                        <a:pt x="130" y="345"/>
                        <a:pt x="138" y="341"/>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104" name="Freeform 14"/>
                <p:cNvSpPr>
                  <a:spLocks/>
                </p:cNvSpPr>
                <p:nvPr/>
              </p:nvSpPr>
              <p:spPr bwMode="auto">
                <a:xfrm rot="9900000">
                  <a:off x="2123129" y="293070"/>
                  <a:ext cx="1377948" cy="1377947"/>
                </a:xfrm>
                <a:custGeom>
                  <a:avLst/>
                  <a:gdLst>
                    <a:gd name="T0" fmla="*/ 422 w 422"/>
                    <a:gd name="T1" fmla="*/ 220 h 422"/>
                    <a:gd name="T2" fmla="*/ 386 w 422"/>
                    <a:gd name="T3" fmla="*/ 171 h 422"/>
                    <a:gd name="T4" fmla="*/ 341 w 422"/>
                    <a:gd name="T5" fmla="*/ 138 h 422"/>
                    <a:gd name="T6" fmla="*/ 260 w 422"/>
                    <a:gd name="T7" fmla="*/ 180 h 422"/>
                    <a:gd name="T8" fmla="*/ 302 w 422"/>
                    <a:gd name="T9" fmla="*/ 100 h 422"/>
                    <a:gd name="T10" fmla="*/ 269 w 422"/>
                    <a:gd name="T11" fmla="*/ 55 h 422"/>
                    <a:gd name="T12" fmla="*/ 220 w 422"/>
                    <a:gd name="T13" fmla="*/ 18 h 422"/>
                    <a:gd name="T14" fmla="*/ 183 w 422"/>
                    <a:gd name="T15" fmla="*/ 67 h 422"/>
                    <a:gd name="T16" fmla="*/ 138 w 422"/>
                    <a:gd name="T17" fmla="*/ 100 h 422"/>
                    <a:gd name="T18" fmla="*/ 58 w 422"/>
                    <a:gd name="T19" fmla="*/ 58 h 422"/>
                    <a:gd name="T20" fmla="*/ 100 w 422"/>
                    <a:gd name="T21" fmla="*/ 138 h 422"/>
                    <a:gd name="T22" fmla="*/ 67 w 422"/>
                    <a:gd name="T23" fmla="*/ 183 h 422"/>
                    <a:gd name="T24" fmla="*/ 18 w 422"/>
                    <a:gd name="T25" fmla="*/ 220 h 422"/>
                    <a:gd name="T26" fmla="*/ 55 w 422"/>
                    <a:gd name="T27" fmla="*/ 269 h 422"/>
                    <a:gd name="T28" fmla="*/ 100 w 422"/>
                    <a:gd name="T29" fmla="*/ 302 h 422"/>
                    <a:gd name="T30" fmla="*/ 180 w 422"/>
                    <a:gd name="T31" fmla="*/ 260 h 422"/>
                    <a:gd name="T32" fmla="*/ 138 w 422"/>
                    <a:gd name="T33" fmla="*/ 341 h 422"/>
                    <a:gd name="T34" fmla="*/ 171 w 422"/>
                    <a:gd name="T35" fmla="*/ 386 h 422"/>
                    <a:gd name="T36" fmla="*/ 220 w 422"/>
                    <a:gd name="T37" fmla="*/ 422 h 422"/>
                    <a:gd name="T38" fmla="*/ 422 w 422"/>
                    <a:gd name="T39" fmla="*/ 220 h 4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22" h="422">
                      <a:moveTo>
                        <a:pt x="422" y="220"/>
                      </a:moveTo>
                      <a:cubicBezTo>
                        <a:pt x="422" y="220"/>
                        <a:pt x="398" y="183"/>
                        <a:pt x="386" y="171"/>
                      </a:cubicBezTo>
                      <a:cubicBezTo>
                        <a:pt x="373" y="159"/>
                        <a:pt x="349" y="134"/>
                        <a:pt x="341" y="138"/>
                      </a:cubicBezTo>
                      <a:cubicBezTo>
                        <a:pt x="332" y="142"/>
                        <a:pt x="318" y="239"/>
                        <a:pt x="260" y="180"/>
                      </a:cubicBezTo>
                      <a:cubicBezTo>
                        <a:pt x="202" y="122"/>
                        <a:pt x="300" y="110"/>
                        <a:pt x="302" y="100"/>
                      </a:cubicBezTo>
                      <a:cubicBezTo>
                        <a:pt x="304" y="90"/>
                        <a:pt x="281" y="67"/>
                        <a:pt x="269" y="55"/>
                      </a:cubicBezTo>
                      <a:cubicBezTo>
                        <a:pt x="257" y="42"/>
                        <a:pt x="220" y="18"/>
                        <a:pt x="220" y="18"/>
                      </a:cubicBezTo>
                      <a:cubicBezTo>
                        <a:pt x="220" y="18"/>
                        <a:pt x="196" y="55"/>
                        <a:pt x="183" y="67"/>
                      </a:cubicBezTo>
                      <a:cubicBezTo>
                        <a:pt x="171" y="79"/>
                        <a:pt x="149" y="102"/>
                        <a:pt x="138" y="100"/>
                      </a:cubicBezTo>
                      <a:cubicBezTo>
                        <a:pt x="128" y="98"/>
                        <a:pt x="116" y="0"/>
                        <a:pt x="58" y="58"/>
                      </a:cubicBezTo>
                      <a:cubicBezTo>
                        <a:pt x="0" y="116"/>
                        <a:pt x="96" y="130"/>
                        <a:pt x="100" y="138"/>
                      </a:cubicBezTo>
                      <a:cubicBezTo>
                        <a:pt x="104" y="147"/>
                        <a:pt x="79" y="171"/>
                        <a:pt x="67" y="183"/>
                      </a:cubicBezTo>
                      <a:cubicBezTo>
                        <a:pt x="55" y="196"/>
                        <a:pt x="18" y="220"/>
                        <a:pt x="18" y="220"/>
                      </a:cubicBezTo>
                      <a:cubicBezTo>
                        <a:pt x="18" y="220"/>
                        <a:pt x="42" y="257"/>
                        <a:pt x="55" y="269"/>
                      </a:cubicBezTo>
                      <a:cubicBezTo>
                        <a:pt x="67" y="281"/>
                        <a:pt x="91" y="306"/>
                        <a:pt x="100" y="302"/>
                      </a:cubicBezTo>
                      <a:cubicBezTo>
                        <a:pt x="108" y="298"/>
                        <a:pt x="122" y="202"/>
                        <a:pt x="180" y="260"/>
                      </a:cubicBezTo>
                      <a:cubicBezTo>
                        <a:pt x="238" y="318"/>
                        <a:pt x="140" y="330"/>
                        <a:pt x="138" y="341"/>
                      </a:cubicBezTo>
                      <a:cubicBezTo>
                        <a:pt x="136" y="351"/>
                        <a:pt x="159" y="373"/>
                        <a:pt x="171" y="386"/>
                      </a:cubicBezTo>
                      <a:cubicBezTo>
                        <a:pt x="183" y="398"/>
                        <a:pt x="220" y="422"/>
                        <a:pt x="220" y="422"/>
                      </a:cubicBezTo>
                      <a:lnTo>
                        <a:pt x="422" y="22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grpSp>
        </p:grpSp>
        <p:sp>
          <p:nvSpPr>
            <p:cNvPr id="82" name="Rectangle 152"/>
            <p:cNvSpPr/>
            <p:nvPr/>
          </p:nvSpPr>
          <p:spPr bwMode="auto">
            <a:xfrm>
              <a:off x="669652" y="2738277"/>
              <a:ext cx="1805162" cy="37532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2C812"/>
                  </a:solidFill>
                  <a:effectLst/>
                  <a:uLnTx/>
                  <a:uFillTx/>
                  <a:latin typeface="Segoe UI"/>
                  <a:ea typeface="+mn-ea"/>
                  <a:cs typeface="Segoe UI Light" panose="020B0502040204020203" pitchFamily="34" charset="0"/>
                </a:rPr>
                <a:t>Keeping Data Current</a:t>
              </a:r>
            </a:p>
          </p:txBody>
        </p:sp>
        <p:grpSp>
          <p:nvGrpSpPr>
            <p:cNvPr id="83" name="Group 82"/>
            <p:cNvGrpSpPr/>
            <p:nvPr/>
          </p:nvGrpSpPr>
          <p:grpSpPr>
            <a:xfrm>
              <a:off x="199649" y="2692629"/>
              <a:ext cx="433844" cy="433844"/>
              <a:chOff x="342620" y="2228265"/>
              <a:chExt cx="433844" cy="433844"/>
            </a:xfrm>
            <a:solidFill>
              <a:schemeClr val="bg1"/>
            </a:solidFill>
          </p:grpSpPr>
          <p:sp>
            <p:nvSpPr>
              <p:cNvPr id="99" name="Oval 154"/>
              <p:cNvSpPr/>
              <p:nvPr/>
            </p:nvSpPr>
            <p:spPr bwMode="auto">
              <a:xfrm>
                <a:off x="342620" y="2228265"/>
                <a:ext cx="433844" cy="433844"/>
              </a:xfrm>
              <a:prstGeom prst="ellipse">
                <a:avLst/>
              </a:prstGeom>
              <a:solidFill>
                <a:srgbClr val="FFC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0" name="Freeform 30"/>
              <p:cNvSpPr>
                <a:spLocks noEditPoints="1"/>
              </p:cNvSpPr>
              <p:nvPr/>
            </p:nvSpPr>
            <p:spPr bwMode="auto">
              <a:xfrm>
                <a:off x="444786" y="2340040"/>
                <a:ext cx="238402" cy="210293"/>
              </a:xfrm>
              <a:custGeom>
                <a:avLst/>
                <a:gdLst>
                  <a:gd name="T0" fmla="*/ 883 w 916"/>
                  <a:gd name="T1" fmla="*/ 286 h 808"/>
                  <a:gd name="T2" fmla="*/ 539 w 916"/>
                  <a:gd name="T3" fmla="*/ 723 h 808"/>
                  <a:gd name="T4" fmla="*/ 504 w 916"/>
                  <a:gd name="T5" fmla="*/ 0 h 808"/>
                  <a:gd name="T6" fmla="*/ 35 w 916"/>
                  <a:gd name="T7" fmla="*/ 723 h 808"/>
                  <a:gd name="T8" fmla="*/ 0 w 916"/>
                  <a:gd name="T9" fmla="*/ 808 h 808"/>
                  <a:gd name="T10" fmla="*/ 916 w 916"/>
                  <a:gd name="T11" fmla="*/ 723 h 808"/>
                  <a:gd name="T12" fmla="*/ 229 w 916"/>
                  <a:gd name="T13" fmla="*/ 665 h 808"/>
                  <a:gd name="T14" fmla="*/ 109 w 916"/>
                  <a:gd name="T15" fmla="*/ 596 h 808"/>
                  <a:gd name="T16" fmla="*/ 229 w 916"/>
                  <a:gd name="T17" fmla="*/ 665 h 808"/>
                  <a:gd name="T18" fmla="*/ 109 w 916"/>
                  <a:gd name="T19" fmla="*/ 501 h 808"/>
                  <a:gd name="T20" fmla="*/ 229 w 916"/>
                  <a:gd name="T21" fmla="*/ 432 h 808"/>
                  <a:gd name="T22" fmla="*/ 229 w 916"/>
                  <a:gd name="T23" fmla="*/ 337 h 808"/>
                  <a:gd name="T24" fmla="*/ 109 w 916"/>
                  <a:gd name="T25" fmla="*/ 267 h 808"/>
                  <a:gd name="T26" fmla="*/ 229 w 916"/>
                  <a:gd name="T27" fmla="*/ 337 h 808"/>
                  <a:gd name="T28" fmla="*/ 109 w 916"/>
                  <a:gd name="T29" fmla="*/ 172 h 808"/>
                  <a:gd name="T30" fmla="*/ 229 w 916"/>
                  <a:gd name="T31" fmla="*/ 103 h 808"/>
                  <a:gd name="T32" fmla="*/ 428 w 916"/>
                  <a:gd name="T33" fmla="*/ 665 h 808"/>
                  <a:gd name="T34" fmla="*/ 307 w 916"/>
                  <a:gd name="T35" fmla="*/ 596 h 808"/>
                  <a:gd name="T36" fmla="*/ 428 w 916"/>
                  <a:gd name="T37" fmla="*/ 665 h 808"/>
                  <a:gd name="T38" fmla="*/ 307 w 916"/>
                  <a:gd name="T39" fmla="*/ 501 h 808"/>
                  <a:gd name="T40" fmla="*/ 428 w 916"/>
                  <a:gd name="T41" fmla="*/ 432 h 808"/>
                  <a:gd name="T42" fmla="*/ 428 w 916"/>
                  <a:gd name="T43" fmla="*/ 337 h 808"/>
                  <a:gd name="T44" fmla="*/ 307 w 916"/>
                  <a:gd name="T45" fmla="*/ 267 h 808"/>
                  <a:gd name="T46" fmla="*/ 428 w 916"/>
                  <a:gd name="T47" fmla="*/ 337 h 808"/>
                  <a:gd name="T48" fmla="*/ 307 w 916"/>
                  <a:gd name="T49" fmla="*/ 172 h 808"/>
                  <a:gd name="T50" fmla="*/ 428 w 916"/>
                  <a:gd name="T51" fmla="*/ 103 h 808"/>
                  <a:gd name="T52" fmla="*/ 684 w 916"/>
                  <a:gd name="T53" fmla="*/ 668 h 808"/>
                  <a:gd name="T54" fmla="*/ 606 w 916"/>
                  <a:gd name="T55" fmla="*/ 549 h 808"/>
                  <a:gd name="T56" fmla="*/ 684 w 916"/>
                  <a:gd name="T57" fmla="*/ 668 h 808"/>
                  <a:gd name="T58" fmla="*/ 606 w 916"/>
                  <a:gd name="T59" fmla="*/ 482 h 808"/>
                  <a:gd name="T60" fmla="*/ 684 w 916"/>
                  <a:gd name="T61" fmla="*/ 365 h 808"/>
                  <a:gd name="T62" fmla="*/ 816 w 916"/>
                  <a:gd name="T63" fmla="*/ 668 h 808"/>
                  <a:gd name="T64" fmla="*/ 738 w 916"/>
                  <a:gd name="T65" fmla="*/ 549 h 808"/>
                  <a:gd name="T66" fmla="*/ 816 w 916"/>
                  <a:gd name="T67" fmla="*/ 668 h 808"/>
                  <a:gd name="T68" fmla="*/ 738 w 916"/>
                  <a:gd name="T69" fmla="*/ 482 h 808"/>
                  <a:gd name="T70" fmla="*/ 816 w 916"/>
                  <a:gd name="T71" fmla="*/ 365 h 8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16" h="808">
                    <a:moveTo>
                      <a:pt x="883" y="723"/>
                    </a:moveTo>
                    <a:lnTo>
                      <a:pt x="883" y="286"/>
                    </a:lnTo>
                    <a:lnTo>
                      <a:pt x="539" y="286"/>
                    </a:lnTo>
                    <a:lnTo>
                      <a:pt x="539" y="723"/>
                    </a:lnTo>
                    <a:lnTo>
                      <a:pt x="504" y="723"/>
                    </a:lnTo>
                    <a:lnTo>
                      <a:pt x="504" y="0"/>
                    </a:lnTo>
                    <a:lnTo>
                      <a:pt x="35" y="0"/>
                    </a:lnTo>
                    <a:lnTo>
                      <a:pt x="35" y="723"/>
                    </a:lnTo>
                    <a:lnTo>
                      <a:pt x="0" y="723"/>
                    </a:lnTo>
                    <a:lnTo>
                      <a:pt x="0" y="808"/>
                    </a:lnTo>
                    <a:lnTo>
                      <a:pt x="916" y="808"/>
                    </a:lnTo>
                    <a:lnTo>
                      <a:pt x="916" y="723"/>
                    </a:lnTo>
                    <a:lnTo>
                      <a:pt x="883" y="723"/>
                    </a:lnTo>
                    <a:close/>
                    <a:moveTo>
                      <a:pt x="229" y="665"/>
                    </a:moveTo>
                    <a:lnTo>
                      <a:pt x="109" y="665"/>
                    </a:lnTo>
                    <a:lnTo>
                      <a:pt x="109" y="596"/>
                    </a:lnTo>
                    <a:lnTo>
                      <a:pt x="229" y="596"/>
                    </a:lnTo>
                    <a:lnTo>
                      <a:pt x="229" y="665"/>
                    </a:lnTo>
                    <a:close/>
                    <a:moveTo>
                      <a:pt x="229" y="501"/>
                    </a:moveTo>
                    <a:lnTo>
                      <a:pt x="109" y="501"/>
                    </a:lnTo>
                    <a:lnTo>
                      <a:pt x="109" y="432"/>
                    </a:lnTo>
                    <a:lnTo>
                      <a:pt x="229" y="432"/>
                    </a:lnTo>
                    <a:lnTo>
                      <a:pt x="229" y="501"/>
                    </a:lnTo>
                    <a:close/>
                    <a:moveTo>
                      <a:pt x="229" y="337"/>
                    </a:moveTo>
                    <a:lnTo>
                      <a:pt x="109" y="337"/>
                    </a:lnTo>
                    <a:lnTo>
                      <a:pt x="109" y="267"/>
                    </a:lnTo>
                    <a:lnTo>
                      <a:pt x="229" y="267"/>
                    </a:lnTo>
                    <a:lnTo>
                      <a:pt x="229" y="337"/>
                    </a:lnTo>
                    <a:close/>
                    <a:moveTo>
                      <a:pt x="229" y="172"/>
                    </a:moveTo>
                    <a:lnTo>
                      <a:pt x="109" y="172"/>
                    </a:lnTo>
                    <a:lnTo>
                      <a:pt x="109" y="103"/>
                    </a:lnTo>
                    <a:lnTo>
                      <a:pt x="229" y="103"/>
                    </a:lnTo>
                    <a:lnTo>
                      <a:pt x="229" y="172"/>
                    </a:lnTo>
                    <a:close/>
                    <a:moveTo>
                      <a:pt x="428" y="665"/>
                    </a:moveTo>
                    <a:lnTo>
                      <a:pt x="307" y="665"/>
                    </a:lnTo>
                    <a:lnTo>
                      <a:pt x="307" y="596"/>
                    </a:lnTo>
                    <a:lnTo>
                      <a:pt x="428" y="596"/>
                    </a:lnTo>
                    <a:lnTo>
                      <a:pt x="428" y="665"/>
                    </a:lnTo>
                    <a:close/>
                    <a:moveTo>
                      <a:pt x="428" y="501"/>
                    </a:moveTo>
                    <a:lnTo>
                      <a:pt x="307" y="501"/>
                    </a:lnTo>
                    <a:lnTo>
                      <a:pt x="307" y="432"/>
                    </a:lnTo>
                    <a:lnTo>
                      <a:pt x="428" y="432"/>
                    </a:lnTo>
                    <a:lnTo>
                      <a:pt x="428" y="501"/>
                    </a:lnTo>
                    <a:close/>
                    <a:moveTo>
                      <a:pt x="428" y="337"/>
                    </a:moveTo>
                    <a:lnTo>
                      <a:pt x="307" y="337"/>
                    </a:lnTo>
                    <a:lnTo>
                      <a:pt x="307" y="267"/>
                    </a:lnTo>
                    <a:lnTo>
                      <a:pt x="428" y="267"/>
                    </a:lnTo>
                    <a:lnTo>
                      <a:pt x="428" y="337"/>
                    </a:lnTo>
                    <a:close/>
                    <a:moveTo>
                      <a:pt x="428" y="172"/>
                    </a:moveTo>
                    <a:lnTo>
                      <a:pt x="307" y="172"/>
                    </a:lnTo>
                    <a:lnTo>
                      <a:pt x="307" y="103"/>
                    </a:lnTo>
                    <a:lnTo>
                      <a:pt x="428" y="103"/>
                    </a:lnTo>
                    <a:lnTo>
                      <a:pt x="428" y="172"/>
                    </a:lnTo>
                    <a:close/>
                    <a:moveTo>
                      <a:pt x="684" y="668"/>
                    </a:moveTo>
                    <a:lnTo>
                      <a:pt x="606" y="668"/>
                    </a:lnTo>
                    <a:lnTo>
                      <a:pt x="606" y="549"/>
                    </a:lnTo>
                    <a:lnTo>
                      <a:pt x="684" y="549"/>
                    </a:lnTo>
                    <a:lnTo>
                      <a:pt x="684" y="668"/>
                    </a:lnTo>
                    <a:close/>
                    <a:moveTo>
                      <a:pt x="684" y="482"/>
                    </a:moveTo>
                    <a:lnTo>
                      <a:pt x="606" y="482"/>
                    </a:lnTo>
                    <a:lnTo>
                      <a:pt x="606" y="365"/>
                    </a:lnTo>
                    <a:lnTo>
                      <a:pt x="684" y="365"/>
                    </a:lnTo>
                    <a:lnTo>
                      <a:pt x="684" y="482"/>
                    </a:lnTo>
                    <a:close/>
                    <a:moveTo>
                      <a:pt x="816" y="668"/>
                    </a:moveTo>
                    <a:lnTo>
                      <a:pt x="738" y="668"/>
                    </a:lnTo>
                    <a:lnTo>
                      <a:pt x="738" y="549"/>
                    </a:lnTo>
                    <a:lnTo>
                      <a:pt x="816" y="549"/>
                    </a:lnTo>
                    <a:lnTo>
                      <a:pt x="816" y="668"/>
                    </a:lnTo>
                    <a:close/>
                    <a:moveTo>
                      <a:pt x="816" y="482"/>
                    </a:moveTo>
                    <a:lnTo>
                      <a:pt x="738" y="482"/>
                    </a:lnTo>
                    <a:lnTo>
                      <a:pt x="738" y="365"/>
                    </a:lnTo>
                    <a:lnTo>
                      <a:pt x="816" y="365"/>
                    </a:lnTo>
                    <a:lnTo>
                      <a:pt x="816" y="482"/>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grpSp>
        <p:sp>
          <p:nvSpPr>
            <p:cNvPr id="84" name="TextBox 83"/>
            <p:cNvSpPr txBox="1"/>
            <p:nvPr/>
          </p:nvSpPr>
          <p:spPr>
            <a:xfrm>
              <a:off x="83345" y="113808"/>
              <a:ext cx="2532630" cy="627864"/>
            </a:xfrm>
            <a:prstGeom prst="rect">
              <a:avLst/>
            </a:prstGeom>
            <a:noFill/>
          </p:spPr>
          <p:txBody>
            <a:bodyPr wrap="square" lIns="182880" tIns="146304" rIns="182880" bIns="146304" rtlCol="0">
              <a:spAutoFit/>
            </a:bodyPr>
            <a:lstStyle>
              <a:defPPr>
                <a:defRPr lang="en-US"/>
              </a:defPPr>
              <a:lvl1pPr>
                <a:lnSpc>
                  <a:spcPct val="90000"/>
                </a:lnSpc>
                <a:spcAft>
                  <a:spcPts val="600"/>
                </a:spcAft>
                <a:defRPr sz="2800" b="1">
                  <a:solidFill>
                    <a:srgbClr val="F2C812"/>
                  </a:solidFill>
                  <a:latin typeface="Segoe UI Light"/>
                </a:defRPr>
              </a:lvl1p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400" b="1" i="0" u="none" strike="noStrike" kern="1200" cap="none" spc="0" normalizeH="0" baseline="0" noProof="0">
                  <a:ln>
                    <a:noFill/>
                  </a:ln>
                  <a:solidFill>
                    <a:srgbClr val="F2C812"/>
                  </a:solidFill>
                  <a:effectLst/>
                  <a:uLnTx/>
                  <a:uFillTx/>
                  <a:latin typeface="Segoe UI Light"/>
                  <a:ea typeface="+mn-ea"/>
                  <a:cs typeface="+mn-cs"/>
                </a:rPr>
                <a:t>Power BI Service</a:t>
              </a:r>
              <a:endParaRPr kumimoji="0" lang="en-US" sz="2800" b="1" i="0" u="none" strike="noStrike" kern="1200" cap="none" spc="0" normalizeH="0" baseline="0" noProof="0">
                <a:ln>
                  <a:noFill/>
                </a:ln>
                <a:solidFill>
                  <a:srgbClr val="F2C812"/>
                </a:solidFill>
                <a:effectLst/>
                <a:uLnTx/>
                <a:uFillTx/>
                <a:latin typeface="Segoe UI Light"/>
                <a:ea typeface="+mn-ea"/>
                <a:cs typeface="+mn-cs"/>
              </a:endParaRPr>
            </a:p>
          </p:txBody>
        </p:sp>
        <p:grpSp>
          <p:nvGrpSpPr>
            <p:cNvPr id="85" name="Group 84"/>
            <p:cNvGrpSpPr/>
            <p:nvPr/>
          </p:nvGrpSpPr>
          <p:grpSpPr>
            <a:xfrm>
              <a:off x="219373" y="3621383"/>
              <a:ext cx="433844" cy="645668"/>
              <a:chOff x="280990" y="3358164"/>
              <a:chExt cx="433844" cy="645668"/>
            </a:xfrm>
          </p:grpSpPr>
          <p:sp>
            <p:nvSpPr>
              <p:cNvPr id="92" name="Oval 1083"/>
              <p:cNvSpPr/>
              <p:nvPr/>
            </p:nvSpPr>
            <p:spPr bwMode="auto">
              <a:xfrm>
                <a:off x="280990" y="3358164"/>
                <a:ext cx="433844" cy="433847"/>
              </a:xfrm>
              <a:prstGeom prst="ellipse">
                <a:avLst/>
              </a:prstGeom>
              <a:solidFill>
                <a:srgbClr val="F2C812"/>
              </a:solidFill>
              <a:ln>
                <a:solidFill>
                  <a:srgbClr val="FFCC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93" name="Group 379"/>
              <p:cNvGrpSpPr/>
              <p:nvPr/>
            </p:nvGrpSpPr>
            <p:grpSpPr>
              <a:xfrm>
                <a:off x="453702" y="3910852"/>
                <a:ext cx="175660" cy="92980"/>
                <a:chOff x="3895793" y="7466656"/>
                <a:chExt cx="785810" cy="415941"/>
              </a:xfrm>
              <a:solidFill>
                <a:srgbClr val="00BCF2"/>
              </a:solidFill>
            </p:grpSpPr>
            <p:sp>
              <p:nvSpPr>
                <p:cNvPr id="94" name="Freeform 132"/>
                <p:cNvSpPr>
                  <a:spLocks/>
                </p:cNvSpPr>
                <p:nvPr/>
              </p:nvSpPr>
              <p:spPr bwMode="auto">
                <a:xfrm>
                  <a:off x="4125979" y="7688918"/>
                  <a:ext cx="0" cy="6353"/>
                </a:xfrm>
                <a:custGeom>
                  <a:avLst/>
                  <a:gdLst>
                    <a:gd name="T0" fmla="*/ 1 w 1"/>
                    <a:gd name="T1" fmla="*/ 0 h 8"/>
                    <a:gd name="T2" fmla="*/ 0 w 1"/>
                    <a:gd name="T3" fmla="*/ 0 h 8"/>
                    <a:gd name="T4" fmla="*/ 1 w 1"/>
                    <a:gd name="T5" fmla="*/ 8 h 8"/>
                    <a:gd name="T6" fmla="*/ 1 w 1"/>
                    <a:gd name="T7" fmla="*/ 0 h 8"/>
                  </a:gdLst>
                  <a:ahLst/>
                  <a:cxnLst>
                    <a:cxn ang="0">
                      <a:pos x="T0" y="T1"/>
                    </a:cxn>
                    <a:cxn ang="0">
                      <a:pos x="T2" y="T3"/>
                    </a:cxn>
                    <a:cxn ang="0">
                      <a:pos x="T4" y="T5"/>
                    </a:cxn>
                    <a:cxn ang="0">
                      <a:pos x="T6" y="T7"/>
                    </a:cxn>
                  </a:cxnLst>
                  <a:rect l="0" t="0" r="r" b="b"/>
                  <a:pathLst>
                    <a:path w="1" h="8">
                      <a:moveTo>
                        <a:pt x="1" y="0"/>
                      </a:moveTo>
                      <a:cubicBezTo>
                        <a:pt x="0" y="0"/>
                        <a:pt x="0" y="0"/>
                        <a:pt x="0" y="0"/>
                      </a:cubicBezTo>
                      <a:cubicBezTo>
                        <a:pt x="0" y="3"/>
                        <a:pt x="1" y="5"/>
                        <a:pt x="1" y="8"/>
                      </a:cubicBezTo>
                      <a:lnTo>
                        <a:pt x="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95" name="Freeform 133"/>
                <p:cNvSpPr>
                  <a:spLocks/>
                </p:cNvSpPr>
                <p:nvPr/>
              </p:nvSpPr>
              <p:spPr bwMode="auto">
                <a:xfrm>
                  <a:off x="3895793" y="7812745"/>
                  <a:ext cx="219078" cy="69852"/>
                </a:xfrm>
                <a:custGeom>
                  <a:avLst/>
                  <a:gdLst>
                    <a:gd name="T0" fmla="*/ 186 w 238"/>
                    <a:gd name="T1" fmla="*/ 9 h 76"/>
                    <a:gd name="T2" fmla="*/ 131 w 238"/>
                    <a:gd name="T3" fmla="*/ 22 h 76"/>
                    <a:gd name="T4" fmla="*/ 60 w 238"/>
                    <a:gd name="T5" fmla="*/ 0 h 76"/>
                    <a:gd name="T6" fmla="*/ 0 w 238"/>
                    <a:gd name="T7" fmla="*/ 42 h 76"/>
                    <a:gd name="T8" fmla="*/ 0 w 238"/>
                    <a:gd name="T9" fmla="*/ 76 h 76"/>
                    <a:gd name="T10" fmla="*/ 238 w 238"/>
                    <a:gd name="T11" fmla="*/ 76 h 76"/>
                    <a:gd name="T12" fmla="*/ 236 w 238"/>
                    <a:gd name="T13" fmla="*/ 53 h 76"/>
                    <a:gd name="T14" fmla="*/ 236 w 238"/>
                    <a:gd name="T15" fmla="*/ 49 h 76"/>
                    <a:gd name="T16" fmla="*/ 186 w 238"/>
                    <a:gd name="T17" fmla="*/ 9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8" h="76">
                      <a:moveTo>
                        <a:pt x="186" y="9"/>
                      </a:moveTo>
                      <a:cubicBezTo>
                        <a:pt x="169" y="18"/>
                        <a:pt x="150" y="22"/>
                        <a:pt x="131" y="22"/>
                      </a:cubicBezTo>
                      <a:cubicBezTo>
                        <a:pt x="105" y="22"/>
                        <a:pt x="80" y="14"/>
                        <a:pt x="60" y="0"/>
                      </a:cubicBezTo>
                      <a:cubicBezTo>
                        <a:pt x="0" y="42"/>
                        <a:pt x="0" y="42"/>
                        <a:pt x="0" y="42"/>
                      </a:cubicBezTo>
                      <a:cubicBezTo>
                        <a:pt x="0" y="76"/>
                        <a:pt x="0" y="76"/>
                        <a:pt x="0" y="76"/>
                      </a:cubicBezTo>
                      <a:cubicBezTo>
                        <a:pt x="238" y="76"/>
                        <a:pt x="238" y="76"/>
                        <a:pt x="238" y="76"/>
                      </a:cubicBezTo>
                      <a:cubicBezTo>
                        <a:pt x="237" y="68"/>
                        <a:pt x="236" y="61"/>
                        <a:pt x="236" y="53"/>
                      </a:cubicBezTo>
                      <a:cubicBezTo>
                        <a:pt x="236" y="51"/>
                        <a:pt x="236" y="50"/>
                        <a:pt x="236" y="49"/>
                      </a:cubicBezTo>
                      <a:lnTo>
                        <a:pt x="186" y="9"/>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96" name="Freeform 137"/>
                <p:cNvSpPr>
                  <a:spLocks/>
                </p:cNvSpPr>
                <p:nvPr/>
              </p:nvSpPr>
              <p:spPr bwMode="auto">
                <a:xfrm>
                  <a:off x="4338704" y="7809561"/>
                  <a:ext cx="65090" cy="73028"/>
                </a:xfrm>
                <a:custGeom>
                  <a:avLst/>
                  <a:gdLst>
                    <a:gd name="T0" fmla="*/ 71 w 71"/>
                    <a:gd name="T1" fmla="*/ 79 h 79"/>
                    <a:gd name="T2" fmla="*/ 71 w 71"/>
                    <a:gd name="T3" fmla="*/ 0 h 79"/>
                    <a:gd name="T4" fmla="*/ 2 w 71"/>
                    <a:gd name="T5" fmla="*/ 53 h 79"/>
                    <a:gd name="T6" fmla="*/ 2 w 71"/>
                    <a:gd name="T7" fmla="*/ 56 h 79"/>
                    <a:gd name="T8" fmla="*/ 0 w 71"/>
                    <a:gd name="T9" fmla="*/ 79 h 79"/>
                    <a:gd name="T10" fmla="*/ 71 w 71"/>
                    <a:gd name="T11" fmla="*/ 79 h 79"/>
                  </a:gdLst>
                  <a:ahLst/>
                  <a:cxnLst>
                    <a:cxn ang="0">
                      <a:pos x="T0" y="T1"/>
                    </a:cxn>
                    <a:cxn ang="0">
                      <a:pos x="T2" y="T3"/>
                    </a:cxn>
                    <a:cxn ang="0">
                      <a:pos x="T4" y="T5"/>
                    </a:cxn>
                    <a:cxn ang="0">
                      <a:pos x="T6" y="T7"/>
                    </a:cxn>
                    <a:cxn ang="0">
                      <a:pos x="T8" y="T9"/>
                    </a:cxn>
                    <a:cxn ang="0">
                      <a:pos x="T10" y="T11"/>
                    </a:cxn>
                  </a:cxnLst>
                  <a:rect l="0" t="0" r="r" b="b"/>
                  <a:pathLst>
                    <a:path w="71" h="79">
                      <a:moveTo>
                        <a:pt x="71" y="79"/>
                      </a:moveTo>
                      <a:cubicBezTo>
                        <a:pt x="71" y="0"/>
                        <a:pt x="71" y="0"/>
                        <a:pt x="71" y="0"/>
                      </a:cubicBezTo>
                      <a:cubicBezTo>
                        <a:pt x="2" y="53"/>
                        <a:pt x="2" y="53"/>
                        <a:pt x="2" y="53"/>
                      </a:cubicBezTo>
                      <a:cubicBezTo>
                        <a:pt x="2" y="54"/>
                        <a:pt x="2" y="55"/>
                        <a:pt x="2" y="56"/>
                      </a:cubicBezTo>
                      <a:cubicBezTo>
                        <a:pt x="2" y="64"/>
                        <a:pt x="1" y="71"/>
                        <a:pt x="0" y="79"/>
                      </a:cubicBezTo>
                      <a:lnTo>
                        <a:pt x="71" y="79"/>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97" name="Freeform 140"/>
                <p:cNvSpPr>
                  <a:spLocks/>
                </p:cNvSpPr>
                <p:nvPr/>
              </p:nvSpPr>
              <p:spPr bwMode="auto">
                <a:xfrm>
                  <a:off x="4600643" y="7622229"/>
                  <a:ext cx="80960" cy="38099"/>
                </a:xfrm>
                <a:custGeom>
                  <a:avLst/>
                  <a:gdLst>
                    <a:gd name="T0" fmla="*/ 0 w 51"/>
                    <a:gd name="T1" fmla="*/ 24 h 24"/>
                    <a:gd name="T2" fmla="*/ 51 w 51"/>
                    <a:gd name="T3" fmla="*/ 24 h 24"/>
                    <a:gd name="T4" fmla="*/ 32 w 51"/>
                    <a:gd name="T5" fmla="*/ 0 h 24"/>
                    <a:gd name="T6" fmla="*/ 0 w 51"/>
                    <a:gd name="T7" fmla="*/ 24 h 24"/>
                  </a:gdLst>
                  <a:ahLst/>
                  <a:cxnLst>
                    <a:cxn ang="0">
                      <a:pos x="T0" y="T1"/>
                    </a:cxn>
                    <a:cxn ang="0">
                      <a:pos x="T2" y="T3"/>
                    </a:cxn>
                    <a:cxn ang="0">
                      <a:pos x="T4" y="T5"/>
                    </a:cxn>
                    <a:cxn ang="0">
                      <a:pos x="T6" y="T7"/>
                    </a:cxn>
                  </a:cxnLst>
                  <a:rect l="0" t="0" r="r" b="b"/>
                  <a:pathLst>
                    <a:path w="51" h="24">
                      <a:moveTo>
                        <a:pt x="0" y="24"/>
                      </a:moveTo>
                      <a:lnTo>
                        <a:pt x="51" y="24"/>
                      </a:lnTo>
                      <a:lnTo>
                        <a:pt x="32" y="0"/>
                      </a:lnTo>
                      <a:lnTo>
                        <a:pt x="0" y="24"/>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98" name="Freeform 141"/>
                <p:cNvSpPr>
                  <a:spLocks/>
                </p:cNvSpPr>
                <p:nvPr/>
              </p:nvSpPr>
              <p:spPr bwMode="auto">
                <a:xfrm>
                  <a:off x="4449825" y="7466656"/>
                  <a:ext cx="119065" cy="139703"/>
                </a:xfrm>
                <a:custGeom>
                  <a:avLst/>
                  <a:gdLst>
                    <a:gd name="T0" fmla="*/ 52 w 75"/>
                    <a:gd name="T1" fmla="*/ 0 h 88"/>
                    <a:gd name="T2" fmla="*/ 0 w 75"/>
                    <a:gd name="T3" fmla="*/ 0 h 88"/>
                    <a:gd name="T4" fmla="*/ 0 w 75"/>
                    <a:gd name="T5" fmla="*/ 88 h 88"/>
                    <a:gd name="T6" fmla="*/ 75 w 75"/>
                    <a:gd name="T7" fmla="*/ 30 h 88"/>
                    <a:gd name="T8" fmla="*/ 52 w 75"/>
                    <a:gd name="T9" fmla="*/ 0 h 88"/>
                  </a:gdLst>
                  <a:ahLst/>
                  <a:cxnLst>
                    <a:cxn ang="0">
                      <a:pos x="T0" y="T1"/>
                    </a:cxn>
                    <a:cxn ang="0">
                      <a:pos x="T2" y="T3"/>
                    </a:cxn>
                    <a:cxn ang="0">
                      <a:pos x="T4" y="T5"/>
                    </a:cxn>
                    <a:cxn ang="0">
                      <a:pos x="T6" y="T7"/>
                    </a:cxn>
                    <a:cxn ang="0">
                      <a:pos x="T8" y="T9"/>
                    </a:cxn>
                  </a:cxnLst>
                  <a:rect l="0" t="0" r="r" b="b"/>
                  <a:pathLst>
                    <a:path w="75" h="88">
                      <a:moveTo>
                        <a:pt x="52" y="0"/>
                      </a:moveTo>
                      <a:lnTo>
                        <a:pt x="0" y="0"/>
                      </a:lnTo>
                      <a:lnTo>
                        <a:pt x="0" y="88"/>
                      </a:lnTo>
                      <a:lnTo>
                        <a:pt x="75" y="30"/>
                      </a:lnTo>
                      <a:lnTo>
                        <a:pt x="52"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grpSp>
        </p:grpSp>
        <p:sp>
          <p:nvSpPr>
            <p:cNvPr id="86" name="Rectangle 152"/>
            <p:cNvSpPr/>
            <p:nvPr/>
          </p:nvSpPr>
          <p:spPr bwMode="auto">
            <a:xfrm>
              <a:off x="712458" y="3628917"/>
              <a:ext cx="1805162" cy="37532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2C812"/>
                  </a:solidFill>
                  <a:effectLst/>
                  <a:uLnTx/>
                  <a:uFillTx/>
                  <a:latin typeface="Segoe UI"/>
                  <a:ea typeface="+mn-ea"/>
                  <a:cs typeface="Segoe UI Light" panose="020B0502040204020203" pitchFamily="34" charset="0"/>
                </a:rPr>
                <a:t>Q&amp;A and </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2C812"/>
                  </a:solidFill>
                  <a:effectLst/>
                  <a:uLnTx/>
                  <a:uFillTx/>
                  <a:latin typeface="Segoe UI"/>
                  <a:ea typeface="+mn-ea"/>
                  <a:cs typeface="Segoe UI Light" panose="020B0502040204020203" pitchFamily="34" charset="0"/>
                </a:rPr>
                <a:t>Quick Insights</a:t>
              </a:r>
              <a:endParaRPr kumimoji="0" lang="en-US" sz="1200" b="1" i="0" u="none" strike="noStrike" kern="1200" cap="none" spc="0" normalizeH="0" baseline="0" noProof="0">
                <a:ln>
                  <a:noFill/>
                </a:ln>
                <a:solidFill>
                  <a:srgbClr val="F2C812"/>
                </a:solidFill>
                <a:effectLst/>
                <a:uLnTx/>
                <a:uFillTx/>
                <a:latin typeface="Segoe UI"/>
                <a:ea typeface="+mn-ea"/>
                <a:cs typeface="Segoe UI Light" panose="020B0502040204020203" pitchFamily="34" charset="0"/>
              </a:endParaRPr>
            </a:p>
          </p:txBody>
        </p:sp>
        <p:sp>
          <p:nvSpPr>
            <p:cNvPr id="88" name="Oval 162"/>
            <p:cNvSpPr/>
            <p:nvPr/>
          </p:nvSpPr>
          <p:spPr bwMode="auto">
            <a:xfrm>
              <a:off x="226619" y="4551712"/>
              <a:ext cx="433844" cy="433844"/>
            </a:xfrm>
            <a:prstGeom prst="ellipse">
              <a:avLst/>
            </a:prstGeom>
            <a:solidFill>
              <a:srgbClr val="F2C812"/>
            </a:solidFill>
            <a:ln>
              <a:solidFill>
                <a:srgbClr val="FFCC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9" name="Rectangle 152"/>
            <p:cNvSpPr/>
            <p:nvPr/>
          </p:nvSpPr>
          <p:spPr bwMode="auto">
            <a:xfrm>
              <a:off x="738443" y="4596194"/>
              <a:ext cx="1884825" cy="30233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2C812"/>
                  </a:solidFill>
                  <a:effectLst/>
                  <a:uLnTx/>
                  <a:uFillTx/>
                  <a:latin typeface="Segoe UI"/>
                  <a:ea typeface="+mn-ea"/>
                  <a:cs typeface="Segoe UI Light" panose="020B0502040204020203" pitchFamily="34" charset="0"/>
                </a:rPr>
                <a:t>Sharing</a:t>
              </a:r>
              <a:endParaRPr kumimoji="0" lang="en-US" sz="1200" b="1" i="1" u="none" strike="noStrike" kern="1200" cap="none" spc="0" normalizeH="0" baseline="0" noProof="0">
                <a:ln>
                  <a:noFill/>
                </a:ln>
                <a:solidFill>
                  <a:srgbClr val="F2C812"/>
                </a:solidFill>
                <a:effectLst/>
                <a:uLnTx/>
                <a:uFillTx/>
                <a:latin typeface="Segoe UI"/>
                <a:ea typeface="+mn-ea"/>
                <a:cs typeface="Segoe UI Light" panose="020B0502040204020203" pitchFamily="34" charset="0"/>
              </a:endParaRPr>
            </a:p>
          </p:txBody>
        </p:sp>
        <p:sp>
          <p:nvSpPr>
            <p:cNvPr id="90" name="Rectangle 145"/>
            <p:cNvSpPr/>
            <p:nvPr/>
          </p:nvSpPr>
          <p:spPr bwMode="auto">
            <a:xfrm>
              <a:off x="697198" y="1847637"/>
              <a:ext cx="1821468" cy="3831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2C812"/>
                  </a:solidFill>
                  <a:effectLst/>
                  <a:uLnTx/>
                  <a:uFillTx/>
                  <a:latin typeface="Segoe UI"/>
                  <a:ea typeface="+mn-ea"/>
                  <a:cs typeface="Segoe UI Light" panose="020B0502040204020203" pitchFamily="34" charset="0"/>
                </a:rPr>
                <a:t>Pinning and Navigation</a:t>
              </a:r>
            </a:p>
          </p:txBody>
        </p:sp>
        <p:sp>
          <p:nvSpPr>
            <p:cNvPr id="91" name="Oval 162"/>
            <p:cNvSpPr/>
            <p:nvPr/>
          </p:nvSpPr>
          <p:spPr bwMode="auto">
            <a:xfrm>
              <a:off x="224136" y="1813606"/>
              <a:ext cx="433844" cy="433844"/>
            </a:xfrm>
            <a:prstGeom prst="ellipse">
              <a:avLst/>
            </a:prstGeom>
            <a:solidFill>
              <a:srgbClr val="FFCC00"/>
            </a:solidFill>
            <a:ln>
              <a:solidFill>
                <a:srgbClr val="F2C81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pic>
        <p:nvPicPr>
          <p:cNvPr id="105" name="Picture 104"/>
          <p:cNvPicPr>
            <a:picLocks noChangeAspect="1"/>
          </p:cNvPicPr>
          <p:nvPr/>
        </p:nvPicPr>
        <p:blipFill rotWithShape="1">
          <a:blip r:embed="rId5"/>
          <a:srcRect l="6503" t="21287" r="74698" b="20220"/>
          <a:stretch/>
        </p:blipFill>
        <p:spPr>
          <a:xfrm>
            <a:off x="339111" y="1946110"/>
            <a:ext cx="228600" cy="231962"/>
          </a:xfrm>
          <a:prstGeom prst="rect">
            <a:avLst/>
          </a:prstGeom>
        </p:spPr>
      </p:pic>
      <p:pic>
        <p:nvPicPr>
          <p:cNvPr id="106" name="Picture 105"/>
          <p:cNvPicPr>
            <a:picLocks noChangeAspect="1"/>
          </p:cNvPicPr>
          <p:nvPr/>
        </p:nvPicPr>
        <p:blipFill>
          <a:blip r:embed="rId6"/>
          <a:stretch>
            <a:fillRect/>
          </a:stretch>
        </p:blipFill>
        <p:spPr>
          <a:xfrm>
            <a:off x="284769" y="3673076"/>
            <a:ext cx="311766" cy="303106"/>
          </a:xfrm>
          <a:prstGeom prst="rect">
            <a:avLst/>
          </a:prstGeom>
        </p:spPr>
      </p:pic>
      <p:sp>
        <p:nvSpPr>
          <p:cNvPr id="107" name="Rectangle 145"/>
          <p:cNvSpPr/>
          <p:nvPr/>
        </p:nvSpPr>
        <p:spPr bwMode="auto">
          <a:xfrm>
            <a:off x="718897" y="5436715"/>
            <a:ext cx="1821468" cy="3831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2C812"/>
                </a:solidFill>
                <a:effectLst/>
                <a:uLnTx/>
                <a:uFillTx/>
                <a:latin typeface="Segoe UI"/>
                <a:ea typeface="+mn-ea"/>
                <a:cs typeface="Segoe UI Light" panose="020B0502040204020203" pitchFamily="34" charset="0"/>
              </a:rPr>
              <a:t>Connect from Excel</a:t>
            </a:r>
          </a:p>
        </p:txBody>
      </p:sp>
      <p:sp>
        <p:nvSpPr>
          <p:cNvPr id="108" name="Oval 162"/>
          <p:cNvSpPr/>
          <p:nvPr/>
        </p:nvSpPr>
        <p:spPr bwMode="auto">
          <a:xfrm>
            <a:off x="231441" y="5429649"/>
            <a:ext cx="433844" cy="433844"/>
          </a:xfrm>
          <a:prstGeom prst="ellipse">
            <a:avLst/>
          </a:prstGeom>
          <a:solidFill>
            <a:srgbClr val="FFCC00"/>
          </a:solidFill>
          <a:ln>
            <a:solidFill>
              <a:srgbClr val="F2C81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09" name="Picture 108"/>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flipH="1">
            <a:off x="283763" y="4596680"/>
            <a:ext cx="357484" cy="357484"/>
          </a:xfrm>
          <a:prstGeom prst="rect">
            <a:avLst/>
          </a:prstGeom>
        </p:spPr>
      </p:pic>
      <p:sp>
        <p:nvSpPr>
          <p:cNvPr id="110" name="Oval 162"/>
          <p:cNvSpPr/>
          <p:nvPr/>
        </p:nvSpPr>
        <p:spPr bwMode="auto">
          <a:xfrm>
            <a:off x="233032" y="6267344"/>
            <a:ext cx="433844" cy="433844"/>
          </a:xfrm>
          <a:prstGeom prst="ellipse">
            <a:avLst/>
          </a:prstGeom>
          <a:solidFill>
            <a:srgbClr val="FFCC00"/>
          </a:solidFill>
          <a:ln>
            <a:solidFill>
              <a:srgbClr val="F2C81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1" name="Rectangle 145"/>
          <p:cNvSpPr/>
          <p:nvPr/>
        </p:nvSpPr>
        <p:spPr bwMode="auto">
          <a:xfrm>
            <a:off x="701416" y="6289969"/>
            <a:ext cx="1821468" cy="3831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2C812"/>
                </a:solidFill>
                <a:effectLst/>
                <a:uLnTx/>
                <a:uFillTx/>
                <a:latin typeface="Segoe UI"/>
                <a:ea typeface="+mn-ea"/>
                <a:cs typeface="Segoe UI Light" panose="020B0502040204020203" pitchFamily="34" charset="0"/>
              </a:rPr>
              <a:t>Mobile Reports</a:t>
            </a:r>
          </a:p>
        </p:txBody>
      </p:sp>
      <p:pic>
        <p:nvPicPr>
          <p:cNvPr id="112" name="Picture 111"/>
          <p:cNvPicPr>
            <a:picLocks noChangeAspect="1"/>
          </p:cNvPicPr>
          <p:nvPr/>
        </p:nvPicPr>
        <p:blipFill>
          <a:blip r:embed="rId8" cstate="print">
            <a:extLst>
              <a:ext uri="{BEBA8EAE-BF5A-486C-A8C5-ECC9F3942E4B}">
                <a14:imgProps xmlns:a14="http://schemas.microsoft.com/office/drawing/2010/main">
                  <a14:imgLayer r:embed="rId9">
                    <a14:imgEffect>
                      <a14:saturation sat="0"/>
                    </a14:imgEffect>
                  </a14:imgLayer>
                </a14:imgProps>
              </a:ext>
              <a:ext uri="{28A0092B-C50C-407E-A947-70E740481C1C}">
                <a14:useLocalDpi xmlns:a14="http://schemas.microsoft.com/office/drawing/2010/main" val="0"/>
              </a:ext>
            </a:extLst>
          </a:blip>
          <a:stretch>
            <a:fillRect/>
          </a:stretch>
        </p:blipFill>
        <p:spPr>
          <a:xfrm>
            <a:off x="391946" y="6350039"/>
            <a:ext cx="133350" cy="251587"/>
          </a:xfrm>
          <a:prstGeom prst="rect">
            <a:avLst/>
          </a:prstGeom>
        </p:spPr>
      </p:pic>
      <p:pic>
        <p:nvPicPr>
          <p:cNvPr id="113" name="Picture 112"/>
          <p:cNvPicPr>
            <a:picLocks noChangeAspect="1"/>
          </p:cNvPicPr>
          <p:nvPr/>
        </p:nvPicPr>
        <p:blipFill>
          <a:blip r:embed="rId10" cstate="print">
            <a:biLevel thresh="50000"/>
            <a:extLst>
              <a:ext uri="{28A0092B-C50C-407E-A947-70E740481C1C}">
                <a14:useLocalDpi xmlns:a14="http://schemas.microsoft.com/office/drawing/2010/main" val="0"/>
              </a:ext>
            </a:extLst>
          </a:blip>
          <a:stretch>
            <a:fillRect/>
          </a:stretch>
        </p:blipFill>
        <p:spPr>
          <a:xfrm>
            <a:off x="332658" y="5538489"/>
            <a:ext cx="268940" cy="268940"/>
          </a:xfrm>
          <a:prstGeom prst="rect">
            <a:avLst/>
          </a:prstGeom>
        </p:spPr>
      </p:pic>
      <p:sp>
        <p:nvSpPr>
          <p:cNvPr id="114" name="Rectangle 113"/>
          <p:cNvSpPr/>
          <p:nvPr/>
        </p:nvSpPr>
        <p:spPr bwMode="auto">
          <a:xfrm>
            <a:off x="35912" y="5223435"/>
            <a:ext cx="2464420" cy="1564989"/>
          </a:xfrm>
          <a:prstGeom prst="rect">
            <a:avLst/>
          </a:prstGeom>
          <a:solidFill>
            <a:srgbClr val="000000">
              <a:alpha val="6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5" name="Rectangle 114"/>
          <p:cNvSpPr/>
          <p:nvPr/>
        </p:nvSpPr>
        <p:spPr bwMode="auto">
          <a:xfrm>
            <a:off x="95936" y="731575"/>
            <a:ext cx="2464420" cy="3635751"/>
          </a:xfrm>
          <a:prstGeom prst="rect">
            <a:avLst/>
          </a:prstGeom>
          <a:solidFill>
            <a:srgbClr val="000000">
              <a:alpha val="6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29709129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 name="Title 10"/>
          <p:cNvSpPr txBox="1">
            <a:spLocks/>
          </p:cNvSpPr>
          <p:nvPr/>
        </p:nvSpPr>
        <p:spPr>
          <a:xfrm>
            <a:off x="2849060" y="0"/>
            <a:ext cx="9342940" cy="665151"/>
          </a:xfrm>
          <a:prstGeom prst="rect">
            <a:avLst/>
          </a:prstGeom>
          <a:noFill/>
        </p:spPr>
        <p:txBody>
          <a:bodyPr vert="horz" wrap="square" lIns="0" tIns="91440" rIns="0" bIns="91440" rtlCol="0" anchor="t">
            <a:noAutofit/>
          </a:bodyPr>
          <a:lstStyle>
            <a:lvl1pPr defTabSz="914367">
              <a:lnSpc>
                <a:spcPct val="90000"/>
              </a:lnSpc>
              <a:spcBef>
                <a:spcPct val="0"/>
              </a:spcBef>
              <a:buNone/>
              <a:defRPr lang="en-US" sz="5294" b="0" cap="none" spc="-100" baseline="0" dirty="0" smtClean="0">
                <a:ln w="3175">
                  <a:noFill/>
                </a:ln>
                <a:solidFill>
                  <a:schemeClr val="tx2"/>
                </a:solidFill>
                <a:effectLst/>
                <a:latin typeface="+mj-lt"/>
                <a:cs typeface="Segoe UI" pitchFamily="34" charset="0"/>
              </a:defRPr>
            </a:lvl1pPr>
          </a:lstStyle>
          <a:p>
            <a:pPr marL="168275" marR="0" lvl="0" indent="0" algn="l" defTabSz="914367" rtl="0" eaLnBrk="1" fontAlgn="auto" latinLnBrk="0" hangingPunct="1">
              <a:lnSpc>
                <a:spcPct val="90000"/>
              </a:lnSpc>
              <a:spcBef>
                <a:spcPct val="0"/>
              </a:spcBef>
              <a:spcAft>
                <a:spcPts val="0"/>
              </a:spcAft>
              <a:buClrTx/>
              <a:buSzTx/>
              <a:buFontTx/>
              <a:buNone/>
              <a:tabLst/>
              <a:defRPr/>
            </a:pPr>
            <a:r>
              <a:rPr kumimoji="0" lang="en-US" sz="3600" b="0" i="0" u="none" strike="noStrike" kern="1200" cap="none" spc="-100" normalizeH="0" baseline="0" noProof="0">
                <a:ln w="3175">
                  <a:noFill/>
                </a:ln>
                <a:solidFill>
                  <a:prstClr val="black"/>
                </a:solidFill>
                <a:effectLst/>
                <a:uLnTx/>
                <a:uFillTx/>
                <a:latin typeface="Segoe UI Light"/>
                <a:ea typeface="+mn-ea"/>
                <a:cs typeface="Segoe UI" pitchFamily="34" charset="0"/>
              </a:rPr>
              <a:t>Sharing</a:t>
            </a:r>
            <a:endParaRPr kumimoji="0" lang="en-IN" sz="3600" b="0" i="0" u="none" strike="noStrike" kern="1200" cap="none" spc="-100" normalizeH="0" baseline="0" noProof="0">
              <a:ln w="3175">
                <a:noFill/>
              </a:ln>
              <a:solidFill>
                <a:prstClr val="black"/>
              </a:solidFill>
              <a:effectLst/>
              <a:uLnTx/>
              <a:uFillTx/>
              <a:latin typeface="Segoe UI Light"/>
              <a:ea typeface="+mn-ea"/>
              <a:cs typeface="Segoe UI" pitchFamily="34" charset="0"/>
            </a:endParaRPr>
          </a:p>
        </p:txBody>
      </p:sp>
      <p:sp>
        <p:nvSpPr>
          <p:cNvPr id="41" name="Rectangle 3"/>
          <p:cNvSpPr/>
          <p:nvPr/>
        </p:nvSpPr>
        <p:spPr bwMode="auto">
          <a:xfrm>
            <a:off x="3202216" y="704712"/>
            <a:ext cx="8105312" cy="44435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PT" sz="2000" b="0" i="1" u="none" strike="noStrike" kern="1200" cap="none" spc="0" normalizeH="0" baseline="0" noProof="0">
                <a:ln>
                  <a:noFill/>
                </a:ln>
                <a:solidFill>
                  <a:prstClr val="black"/>
                </a:solidFill>
                <a:effectLst/>
                <a:uLnTx/>
                <a:uFillTx/>
                <a:latin typeface="Segoe UI Light"/>
                <a:ea typeface="+mn-ea"/>
                <a:cs typeface="+mn-cs"/>
              </a:rPr>
              <a:t>Group Share</a:t>
            </a:r>
            <a:endParaRPr kumimoji="0" lang="en-US" sz="2000" b="0" i="1" u="none" strike="noStrike" kern="1200" cap="none" spc="0" normalizeH="0" baseline="0" noProof="0">
              <a:ln>
                <a:noFill/>
              </a:ln>
              <a:solidFill>
                <a:prstClr val="black"/>
              </a:solidFill>
              <a:effectLst/>
              <a:uLnTx/>
              <a:uFillTx/>
              <a:latin typeface="Segoe UI Light"/>
              <a:ea typeface="+mn-ea"/>
              <a:cs typeface="+mn-cs"/>
            </a:endParaRPr>
          </a:p>
        </p:txBody>
      </p:sp>
      <p:sp>
        <p:nvSpPr>
          <p:cNvPr id="87" name="Text Placeholder 2"/>
          <p:cNvSpPr txBox="1">
            <a:spLocks/>
          </p:cNvSpPr>
          <p:nvPr/>
        </p:nvSpPr>
        <p:spPr>
          <a:xfrm>
            <a:off x="2953103" y="1479922"/>
            <a:ext cx="8707001" cy="897374"/>
          </a:xfrm>
          <a:prstGeom prst="rect">
            <a:avLst/>
          </a:prstGeom>
        </p:spPr>
        <p:txBody>
          <a:bodyPr vert="horz" wrap="square" lIns="182880" tIns="146304" rIns="182880" bIns="146304" rtlCol="0">
            <a:noAutofit/>
          </a:bodyPr>
          <a:lstStyle>
            <a:lvl1pPr marL="182845" marR="0"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3921" kern="1200" spc="0" baseline="0">
                <a:gradFill>
                  <a:gsLst>
                    <a:gs pos="1250">
                      <a:schemeClr val="tx2"/>
                    </a:gs>
                    <a:gs pos="99000">
                      <a:schemeClr val="tx2"/>
                    </a:gs>
                  </a:gsLst>
                  <a:lin ang="5400000" scaled="0"/>
                </a:gradFill>
                <a:latin typeface="+mj-lt"/>
                <a:ea typeface="+mn-ea"/>
                <a:cs typeface="+mn-cs"/>
              </a:defRPr>
            </a:lvl1pPr>
            <a:lvl2pPr marL="365690" marR="0"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2400" kern="1200" spc="0" baseline="0">
                <a:solidFill>
                  <a:schemeClr val="tx2"/>
                </a:solidFill>
                <a:latin typeface="+mj-lt"/>
                <a:ea typeface="+mn-ea"/>
                <a:cs typeface="+mn-cs"/>
              </a:defRPr>
            </a:lvl2pPr>
            <a:lvl3pPr marL="548535" marR="0"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2000" kern="1200" spc="0" baseline="0">
                <a:solidFill>
                  <a:schemeClr val="tx2"/>
                </a:solidFill>
                <a:latin typeface="+mj-lt"/>
                <a:ea typeface="+mn-ea"/>
                <a:cs typeface="+mn-cs"/>
              </a:defRPr>
            </a:lvl3pPr>
            <a:lvl4pPr marL="733802" marR="0" indent="-28569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1765" kern="1200" spc="0" baseline="0">
                <a:solidFill>
                  <a:schemeClr val="tx2"/>
                </a:solidFill>
                <a:latin typeface="+mn-lt"/>
                <a:ea typeface="+mn-ea"/>
                <a:cs typeface="+mn-cs"/>
              </a:defRPr>
            </a:lvl4pPr>
            <a:lvl5pPr marL="957856" marR="0" indent="-28569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1765" kern="1200" spc="0" baseline="0">
                <a:solidFill>
                  <a:schemeClr val="tx2"/>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r>
              <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rPr>
              <a:t>Groups in Power BI are </a:t>
            </a:r>
            <a:r>
              <a:rPr kumimoji="0" lang="en-US" sz="2000" b="1"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rPr>
              <a:t>O365 groups </a:t>
            </a:r>
            <a:r>
              <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rPr>
              <a:t>and can be used in other services such as OneDrive or Exchange (have their own space and e-mail).</a:t>
            </a: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r>
              <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rPr>
              <a:t>AADSync can be used to </a:t>
            </a:r>
            <a:r>
              <a:rPr kumimoji="0" lang="en-US" sz="2000" b="1"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rPr>
              <a:t>sync on-premises AD groups </a:t>
            </a:r>
            <a:r>
              <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rPr>
              <a:t>with O365 groups</a:t>
            </a: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r>
              <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rPr>
              <a:t>A group has its </a:t>
            </a:r>
            <a:r>
              <a:rPr kumimoji="0" lang="en-US" sz="2000" b="1"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rPr>
              <a:t>own workspace</a:t>
            </a:r>
            <a:r>
              <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rPr>
              <a:t> with its own Datasets, Reports and Dashboards</a:t>
            </a: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1"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r>
              <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rPr>
              <a:t>A user has </a:t>
            </a:r>
            <a:r>
              <a:rPr kumimoji="0" lang="en-US" sz="2000" b="1"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rPr>
              <a:t>one My Workspace </a:t>
            </a:r>
            <a:r>
              <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rPr>
              <a:t>but can have </a:t>
            </a:r>
            <a:r>
              <a:rPr kumimoji="0" lang="en-US" sz="2000" b="1"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rPr>
              <a:t>access to several Group Workspaces</a:t>
            </a: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1"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1"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p:txBody>
      </p:sp>
      <p:pic>
        <p:nvPicPr>
          <p:cNvPr id="4" name="Picture 3"/>
          <p:cNvPicPr>
            <a:picLocks noChangeAspect="1"/>
          </p:cNvPicPr>
          <p:nvPr/>
        </p:nvPicPr>
        <p:blipFill>
          <a:blip r:embed="rId3"/>
          <a:stretch>
            <a:fillRect/>
          </a:stretch>
        </p:blipFill>
        <p:spPr>
          <a:xfrm>
            <a:off x="6460227" y="4954051"/>
            <a:ext cx="1895475" cy="1581150"/>
          </a:xfrm>
          <a:prstGeom prst="rect">
            <a:avLst/>
          </a:prstGeom>
        </p:spPr>
      </p:pic>
      <p:grpSp>
        <p:nvGrpSpPr>
          <p:cNvPr id="43" name="Group 42"/>
          <p:cNvGrpSpPr/>
          <p:nvPr/>
        </p:nvGrpSpPr>
        <p:grpSpPr>
          <a:xfrm>
            <a:off x="-2887" y="973"/>
            <a:ext cx="2849058" cy="6857027"/>
            <a:chOff x="2" y="487"/>
            <a:chExt cx="2849058" cy="6857027"/>
          </a:xfrm>
        </p:grpSpPr>
        <p:sp>
          <p:nvSpPr>
            <p:cNvPr id="51" name="Rectangle 15"/>
            <p:cNvSpPr/>
            <p:nvPr/>
          </p:nvSpPr>
          <p:spPr bwMode="auto">
            <a:xfrm>
              <a:off x="2" y="487"/>
              <a:ext cx="2849058" cy="685702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0" name="Rectangle 145"/>
            <p:cNvSpPr/>
            <p:nvPr/>
          </p:nvSpPr>
          <p:spPr bwMode="auto">
            <a:xfrm>
              <a:off x="696152" y="956997"/>
              <a:ext cx="1821468" cy="3831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2C812"/>
                  </a:solidFill>
                  <a:effectLst/>
                  <a:uLnTx/>
                  <a:uFillTx/>
                  <a:latin typeface="Segoe UI"/>
                  <a:ea typeface="+mn-ea"/>
                  <a:cs typeface="Segoe UI Light" panose="020B0502040204020203" pitchFamily="34" charset="0"/>
                </a:rPr>
                <a:t>Get Data</a:t>
              </a:r>
              <a:endParaRPr kumimoji="0" lang="en-US" sz="1200" b="1" i="1" u="none" strike="noStrike" kern="1200" cap="none" spc="0" normalizeH="0" baseline="0" noProof="0">
                <a:ln>
                  <a:noFill/>
                </a:ln>
                <a:solidFill>
                  <a:srgbClr val="F2C812"/>
                </a:solidFill>
                <a:effectLst/>
                <a:uLnTx/>
                <a:uFillTx/>
                <a:latin typeface="Segoe UI"/>
                <a:ea typeface="+mn-ea"/>
                <a:cs typeface="Segoe UI Light" panose="020B0502040204020203" pitchFamily="34" charset="0"/>
              </a:endParaRPr>
            </a:p>
          </p:txBody>
        </p:sp>
        <p:grpSp>
          <p:nvGrpSpPr>
            <p:cNvPr id="81" name="Group 80"/>
            <p:cNvGrpSpPr/>
            <p:nvPr/>
          </p:nvGrpSpPr>
          <p:grpSpPr>
            <a:xfrm>
              <a:off x="219373" y="934583"/>
              <a:ext cx="433844" cy="433844"/>
              <a:chOff x="440005" y="997815"/>
              <a:chExt cx="296322" cy="296322"/>
            </a:xfrm>
          </p:grpSpPr>
          <p:sp>
            <p:nvSpPr>
              <p:cNvPr id="101" name="Oval 147"/>
              <p:cNvSpPr/>
              <p:nvPr/>
            </p:nvSpPr>
            <p:spPr bwMode="auto">
              <a:xfrm>
                <a:off x="440005" y="997815"/>
                <a:ext cx="296322" cy="296322"/>
              </a:xfrm>
              <a:prstGeom prst="ellipse">
                <a:avLst/>
              </a:prstGeom>
              <a:solidFill>
                <a:srgbClr val="FFCC00"/>
              </a:solidFill>
              <a:ln>
                <a:solidFill>
                  <a:srgbClr val="F2C81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02" name="Group 332"/>
              <p:cNvGrpSpPr/>
              <p:nvPr/>
            </p:nvGrpSpPr>
            <p:grpSpPr>
              <a:xfrm>
                <a:off x="482167" y="1059311"/>
                <a:ext cx="211997" cy="173292"/>
                <a:chOff x="2123129" y="293070"/>
                <a:chExt cx="2472585" cy="2021178"/>
              </a:xfrm>
            </p:grpSpPr>
            <p:sp>
              <p:nvSpPr>
                <p:cNvPr id="103" name="Freeform 13"/>
                <p:cNvSpPr>
                  <a:spLocks/>
                </p:cNvSpPr>
                <p:nvPr/>
              </p:nvSpPr>
              <p:spPr bwMode="auto">
                <a:xfrm rot="20700000">
                  <a:off x="3155853" y="872796"/>
                  <a:ext cx="1439861" cy="1441452"/>
                </a:xfrm>
                <a:custGeom>
                  <a:avLst/>
                  <a:gdLst>
                    <a:gd name="T0" fmla="*/ 138 w 441"/>
                    <a:gd name="T1" fmla="*/ 341 h 441"/>
                    <a:gd name="T2" fmla="*/ 183 w 441"/>
                    <a:gd name="T3" fmla="*/ 374 h 441"/>
                    <a:gd name="T4" fmla="*/ 220 w 441"/>
                    <a:gd name="T5" fmla="*/ 423 h 441"/>
                    <a:gd name="T6" fmla="*/ 422 w 441"/>
                    <a:gd name="T7" fmla="*/ 220 h 441"/>
                    <a:gd name="T8" fmla="*/ 373 w 441"/>
                    <a:gd name="T9" fmla="*/ 184 h 441"/>
                    <a:gd name="T10" fmla="*/ 341 w 441"/>
                    <a:gd name="T11" fmla="*/ 139 h 441"/>
                    <a:gd name="T12" fmla="*/ 382 w 441"/>
                    <a:gd name="T13" fmla="*/ 58 h 441"/>
                    <a:gd name="T14" fmla="*/ 302 w 441"/>
                    <a:gd name="T15" fmla="*/ 100 h 441"/>
                    <a:gd name="T16" fmla="*/ 257 w 441"/>
                    <a:gd name="T17" fmla="*/ 67 h 441"/>
                    <a:gd name="T18" fmla="*/ 220 w 441"/>
                    <a:gd name="T19" fmla="*/ 18 h 441"/>
                    <a:gd name="T20" fmla="*/ 171 w 441"/>
                    <a:gd name="T21" fmla="*/ 55 h 441"/>
                    <a:gd name="T22" fmla="*/ 138 w 441"/>
                    <a:gd name="T23" fmla="*/ 100 h 441"/>
                    <a:gd name="T24" fmla="*/ 180 w 441"/>
                    <a:gd name="T25" fmla="*/ 181 h 441"/>
                    <a:gd name="T26" fmla="*/ 100 w 441"/>
                    <a:gd name="T27" fmla="*/ 139 h 441"/>
                    <a:gd name="T28" fmla="*/ 55 w 441"/>
                    <a:gd name="T29" fmla="*/ 171 h 441"/>
                    <a:gd name="T30" fmla="*/ 18 w 441"/>
                    <a:gd name="T31" fmla="*/ 220 h 441"/>
                    <a:gd name="T32" fmla="*/ 67 w 441"/>
                    <a:gd name="T33" fmla="*/ 257 h 441"/>
                    <a:gd name="T34" fmla="*/ 100 w 441"/>
                    <a:gd name="T35" fmla="*/ 302 h 441"/>
                    <a:gd name="T36" fmla="*/ 58 w 441"/>
                    <a:gd name="T37" fmla="*/ 383 h 441"/>
                    <a:gd name="T38" fmla="*/ 138 w 441"/>
                    <a:gd name="T39" fmla="*/ 341 h 4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41" h="441">
                      <a:moveTo>
                        <a:pt x="138" y="341"/>
                      </a:moveTo>
                      <a:cubicBezTo>
                        <a:pt x="147" y="337"/>
                        <a:pt x="171" y="361"/>
                        <a:pt x="183" y="374"/>
                      </a:cubicBezTo>
                      <a:cubicBezTo>
                        <a:pt x="196" y="386"/>
                        <a:pt x="220" y="423"/>
                        <a:pt x="220" y="423"/>
                      </a:cubicBezTo>
                      <a:cubicBezTo>
                        <a:pt x="422" y="220"/>
                        <a:pt x="422" y="220"/>
                        <a:pt x="422" y="220"/>
                      </a:cubicBezTo>
                      <a:cubicBezTo>
                        <a:pt x="422" y="220"/>
                        <a:pt x="386" y="196"/>
                        <a:pt x="373" y="184"/>
                      </a:cubicBezTo>
                      <a:cubicBezTo>
                        <a:pt x="361" y="171"/>
                        <a:pt x="338" y="149"/>
                        <a:pt x="341" y="139"/>
                      </a:cubicBezTo>
                      <a:cubicBezTo>
                        <a:pt x="343" y="129"/>
                        <a:pt x="441" y="116"/>
                        <a:pt x="382" y="58"/>
                      </a:cubicBezTo>
                      <a:cubicBezTo>
                        <a:pt x="324" y="0"/>
                        <a:pt x="310" y="96"/>
                        <a:pt x="302" y="100"/>
                      </a:cubicBezTo>
                      <a:cubicBezTo>
                        <a:pt x="294" y="104"/>
                        <a:pt x="269" y="80"/>
                        <a:pt x="257" y="67"/>
                      </a:cubicBezTo>
                      <a:cubicBezTo>
                        <a:pt x="245" y="55"/>
                        <a:pt x="220" y="18"/>
                        <a:pt x="220" y="18"/>
                      </a:cubicBezTo>
                      <a:cubicBezTo>
                        <a:pt x="220" y="18"/>
                        <a:pt x="183" y="43"/>
                        <a:pt x="171" y="55"/>
                      </a:cubicBezTo>
                      <a:cubicBezTo>
                        <a:pt x="159" y="67"/>
                        <a:pt x="134" y="92"/>
                        <a:pt x="138" y="100"/>
                      </a:cubicBezTo>
                      <a:cubicBezTo>
                        <a:pt x="142" y="108"/>
                        <a:pt x="238" y="122"/>
                        <a:pt x="180" y="181"/>
                      </a:cubicBezTo>
                      <a:cubicBezTo>
                        <a:pt x="122" y="239"/>
                        <a:pt x="110" y="141"/>
                        <a:pt x="100" y="139"/>
                      </a:cubicBezTo>
                      <a:cubicBezTo>
                        <a:pt x="89" y="137"/>
                        <a:pt x="67" y="159"/>
                        <a:pt x="55" y="171"/>
                      </a:cubicBezTo>
                      <a:cubicBezTo>
                        <a:pt x="42" y="184"/>
                        <a:pt x="18" y="220"/>
                        <a:pt x="18" y="220"/>
                      </a:cubicBezTo>
                      <a:cubicBezTo>
                        <a:pt x="18" y="220"/>
                        <a:pt x="55" y="245"/>
                        <a:pt x="67" y="257"/>
                      </a:cubicBezTo>
                      <a:cubicBezTo>
                        <a:pt x="79" y="269"/>
                        <a:pt x="102" y="292"/>
                        <a:pt x="100" y="302"/>
                      </a:cubicBezTo>
                      <a:cubicBezTo>
                        <a:pt x="98" y="312"/>
                        <a:pt x="0" y="325"/>
                        <a:pt x="58" y="383"/>
                      </a:cubicBezTo>
                      <a:cubicBezTo>
                        <a:pt x="116" y="441"/>
                        <a:pt x="130" y="345"/>
                        <a:pt x="138" y="341"/>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104" name="Freeform 14"/>
                <p:cNvSpPr>
                  <a:spLocks/>
                </p:cNvSpPr>
                <p:nvPr/>
              </p:nvSpPr>
              <p:spPr bwMode="auto">
                <a:xfrm rot="9900000">
                  <a:off x="2123129" y="293070"/>
                  <a:ext cx="1377948" cy="1377947"/>
                </a:xfrm>
                <a:custGeom>
                  <a:avLst/>
                  <a:gdLst>
                    <a:gd name="T0" fmla="*/ 422 w 422"/>
                    <a:gd name="T1" fmla="*/ 220 h 422"/>
                    <a:gd name="T2" fmla="*/ 386 w 422"/>
                    <a:gd name="T3" fmla="*/ 171 h 422"/>
                    <a:gd name="T4" fmla="*/ 341 w 422"/>
                    <a:gd name="T5" fmla="*/ 138 h 422"/>
                    <a:gd name="T6" fmla="*/ 260 w 422"/>
                    <a:gd name="T7" fmla="*/ 180 h 422"/>
                    <a:gd name="T8" fmla="*/ 302 w 422"/>
                    <a:gd name="T9" fmla="*/ 100 h 422"/>
                    <a:gd name="T10" fmla="*/ 269 w 422"/>
                    <a:gd name="T11" fmla="*/ 55 h 422"/>
                    <a:gd name="T12" fmla="*/ 220 w 422"/>
                    <a:gd name="T13" fmla="*/ 18 h 422"/>
                    <a:gd name="T14" fmla="*/ 183 w 422"/>
                    <a:gd name="T15" fmla="*/ 67 h 422"/>
                    <a:gd name="T16" fmla="*/ 138 w 422"/>
                    <a:gd name="T17" fmla="*/ 100 h 422"/>
                    <a:gd name="T18" fmla="*/ 58 w 422"/>
                    <a:gd name="T19" fmla="*/ 58 h 422"/>
                    <a:gd name="T20" fmla="*/ 100 w 422"/>
                    <a:gd name="T21" fmla="*/ 138 h 422"/>
                    <a:gd name="T22" fmla="*/ 67 w 422"/>
                    <a:gd name="T23" fmla="*/ 183 h 422"/>
                    <a:gd name="T24" fmla="*/ 18 w 422"/>
                    <a:gd name="T25" fmla="*/ 220 h 422"/>
                    <a:gd name="T26" fmla="*/ 55 w 422"/>
                    <a:gd name="T27" fmla="*/ 269 h 422"/>
                    <a:gd name="T28" fmla="*/ 100 w 422"/>
                    <a:gd name="T29" fmla="*/ 302 h 422"/>
                    <a:gd name="T30" fmla="*/ 180 w 422"/>
                    <a:gd name="T31" fmla="*/ 260 h 422"/>
                    <a:gd name="T32" fmla="*/ 138 w 422"/>
                    <a:gd name="T33" fmla="*/ 341 h 422"/>
                    <a:gd name="T34" fmla="*/ 171 w 422"/>
                    <a:gd name="T35" fmla="*/ 386 h 422"/>
                    <a:gd name="T36" fmla="*/ 220 w 422"/>
                    <a:gd name="T37" fmla="*/ 422 h 422"/>
                    <a:gd name="T38" fmla="*/ 422 w 422"/>
                    <a:gd name="T39" fmla="*/ 220 h 4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22" h="422">
                      <a:moveTo>
                        <a:pt x="422" y="220"/>
                      </a:moveTo>
                      <a:cubicBezTo>
                        <a:pt x="422" y="220"/>
                        <a:pt x="398" y="183"/>
                        <a:pt x="386" y="171"/>
                      </a:cubicBezTo>
                      <a:cubicBezTo>
                        <a:pt x="373" y="159"/>
                        <a:pt x="349" y="134"/>
                        <a:pt x="341" y="138"/>
                      </a:cubicBezTo>
                      <a:cubicBezTo>
                        <a:pt x="332" y="142"/>
                        <a:pt x="318" y="239"/>
                        <a:pt x="260" y="180"/>
                      </a:cubicBezTo>
                      <a:cubicBezTo>
                        <a:pt x="202" y="122"/>
                        <a:pt x="300" y="110"/>
                        <a:pt x="302" y="100"/>
                      </a:cubicBezTo>
                      <a:cubicBezTo>
                        <a:pt x="304" y="90"/>
                        <a:pt x="281" y="67"/>
                        <a:pt x="269" y="55"/>
                      </a:cubicBezTo>
                      <a:cubicBezTo>
                        <a:pt x="257" y="42"/>
                        <a:pt x="220" y="18"/>
                        <a:pt x="220" y="18"/>
                      </a:cubicBezTo>
                      <a:cubicBezTo>
                        <a:pt x="220" y="18"/>
                        <a:pt x="196" y="55"/>
                        <a:pt x="183" y="67"/>
                      </a:cubicBezTo>
                      <a:cubicBezTo>
                        <a:pt x="171" y="79"/>
                        <a:pt x="149" y="102"/>
                        <a:pt x="138" y="100"/>
                      </a:cubicBezTo>
                      <a:cubicBezTo>
                        <a:pt x="128" y="98"/>
                        <a:pt x="116" y="0"/>
                        <a:pt x="58" y="58"/>
                      </a:cubicBezTo>
                      <a:cubicBezTo>
                        <a:pt x="0" y="116"/>
                        <a:pt x="96" y="130"/>
                        <a:pt x="100" y="138"/>
                      </a:cubicBezTo>
                      <a:cubicBezTo>
                        <a:pt x="104" y="147"/>
                        <a:pt x="79" y="171"/>
                        <a:pt x="67" y="183"/>
                      </a:cubicBezTo>
                      <a:cubicBezTo>
                        <a:pt x="55" y="196"/>
                        <a:pt x="18" y="220"/>
                        <a:pt x="18" y="220"/>
                      </a:cubicBezTo>
                      <a:cubicBezTo>
                        <a:pt x="18" y="220"/>
                        <a:pt x="42" y="257"/>
                        <a:pt x="55" y="269"/>
                      </a:cubicBezTo>
                      <a:cubicBezTo>
                        <a:pt x="67" y="281"/>
                        <a:pt x="91" y="306"/>
                        <a:pt x="100" y="302"/>
                      </a:cubicBezTo>
                      <a:cubicBezTo>
                        <a:pt x="108" y="298"/>
                        <a:pt x="122" y="202"/>
                        <a:pt x="180" y="260"/>
                      </a:cubicBezTo>
                      <a:cubicBezTo>
                        <a:pt x="238" y="318"/>
                        <a:pt x="140" y="330"/>
                        <a:pt x="138" y="341"/>
                      </a:cubicBezTo>
                      <a:cubicBezTo>
                        <a:pt x="136" y="351"/>
                        <a:pt x="159" y="373"/>
                        <a:pt x="171" y="386"/>
                      </a:cubicBezTo>
                      <a:cubicBezTo>
                        <a:pt x="183" y="398"/>
                        <a:pt x="220" y="422"/>
                        <a:pt x="220" y="422"/>
                      </a:cubicBezTo>
                      <a:lnTo>
                        <a:pt x="422" y="22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grpSp>
        </p:grpSp>
        <p:sp>
          <p:nvSpPr>
            <p:cNvPr id="82" name="Rectangle 152"/>
            <p:cNvSpPr/>
            <p:nvPr/>
          </p:nvSpPr>
          <p:spPr bwMode="auto">
            <a:xfrm>
              <a:off x="669652" y="2738277"/>
              <a:ext cx="1805162" cy="37532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2C812"/>
                  </a:solidFill>
                  <a:effectLst/>
                  <a:uLnTx/>
                  <a:uFillTx/>
                  <a:latin typeface="Segoe UI"/>
                  <a:ea typeface="+mn-ea"/>
                  <a:cs typeface="Segoe UI Light" panose="020B0502040204020203" pitchFamily="34" charset="0"/>
                </a:rPr>
                <a:t>Keeping Data Current</a:t>
              </a:r>
            </a:p>
          </p:txBody>
        </p:sp>
        <p:grpSp>
          <p:nvGrpSpPr>
            <p:cNvPr id="83" name="Group 82"/>
            <p:cNvGrpSpPr/>
            <p:nvPr/>
          </p:nvGrpSpPr>
          <p:grpSpPr>
            <a:xfrm>
              <a:off x="199649" y="2692629"/>
              <a:ext cx="433844" cy="433844"/>
              <a:chOff x="342620" y="2228265"/>
              <a:chExt cx="433844" cy="433844"/>
            </a:xfrm>
            <a:solidFill>
              <a:schemeClr val="bg1"/>
            </a:solidFill>
          </p:grpSpPr>
          <p:sp>
            <p:nvSpPr>
              <p:cNvPr id="99" name="Oval 154"/>
              <p:cNvSpPr/>
              <p:nvPr/>
            </p:nvSpPr>
            <p:spPr bwMode="auto">
              <a:xfrm>
                <a:off x="342620" y="2228265"/>
                <a:ext cx="433844" cy="433844"/>
              </a:xfrm>
              <a:prstGeom prst="ellipse">
                <a:avLst/>
              </a:prstGeom>
              <a:solidFill>
                <a:srgbClr val="FFC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0" name="Freeform 30"/>
              <p:cNvSpPr>
                <a:spLocks noEditPoints="1"/>
              </p:cNvSpPr>
              <p:nvPr/>
            </p:nvSpPr>
            <p:spPr bwMode="auto">
              <a:xfrm>
                <a:off x="444786" y="2340040"/>
                <a:ext cx="238402" cy="210293"/>
              </a:xfrm>
              <a:custGeom>
                <a:avLst/>
                <a:gdLst>
                  <a:gd name="T0" fmla="*/ 883 w 916"/>
                  <a:gd name="T1" fmla="*/ 286 h 808"/>
                  <a:gd name="T2" fmla="*/ 539 w 916"/>
                  <a:gd name="T3" fmla="*/ 723 h 808"/>
                  <a:gd name="T4" fmla="*/ 504 w 916"/>
                  <a:gd name="T5" fmla="*/ 0 h 808"/>
                  <a:gd name="T6" fmla="*/ 35 w 916"/>
                  <a:gd name="T7" fmla="*/ 723 h 808"/>
                  <a:gd name="T8" fmla="*/ 0 w 916"/>
                  <a:gd name="T9" fmla="*/ 808 h 808"/>
                  <a:gd name="T10" fmla="*/ 916 w 916"/>
                  <a:gd name="T11" fmla="*/ 723 h 808"/>
                  <a:gd name="T12" fmla="*/ 229 w 916"/>
                  <a:gd name="T13" fmla="*/ 665 h 808"/>
                  <a:gd name="T14" fmla="*/ 109 w 916"/>
                  <a:gd name="T15" fmla="*/ 596 h 808"/>
                  <a:gd name="T16" fmla="*/ 229 w 916"/>
                  <a:gd name="T17" fmla="*/ 665 h 808"/>
                  <a:gd name="T18" fmla="*/ 109 w 916"/>
                  <a:gd name="T19" fmla="*/ 501 h 808"/>
                  <a:gd name="T20" fmla="*/ 229 w 916"/>
                  <a:gd name="T21" fmla="*/ 432 h 808"/>
                  <a:gd name="T22" fmla="*/ 229 w 916"/>
                  <a:gd name="T23" fmla="*/ 337 h 808"/>
                  <a:gd name="T24" fmla="*/ 109 w 916"/>
                  <a:gd name="T25" fmla="*/ 267 h 808"/>
                  <a:gd name="T26" fmla="*/ 229 w 916"/>
                  <a:gd name="T27" fmla="*/ 337 h 808"/>
                  <a:gd name="T28" fmla="*/ 109 w 916"/>
                  <a:gd name="T29" fmla="*/ 172 h 808"/>
                  <a:gd name="T30" fmla="*/ 229 w 916"/>
                  <a:gd name="T31" fmla="*/ 103 h 808"/>
                  <a:gd name="T32" fmla="*/ 428 w 916"/>
                  <a:gd name="T33" fmla="*/ 665 h 808"/>
                  <a:gd name="T34" fmla="*/ 307 w 916"/>
                  <a:gd name="T35" fmla="*/ 596 h 808"/>
                  <a:gd name="T36" fmla="*/ 428 w 916"/>
                  <a:gd name="T37" fmla="*/ 665 h 808"/>
                  <a:gd name="T38" fmla="*/ 307 w 916"/>
                  <a:gd name="T39" fmla="*/ 501 h 808"/>
                  <a:gd name="T40" fmla="*/ 428 w 916"/>
                  <a:gd name="T41" fmla="*/ 432 h 808"/>
                  <a:gd name="T42" fmla="*/ 428 w 916"/>
                  <a:gd name="T43" fmla="*/ 337 h 808"/>
                  <a:gd name="T44" fmla="*/ 307 w 916"/>
                  <a:gd name="T45" fmla="*/ 267 h 808"/>
                  <a:gd name="T46" fmla="*/ 428 w 916"/>
                  <a:gd name="T47" fmla="*/ 337 h 808"/>
                  <a:gd name="T48" fmla="*/ 307 w 916"/>
                  <a:gd name="T49" fmla="*/ 172 h 808"/>
                  <a:gd name="T50" fmla="*/ 428 w 916"/>
                  <a:gd name="T51" fmla="*/ 103 h 808"/>
                  <a:gd name="T52" fmla="*/ 684 w 916"/>
                  <a:gd name="T53" fmla="*/ 668 h 808"/>
                  <a:gd name="T54" fmla="*/ 606 w 916"/>
                  <a:gd name="T55" fmla="*/ 549 h 808"/>
                  <a:gd name="T56" fmla="*/ 684 w 916"/>
                  <a:gd name="T57" fmla="*/ 668 h 808"/>
                  <a:gd name="T58" fmla="*/ 606 w 916"/>
                  <a:gd name="T59" fmla="*/ 482 h 808"/>
                  <a:gd name="T60" fmla="*/ 684 w 916"/>
                  <a:gd name="T61" fmla="*/ 365 h 808"/>
                  <a:gd name="T62" fmla="*/ 816 w 916"/>
                  <a:gd name="T63" fmla="*/ 668 h 808"/>
                  <a:gd name="T64" fmla="*/ 738 w 916"/>
                  <a:gd name="T65" fmla="*/ 549 h 808"/>
                  <a:gd name="T66" fmla="*/ 816 w 916"/>
                  <a:gd name="T67" fmla="*/ 668 h 808"/>
                  <a:gd name="T68" fmla="*/ 738 w 916"/>
                  <a:gd name="T69" fmla="*/ 482 h 808"/>
                  <a:gd name="T70" fmla="*/ 816 w 916"/>
                  <a:gd name="T71" fmla="*/ 365 h 8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16" h="808">
                    <a:moveTo>
                      <a:pt x="883" y="723"/>
                    </a:moveTo>
                    <a:lnTo>
                      <a:pt x="883" y="286"/>
                    </a:lnTo>
                    <a:lnTo>
                      <a:pt x="539" y="286"/>
                    </a:lnTo>
                    <a:lnTo>
                      <a:pt x="539" y="723"/>
                    </a:lnTo>
                    <a:lnTo>
                      <a:pt x="504" y="723"/>
                    </a:lnTo>
                    <a:lnTo>
                      <a:pt x="504" y="0"/>
                    </a:lnTo>
                    <a:lnTo>
                      <a:pt x="35" y="0"/>
                    </a:lnTo>
                    <a:lnTo>
                      <a:pt x="35" y="723"/>
                    </a:lnTo>
                    <a:lnTo>
                      <a:pt x="0" y="723"/>
                    </a:lnTo>
                    <a:lnTo>
                      <a:pt x="0" y="808"/>
                    </a:lnTo>
                    <a:lnTo>
                      <a:pt x="916" y="808"/>
                    </a:lnTo>
                    <a:lnTo>
                      <a:pt x="916" y="723"/>
                    </a:lnTo>
                    <a:lnTo>
                      <a:pt x="883" y="723"/>
                    </a:lnTo>
                    <a:close/>
                    <a:moveTo>
                      <a:pt x="229" y="665"/>
                    </a:moveTo>
                    <a:lnTo>
                      <a:pt x="109" y="665"/>
                    </a:lnTo>
                    <a:lnTo>
                      <a:pt x="109" y="596"/>
                    </a:lnTo>
                    <a:lnTo>
                      <a:pt x="229" y="596"/>
                    </a:lnTo>
                    <a:lnTo>
                      <a:pt x="229" y="665"/>
                    </a:lnTo>
                    <a:close/>
                    <a:moveTo>
                      <a:pt x="229" y="501"/>
                    </a:moveTo>
                    <a:lnTo>
                      <a:pt x="109" y="501"/>
                    </a:lnTo>
                    <a:lnTo>
                      <a:pt x="109" y="432"/>
                    </a:lnTo>
                    <a:lnTo>
                      <a:pt x="229" y="432"/>
                    </a:lnTo>
                    <a:lnTo>
                      <a:pt x="229" y="501"/>
                    </a:lnTo>
                    <a:close/>
                    <a:moveTo>
                      <a:pt x="229" y="337"/>
                    </a:moveTo>
                    <a:lnTo>
                      <a:pt x="109" y="337"/>
                    </a:lnTo>
                    <a:lnTo>
                      <a:pt x="109" y="267"/>
                    </a:lnTo>
                    <a:lnTo>
                      <a:pt x="229" y="267"/>
                    </a:lnTo>
                    <a:lnTo>
                      <a:pt x="229" y="337"/>
                    </a:lnTo>
                    <a:close/>
                    <a:moveTo>
                      <a:pt x="229" y="172"/>
                    </a:moveTo>
                    <a:lnTo>
                      <a:pt x="109" y="172"/>
                    </a:lnTo>
                    <a:lnTo>
                      <a:pt x="109" y="103"/>
                    </a:lnTo>
                    <a:lnTo>
                      <a:pt x="229" y="103"/>
                    </a:lnTo>
                    <a:lnTo>
                      <a:pt x="229" y="172"/>
                    </a:lnTo>
                    <a:close/>
                    <a:moveTo>
                      <a:pt x="428" y="665"/>
                    </a:moveTo>
                    <a:lnTo>
                      <a:pt x="307" y="665"/>
                    </a:lnTo>
                    <a:lnTo>
                      <a:pt x="307" y="596"/>
                    </a:lnTo>
                    <a:lnTo>
                      <a:pt x="428" y="596"/>
                    </a:lnTo>
                    <a:lnTo>
                      <a:pt x="428" y="665"/>
                    </a:lnTo>
                    <a:close/>
                    <a:moveTo>
                      <a:pt x="428" y="501"/>
                    </a:moveTo>
                    <a:lnTo>
                      <a:pt x="307" y="501"/>
                    </a:lnTo>
                    <a:lnTo>
                      <a:pt x="307" y="432"/>
                    </a:lnTo>
                    <a:lnTo>
                      <a:pt x="428" y="432"/>
                    </a:lnTo>
                    <a:lnTo>
                      <a:pt x="428" y="501"/>
                    </a:lnTo>
                    <a:close/>
                    <a:moveTo>
                      <a:pt x="428" y="337"/>
                    </a:moveTo>
                    <a:lnTo>
                      <a:pt x="307" y="337"/>
                    </a:lnTo>
                    <a:lnTo>
                      <a:pt x="307" y="267"/>
                    </a:lnTo>
                    <a:lnTo>
                      <a:pt x="428" y="267"/>
                    </a:lnTo>
                    <a:lnTo>
                      <a:pt x="428" y="337"/>
                    </a:lnTo>
                    <a:close/>
                    <a:moveTo>
                      <a:pt x="428" y="172"/>
                    </a:moveTo>
                    <a:lnTo>
                      <a:pt x="307" y="172"/>
                    </a:lnTo>
                    <a:lnTo>
                      <a:pt x="307" y="103"/>
                    </a:lnTo>
                    <a:lnTo>
                      <a:pt x="428" y="103"/>
                    </a:lnTo>
                    <a:lnTo>
                      <a:pt x="428" y="172"/>
                    </a:lnTo>
                    <a:close/>
                    <a:moveTo>
                      <a:pt x="684" y="668"/>
                    </a:moveTo>
                    <a:lnTo>
                      <a:pt x="606" y="668"/>
                    </a:lnTo>
                    <a:lnTo>
                      <a:pt x="606" y="549"/>
                    </a:lnTo>
                    <a:lnTo>
                      <a:pt x="684" y="549"/>
                    </a:lnTo>
                    <a:lnTo>
                      <a:pt x="684" y="668"/>
                    </a:lnTo>
                    <a:close/>
                    <a:moveTo>
                      <a:pt x="684" y="482"/>
                    </a:moveTo>
                    <a:lnTo>
                      <a:pt x="606" y="482"/>
                    </a:lnTo>
                    <a:lnTo>
                      <a:pt x="606" y="365"/>
                    </a:lnTo>
                    <a:lnTo>
                      <a:pt x="684" y="365"/>
                    </a:lnTo>
                    <a:lnTo>
                      <a:pt x="684" y="482"/>
                    </a:lnTo>
                    <a:close/>
                    <a:moveTo>
                      <a:pt x="816" y="668"/>
                    </a:moveTo>
                    <a:lnTo>
                      <a:pt x="738" y="668"/>
                    </a:lnTo>
                    <a:lnTo>
                      <a:pt x="738" y="549"/>
                    </a:lnTo>
                    <a:lnTo>
                      <a:pt x="816" y="549"/>
                    </a:lnTo>
                    <a:lnTo>
                      <a:pt x="816" y="668"/>
                    </a:lnTo>
                    <a:close/>
                    <a:moveTo>
                      <a:pt x="816" y="482"/>
                    </a:moveTo>
                    <a:lnTo>
                      <a:pt x="738" y="482"/>
                    </a:lnTo>
                    <a:lnTo>
                      <a:pt x="738" y="365"/>
                    </a:lnTo>
                    <a:lnTo>
                      <a:pt x="816" y="365"/>
                    </a:lnTo>
                    <a:lnTo>
                      <a:pt x="816" y="482"/>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grpSp>
        <p:sp>
          <p:nvSpPr>
            <p:cNvPr id="84" name="TextBox 83"/>
            <p:cNvSpPr txBox="1"/>
            <p:nvPr/>
          </p:nvSpPr>
          <p:spPr>
            <a:xfrm>
              <a:off x="83345" y="113808"/>
              <a:ext cx="2532630" cy="627864"/>
            </a:xfrm>
            <a:prstGeom prst="rect">
              <a:avLst/>
            </a:prstGeom>
            <a:noFill/>
          </p:spPr>
          <p:txBody>
            <a:bodyPr wrap="square" lIns="182880" tIns="146304" rIns="182880" bIns="146304" rtlCol="0">
              <a:spAutoFit/>
            </a:bodyPr>
            <a:lstStyle>
              <a:defPPr>
                <a:defRPr lang="en-US"/>
              </a:defPPr>
              <a:lvl1pPr>
                <a:lnSpc>
                  <a:spcPct val="90000"/>
                </a:lnSpc>
                <a:spcAft>
                  <a:spcPts val="600"/>
                </a:spcAft>
                <a:defRPr sz="2800" b="1">
                  <a:solidFill>
                    <a:srgbClr val="F2C812"/>
                  </a:solidFill>
                  <a:latin typeface="Segoe UI Light"/>
                </a:defRPr>
              </a:lvl1p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400" b="1" i="0" u="none" strike="noStrike" kern="1200" cap="none" spc="0" normalizeH="0" baseline="0" noProof="0">
                  <a:ln>
                    <a:noFill/>
                  </a:ln>
                  <a:solidFill>
                    <a:srgbClr val="F2C812"/>
                  </a:solidFill>
                  <a:effectLst/>
                  <a:uLnTx/>
                  <a:uFillTx/>
                  <a:latin typeface="Segoe UI Light"/>
                  <a:ea typeface="+mn-ea"/>
                  <a:cs typeface="+mn-cs"/>
                </a:rPr>
                <a:t>Power BI Service</a:t>
              </a:r>
              <a:endParaRPr kumimoji="0" lang="en-US" sz="2800" b="1" i="0" u="none" strike="noStrike" kern="1200" cap="none" spc="0" normalizeH="0" baseline="0" noProof="0">
                <a:ln>
                  <a:noFill/>
                </a:ln>
                <a:solidFill>
                  <a:srgbClr val="F2C812"/>
                </a:solidFill>
                <a:effectLst/>
                <a:uLnTx/>
                <a:uFillTx/>
                <a:latin typeface="Segoe UI Light"/>
                <a:ea typeface="+mn-ea"/>
                <a:cs typeface="+mn-cs"/>
              </a:endParaRPr>
            </a:p>
          </p:txBody>
        </p:sp>
        <p:grpSp>
          <p:nvGrpSpPr>
            <p:cNvPr id="85" name="Group 84"/>
            <p:cNvGrpSpPr/>
            <p:nvPr/>
          </p:nvGrpSpPr>
          <p:grpSpPr>
            <a:xfrm>
              <a:off x="219373" y="3621383"/>
              <a:ext cx="433844" cy="645668"/>
              <a:chOff x="280990" y="3358164"/>
              <a:chExt cx="433844" cy="645668"/>
            </a:xfrm>
          </p:grpSpPr>
          <p:sp>
            <p:nvSpPr>
              <p:cNvPr id="92" name="Oval 1083"/>
              <p:cNvSpPr/>
              <p:nvPr/>
            </p:nvSpPr>
            <p:spPr bwMode="auto">
              <a:xfrm>
                <a:off x="280990" y="3358164"/>
                <a:ext cx="433844" cy="433847"/>
              </a:xfrm>
              <a:prstGeom prst="ellipse">
                <a:avLst/>
              </a:prstGeom>
              <a:solidFill>
                <a:srgbClr val="F2C812"/>
              </a:solidFill>
              <a:ln>
                <a:solidFill>
                  <a:srgbClr val="FFCC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93" name="Group 379"/>
              <p:cNvGrpSpPr/>
              <p:nvPr/>
            </p:nvGrpSpPr>
            <p:grpSpPr>
              <a:xfrm>
                <a:off x="453702" y="3910852"/>
                <a:ext cx="175660" cy="92980"/>
                <a:chOff x="3895793" y="7466656"/>
                <a:chExt cx="785810" cy="415941"/>
              </a:xfrm>
              <a:solidFill>
                <a:srgbClr val="00BCF2"/>
              </a:solidFill>
            </p:grpSpPr>
            <p:sp>
              <p:nvSpPr>
                <p:cNvPr id="94" name="Freeform 132"/>
                <p:cNvSpPr>
                  <a:spLocks/>
                </p:cNvSpPr>
                <p:nvPr/>
              </p:nvSpPr>
              <p:spPr bwMode="auto">
                <a:xfrm>
                  <a:off x="4125979" y="7688918"/>
                  <a:ext cx="0" cy="6353"/>
                </a:xfrm>
                <a:custGeom>
                  <a:avLst/>
                  <a:gdLst>
                    <a:gd name="T0" fmla="*/ 1 w 1"/>
                    <a:gd name="T1" fmla="*/ 0 h 8"/>
                    <a:gd name="T2" fmla="*/ 0 w 1"/>
                    <a:gd name="T3" fmla="*/ 0 h 8"/>
                    <a:gd name="T4" fmla="*/ 1 w 1"/>
                    <a:gd name="T5" fmla="*/ 8 h 8"/>
                    <a:gd name="T6" fmla="*/ 1 w 1"/>
                    <a:gd name="T7" fmla="*/ 0 h 8"/>
                  </a:gdLst>
                  <a:ahLst/>
                  <a:cxnLst>
                    <a:cxn ang="0">
                      <a:pos x="T0" y="T1"/>
                    </a:cxn>
                    <a:cxn ang="0">
                      <a:pos x="T2" y="T3"/>
                    </a:cxn>
                    <a:cxn ang="0">
                      <a:pos x="T4" y="T5"/>
                    </a:cxn>
                    <a:cxn ang="0">
                      <a:pos x="T6" y="T7"/>
                    </a:cxn>
                  </a:cxnLst>
                  <a:rect l="0" t="0" r="r" b="b"/>
                  <a:pathLst>
                    <a:path w="1" h="8">
                      <a:moveTo>
                        <a:pt x="1" y="0"/>
                      </a:moveTo>
                      <a:cubicBezTo>
                        <a:pt x="0" y="0"/>
                        <a:pt x="0" y="0"/>
                        <a:pt x="0" y="0"/>
                      </a:cubicBezTo>
                      <a:cubicBezTo>
                        <a:pt x="0" y="3"/>
                        <a:pt x="1" y="5"/>
                        <a:pt x="1" y="8"/>
                      </a:cubicBezTo>
                      <a:lnTo>
                        <a:pt x="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95" name="Freeform 133"/>
                <p:cNvSpPr>
                  <a:spLocks/>
                </p:cNvSpPr>
                <p:nvPr/>
              </p:nvSpPr>
              <p:spPr bwMode="auto">
                <a:xfrm>
                  <a:off x="3895793" y="7812745"/>
                  <a:ext cx="219078" cy="69852"/>
                </a:xfrm>
                <a:custGeom>
                  <a:avLst/>
                  <a:gdLst>
                    <a:gd name="T0" fmla="*/ 186 w 238"/>
                    <a:gd name="T1" fmla="*/ 9 h 76"/>
                    <a:gd name="T2" fmla="*/ 131 w 238"/>
                    <a:gd name="T3" fmla="*/ 22 h 76"/>
                    <a:gd name="T4" fmla="*/ 60 w 238"/>
                    <a:gd name="T5" fmla="*/ 0 h 76"/>
                    <a:gd name="T6" fmla="*/ 0 w 238"/>
                    <a:gd name="T7" fmla="*/ 42 h 76"/>
                    <a:gd name="T8" fmla="*/ 0 w 238"/>
                    <a:gd name="T9" fmla="*/ 76 h 76"/>
                    <a:gd name="T10" fmla="*/ 238 w 238"/>
                    <a:gd name="T11" fmla="*/ 76 h 76"/>
                    <a:gd name="T12" fmla="*/ 236 w 238"/>
                    <a:gd name="T13" fmla="*/ 53 h 76"/>
                    <a:gd name="T14" fmla="*/ 236 w 238"/>
                    <a:gd name="T15" fmla="*/ 49 h 76"/>
                    <a:gd name="T16" fmla="*/ 186 w 238"/>
                    <a:gd name="T17" fmla="*/ 9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8" h="76">
                      <a:moveTo>
                        <a:pt x="186" y="9"/>
                      </a:moveTo>
                      <a:cubicBezTo>
                        <a:pt x="169" y="18"/>
                        <a:pt x="150" y="22"/>
                        <a:pt x="131" y="22"/>
                      </a:cubicBezTo>
                      <a:cubicBezTo>
                        <a:pt x="105" y="22"/>
                        <a:pt x="80" y="14"/>
                        <a:pt x="60" y="0"/>
                      </a:cubicBezTo>
                      <a:cubicBezTo>
                        <a:pt x="0" y="42"/>
                        <a:pt x="0" y="42"/>
                        <a:pt x="0" y="42"/>
                      </a:cubicBezTo>
                      <a:cubicBezTo>
                        <a:pt x="0" y="76"/>
                        <a:pt x="0" y="76"/>
                        <a:pt x="0" y="76"/>
                      </a:cubicBezTo>
                      <a:cubicBezTo>
                        <a:pt x="238" y="76"/>
                        <a:pt x="238" y="76"/>
                        <a:pt x="238" y="76"/>
                      </a:cubicBezTo>
                      <a:cubicBezTo>
                        <a:pt x="237" y="68"/>
                        <a:pt x="236" y="61"/>
                        <a:pt x="236" y="53"/>
                      </a:cubicBezTo>
                      <a:cubicBezTo>
                        <a:pt x="236" y="51"/>
                        <a:pt x="236" y="50"/>
                        <a:pt x="236" y="49"/>
                      </a:cubicBezTo>
                      <a:lnTo>
                        <a:pt x="186" y="9"/>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96" name="Freeform 137"/>
                <p:cNvSpPr>
                  <a:spLocks/>
                </p:cNvSpPr>
                <p:nvPr/>
              </p:nvSpPr>
              <p:spPr bwMode="auto">
                <a:xfrm>
                  <a:off x="4338704" y="7809561"/>
                  <a:ext cx="65090" cy="73028"/>
                </a:xfrm>
                <a:custGeom>
                  <a:avLst/>
                  <a:gdLst>
                    <a:gd name="T0" fmla="*/ 71 w 71"/>
                    <a:gd name="T1" fmla="*/ 79 h 79"/>
                    <a:gd name="T2" fmla="*/ 71 w 71"/>
                    <a:gd name="T3" fmla="*/ 0 h 79"/>
                    <a:gd name="T4" fmla="*/ 2 w 71"/>
                    <a:gd name="T5" fmla="*/ 53 h 79"/>
                    <a:gd name="T6" fmla="*/ 2 w 71"/>
                    <a:gd name="T7" fmla="*/ 56 h 79"/>
                    <a:gd name="T8" fmla="*/ 0 w 71"/>
                    <a:gd name="T9" fmla="*/ 79 h 79"/>
                    <a:gd name="T10" fmla="*/ 71 w 71"/>
                    <a:gd name="T11" fmla="*/ 79 h 79"/>
                  </a:gdLst>
                  <a:ahLst/>
                  <a:cxnLst>
                    <a:cxn ang="0">
                      <a:pos x="T0" y="T1"/>
                    </a:cxn>
                    <a:cxn ang="0">
                      <a:pos x="T2" y="T3"/>
                    </a:cxn>
                    <a:cxn ang="0">
                      <a:pos x="T4" y="T5"/>
                    </a:cxn>
                    <a:cxn ang="0">
                      <a:pos x="T6" y="T7"/>
                    </a:cxn>
                    <a:cxn ang="0">
                      <a:pos x="T8" y="T9"/>
                    </a:cxn>
                    <a:cxn ang="0">
                      <a:pos x="T10" y="T11"/>
                    </a:cxn>
                  </a:cxnLst>
                  <a:rect l="0" t="0" r="r" b="b"/>
                  <a:pathLst>
                    <a:path w="71" h="79">
                      <a:moveTo>
                        <a:pt x="71" y="79"/>
                      </a:moveTo>
                      <a:cubicBezTo>
                        <a:pt x="71" y="0"/>
                        <a:pt x="71" y="0"/>
                        <a:pt x="71" y="0"/>
                      </a:cubicBezTo>
                      <a:cubicBezTo>
                        <a:pt x="2" y="53"/>
                        <a:pt x="2" y="53"/>
                        <a:pt x="2" y="53"/>
                      </a:cubicBezTo>
                      <a:cubicBezTo>
                        <a:pt x="2" y="54"/>
                        <a:pt x="2" y="55"/>
                        <a:pt x="2" y="56"/>
                      </a:cubicBezTo>
                      <a:cubicBezTo>
                        <a:pt x="2" y="64"/>
                        <a:pt x="1" y="71"/>
                        <a:pt x="0" y="79"/>
                      </a:cubicBezTo>
                      <a:lnTo>
                        <a:pt x="71" y="79"/>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97" name="Freeform 140"/>
                <p:cNvSpPr>
                  <a:spLocks/>
                </p:cNvSpPr>
                <p:nvPr/>
              </p:nvSpPr>
              <p:spPr bwMode="auto">
                <a:xfrm>
                  <a:off x="4600643" y="7622229"/>
                  <a:ext cx="80960" cy="38099"/>
                </a:xfrm>
                <a:custGeom>
                  <a:avLst/>
                  <a:gdLst>
                    <a:gd name="T0" fmla="*/ 0 w 51"/>
                    <a:gd name="T1" fmla="*/ 24 h 24"/>
                    <a:gd name="T2" fmla="*/ 51 w 51"/>
                    <a:gd name="T3" fmla="*/ 24 h 24"/>
                    <a:gd name="T4" fmla="*/ 32 w 51"/>
                    <a:gd name="T5" fmla="*/ 0 h 24"/>
                    <a:gd name="T6" fmla="*/ 0 w 51"/>
                    <a:gd name="T7" fmla="*/ 24 h 24"/>
                  </a:gdLst>
                  <a:ahLst/>
                  <a:cxnLst>
                    <a:cxn ang="0">
                      <a:pos x="T0" y="T1"/>
                    </a:cxn>
                    <a:cxn ang="0">
                      <a:pos x="T2" y="T3"/>
                    </a:cxn>
                    <a:cxn ang="0">
                      <a:pos x="T4" y="T5"/>
                    </a:cxn>
                    <a:cxn ang="0">
                      <a:pos x="T6" y="T7"/>
                    </a:cxn>
                  </a:cxnLst>
                  <a:rect l="0" t="0" r="r" b="b"/>
                  <a:pathLst>
                    <a:path w="51" h="24">
                      <a:moveTo>
                        <a:pt x="0" y="24"/>
                      </a:moveTo>
                      <a:lnTo>
                        <a:pt x="51" y="24"/>
                      </a:lnTo>
                      <a:lnTo>
                        <a:pt x="32" y="0"/>
                      </a:lnTo>
                      <a:lnTo>
                        <a:pt x="0" y="24"/>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98" name="Freeform 141"/>
                <p:cNvSpPr>
                  <a:spLocks/>
                </p:cNvSpPr>
                <p:nvPr/>
              </p:nvSpPr>
              <p:spPr bwMode="auto">
                <a:xfrm>
                  <a:off x="4449825" y="7466656"/>
                  <a:ext cx="119065" cy="139703"/>
                </a:xfrm>
                <a:custGeom>
                  <a:avLst/>
                  <a:gdLst>
                    <a:gd name="T0" fmla="*/ 52 w 75"/>
                    <a:gd name="T1" fmla="*/ 0 h 88"/>
                    <a:gd name="T2" fmla="*/ 0 w 75"/>
                    <a:gd name="T3" fmla="*/ 0 h 88"/>
                    <a:gd name="T4" fmla="*/ 0 w 75"/>
                    <a:gd name="T5" fmla="*/ 88 h 88"/>
                    <a:gd name="T6" fmla="*/ 75 w 75"/>
                    <a:gd name="T7" fmla="*/ 30 h 88"/>
                    <a:gd name="T8" fmla="*/ 52 w 75"/>
                    <a:gd name="T9" fmla="*/ 0 h 88"/>
                  </a:gdLst>
                  <a:ahLst/>
                  <a:cxnLst>
                    <a:cxn ang="0">
                      <a:pos x="T0" y="T1"/>
                    </a:cxn>
                    <a:cxn ang="0">
                      <a:pos x="T2" y="T3"/>
                    </a:cxn>
                    <a:cxn ang="0">
                      <a:pos x="T4" y="T5"/>
                    </a:cxn>
                    <a:cxn ang="0">
                      <a:pos x="T6" y="T7"/>
                    </a:cxn>
                    <a:cxn ang="0">
                      <a:pos x="T8" y="T9"/>
                    </a:cxn>
                  </a:cxnLst>
                  <a:rect l="0" t="0" r="r" b="b"/>
                  <a:pathLst>
                    <a:path w="75" h="88">
                      <a:moveTo>
                        <a:pt x="52" y="0"/>
                      </a:moveTo>
                      <a:lnTo>
                        <a:pt x="0" y="0"/>
                      </a:lnTo>
                      <a:lnTo>
                        <a:pt x="0" y="88"/>
                      </a:lnTo>
                      <a:lnTo>
                        <a:pt x="75" y="30"/>
                      </a:lnTo>
                      <a:lnTo>
                        <a:pt x="52"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grpSp>
        </p:grpSp>
        <p:sp>
          <p:nvSpPr>
            <p:cNvPr id="86" name="Rectangle 152"/>
            <p:cNvSpPr/>
            <p:nvPr/>
          </p:nvSpPr>
          <p:spPr bwMode="auto">
            <a:xfrm>
              <a:off x="712458" y="3628917"/>
              <a:ext cx="1805162" cy="37532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2C812"/>
                  </a:solidFill>
                  <a:effectLst/>
                  <a:uLnTx/>
                  <a:uFillTx/>
                  <a:latin typeface="Segoe UI"/>
                  <a:ea typeface="+mn-ea"/>
                  <a:cs typeface="Segoe UI Light" panose="020B0502040204020203" pitchFamily="34" charset="0"/>
                </a:rPr>
                <a:t>Q&amp;A and </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2C812"/>
                  </a:solidFill>
                  <a:effectLst/>
                  <a:uLnTx/>
                  <a:uFillTx/>
                  <a:latin typeface="Segoe UI"/>
                  <a:ea typeface="+mn-ea"/>
                  <a:cs typeface="Segoe UI Light" panose="020B0502040204020203" pitchFamily="34" charset="0"/>
                </a:rPr>
                <a:t>Quick Insights</a:t>
              </a:r>
              <a:endParaRPr kumimoji="0" lang="en-US" sz="1200" b="1" i="0" u="none" strike="noStrike" kern="1200" cap="none" spc="0" normalizeH="0" baseline="0" noProof="0">
                <a:ln>
                  <a:noFill/>
                </a:ln>
                <a:solidFill>
                  <a:srgbClr val="F2C812"/>
                </a:solidFill>
                <a:effectLst/>
                <a:uLnTx/>
                <a:uFillTx/>
                <a:latin typeface="Segoe UI"/>
                <a:ea typeface="+mn-ea"/>
                <a:cs typeface="Segoe UI Light" panose="020B0502040204020203" pitchFamily="34" charset="0"/>
              </a:endParaRPr>
            </a:p>
          </p:txBody>
        </p:sp>
        <p:sp>
          <p:nvSpPr>
            <p:cNvPr id="88" name="Oval 162"/>
            <p:cNvSpPr/>
            <p:nvPr/>
          </p:nvSpPr>
          <p:spPr bwMode="auto">
            <a:xfrm>
              <a:off x="226619" y="4551712"/>
              <a:ext cx="433844" cy="433844"/>
            </a:xfrm>
            <a:prstGeom prst="ellipse">
              <a:avLst/>
            </a:prstGeom>
            <a:solidFill>
              <a:srgbClr val="F2C812"/>
            </a:solidFill>
            <a:ln>
              <a:solidFill>
                <a:srgbClr val="FFCC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9" name="Rectangle 152"/>
            <p:cNvSpPr/>
            <p:nvPr/>
          </p:nvSpPr>
          <p:spPr bwMode="auto">
            <a:xfrm>
              <a:off x="738443" y="4596194"/>
              <a:ext cx="1884825" cy="30233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2C812"/>
                  </a:solidFill>
                  <a:effectLst/>
                  <a:uLnTx/>
                  <a:uFillTx/>
                  <a:latin typeface="Segoe UI"/>
                  <a:ea typeface="+mn-ea"/>
                  <a:cs typeface="Segoe UI Light" panose="020B0502040204020203" pitchFamily="34" charset="0"/>
                </a:rPr>
                <a:t>Sharing</a:t>
              </a:r>
              <a:endParaRPr kumimoji="0" lang="en-US" sz="1200" b="1" i="1" u="none" strike="noStrike" kern="1200" cap="none" spc="0" normalizeH="0" baseline="0" noProof="0">
                <a:ln>
                  <a:noFill/>
                </a:ln>
                <a:solidFill>
                  <a:srgbClr val="F2C812"/>
                </a:solidFill>
                <a:effectLst/>
                <a:uLnTx/>
                <a:uFillTx/>
                <a:latin typeface="Segoe UI"/>
                <a:ea typeface="+mn-ea"/>
                <a:cs typeface="Segoe UI Light" panose="020B0502040204020203" pitchFamily="34" charset="0"/>
              </a:endParaRPr>
            </a:p>
          </p:txBody>
        </p:sp>
        <p:sp>
          <p:nvSpPr>
            <p:cNvPr id="90" name="Rectangle 145"/>
            <p:cNvSpPr/>
            <p:nvPr/>
          </p:nvSpPr>
          <p:spPr bwMode="auto">
            <a:xfrm>
              <a:off x="697198" y="1847637"/>
              <a:ext cx="1821468" cy="3831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2C812"/>
                  </a:solidFill>
                  <a:effectLst/>
                  <a:uLnTx/>
                  <a:uFillTx/>
                  <a:latin typeface="Segoe UI"/>
                  <a:ea typeface="+mn-ea"/>
                  <a:cs typeface="Segoe UI Light" panose="020B0502040204020203" pitchFamily="34" charset="0"/>
                </a:rPr>
                <a:t>Pinning and Navigation</a:t>
              </a:r>
            </a:p>
          </p:txBody>
        </p:sp>
        <p:sp>
          <p:nvSpPr>
            <p:cNvPr id="91" name="Oval 162"/>
            <p:cNvSpPr/>
            <p:nvPr/>
          </p:nvSpPr>
          <p:spPr bwMode="auto">
            <a:xfrm>
              <a:off x="224136" y="1813606"/>
              <a:ext cx="433844" cy="433844"/>
            </a:xfrm>
            <a:prstGeom prst="ellipse">
              <a:avLst/>
            </a:prstGeom>
            <a:solidFill>
              <a:srgbClr val="FFCC00"/>
            </a:solidFill>
            <a:ln>
              <a:solidFill>
                <a:srgbClr val="F2C81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pic>
        <p:nvPicPr>
          <p:cNvPr id="105" name="Picture 104"/>
          <p:cNvPicPr>
            <a:picLocks noChangeAspect="1"/>
          </p:cNvPicPr>
          <p:nvPr/>
        </p:nvPicPr>
        <p:blipFill rotWithShape="1">
          <a:blip r:embed="rId4"/>
          <a:srcRect l="6503" t="21287" r="74698" b="20220"/>
          <a:stretch/>
        </p:blipFill>
        <p:spPr>
          <a:xfrm>
            <a:off x="339111" y="1946110"/>
            <a:ext cx="228600" cy="231962"/>
          </a:xfrm>
          <a:prstGeom prst="rect">
            <a:avLst/>
          </a:prstGeom>
        </p:spPr>
      </p:pic>
      <p:pic>
        <p:nvPicPr>
          <p:cNvPr id="106" name="Picture 105"/>
          <p:cNvPicPr>
            <a:picLocks noChangeAspect="1"/>
          </p:cNvPicPr>
          <p:nvPr/>
        </p:nvPicPr>
        <p:blipFill>
          <a:blip r:embed="rId5"/>
          <a:stretch>
            <a:fillRect/>
          </a:stretch>
        </p:blipFill>
        <p:spPr>
          <a:xfrm>
            <a:off x="284769" y="3673076"/>
            <a:ext cx="311766" cy="303106"/>
          </a:xfrm>
          <a:prstGeom prst="rect">
            <a:avLst/>
          </a:prstGeom>
        </p:spPr>
      </p:pic>
      <p:sp>
        <p:nvSpPr>
          <p:cNvPr id="107" name="Rectangle 145"/>
          <p:cNvSpPr/>
          <p:nvPr/>
        </p:nvSpPr>
        <p:spPr bwMode="auto">
          <a:xfrm>
            <a:off x="718897" y="5436715"/>
            <a:ext cx="1821468" cy="3831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2C812"/>
                </a:solidFill>
                <a:effectLst/>
                <a:uLnTx/>
                <a:uFillTx/>
                <a:latin typeface="Segoe UI"/>
                <a:ea typeface="+mn-ea"/>
                <a:cs typeface="Segoe UI Light" panose="020B0502040204020203" pitchFamily="34" charset="0"/>
              </a:rPr>
              <a:t>Connect from Excel</a:t>
            </a:r>
          </a:p>
        </p:txBody>
      </p:sp>
      <p:sp>
        <p:nvSpPr>
          <p:cNvPr id="108" name="Oval 162"/>
          <p:cNvSpPr/>
          <p:nvPr/>
        </p:nvSpPr>
        <p:spPr bwMode="auto">
          <a:xfrm>
            <a:off x="231441" y="5429649"/>
            <a:ext cx="433844" cy="433844"/>
          </a:xfrm>
          <a:prstGeom prst="ellipse">
            <a:avLst/>
          </a:prstGeom>
          <a:solidFill>
            <a:srgbClr val="FFCC00"/>
          </a:solidFill>
          <a:ln>
            <a:solidFill>
              <a:srgbClr val="F2C81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09" name="Picture 108"/>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flipH="1">
            <a:off x="283763" y="4596680"/>
            <a:ext cx="357484" cy="357484"/>
          </a:xfrm>
          <a:prstGeom prst="rect">
            <a:avLst/>
          </a:prstGeom>
        </p:spPr>
      </p:pic>
      <p:sp>
        <p:nvSpPr>
          <p:cNvPr id="110" name="Oval 162"/>
          <p:cNvSpPr/>
          <p:nvPr/>
        </p:nvSpPr>
        <p:spPr bwMode="auto">
          <a:xfrm>
            <a:off x="233032" y="6267344"/>
            <a:ext cx="433844" cy="433844"/>
          </a:xfrm>
          <a:prstGeom prst="ellipse">
            <a:avLst/>
          </a:prstGeom>
          <a:solidFill>
            <a:srgbClr val="FFCC00"/>
          </a:solidFill>
          <a:ln>
            <a:solidFill>
              <a:srgbClr val="F2C81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1" name="Rectangle 145"/>
          <p:cNvSpPr/>
          <p:nvPr/>
        </p:nvSpPr>
        <p:spPr bwMode="auto">
          <a:xfrm>
            <a:off x="701416" y="6289969"/>
            <a:ext cx="1821468" cy="3831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2C812"/>
                </a:solidFill>
                <a:effectLst/>
                <a:uLnTx/>
                <a:uFillTx/>
                <a:latin typeface="Segoe UI"/>
                <a:ea typeface="+mn-ea"/>
                <a:cs typeface="Segoe UI Light" panose="020B0502040204020203" pitchFamily="34" charset="0"/>
              </a:rPr>
              <a:t>Mobile Reports</a:t>
            </a:r>
          </a:p>
        </p:txBody>
      </p:sp>
      <p:pic>
        <p:nvPicPr>
          <p:cNvPr id="112" name="Picture 111"/>
          <p:cNvPicPr>
            <a:picLocks noChangeAspect="1"/>
          </p:cNvPicPr>
          <p:nvPr/>
        </p:nvPicPr>
        <p:blipFill>
          <a:blip r:embed="rId7" cstate="print">
            <a:extLst>
              <a:ext uri="{BEBA8EAE-BF5A-486C-A8C5-ECC9F3942E4B}">
                <a14:imgProps xmlns:a14="http://schemas.microsoft.com/office/drawing/2010/main">
                  <a14:imgLayer r:embed="rId8">
                    <a14:imgEffect>
                      <a14:saturation sat="0"/>
                    </a14:imgEffect>
                  </a14:imgLayer>
                </a14:imgProps>
              </a:ext>
              <a:ext uri="{28A0092B-C50C-407E-A947-70E740481C1C}">
                <a14:useLocalDpi xmlns:a14="http://schemas.microsoft.com/office/drawing/2010/main" val="0"/>
              </a:ext>
            </a:extLst>
          </a:blip>
          <a:stretch>
            <a:fillRect/>
          </a:stretch>
        </p:blipFill>
        <p:spPr>
          <a:xfrm>
            <a:off x="391946" y="6350039"/>
            <a:ext cx="133350" cy="251587"/>
          </a:xfrm>
          <a:prstGeom prst="rect">
            <a:avLst/>
          </a:prstGeom>
        </p:spPr>
      </p:pic>
      <p:pic>
        <p:nvPicPr>
          <p:cNvPr id="113" name="Picture 112"/>
          <p:cNvPicPr>
            <a:picLocks noChangeAspect="1"/>
          </p:cNvPicPr>
          <p:nvPr/>
        </p:nvPicPr>
        <p:blipFill>
          <a:blip r:embed="rId9" cstate="print">
            <a:biLevel thresh="50000"/>
            <a:extLst>
              <a:ext uri="{28A0092B-C50C-407E-A947-70E740481C1C}">
                <a14:useLocalDpi xmlns:a14="http://schemas.microsoft.com/office/drawing/2010/main" val="0"/>
              </a:ext>
            </a:extLst>
          </a:blip>
          <a:stretch>
            <a:fillRect/>
          </a:stretch>
        </p:blipFill>
        <p:spPr>
          <a:xfrm>
            <a:off x="332658" y="5538489"/>
            <a:ext cx="268940" cy="268940"/>
          </a:xfrm>
          <a:prstGeom prst="rect">
            <a:avLst/>
          </a:prstGeom>
        </p:spPr>
      </p:pic>
      <p:sp>
        <p:nvSpPr>
          <p:cNvPr id="114" name="Rectangle 113"/>
          <p:cNvSpPr/>
          <p:nvPr/>
        </p:nvSpPr>
        <p:spPr bwMode="auto">
          <a:xfrm>
            <a:off x="35912" y="5223435"/>
            <a:ext cx="2464420" cy="1564989"/>
          </a:xfrm>
          <a:prstGeom prst="rect">
            <a:avLst/>
          </a:prstGeom>
          <a:solidFill>
            <a:srgbClr val="000000">
              <a:alpha val="6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5" name="Rectangle 114"/>
          <p:cNvSpPr/>
          <p:nvPr/>
        </p:nvSpPr>
        <p:spPr bwMode="auto">
          <a:xfrm>
            <a:off x="95936" y="731575"/>
            <a:ext cx="2464420" cy="3635751"/>
          </a:xfrm>
          <a:prstGeom prst="rect">
            <a:avLst/>
          </a:prstGeom>
          <a:solidFill>
            <a:srgbClr val="000000">
              <a:alpha val="6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21306256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 name="Title 10"/>
          <p:cNvSpPr txBox="1">
            <a:spLocks/>
          </p:cNvSpPr>
          <p:nvPr/>
        </p:nvSpPr>
        <p:spPr>
          <a:xfrm>
            <a:off x="2849060" y="0"/>
            <a:ext cx="9342940" cy="665151"/>
          </a:xfrm>
          <a:prstGeom prst="rect">
            <a:avLst/>
          </a:prstGeom>
          <a:noFill/>
        </p:spPr>
        <p:txBody>
          <a:bodyPr vert="horz" wrap="square" lIns="0" tIns="91440" rIns="0" bIns="91440" rtlCol="0" anchor="t">
            <a:noAutofit/>
          </a:bodyPr>
          <a:lstStyle>
            <a:lvl1pPr defTabSz="914367">
              <a:lnSpc>
                <a:spcPct val="90000"/>
              </a:lnSpc>
              <a:spcBef>
                <a:spcPct val="0"/>
              </a:spcBef>
              <a:buNone/>
              <a:defRPr lang="en-US" sz="5294" b="0" cap="none" spc="-100" baseline="0" dirty="0" smtClean="0">
                <a:ln w="3175">
                  <a:noFill/>
                </a:ln>
                <a:solidFill>
                  <a:schemeClr val="tx2"/>
                </a:solidFill>
                <a:effectLst/>
                <a:latin typeface="+mj-lt"/>
                <a:cs typeface="Segoe UI" pitchFamily="34" charset="0"/>
              </a:defRPr>
            </a:lvl1pPr>
          </a:lstStyle>
          <a:p>
            <a:pPr marL="168275" marR="0" lvl="0" indent="0" algn="l" defTabSz="914367" rtl="0" eaLnBrk="1" fontAlgn="auto" latinLnBrk="0" hangingPunct="1">
              <a:lnSpc>
                <a:spcPct val="90000"/>
              </a:lnSpc>
              <a:spcBef>
                <a:spcPct val="0"/>
              </a:spcBef>
              <a:spcAft>
                <a:spcPts val="0"/>
              </a:spcAft>
              <a:buClrTx/>
              <a:buSzTx/>
              <a:buFontTx/>
              <a:buNone/>
              <a:tabLst/>
              <a:defRPr/>
            </a:pPr>
            <a:r>
              <a:rPr kumimoji="0" lang="en-US" sz="3600" b="0" i="0" u="none" strike="noStrike" kern="1200" cap="none" spc="-100" normalizeH="0" baseline="0" noProof="0">
                <a:ln w="3175">
                  <a:noFill/>
                </a:ln>
                <a:solidFill>
                  <a:prstClr val="black"/>
                </a:solidFill>
                <a:effectLst/>
                <a:uLnTx/>
                <a:uFillTx/>
                <a:latin typeface="Segoe UI Light"/>
                <a:ea typeface="+mn-ea"/>
                <a:cs typeface="Segoe UI" pitchFamily="34" charset="0"/>
              </a:rPr>
              <a:t>Sharing</a:t>
            </a:r>
            <a:endParaRPr kumimoji="0" lang="en-IN" sz="3600" b="0" i="0" u="none" strike="noStrike" kern="1200" cap="none" spc="-100" normalizeH="0" baseline="0" noProof="0">
              <a:ln w="3175">
                <a:noFill/>
              </a:ln>
              <a:solidFill>
                <a:prstClr val="black"/>
              </a:solidFill>
              <a:effectLst/>
              <a:uLnTx/>
              <a:uFillTx/>
              <a:latin typeface="Segoe UI Light"/>
              <a:ea typeface="+mn-ea"/>
              <a:cs typeface="Segoe UI" pitchFamily="34" charset="0"/>
            </a:endParaRPr>
          </a:p>
        </p:txBody>
      </p:sp>
      <p:sp>
        <p:nvSpPr>
          <p:cNvPr id="41" name="Rectangle 3"/>
          <p:cNvSpPr/>
          <p:nvPr/>
        </p:nvSpPr>
        <p:spPr bwMode="auto">
          <a:xfrm>
            <a:off x="3202216" y="704712"/>
            <a:ext cx="8105312" cy="44435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PT" sz="2000" b="0" i="1" u="none" strike="noStrike" kern="1200" cap="none" spc="0" normalizeH="0" baseline="0" noProof="0">
                <a:ln>
                  <a:noFill/>
                </a:ln>
                <a:solidFill>
                  <a:prstClr val="black"/>
                </a:solidFill>
                <a:effectLst/>
                <a:uLnTx/>
                <a:uFillTx/>
                <a:latin typeface="Segoe UI Light"/>
                <a:ea typeface="+mn-ea"/>
                <a:cs typeface="+mn-cs"/>
              </a:rPr>
              <a:t>Group Share</a:t>
            </a:r>
            <a:endParaRPr kumimoji="0" lang="en-US" sz="2000" b="0" i="1" u="none" strike="noStrike" kern="1200" cap="none" spc="0" normalizeH="0" baseline="0" noProof="0">
              <a:ln>
                <a:noFill/>
              </a:ln>
              <a:solidFill>
                <a:prstClr val="black"/>
              </a:solidFill>
              <a:effectLst/>
              <a:uLnTx/>
              <a:uFillTx/>
              <a:latin typeface="Segoe UI Light"/>
              <a:ea typeface="+mn-ea"/>
              <a:cs typeface="+mn-cs"/>
            </a:endParaRPr>
          </a:p>
        </p:txBody>
      </p:sp>
      <p:sp>
        <p:nvSpPr>
          <p:cNvPr id="87" name="Text Placeholder 2"/>
          <p:cNvSpPr txBox="1">
            <a:spLocks/>
          </p:cNvSpPr>
          <p:nvPr/>
        </p:nvSpPr>
        <p:spPr>
          <a:xfrm>
            <a:off x="2953103" y="1479922"/>
            <a:ext cx="8707001" cy="897374"/>
          </a:xfrm>
          <a:prstGeom prst="rect">
            <a:avLst/>
          </a:prstGeom>
        </p:spPr>
        <p:txBody>
          <a:bodyPr vert="horz" wrap="square" lIns="182880" tIns="146304" rIns="182880" bIns="146304" rtlCol="0">
            <a:noAutofit/>
          </a:bodyPr>
          <a:lstStyle>
            <a:lvl1pPr marL="182845" marR="0"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3921" kern="1200" spc="0" baseline="0">
                <a:gradFill>
                  <a:gsLst>
                    <a:gs pos="1250">
                      <a:schemeClr val="tx2"/>
                    </a:gs>
                    <a:gs pos="99000">
                      <a:schemeClr val="tx2"/>
                    </a:gs>
                  </a:gsLst>
                  <a:lin ang="5400000" scaled="0"/>
                </a:gradFill>
                <a:latin typeface="+mj-lt"/>
                <a:ea typeface="+mn-ea"/>
                <a:cs typeface="+mn-cs"/>
              </a:defRPr>
            </a:lvl1pPr>
            <a:lvl2pPr marL="365690" marR="0"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2400" kern="1200" spc="0" baseline="0">
                <a:solidFill>
                  <a:schemeClr val="tx2"/>
                </a:solidFill>
                <a:latin typeface="+mj-lt"/>
                <a:ea typeface="+mn-ea"/>
                <a:cs typeface="+mn-cs"/>
              </a:defRPr>
            </a:lvl2pPr>
            <a:lvl3pPr marL="548535" marR="0"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2000" kern="1200" spc="0" baseline="0">
                <a:solidFill>
                  <a:schemeClr val="tx2"/>
                </a:solidFill>
                <a:latin typeface="+mj-lt"/>
                <a:ea typeface="+mn-ea"/>
                <a:cs typeface="+mn-cs"/>
              </a:defRPr>
            </a:lvl3pPr>
            <a:lvl4pPr marL="733802" marR="0" indent="-28569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1765" kern="1200" spc="0" baseline="0">
                <a:solidFill>
                  <a:schemeClr val="tx2"/>
                </a:solidFill>
                <a:latin typeface="+mn-lt"/>
                <a:ea typeface="+mn-ea"/>
                <a:cs typeface="+mn-cs"/>
              </a:defRPr>
            </a:lvl4pPr>
            <a:lvl5pPr marL="957856" marR="0" indent="-28569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1765" kern="1200" spc="0" baseline="0">
                <a:solidFill>
                  <a:schemeClr val="tx2"/>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r>
              <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rPr>
              <a:t>Members of the group can either have </a:t>
            </a:r>
            <a:r>
              <a:rPr kumimoji="0" lang="en-US" sz="2000" b="1"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rPr>
              <a:t>Can Only View </a:t>
            </a:r>
            <a:r>
              <a:rPr kumimoji="0" lang="en-US" sz="2000" b="0" i="0" u="sng" strike="noStrike" kern="1200" cap="none" spc="0" normalizeH="0" baseline="0" noProof="0">
                <a:ln>
                  <a:noFill/>
                </a:ln>
                <a:solidFill>
                  <a:prstClr val="black"/>
                </a:solidFill>
                <a:effectLst/>
                <a:uLnTx/>
                <a:uFillTx/>
                <a:latin typeface="Segoe UI Light"/>
                <a:ea typeface="+mn-ea"/>
                <a:cs typeface="Times New Roman" panose="02020603050405020304" pitchFamily="18" charset="0"/>
              </a:rPr>
              <a:t>or</a:t>
            </a:r>
            <a:r>
              <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rPr>
              <a:t> </a:t>
            </a:r>
            <a:r>
              <a:rPr kumimoji="0" lang="en-US" sz="2000" b="1"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rPr>
              <a:t>Can Edit </a:t>
            </a:r>
            <a:r>
              <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rPr>
              <a:t>permissions</a:t>
            </a:r>
            <a:endParaRPr kumimoji="0" lang="en-US" sz="2000" b="1"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1"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r>
              <a:rPr kumimoji="0" lang="en-US" sz="2000" b="1"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rPr>
              <a:t>Can Only View </a:t>
            </a:r>
            <a:r>
              <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rPr>
              <a:t>allows the users to see all of the </a:t>
            </a:r>
            <a:r>
              <a:rPr kumimoji="0" lang="en-US" sz="2000" b="1"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rPr>
              <a:t>dashboards and reports </a:t>
            </a:r>
            <a:r>
              <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rPr>
              <a:t>that belong to that group. Access is </a:t>
            </a:r>
            <a:r>
              <a:rPr kumimoji="0" lang="en-US" sz="2000" b="1"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rPr>
              <a:t>read-only</a:t>
            </a: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r>
              <a:rPr kumimoji="0" lang="en-US" sz="2000" b="1"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rPr>
              <a:t>Can Edit </a:t>
            </a:r>
            <a:r>
              <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rPr>
              <a:t>allows the users to see and edit all of the content</a:t>
            </a: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r>
              <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rPr>
              <a:t>A dashboard in a Group can also be </a:t>
            </a:r>
            <a:r>
              <a:rPr kumimoji="0" lang="en-US" sz="2000" b="1"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rPr>
              <a:t>shared with another peer directly </a:t>
            </a:r>
            <a:r>
              <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rPr>
              <a:t>via the peer-to-peer method.</a:t>
            </a: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r>
              <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rPr>
              <a:t>A group workspace allows </a:t>
            </a:r>
            <a:r>
              <a:rPr kumimoji="0" lang="en-US" sz="2000" b="1"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rPr>
              <a:t>several people to take ownership </a:t>
            </a:r>
            <a:r>
              <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rPr>
              <a:t>of a certain set of content</a:t>
            </a: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r>
              <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rPr>
              <a:t>It also </a:t>
            </a:r>
            <a:r>
              <a:rPr kumimoji="0" lang="en-US" sz="2000" b="1"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rPr>
              <a:t>allows the content to be organized </a:t>
            </a:r>
            <a:r>
              <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rPr>
              <a:t>according to your governance rules (department, business area)</a:t>
            </a: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p:txBody>
      </p:sp>
      <p:grpSp>
        <p:nvGrpSpPr>
          <p:cNvPr id="42" name="Group 41"/>
          <p:cNvGrpSpPr/>
          <p:nvPr/>
        </p:nvGrpSpPr>
        <p:grpSpPr>
          <a:xfrm>
            <a:off x="-2887" y="973"/>
            <a:ext cx="2849058" cy="6857027"/>
            <a:chOff x="2" y="487"/>
            <a:chExt cx="2849058" cy="6857027"/>
          </a:xfrm>
        </p:grpSpPr>
        <p:sp>
          <p:nvSpPr>
            <p:cNvPr id="43" name="Rectangle 15"/>
            <p:cNvSpPr/>
            <p:nvPr/>
          </p:nvSpPr>
          <p:spPr bwMode="auto">
            <a:xfrm>
              <a:off x="2" y="487"/>
              <a:ext cx="2849058" cy="685702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1" name="Rectangle 145"/>
            <p:cNvSpPr/>
            <p:nvPr/>
          </p:nvSpPr>
          <p:spPr bwMode="auto">
            <a:xfrm>
              <a:off x="696152" y="956997"/>
              <a:ext cx="1821468" cy="3831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2C812"/>
                  </a:solidFill>
                  <a:effectLst/>
                  <a:uLnTx/>
                  <a:uFillTx/>
                  <a:latin typeface="Segoe UI"/>
                  <a:ea typeface="+mn-ea"/>
                  <a:cs typeface="Segoe UI Light" panose="020B0502040204020203" pitchFamily="34" charset="0"/>
                </a:rPr>
                <a:t>Get Data</a:t>
              </a:r>
              <a:endParaRPr kumimoji="0" lang="en-US" sz="1200" b="1" i="1" u="none" strike="noStrike" kern="1200" cap="none" spc="0" normalizeH="0" baseline="0" noProof="0">
                <a:ln>
                  <a:noFill/>
                </a:ln>
                <a:solidFill>
                  <a:srgbClr val="F2C812"/>
                </a:solidFill>
                <a:effectLst/>
                <a:uLnTx/>
                <a:uFillTx/>
                <a:latin typeface="Segoe UI"/>
                <a:ea typeface="+mn-ea"/>
                <a:cs typeface="Segoe UI Light" panose="020B0502040204020203" pitchFamily="34" charset="0"/>
              </a:endParaRPr>
            </a:p>
          </p:txBody>
        </p:sp>
        <p:grpSp>
          <p:nvGrpSpPr>
            <p:cNvPr id="80" name="Group 79"/>
            <p:cNvGrpSpPr/>
            <p:nvPr/>
          </p:nvGrpSpPr>
          <p:grpSpPr>
            <a:xfrm>
              <a:off x="219373" y="934583"/>
              <a:ext cx="433844" cy="433844"/>
              <a:chOff x="440005" y="997815"/>
              <a:chExt cx="296322" cy="296322"/>
            </a:xfrm>
          </p:grpSpPr>
          <p:sp>
            <p:nvSpPr>
              <p:cNvPr id="100" name="Oval 147"/>
              <p:cNvSpPr/>
              <p:nvPr/>
            </p:nvSpPr>
            <p:spPr bwMode="auto">
              <a:xfrm>
                <a:off x="440005" y="997815"/>
                <a:ext cx="296322" cy="296322"/>
              </a:xfrm>
              <a:prstGeom prst="ellipse">
                <a:avLst/>
              </a:prstGeom>
              <a:solidFill>
                <a:srgbClr val="FFCC00"/>
              </a:solidFill>
              <a:ln>
                <a:solidFill>
                  <a:srgbClr val="F2C81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01" name="Group 332"/>
              <p:cNvGrpSpPr/>
              <p:nvPr/>
            </p:nvGrpSpPr>
            <p:grpSpPr>
              <a:xfrm>
                <a:off x="482167" y="1059311"/>
                <a:ext cx="211997" cy="173292"/>
                <a:chOff x="2123129" y="293070"/>
                <a:chExt cx="2472585" cy="2021178"/>
              </a:xfrm>
            </p:grpSpPr>
            <p:sp>
              <p:nvSpPr>
                <p:cNvPr id="102" name="Freeform 13"/>
                <p:cNvSpPr>
                  <a:spLocks/>
                </p:cNvSpPr>
                <p:nvPr/>
              </p:nvSpPr>
              <p:spPr bwMode="auto">
                <a:xfrm rot="20700000">
                  <a:off x="3155853" y="872796"/>
                  <a:ext cx="1439861" cy="1441452"/>
                </a:xfrm>
                <a:custGeom>
                  <a:avLst/>
                  <a:gdLst>
                    <a:gd name="T0" fmla="*/ 138 w 441"/>
                    <a:gd name="T1" fmla="*/ 341 h 441"/>
                    <a:gd name="T2" fmla="*/ 183 w 441"/>
                    <a:gd name="T3" fmla="*/ 374 h 441"/>
                    <a:gd name="T4" fmla="*/ 220 w 441"/>
                    <a:gd name="T5" fmla="*/ 423 h 441"/>
                    <a:gd name="T6" fmla="*/ 422 w 441"/>
                    <a:gd name="T7" fmla="*/ 220 h 441"/>
                    <a:gd name="T8" fmla="*/ 373 w 441"/>
                    <a:gd name="T9" fmla="*/ 184 h 441"/>
                    <a:gd name="T10" fmla="*/ 341 w 441"/>
                    <a:gd name="T11" fmla="*/ 139 h 441"/>
                    <a:gd name="T12" fmla="*/ 382 w 441"/>
                    <a:gd name="T13" fmla="*/ 58 h 441"/>
                    <a:gd name="T14" fmla="*/ 302 w 441"/>
                    <a:gd name="T15" fmla="*/ 100 h 441"/>
                    <a:gd name="T16" fmla="*/ 257 w 441"/>
                    <a:gd name="T17" fmla="*/ 67 h 441"/>
                    <a:gd name="T18" fmla="*/ 220 w 441"/>
                    <a:gd name="T19" fmla="*/ 18 h 441"/>
                    <a:gd name="T20" fmla="*/ 171 w 441"/>
                    <a:gd name="T21" fmla="*/ 55 h 441"/>
                    <a:gd name="T22" fmla="*/ 138 w 441"/>
                    <a:gd name="T23" fmla="*/ 100 h 441"/>
                    <a:gd name="T24" fmla="*/ 180 w 441"/>
                    <a:gd name="T25" fmla="*/ 181 h 441"/>
                    <a:gd name="T26" fmla="*/ 100 w 441"/>
                    <a:gd name="T27" fmla="*/ 139 h 441"/>
                    <a:gd name="T28" fmla="*/ 55 w 441"/>
                    <a:gd name="T29" fmla="*/ 171 h 441"/>
                    <a:gd name="T30" fmla="*/ 18 w 441"/>
                    <a:gd name="T31" fmla="*/ 220 h 441"/>
                    <a:gd name="T32" fmla="*/ 67 w 441"/>
                    <a:gd name="T33" fmla="*/ 257 h 441"/>
                    <a:gd name="T34" fmla="*/ 100 w 441"/>
                    <a:gd name="T35" fmla="*/ 302 h 441"/>
                    <a:gd name="T36" fmla="*/ 58 w 441"/>
                    <a:gd name="T37" fmla="*/ 383 h 441"/>
                    <a:gd name="T38" fmla="*/ 138 w 441"/>
                    <a:gd name="T39" fmla="*/ 341 h 4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41" h="441">
                      <a:moveTo>
                        <a:pt x="138" y="341"/>
                      </a:moveTo>
                      <a:cubicBezTo>
                        <a:pt x="147" y="337"/>
                        <a:pt x="171" y="361"/>
                        <a:pt x="183" y="374"/>
                      </a:cubicBezTo>
                      <a:cubicBezTo>
                        <a:pt x="196" y="386"/>
                        <a:pt x="220" y="423"/>
                        <a:pt x="220" y="423"/>
                      </a:cubicBezTo>
                      <a:cubicBezTo>
                        <a:pt x="422" y="220"/>
                        <a:pt x="422" y="220"/>
                        <a:pt x="422" y="220"/>
                      </a:cubicBezTo>
                      <a:cubicBezTo>
                        <a:pt x="422" y="220"/>
                        <a:pt x="386" y="196"/>
                        <a:pt x="373" y="184"/>
                      </a:cubicBezTo>
                      <a:cubicBezTo>
                        <a:pt x="361" y="171"/>
                        <a:pt x="338" y="149"/>
                        <a:pt x="341" y="139"/>
                      </a:cubicBezTo>
                      <a:cubicBezTo>
                        <a:pt x="343" y="129"/>
                        <a:pt x="441" y="116"/>
                        <a:pt x="382" y="58"/>
                      </a:cubicBezTo>
                      <a:cubicBezTo>
                        <a:pt x="324" y="0"/>
                        <a:pt x="310" y="96"/>
                        <a:pt x="302" y="100"/>
                      </a:cubicBezTo>
                      <a:cubicBezTo>
                        <a:pt x="294" y="104"/>
                        <a:pt x="269" y="80"/>
                        <a:pt x="257" y="67"/>
                      </a:cubicBezTo>
                      <a:cubicBezTo>
                        <a:pt x="245" y="55"/>
                        <a:pt x="220" y="18"/>
                        <a:pt x="220" y="18"/>
                      </a:cubicBezTo>
                      <a:cubicBezTo>
                        <a:pt x="220" y="18"/>
                        <a:pt x="183" y="43"/>
                        <a:pt x="171" y="55"/>
                      </a:cubicBezTo>
                      <a:cubicBezTo>
                        <a:pt x="159" y="67"/>
                        <a:pt x="134" y="92"/>
                        <a:pt x="138" y="100"/>
                      </a:cubicBezTo>
                      <a:cubicBezTo>
                        <a:pt x="142" y="108"/>
                        <a:pt x="238" y="122"/>
                        <a:pt x="180" y="181"/>
                      </a:cubicBezTo>
                      <a:cubicBezTo>
                        <a:pt x="122" y="239"/>
                        <a:pt x="110" y="141"/>
                        <a:pt x="100" y="139"/>
                      </a:cubicBezTo>
                      <a:cubicBezTo>
                        <a:pt x="89" y="137"/>
                        <a:pt x="67" y="159"/>
                        <a:pt x="55" y="171"/>
                      </a:cubicBezTo>
                      <a:cubicBezTo>
                        <a:pt x="42" y="184"/>
                        <a:pt x="18" y="220"/>
                        <a:pt x="18" y="220"/>
                      </a:cubicBezTo>
                      <a:cubicBezTo>
                        <a:pt x="18" y="220"/>
                        <a:pt x="55" y="245"/>
                        <a:pt x="67" y="257"/>
                      </a:cubicBezTo>
                      <a:cubicBezTo>
                        <a:pt x="79" y="269"/>
                        <a:pt x="102" y="292"/>
                        <a:pt x="100" y="302"/>
                      </a:cubicBezTo>
                      <a:cubicBezTo>
                        <a:pt x="98" y="312"/>
                        <a:pt x="0" y="325"/>
                        <a:pt x="58" y="383"/>
                      </a:cubicBezTo>
                      <a:cubicBezTo>
                        <a:pt x="116" y="441"/>
                        <a:pt x="130" y="345"/>
                        <a:pt x="138" y="341"/>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103" name="Freeform 14"/>
                <p:cNvSpPr>
                  <a:spLocks/>
                </p:cNvSpPr>
                <p:nvPr/>
              </p:nvSpPr>
              <p:spPr bwMode="auto">
                <a:xfrm rot="9900000">
                  <a:off x="2123129" y="293070"/>
                  <a:ext cx="1377948" cy="1377947"/>
                </a:xfrm>
                <a:custGeom>
                  <a:avLst/>
                  <a:gdLst>
                    <a:gd name="T0" fmla="*/ 422 w 422"/>
                    <a:gd name="T1" fmla="*/ 220 h 422"/>
                    <a:gd name="T2" fmla="*/ 386 w 422"/>
                    <a:gd name="T3" fmla="*/ 171 h 422"/>
                    <a:gd name="T4" fmla="*/ 341 w 422"/>
                    <a:gd name="T5" fmla="*/ 138 h 422"/>
                    <a:gd name="T6" fmla="*/ 260 w 422"/>
                    <a:gd name="T7" fmla="*/ 180 h 422"/>
                    <a:gd name="T8" fmla="*/ 302 w 422"/>
                    <a:gd name="T9" fmla="*/ 100 h 422"/>
                    <a:gd name="T10" fmla="*/ 269 w 422"/>
                    <a:gd name="T11" fmla="*/ 55 h 422"/>
                    <a:gd name="T12" fmla="*/ 220 w 422"/>
                    <a:gd name="T13" fmla="*/ 18 h 422"/>
                    <a:gd name="T14" fmla="*/ 183 w 422"/>
                    <a:gd name="T15" fmla="*/ 67 h 422"/>
                    <a:gd name="T16" fmla="*/ 138 w 422"/>
                    <a:gd name="T17" fmla="*/ 100 h 422"/>
                    <a:gd name="T18" fmla="*/ 58 w 422"/>
                    <a:gd name="T19" fmla="*/ 58 h 422"/>
                    <a:gd name="T20" fmla="*/ 100 w 422"/>
                    <a:gd name="T21" fmla="*/ 138 h 422"/>
                    <a:gd name="T22" fmla="*/ 67 w 422"/>
                    <a:gd name="T23" fmla="*/ 183 h 422"/>
                    <a:gd name="T24" fmla="*/ 18 w 422"/>
                    <a:gd name="T25" fmla="*/ 220 h 422"/>
                    <a:gd name="T26" fmla="*/ 55 w 422"/>
                    <a:gd name="T27" fmla="*/ 269 h 422"/>
                    <a:gd name="T28" fmla="*/ 100 w 422"/>
                    <a:gd name="T29" fmla="*/ 302 h 422"/>
                    <a:gd name="T30" fmla="*/ 180 w 422"/>
                    <a:gd name="T31" fmla="*/ 260 h 422"/>
                    <a:gd name="T32" fmla="*/ 138 w 422"/>
                    <a:gd name="T33" fmla="*/ 341 h 422"/>
                    <a:gd name="T34" fmla="*/ 171 w 422"/>
                    <a:gd name="T35" fmla="*/ 386 h 422"/>
                    <a:gd name="T36" fmla="*/ 220 w 422"/>
                    <a:gd name="T37" fmla="*/ 422 h 422"/>
                    <a:gd name="T38" fmla="*/ 422 w 422"/>
                    <a:gd name="T39" fmla="*/ 220 h 4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22" h="422">
                      <a:moveTo>
                        <a:pt x="422" y="220"/>
                      </a:moveTo>
                      <a:cubicBezTo>
                        <a:pt x="422" y="220"/>
                        <a:pt x="398" y="183"/>
                        <a:pt x="386" y="171"/>
                      </a:cubicBezTo>
                      <a:cubicBezTo>
                        <a:pt x="373" y="159"/>
                        <a:pt x="349" y="134"/>
                        <a:pt x="341" y="138"/>
                      </a:cubicBezTo>
                      <a:cubicBezTo>
                        <a:pt x="332" y="142"/>
                        <a:pt x="318" y="239"/>
                        <a:pt x="260" y="180"/>
                      </a:cubicBezTo>
                      <a:cubicBezTo>
                        <a:pt x="202" y="122"/>
                        <a:pt x="300" y="110"/>
                        <a:pt x="302" y="100"/>
                      </a:cubicBezTo>
                      <a:cubicBezTo>
                        <a:pt x="304" y="90"/>
                        <a:pt x="281" y="67"/>
                        <a:pt x="269" y="55"/>
                      </a:cubicBezTo>
                      <a:cubicBezTo>
                        <a:pt x="257" y="42"/>
                        <a:pt x="220" y="18"/>
                        <a:pt x="220" y="18"/>
                      </a:cubicBezTo>
                      <a:cubicBezTo>
                        <a:pt x="220" y="18"/>
                        <a:pt x="196" y="55"/>
                        <a:pt x="183" y="67"/>
                      </a:cubicBezTo>
                      <a:cubicBezTo>
                        <a:pt x="171" y="79"/>
                        <a:pt x="149" y="102"/>
                        <a:pt x="138" y="100"/>
                      </a:cubicBezTo>
                      <a:cubicBezTo>
                        <a:pt x="128" y="98"/>
                        <a:pt x="116" y="0"/>
                        <a:pt x="58" y="58"/>
                      </a:cubicBezTo>
                      <a:cubicBezTo>
                        <a:pt x="0" y="116"/>
                        <a:pt x="96" y="130"/>
                        <a:pt x="100" y="138"/>
                      </a:cubicBezTo>
                      <a:cubicBezTo>
                        <a:pt x="104" y="147"/>
                        <a:pt x="79" y="171"/>
                        <a:pt x="67" y="183"/>
                      </a:cubicBezTo>
                      <a:cubicBezTo>
                        <a:pt x="55" y="196"/>
                        <a:pt x="18" y="220"/>
                        <a:pt x="18" y="220"/>
                      </a:cubicBezTo>
                      <a:cubicBezTo>
                        <a:pt x="18" y="220"/>
                        <a:pt x="42" y="257"/>
                        <a:pt x="55" y="269"/>
                      </a:cubicBezTo>
                      <a:cubicBezTo>
                        <a:pt x="67" y="281"/>
                        <a:pt x="91" y="306"/>
                        <a:pt x="100" y="302"/>
                      </a:cubicBezTo>
                      <a:cubicBezTo>
                        <a:pt x="108" y="298"/>
                        <a:pt x="122" y="202"/>
                        <a:pt x="180" y="260"/>
                      </a:cubicBezTo>
                      <a:cubicBezTo>
                        <a:pt x="238" y="318"/>
                        <a:pt x="140" y="330"/>
                        <a:pt x="138" y="341"/>
                      </a:cubicBezTo>
                      <a:cubicBezTo>
                        <a:pt x="136" y="351"/>
                        <a:pt x="159" y="373"/>
                        <a:pt x="171" y="386"/>
                      </a:cubicBezTo>
                      <a:cubicBezTo>
                        <a:pt x="183" y="398"/>
                        <a:pt x="220" y="422"/>
                        <a:pt x="220" y="422"/>
                      </a:cubicBezTo>
                      <a:lnTo>
                        <a:pt x="422" y="22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grpSp>
        </p:grpSp>
        <p:sp>
          <p:nvSpPr>
            <p:cNvPr id="81" name="Rectangle 152"/>
            <p:cNvSpPr/>
            <p:nvPr/>
          </p:nvSpPr>
          <p:spPr bwMode="auto">
            <a:xfrm>
              <a:off x="669652" y="2738277"/>
              <a:ext cx="1805162" cy="37532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2C812"/>
                  </a:solidFill>
                  <a:effectLst/>
                  <a:uLnTx/>
                  <a:uFillTx/>
                  <a:latin typeface="Segoe UI"/>
                  <a:ea typeface="+mn-ea"/>
                  <a:cs typeface="Segoe UI Light" panose="020B0502040204020203" pitchFamily="34" charset="0"/>
                </a:rPr>
                <a:t>Keeping Data Current</a:t>
              </a:r>
            </a:p>
          </p:txBody>
        </p:sp>
        <p:grpSp>
          <p:nvGrpSpPr>
            <p:cNvPr id="82" name="Group 81"/>
            <p:cNvGrpSpPr/>
            <p:nvPr/>
          </p:nvGrpSpPr>
          <p:grpSpPr>
            <a:xfrm>
              <a:off x="199649" y="2692629"/>
              <a:ext cx="433844" cy="433844"/>
              <a:chOff x="342620" y="2228265"/>
              <a:chExt cx="433844" cy="433844"/>
            </a:xfrm>
            <a:solidFill>
              <a:schemeClr val="bg1"/>
            </a:solidFill>
          </p:grpSpPr>
          <p:sp>
            <p:nvSpPr>
              <p:cNvPr id="98" name="Oval 154"/>
              <p:cNvSpPr/>
              <p:nvPr/>
            </p:nvSpPr>
            <p:spPr bwMode="auto">
              <a:xfrm>
                <a:off x="342620" y="2228265"/>
                <a:ext cx="433844" cy="433844"/>
              </a:xfrm>
              <a:prstGeom prst="ellipse">
                <a:avLst/>
              </a:prstGeom>
              <a:solidFill>
                <a:srgbClr val="FFC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9" name="Freeform 30"/>
              <p:cNvSpPr>
                <a:spLocks noEditPoints="1"/>
              </p:cNvSpPr>
              <p:nvPr/>
            </p:nvSpPr>
            <p:spPr bwMode="auto">
              <a:xfrm>
                <a:off x="444786" y="2340040"/>
                <a:ext cx="238402" cy="210293"/>
              </a:xfrm>
              <a:custGeom>
                <a:avLst/>
                <a:gdLst>
                  <a:gd name="T0" fmla="*/ 883 w 916"/>
                  <a:gd name="T1" fmla="*/ 286 h 808"/>
                  <a:gd name="T2" fmla="*/ 539 w 916"/>
                  <a:gd name="T3" fmla="*/ 723 h 808"/>
                  <a:gd name="T4" fmla="*/ 504 w 916"/>
                  <a:gd name="T5" fmla="*/ 0 h 808"/>
                  <a:gd name="T6" fmla="*/ 35 w 916"/>
                  <a:gd name="T7" fmla="*/ 723 h 808"/>
                  <a:gd name="T8" fmla="*/ 0 w 916"/>
                  <a:gd name="T9" fmla="*/ 808 h 808"/>
                  <a:gd name="T10" fmla="*/ 916 w 916"/>
                  <a:gd name="T11" fmla="*/ 723 h 808"/>
                  <a:gd name="T12" fmla="*/ 229 w 916"/>
                  <a:gd name="T13" fmla="*/ 665 h 808"/>
                  <a:gd name="T14" fmla="*/ 109 w 916"/>
                  <a:gd name="T15" fmla="*/ 596 h 808"/>
                  <a:gd name="T16" fmla="*/ 229 w 916"/>
                  <a:gd name="T17" fmla="*/ 665 h 808"/>
                  <a:gd name="T18" fmla="*/ 109 w 916"/>
                  <a:gd name="T19" fmla="*/ 501 h 808"/>
                  <a:gd name="T20" fmla="*/ 229 w 916"/>
                  <a:gd name="T21" fmla="*/ 432 h 808"/>
                  <a:gd name="T22" fmla="*/ 229 w 916"/>
                  <a:gd name="T23" fmla="*/ 337 h 808"/>
                  <a:gd name="T24" fmla="*/ 109 w 916"/>
                  <a:gd name="T25" fmla="*/ 267 h 808"/>
                  <a:gd name="T26" fmla="*/ 229 w 916"/>
                  <a:gd name="T27" fmla="*/ 337 h 808"/>
                  <a:gd name="T28" fmla="*/ 109 w 916"/>
                  <a:gd name="T29" fmla="*/ 172 h 808"/>
                  <a:gd name="T30" fmla="*/ 229 w 916"/>
                  <a:gd name="T31" fmla="*/ 103 h 808"/>
                  <a:gd name="T32" fmla="*/ 428 w 916"/>
                  <a:gd name="T33" fmla="*/ 665 h 808"/>
                  <a:gd name="T34" fmla="*/ 307 w 916"/>
                  <a:gd name="T35" fmla="*/ 596 h 808"/>
                  <a:gd name="T36" fmla="*/ 428 w 916"/>
                  <a:gd name="T37" fmla="*/ 665 h 808"/>
                  <a:gd name="T38" fmla="*/ 307 w 916"/>
                  <a:gd name="T39" fmla="*/ 501 h 808"/>
                  <a:gd name="T40" fmla="*/ 428 w 916"/>
                  <a:gd name="T41" fmla="*/ 432 h 808"/>
                  <a:gd name="T42" fmla="*/ 428 w 916"/>
                  <a:gd name="T43" fmla="*/ 337 h 808"/>
                  <a:gd name="T44" fmla="*/ 307 w 916"/>
                  <a:gd name="T45" fmla="*/ 267 h 808"/>
                  <a:gd name="T46" fmla="*/ 428 w 916"/>
                  <a:gd name="T47" fmla="*/ 337 h 808"/>
                  <a:gd name="T48" fmla="*/ 307 w 916"/>
                  <a:gd name="T49" fmla="*/ 172 h 808"/>
                  <a:gd name="T50" fmla="*/ 428 w 916"/>
                  <a:gd name="T51" fmla="*/ 103 h 808"/>
                  <a:gd name="T52" fmla="*/ 684 w 916"/>
                  <a:gd name="T53" fmla="*/ 668 h 808"/>
                  <a:gd name="T54" fmla="*/ 606 w 916"/>
                  <a:gd name="T55" fmla="*/ 549 h 808"/>
                  <a:gd name="T56" fmla="*/ 684 w 916"/>
                  <a:gd name="T57" fmla="*/ 668 h 808"/>
                  <a:gd name="T58" fmla="*/ 606 w 916"/>
                  <a:gd name="T59" fmla="*/ 482 h 808"/>
                  <a:gd name="T60" fmla="*/ 684 w 916"/>
                  <a:gd name="T61" fmla="*/ 365 h 808"/>
                  <a:gd name="T62" fmla="*/ 816 w 916"/>
                  <a:gd name="T63" fmla="*/ 668 h 808"/>
                  <a:gd name="T64" fmla="*/ 738 w 916"/>
                  <a:gd name="T65" fmla="*/ 549 h 808"/>
                  <a:gd name="T66" fmla="*/ 816 w 916"/>
                  <a:gd name="T67" fmla="*/ 668 h 808"/>
                  <a:gd name="T68" fmla="*/ 738 w 916"/>
                  <a:gd name="T69" fmla="*/ 482 h 808"/>
                  <a:gd name="T70" fmla="*/ 816 w 916"/>
                  <a:gd name="T71" fmla="*/ 365 h 8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16" h="808">
                    <a:moveTo>
                      <a:pt x="883" y="723"/>
                    </a:moveTo>
                    <a:lnTo>
                      <a:pt x="883" y="286"/>
                    </a:lnTo>
                    <a:lnTo>
                      <a:pt x="539" y="286"/>
                    </a:lnTo>
                    <a:lnTo>
                      <a:pt x="539" y="723"/>
                    </a:lnTo>
                    <a:lnTo>
                      <a:pt x="504" y="723"/>
                    </a:lnTo>
                    <a:lnTo>
                      <a:pt x="504" y="0"/>
                    </a:lnTo>
                    <a:lnTo>
                      <a:pt x="35" y="0"/>
                    </a:lnTo>
                    <a:lnTo>
                      <a:pt x="35" y="723"/>
                    </a:lnTo>
                    <a:lnTo>
                      <a:pt x="0" y="723"/>
                    </a:lnTo>
                    <a:lnTo>
                      <a:pt x="0" y="808"/>
                    </a:lnTo>
                    <a:lnTo>
                      <a:pt x="916" y="808"/>
                    </a:lnTo>
                    <a:lnTo>
                      <a:pt x="916" y="723"/>
                    </a:lnTo>
                    <a:lnTo>
                      <a:pt x="883" y="723"/>
                    </a:lnTo>
                    <a:close/>
                    <a:moveTo>
                      <a:pt x="229" y="665"/>
                    </a:moveTo>
                    <a:lnTo>
                      <a:pt x="109" y="665"/>
                    </a:lnTo>
                    <a:lnTo>
                      <a:pt x="109" y="596"/>
                    </a:lnTo>
                    <a:lnTo>
                      <a:pt x="229" y="596"/>
                    </a:lnTo>
                    <a:lnTo>
                      <a:pt x="229" y="665"/>
                    </a:lnTo>
                    <a:close/>
                    <a:moveTo>
                      <a:pt x="229" y="501"/>
                    </a:moveTo>
                    <a:lnTo>
                      <a:pt x="109" y="501"/>
                    </a:lnTo>
                    <a:lnTo>
                      <a:pt x="109" y="432"/>
                    </a:lnTo>
                    <a:lnTo>
                      <a:pt x="229" y="432"/>
                    </a:lnTo>
                    <a:lnTo>
                      <a:pt x="229" y="501"/>
                    </a:lnTo>
                    <a:close/>
                    <a:moveTo>
                      <a:pt x="229" y="337"/>
                    </a:moveTo>
                    <a:lnTo>
                      <a:pt x="109" y="337"/>
                    </a:lnTo>
                    <a:lnTo>
                      <a:pt x="109" y="267"/>
                    </a:lnTo>
                    <a:lnTo>
                      <a:pt x="229" y="267"/>
                    </a:lnTo>
                    <a:lnTo>
                      <a:pt x="229" y="337"/>
                    </a:lnTo>
                    <a:close/>
                    <a:moveTo>
                      <a:pt x="229" y="172"/>
                    </a:moveTo>
                    <a:lnTo>
                      <a:pt x="109" y="172"/>
                    </a:lnTo>
                    <a:lnTo>
                      <a:pt x="109" y="103"/>
                    </a:lnTo>
                    <a:lnTo>
                      <a:pt x="229" y="103"/>
                    </a:lnTo>
                    <a:lnTo>
                      <a:pt x="229" y="172"/>
                    </a:lnTo>
                    <a:close/>
                    <a:moveTo>
                      <a:pt x="428" y="665"/>
                    </a:moveTo>
                    <a:lnTo>
                      <a:pt x="307" y="665"/>
                    </a:lnTo>
                    <a:lnTo>
                      <a:pt x="307" y="596"/>
                    </a:lnTo>
                    <a:lnTo>
                      <a:pt x="428" y="596"/>
                    </a:lnTo>
                    <a:lnTo>
                      <a:pt x="428" y="665"/>
                    </a:lnTo>
                    <a:close/>
                    <a:moveTo>
                      <a:pt x="428" y="501"/>
                    </a:moveTo>
                    <a:lnTo>
                      <a:pt x="307" y="501"/>
                    </a:lnTo>
                    <a:lnTo>
                      <a:pt x="307" y="432"/>
                    </a:lnTo>
                    <a:lnTo>
                      <a:pt x="428" y="432"/>
                    </a:lnTo>
                    <a:lnTo>
                      <a:pt x="428" y="501"/>
                    </a:lnTo>
                    <a:close/>
                    <a:moveTo>
                      <a:pt x="428" y="337"/>
                    </a:moveTo>
                    <a:lnTo>
                      <a:pt x="307" y="337"/>
                    </a:lnTo>
                    <a:lnTo>
                      <a:pt x="307" y="267"/>
                    </a:lnTo>
                    <a:lnTo>
                      <a:pt x="428" y="267"/>
                    </a:lnTo>
                    <a:lnTo>
                      <a:pt x="428" y="337"/>
                    </a:lnTo>
                    <a:close/>
                    <a:moveTo>
                      <a:pt x="428" y="172"/>
                    </a:moveTo>
                    <a:lnTo>
                      <a:pt x="307" y="172"/>
                    </a:lnTo>
                    <a:lnTo>
                      <a:pt x="307" y="103"/>
                    </a:lnTo>
                    <a:lnTo>
                      <a:pt x="428" y="103"/>
                    </a:lnTo>
                    <a:lnTo>
                      <a:pt x="428" y="172"/>
                    </a:lnTo>
                    <a:close/>
                    <a:moveTo>
                      <a:pt x="684" y="668"/>
                    </a:moveTo>
                    <a:lnTo>
                      <a:pt x="606" y="668"/>
                    </a:lnTo>
                    <a:lnTo>
                      <a:pt x="606" y="549"/>
                    </a:lnTo>
                    <a:lnTo>
                      <a:pt x="684" y="549"/>
                    </a:lnTo>
                    <a:lnTo>
                      <a:pt x="684" y="668"/>
                    </a:lnTo>
                    <a:close/>
                    <a:moveTo>
                      <a:pt x="684" y="482"/>
                    </a:moveTo>
                    <a:lnTo>
                      <a:pt x="606" y="482"/>
                    </a:lnTo>
                    <a:lnTo>
                      <a:pt x="606" y="365"/>
                    </a:lnTo>
                    <a:lnTo>
                      <a:pt x="684" y="365"/>
                    </a:lnTo>
                    <a:lnTo>
                      <a:pt x="684" y="482"/>
                    </a:lnTo>
                    <a:close/>
                    <a:moveTo>
                      <a:pt x="816" y="668"/>
                    </a:moveTo>
                    <a:lnTo>
                      <a:pt x="738" y="668"/>
                    </a:lnTo>
                    <a:lnTo>
                      <a:pt x="738" y="549"/>
                    </a:lnTo>
                    <a:lnTo>
                      <a:pt x="816" y="549"/>
                    </a:lnTo>
                    <a:lnTo>
                      <a:pt x="816" y="668"/>
                    </a:lnTo>
                    <a:close/>
                    <a:moveTo>
                      <a:pt x="816" y="482"/>
                    </a:moveTo>
                    <a:lnTo>
                      <a:pt x="738" y="482"/>
                    </a:lnTo>
                    <a:lnTo>
                      <a:pt x="738" y="365"/>
                    </a:lnTo>
                    <a:lnTo>
                      <a:pt x="816" y="365"/>
                    </a:lnTo>
                    <a:lnTo>
                      <a:pt x="816" y="482"/>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grpSp>
        <p:sp>
          <p:nvSpPr>
            <p:cNvPr id="83" name="TextBox 82"/>
            <p:cNvSpPr txBox="1"/>
            <p:nvPr/>
          </p:nvSpPr>
          <p:spPr>
            <a:xfrm>
              <a:off x="83345" y="113808"/>
              <a:ext cx="2532630" cy="627864"/>
            </a:xfrm>
            <a:prstGeom prst="rect">
              <a:avLst/>
            </a:prstGeom>
            <a:noFill/>
          </p:spPr>
          <p:txBody>
            <a:bodyPr wrap="square" lIns="182880" tIns="146304" rIns="182880" bIns="146304" rtlCol="0">
              <a:spAutoFit/>
            </a:bodyPr>
            <a:lstStyle>
              <a:defPPr>
                <a:defRPr lang="en-US"/>
              </a:defPPr>
              <a:lvl1pPr>
                <a:lnSpc>
                  <a:spcPct val="90000"/>
                </a:lnSpc>
                <a:spcAft>
                  <a:spcPts val="600"/>
                </a:spcAft>
                <a:defRPr sz="2800" b="1">
                  <a:solidFill>
                    <a:srgbClr val="F2C812"/>
                  </a:solidFill>
                  <a:latin typeface="Segoe UI Light"/>
                </a:defRPr>
              </a:lvl1p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400" b="1" i="0" u="none" strike="noStrike" kern="1200" cap="none" spc="0" normalizeH="0" baseline="0" noProof="0">
                  <a:ln>
                    <a:noFill/>
                  </a:ln>
                  <a:solidFill>
                    <a:srgbClr val="F2C812"/>
                  </a:solidFill>
                  <a:effectLst/>
                  <a:uLnTx/>
                  <a:uFillTx/>
                  <a:latin typeface="Segoe UI Light"/>
                  <a:ea typeface="+mn-ea"/>
                  <a:cs typeface="+mn-cs"/>
                </a:rPr>
                <a:t>Power BI Service</a:t>
              </a:r>
              <a:endParaRPr kumimoji="0" lang="en-US" sz="2800" b="1" i="0" u="none" strike="noStrike" kern="1200" cap="none" spc="0" normalizeH="0" baseline="0" noProof="0">
                <a:ln>
                  <a:noFill/>
                </a:ln>
                <a:solidFill>
                  <a:srgbClr val="F2C812"/>
                </a:solidFill>
                <a:effectLst/>
                <a:uLnTx/>
                <a:uFillTx/>
                <a:latin typeface="Segoe UI Light"/>
                <a:ea typeface="+mn-ea"/>
                <a:cs typeface="+mn-cs"/>
              </a:endParaRPr>
            </a:p>
          </p:txBody>
        </p:sp>
        <p:grpSp>
          <p:nvGrpSpPr>
            <p:cNvPr id="84" name="Group 83"/>
            <p:cNvGrpSpPr/>
            <p:nvPr/>
          </p:nvGrpSpPr>
          <p:grpSpPr>
            <a:xfrm>
              <a:off x="219373" y="3621383"/>
              <a:ext cx="433844" cy="645668"/>
              <a:chOff x="280990" y="3358164"/>
              <a:chExt cx="433844" cy="645668"/>
            </a:xfrm>
          </p:grpSpPr>
          <p:sp>
            <p:nvSpPr>
              <p:cNvPr id="91" name="Oval 1083"/>
              <p:cNvSpPr/>
              <p:nvPr/>
            </p:nvSpPr>
            <p:spPr bwMode="auto">
              <a:xfrm>
                <a:off x="280990" y="3358164"/>
                <a:ext cx="433844" cy="433847"/>
              </a:xfrm>
              <a:prstGeom prst="ellipse">
                <a:avLst/>
              </a:prstGeom>
              <a:solidFill>
                <a:srgbClr val="F2C812"/>
              </a:solidFill>
              <a:ln>
                <a:solidFill>
                  <a:srgbClr val="FFCC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92" name="Group 379"/>
              <p:cNvGrpSpPr/>
              <p:nvPr/>
            </p:nvGrpSpPr>
            <p:grpSpPr>
              <a:xfrm>
                <a:off x="453702" y="3910852"/>
                <a:ext cx="175660" cy="92980"/>
                <a:chOff x="3895793" y="7466656"/>
                <a:chExt cx="785810" cy="415941"/>
              </a:xfrm>
              <a:solidFill>
                <a:srgbClr val="00BCF2"/>
              </a:solidFill>
            </p:grpSpPr>
            <p:sp>
              <p:nvSpPr>
                <p:cNvPr id="93" name="Freeform 132"/>
                <p:cNvSpPr>
                  <a:spLocks/>
                </p:cNvSpPr>
                <p:nvPr/>
              </p:nvSpPr>
              <p:spPr bwMode="auto">
                <a:xfrm>
                  <a:off x="4125979" y="7688918"/>
                  <a:ext cx="0" cy="6353"/>
                </a:xfrm>
                <a:custGeom>
                  <a:avLst/>
                  <a:gdLst>
                    <a:gd name="T0" fmla="*/ 1 w 1"/>
                    <a:gd name="T1" fmla="*/ 0 h 8"/>
                    <a:gd name="T2" fmla="*/ 0 w 1"/>
                    <a:gd name="T3" fmla="*/ 0 h 8"/>
                    <a:gd name="T4" fmla="*/ 1 w 1"/>
                    <a:gd name="T5" fmla="*/ 8 h 8"/>
                    <a:gd name="T6" fmla="*/ 1 w 1"/>
                    <a:gd name="T7" fmla="*/ 0 h 8"/>
                  </a:gdLst>
                  <a:ahLst/>
                  <a:cxnLst>
                    <a:cxn ang="0">
                      <a:pos x="T0" y="T1"/>
                    </a:cxn>
                    <a:cxn ang="0">
                      <a:pos x="T2" y="T3"/>
                    </a:cxn>
                    <a:cxn ang="0">
                      <a:pos x="T4" y="T5"/>
                    </a:cxn>
                    <a:cxn ang="0">
                      <a:pos x="T6" y="T7"/>
                    </a:cxn>
                  </a:cxnLst>
                  <a:rect l="0" t="0" r="r" b="b"/>
                  <a:pathLst>
                    <a:path w="1" h="8">
                      <a:moveTo>
                        <a:pt x="1" y="0"/>
                      </a:moveTo>
                      <a:cubicBezTo>
                        <a:pt x="0" y="0"/>
                        <a:pt x="0" y="0"/>
                        <a:pt x="0" y="0"/>
                      </a:cubicBezTo>
                      <a:cubicBezTo>
                        <a:pt x="0" y="3"/>
                        <a:pt x="1" y="5"/>
                        <a:pt x="1" y="8"/>
                      </a:cubicBezTo>
                      <a:lnTo>
                        <a:pt x="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94" name="Freeform 133"/>
                <p:cNvSpPr>
                  <a:spLocks/>
                </p:cNvSpPr>
                <p:nvPr/>
              </p:nvSpPr>
              <p:spPr bwMode="auto">
                <a:xfrm>
                  <a:off x="3895793" y="7812745"/>
                  <a:ext cx="219078" cy="69852"/>
                </a:xfrm>
                <a:custGeom>
                  <a:avLst/>
                  <a:gdLst>
                    <a:gd name="T0" fmla="*/ 186 w 238"/>
                    <a:gd name="T1" fmla="*/ 9 h 76"/>
                    <a:gd name="T2" fmla="*/ 131 w 238"/>
                    <a:gd name="T3" fmla="*/ 22 h 76"/>
                    <a:gd name="T4" fmla="*/ 60 w 238"/>
                    <a:gd name="T5" fmla="*/ 0 h 76"/>
                    <a:gd name="T6" fmla="*/ 0 w 238"/>
                    <a:gd name="T7" fmla="*/ 42 h 76"/>
                    <a:gd name="T8" fmla="*/ 0 w 238"/>
                    <a:gd name="T9" fmla="*/ 76 h 76"/>
                    <a:gd name="T10" fmla="*/ 238 w 238"/>
                    <a:gd name="T11" fmla="*/ 76 h 76"/>
                    <a:gd name="T12" fmla="*/ 236 w 238"/>
                    <a:gd name="T13" fmla="*/ 53 h 76"/>
                    <a:gd name="T14" fmla="*/ 236 w 238"/>
                    <a:gd name="T15" fmla="*/ 49 h 76"/>
                    <a:gd name="T16" fmla="*/ 186 w 238"/>
                    <a:gd name="T17" fmla="*/ 9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8" h="76">
                      <a:moveTo>
                        <a:pt x="186" y="9"/>
                      </a:moveTo>
                      <a:cubicBezTo>
                        <a:pt x="169" y="18"/>
                        <a:pt x="150" y="22"/>
                        <a:pt x="131" y="22"/>
                      </a:cubicBezTo>
                      <a:cubicBezTo>
                        <a:pt x="105" y="22"/>
                        <a:pt x="80" y="14"/>
                        <a:pt x="60" y="0"/>
                      </a:cubicBezTo>
                      <a:cubicBezTo>
                        <a:pt x="0" y="42"/>
                        <a:pt x="0" y="42"/>
                        <a:pt x="0" y="42"/>
                      </a:cubicBezTo>
                      <a:cubicBezTo>
                        <a:pt x="0" y="76"/>
                        <a:pt x="0" y="76"/>
                        <a:pt x="0" y="76"/>
                      </a:cubicBezTo>
                      <a:cubicBezTo>
                        <a:pt x="238" y="76"/>
                        <a:pt x="238" y="76"/>
                        <a:pt x="238" y="76"/>
                      </a:cubicBezTo>
                      <a:cubicBezTo>
                        <a:pt x="237" y="68"/>
                        <a:pt x="236" y="61"/>
                        <a:pt x="236" y="53"/>
                      </a:cubicBezTo>
                      <a:cubicBezTo>
                        <a:pt x="236" y="51"/>
                        <a:pt x="236" y="50"/>
                        <a:pt x="236" y="49"/>
                      </a:cubicBezTo>
                      <a:lnTo>
                        <a:pt x="186" y="9"/>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95" name="Freeform 137"/>
                <p:cNvSpPr>
                  <a:spLocks/>
                </p:cNvSpPr>
                <p:nvPr/>
              </p:nvSpPr>
              <p:spPr bwMode="auto">
                <a:xfrm>
                  <a:off x="4338704" y="7809561"/>
                  <a:ext cx="65090" cy="73028"/>
                </a:xfrm>
                <a:custGeom>
                  <a:avLst/>
                  <a:gdLst>
                    <a:gd name="T0" fmla="*/ 71 w 71"/>
                    <a:gd name="T1" fmla="*/ 79 h 79"/>
                    <a:gd name="T2" fmla="*/ 71 w 71"/>
                    <a:gd name="T3" fmla="*/ 0 h 79"/>
                    <a:gd name="T4" fmla="*/ 2 w 71"/>
                    <a:gd name="T5" fmla="*/ 53 h 79"/>
                    <a:gd name="T6" fmla="*/ 2 w 71"/>
                    <a:gd name="T7" fmla="*/ 56 h 79"/>
                    <a:gd name="T8" fmla="*/ 0 w 71"/>
                    <a:gd name="T9" fmla="*/ 79 h 79"/>
                    <a:gd name="T10" fmla="*/ 71 w 71"/>
                    <a:gd name="T11" fmla="*/ 79 h 79"/>
                  </a:gdLst>
                  <a:ahLst/>
                  <a:cxnLst>
                    <a:cxn ang="0">
                      <a:pos x="T0" y="T1"/>
                    </a:cxn>
                    <a:cxn ang="0">
                      <a:pos x="T2" y="T3"/>
                    </a:cxn>
                    <a:cxn ang="0">
                      <a:pos x="T4" y="T5"/>
                    </a:cxn>
                    <a:cxn ang="0">
                      <a:pos x="T6" y="T7"/>
                    </a:cxn>
                    <a:cxn ang="0">
                      <a:pos x="T8" y="T9"/>
                    </a:cxn>
                    <a:cxn ang="0">
                      <a:pos x="T10" y="T11"/>
                    </a:cxn>
                  </a:cxnLst>
                  <a:rect l="0" t="0" r="r" b="b"/>
                  <a:pathLst>
                    <a:path w="71" h="79">
                      <a:moveTo>
                        <a:pt x="71" y="79"/>
                      </a:moveTo>
                      <a:cubicBezTo>
                        <a:pt x="71" y="0"/>
                        <a:pt x="71" y="0"/>
                        <a:pt x="71" y="0"/>
                      </a:cubicBezTo>
                      <a:cubicBezTo>
                        <a:pt x="2" y="53"/>
                        <a:pt x="2" y="53"/>
                        <a:pt x="2" y="53"/>
                      </a:cubicBezTo>
                      <a:cubicBezTo>
                        <a:pt x="2" y="54"/>
                        <a:pt x="2" y="55"/>
                        <a:pt x="2" y="56"/>
                      </a:cubicBezTo>
                      <a:cubicBezTo>
                        <a:pt x="2" y="64"/>
                        <a:pt x="1" y="71"/>
                        <a:pt x="0" y="79"/>
                      </a:cubicBezTo>
                      <a:lnTo>
                        <a:pt x="71" y="79"/>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96" name="Freeform 140"/>
                <p:cNvSpPr>
                  <a:spLocks/>
                </p:cNvSpPr>
                <p:nvPr/>
              </p:nvSpPr>
              <p:spPr bwMode="auto">
                <a:xfrm>
                  <a:off x="4600643" y="7622229"/>
                  <a:ext cx="80960" cy="38099"/>
                </a:xfrm>
                <a:custGeom>
                  <a:avLst/>
                  <a:gdLst>
                    <a:gd name="T0" fmla="*/ 0 w 51"/>
                    <a:gd name="T1" fmla="*/ 24 h 24"/>
                    <a:gd name="T2" fmla="*/ 51 w 51"/>
                    <a:gd name="T3" fmla="*/ 24 h 24"/>
                    <a:gd name="T4" fmla="*/ 32 w 51"/>
                    <a:gd name="T5" fmla="*/ 0 h 24"/>
                    <a:gd name="T6" fmla="*/ 0 w 51"/>
                    <a:gd name="T7" fmla="*/ 24 h 24"/>
                  </a:gdLst>
                  <a:ahLst/>
                  <a:cxnLst>
                    <a:cxn ang="0">
                      <a:pos x="T0" y="T1"/>
                    </a:cxn>
                    <a:cxn ang="0">
                      <a:pos x="T2" y="T3"/>
                    </a:cxn>
                    <a:cxn ang="0">
                      <a:pos x="T4" y="T5"/>
                    </a:cxn>
                    <a:cxn ang="0">
                      <a:pos x="T6" y="T7"/>
                    </a:cxn>
                  </a:cxnLst>
                  <a:rect l="0" t="0" r="r" b="b"/>
                  <a:pathLst>
                    <a:path w="51" h="24">
                      <a:moveTo>
                        <a:pt x="0" y="24"/>
                      </a:moveTo>
                      <a:lnTo>
                        <a:pt x="51" y="24"/>
                      </a:lnTo>
                      <a:lnTo>
                        <a:pt x="32" y="0"/>
                      </a:lnTo>
                      <a:lnTo>
                        <a:pt x="0" y="24"/>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97" name="Freeform 141"/>
                <p:cNvSpPr>
                  <a:spLocks/>
                </p:cNvSpPr>
                <p:nvPr/>
              </p:nvSpPr>
              <p:spPr bwMode="auto">
                <a:xfrm>
                  <a:off x="4449825" y="7466656"/>
                  <a:ext cx="119065" cy="139703"/>
                </a:xfrm>
                <a:custGeom>
                  <a:avLst/>
                  <a:gdLst>
                    <a:gd name="T0" fmla="*/ 52 w 75"/>
                    <a:gd name="T1" fmla="*/ 0 h 88"/>
                    <a:gd name="T2" fmla="*/ 0 w 75"/>
                    <a:gd name="T3" fmla="*/ 0 h 88"/>
                    <a:gd name="T4" fmla="*/ 0 w 75"/>
                    <a:gd name="T5" fmla="*/ 88 h 88"/>
                    <a:gd name="T6" fmla="*/ 75 w 75"/>
                    <a:gd name="T7" fmla="*/ 30 h 88"/>
                    <a:gd name="T8" fmla="*/ 52 w 75"/>
                    <a:gd name="T9" fmla="*/ 0 h 88"/>
                  </a:gdLst>
                  <a:ahLst/>
                  <a:cxnLst>
                    <a:cxn ang="0">
                      <a:pos x="T0" y="T1"/>
                    </a:cxn>
                    <a:cxn ang="0">
                      <a:pos x="T2" y="T3"/>
                    </a:cxn>
                    <a:cxn ang="0">
                      <a:pos x="T4" y="T5"/>
                    </a:cxn>
                    <a:cxn ang="0">
                      <a:pos x="T6" y="T7"/>
                    </a:cxn>
                    <a:cxn ang="0">
                      <a:pos x="T8" y="T9"/>
                    </a:cxn>
                  </a:cxnLst>
                  <a:rect l="0" t="0" r="r" b="b"/>
                  <a:pathLst>
                    <a:path w="75" h="88">
                      <a:moveTo>
                        <a:pt x="52" y="0"/>
                      </a:moveTo>
                      <a:lnTo>
                        <a:pt x="0" y="0"/>
                      </a:lnTo>
                      <a:lnTo>
                        <a:pt x="0" y="88"/>
                      </a:lnTo>
                      <a:lnTo>
                        <a:pt x="75" y="30"/>
                      </a:lnTo>
                      <a:lnTo>
                        <a:pt x="52"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grpSp>
        </p:grpSp>
        <p:sp>
          <p:nvSpPr>
            <p:cNvPr id="85" name="Rectangle 152"/>
            <p:cNvSpPr/>
            <p:nvPr/>
          </p:nvSpPr>
          <p:spPr bwMode="auto">
            <a:xfrm>
              <a:off x="712458" y="3628917"/>
              <a:ext cx="1805162" cy="37532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2C812"/>
                  </a:solidFill>
                  <a:effectLst/>
                  <a:uLnTx/>
                  <a:uFillTx/>
                  <a:latin typeface="Segoe UI"/>
                  <a:ea typeface="+mn-ea"/>
                  <a:cs typeface="Segoe UI Light" panose="020B0502040204020203" pitchFamily="34" charset="0"/>
                </a:rPr>
                <a:t>Q&amp;A and </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2C812"/>
                  </a:solidFill>
                  <a:effectLst/>
                  <a:uLnTx/>
                  <a:uFillTx/>
                  <a:latin typeface="Segoe UI"/>
                  <a:ea typeface="+mn-ea"/>
                  <a:cs typeface="Segoe UI Light" panose="020B0502040204020203" pitchFamily="34" charset="0"/>
                </a:rPr>
                <a:t>Quick Insights</a:t>
              </a:r>
              <a:endParaRPr kumimoji="0" lang="en-US" sz="1200" b="1" i="0" u="none" strike="noStrike" kern="1200" cap="none" spc="0" normalizeH="0" baseline="0" noProof="0">
                <a:ln>
                  <a:noFill/>
                </a:ln>
                <a:solidFill>
                  <a:srgbClr val="F2C812"/>
                </a:solidFill>
                <a:effectLst/>
                <a:uLnTx/>
                <a:uFillTx/>
                <a:latin typeface="Segoe UI"/>
                <a:ea typeface="+mn-ea"/>
                <a:cs typeface="Segoe UI Light" panose="020B0502040204020203" pitchFamily="34" charset="0"/>
              </a:endParaRPr>
            </a:p>
          </p:txBody>
        </p:sp>
        <p:sp>
          <p:nvSpPr>
            <p:cNvPr id="86" name="Oval 162"/>
            <p:cNvSpPr/>
            <p:nvPr/>
          </p:nvSpPr>
          <p:spPr bwMode="auto">
            <a:xfrm>
              <a:off x="226619" y="4551712"/>
              <a:ext cx="433844" cy="433844"/>
            </a:xfrm>
            <a:prstGeom prst="ellipse">
              <a:avLst/>
            </a:prstGeom>
            <a:solidFill>
              <a:srgbClr val="F2C812"/>
            </a:solidFill>
            <a:ln>
              <a:solidFill>
                <a:srgbClr val="FFCC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8" name="Rectangle 152"/>
            <p:cNvSpPr/>
            <p:nvPr/>
          </p:nvSpPr>
          <p:spPr bwMode="auto">
            <a:xfrm>
              <a:off x="738443" y="4596194"/>
              <a:ext cx="1884825" cy="30233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2C812"/>
                  </a:solidFill>
                  <a:effectLst/>
                  <a:uLnTx/>
                  <a:uFillTx/>
                  <a:latin typeface="Segoe UI"/>
                  <a:ea typeface="+mn-ea"/>
                  <a:cs typeface="Segoe UI Light" panose="020B0502040204020203" pitchFamily="34" charset="0"/>
                </a:rPr>
                <a:t>Sharing</a:t>
              </a:r>
              <a:endParaRPr kumimoji="0" lang="en-US" sz="1200" b="1" i="1" u="none" strike="noStrike" kern="1200" cap="none" spc="0" normalizeH="0" baseline="0" noProof="0">
                <a:ln>
                  <a:noFill/>
                </a:ln>
                <a:solidFill>
                  <a:srgbClr val="F2C812"/>
                </a:solidFill>
                <a:effectLst/>
                <a:uLnTx/>
                <a:uFillTx/>
                <a:latin typeface="Segoe UI"/>
                <a:ea typeface="+mn-ea"/>
                <a:cs typeface="Segoe UI Light" panose="020B0502040204020203" pitchFamily="34" charset="0"/>
              </a:endParaRPr>
            </a:p>
          </p:txBody>
        </p:sp>
        <p:sp>
          <p:nvSpPr>
            <p:cNvPr id="89" name="Rectangle 145"/>
            <p:cNvSpPr/>
            <p:nvPr/>
          </p:nvSpPr>
          <p:spPr bwMode="auto">
            <a:xfrm>
              <a:off x="697198" y="1847637"/>
              <a:ext cx="1821468" cy="3831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2C812"/>
                  </a:solidFill>
                  <a:effectLst/>
                  <a:uLnTx/>
                  <a:uFillTx/>
                  <a:latin typeface="Segoe UI"/>
                  <a:ea typeface="+mn-ea"/>
                  <a:cs typeface="Segoe UI Light" panose="020B0502040204020203" pitchFamily="34" charset="0"/>
                </a:rPr>
                <a:t>Pinning and Navigation</a:t>
              </a:r>
            </a:p>
          </p:txBody>
        </p:sp>
        <p:sp>
          <p:nvSpPr>
            <p:cNvPr id="90" name="Oval 162"/>
            <p:cNvSpPr/>
            <p:nvPr/>
          </p:nvSpPr>
          <p:spPr bwMode="auto">
            <a:xfrm>
              <a:off x="224136" y="1813606"/>
              <a:ext cx="433844" cy="433844"/>
            </a:xfrm>
            <a:prstGeom prst="ellipse">
              <a:avLst/>
            </a:prstGeom>
            <a:solidFill>
              <a:srgbClr val="FFCC00"/>
            </a:solidFill>
            <a:ln>
              <a:solidFill>
                <a:srgbClr val="F2C81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pic>
        <p:nvPicPr>
          <p:cNvPr id="104" name="Picture 103"/>
          <p:cNvPicPr>
            <a:picLocks noChangeAspect="1"/>
          </p:cNvPicPr>
          <p:nvPr/>
        </p:nvPicPr>
        <p:blipFill rotWithShape="1">
          <a:blip r:embed="rId3"/>
          <a:srcRect l="6503" t="21287" r="74698" b="20220"/>
          <a:stretch/>
        </p:blipFill>
        <p:spPr>
          <a:xfrm>
            <a:off x="339111" y="1946110"/>
            <a:ext cx="228600" cy="231962"/>
          </a:xfrm>
          <a:prstGeom prst="rect">
            <a:avLst/>
          </a:prstGeom>
        </p:spPr>
      </p:pic>
      <p:pic>
        <p:nvPicPr>
          <p:cNvPr id="105" name="Picture 104"/>
          <p:cNvPicPr>
            <a:picLocks noChangeAspect="1"/>
          </p:cNvPicPr>
          <p:nvPr/>
        </p:nvPicPr>
        <p:blipFill>
          <a:blip r:embed="rId4"/>
          <a:stretch>
            <a:fillRect/>
          </a:stretch>
        </p:blipFill>
        <p:spPr>
          <a:xfrm>
            <a:off x="284769" y="3673076"/>
            <a:ext cx="311766" cy="303106"/>
          </a:xfrm>
          <a:prstGeom prst="rect">
            <a:avLst/>
          </a:prstGeom>
        </p:spPr>
      </p:pic>
      <p:sp>
        <p:nvSpPr>
          <p:cNvPr id="106" name="Rectangle 145"/>
          <p:cNvSpPr/>
          <p:nvPr/>
        </p:nvSpPr>
        <p:spPr bwMode="auto">
          <a:xfrm>
            <a:off x="718897" y="5436715"/>
            <a:ext cx="1821468" cy="3831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2C812"/>
                </a:solidFill>
                <a:effectLst/>
                <a:uLnTx/>
                <a:uFillTx/>
                <a:latin typeface="Segoe UI"/>
                <a:ea typeface="+mn-ea"/>
                <a:cs typeface="Segoe UI Light" panose="020B0502040204020203" pitchFamily="34" charset="0"/>
              </a:rPr>
              <a:t>Connect from Excel</a:t>
            </a:r>
          </a:p>
        </p:txBody>
      </p:sp>
      <p:sp>
        <p:nvSpPr>
          <p:cNvPr id="107" name="Oval 162"/>
          <p:cNvSpPr/>
          <p:nvPr/>
        </p:nvSpPr>
        <p:spPr bwMode="auto">
          <a:xfrm>
            <a:off x="231441" y="5429649"/>
            <a:ext cx="433844" cy="433844"/>
          </a:xfrm>
          <a:prstGeom prst="ellipse">
            <a:avLst/>
          </a:prstGeom>
          <a:solidFill>
            <a:srgbClr val="FFCC00"/>
          </a:solidFill>
          <a:ln>
            <a:solidFill>
              <a:srgbClr val="F2C81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08" name="Picture 107"/>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flipH="1">
            <a:off x="283763" y="4596680"/>
            <a:ext cx="357484" cy="357484"/>
          </a:xfrm>
          <a:prstGeom prst="rect">
            <a:avLst/>
          </a:prstGeom>
        </p:spPr>
      </p:pic>
      <p:sp>
        <p:nvSpPr>
          <p:cNvPr id="109" name="Oval 162"/>
          <p:cNvSpPr/>
          <p:nvPr/>
        </p:nvSpPr>
        <p:spPr bwMode="auto">
          <a:xfrm>
            <a:off x="233032" y="6267344"/>
            <a:ext cx="433844" cy="433844"/>
          </a:xfrm>
          <a:prstGeom prst="ellipse">
            <a:avLst/>
          </a:prstGeom>
          <a:solidFill>
            <a:srgbClr val="FFCC00"/>
          </a:solidFill>
          <a:ln>
            <a:solidFill>
              <a:srgbClr val="F2C81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0" name="Rectangle 145"/>
          <p:cNvSpPr/>
          <p:nvPr/>
        </p:nvSpPr>
        <p:spPr bwMode="auto">
          <a:xfrm>
            <a:off x="701416" y="6289969"/>
            <a:ext cx="1821468" cy="3831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2C812"/>
                </a:solidFill>
                <a:effectLst/>
                <a:uLnTx/>
                <a:uFillTx/>
                <a:latin typeface="Segoe UI"/>
                <a:ea typeface="+mn-ea"/>
                <a:cs typeface="Segoe UI Light" panose="020B0502040204020203" pitchFamily="34" charset="0"/>
              </a:rPr>
              <a:t>Mobile Reports</a:t>
            </a:r>
          </a:p>
        </p:txBody>
      </p:sp>
      <p:pic>
        <p:nvPicPr>
          <p:cNvPr id="111" name="Picture 110"/>
          <p:cNvPicPr>
            <a:picLocks noChangeAspect="1"/>
          </p:cNvPicPr>
          <p:nvPr/>
        </p:nvPicPr>
        <p:blipFill>
          <a:blip r:embed="rId6" cstate="print">
            <a:extLst>
              <a:ext uri="{BEBA8EAE-BF5A-486C-A8C5-ECC9F3942E4B}">
                <a14:imgProps xmlns:a14="http://schemas.microsoft.com/office/drawing/2010/main">
                  <a14:imgLayer r:embed="rId7">
                    <a14:imgEffect>
                      <a14:saturation sat="0"/>
                    </a14:imgEffect>
                  </a14:imgLayer>
                </a14:imgProps>
              </a:ext>
              <a:ext uri="{28A0092B-C50C-407E-A947-70E740481C1C}">
                <a14:useLocalDpi xmlns:a14="http://schemas.microsoft.com/office/drawing/2010/main" val="0"/>
              </a:ext>
            </a:extLst>
          </a:blip>
          <a:stretch>
            <a:fillRect/>
          </a:stretch>
        </p:blipFill>
        <p:spPr>
          <a:xfrm>
            <a:off x="391946" y="6350039"/>
            <a:ext cx="133350" cy="251587"/>
          </a:xfrm>
          <a:prstGeom prst="rect">
            <a:avLst/>
          </a:prstGeom>
        </p:spPr>
      </p:pic>
      <p:pic>
        <p:nvPicPr>
          <p:cNvPr id="112" name="Picture 111"/>
          <p:cNvPicPr>
            <a:picLocks noChangeAspect="1"/>
          </p:cNvPicPr>
          <p:nvPr/>
        </p:nvPicPr>
        <p:blipFill>
          <a:blip r:embed="rId8" cstate="print">
            <a:biLevel thresh="50000"/>
            <a:extLst>
              <a:ext uri="{28A0092B-C50C-407E-A947-70E740481C1C}">
                <a14:useLocalDpi xmlns:a14="http://schemas.microsoft.com/office/drawing/2010/main" val="0"/>
              </a:ext>
            </a:extLst>
          </a:blip>
          <a:stretch>
            <a:fillRect/>
          </a:stretch>
        </p:blipFill>
        <p:spPr>
          <a:xfrm>
            <a:off x="332658" y="5538489"/>
            <a:ext cx="268940" cy="268940"/>
          </a:xfrm>
          <a:prstGeom prst="rect">
            <a:avLst/>
          </a:prstGeom>
        </p:spPr>
      </p:pic>
      <p:sp>
        <p:nvSpPr>
          <p:cNvPr id="113" name="Rectangle 112"/>
          <p:cNvSpPr/>
          <p:nvPr/>
        </p:nvSpPr>
        <p:spPr bwMode="auto">
          <a:xfrm>
            <a:off x="35912" y="5223435"/>
            <a:ext cx="2464420" cy="1564989"/>
          </a:xfrm>
          <a:prstGeom prst="rect">
            <a:avLst/>
          </a:prstGeom>
          <a:solidFill>
            <a:srgbClr val="000000">
              <a:alpha val="6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4" name="Rectangle 113"/>
          <p:cNvSpPr/>
          <p:nvPr/>
        </p:nvSpPr>
        <p:spPr bwMode="auto">
          <a:xfrm>
            <a:off x="95936" y="731575"/>
            <a:ext cx="2464420" cy="3635751"/>
          </a:xfrm>
          <a:prstGeom prst="rect">
            <a:avLst/>
          </a:prstGeom>
          <a:solidFill>
            <a:srgbClr val="000000">
              <a:alpha val="6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38325949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 name="Title 10"/>
          <p:cNvSpPr txBox="1">
            <a:spLocks/>
          </p:cNvSpPr>
          <p:nvPr/>
        </p:nvSpPr>
        <p:spPr>
          <a:xfrm>
            <a:off x="2849060" y="0"/>
            <a:ext cx="9342940" cy="665151"/>
          </a:xfrm>
          <a:prstGeom prst="rect">
            <a:avLst/>
          </a:prstGeom>
          <a:noFill/>
        </p:spPr>
        <p:txBody>
          <a:bodyPr vert="horz" wrap="square" lIns="0" tIns="91440" rIns="0" bIns="91440" rtlCol="0" anchor="t">
            <a:noAutofit/>
          </a:bodyPr>
          <a:lstStyle>
            <a:lvl1pPr defTabSz="914367">
              <a:lnSpc>
                <a:spcPct val="90000"/>
              </a:lnSpc>
              <a:spcBef>
                <a:spcPct val="0"/>
              </a:spcBef>
              <a:buNone/>
              <a:defRPr lang="en-US" sz="5294" b="0" cap="none" spc="-100" baseline="0" dirty="0" smtClean="0">
                <a:ln w="3175">
                  <a:noFill/>
                </a:ln>
                <a:solidFill>
                  <a:schemeClr val="tx2"/>
                </a:solidFill>
                <a:effectLst/>
                <a:latin typeface="+mj-lt"/>
                <a:cs typeface="Segoe UI" pitchFamily="34" charset="0"/>
              </a:defRPr>
            </a:lvl1pPr>
          </a:lstStyle>
          <a:p>
            <a:pPr marL="168275" marR="0" lvl="0" indent="0" algn="l" defTabSz="914367" rtl="0" eaLnBrk="1" fontAlgn="auto" latinLnBrk="0" hangingPunct="1">
              <a:lnSpc>
                <a:spcPct val="90000"/>
              </a:lnSpc>
              <a:spcBef>
                <a:spcPct val="0"/>
              </a:spcBef>
              <a:spcAft>
                <a:spcPts val="0"/>
              </a:spcAft>
              <a:buClrTx/>
              <a:buSzTx/>
              <a:buFontTx/>
              <a:buNone/>
              <a:tabLst/>
              <a:defRPr/>
            </a:pPr>
            <a:r>
              <a:rPr kumimoji="0" lang="en-US" sz="3600" b="0" i="0" u="none" strike="noStrike" kern="1200" cap="none" spc="-100" normalizeH="0" baseline="0" noProof="0">
                <a:ln w="3175">
                  <a:noFill/>
                </a:ln>
                <a:solidFill>
                  <a:prstClr val="black"/>
                </a:solidFill>
                <a:effectLst/>
                <a:uLnTx/>
                <a:uFillTx/>
                <a:latin typeface="Segoe UI Light"/>
                <a:ea typeface="+mn-ea"/>
                <a:cs typeface="Segoe UI" pitchFamily="34" charset="0"/>
              </a:rPr>
              <a:t>Sharing</a:t>
            </a:r>
            <a:endParaRPr kumimoji="0" lang="en-IN" sz="3600" b="0" i="0" u="none" strike="noStrike" kern="1200" cap="none" spc="-100" normalizeH="0" baseline="0" noProof="0">
              <a:ln w="3175">
                <a:noFill/>
              </a:ln>
              <a:solidFill>
                <a:prstClr val="black"/>
              </a:solidFill>
              <a:effectLst/>
              <a:uLnTx/>
              <a:uFillTx/>
              <a:latin typeface="Segoe UI Light"/>
              <a:ea typeface="+mn-ea"/>
              <a:cs typeface="Segoe UI" pitchFamily="34" charset="0"/>
            </a:endParaRPr>
          </a:p>
        </p:txBody>
      </p:sp>
      <p:sp>
        <p:nvSpPr>
          <p:cNvPr id="41" name="Rectangle 3"/>
          <p:cNvSpPr/>
          <p:nvPr/>
        </p:nvSpPr>
        <p:spPr bwMode="auto">
          <a:xfrm>
            <a:off x="3202216" y="704712"/>
            <a:ext cx="8105312" cy="44435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PT" sz="2000" b="0" i="1" u="none" strike="noStrike" kern="1200" cap="none" spc="0" normalizeH="0" baseline="0" noProof="0">
                <a:ln>
                  <a:noFill/>
                </a:ln>
                <a:solidFill>
                  <a:prstClr val="black"/>
                </a:solidFill>
                <a:effectLst/>
                <a:uLnTx/>
                <a:uFillTx/>
                <a:latin typeface="Segoe UI Light"/>
                <a:ea typeface="+mn-ea"/>
                <a:cs typeface="+mn-cs"/>
              </a:rPr>
              <a:t>Group Share</a:t>
            </a:r>
            <a:endParaRPr kumimoji="0" lang="en-US" sz="2000" b="0" i="1" u="none" strike="noStrike" kern="1200" cap="none" spc="0" normalizeH="0" baseline="0" noProof="0">
              <a:ln>
                <a:noFill/>
              </a:ln>
              <a:solidFill>
                <a:prstClr val="black"/>
              </a:solidFill>
              <a:effectLst/>
              <a:uLnTx/>
              <a:uFillTx/>
              <a:latin typeface="Segoe UI Light"/>
              <a:ea typeface="+mn-ea"/>
              <a:cs typeface="+mn-cs"/>
            </a:endParaRPr>
          </a:p>
        </p:txBody>
      </p:sp>
      <p:sp>
        <p:nvSpPr>
          <p:cNvPr id="87" name="Text Placeholder 2"/>
          <p:cNvSpPr txBox="1">
            <a:spLocks/>
          </p:cNvSpPr>
          <p:nvPr/>
        </p:nvSpPr>
        <p:spPr>
          <a:xfrm>
            <a:off x="2953103" y="1479922"/>
            <a:ext cx="8707001" cy="897374"/>
          </a:xfrm>
          <a:prstGeom prst="rect">
            <a:avLst/>
          </a:prstGeom>
        </p:spPr>
        <p:txBody>
          <a:bodyPr vert="horz" wrap="square" lIns="182880" tIns="146304" rIns="182880" bIns="146304" rtlCol="0">
            <a:noAutofit/>
          </a:bodyPr>
          <a:lstStyle>
            <a:lvl1pPr marL="182845" marR="0"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3921" kern="1200" spc="0" baseline="0">
                <a:gradFill>
                  <a:gsLst>
                    <a:gs pos="1250">
                      <a:schemeClr val="tx2"/>
                    </a:gs>
                    <a:gs pos="99000">
                      <a:schemeClr val="tx2"/>
                    </a:gs>
                  </a:gsLst>
                  <a:lin ang="5400000" scaled="0"/>
                </a:gradFill>
                <a:latin typeface="+mj-lt"/>
                <a:ea typeface="+mn-ea"/>
                <a:cs typeface="+mn-cs"/>
              </a:defRPr>
            </a:lvl1pPr>
            <a:lvl2pPr marL="365690" marR="0"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2400" kern="1200" spc="0" baseline="0">
                <a:solidFill>
                  <a:schemeClr val="tx2"/>
                </a:solidFill>
                <a:latin typeface="+mj-lt"/>
                <a:ea typeface="+mn-ea"/>
                <a:cs typeface="+mn-cs"/>
              </a:defRPr>
            </a:lvl2pPr>
            <a:lvl3pPr marL="548535" marR="0"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2000" kern="1200" spc="0" baseline="0">
                <a:solidFill>
                  <a:schemeClr val="tx2"/>
                </a:solidFill>
                <a:latin typeface="+mj-lt"/>
                <a:ea typeface="+mn-ea"/>
                <a:cs typeface="+mn-cs"/>
              </a:defRPr>
            </a:lvl3pPr>
            <a:lvl4pPr marL="733802" marR="0" indent="-28569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1765" kern="1200" spc="0" baseline="0">
                <a:solidFill>
                  <a:schemeClr val="tx2"/>
                </a:solidFill>
                <a:latin typeface="+mn-lt"/>
                <a:ea typeface="+mn-ea"/>
                <a:cs typeface="+mn-cs"/>
              </a:defRPr>
            </a:lvl4pPr>
            <a:lvl5pPr marL="957856" marR="0" indent="-28569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1765" kern="1200" spc="0" baseline="0">
                <a:solidFill>
                  <a:schemeClr val="tx2"/>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r>
              <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rPr>
              <a:t>Members with </a:t>
            </a:r>
            <a:r>
              <a:rPr kumimoji="0" lang="en-US" sz="2000" b="1"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rPr>
              <a:t>Admin</a:t>
            </a:r>
            <a:r>
              <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rPr>
              <a:t> can manage access to the group</a:t>
            </a: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r>
              <a:rPr kumimoji="0" lang="en-US" sz="2000" b="1"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rPr>
              <a:t>Access</a:t>
            </a:r>
            <a:r>
              <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rPr>
              <a:t> </a:t>
            </a:r>
            <a:r>
              <a:rPr kumimoji="0" lang="en-US" sz="2000" b="1"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rPr>
              <a:t>is set</a:t>
            </a:r>
            <a:r>
              <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rPr>
              <a:t> to either View or Edit for </a:t>
            </a:r>
            <a:r>
              <a:rPr kumimoji="0" lang="en-US" sz="2000" b="1"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rPr>
              <a:t>everyone</a:t>
            </a:r>
            <a:r>
              <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rPr>
              <a:t> in the group (except Admins)</a:t>
            </a: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p:txBody>
      </p:sp>
      <p:pic>
        <p:nvPicPr>
          <p:cNvPr id="3" name="Picture 2"/>
          <p:cNvPicPr>
            <a:picLocks noChangeAspect="1"/>
          </p:cNvPicPr>
          <p:nvPr/>
        </p:nvPicPr>
        <p:blipFill>
          <a:blip r:embed="rId3"/>
          <a:stretch>
            <a:fillRect/>
          </a:stretch>
        </p:blipFill>
        <p:spPr>
          <a:xfrm>
            <a:off x="5667599" y="2893128"/>
            <a:ext cx="3460751" cy="3697789"/>
          </a:xfrm>
          <a:prstGeom prst="rect">
            <a:avLst/>
          </a:prstGeom>
          <a:ln>
            <a:noFill/>
          </a:ln>
          <a:effectLst>
            <a:outerShdw blurRad="190500" algn="tl" rotWithShape="0">
              <a:srgbClr val="000000">
                <a:alpha val="70000"/>
              </a:srgbClr>
            </a:outerShdw>
          </a:effectLst>
        </p:spPr>
      </p:pic>
      <p:grpSp>
        <p:nvGrpSpPr>
          <p:cNvPr id="43" name="Group 42"/>
          <p:cNvGrpSpPr/>
          <p:nvPr/>
        </p:nvGrpSpPr>
        <p:grpSpPr>
          <a:xfrm>
            <a:off x="-2887" y="973"/>
            <a:ext cx="2849058" cy="6857027"/>
            <a:chOff x="2" y="487"/>
            <a:chExt cx="2849058" cy="6857027"/>
          </a:xfrm>
        </p:grpSpPr>
        <p:sp>
          <p:nvSpPr>
            <p:cNvPr id="51" name="Rectangle 15"/>
            <p:cNvSpPr/>
            <p:nvPr/>
          </p:nvSpPr>
          <p:spPr bwMode="auto">
            <a:xfrm>
              <a:off x="2" y="487"/>
              <a:ext cx="2849058" cy="685702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0" name="Rectangle 145"/>
            <p:cNvSpPr/>
            <p:nvPr/>
          </p:nvSpPr>
          <p:spPr bwMode="auto">
            <a:xfrm>
              <a:off x="696152" y="956997"/>
              <a:ext cx="1821468" cy="3831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2C812"/>
                  </a:solidFill>
                  <a:effectLst/>
                  <a:uLnTx/>
                  <a:uFillTx/>
                  <a:latin typeface="Segoe UI"/>
                  <a:ea typeface="+mn-ea"/>
                  <a:cs typeface="Segoe UI Light" panose="020B0502040204020203" pitchFamily="34" charset="0"/>
                </a:rPr>
                <a:t>Get Data</a:t>
              </a:r>
              <a:endParaRPr kumimoji="0" lang="en-US" sz="1200" b="1" i="1" u="none" strike="noStrike" kern="1200" cap="none" spc="0" normalizeH="0" baseline="0" noProof="0">
                <a:ln>
                  <a:noFill/>
                </a:ln>
                <a:solidFill>
                  <a:srgbClr val="F2C812"/>
                </a:solidFill>
                <a:effectLst/>
                <a:uLnTx/>
                <a:uFillTx/>
                <a:latin typeface="Segoe UI"/>
                <a:ea typeface="+mn-ea"/>
                <a:cs typeface="Segoe UI Light" panose="020B0502040204020203" pitchFamily="34" charset="0"/>
              </a:endParaRPr>
            </a:p>
          </p:txBody>
        </p:sp>
        <p:grpSp>
          <p:nvGrpSpPr>
            <p:cNvPr id="81" name="Group 80"/>
            <p:cNvGrpSpPr/>
            <p:nvPr/>
          </p:nvGrpSpPr>
          <p:grpSpPr>
            <a:xfrm>
              <a:off x="219373" y="934583"/>
              <a:ext cx="433844" cy="433844"/>
              <a:chOff x="440005" y="997815"/>
              <a:chExt cx="296322" cy="296322"/>
            </a:xfrm>
          </p:grpSpPr>
          <p:sp>
            <p:nvSpPr>
              <p:cNvPr id="101" name="Oval 147"/>
              <p:cNvSpPr/>
              <p:nvPr/>
            </p:nvSpPr>
            <p:spPr bwMode="auto">
              <a:xfrm>
                <a:off x="440005" y="997815"/>
                <a:ext cx="296322" cy="296322"/>
              </a:xfrm>
              <a:prstGeom prst="ellipse">
                <a:avLst/>
              </a:prstGeom>
              <a:solidFill>
                <a:srgbClr val="FFCC00"/>
              </a:solidFill>
              <a:ln>
                <a:solidFill>
                  <a:srgbClr val="F2C81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02" name="Group 332"/>
              <p:cNvGrpSpPr/>
              <p:nvPr/>
            </p:nvGrpSpPr>
            <p:grpSpPr>
              <a:xfrm>
                <a:off x="482167" y="1059311"/>
                <a:ext cx="211997" cy="173292"/>
                <a:chOff x="2123129" y="293070"/>
                <a:chExt cx="2472585" cy="2021178"/>
              </a:xfrm>
            </p:grpSpPr>
            <p:sp>
              <p:nvSpPr>
                <p:cNvPr id="103" name="Freeform 13"/>
                <p:cNvSpPr>
                  <a:spLocks/>
                </p:cNvSpPr>
                <p:nvPr/>
              </p:nvSpPr>
              <p:spPr bwMode="auto">
                <a:xfrm rot="20700000">
                  <a:off x="3155853" y="872796"/>
                  <a:ext cx="1439861" cy="1441452"/>
                </a:xfrm>
                <a:custGeom>
                  <a:avLst/>
                  <a:gdLst>
                    <a:gd name="T0" fmla="*/ 138 w 441"/>
                    <a:gd name="T1" fmla="*/ 341 h 441"/>
                    <a:gd name="T2" fmla="*/ 183 w 441"/>
                    <a:gd name="T3" fmla="*/ 374 h 441"/>
                    <a:gd name="T4" fmla="*/ 220 w 441"/>
                    <a:gd name="T5" fmla="*/ 423 h 441"/>
                    <a:gd name="T6" fmla="*/ 422 w 441"/>
                    <a:gd name="T7" fmla="*/ 220 h 441"/>
                    <a:gd name="T8" fmla="*/ 373 w 441"/>
                    <a:gd name="T9" fmla="*/ 184 h 441"/>
                    <a:gd name="T10" fmla="*/ 341 w 441"/>
                    <a:gd name="T11" fmla="*/ 139 h 441"/>
                    <a:gd name="T12" fmla="*/ 382 w 441"/>
                    <a:gd name="T13" fmla="*/ 58 h 441"/>
                    <a:gd name="T14" fmla="*/ 302 w 441"/>
                    <a:gd name="T15" fmla="*/ 100 h 441"/>
                    <a:gd name="T16" fmla="*/ 257 w 441"/>
                    <a:gd name="T17" fmla="*/ 67 h 441"/>
                    <a:gd name="T18" fmla="*/ 220 w 441"/>
                    <a:gd name="T19" fmla="*/ 18 h 441"/>
                    <a:gd name="T20" fmla="*/ 171 w 441"/>
                    <a:gd name="T21" fmla="*/ 55 h 441"/>
                    <a:gd name="T22" fmla="*/ 138 w 441"/>
                    <a:gd name="T23" fmla="*/ 100 h 441"/>
                    <a:gd name="T24" fmla="*/ 180 w 441"/>
                    <a:gd name="T25" fmla="*/ 181 h 441"/>
                    <a:gd name="T26" fmla="*/ 100 w 441"/>
                    <a:gd name="T27" fmla="*/ 139 h 441"/>
                    <a:gd name="T28" fmla="*/ 55 w 441"/>
                    <a:gd name="T29" fmla="*/ 171 h 441"/>
                    <a:gd name="T30" fmla="*/ 18 w 441"/>
                    <a:gd name="T31" fmla="*/ 220 h 441"/>
                    <a:gd name="T32" fmla="*/ 67 w 441"/>
                    <a:gd name="T33" fmla="*/ 257 h 441"/>
                    <a:gd name="T34" fmla="*/ 100 w 441"/>
                    <a:gd name="T35" fmla="*/ 302 h 441"/>
                    <a:gd name="T36" fmla="*/ 58 w 441"/>
                    <a:gd name="T37" fmla="*/ 383 h 441"/>
                    <a:gd name="T38" fmla="*/ 138 w 441"/>
                    <a:gd name="T39" fmla="*/ 341 h 4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41" h="441">
                      <a:moveTo>
                        <a:pt x="138" y="341"/>
                      </a:moveTo>
                      <a:cubicBezTo>
                        <a:pt x="147" y="337"/>
                        <a:pt x="171" y="361"/>
                        <a:pt x="183" y="374"/>
                      </a:cubicBezTo>
                      <a:cubicBezTo>
                        <a:pt x="196" y="386"/>
                        <a:pt x="220" y="423"/>
                        <a:pt x="220" y="423"/>
                      </a:cubicBezTo>
                      <a:cubicBezTo>
                        <a:pt x="422" y="220"/>
                        <a:pt x="422" y="220"/>
                        <a:pt x="422" y="220"/>
                      </a:cubicBezTo>
                      <a:cubicBezTo>
                        <a:pt x="422" y="220"/>
                        <a:pt x="386" y="196"/>
                        <a:pt x="373" y="184"/>
                      </a:cubicBezTo>
                      <a:cubicBezTo>
                        <a:pt x="361" y="171"/>
                        <a:pt x="338" y="149"/>
                        <a:pt x="341" y="139"/>
                      </a:cubicBezTo>
                      <a:cubicBezTo>
                        <a:pt x="343" y="129"/>
                        <a:pt x="441" y="116"/>
                        <a:pt x="382" y="58"/>
                      </a:cubicBezTo>
                      <a:cubicBezTo>
                        <a:pt x="324" y="0"/>
                        <a:pt x="310" y="96"/>
                        <a:pt x="302" y="100"/>
                      </a:cubicBezTo>
                      <a:cubicBezTo>
                        <a:pt x="294" y="104"/>
                        <a:pt x="269" y="80"/>
                        <a:pt x="257" y="67"/>
                      </a:cubicBezTo>
                      <a:cubicBezTo>
                        <a:pt x="245" y="55"/>
                        <a:pt x="220" y="18"/>
                        <a:pt x="220" y="18"/>
                      </a:cubicBezTo>
                      <a:cubicBezTo>
                        <a:pt x="220" y="18"/>
                        <a:pt x="183" y="43"/>
                        <a:pt x="171" y="55"/>
                      </a:cubicBezTo>
                      <a:cubicBezTo>
                        <a:pt x="159" y="67"/>
                        <a:pt x="134" y="92"/>
                        <a:pt x="138" y="100"/>
                      </a:cubicBezTo>
                      <a:cubicBezTo>
                        <a:pt x="142" y="108"/>
                        <a:pt x="238" y="122"/>
                        <a:pt x="180" y="181"/>
                      </a:cubicBezTo>
                      <a:cubicBezTo>
                        <a:pt x="122" y="239"/>
                        <a:pt x="110" y="141"/>
                        <a:pt x="100" y="139"/>
                      </a:cubicBezTo>
                      <a:cubicBezTo>
                        <a:pt x="89" y="137"/>
                        <a:pt x="67" y="159"/>
                        <a:pt x="55" y="171"/>
                      </a:cubicBezTo>
                      <a:cubicBezTo>
                        <a:pt x="42" y="184"/>
                        <a:pt x="18" y="220"/>
                        <a:pt x="18" y="220"/>
                      </a:cubicBezTo>
                      <a:cubicBezTo>
                        <a:pt x="18" y="220"/>
                        <a:pt x="55" y="245"/>
                        <a:pt x="67" y="257"/>
                      </a:cubicBezTo>
                      <a:cubicBezTo>
                        <a:pt x="79" y="269"/>
                        <a:pt x="102" y="292"/>
                        <a:pt x="100" y="302"/>
                      </a:cubicBezTo>
                      <a:cubicBezTo>
                        <a:pt x="98" y="312"/>
                        <a:pt x="0" y="325"/>
                        <a:pt x="58" y="383"/>
                      </a:cubicBezTo>
                      <a:cubicBezTo>
                        <a:pt x="116" y="441"/>
                        <a:pt x="130" y="345"/>
                        <a:pt x="138" y="341"/>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104" name="Freeform 14"/>
                <p:cNvSpPr>
                  <a:spLocks/>
                </p:cNvSpPr>
                <p:nvPr/>
              </p:nvSpPr>
              <p:spPr bwMode="auto">
                <a:xfrm rot="9900000">
                  <a:off x="2123129" y="293070"/>
                  <a:ext cx="1377948" cy="1377947"/>
                </a:xfrm>
                <a:custGeom>
                  <a:avLst/>
                  <a:gdLst>
                    <a:gd name="T0" fmla="*/ 422 w 422"/>
                    <a:gd name="T1" fmla="*/ 220 h 422"/>
                    <a:gd name="T2" fmla="*/ 386 w 422"/>
                    <a:gd name="T3" fmla="*/ 171 h 422"/>
                    <a:gd name="T4" fmla="*/ 341 w 422"/>
                    <a:gd name="T5" fmla="*/ 138 h 422"/>
                    <a:gd name="T6" fmla="*/ 260 w 422"/>
                    <a:gd name="T7" fmla="*/ 180 h 422"/>
                    <a:gd name="T8" fmla="*/ 302 w 422"/>
                    <a:gd name="T9" fmla="*/ 100 h 422"/>
                    <a:gd name="T10" fmla="*/ 269 w 422"/>
                    <a:gd name="T11" fmla="*/ 55 h 422"/>
                    <a:gd name="T12" fmla="*/ 220 w 422"/>
                    <a:gd name="T13" fmla="*/ 18 h 422"/>
                    <a:gd name="T14" fmla="*/ 183 w 422"/>
                    <a:gd name="T15" fmla="*/ 67 h 422"/>
                    <a:gd name="T16" fmla="*/ 138 w 422"/>
                    <a:gd name="T17" fmla="*/ 100 h 422"/>
                    <a:gd name="T18" fmla="*/ 58 w 422"/>
                    <a:gd name="T19" fmla="*/ 58 h 422"/>
                    <a:gd name="T20" fmla="*/ 100 w 422"/>
                    <a:gd name="T21" fmla="*/ 138 h 422"/>
                    <a:gd name="T22" fmla="*/ 67 w 422"/>
                    <a:gd name="T23" fmla="*/ 183 h 422"/>
                    <a:gd name="T24" fmla="*/ 18 w 422"/>
                    <a:gd name="T25" fmla="*/ 220 h 422"/>
                    <a:gd name="T26" fmla="*/ 55 w 422"/>
                    <a:gd name="T27" fmla="*/ 269 h 422"/>
                    <a:gd name="T28" fmla="*/ 100 w 422"/>
                    <a:gd name="T29" fmla="*/ 302 h 422"/>
                    <a:gd name="T30" fmla="*/ 180 w 422"/>
                    <a:gd name="T31" fmla="*/ 260 h 422"/>
                    <a:gd name="T32" fmla="*/ 138 w 422"/>
                    <a:gd name="T33" fmla="*/ 341 h 422"/>
                    <a:gd name="T34" fmla="*/ 171 w 422"/>
                    <a:gd name="T35" fmla="*/ 386 h 422"/>
                    <a:gd name="T36" fmla="*/ 220 w 422"/>
                    <a:gd name="T37" fmla="*/ 422 h 422"/>
                    <a:gd name="T38" fmla="*/ 422 w 422"/>
                    <a:gd name="T39" fmla="*/ 220 h 4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22" h="422">
                      <a:moveTo>
                        <a:pt x="422" y="220"/>
                      </a:moveTo>
                      <a:cubicBezTo>
                        <a:pt x="422" y="220"/>
                        <a:pt x="398" y="183"/>
                        <a:pt x="386" y="171"/>
                      </a:cubicBezTo>
                      <a:cubicBezTo>
                        <a:pt x="373" y="159"/>
                        <a:pt x="349" y="134"/>
                        <a:pt x="341" y="138"/>
                      </a:cubicBezTo>
                      <a:cubicBezTo>
                        <a:pt x="332" y="142"/>
                        <a:pt x="318" y="239"/>
                        <a:pt x="260" y="180"/>
                      </a:cubicBezTo>
                      <a:cubicBezTo>
                        <a:pt x="202" y="122"/>
                        <a:pt x="300" y="110"/>
                        <a:pt x="302" y="100"/>
                      </a:cubicBezTo>
                      <a:cubicBezTo>
                        <a:pt x="304" y="90"/>
                        <a:pt x="281" y="67"/>
                        <a:pt x="269" y="55"/>
                      </a:cubicBezTo>
                      <a:cubicBezTo>
                        <a:pt x="257" y="42"/>
                        <a:pt x="220" y="18"/>
                        <a:pt x="220" y="18"/>
                      </a:cubicBezTo>
                      <a:cubicBezTo>
                        <a:pt x="220" y="18"/>
                        <a:pt x="196" y="55"/>
                        <a:pt x="183" y="67"/>
                      </a:cubicBezTo>
                      <a:cubicBezTo>
                        <a:pt x="171" y="79"/>
                        <a:pt x="149" y="102"/>
                        <a:pt x="138" y="100"/>
                      </a:cubicBezTo>
                      <a:cubicBezTo>
                        <a:pt x="128" y="98"/>
                        <a:pt x="116" y="0"/>
                        <a:pt x="58" y="58"/>
                      </a:cubicBezTo>
                      <a:cubicBezTo>
                        <a:pt x="0" y="116"/>
                        <a:pt x="96" y="130"/>
                        <a:pt x="100" y="138"/>
                      </a:cubicBezTo>
                      <a:cubicBezTo>
                        <a:pt x="104" y="147"/>
                        <a:pt x="79" y="171"/>
                        <a:pt x="67" y="183"/>
                      </a:cubicBezTo>
                      <a:cubicBezTo>
                        <a:pt x="55" y="196"/>
                        <a:pt x="18" y="220"/>
                        <a:pt x="18" y="220"/>
                      </a:cubicBezTo>
                      <a:cubicBezTo>
                        <a:pt x="18" y="220"/>
                        <a:pt x="42" y="257"/>
                        <a:pt x="55" y="269"/>
                      </a:cubicBezTo>
                      <a:cubicBezTo>
                        <a:pt x="67" y="281"/>
                        <a:pt x="91" y="306"/>
                        <a:pt x="100" y="302"/>
                      </a:cubicBezTo>
                      <a:cubicBezTo>
                        <a:pt x="108" y="298"/>
                        <a:pt x="122" y="202"/>
                        <a:pt x="180" y="260"/>
                      </a:cubicBezTo>
                      <a:cubicBezTo>
                        <a:pt x="238" y="318"/>
                        <a:pt x="140" y="330"/>
                        <a:pt x="138" y="341"/>
                      </a:cubicBezTo>
                      <a:cubicBezTo>
                        <a:pt x="136" y="351"/>
                        <a:pt x="159" y="373"/>
                        <a:pt x="171" y="386"/>
                      </a:cubicBezTo>
                      <a:cubicBezTo>
                        <a:pt x="183" y="398"/>
                        <a:pt x="220" y="422"/>
                        <a:pt x="220" y="422"/>
                      </a:cubicBezTo>
                      <a:lnTo>
                        <a:pt x="422" y="22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grpSp>
        </p:grpSp>
        <p:sp>
          <p:nvSpPr>
            <p:cNvPr id="82" name="Rectangle 152"/>
            <p:cNvSpPr/>
            <p:nvPr/>
          </p:nvSpPr>
          <p:spPr bwMode="auto">
            <a:xfrm>
              <a:off x="669652" y="2738277"/>
              <a:ext cx="1805162" cy="37532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2C812"/>
                  </a:solidFill>
                  <a:effectLst/>
                  <a:uLnTx/>
                  <a:uFillTx/>
                  <a:latin typeface="Segoe UI"/>
                  <a:ea typeface="+mn-ea"/>
                  <a:cs typeface="Segoe UI Light" panose="020B0502040204020203" pitchFamily="34" charset="0"/>
                </a:rPr>
                <a:t>Keeping Data Current</a:t>
              </a:r>
            </a:p>
          </p:txBody>
        </p:sp>
        <p:grpSp>
          <p:nvGrpSpPr>
            <p:cNvPr id="83" name="Group 82"/>
            <p:cNvGrpSpPr/>
            <p:nvPr/>
          </p:nvGrpSpPr>
          <p:grpSpPr>
            <a:xfrm>
              <a:off x="199649" y="2692629"/>
              <a:ext cx="433844" cy="433844"/>
              <a:chOff x="342620" y="2228265"/>
              <a:chExt cx="433844" cy="433844"/>
            </a:xfrm>
            <a:solidFill>
              <a:schemeClr val="bg1"/>
            </a:solidFill>
          </p:grpSpPr>
          <p:sp>
            <p:nvSpPr>
              <p:cNvPr id="99" name="Oval 154"/>
              <p:cNvSpPr/>
              <p:nvPr/>
            </p:nvSpPr>
            <p:spPr bwMode="auto">
              <a:xfrm>
                <a:off x="342620" y="2228265"/>
                <a:ext cx="433844" cy="433844"/>
              </a:xfrm>
              <a:prstGeom prst="ellipse">
                <a:avLst/>
              </a:prstGeom>
              <a:solidFill>
                <a:srgbClr val="FFC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0" name="Freeform 30"/>
              <p:cNvSpPr>
                <a:spLocks noEditPoints="1"/>
              </p:cNvSpPr>
              <p:nvPr/>
            </p:nvSpPr>
            <p:spPr bwMode="auto">
              <a:xfrm>
                <a:off x="444786" y="2340040"/>
                <a:ext cx="238402" cy="210293"/>
              </a:xfrm>
              <a:custGeom>
                <a:avLst/>
                <a:gdLst>
                  <a:gd name="T0" fmla="*/ 883 w 916"/>
                  <a:gd name="T1" fmla="*/ 286 h 808"/>
                  <a:gd name="T2" fmla="*/ 539 w 916"/>
                  <a:gd name="T3" fmla="*/ 723 h 808"/>
                  <a:gd name="T4" fmla="*/ 504 w 916"/>
                  <a:gd name="T5" fmla="*/ 0 h 808"/>
                  <a:gd name="T6" fmla="*/ 35 w 916"/>
                  <a:gd name="T7" fmla="*/ 723 h 808"/>
                  <a:gd name="T8" fmla="*/ 0 w 916"/>
                  <a:gd name="T9" fmla="*/ 808 h 808"/>
                  <a:gd name="T10" fmla="*/ 916 w 916"/>
                  <a:gd name="T11" fmla="*/ 723 h 808"/>
                  <a:gd name="T12" fmla="*/ 229 w 916"/>
                  <a:gd name="T13" fmla="*/ 665 h 808"/>
                  <a:gd name="T14" fmla="*/ 109 w 916"/>
                  <a:gd name="T15" fmla="*/ 596 h 808"/>
                  <a:gd name="T16" fmla="*/ 229 w 916"/>
                  <a:gd name="T17" fmla="*/ 665 h 808"/>
                  <a:gd name="T18" fmla="*/ 109 w 916"/>
                  <a:gd name="T19" fmla="*/ 501 h 808"/>
                  <a:gd name="T20" fmla="*/ 229 w 916"/>
                  <a:gd name="T21" fmla="*/ 432 h 808"/>
                  <a:gd name="T22" fmla="*/ 229 w 916"/>
                  <a:gd name="T23" fmla="*/ 337 h 808"/>
                  <a:gd name="T24" fmla="*/ 109 w 916"/>
                  <a:gd name="T25" fmla="*/ 267 h 808"/>
                  <a:gd name="T26" fmla="*/ 229 w 916"/>
                  <a:gd name="T27" fmla="*/ 337 h 808"/>
                  <a:gd name="T28" fmla="*/ 109 w 916"/>
                  <a:gd name="T29" fmla="*/ 172 h 808"/>
                  <a:gd name="T30" fmla="*/ 229 w 916"/>
                  <a:gd name="T31" fmla="*/ 103 h 808"/>
                  <a:gd name="T32" fmla="*/ 428 w 916"/>
                  <a:gd name="T33" fmla="*/ 665 h 808"/>
                  <a:gd name="T34" fmla="*/ 307 w 916"/>
                  <a:gd name="T35" fmla="*/ 596 h 808"/>
                  <a:gd name="T36" fmla="*/ 428 w 916"/>
                  <a:gd name="T37" fmla="*/ 665 h 808"/>
                  <a:gd name="T38" fmla="*/ 307 w 916"/>
                  <a:gd name="T39" fmla="*/ 501 h 808"/>
                  <a:gd name="T40" fmla="*/ 428 w 916"/>
                  <a:gd name="T41" fmla="*/ 432 h 808"/>
                  <a:gd name="T42" fmla="*/ 428 w 916"/>
                  <a:gd name="T43" fmla="*/ 337 h 808"/>
                  <a:gd name="T44" fmla="*/ 307 w 916"/>
                  <a:gd name="T45" fmla="*/ 267 h 808"/>
                  <a:gd name="T46" fmla="*/ 428 w 916"/>
                  <a:gd name="T47" fmla="*/ 337 h 808"/>
                  <a:gd name="T48" fmla="*/ 307 w 916"/>
                  <a:gd name="T49" fmla="*/ 172 h 808"/>
                  <a:gd name="T50" fmla="*/ 428 w 916"/>
                  <a:gd name="T51" fmla="*/ 103 h 808"/>
                  <a:gd name="T52" fmla="*/ 684 w 916"/>
                  <a:gd name="T53" fmla="*/ 668 h 808"/>
                  <a:gd name="T54" fmla="*/ 606 w 916"/>
                  <a:gd name="T55" fmla="*/ 549 h 808"/>
                  <a:gd name="T56" fmla="*/ 684 w 916"/>
                  <a:gd name="T57" fmla="*/ 668 h 808"/>
                  <a:gd name="T58" fmla="*/ 606 w 916"/>
                  <a:gd name="T59" fmla="*/ 482 h 808"/>
                  <a:gd name="T60" fmla="*/ 684 w 916"/>
                  <a:gd name="T61" fmla="*/ 365 h 808"/>
                  <a:gd name="T62" fmla="*/ 816 w 916"/>
                  <a:gd name="T63" fmla="*/ 668 h 808"/>
                  <a:gd name="T64" fmla="*/ 738 w 916"/>
                  <a:gd name="T65" fmla="*/ 549 h 808"/>
                  <a:gd name="T66" fmla="*/ 816 w 916"/>
                  <a:gd name="T67" fmla="*/ 668 h 808"/>
                  <a:gd name="T68" fmla="*/ 738 w 916"/>
                  <a:gd name="T69" fmla="*/ 482 h 808"/>
                  <a:gd name="T70" fmla="*/ 816 w 916"/>
                  <a:gd name="T71" fmla="*/ 365 h 8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16" h="808">
                    <a:moveTo>
                      <a:pt x="883" y="723"/>
                    </a:moveTo>
                    <a:lnTo>
                      <a:pt x="883" y="286"/>
                    </a:lnTo>
                    <a:lnTo>
                      <a:pt x="539" y="286"/>
                    </a:lnTo>
                    <a:lnTo>
                      <a:pt x="539" y="723"/>
                    </a:lnTo>
                    <a:lnTo>
                      <a:pt x="504" y="723"/>
                    </a:lnTo>
                    <a:lnTo>
                      <a:pt x="504" y="0"/>
                    </a:lnTo>
                    <a:lnTo>
                      <a:pt x="35" y="0"/>
                    </a:lnTo>
                    <a:lnTo>
                      <a:pt x="35" y="723"/>
                    </a:lnTo>
                    <a:lnTo>
                      <a:pt x="0" y="723"/>
                    </a:lnTo>
                    <a:lnTo>
                      <a:pt x="0" y="808"/>
                    </a:lnTo>
                    <a:lnTo>
                      <a:pt x="916" y="808"/>
                    </a:lnTo>
                    <a:lnTo>
                      <a:pt x="916" y="723"/>
                    </a:lnTo>
                    <a:lnTo>
                      <a:pt x="883" y="723"/>
                    </a:lnTo>
                    <a:close/>
                    <a:moveTo>
                      <a:pt x="229" y="665"/>
                    </a:moveTo>
                    <a:lnTo>
                      <a:pt x="109" y="665"/>
                    </a:lnTo>
                    <a:lnTo>
                      <a:pt x="109" y="596"/>
                    </a:lnTo>
                    <a:lnTo>
                      <a:pt x="229" y="596"/>
                    </a:lnTo>
                    <a:lnTo>
                      <a:pt x="229" y="665"/>
                    </a:lnTo>
                    <a:close/>
                    <a:moveTo>
                      <a:pt x="229" y="501"/>
                    </a:moveTo>
                    <a:lnTo>
                      <a:pt x="109" y="501"/>
                    </a:lnTo>
                    <a:lnTo>
                      <a:pt x="109" y="432"/>
                    </a:lnTo>
                    <a:lnTo>
                      <a:pt x="229" y="432"/>
                    </a:lnTo>
                    <a:lnTo>
                      <a:pt x="229" y="501"/>
                    </a:lnTo>
                    <a:close/>
                    <a:moveTo>
                      <a:pt x="229" y="337"/>
                    </a:moveTo>
                    <a:lnTo>
                      <a:pt x="109" y="337"/>
                    </a:lnTo>
                    <a:lnTo>
                      <a:pt x="109" y="267"/>
                    </a:lnTo>
                    <a:lnTo>
                      <a:pt x="229" y="267"/>
                    </a:lnTo>
                    <a:lnTo>
                      <a:pt x="229" y="337"/>
                    </a:lnTo>
                    <a:close/>
                    <a:moveTo>
                      <a:pt x="229" y="172"/>
                    </a:moveTo>
                    <a:lnTo>
                      <a:pt x="109" y="172"/>
                    </a:lnTo>
                    <a:lnTo>
                      <a:pt x="109" y="103"/>
                    </a:lnTo>
                    <a:lnTo>
                      <a:pt x="229" y="103"/>
                    </a:lnTo>
                    <a:lnTo>
                      <a:pt x="229" y="172"/>
                    </a:lnTo>
                    <a:close/>
                    <a:moveTo>
                      <a:pt x="428" y="665"/>
                    </a:moveTo>
                    <a:lnTo>
                      <a:pt x="307" y="665"/>
                    </a:lnTo>
                    <a:lnTo>
                      <a:pt x="307" y="596"/>
                    </a:lnTo>
                    <a:lnTo>
                      <a:pt x="428" y="596"/>
                    </a:lnTo>
                    <a:lnTo>
                      <a:pt x="428" y="665"/>
                    </a:lnTo>
                    <a:close/>
                    <a:moveTo>
                      <a:pt x="428" y="501"/>
                    </a:moveTo>
                    <a:lnTo>
                      <a:pt x="307" y="501"/>
                    </a:lnTo>
                    <a:lnTo>
                      <a:pt x="307" y="432"/>
                    </a:lnTo>
                    <a:lnTo>
                      <a:pt x="428" y="432"/>
                    </a:lnTo>
                    <a:lnTo>
                      <a:pt x="428" y="501"/>
                    </a:lnTo>
                    <a:close/>
                    <a:moveTo>
                      <a:pt x="428" y="337"/>
                    </a:moveTo>
                    <a:lnTo>
                      <a:pt x="307" y="337"/>
                    </a:lnTo>
                    <a:lnTo>
                      <a:pt x="307" y="267"/>
                    </a:lnTo>
                    <a:lnTo>
                      <a:pt x="428" y="267"/>
                    </a:lnTo>
                    <a:lnTo>
                      <a:pt x="428" y="337"/>
                    </a:lnTo>
                    <a:close/>
                    <a:moveTo>
                      <a:pt x="428" y="172"/>
                    </a:moveTo>
                    <a:lnTo>
                      <a:pt x="307" y="172"/>
                    </a:lnTo>
                    <a:lnTo>
                      <a:pt x="307" y="103"/>
                    </a:lnTo>
                    <a:lnTo>
                      <a:pt x="428" y="103"/>
                    </a:lnTo>
                    <a:lnTo>
                      <a:pt x="428" y="172"/>
                    </a:lnTo>
                    <a:close/>
                    <a:moveTo>
                      <a:pt x="684" y="668"/>
                    </a:moveTo>
                    <a:lnTo>
                      <a:pt x="606" y="668"/>
                    </a:lnTo>
                    <a:lnTo>
                      <a:pt x="606" y="549"/>
                    </a:lnTo>
                    <a:lnTo>
                      <a:pt x="684" y="549"/>
                    </a:lnTo>
                    <a:lnTo>
                      <a:pt x="684" y="668"/>
                    </a:lnTo>
                    <a:close/>
                    <a:moveTo>
                      <a:pt x="684" y="482"/>
                    </a:moveTo>
                    <a:lnTo>
                      <a:pt x="606" y="482"/>
                    </a:lnTo>
                    <a:lnTo>
                      <a:pt x="606" y="365"/>
                    </a:lnTo>
                    <a:lnTo>
                      <a:pt x="684" y="365"/>
                    </a:lnTo>
                    <a:lnTo>
                      <a:pt x="684" y="482"/>
                    </a:lnTo>
                    <a:close/>
                    <a:moveTo>
                      <a:pt x="816" y="668"/>
                    </a:moveTo>
                    <a:lnTo>
                      <a:pt x="738" y="668"/>
                    </a:lnTo>
                    <a:lnTo>
                      <a:pt x="738" y="549"/>
                    </a:lnTo>
                    <a:lnTo>
                      <a:pt x="816" y="549"/>
                    </a:lnTo>
                    <a:lnTo>
                      <a:pt x="816" y="668"/>
                    </a:lnTo>
                    <a:close/>
                    <a:moveTo>
                      <a:pt x="816" y="482"/>
                    </a:moveTo>
                    <a:lnTo>
                      <a:pt x="738" y="482"/>
                    </a:lnTo>
                    <a:lnTo>
                      <a:pt x="738" y="365"/>
                    </a:lnTo>
                    <a:lnTo>
                      <a:pt x="816" y="365"/>
                    </a:lnTo>
                    <a:lnTo>
                      <a:pt x="816" y="482"/>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grpSp>
        <p:sp>
          <p:nvSpPr>
            <p:cNvPr id="84" name="TextBox 83"/>
            <p:cNvSpPr txBox="1"/>
            <p:nvPr/>
          </p:nvSpPr>
          <p:spPr>
            <a:xfrm>
              <a:off x="83345" y="113808"/>
              <a:ext cx="2532630" cy="627864"/>
            </a:xfrm>
            <a:prstGeom prst="rect">
              <a:avLst/>
            </a:prstGeom>
            <a:noFill/>
          </p:spPr>
          <p:txBody>
            <a:bodyPr wrap="square" lIns="182880" tIns="146304" rIns="182880" bIns="146304" rtlCol="0">
              <a:spAutoFit/>
            </a:bodyPr>
            <a:lstStyle>
              <a:defPPr>
                <a:defRPr lang="en-US"/>
              </a:defPPr>
              <a:lvl1pPr>
                <a:lnSpc>
                  <a:spcPct val="90000"/>
                </a:lnSpc>
                <a:spcAft>
                  <a:spcPts val="600"/>
                </a:spcAft>
                <a:defRPr sz="2800" b="1">
                  <a:solidFill>
                    <a:srgbClr val="F2C812"/>
                  </a:solidFill>
                  <a:latin typeface="Segoe UI Light"/>
                </a:defRPr>
              </a:lvl1p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400" b="1" i="0" u="none" strike="noStrike" kern="1200" cap="none" spc="0" normalizeH="0" baseline="0" noProof="0">
                  <a:ln>
                    <a:noFill/>
                  </a:ln>
                  <a:solidFill>
                    <a:srgbClr val="F2C812"/>
                  </a:solidFill>
                  <a:effectLst/>
                  <a:uLnTx/>
                  <a:uFillTx/>
                  <a:latin typeface="Segoe UI Light"/>
                  <a:ea typeface="+mn-ea"/>
                  <a:cs typeface="+mn-cs"/>
                </a:rPr>
                <a:t>Power BI Service</a:t>
              </a:r>
              <a:endParaRPr kumimoji="0" lang="en-US" sz="2800" b="1" i="0" u="none" strike="noStrike" kern="1200" cap="none" spc="0" normalizeH="0" baseline="0" noProof="0">
                <a:ln>
                  <a:noFill/>
                </a:ln>
                <a:solidFill>
                  <a:srgbClr val="F2C812"/>
                </a:solidFill>
                <a:effectLst/>
                <a:uLnTx/>
                <a:uFillTx/>
                <a:latin typeface="Segoe UI Light"/>
                <a:ea typeface="+mn-ea"/>
                <a:cs typeface="+mn-cs"/>
              </a:endParaRPr>
            </a:p>
          </p:txBody>
        </p:sp>
        <p:grpSp>
          <p:nvGrpSpPr>
            <p:cNvPr id="85" name="Group 84"/>
            <p:cNvGrpSpPr/>
            <p:nvPr/>
          </p:nvGrpSpPr>
          <p:grpSpPr>
            <a:xfrm>
              <a:off x="219373" y="3621383"/>
              <a:ext cx="433844" cy="645668"/>
              <a:chOff x="280990" y="3358164"/>
              <a:chExt cx="433844" cy="645668"/>
            </a:xfrm>
          </p:grpSpPr>
          <p:sp>
            <p:nvSpPr>
              <p:cNvPr id="92" name="Oval 1083"/>
              <p:cNvSpPr/>
              <p:nvPr/>
            </p:nvSpPr>
            <p:spPr bwMode="auto">
              <a:xfrm>
                <a:off x="280990" y="3358164"/>
                <a:ext cx="433844" cy="433847"/>
              </a:xfrm>
              <a:prstGeom prst="ellipse">
                <a:avLst/>
              </a:prstGeom>
              <a:solidFill>
                <a:srgbClr val="F2C812"/>
              </a:solidFill>
              <a:ln>
                <a:solidFill>
                  <a:srgbClr val="FFCC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93" name="Group 379"/>
              <p:cNvGrpSpPr/>
              <p:nvPr/>
            </p:nvGrpSpPr>
            <p:grpSpPr>
              <a:xfrm>
                <a:off x="453702" y="3910852"/>
                <a:ext cx="175660" cy="92980"/>
                <a:chOff x="3895793" y="7466656"/>
                <a:chExt cx="785810" cy="415941"/>
              </a:xfrm>
              <a:solidFill>
                <a:srgbClr val="00BCF2"/>
              </a:solidFill>
            </p:grpSpPr>
            <p:sp>
              <p:nvSpPr>
                <p:cNvPr id="94" name="Freeform 132"/>
                <p:cNvSpPr>
                  <a:spLocks/>
                </p:cNvSpPr>
                <p:nvPr/>
              </p:nvSpPr>
              <p:spPr bwMode="auto">
                <a:xfrm>
                  <a:off x="4125979" y="7688918"/>
                  <a:ext cx="0" cy="6353"/>
                </a:xfrm>
                <a:custGeom>
                  <a:avLst/>
                  <a:gdLst>
                    <a:gd name="T0" fmla="*/ 1 w 1"/>
                    <a:gd name="T1" fmla="*/ 0 h 8"/>
                    <a:gd name="T2" fmla="*/ 0 w 1"/>
                    <a:gd name="T3" fmla="*/ 0 h 8"/>
                    <a:gd name="T4" fmla="*/ 1 w 1"/>
                    <a:gd name="T5" fmla="*/ 8 h 8"/>
                    <a:gd name="T6" fmla="*/ 1 w 1"/>
                    <a:gd name="T7" fmla="*/ 0 h 8"/>
                  </a:gdLst>
                  <a:ahLst/>
                  <a:cxnLst>
                    <a:cxn ang="0">
                      <a:pos x="T0" y="T1"/>
                    </a:cxn>
                    <a:cxn ang="0">
                      <a:pos x="T2" y="T3"/>
                    </a:cxn>
                    <a:cxn ang="0">
                      <a:pos x="T4" y="T5"/>
                    </a:cxn>
                    <a:cxn ang="0">
                      <a:pos x="T6" y="T7"/>
                    </a:cxn>
                  </a:cxnLst>
                  <a:rect l="0" t="0" r="r" b="b"/>
                  <a:pathLst>
                    <a:path w="1" h="8">
                      <a:moveTo>
                        <a:pt x="1" y="0"/>
                      </a:moveTo>
                      <a:cubicBezTo>
                        <a:pt x="0" y="0"/>
                        <a:pt x="0" y="0"/>
                        <a:pt x="0" y="0"/>
                      </a:cubicBezTo>
                      <a:cubicBezTo>
                        <a:pt x="0" y="3"/>
                        <a:pt x="1" y="5"/>
                        <a:pt x="1" y="8"/>
                      </a:cubicBezTo>
                      <a:lnTo>
                        <a:pt x="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95" name="Freeform 133"/>
                <p:cNvSpPr>
                  <a:spLocks/>
                </p:cNvSpPr>
                <p:nvPr/>
              </p:nvSpPr>
              <p:spPr bwMode="auto">
                <a:xfrm>
                  <a:off x="3895793" y="7812745"/>
                  <a:ext cx="219078" cy="69852"/>
                </a:xfrm>
                <a:custGeom>
                  <a:avLst/>
                  <a:gdLst>
                    <a:gd name="T0" fmla="*/ 186 w 238"/>
                    <a:gd name="T1" fmla="*/ 9 h 76"/>
                    <a:gd name="T2" fmla="*/ 131 w 238"/>
                    <a:gd name="T3" fmla="*/ 22 h 76"/>
                    <a:gd name="T4" fmla="*/ 60 w 238"/>
                    <a:gd name="T5" fmla="*/ 0 h 76"/>
                    <a:gd name="T6" fmla="*/ 0 w 238"/>
                    <a:gd name="T7" fmla="*/ 42 h 76"/>
                    <a:gd name="T8" fmla="*/ 0 w 238"/>
                    <a:gd name="T9" fmla="*/ 76 h 76"/>
                    <a:gd name="T10" fmla="*/ 238 w 238"/>
                    <a:gd name="T11" fmla="*/ 76 h 76"/>
                    <a:gd name="T12" fmla="*/ 236 w 238"/>
                    <a:gd name="T13" fmla="*/ 53 h 76"/>
                    <a:gd name="T14" fmla="*/ 236 w 238"/>
                    <a:gd name="T15" fmla="*/ 49 h 76"/>
                    <a:gd name="T16" fmla="*/ 186 w 238"/>
                    <a:gd name="T17" fmla="*/ 9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8" h="76">
                      <a:moveTo>
                        <a:pt x="186" y="9"/>
                      </a:moveTo>
                      <a:cubicBezTo>
                        <a:pt x="169" y="18"/>
                        <a:pt x="150" y="22"/>
                        <a:pt x="131" y="22"/>
                      </a:cubicBezTo>
                      <a:cubicBezTo>
                        <a:pt x="105" y="22"/>
                        <a:pt x="80" y="14"/>
                        <a:pt x="60" y="0"/>
                      </a:cubicBezTo>
                      <a:cubicBezTo>
                        <a:pt x="0" y="42"/>
                        <a:pt x="0" y="42"/>
                        <a:pt x="0" y="42"/>
                      </a:cubicBezTo>
                      <a:cubicBezTo>
                        <a:pt x="0" y="76"/>
                        <a:pt x="0" y="76"/>
                        <a:pt x="0" y="76"/>
                      </a:cubicBezTo>
                      <a:cubicBezTo>
                        <a:pt x="238" y="76"/>
                        <a:pt x="238" y="76"/>
                        <a:pt x="238" y="76"/>
                      </a:cubicBezTo>
                      <a:cubicBezTo>
                        <a:pt x="237" y="68"/>
                        <a:pt x="236" y="61"/>
                        <a:pt x="236" y="53"/>
                      </a:cubicBezTo>
                      <a:cubicBezTo>
                        <a:pt x="236" y="51"/>
                        <a:pt x="236" y="50"/>
                        <a:pt x="236" y="49"/>
                      </a:cubicBezTo>
                      <a:lnTo>
                        <a:pt x="186" y="9"/>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96" name="Freeform 137"/>
                <p:cNvSpPr>
                  <a:spLocks/>
                </p:cNvSpPr>
                <p:nvPr/>
              </p:nvSpPr>
              <p:spPr bwMode="auto">
                <a:xfrm>
                  <a:off x="4338704" y="7809561"/>
                  <a:ext cx="65090" cy="73028"/>
                </a:xfrm>
                <a:custGeom>
                  <a:avLst/>
                  <a:gdLst>
                    <a:gd name="T0" fmla="*/ 71 w 71"/>
                    <a:gd name="T1" fmla="*/ 79 h 79"/>
                    <a:gd name="T2" fmla="*/ 71 w 71"/>
                    <a:gd name="T3" fmla="*/ 0 h 79"/>
                    <a:gd name="T4" fmla="*/ 2 w 71"/>
                    <a:gd name="T5" fmla="*/ 53 h 79"/>
                    <a:gd name="T6" fmla="*/ 2 w 71"/>
                    <a:gd name="T7" fmla="*/ 56 h 79"/>
                    <a:gd name="T8" fmla="*/ 0 w 71"/>
                    <a:gd name="T9" fmla="*/ 79 h 79"/>
                    <a:gd name="T10" fmla="*/ 71 w 71"/>
                    <a:gd name="T11" fmla="*/ 79 h 79"/>
                  </a:gdLst>
                  <a:ahLst/>
                  <a:cxnLst>
                    <a:cxn ang="0">
                      <a:pos x="T0" y="T1"/>
                    </a:cxn>
                    <a:cxn ang="0">
                      <a:pos x="T2" y="T3"/>
                    </a:cxn>
                    <a:cxn ang="0">
                      <a:pos x="T4" y="T5"/>
                    </a:cxn>
                    <a:cxn ang="0">
                      <a:pos x="T6" y="T7"/>
                    </a:cxn>
                    <a:cxn ang="0">
                      <a:pos x="T8" y="T9"/>
                    </a:cxn>
                    <a:cxn ang="0">
                      <a:pos x="T10" y="T11"/>
                    </a:cxn>
                  </a:cxnLst>
                  <a:rect l="0" t="0" r="r" b="b"/>
                  <a:pathLst>
                    <a:path w="71" h="79">
                      <a:moveTo>
                        <a:pt x="71" y="79"/>
                      </a:moveTo>
                      <a:cubicBezTo>
                        <a:pt x="71" y="0"/>
                        <a:pt x="71" y="0"/>
                        <a:pt x="71" y="0"/>
                      </a:cubicBezTo>
                      <a:cubicBezTo>
                        <a:pt x="2" y="53"/>
                        <a:pt x="2" y="53"/>
                        <a:pt x="2" y="53"/>
                      </a:cubicBezTo>
                      <a:cubicBezTo>
                        <a:pt x="2" y="54"/>
                        <a:pt x="2" y="55"/>
                        <a:pt x="2" y="56"/>
                      </a:cubicBezTo>
                      <a:cubicBezTo>
                        <a:pt x="2" y="64"/>
                        <a:pt x="1" y="71"/>
                        <a:pt x="0" y="79"/>
                      </a:cubicBezTo>
                      <a:lnTo>
                        <a:pt x="71" y="79"/>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97" name="Freeform 140"/>
                <p:cNvSpPr>
                  <a:spLocks/>
                </p:cNvSpPr>
                <p:nvPr/>
              </p:nvSpPr>
              <p:spPr bwMode="auto">
                <a:xfrm>
                  <a:off x="4600643" y="7622229"/>
                  <a:ext cx="80960" cy="38099"/>
                </a:xfrm>
                <a:custGeom>
                  <a:avLst/>
                  <a:gdLst>
                    <a:gd name="T0" fmla="*/ 0 w 51"/>
                    <a:gd name="T1" fmla="*/ 24 h 24"/>
                    <a:gd name="T2" fmla="*/ 51 w 51"/>
                    <a:gd name="T3" fmla="*/ 24 h 24"/>
                    <a:gd name="T4" fmla="*/ 32 w 51"/>
                    <a:gd name="T5" fmla="*/ 0 h 24"/>
                    <a:gd name="T6" fmla="*/ 0 w 51"/>
                    <a:gd name="T7" fmla="*/ 24 h 24"/>
                  </a:gdLst>
                  <a:ahLst/>
                  <a:cxnLst>
                    <a:cxn ang="0">
                      <a:pos x="T0" y="T1"/>
                    </a:cxn>
                    <a:cxn ang="0">
                      <a:pos x="T2" y="T3"/>
                    </a:cxn>
                    <a:cxn ang="0">
                      <a:pos x="T4" y="T5"/>
                    </a:cxn>
                    <a:cxn ang="0">
                      <a:pos x="T6" y="T7"/>
                    </a:cxn>
                  </a:cxnLst>
                  <a:rect l="0" t="0" r="r" b="b"/>
                  <a:pathLst>
                    <a:path w="51" h="24">
                      <a:moveTo>
                        <a:pt x="0" y="24"/>
                      </a:moveTo>
                      <a:lnTo>
                        <a:pt x="51" y="24"/>
                      </a:lnTo>
                      <a:lnTo>
                        <a:pt x="32" y="0"/>
                      </a:lnTo>
                      <a:lnTo>
                        <a:pt x="0" y="24"/>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98" name="Freeform 141"/>
                <p:cNvSpPr>
                  <a:spLocks/>
                </p:cNvSpPr>
                <p:nvPr/>
              </p:nvSpPr>
              <p:spPr bwMode="auto">
                <a:xfrm>
                  <a:off x="4449825" y="7466656"/>
                  <a:ext cx="119065" cy="139703"/>
                </a:xfrm>
                <a:custGeom>
                  <a:avLst/>
                  <a:gdLst>
                    <a:gd name="T0" fmla="*/ 52 w 75"/>
                    <a:gd name="T1" fmla="*/ 0 h 88"/>
                    <a:gd name="T2" fmla="*/ 0 w 75"/>
                    <a:gd name="T3" fmla="*/ 0 h 88"/>
                    <a:gd name="T4" fmla="*/ 0 w 75"/>
                    <a:gd name="T5" fmla="*/ 88 h 88"/>
                    <a:gd name="T6" fmla="*/ 75 w 75"/>
                    <a:gd name="T7" fmla="*/ 30 h 88"/>
                    <a:gd name="T8" fmla="*/ 52 w 75"/>
                    <a:gd name="T9" fmla="*/ 0 h 88"/>
                  </a:gdLst>
                  <a:ahLst/>
                  <a:cxnLst>
                    <a:cxn ang="0">
                      <a:pos x="T0" y="T1"/>
                    </a:cxn>
                    <a:cxn ang="0">
                      <a:pos x="T2" y="T3"/>
                    </a:cxn>
                    <a:cxn ang="0">
                      <a:pos x="T4" y="T5"/>
                    </a:cxn>
                    <a:cxn ang="0">
                      <a:pos x="T6" y="T7"/>
                    </a:cxn>
                    <a:cxn ang="0">
                      <a:pos x="T8" y="T9"/>
                    </a:cxn>
                  </a:cxnLst>
                  <a:rect l="0" t="0" r="r" b="b"/>
                  <a:pathLst>
                    <a:path w="75" h="88">
                      <a:moveTo>
                        <a:pt x="52" y="0"/>
                      </a:moveTo>
                      <a:lnTo>
                        <a:pt x="0" y="0"/>
                      </a:lnTo>
                      <a:lnTo>
                        <a:pt x="0" y="88"/>
                      </a:lnTo>
                      <a:lnTo>
                        <a:pt x="75" y="30"/>
                      </a:lnTo>
                      <a:lnTo>
                        <a:pt x="52"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grpSp>
        </p:grpSp>
        <p:sp>
          <p:nvSpPr>
            <p:cNvPr id="86" name="Rectangle 152"/>
            <p:cNvSpPr/>
            <p:nvPr/>
          </p:nvSpPr>
          <p:spPr bwMode="auto">
            <a:xfrm>
              <a:off x="712458" y="3628917"/>
              <a:ext cx="1805162" cy="37532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2C812"/>
                  </a:solidFill>
                  <a:effectLst/>
                  <a:uLnTx/>
                  <a:uFillTx/>
                  <a:latin typeface="Segoe UI"/>
                  <a:ea typeface="+mn-ea"/>
                  <a:cs typeface="Segoe UI Light" panose="020B0502040204020203" pitchFamily="34" charset="0"/>
                </a:rPr>
                <a:t>Q&amp;A and </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2C812"/>
                  </a:solidFill>
                  <a:effectLst/>
                  <a:uLnTx/>
                  <a:uFillTx/>
                  <a:latin typeface="Segoe UI"/>
                  <a:ea typeface="+mn-ea"/>
                  <a:cs typeface="Segoe UI Light" panose="020B0502040204020203" pitchFamily="34" charset="0"/>
                </a:rPr>
                <a:t>Quick Insights</a:t>
              </a:r>
              <a:endParaRPr kumimoji="0" lang="en-US" sz="1200" b="1" i="0" u="none" strike="noStrike" kern="1200" cap="none" spc="0" normalizeH="0" baseline="0" noProof="0">
                <a:ln>
                  <a:noFill/>
                </a:ln>
                <a:solidFill>
                  <a:srgbClr val="F2C812"/>
                </a:solidFill>
                <a:effectLst/>
                <a:uLnTx/>
                <a:uFillTx/>
                <a:latin typeface="Segoe UI"/>
                <a:ea typeface="+mn-ea"/>
                <a:cs typeface="Segoe UI Light" panose="020B0502040204020203" pitchFamily="34" charset="0"/>
              </a:endParaRPr>
            </a:p>
          </p:txBody>
        </p:sp>
        <p:sp>
          <p:nvSpPr>
            <p:cNvPr id="88" name="Oval 162"/>
            <p:cNvSpPr/>
            <p:nvPr/>
          </p:nvSpPr>
          <p:spPr bwMode="auto">
            <a:xfrm>
              <a:off x="226619" y="4551712"/>
              <a:ext cx="433844" cy="433844"/>
            </a:xfrm>
            <a:prstGeom prst="ellipse">
              <a:avLst/>
            </a:prstGeom>
            <a:solidFill>
              <a:srgbClr val="F2C812"/>
            </a:solidFill>
            <a:ln>
              <a:solidFill>
                <a:srgbClr val="FFCC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9" name="Rectangle 152"/>
            <p:cNvSpPr/>
            <p:nvPr/>
          </p:nvSpPr>
          <p:spPr bwMode="auto">
            <a:xfrm>
              <a:off x="738443" y="4596194"/>
              <a:ext cx="1884825" cy="30233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2C812"/>
                  </a:solidFill>
                  <a:effectLst/>
                  <a:uLnTx/>
                  <a:uFillTx/>
                  <a:latin typeface="Segoe UI"/>
                  <a:ea typeface="+mn-ea"/>
                  <a:cs typeface="Segoe UI Light" panose="020B0502040204020203" pitchFamily="34" charset="0"/>
                </a:rPr>
                <a:t>Sharing</a:t>
              </a:r>
              <a:endParaRPr kumimoji="0" lang="en-US" sz="1200" b="1" i="1" u="none" strike="noStrike" kern="1200" cap="none" spc="0" normalizeH="0" baseline="0" noProof="0">
                <a:ln>
                  <a:noFill/>
                </a:ln>
                <a:solidFill>
                  <a:srgbClr val="F2C812"/>
                </a:solidFill>
                <a:effectLst/>
                <a:uLnTx/>
                <a:uFillTx/>
                <a:latin typeface="Segoe UI"/>
                <a:ea typeface="+mn-ea"/>
                <a:cs typeface="Segoe UI Light" panose="020B0502040204020203" pitchFamily="34" charset="0"/>
              </a:endParaRPr>
            </a:p>
          </p:txBody>
        </p:sp>
        <p:sp>
          <p:nvSpPr>
            <p:cNvPr id="90" name="Rectangle 145"/>
            <p:cNvSpPr/>
            <p:nvPr/>
          </p:nvSpPr>
          <p:spPr bwMode="auto">
            <a:xfrm>
              <a:off x="697198" y="1847637"/>
              <a:ext cx="1821468" cy="3831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2C812"/>
                  </a:solidFill>
                  <a:effectLst/>
                  <a:uLnTx/>
                  <a:uFillTx/>
                  <a:latin typeface="Segoe UI"/>
                  <a:ea typeface="+mn-ea"/>
                  <a:cs typeface="Segoe UI Light" panose="020B0502040204020203" pitchFamily="34" charset="0"/>
                </a:rPr>
                <a:t>Pinning and Navigation</a:t>
              </a:r>
            </a:p>
          </p:txBody>
        </p:sp>
        <p:sp>
          <p:nvSpPr>
            <p:cNvPr id="91" name="Oval 162"/>
            <p:cNvSpPr/>
            <p:nvPr/>
          </p:nvSpPr>
          <p:spPr bwMode="auto">
            <a:xfrm>
              <a:off x="224136" y="1813606"/>
              <a:ext cx="433844" cy="433844"/>
            </a:xfrm>
            <a:prstGeom prst="ellipse">
              <a:avLst/>
            </a:prstGeom>
            <a:solidFill>
              <a:srgbClr val="FFCC00"/>
            </a:solidFill>
            <a:ln>
              <a:solidFill>
                <a:srgbClr val="F2C81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pic>
        <p:nvPicPr>
          <p:cNvPr id="105" name="Picture 104"/>
          <p:cNvPicPr>
            <a:picLocks noChangeAspect="1"/>
          </p:cNvPicPr>
          <p:nvPr/>
        </p:nvPicPr>
        <p:blipFill rotWithShape="1">
          <a:blip r:embed="rId4"/>
          <a:srcRect l="6503" t="21287" r="74698" b="20220"/>
          <a:stretch/>
        </p:blipFill>
        <p:spPr>
          <a:xfrm>
            <a:off x="339111" y="1946110"/>
            <a:ext cx="228600" cy="231962"/>
          </a:xfrm>
          <a:prstGeom prst="rect">
            <a:avLst/>
          </a:prstGeom>
        </p:spPr>
      </p:pic>
      <p:pic>
        <p:nvPicPr>
          <p:cNvPr id="106" name="Picture 105"/>
          <p:cNvPicPr>
            <a:picLocks noChangeAspect="1"/>
          </p:cNvPicPr>
          <p:nvPr/>
        </p:nvPicPr>
        <p:blipFill>
          <a:blip r:embed="rId5"/>
          <a:stretch>
            <a:fillRect/>
          </a:stretch>
        </p:blipFill>
        <p:spPr>
          <a:xfrm>
            <a:off x="284769" y="3673076"/>
            <a:ext cx="311766" cy="303106"/>
          </a:xfrm>
          <a:prstGeom prst="rect">
            <a:avLst/>
          </a:prstGeom>
        </p:spPr>
      </p:pic>
      <p:sp>
        <p:nvSpPr>
          <p:cNvPr id="107" name="Rectangle 145"/>
          <p:cNvSpPr/>
          <p:nvPr/>
        </p:nvSpPr>
        <p:spPr bwMode="auto">
          <a:xfrm>
            <a:off x="718897" y="5436715"/>
            <a:ext cx="1821468" cy="3831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2C812"/>
                </a:solidFill>
                <a:effectLst/>
                <a:uLnTx/>
                <a:uFillTx/>
                <a:latin typeface="Segoe UI"/>
                <a:ea typeface="+mn-ea"/>
                <a:cs typeface="Segoe UI Light" panose="020B0502040204020203" pitchFamily="34" charset="0"/>
              </a:rPr>
              <a:t>Connect from Excel</a:t>
            </a:r>
          </a:p>
        </p:txBody>
      </p:sp>
      <p:sp>
        <p:nvSpPr>
          <p:cNvPr id="108" name="Oval 162"/>
          <p:cNvSpPr/>
          <p:nvPr/>
        </p:nvSpPr>
        <p:spPr bwMode="auto">
          <a:xfrm>
            <a:off x="231441" y="5429649"/>
            <a:ext cx="433844" cy="433844"/>
          </a:xfrm>
          <a:prstGeom prst="ellipse">
            <a:avLst/>
          </a:prstGeom>
          <a:solidFill>
            <a:srgbClr val="FFCC00"/>
          </a:solidFill>
          <a:ln>
            <a:solidFill>
              <a:srgbClr val="F2C81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09" name="Picture 108"/>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flipH="1">
            <a:off x="283763" y="4596680"/>
            <a:ext cx="357484" cy="357484"/>
          </a:xfrm>
          <a:prstGeom prst="rect">
            <a:avLst/>
          </a:prstGeom>
        </p:spPr>
      </p:pic>
      <p:sp>
        <p:nvSpPr>
          <p:cNvPr id="110" name="Oval 162"/>
          <p:cNvSpPr/>
          <p:nvPr/>
        </p:nvSpPr>
        <p:spPr bwMode="auto">
          <a:xfrm>
            <a:off x="233032" y="6267344"/>
            <a:ext cx="433844" cy="433844"/>
          </a:xfrm>
          <a:prstGeom prst="ellipse">
            <a:avLst/>
          </a:prstGeom>
          <a:solidFill>
            <a:srgbClr val="FFCC00"/>
          </a:solidFill>
          <a:ln>
            <a:solidFill>
              <a:srgbClr val="F2C81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1" name="Rectangle 145"/>
          <p:cNvSpPr/>
          <p:nvPr/>
        </p:nvSpPr>
        <p:spPr bwMode="auto">
          <a:xfrm>
            <a:off x="701416" y="6289969"/>
            <a:ext cx="1821468" cy="3831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2C812"/>
                </a:solidFill>
                <a:effectLst/>
                <a:uLnTx/>
                <a:uFillTx/>
                <a:latin typeface="Segoe UI"/>
                <a:ea typeface="+mn-ea"/>
                <a:cs typeface="Segoe UI Light" panose="020B0502040204020203" pitchFamily="34" charset="0"/>
              </a:rPr>
              <a:t>Mobile Reports</a:t>
            </a:r>
          </a:p>
        </p:txBody>
      </p:sp>
      <p:pic>
        <p:nvPicPr>
          <p:cNvPr id="112" name="Picture 111"/>
          <p:cNvPicPr>
            <a:picLocks noChangeAspect="1"/>
          </p:cNvPicPr>
          <p:nvPr/>
        </p:nvPicPr>
        <p:blipFill>
          <a:blip r:embed="rId7" cstate="print">
            <a:extLst>
              <a:ext uri="{BEBA8EAE-BF5A-486C-A8C5-ECC9F3942E4B}">
                <a14:imgProps xmlns:a14="http://schemas.microsoft.com/office/drawing/2010/main">
                  <a14:imgLayer r:embed="rId8">
                    <a14:imgEffect>
                      <a14:saturation sat="0"/>
                    </a14:imgEffect>
                  </a14:imgLayer>
                </a14:imgProps>
              </a:ext>
              <a:ext uri="{28A0092B-C50C-407E-A947-70E740481C1C}">
                <a14:useLocalDpi xmlns:a14="http://schemas.microsoft.com/office/drawing/2010/main" val="0"/>
              </a:ext>
            </a:extLst>
          </a:blip>
          <a:stretch>
            <a:fillRect/>
          </a:stretch>
        </p:blipFill>
        <p:spPr>
          <a:xfrm>
            <a:off x="391946" y="6350039"/>
            <a:ext cx="133350" cy="251587"/>
          </a:xfrm>
          <a:prstGeom prst="rect">
            <a:avLst/>
          </a:prstGeom>
        </p:spPr>
      </p:pic>
      <p:pic>
        <p:nvPicPr>
          <p:cNvPr id="113" name="Picture 112"/>
          <p:cNvPicPr>
            <a:picLocks noChangeAspect="1"/>
          </p:cNvPicPr>
          <p:nvPr/>
        </p:nvPicPr>
        <p:blipFill>
          <a:blip r:embed="rId9" cstate="print">
            <a:biLevel thresh="50000"/>
            <a:extLst>
              <a:ext uri="{28A0092B-C50C-407E-A947-70E740481C1C}">
                <a14:useLocalDpi xmlns:a14="http://schemas.microsoft.com/office/drawing/2010/main" val="0"/>
              </a:ext>
            </a:extLst>
          </a:blip>
          <a:stretch>
            <a:fillRect/>
          </a:stretch>
        </p:blipFill>
        <p:spPr>
          <a:xfrm>
            <a:off x="332658" y="5538489"/>
            <a:ext cx="268940" cy="268940"/>
          </a:xfrm>
          <a:prstGeom prst="rect">
            <a:avLst/>
          </a:prstGeom>
        </p:spPr>
      </p:pic>
      <p:sp>
        <p:nvSpPr>
          <p:cNvPr id="114" name="Rectangle 113"/>
          <p:cNvSpPr/>
          <p:nvPr/>
        </p:nvSpPr>
        <p:spPr bwMode="auto">
          <a:xfrm>
            <a:off x="35912" y="5223435"/>
            <a:ext cx="2464420" cy="1564989"/>
          </a:xfrm>
          <a:prstGeom prst="rect">
            <a:avLst/>
          </a:prstGeom>
          <a:solidFill>
            <a:srgbClr val="000000">
              <a:alpha val="6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5" name="Rectangle 114"/>
          <p:cNvSpPr/>
          <p:nvPr/>
        </p:nvSpPr>
        <p:spPr bwMode="auto">
          <a:xfrm>
            <a:off x="95936" y="731575"/>
            <a:ext cx="2464420" cy="3635751"/>
          </a:xfrm>
          <a:prstGeom prst="rect">
            <a:avLst/>
          </a:prstGeom>
          <a:solidFill>
            <a:srgbClr val="000000">
              <a:alpha val="6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1799910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 name="Title 10"/>
          <p:cNvSpPr txBox="1">
            <a:spLocks/>
          </p:cNvSpPr>
          <p:nvPr/>
        </p:nvSpPr>
        <p:spPr>
          <a:xfrm>
            <a:off x="2982006" y="9056"/>
            <a:ext cx="9092764" cy="665151"/>
          </a:xfrm>
          <a:prstGeom prst="rect">
            <a:avLst/>
          </a:prstGeom>
          <a:noFill/>
        </p:spPr>
        <p:txBody>
          <a:bodyPr vert="horz" wrap="square" lIns="0" tIns="91440" rIns="0" bIns="91440" rtlCol="0" anchor="t">
            <a:noAutofit/>
          </a:bodyPr>
          <a:lstStyle>
            <a:lvl1pPr defTabSz="914367">
              <a:lnSpc>
                <a:spcPct val="90000"/>
              </a:lnSpc>
              <a:spcBef>
                <a:spcPct val="0"/>
              </a:spcBef>
              <a:buNone/>
              <a:defRPr lang="en-US" sz="5294" b="0" cap="none" spc="-100" baseline="0" dirty="0" smtClean="0">
                <a:ln w="3175">
                  <a:noFill/>
                </a:ln>
                <a:solidFill>
                  <a:schemeClr val="tx2"/>
                </a:solidFill>
                <a:effectLst/>
                <a:latin typeface="+mj-lt"/>
                <a:cs typeface="Segoe UI" pitchFamily="34" charset="0"/>
              </a:defRPr>
            </a:lvl1pPr>
          </a:lstStyle>
          <a:p>
            <a:pPr marL="168275"/>
            <a:r>
              <a:rPr lang="en-US" sz="3600">
                <a:solidFill>
                  <a:schemeClr val="tx1"/>
                </a:solidFill>
              </a:rPr>
              <a:t>Connect to data from your files</a:t>
            </a:r>
          </a:p>
          <a:p>
            <a:pPr marL="168275"/>
            <a:endParaRPr lang="en-US" sz="3600" b="1">
              <a:solidFill>
                <a:schemeClr val="tx1"/>
              </a:solidFill>
            </a:endParaRPr>
          </a:p>
          <a:p>
            <a:pPr marL="168275"/>
            <a:endParaRPr lang="en-IN" sz="3600">
              <a:solidFill>
                <a:schemeClr val="tx1"/>
              </a:solidFill>
            </a:endParaRPr>
          </a:p>
        </p:txBody>
      </p:sp>
      <p:sp>
        <p:nvSpPr>
          <p:cNvPr id="37" name="Rectangle 15"/>
          <p:cNvSpPr/>
          <p:nvPr/>
        </p:nvSpPr>
        <p:spPr bwMode="auto">
          <a:xfrm>
            <a:off x="2" y="487"/>
            <a:ext cx="2815441" cy="685702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38" name="TextBox 37"/>
          <p:cNvSpPr txBox="1"/>
          <p:nvPr/>
        </p:nvSpPr>
        <p:spPr>
          <a:xfrm>
            <a:off x="2" y="487"/>
            <a:ext cx="2815441" cy="683264"/>
          </a:xfrm>
          <a:prstGeom prst="rect">
            <a:avLst/>
          </a:prstGeom>
          <a:noFill/>
        </p:spPr>
        <p:txBody>
          <a:bodyPr wrap="square" lIns="182880" tIns="146304" rIns="182880" bIns="146304" rtlCol="0">
            <a:spAutoFit/>
          </a:bodyPr>
          <a:lstStyle>
            <a:defPPr>
              <a:defRPr lang="en-US"/>
            </a:defPPr>
            <a:lvl1pPr>
              <a:lnSpc>
                <a:spcPct val="90000"/>
              </a:lnSpc>
              <a:spcAft>
                <a:spcPts val="600"/>
              </a:spcAft>
              <a:defRPr sz="2800" b="1">
                <a:solidFill>
                  <a:srgbClr val="F2C812"/>
                </a:solidFill>
                <a:latin typeface="Segoe UI Light"/>
              </a:defRPr>
            </a:lvl1pPr>
          </a:lstStyle>
          <a:p>
            <a:r>
              <a:rPr lang="en-US"/>
              <a:t>IT challenges</a:t>
            </a:r>
          </a:p>
        </p:txBody>
      </p:sp>
      <p:grpSp>
        <p:nvGrpSpPr>
          <p:cNvPr id="39" name="Group 38"/>
          <p:cNvGrpSpPr/>
          <p:nvPr/>
        </p:nvGrpSpPr>
        <p:grpSpPr>
          <a:xfrm>
            <a:off x="151322" y="867914"/>
            <a:ext cx="2636411" cy="548640"/>
            <a:chOff x="179032" y="1123407"/>
            <a:chExt cx="2636411" cy="548640"/>
          </a:xfrm>
        </p:grpSpPr>
        <p:sp>
          <p:nvSpPr>
            <p:cNvPr id="40" name="Oval 147"/>
            <p:cNvSpPr/>
            <p:nvPr/>
          </p:nvSpPr>
          <p:spPr bwMode="auto">
            <a:xfrm>
              <a:off x="179032" y="1123407"/>
              <a:ext cx="548640" cy="548640"/>
            </a:xfrm>
            <a:prstGeom prst="ellipse">
              <a:avLst/>
            </a:prstGeom>
            <a:solidFill>
              <a:srgbClr val="FFCC00"/>
            </a:solidFill>
            <a:ln>
              <a:solidFill>
                <a:srgbClr val="F2C81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err="1">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145"/>
            <p:cNvSpPr/>
            <p:nvPr/>
          </p:nvSpPr>
          <p:spPr bwMode="auto">
            <a:xfrm>
              <a:off x="805048" y="1206147"/>
              <a:ext cx="2010395" cy="3831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14367"/>
              <a:r>
                <a:rPr lang="en-US" sz="1400" b="1">
                  <a:solidFill>
                    <a:srgbClr val="F2C812"/>
                  </a:solidFill>
                  <a:cs typeface="Segoe UI Light" panose="020B0502040204020203" pitchFamily="34" charset="0"/>
                </a:rPr>
                <a:t>Management of BI systems</a:t>
              </a:r>
              <a:endParaRPr lang="en-US" sz="1200" b="1" i="1">
                <a:solidFill>
                  <a:srgbClr val="F2C812"/>
                </a:solidFill>
                <a:cs typeface="Segoe UI Light" panose="020B0502040204020203" pitchFamily="34" charset="0"/>
              </a:endParaRPr>
            </a:p>
          </p:txBody>
        </p:sp>
      </p:grpSp>
      <p:grpSp>
        <p:nvGrpSpPr>
          <p:cNvPr id="42" name="Group 41"/>
          <p:cNvGrpSpPr/>
          <p:nvPr/>
        </p:nvGrpSpPr>
        <p:grpSpPr>
          <a:xfrm>
            <a:off x="151322" y="1832204"/>
            <a:ext cx="2636411" cy="548640"/>
            <a:chOff x="212649" y="1959486"/>
            <a:chExt cx="2636411" cy="548640"/>
          </a:xfrm>
        </p:grpSpPr>
        <p:sp>
          <p:nvSpPr>
            <p:cNvPr id="43" name="Oval 147"/>
            <p:cNvSpPr/>
            <p:nvPr/>
          </p:nvSpPr>
          <p:spPr bwMode="auto">
            <a:xfrm>
              <a:off x="212649" y="1959486"/>
              <a:ext cx="548640" cy="548640"/>
            </a:xfrm>
            <a:prstGeom prst="ellipse">
              <a:avLst/>
            </a:prstGeom>
            <a:solidFill>
              <a:srgbClr val="FFCC00"/>
            </a:solidFill>
            <a:ln>
              <a:solidFill>
                <a:srgbClr val="F2C81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err="1">
                <a:gradFill>
                  <a:gsLst>
                    <a:gs pos="0">
                      <a:srgbClr val="FFFFFF"/>
                    </a:gs>
                    <a:gs pos="100000">
                      <a:srgbClr val="FFFFFF"/>
                    </a:gs>
                  </a:gsLst>
                  <a:lin ang="5400000" scaled="0"/>
                </a:gradFill>
                <a:ea typeface="Segoe UI" pitchFamily="34" charset="0"/>
                <a:cs typeface="Segoe UI" pitchFamily="34" charset="0"/>
              </a:endParaRPr>
            </a:p>
          </p:txBody>
        </p:sp>
        <p:sp>
          <p:nvSpPr>
            <p:cNvPr id="44" name="Rectangle 145"/>
            <p:cNvSpPr/>
            <p:nvPr/>
          </p:nvSpPr>
          <p:spPr bwMode="auto">
            <a:xfrm>
              <a:off x="838665" y="2042226"/>
              <a:ext cx="2010395" cy="3831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14367"/>
              <a:r>
                <a:rPr lang="en-US" sz="1400" b="1">
                  <a:solidFill>
                    <a:srgbClr val="F2C812"/>
                  </a:solidFill>
                  <a:cs typeface="Segoe UI Light" panose="020B0502040204020203" pitchFamily="34" charset="0"/>
                </a:rPr>
                <a:t>Variety of data sources</a:t>
              </a:r>
              <a:endParaRPr lang="en-US" sz="1200" b="1" i="1">
                <a:solidFill>
                  <a:srgbClr val="F2C812"/>
                </a:solidFill>
                <a:cs typeface="Segoe UI Light" panose="020B0502040204020203" pitchFamily="34" charset="0"/>
              </a:endParaRPr>
            </a:p>
          </p:txBody>
        </p:sp>
      </p:grpSp>
      <p:grpSp>
        <p:nvGrpSpPr>
          <p:cNvPr id="45" name="Group 44"/>
          <p:cNvGrpSpPr/>
          <p:nvPr/>
        </p:nvGrpSpPr>
        <p:grpSpPr>
          <a:xfrm>
            <a:off x="151322" y="2796494"/>
            <a:ext cx="2636411" cy="548640"/>
            <a:chOff x="179032" y="1123407"/>
            <a:chExt cx="2636411" cy="548640"/>
          </a:xfrm>
        </p:grpSpPr>
        <p:sp>
          <p:nvSpPr>
            <p:cNvPr id="46" name="Oval 147"/>
            <p:cNvSpPr/>
            <p:nvPr/>
          </p:nvSpPr>
          <p:spPr bwMode="auto">
            <a:xfrm>
              <a:off x="179032" y="1123407"/>
              <a:ext cx="548640" cy="548640"/>
            </a:xfrm>
            <a:prstGeom prst="ellipse">
              <a:avLst/>
            </a:prstGeom>
            <a:solidFill>
              <a:srgbClr val="FFCC00"/>
            </a:solidFill>
            <a:ln>
              <a:solidFill>
                <a:srgbClr val="F2C81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err="1">
                <a:gradFill>
                  <a:gsLst>
                    <a:gs pos="0">
                      <a:srgbClr val="FFFFFF"/>
                    </a:gs>
                    <a:gs pos="100000">
                      <a:srgbClr val="FFFFFF"/>
                    </a:gs>
                  </a:gsLst>
                  <a:lin ang="5400000" scaled="0"/>
                </a:gradFill>
                <a:ea typeface="Segoe UI" pitchFamily="34" charset="0"/>
                <a:cs typeface="Segoe UI" pitchFamily="34" charset="0"/>
              </a:endParaRPr>
            </a:p>
          </p:txBody>
        </p:sp>
        <p:sp>
          <p:nvSpPr>
            <p:cNvPr id="47" name="Rectangle 145"/>
            <p:cNvSpPr/>
            <p:nvPr/>
          </p:nvSpPr>
          <p:spPr bwMode="auto">
            <a:xfrm>
              <a:off x="805048" y="1206147"/>
              <a:ext cx="2010395" cy="3831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14367"/>
              <a:r>
                <a:rPr lang="en-US" sz="1400" b="1">
                  <a:solidFill>
                    <a:srgbClr val="F2C812"/>
                  </a:solidFill>
                  <a:cs typeface="Segoe UI Light" panose="020B0502040204020203" pitchFamily="34" charset="0"/>
                </a:rPr>
                <a:t>Managing data in the cloud</a:t>
              </a:r>
              <a:endParaRPr lang="en-US" sz="1200" b="1" i="1">
                <a:solidFill>
                  <a:srgbClr val="F2C812"/>
                </a:solidFill>
                <a:cs typeface="Segoe UI Light" panose="020B0502040204020203" pitchFamily="34" charset="0"/>
              </a:endParaRPr>
            </a:p>
          </p:txBody>
        </p:sp>
      </p:grpSp>
      <p:grpSp>
        <p:nvGrpSpPr>
          <p:cNvPr id="48" name="Group 47"/>
          <p:cNvGrpSpPr/>
          <p:nvPr/>
        </p:nvGrpSpPr>
        <p:grpSpPr>
          <a:xfrm>
            <a:off x="151322" y="3760784"/>
            <a:ext cx="2636411" cy="548640"/>
            <a:chOff x="179032" y="1123407"/>
            <a:chExt cx="2636411" cy="548640"/>
          </a:xfrm>
        </p:grpSpPr>
        <p:sp>
          <p:nvSpPr>
            <p:cNvPr id="50" name="Oval 147"/>
            <p:cNvSpPr/>
            <p:nvPr/>
          </p:nvSpPr>
          <p:spPr bwMode="auto">
            <a:xfrm>
              <a:off x="179032" y="1123407"/>
              <a:ext cx="548640" cy="548640"/>
            </a:xfrm>
            <a:prstGeom prst="ellipse">
              <a:avLst/>
            </a:prstGeom>
            <a:solidFill>
              <a:srgbClr val="FFCC00"/>
            </a:solidFill>
            <a:ln>
              <a:solidFill>
                <a:srgbClr val="F2C81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err="1">
                <a:gradFill>
                  <a:gsLst>
                    <a:gs pos="0">
                      <a:srgbClr val="FFFFFF"/>
                    </a:gs>
                    <a:gs pos="100000">
                      <a:srgbClr val="FFFFFF"/>
                    </a:gs>
                  </a:gsLst>
                  <a:lin ang="5400000" scaled="0"/>
                </a:gradFill>
                <a:ea typeface="Segoe UI" pitchFamily="34" charset="0"/>
                <a:cs typeface="Segoe UI" pitchFamily="34" charset="0"/>
              </a:endParaRPr>
            </a:p>
          </p:txBody>
        </p:sp>
        <p:sp>
          <p:nvSpPr>
            <p:cNvPr id="51" name="Rectangle 145"/>
            <p:cNvSpPr/>
            <p:nvPr/>
          </p:nvSpPr>
          <p:spPr bwMode="auto">
            <a:xfrm>
              <a:off x="805048" y="1206147"/>
              <a:ext cx="2010395" cy="3831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14367"/>
              <a:r>
                <a:rPr lang="en-US" sz="1400" b="1">
                  <a:solidFill>
                    <a:srgbClr val="F2C812"/>
                  </a:solidFill>
                  <a:cs typeface="Segoe UI Light" panose="020B0502040204020203" pitchFamily="34" charset="0"/>
                </a:rPr>
                <a:t>Integration with existing environment</a:t>
              </a:r>
              <a:endParaRPr lang="en-US" sz="1200" b="1" i="1">
                <a:solidFill>
                  <a:srgbClr val="F2C812"/>
                </a:solidFill>
                <a:cs typeface="Segoe UI Light" panose="020B0502040204020203" pitchFamily="34" charset="0"/>
              </a:endParaRPr>
            </a:p>
          </p:txBody>
        </p:sp>
      </p:grpSp>
      <p:grpSp>
        <p:nvGrpSpPr>
          <p:cNvPr id="52" name="Group 51"/>
          <p:cNvGrpSpPr/>
          <p:nvPr/>
        </p:nvGrpSpPr>
        <p:grpSpPr>
          <a:xfrm>
            <a:off x="132176" y="4725074"/>
            <a:ext cx="2655557" cy="548640"/>
            <a:chOff x="159886" y="1123407"/>
            <a:chExt cx="2655557" cy="548640"/>
          </a:xfrm>
        </p:grpSpPr>
        <p:sp>
          <p:nvSpPr>
            <p:cNvPr id="54" name="Oval 147"/>
            <p:cNvSpPr/>
            <p:nvPr/>
          </p:nvSpPr>
          <p:spPr bwMode="auto">
            <a:xfrm>
              <a:off x="159886" y="1123407"/>
              <a:ext cx="548640" cy="548640"/>
            </a:xfrm>
            <a:prstGeom prst="ellipse">
              <a:avLst/>
            </a:prstGeom>
            <a:solidFill>
              <a:srgbClr val="FFCC00"/>
            </a:solidFill>
            <a:ln>
              <a:solidFill>
                <a:srgbClr val="F2C81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err="1">
                <a:gradFill>
                  <a:gsLst>
                    <a:gs pos="0">
                      <a:srgbClr val="FFFFFF"/>
                    </a:gs>
                    <a:gs pos="100000">
                      <a:srgbClr val="FFFFFF"/>
                    </a:gs>
                  </a:gsLst>
                  <a:lin ang="5400000" scaled="0"/>
                </a:gradFill>
                <a:ea typeface="Segoe UI" pitchFamily="34" charset="0"/>
                <a:cs typeface="Segoe UI" pitchFamily="34" charset="0"/>
              </a:endParaRPr>
            </a:p>
          </p:txBody>
        </p:sp>
        <p:sp>
          <p:nvSpPr>
            <p:cNvPr id="55" name="Rectangle 145"/>
            <p:cNvSpPr/>
            <p:nvPr/>
          </p:nvSpPr>
          <p:spPr bwMode="auto">
            <a:xfrm>
              <a:off x="805048" y="1206147"/>
              <a:ext cx="2010395" cy="3831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14367"/>
              <a:r>
                <a:rPr lang="en-US" sz="1400" b="1">
                  <a:solidFill>
                    <a:srgbClr val="F2C812"/>
                  </a:solidFill>
                  <a:cs typeface="Segoe UI Light" panose="020B0502040204020203" pitchFamily="34" charset="0"/>
                </a:rPr>
                <a:t>Keeping data current</a:t>
              </a:r>
              <a:endParaRPr lang="en-US" sz="1200" b="1" i="1">
                <a:solidFill>
                  <a:srgbClr val="F2C812"/>
                </a:solidFill>
                <a:cs typeface="Segoe UI Light" panose="020B0502040204020203" pitchFamily="34" charset="0"/>
              </a:endParaRPr>
            </a:p>
          </p:txBody>
        </p:sp>
      </p:grpSp>
      <p:grpSp>
        <p:nvGrpSpPr>
          <p:cNvPr id="56" name="Group 55"/>
          <p:cNvGrpSpPr/>
          <p:nvPr/>
        </p:nvGrpSpPr>
        <p:grpSpPr>
          <a:xfrm>
            <a:off x="151322" y="5689364"/>
            <a:ext cx="2636411" cy="548640"/>
            <a:chOff x="179032" y="1123407"/>
            <a:chExt cx="2636411" cy="548640"/>
          </a:xfrm>
        </p:grpSpPr>
        <p:sp>
          <p:nvSpPr>
            <p:cNvPr id="57" name="Oval 147"/>
            <p:cNvSpPr/>
            <p:nvPr/>
          </p:nvSpPr>
          <p:spPr bwMode="auto">
            <a:xfrm>
              <a:off x="179032" y="1123407"/>
              <a:ext cx="548640" cy="548640"/>
            </a:xfrm>
            <a:prstGeom prst="ellipse">
              <a:avLst/>
            </a:prstGeom>
            <a:solidFill>
              <a:srgbClr val="FFCC00"/>
            </a:solidFill>
            <a:ln>
              <a:solidFill>
                <a:srgbClr val="F2C81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err="1">
                <a:gradFill>
                  <a:gsLst>
                    <a:gs pos="0">
                      <a:srgbClr val="FFFFFF"/>
                    </a:gs>
                    <a:gs pos="100000">
                      <a:srgbClr val="FFFFFF"/>
                    </a:gs>
                  </a:gsLst>
                  <a:lin ang="5400000" scaled="0"/>
                </a:gradFill>
                <a:ea typeface="Segoe UI" pitchFamily="34" charset="0"/>
                <a:cs typeface="Segoe UI" pitchFamily="34" charset="0"/>
              </a:endParaRPr>
            </a:p>
          </p:txBody>
        </p:sp>
        <p:sp>
          <p:nvSpPr>
            <p:cNvPr id="58" name="Rectangle 145"/>
            <p:cNvSpPr/>
            <p:nvPr/>
          </p:nvSpPr>
          <p:spPr bwMode="auto">
            <a:xfrm>
              <a:off x="805048" y="1206147"/>
              <a:ext cx="2010395" cy="3831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14367"/>
              <a:r>
                <a:rPr lang="en-US" sz="1400" b="1">
                  <a:solidFill>
                    <a:srgbClr val="F2C812"/>
                  </a:solidFill>
                  <a:cs typeface="Segoe UI Light" panose="020B0502040204020203" pitchFamily="34" charset="0"/>
                </a:rPr>
                <a:t>Ease of use and adoption</a:t>
              </a:r>
              <a:endParaRPr lang="en-US" sz="1200" b="1" i="1">
                <a:solidFill>
                  <a:srgbClr val="F2C812"/>
                </a:solidFill>
                <a:cs typeface="Segoe UI Light" panose="020B0502040204020203" pitchFamily="34" charset="0"/>
              </a:endParaRPr>
            </a:p>
          </p:txBody>
        </p:sp>
      </p:grpSp>
      <p:sp>
        <p:nvSpPr>
          <p:cNvPr id="59" name="Freeform 58"/>
          <p:cNvSpPr>
            <a:spLocks noChangeAspect="1"/>
          </p:cNvSpPr>
          <p:nvPr/>
        </p:nvSpPr>
        <p:spPr bwMode="black">
          <a:xfrm>
            <a:off x="242762" y="1024112"/>
            <a:ext cx="365760" cy="236244"/>
          </a:xfrm>
          <a:custGeom>
            <a:avLst/>
            <a:gdLst>
              <a:gd name="connsiteX0" fmla="*/ 93529 w 794079"/>
              <a:gd name="connsiteY0" fmla="*/ 409985 h 512894"/>
              <a:gd name="connsiteX1" fmla="*/ 57350 w 794079"/>
              <a:gd name="connsiteY1" fmla="*/ 446163 h 512894"/>
              <a:gd name="connsiteX2" fmla="*/ 93529 w 794079"/>
              <a:gd name="connsiteY2" fmla="*/ 482342 h 512894"/>
              <a:gd name="connsiteX3" fmla="*/ 129707 w 794079"/>
              <a:gd name="connsiteY3" fmla="*/ 446163 h 512894"/>
              <a:gd name="connsiteX4" fmla="*/ 93529 w 794079"/>
              <a:gd name="connsiteY4" fmla="*/ 409985 h 512894"/>
              <a:gd name="connsiteX5" fmla="*/ 22935 w 794079"/>
              <a:gd name="connsiteY5" fmla="*/ 375286 h 512894"/>
              <a:gd name="connsiteX6" fmla="*/ 771144 w 794079"/>
              <a:gd name="connsiteY6" fmla="*/ 375286 h 512894"/>
              <a:gd name="connsiteX7" fmla="*/ 794079 w 794079"/>
              <a:gd name="connsiteY7" fmla="*/ 398221 h 512894"/>
              <a:gd name="connsiteX8" fmla="*/ 794079 w 794079"/>
              <a:gd name="connsiteY8" fmla="*/ 489959 h 512894"/>
              <a:gd name="connsiteX9" fmla="*/ 771144 w 794079"/>
              <a:gd name="connsiteY9" fmla="*/ 512894 h 512894"/>
              <a:gd name="connsiteX10" fmla="*/ 22935 w 794079"/>
              <a:gd name="connsiteY10" fmla="*/ 512894 h 512894"/>
              <a:gd name="connsiteX11" fmla="*/ 0 w 794079"/>
              <a:gd name="connsiteY11" fmla="*/ 489959 h 512894"/>
              <a:gd name="connsiteX12" fmla="*/ 0 w 794079"/>
              <a:gd name="connsiteY12" fmla="*/ 398221 h 512894"/>
              <a:gd name="connsiteX13" fmla="*/ 22935 w 794079"/>
              <a:gd name="connsiteY13" fmla="*/ 375286 h 512894"/>
              <a:gd name="connsiteX14" fmla="*/ 93529 w 794079"/>
              <a:gd name="connsiteY14" fmla="*/ 222341 h 512894"/>
              <a:gd name="connsiteX15" fmla="*/ 57350 w 794079"/>
              <a:gd name="connsiteY15" fmla="*/ 258520 h 512894"/>
              <a:gd name="connsiteX16" fmla="*/ 93529 w 794079"/>
              <a:gd name="connsiteY16" fmla="*/ 294699 h 512894"/>
              <a:gd name="connsiteX17" fmla="*/ 129707 w 794079"/>
              <a:gd name="connsiteY17" fmla="*/ 258520 h 512894"/>
              <a:gd name="connsiteX18" fmla="*/ 93529 w 794079"/>
              <a:gd name="connsiteY18" fmla="*/ 222341 h 512894"/>
              <a:gd name="connsiteX19" fmla="*/ 22935 w 794079"/>
              <a:gd name="connsiteY19" fmla="*/ 187643 h 512894"/>
              <a:gd name="connsiteX20" fmla="*/ 771144 w 794079"/>
              <a:gd name="connsiteY20" fmla="*/ 187643 h 512894"/>
              <a:gd name="connsiteX21" fmla="*/ 794079 w 794079"/>
              <a:gd name="connsiteY21" fmla="*/ 210578 h 512894"/>
              <a:gd name="connsiteX22" fmla="*/ 794079 w 794079"/>
              <a:gd name="connsiteY22" fmla="*/ 302316 h 512894"/>
              <a:gd name="connsiteX23" fmla="*/ 771144 w 794079"/>
              <a:gd name="connsiteY23" fmla="*/ 325251 h 512894"/>
              <a:gd name="connsiteX24" fmla="*/ 22935 w 794079"/>
              <a:gd name="connsiteY24" fmla="*/ 325251 h 512894"/>
              <a:gd name="connsiteX25" fmla="*/ 0 w 794079"/>
              <a:gd name="connsiteY25" fmla="*/ 302316 h 512894"/>
              <a:gd name="connsiteX26" fmla="*/ 0 w 794079"/>
              <a:gd name="connsiteY26" fmla="*/ 210578 h 512894"/>
              <a:gd name="connsiteX27" fmla="*/ 22935 w 794079"/>
              <a:gd name="connsiteY27" fmla="*/ 187643 h 512894"/>
              <a:gd name="connsiteX28" fmla="*/ 93529 w 794079"/>
              <a:gd name="connsiteY28" fmla="*/ 34698 h 512894"/>
              <a:gd name="connsiteX29" fmla="*/ 57350 w 794079"/>
              <a:gd name="connsiteY29" fmla="*/ 70877 h 512894"/>
              <a:gd name="connsiteX30" fmla="*/ 93529 w 794079"/>
              <a:gd name="connsiteY30" fmla="*/ 107056 h 512894"/>
              <a:gd name="connsiteX31" fmla="*/ 129707 w 794079"/>
              <a:gd name="connsiteY31" fmla="*/ 70877 h 512894"/>
              <a:gd name="connsiteX32" fmla="*/ 93529 w 794079"/>
              <a:gd name="connsiteY32" fmla="*/ 34698 h 512894"/>
              <a:gd name="connsiteX33" fmla="*/ 22935 w 794079"/>
              <a:gd name="connsiteY33" fmla="*/ 0 h 512894"/>
              <a:gd name="connsiteX34" fmla="*/ 771144 w 794079"/>
              <a:gd name="connsiteY34" fmla="*/ 0 h 512894"/>
              <a:gd name="connsiteX35" fmla="*/ 794079 w 794079"/>
              <a:gd name="connsiteY35" fmla="*/ 22935 h 512894"/>
              <a:gd name="connsiteX36" fmla="*/ 794079 w 794079"/>
              <a:gd name="connsiteY36" fmla="*/ 114673 h 512894"/>
              <a:gd name="connsiteX37" fmla="*/ 771144 w 794079"/>
              <a:gd name="connsiteY37" fmla="*/ 137608 h 512894"/>
              <a:gd name="connsiteX38" fmla="*/ 22935 w 794079"/>
              <a:gd name="connsiteY38" fmla="*/ 137608 h 512894"/>
              <a:gd name="connsiteX39" fmla="*/ 0 w 794079"/>
              <a:gd name="connsiteY39" fmla="*/ 114673 h 512894"/>
              <a:gd name="connsiteX40" fmla="*/ 0 w 794079"/>
              <a:gd name="connsiteY40" fmla="*/ 22935 h 512894"/>
              <a:gd name="connsiteX41" fmla="*/ 22935 w 794079"/>
              <a:gd name="connsiteY41" fmla="*/ 0 h 5128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794079" h="512894">
                <a:moveTo>
                  <a:pt x="93529" y="409985"/>
                </a:moveTo>
                <a:cubicBezTo>
                  <a:pt x="73548" y="409985"/>
                  <a:pt x="57350" y="426182"/>
                  <a:pt x="57350" y="446163"/>
                </a:cubicBezTo>
                <a:cubicBezTo>
                  <a:pt x="57350" y="466144"/>
                  <a:pt x="73548" y="482342"/>
                  <a:pt x="93529" y="482342"/>
                </a:cubicBezTo>
                <a:cubicBezTo>
                  <a:pt x="113510" y="482342"/>
                  <a:pt x="129707" y="466144"/>
                  <a:pt x="129707" y="446163"/>
                </a:cubicBezTo>
                <a:cubicBezTo>
                  <a:pt x="129707" y="426182"/>
                  <a:pt x="113510" y="409985"/>
                  <a:pt x="93529" y="409985"/>
                </a:cubicBezTo>
                <a:close/>
                <a:moveTo>
                  <a:pt x="22935" y="375286"/>
                </a:moveTo>
                <a:lnTo>
                  <a:pt x="771144" y="375286"/>
                </a:lnTo>
                <a:cubicBezTo>
                  <a:pt x="783811" y="375286"/>
                  <a:pt x="794079" y="385555"/>
                  <a:pt x="794079" y="398221"/>
                </a:cubicBezTo>
                <a:lnTo>
                  <a:pt x="794079" y="489959"/>
                </a:lnTo>
                <a:cubicBezTo>
                  <a:pt x="794079" y="502626"/>
                  <a:pt x="783811" y="512894"/>
                  <a:pt x="771144" y="512894"/>
                </a:cubicBezTo>
                <a:lnTo>
                  <a:pt x="22935" y="512894"/>
                </a:lnTo>
                <a:cubicBezTo>
                  <a:pt x="10269" y="512894"/>
                  <a:pt x="0" y="502626"/>
                  <a:pt x="0" y="489959"/>
                </a:cubicBezTo>
                <a:lnTo>
                  <a:pt x="0" y="398221"/>
                </a:lnTo>
                <a:cubicBezTo>
                  <a:pt x="0" y="385555"/>
                  <a:pt x="10269" y="375286"/>
                  <a:pt x="22935" y="375286"/>
                </a:cubicBezTo>
                <a:close/>
                <a:moveTo>
                  <a:pt x="93529" y="222341"/>
                </a:moveTo>
                <a:cubicBezTo>
                  <a:pt x="73548" y="222341"/>
                  <a:pt x="57350" y="238539"/>
                  <a:pt x="57350" y="258520"/>
                </a:cubicBezTo>
                <a:cubicBezTo>
                  <a:pt x="57350" y="278501"/>
                  <a:pt x="73548" y="294699"/>
                  <a:pt x="93529" y="294699"/>
                </a:cubicBezTo>
                <a:cubicBezTo>
                  <a:pt x="113510" y="294699"/>
                  <a:pt x="129707" y="278501"/>
                  <a:pt x="129707" y="258520"/>
                </a:cubicBezTo>
                <a:cubicBezTo>
                  <a:pt x="129707" y="238539"/>
                  <a:pt x="113510" y="222341"/>
                  <a:pt x="93529" y="222341"/>
                </a:cubicBezTo>
                <a:close/>
                <a:moveTo>
                  <a:pt x="22935" y="187643"/>
                </a:moveTo>
                <a:lnTo>
                  <a:pt x="771144" y="187643"/>
                </a:lnTo>
                <a:cubicBezTo>
                  <a:pt x="783811" y="187643"/>
                  <a:pt x="794079" y="197911"/>
                  <a:pt x="794079" y="210578"/>
                </a:cubicBezTo>
                <a:lnTo>
                  <a:pt x="794079" y="302316"/>
                </a:lnTo>
                <a:cubicBezTo>
                  <a:pt x="794079" y="314982"/>
                  <a:pt x="783811" y="325251"/>
                  <a:pt x="771144" y="325251"/>
                </a:cubicBezTo>
                <a:lnTo>
                  <a:pt x="22935" y="325251"/>
                </a:lnTo>
                <a:cubicBezTo>
                  <a:pt x="10269" y="325251"/>
                  <a:pt x="0" y="314982"/>
                  <a:pt x="0" y="302316"/>
                </a:cubicBezTo>
                <a:lnTo>
                  <a:pt x="0" y="210578"/>
                </a:lnTo>
                <a:cubicBezTo>
                  <a:pt x="0" y="197911"/>
                  <a:pt x="10269" y="187643"/>
                  <a:pt x="22935" y="187643"/>
                </a:cubicBezTo>
                <a:close/>
                <a:moveTo>
                  <a:pt x="93529" y="34698"/>
                </a:moveTo>
                <a:cubicBezTo>
                  <a:pt x="73548" y="34698"/>
                  <a:pt x="57350" y="50896"/>
                  <a:pt x="57350" y="70877"/>
                </a:cubicBezTo>
                <a:cubicBezTo>
                  <a:pt x="57350" y="90858"/>
                  <a:pt x="73548" y="107056"/>
                  <a:pt x="93529" y="107056"/>
                </a:cubicBezTo>
                <a:cubicBezTo>
                  <a:pt x="113510" y="107056"/>
                  <a:pt x="129707" y="90858"/>
                  <a:pt x="129707" y="70877"/>
                </a:cubicBezTo>
                <a:cubicBezTo>
                  <a:pt x="129707" y="50896"/>
                  <a:pt x="113510" y="34698"/>
                  <a:pt x="93529" y="34698"/>
                </a:cubicBezTo>
                <a:close/>
                <a:moveTo>
                  <a:pt x="22935" y="0"/>
                </a:moveTo>
                <a:lnTo>
                  <a:pt x="771144" y="0"/>
                </a:lnTo>
                <a:cubicBezTo>
                  <a:pt x="783811" y="0"/>
                  <a:pt x="794079" y="10268"/>
                  <a:pt x="794079" y="22935"/>
                </a:cubicBezTo>
                <a:lnTo>
                  <a:pt x="794079" y="114673"/>
                </a:lnTo>
                <a:cubicBezTo>
                  <a:pt x="794079" y="127339"/>
                  <a:pt x="783811" y="137608"/>
                  <a:pt x="771144" y="137608"/>
                </a:cubicBezTo>
                <a:lnTo>
                  <a:pt x="22935" y="137608"/>
                </a:lnTo>
                <a:cubicBezTo>
                  <a:pt x="10269" y="137608"/>
                  <a:pt x="0" y="127339"/>
                  <a:pt x="0" y="114673"/>
                </a:cubicBezTo>
                <a:lnTo>
                  <a:pt x="0" y="22935"/>
                </a:lnTo>
                <a:cubicBezTo>
                  <a:pt x="0" y="10268"/>
                  <a:pt x="10269" y="0"/>
                  <a:pt x="22935"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8" tIns="109719" rIns="137148" bIns="109719" numCol="1" spcCol="0" rtlCol="0" fromWordArt="0" anchor="t" anchorCtr="0" forceAA="0" compatLnSpc="1">
            <a:prstTxWarp prst="textNoShape">
              <a:avLst/>
            </a:prstTxWarp>
            <a:noAutofit/>
          </a:bodyPr>
          <a:lstStyle/>
          <a:p>
            <a:pPr algn="ctr" defTabSz="699261" fontAlgn="base">
              <a:lnSpc>
                <a:spcPct val="90000"/>
              </a:lnSpc>
              <a:spcBef>
                <a:spcPct val="0"/>
              </a:spcBef>
              <a:spcAft>
                <a:spcPct val="0"/>
              </a:spcAft>
            </a:pPr>
            <a:endParaRPr lang="en-US">
              <a:gradFill>
                <a:gsLst>
                  <a:gs pos="0">
                    <a:srgbClr val="FFFFFF"/>
                  </a:gs>
                  <a:gs pos="100000">
                    <a:srgbClr val="FFFFFF"/>
                  </a:gs>
                </a:gsLst>
                <a:lin ang="5400000" scaled="0"/>
              </a:gradFill>
              <a:ea typeface="Segoe UI" pitchFamily="34" charset="0"/>
              <a:cs typeface="Segoe UI" pitchFamily="34" charset="0"/>
            </a:endParaRPr>
          </a:p>
        </p:txBody>
      </p:sp>
      <p:grpSp>
        <p:nvGrpSpPr>
          <p:cNvPr id="60" name="Group 59"/>
          <p:cNvGrpSpPr>
            <a:grpSpLocks noChangeAspect="1"/>
          </p:cNvGrpSpPr>
          <p:nvPr/>
        </p:nvGrpSpPr>
        <p:grpSpPr>
          <a:xfrm>
            <a:off x="284268" y="1947738"/>
            <a:ext cx="314004" cy="320040"/>
            <a:chOff x="810855" y="2271601"/>
            <a:chExt cx="457200" cy="465990"/>
          </a:xfrm>
        </p:grpSpPr>
        <p:sp>
          <p:nvSpPr>
            <p:cNvPr id="61" name="Freeform 5"/>
            <p:cNvSpPr>
              <a:spLocks noEditPoints="1"/>
            </p:cNvSpPr>
            <p:nvPr/>
          </p:nvSpPr>
          <p:spPr bwMode="black">
            <a:xfrm>
              <a:off x="892260" y="2271601"/>
              <a:ext cx="375795" cy="291633"/>
            </a:xfrm>
            <a:custGeom>
              <a:avLst/>
              <a:gdLst>
                <a:gd name="T0" fmla="*/ 22 w 277"/>
                <a:gd name="T1" fmla="*/ 1 h 215"/>
                <a:gd name="T2" fmla="*/ 22 w 277"/>
                <a:gd name="T3" fmla="*/ 10 h 215"/>
                <a:gd name="T4" fmla="*/ 22 w 277"/>
                <a:gd name="T5" fmla="*/ 10 h 215"/>
                <a:gd name="T6" fmla="*/ 66 w 277"/>
                <a:gd name="T7" fmla="*/ 15 h 215"/>
                <a:gd name="T8" fmla="*/ 54 w 277"/>
                <a:gd name="T9" fmla="*/ 20 h 215"/>
                <a:gd name="T10" fmla="*/ 79 w 277"/>
                <a:gd name="T11" fmla="*/ 0 h 215"/>
                <a:gd name="T12" fmla="*/ 118 w 277"/>
                <a:gd name="T13" fmla="*/ 1 h 215"/>
                <a:gd name="T14" fmla="*/ 118 w 277"/>
                <a:gd name="T15" fmla="*/ 10 h 215"/>
                <a:gd name="T16" fmla="*/ 118 w 277"/>
                <a:gd name="T17" fmla="*/ 10 h 215"/>
                <a:gd name="T18" fmla="*/ 163 w 277"/>
                <a:gd name="T19" fmla="*/ 15 h 215"/>
                <a:gd name="T20" fmla="*/ 150 w 277"/>
                <a:gd name="T21" fmla="*/ 20 h 215"/>
                <a:gd name="T22" fmla="*/ 176 w 277"/>
                <a:gd name="T23" fmla="*/ 0 h 215"/>
                <a:gd name="T24" fmla="*/ 215 w 277"/>
                <a:gd name="T25" fmla="*/ 1 h 215"/>
                <a:gd name="T26" fmla="*/ 214 w 277"/>
                <a:gd name="T27" fmla="*/ 10 h 215"/>
                <a:gd name="T28" fmla="*/ 214 w 277"/>
                <a:gd name="T29" fmla="*/ 10 h 215"/>
                <a:gd name="T30" fmla="*/ 259 w 277"/>
                <a:gd name="T31" fmla="*/ 15 h 215"/>
                <a:gd name="T32" fmla="*/ 247 w 277"/>
                <a:gd name="T33" fmla="*/ 20 h 215"/>
                <a:gd name="T34" fmla="*/ 272 w 277"/>
                <a:gd name="T35" fmla="*/ 0 h 215"/>
                <a:gd name="T36" fmla="*/ 12 w 277"/>
                <a:gd name="T37" fmla="*/ 92 h 215"/>
                <a:gd name="T38" fmla="*/ 0 w 277"/>
                <a:gd name="T39" fmla="*/ 97 h 215"/>
                <a:gd name="T40" fmla="*/ 25 w 277"/>
                <a:gd name="T41" fmla="*/ 77 h 215"/>
                <a:gd name="T42" fmla="*/ 64 w 277"/>
                <a:gd name="T43" fmla="*/ 77 h 215"/>
                <a:gd name="T44" fmla="*/ 64 w 277"/>
                <a:gd name="T45" fmla="*/ 87 h 215"/>
                <a:gd name="T46" fmla="*/ 64 w 277"/>
                <a:gd name="T47" fmla="*/ 87 h 215"/>
                <a:gd name="T48" fmla="*/ 109 w 277"/>
                <a:gd name="T49" fmla="*/ 92 h 215"/>
                <a:gd name="T50" fmla="*/ 96 w 277"/>
                <a:gd name="T51" fmla="*/ 97 h 215"/>
                <a:gd name="T52" fmla="*/ 122 w 277"/>
                <a:gd name="T53" fmla="*/ 77 h 215"/>
                <a:gd name="T54" fmla="*/ 161 w 277"/>
                <a:gd name="T55" fmla="*/ 77 h 215"/>
                <a:gd name="T56" fmla="*/ 160 w 277"/>
                <a:gd name="T57" fmla="*/ 87 h 215"/>
                <a:gd name="T58" fmla="*/ 160 w 277"/>
                <a:gd name="T59" fmla="*/ 87 h 215"/>
                <a:gd name="T60" fmla="*/ 205 w 277"/>
                <a:gd name="T61" fmla="*/ 92 h 215"/>
                <a:gd name="T62" fmla="*/ 192 w 277"/>
                <a:gd name="T63" fmla="*/ 97 h 215"/>
                <a:gd name="T64" fmla="*/ 218 w 277"/>
                <a:gd name="T65" fmla="*/ 77 h 215"/>
                <a:gd name="T66" fmla="*/ 257 w 277"/>
                <a:gd name="T67" fmla="*/ 77 h 215"/>
                <a:gd name="T68" fmla="*/ 256 w 277"/>
                <a:gd name="T69" fmla="*/ 87 h 215"/>
                <a:gd name="T70" fmla="*/ 256 w 277"/>
                <a:gd name="T71" fmla="*/ 87 h 215"/>
                <a:gd name="T72" fmla="*/ 22 w 277"/>
                <a:gd name="T73" fmla="*/ 154 h 215"/>
                <a:gd name="T74" fmla="*/ 22 w 277"/>
                <a:gd name="T75" fmla="*/ 164 h 215"/>
                <a:gd name="T76" fmla="*/ 22 w 277"/>
                <a:gd name="T77" fmla="*/ 164 h 215"/>
                <a:gd name="T78" fmla="*/ 66 w 277"/>
                <a:gd name="T79" fmla="*/ 168 h 215"/>
                <a:gd name="T80" fmla="*/ 54 w 277"/>
                <a:gd name="T81" fmla="*/ 173 h 215"/>
                <a:gd name="T82" fmla="*/ 79 w 277"/>
                <a:gd name="T83" fmla="*/ 154 h 215"/>
                <a:gd name="T84" fmla="*/ 118 w 277"/>
                <a:gd name="T85" fmla="*/ 154 h 215"/>
                <a:gd name="T86" fmla="*/ 118 w 277"/>
                <a:gd name="T87" fmla="*/ 164 h 215"/>
                <a:gd name="T88" fmla="*/ 118 w 277"/>
                <a:gd name="T89" fmla="*/ 164 h 215"/>
                <a:gd name="T90" fmla="*/ 163 w 277"/>
                <a:gd name="T91" fmla="*/ 168 h 215"/>
                <a:gd name="T92" fmla="*/ 150 w 277"/>
                <a:gd name="T93" fmla="*/ 173 h 215"/>
                <a:gd name="T94" fmla="*/ 176 w 277"/>
                <a:gd name="T95" fmla="*/ 154 h 215"/>
                <a:gd name="T96" fmla="*/ 215 w 277"/>
                <a:gd name="T97" fmla="*/ 154 h 215"/>
                <a:gd name="T98" fmla="*/ 214 w 277"/>
                <a:gd name="T99" fmla="*/ 164 h 215"/>
                <a:gd name="T100" fmla="*/ 214 w 277"/>
                <a:gd name="T101" fmla="*/ 164 h 215"/>
                <a:gd name="T102" fmla="*/ 259 w 277"/>
                <a:gd name="T103" fmla="*/ 168 h 215"/>
                <a:gd name="T104" fmla="*/ 247 w 277"/>
                <a:gd name="T105" fmla="*/ 173 h 215"/>
                <a:gd name="T106" fmla="*/ 272 w 277"/>
                <a:gd name="T107" fmla="*/ 154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77" h="215">
                  <a:moveTo>
                    <a:pt x="21" y="61"/>
                  </a:moveTo>
                  <a:cubicBezTo>
                    <a:pt x="7" y="61"/>
                    <a:pt x="0" y="51"/>
                    <a:pt x="0" y="32"/>
                  </a:cubicBezTo>
                  <a:cubicBezTo>
                    <a:pt x="0" y="22"/>
                    <a:pt x="2" y="14"/>
                    <a:pt x="6" y="9"/>
                  </a:cubicBezTo>
                  <a:cubicBezTo>
                    <a:pt x="9" y="3"/>
                    <a:pt x="15" y="1"/>
                    <a:pt x="22" y="1"/>
                  </a:cubicBezTo>
                  <a:cubicBezTo>
                    <a:pt x="36" y="1"/>
                    <a:pt x="43" y="11"/>
                    <a:pt x="43" y="30"/>
                  </a:cubicBezTo>
                  <a:cubicBezTo>
                    <a:pt x="43" y="40"/>
                    <a:pt x="41" y="48"/>
                    <a:pt x="37" y="53"/>
                  </a:cubicBezTo>
                  <a:cubicBezTo>
                    <a:pt x="33" y="59"/>
                    <a:pt x="28" y="61"/>
                    <a:pt x="21" y="61"/>
                  </a:cubicBezTo>
                  <a:close/>
                  <a:moveTo>
                    <a:pt x="22" y="10"/>
                  </a:moveTo>
                  <a:cubicBezTo>
                    <a:pt x="16" y="10"/>
                    <a:pt x="13" y="17"/>
                    <a:pt x="13" y="32"/>
                  </a:cubicBezTo>
                  <a:cubicBezTo>
                    <a:pt x="13" y="45"/>
                    <a:pt x="16" y="51"/>
                    <a:pt x="21" y="51"/>
                  </a:cubicBezTo>
                  <a:cubicBezTo>
                    <a:pt x="27" y="51"/>
                    <a:pt x="29" y="45"/>
                    <a:pt x="29" y="31"/>
                  </a:cubicBezTo>
                  <a:cubicBezTo>
                    <a:pt x="29" y="17"/>
                    <a:pt x="27" y="10"/>
                    <a:pt x="22" y="10"/>
                  </a:cubicBezTo>
                  <a:close/>
                  <a:moveTo>
                    <a:pt x="79" y="0"/>
                  </a:moveTo>
                  <a:cubicBezTo>
                    <a:pt x="79" y="60"/>
                    <a:pt x="79" y="60"/>
                    <a:pt x="79" y="60"/>
                  </a:cubicBezTo>
                  <a:cubicBezTo>
                    <a:pt x="66" y="60"/>
                    <a:pt x="66" y="60"/>
                    <a:pt x="66" y="60"/>
                  </a:cubicBezTo>
                  <a:cubicBezTo>
                    <a:pt x="66" y="15"/>
                    <a:pt x="66" y="15"/>
                    <a:pt x="66" y="15"/>
                  </a:cubicBezTo>
                  <a:cubicBezTo>
                    <a:pt x="66" y="15"/>
                    <a:pt x="65" y="16"/>
                    <a:pt x="64" y="17"/>
                  </a:cubicBezTo>
                  <a:cubicBezTo>
                    <a:pt x="63" y="17"/>
                    <a:pt x="62" y="18"/>
                    <a:pt x="61" y="18"/>
                  </a:cubicBezTo>
                  <a:cubicBezTo>
                    <a:pt x="60" y="19"/>
                    <a:pt x="59" y="19"/>
                    <a:pt x="57" y="19"/>
                  </a:cubicBezTo>
                  <a:cubicBezTo>
                    <a:pt x="56" y="20"/>
                    <a:pt x="55" y="20"/>
                    <a:pt x="54" y="20"/>
                  </a:cubicBezTo>
                  <a:cubicBezTo>
                    <a:pt x="54" y="9"/>
                    <a:pt x="54" y="9"/>
                    <a:pt x="54" y="9"/>
                  </a:cubicBezTo>
                  <a:cubicBezTo>
                    <a:pt x="57" y="8"/>
                    <a:pt x="61" y="7"/>
                    <a:pt x="64" y="5"/>
                  </a:cubicBezTo>
                  <a:cubicBezTo>
                    <a:pt x="66" y="4"/>
                    <a:pt x="69" y="2"/>
                    <a:pt x="72" y="0"/>
                  </a:cubicBezTo>
                  <a:lnTo>
                    <a:pt x="79" y="0"/>
                  </a:lnTo>
                  <a:close/>
                  <a:moveTo>
                    <a:pt x="117" y="61"/>
                  </a:moveTo>
                  <a:cubicBezTo>
                    <a:pt x="103" y="61"/>
                    <a:pt x="96" y="51"/>
                    <a:pt x="96" y="32"/>
                  </a:cubicBezTo>
                  <a:cubicBezTo>
                    <a:pt x="96" y="22"/>
                    <a:pt x="98" y="14"/>
                    <a:pt x="102" y="9"/>
                  </a:cubicBezTo>
                  <a:cubicBezTo>
                    <a:pt x="106" y="3"/>
                    <a:pt x="111" y="1"/>
                    <a:pt x="118" y="1"/>
                  </a:cubicBezTo>
                  <a:cubicBezTo>
                    <a:pt x="132" y="1"/>
                    <a:pt x="139" y="11"/>
                    <a:pt x="139" y="30"/>
                  </a:cubicBezTo>
                  <a:cubicBezTo>
                    <a:pt x="139" y="40"/>
                    <a:pt x="137" y="48"/>
                    <a:pt x="133" y="53"/>
                  </a:cubicBezTo>
                  <a:cubicBezTo>
                    <a:pt x="130" y="59"/>
                    <a:pt x="124" y="61"/>
                    <a:pt x="117" y="61"/>
                  </a:cubicBezTo>
                  <a:close/>
                  <a:moveTo>
                    <a:pt x="118" y="10"/>
                  </a:moveTo>
                  <a:cubicBezTo>
                    <a:pt x="112" y="10"/>
                    <a:pt x="109" y="17"/>
                    <a:pt x="109" y="32"/>
                  </a:cubicBezTo>
                  <a:cubicBezTo>
                    <a:pt x="109" y="45"/>
                    <a:pt x="112" y="51"/>
                    <a:pt x="118" y="51"/>
                  </a:cubicBezTo>
                  <a:cubicBezTo>
                    <a:pt x="123" y="51"/>
                    <a:pt x="126" y="45"/>
                    <a:pt x="126" y="31"/>
                  </a:cubicBezTo>
                  <a:cubicBezTo>
                    <a:pt x="126" y="17"/>
                    <a:pt x="123" y="10"/>
                    <a:pt x="118" y="10"/>
                  </a:cubicBezTo>
                  <a:close/>
                  <a:moveTo>
                    <a:pt x="176" y="0"/>
                  </a:moveTo>
                  <a:cubicBezTo>
                    <a:pt x="176" y="60"/>
                    <a:pt x="176" y="60"/>
                    <a:pt x="176" y="60"/>
                  </a:cubicBezTo>
                  <a:cubicBezTo>
                    <a:pt x="163" y="60"/>
                    <a:pt x="163" y="60"/>
                    <a:pt x="163" y="60"/>
                  </a:cubicBezTo>
                  <a:cubicBezTo>
                    <a:pt x="163" y="15"/>
                    <a:pt x="163" y="15"/>
                    <a:pt x="163" y="15"/>
                  </a:cubicBezTo>
                  <a:cubicBezTo>
                    <a:pt x="162" y="15"/>
                    <a:pt x="161" y="16"/>
                    <a:pt x="160" y="17"/>
                  </a:cubicBezTo>
                  <a:cubicBezTo>
                    <a:pt x="159" y="17"/>
                    <a:pt x="158" y="18"/>
                    <a:pt x="157" y="18"/>
                  </a:cubicBezTo>
                  <a:cubicBezTo>
                    <a:pt x="156" y="19"/>
                    <a:pt x="155" y="19"/>
                    <a:pt x="154" y="19"/>
                  </a:cubicBezTo>
                  <a:cubicBezTo>
                    <a:pt x="153" y="20"/>
                    <a:pt x="151" y="20"/>
                    <a:pt x="150" y="20"/>
                  </a:cubicBezTo>
                  <a:cubicBezTo>
                    <a:pt x="150" y="9"/>
                    <a:pt x="150" y="9"/>
                    <a:pt x="150" y="9"/>
                  </a:cubicBezTo>
                  <a:cubicBezTo>
                    <a:pt x="154" y="8"/>
                    <a:pt x="157" y="7"/>
                    <a:pt x="160" y="5"/>
                  </a:cubicBezTo>
                  <a:cubicBezTo>
                    <a:pt x="163" y="4"/>
                    <a:pt x="165" y="2"/>
                    <a:pt x="168" y="0"/>
                  </a:cubicBezTo>
                  <a:lnTo>
                    <a:pt x="176" y="0"/>
                  </a:lnTo>
                  <a:close/>
                  <a:moveTo>
                    <a:pt x="214" y="61"/>
                  </a:moveTo>
                  <a:cubicBezTo>
                    <a:pt x="200" y="61"/>
                    <a:pt x="193" y="51"/>
                    <a:pt x="193" y="32"/>
                  </a:cubicBezTo>
                  <a:cubicBezTo>
                    <a:pt x="193" y="22"/>
                    <a:pt x="195" y="14"/>
                    <a:pt x="198" y="9"/>
                  </a:cubicBezTo>
                  <a:cubicBezTo>
                    <a:pt x="202" y="3"/>
                    <a:pt x="208" y="1"/>
                    <a:pt x="215" y="1"/>
                  </a:cubicBezTo>
                  <a:cubicBezTo>
                    <a:pt x="228" y="1"/>
                    <a:pt x="235" y="11"/>
                    <a:pt x="235" y="30"/>
                  </a:cubicBezTo>
                  <a:cubicBezTo>
                    <a:pt x="235" y="40"/>
                    <a:pt x="233" y="48"/>
                    <a:pt x="230" y="53"/>
                  </a:cubicBezTo>
                  <a:cubicBezTo>
                    <a:pt x="226" y="59"/>
                    <a:pt x="221" y="61"/>
                    <a:pt x="214" y="61"/>
                  </a:cubicBezTo>
                  <a:close/>
                  <a:moveTo>
                    <a:pt x="214" y="10"/>
                  </a:moveTo>
                  <a:cubicBezTo>
                    <a:pt x="209" y="10"/>
                    <a:pt x="206" y="17"/>
                    <a:pt x="206" y="32"/>
                  </a:cubicBezTo>
                  <a:cubicBezTo>
                    <a:pt x="206" y="45"/>
                    <a:pt x="209" y="51"/>
                    <a:pt x="214" y="51"/>
                  </a:cubicBezTo>
                  <a:cubicBezTo>
                    <a:pt x="219" y="51"/>
                    <a:pt x="222" y="45"/>
                    <a:pt x="222" y="31"/>
                  </a:cubicBezTo>
                  <a:cubicBezTo>
                    <a:pt x="222" y="17"/>
                    <a:pt x="219" y="10"/>
                    <a:pt x="214" y="10"/>
                  </a:cubicBezTo>
                  <a:close/>
                  <a:moveTo>
                    <a:pt x="272" y="0"/>
                  </a:moveTo>
                  <a:cubicBezTo>
                    <a:pt x="272" y="60"/>
                    <a:pt x="272" y="60"/>
                    <a:pt x="272" y="60"/>
                  </a:cubicBezTo>
                  <a:cubicBezTo>
                    <a:pt x="259" y="60"/>
                    <a:pt x="259" y="60"/>
                    <a:pt x="259" y="60"/>
                  </a:cubicBezTo>
                  <a:cubicBezTo>
                    <a:pt x="259" y="15"/>
                    <a:pt x="259" y="15"/>
                    <a:pt x="259" y="15"/>
                  </a:cubicBezTo>
                  <a:cubicBezTo>
                    <a:pt x="258" y="15"/>
                    <a:pt x="258" y="16"/>
                    <a:pt x="257" y="17"/>
                  </a:cubicBezTo>
                  <a:cubicBezTo>
                    <a:pt x="256" y="17"/>
                    <a:pt x="255" y="18"/>
                    <a:pt x="254" y="18"/>
                  </a:cubicBezTo>
                  <a:cubicBezTo>
                    <a:pt x="252" y="19"/>
                    <a:pt x="251" y="19"/>
                    <a:pt x="250" y="19"/>
                  </a:cubicBezTo>
                  <a:cubicBezTo>
                    <a:pt x="249" y="20"/>
                    <a:pt x="248" y="20"/>
                    <a:pt x="247" y="20"/>
                  </a:cubicBezTo>
                  <a:cubicBezTo>
                    <a:pt x="247" y="9"/>
                    <a:pt x="247" y="9"/>
                    <a:pt x="247" y="9"/>
                  </a:cubicBezTo>
                  <a:cubicBezTo>
                    <a:pt x="250" y="8"/>
                    <a:pt x="253" y="7"/>
                    <a:pt x="256" y="5"/>
                  </a:cubicBezTo>
                  <a:cubicBezTo>
                    <a:pt x="259" y="4"/>
                    <a:pt x="262" y="2"/>
                    <a:pt x="264" y="0"/>
                  </a:cubicBezTo>
                  <a:lnTo>
                    <a:pt x="272" y="0"/>
                  </a:lnTo>
                  <a:close/>
                  <a:moveTo>
                    <a:pt x="25" y="77"/>
                  </a:moveTo>
                  <a:cubicBezTo>
                    <a:pt x="25" y="137"/>
                    <a:pt x="25" y="137"/>
                    <a:pt x="25" y="137"/>
                  </a:cubicBezTo>
                  <a:cubicBezTo>
                    <a:pt x="12" y="137"/>
                    <a:pt x="12" y="137"/>
                    <a:pt x="12" y="137"/>
                  </a:cubicBezTo>
                  <a:cubicBezTo>
                    <a:pt x="12" y="92"/>
                    <a:pt x="12" y="92"/>
                    <a:pt x="12" y="92"/>
                  </a:cubicBezTo>
                  <a:cubicBezTo>
                    <a:pt x="12" y="92"/>
                    <a:pt x="11" y="93"/>
                    <a:pt x="10" y="93"/>
                  </a:cubicBezTo>
                  <a:cubicBezTo>
                    <a:pt x="9" y="94"/>
                    <a:pt x="8" y="94"/>
                    <a:pt x="7" y="95"/>
                  </a:cubicBezTo>
                  <a:cubicBezTo>
                    <a:pt x="6" y="95"/>
                    <a:pt x="5" y="96"/>
                    <a:pt x="3" y="96"/>
                  </a:cubicBezTo>
                  <a:cubicBezTo>
                    <a:pt x="2" y="96"/>
                    <a:pt x="1" y="97"/>
                    <a:pt x="0" y="97"/>
                  </a:cubicBezTo>
                  <a:cubicBezTo>
                    <a:pt x="0" y="86"/>
                    <a:pt x="0" y="86"/>
                    <a:pt x="0" y="86"/>
                  </a:cubicBezTo>
                  <a:cubicBezTo>
                    <a:pt x="3" y="85"/>
                    <a:pt x="6" y="84"/>
                    <a:pt x="9" y="82"/>
                  </a:cubicBezTo>
                  <a:cubicBezTo>
                    <a:pt x="12" y="81"/>
                    <a:pt x="15" y="79"/>
                    <a:pt x="17" y="77"/>
                  </a:cubicBezTo>
                  <a:lnTo>
                    <a:pt x="25" y="77"/>
                  </a:lnTo>
                  <a:close/>
                  <a:moveTo>
                    <a:pt x="63" y="138"/>
                  </a:moveTo>
                  <a:cubicBezTo>
                    <a:pt x="49" y="138"/>
                    <a:pt x="42" y="128"/>
                    <a:pt x="42" y="109"/>
                  </a:cubicBezTo>
                  <a:cubicBezTo>
                    <a:pt x="42" y="98"/>
                    <a:pt x="44" y="91"/>
                    <a:pt x="48" y="85"/>
                  </a:cubicBezTo>
                  <a:cubicBezTo>
                    <a:pt x="52" y="80"/>
                    <a:pt x="57" y="77"/>
                    <a:pt x="64" y="77"/>
                  </a:cubicBezTo>
                  <a:cubicBezTo>
                    <a:pt x="78" y="77"/>
                    <a:pt x="85" y="87"/>
                    <a:pt x="85" y="107"/>
                  </a:cubicBezTo>
                  <a:cubicBezTo>
                    <a:pt x="85" y="117"/>
                    <a:pt x="83" y="125"/>
                    <a:pt x="79" y="130"/>
                  </a:cubicBezTo>
                  <a:cubicBezTo>
                    <a:pt x="75" y="135"/>
                    <a:pt x="70" y="138"/>
                    <a:pt x="63" y="138"/>
                  </a:cubicBezTo>
                  <a:close/>
                  <a:moveTo>
                    <a:pt x="64" y="87"/>
                  </a:moveTo>
                  <a:cubicBezTo>
                    <a:pt x="58" y="87"/>
                    <a:pt x="55" y="94"/>
                    <a:pt x="55" y="108"/>
                  </a:cubicBezTo>
                  <a:cubicBezTo>
                    <a:pt x="55" y="121"/>
                    <a:pt x="58" y="128"/>
                    <a:pt x="64" y="128"/>
                  </a:cubicBezTo>
                  <a:cubicBezTo>
                    <a:pt x="69" y="128"/>
                    <a:pt x="72" y="121"/>
                    <a:pt x="72" y="108"/>
                  </a:cubicBezTo>
                  <a:cubicBezTo>
                    <a:pt x="72" y="94"/>
                    <a:pt x="69" y="87"/>
                    <a:pt x="64" y="87"/>
                  </a:cubicBezTo>
                  <a:close/>
                  <a:moveTo>
                    <a:pt x="122" y="77"/>
                  </a:moveTo>
                  <a:cubicBezTo>
                    <a:pt x="122" y="137"/>
                    <a:pt x="122" y="137"/>
                    <a:pt x="122" y="137"/>
                  </a:cubicBezTo>
                  <a:cubicBezTo>
                    <a:pt x="109" y="137"/>
                    <a:pt x="109" y="137"/>
                    <a:pt x="109" y="137"/>
                  </a:cubicBezTo>
                  <a:cubicBezTo>
                    <a:pt x="109" y="92"/>
                    <a:pt x="109" y="92"/>
                    <a:pt x="109" y="92"/>
                  </a:cubicBezTo>
                  <a:cubicBezTo>
                    <a:pt x="108" y="92"/>
                    <a:pt x="107" y="93"/>
                    <a:pt x="106" y="93"/>
                  </a:cubicBezTo>
                  <a:cubicBezTo>
                    <a:pt x="105" y="94"/>
                    <a:pt x="104" y="94"/>
                    <a:pt x="103" y="95"/>
                  </a:cubicBezTo>
                  <a:cubicBezTo>
                    <a:pt x="102" y="95"/>
                    <a:pt x="101" y="96"/>
                    <a:pt x="100" y="96"/>
                  </a:cubicBezTo>
                  <a:cubicBezTo>
                    <a:pt x="98" y="96"/>
                    <a:pt x="97" y="97"/>
                    <a:pt x="96" y="97"/>
                  </a:cubicBezTo>
                  <a:cubicBezTo>
                    <a:pt x="96" y="86"/>
                    <a:pt x="96" y="86"/>
                    <a:pt x="96" y="86"/>
                  </a:cubicBezTo>
                  <a:cubicBezTo>
                    <a:pt x="100" y="85"/>
                    <a:pt x="103" y="84"/>
                    <a:pt x="106" y="82"/>
                  </a:cubicBezTo>
                  <a:cubicBezTo>
                    <a:pt x="109" y="81"/>
                    <a:pt x="111" y="79"/>
                    <a:pt x="114" y="77"/>
                  </a:cubicBezTo>
                  <a:lnTo>
                    <a:pt x="122" y="77"/>
                  </a:lnTo>
                  <a:close/>
                  <a:moveTo>
                    <a:pt x="159" y="138"/>
                  </a:moveTo>
                  <a:cubicBezTo>
                    <a:pt x="145" y="138"/>
                    <a:pt x="138" y="128"/>
                    <a:pt x="138" y="109"/>
                  </a:cubicBezTo>
                  <a:cubicBezTo>
                    <a:pt x="138" y="98"/>
                    <a:pt x="140" y="91"/>
                    <a:pt x="144" y="85"/>
                  </a:cubicBezTo>
                  <a:cubicBezTo>
                    <a:pt x="148" y="80"/>
                    <a:pt x="153" y="77"/>
                    <a:pt x="161" y="77"/>
                  </a:cubicBezTo>
                  <a:cubicBezTo>
                    <a:pt x="174" y="77"/>
                    <a:pt x="181" y="87"/>
                    <a:pt x="181" y="107"/>
                  </a:cubicBezTo>
                  <a:cubicBezTo>
                    <a:pt x="181" y="117"/>
                    <a:pt x="179" y="125"/>
                    <a:pt x="175" y="130"/>
                  </a:cubicBezTo>
                  <a:cubicBezTo>
                    <a:pt x="172" y="135"/>
                    <a:pt x="166" y="138"/>
                    <a:pt x="159" y="138"/>
                  </a:cubicBezTo>
                  <a:close/>
                  <a:moveTo>
                    <a:pt x="160" y="87"/>
                  </a:moveTo>
                  <a:cubicBezTo>
                    <a:pt x="154" y="87"/>
                    <a:pt x="152" y="94"/>
                    <a:pt x="152" y="108"/>
                  </a:cubicBezTo>
                  <a:cubicBezTo>
                    <a:pt x="152" y="121"/>
                    <a:pt x="154" y="128"/>
                    <a:pt x="160" y="128"/>
                  </a:cubicBezTo>
                  <a:cubicBezTo>
                    <a:pt x="165" y="128"/>
                    <a:pt x="168" y="121"/>
                    <a:pt x="168" y="108"/>
                  </a:cubicBezTo>
                  <a:cubicBezTo>
                    <a:pt x="168" y="94"/>
                    <a:pt x="165" y="87"/>
                    <a:pt x="160" y="87"/>
                  </a:cubicBezTo>
                  <a:close/>
                  <a:moveTo>
                    <a:pt x="218" y="77"/>
                  </a:moveTo>
                  <a:cubicBezTo>
                    <a:pt x="218" y="137"/>
                    <a:pt x="218" y="137"/>
                    <a:pt x="218" y="137"/>
                  </a:cubicBezTo>
                  <a:cubicBezTo>
                    <a:pt x="205" y="137"/>
                    <a:pt x="205" y="137"/>
                    <a:pt x="205" y="137"/>
                  </a:cubicBezTo>
                  <a:cubicBezTo>
                    <a:pt x="205" y="92"/>
                    <a:pt x="205" y="92"/>
                    <a:pt x="205" y="92"/>
                  </a:cubicBezTo>
                  <a:cubicBezTo>
                    <a:pt x="204" y="92"/>
                    <a:pt x="203" y="93"/>
                    <a:pt x="202" y="93"/>
                  </a:cubicBezTo>
                  <a:cubicBezTo>
                    <a:pt x="201" y="94"/>
                    <a:pt x="200" y="94"/>
                    <a:pt x="199" y="95"/>
                  </a:cubicBezTo>
                  <a:cubicBezTo>
                    <a:pt x="198" y="95"/>
                    <a:pt x="197" y="96"/>
                    <a:pt x="196" y="96"/>
                  </a:cubicBezTo>
                  <a:cubicBezTo>
                    <a:pt x="195" y="96"/>
                    <a:pt x="194" y="97"/>
                    <a:pt x="192" y="97"/>
                  </a:cubicBezTo>
                  <a:cubicBezTo>
                    <a:pt x="192" y="86"/>
                    <a:pt x="192" y="86"/>
                    <a:pt x="192" y="86"/>
                  </a:cubicBezTo>
                  <a:cubicBezTo>
                    <a:pt x="196" y="85"/>
                    <a:pt x="199" y="84"/>
                    <a:pt x="202" y="82"/>
                  </a:cubicBezTo>
                  <a:cubicBezTo>
                    <a:pt x="205" y="81"/>
                    <a:pt x="208" y="79"/>
                    <a:pt x="210" y="77"/>
                  </a:cubicBezTo>
                  <a:lnTo>
                    <a:pt x="218" y="77"/>
                  </a:lnTo>
                  <a:close/>
                  <a:moveTo>
                    <a:pt x="256" y="138"/>
                  </a:moveTo>
                  <a:cubicBezTo>
                    <a:pt x="242" y="138"/>
                    <a:pt x="235" y="128"/>
                    <a:pt x="235" y="109"/>
                  </a:cubicBezTo>
                  <a:cubicBezTo>
                    <a:pt x="235" y="98"/>
                    <a:pt x="237" y="91"/>
                    <a:pt x="240" y="85"/>
                  </a:cubicBezTo>
                  <a:cubicBezTo>
                    <a:pt x="244" y="80"/>
                    <a:pt x="250" y="77"/>
                    <a:pt x="257" y="77"/>
                  </a:cubicBezTo>
                  <a:cubicBezTo>
                    <a:pt x="270" y="77"/>
                    <a:pt x="277" y="87"/>
                    <a:pt x="277" y="107"/>
                  </a:cubicBezTo>
                  <a:cubicBezTo>
                    <a:pt x="277" y="117"/>
                    <a:pt x="275" y="125"/>
                    <a:pt x="272" y="130"/>
                  </a:cubicBezTo>
                  <a:cubicBezTo>
                    <a:pt x="268" y="135"/>
                    <a:pt x="263" y="138"/>
                    <a:pt x="256" y="138"/>
                  </a:cubicBezTo>
                  <a:close/>
                  <a:moveTo>
                    <a:pt x="256" y="87"/>
                  </a:moveTo>
                  <a:cubicBezTo>
                    <a:pt x="251" y="87"/>
                    <a:pt x="248" y="94"/>
                    <a:pt x="248" y="108"/>
                  </a:cubicBezTo>
                  <a:cubicBezTo>
                    <a:pt x="248" y="121"/>
                    <a:pt x="251" y="128"/>
                    <a:pt x="256" y="128"/>
                  </a:cubicBezTo>
                  <a:cubicBezTo>
                    <a:pt x="261" y="128"/>
                    <a:pt x="264" y="121"/>
                    <a:pt x="264" y="108"/>
                  </a:cubicBezTo>
                  <a:cubicBezTo>
                    <a:pt x="264" y="94"/>
                    <a:pt x="262" y="87"/>
                    <a:pt x="256" y="87"/>
                  </a:cubicBezTo>
                  <a:close/>
                  <a:moveTo>
                    <a:pt x="21" y="215"/>
                  </a:moveTo>
                  <a:cubicBezTo>
                    <a:pt x="7" y="215"/>
                    <a:pt x="0" y="205"/>
                    <a:pt x="0" y="185"/>
                  </a:cubicBezTo>
                  <a:cubicBezTo>
                    <a:pt x="0" y="175"/>
                    <a:pt x="2" y="167"/>
                    <a:pt x="6" y="162"/>
                  </a:cubicBezTo>
                  <a:cubicBezTo>
                    <a:pt x="9" y="157"/>
                    <a:pt x="15" y="154"/>
                    <a:pt x="22" y="154"/>
                  </a:cubicBezTo>
                  <a:cubicBezTo>
                    <a:pt x="36" y="154"/>
                    <a:pt x="43" y="164"/>
                    <a:pt x="43" y="184"/>
                  </a:cubicBezTo>
                  <a:cubicBezTo>
                    <a:pt x="43" y="194"/>
                    <a:pt x="41" y="201"/>
                    <a:pt x="37" y="207"/>
                  </a:cubicBezTo>
                  <a:cubicBezTo>
                    <a:pt x="33" y="212"/>
                    <a:pt x="28" y="215"/>
                    <a:pt x="21" y="215"/>
                  </a:cubicBezTo>
                  <a:close/>
                  <a:moveTo>
                    <a:pt x="22" y="164"/>
                  </a:moveTo>
                  <a:cubicBezTo>
                    <a:pt x="16" y="164"/>
                    <a:pt x="13" y="171"/>
                    <a:pt x="13" y="185"/>
                  </a:cubicBezTo>
                  <a:cubicBezTo>
                    <a:pt x="13" y="198"/>
                    <a:pt x="16" y="205"/>
                    <a:pt x="21" y="205"/>
                  </a:cubicBezTo>
                  <a:cubicBezTo>
                    <a:pt x="27" y="205"/>
                    <a:pt x="29" y="198"/>
                    <a:pt x="29" y="184"/>
                  </a:cubicBezTo>
                  <a:cubicBezTo>
                    <a:pt x="29" y="171"/>
                    <a:pt x="27" y="164"/>
                    <a:pt x="22" y="164"/>
                  </a:cubicBezTo>
                  <a:close/>
                  <a:moveTo>
                    <a:pt x="79" y="154"/>
                  </a:moveTo>
                  <a:cubicBezTo>
                    <a:pt x="79" y="214"/>
                    <a:pt x="79" y="214"/>
                    <a:pt x="79" y="214"/>
                  </a:cubicBezTo>
                  <a:cubicBezTo>
                    <a:pt x="66" y="214"/>
                    <a:pt x="66" y="214"/>
                    <a:pt x="66" y="214"/>
                  </a:cubicBezTo>
                  <a:cubicBezTo>
                    <a:pt x="66" y="168"/>
                    <a:pt x="66" y="168"/>
                    <a:pt x="66" y="168"/>
                  </a:cubicBezTo>
                  <a:cubicBezTo>
                    <a:pt x="66" y="169"/>
                    <a:pt x="65" y="170"/>
                    <a:pt x="64" y="170"/>
                  </a:cubicBezTo>
                  <a:cubicBezTo>
                    <a:pt x="63" y="171"/>
                    <a:pt x="62" y="171"/>
                    <a:pt x="61" y="172"/>
                  </a:cubicBezTo>
                  <a:cubicBezTo>
                    <a:pt x="60" y="172"/>
                    <a:pt x="59" y="172"/>
                    <a:pt x="57" y="173"/>
                  </a:cubicBezTo>
                  <a:cubicBezTo>
                    <a:pt x="56" y="173"/>
                    <a:pt x="55" y="173"/>
                    <a:pt x="54" y="173"/>
                  </a:cubicBezTo>
                  <a:cubicBezTo>
                    <a:pt x="54" y="163"/>
                    <a:pt x="54" y="163"/>
                    <a:pt x="54" y="163"/>
                  </a:cubicBezTo>
                  <a:cubicBezTo>
                    <a:pt x="57" y="162"/>
                    <a:pt x="61" y="160"/>
                    <a:pt x="64" y="159"/>
                  </a:cubicBezTo>
                  <a:cubicBezTo>
                    <a:pt x="66" y="157"/>
                    <a:pt x="69" y="156"/>
                    <a:pt x="72" y="154"/>
                  </a:cubicBezTo>
                  <a:lnTo>
                    <a:pt x="79" y="154"/>
                  </a:lnTo>
                  <a:close/>
                  <a:moveTo>
                    <a:pt x="117" y="215"/>
                  </a:moveTo>
                  <a:cubicBezTo>
                    <a:pt x="103" y="215"/>
                    <a:pt x="96" y="205"/>
                    <a:pt x="96" y="185"/>
                  </a:cubicBezTo>
                  <a:cubicBezTo>
                    <a:pt x="96" y="175"/>
                    <a:pt x="98" y="167"/>
                    <a:pt x="102" y="162"/>
                  </a:cubicBezTo>
                  <a:cubicBezTo>
                    <a:pt x="106" y="157"/>
                    <a:pt x="111" y="154"/>
                    <a:pt x="118" y="154"/>
                  </a:cubicBezTo>
                  <a:cubicBezTo>
                    <a:pt x="132" y="154"/>
                    <a:pt x="139" y="164"/>
                    <a:pt x="139" y="184"/>
                  </a:cubicBezTo>
                  <a:cubicBezTo>
                    <a:pt x="139" y="194"/>
                    <a:pt x="137" y="201"/>
                    <a:pt x="133" y="207"/>
                  </a:cubicBezTo>
                  <a:cubicBezTo>
                    <a:pt x="130" y="212"/>
                    <a:pt x="124" y="215"/>
                    <a:pt x="117" y="215"/>
                  </a:cubicBezTo>
                  <a:close/>
                  <a:moveTo>
                    <a:pt x="118" y="164"/>
                  </a:moveTo>
                  <a:cubicBezTo>
                    <a:pt x="112" y="164"/>
                    <a:pt x="109" y="171"/>
                    <a:pt x="109" y="185"/>
                  </a:cubicBezTo>
                  <a:cubicBezTo>
                    <a:pt x="109" y="198"/>
                    <a:pt x="112" y="205"/>
                    <a:pt x="118" y="205"/>
                  </a:cubicBezTo>
                  <a:cubicBezTo>
                    <a:pt x="123" y="205"/>
                    <a:pt x="126" y="198"/>
                    <a:pt x="126" y="184"/>
                  </a:cubicBezTo>
                  <a:cubicBezTo>
                    <a:pt x="126" y="171"/>
                    <a:pt x="123" y="164"/>
                    <a:pt x="118" y="164"/>
                  </a:cubicBezTo>
                  <a:close/>
                  <a:moveTo>
                    <a:pt x="176" y="154"/>
                  </a:moveTo>
                  <a:cubicBezTo>
                    <a:pt x="176" y="214"/>
                    <a:pt x="176" y="214"/>
                    <a:pt x="176" y="214"/>
                  </a:cubicBezTo>
                  <a:cubicBezTo>
                    <a:pt x="163" y="214"/>
                    <a:pt x="163" y="214"/>
                    <a:pt x="163" y="214"/>
                  </a:cubicBezTo>
                  <a:cubicBezTo>
                    <a:pt x="163" y="168"/>
                    <a:pt x="163" y="168"/>
                    <a:pt x="163" y="168"/>
                  </a:cubicBezTo>
                  <a:cubicBezTo>
                    <a:pt x="162" y="169"/>
                    <a:pt x="161" y="170"/>
                    <a:pt x="160" y="170"/>
                  </a:cubicBezTo>
                  <a:cubicBezTo>
                    <a:pt x="159" y="171"/>
                    <a:pt x="158" y="171"/>
                    <a:pt x="157" y="172"/>
                  </a:cubicBezTo>
                  <a:cubicBezTo>
                    <a:pt x="156" y="172"/>
                    <a:pt x="155" y="172"/>
                    <a:pt x="154" y="173"/>
                  </a:cubicBezTo>
                  <a:cubicBezTo>
                    <a:pt x="153" y="173"/>
                    <a:pt x="151" y="173"/>
                    <a:pt x="150" y="173"/>
                  </a:cubicBezTo>
                  <a:cubicBezTo>
                    <a:pt x="150" y="163"/>
                    <a:pt x="150" y="163"/>
                    <a:pt x="150" y="163"/>
                  </a:cubicBezTo>
                  <a:cubicBezTo>
                    <a:pt x="154" y="162"/>
                    <a:pt x="157" y="160"/>
                    <a:pt x="160" y="159"/>
                  </a:cubicBezTo>
                  <a:cubicBezTo>
                    <a:pt x="163" y="157"/>
                    <a:pt x="165" y="156"/>
                    <a:pt x="168" y="154"/>
                  </a:cubicBezTo>
                  <a:lnTo>
                    <a:pt x="176" y="154"/>
                  </a:lnTo>
                  <a:close/>
                  <a:moveTo>
                    <a:pt x="214" y="215"/>
                  </a:moveTo>
                  <a:cubicBezTo>
                    <a:pt x="200" y="215"/>
                    <a:pt x="193" y="205"/>
                    <a:pt x="193" y="185"/>
                  </a:cubicBezTo>
                  <a:cubicBezTo>
                    <a:pt x="193" y="175"/>
                    <a:pt x="195" y="167"/>
                    <a:pt x="198" y="162"/>
                  </a:cubicBezTo>
                  <a:cubicBezTo>
                    <a:pt x="202" y="157"/>
                    <a:pt x="208" y="154"/>
                    <a:pt x="215" y="154"/>
                  </a:cubicBezTo>
                  <a:cubicBezTo>
                    <a:pt x="228" y="154"/>
                    <a:pt x="235" y="164"/>
                    <a:pt x="235" y="184"/>
                  </a:cubicBezTo>
                  <a:cubicBezTo>
                    <a:pt x="235" y="194"/>
                    <a:pt x="233" y="201"/>
                    <a:pt x="230" y="207"/>
                  </a:cubicBezTo>
                  <a:cubicBezTo>
                    <a:pt x="226" y="212"/>
                    <a:pt x="221" y="215"/>
                    <a:pt x="214" y="215"/>
                  </a:cubicBezTo>
                  <a:close/>
                  <a:moveTo>
                    <a:pt x="214" y="164"/>
                  </a:moveTo>
                  <a:cubicBezTo>
                    <a:pt x="209" y="164"/>
                    <a:pt x="206" y="171"/>
                    <a:pt x="206" y="185"/>
                  </a:cubicBezTo>
                  <a:cubicBezTo>
                    <a:pt x="206" y="198"/>
                    <a:pt x="209" y="205"/>
                    <a:pt x="214" y="205"/>
                  </a:cubicBezTo>
                  <a:cubicBezTo>
                    <a:pt x="219" y="205"/>
                    <a:pt x="222" y="198"/>
                    <a:pt x="222" y="184"/>
                  </a:cubicBezTo>
                  <a:cubicBezTo>
                    <a:pt x="222" y="171"/>
                    <a:pt x="219" y="164"/>
                    <a:pt x="214" y="164"/>
                  </a:cubicBezTo>
                  <a:close/>
                  <a:moveTo>
                    <a:pt x="272" y="154"/>
                  </a:moveTo>
                  <a:cubicBezTo>
                    <a:pt x="272" y="214"/>
                    <a:pt x="272" y="214"/>
                    <a:pt x="272" y="214"/>
                  </a:cubicBezTo>
                  <a:cubicBezTo>
                    <a:pt x="259" y="214"/>
                    <a:pt x="259" y="214"/>
                    <a:pt x="259" y="214"/>
                  </a:cubicBezTo>
                  <a:cubicBezTo>
                    <a:pt x="259" y="168"/>
                    <a:pt x="259" y="168"/>
                    <a:pt x="259" y="168"/>
                  </a:cubicBezTo>
                  <a:cubicBezTo>
                    <a:pt x="258" y="169"/>
                    <a:pt x="258" y="170"/>
                    <a:pt x="257" y="170"/>
                  </a:cubicBezTo>
                  <a:cubicBezTo>
                    <a:pt x="256" y="171"/>
                    <a:pt x="255" y="171"/>
                    <a:pt x="254" y="172"/>
                  </a:cubicBezTo>
                  <a:cubicBezTo>
                    <a:pt x="252" y="172"/>
                    <a:pt x="251" y="172"/>
                    <a:pt x="250" y="173"/>
                  </a:cubicBezTo>
                  <a:cubicBezTo>
                    <a:pt x="249" y="173"/>
                    <a:pt x="248" y="173"/>
                    <a:pt x="247" y="173"/>
                  </a:cubicBezTo>
                  <a:cubicBezTo>
                    <a:pt x="247" y="163"/>
                    <a:pt x="247" y="163"/>
                    <a:pt x="247" y="163"/>
                  </a:cubicBezTo>
                  <a:cubicBezTo>
                    <a:pt x="250" y="162"/>
                    <a:pt x="253" y="160"/>
                    <a:pt x="256" y="159"/>
                  </a:cubicBezTo>
                  <a:cubicBezTo>
                    <a:pt x="259" y="157"/>
                    <a:pt x="262" y="156"/>
                    <a:pt x="264" y="154"/>
                  </a:cubicBezTo>
                  <a:lnTo>
                    <a:pt x="272" y="154"/>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62" name="Freeform 61"/>
            <p:cNvSpPr>
              <a:spLocks noChangeAspect="1"/>
            </p:cNvSpPr>
            <p:nvPr/>
          </p:nvSpPr>
          <p:spPr bwMode="black">
            <a:xfrm>
              <a:off x="810855" y="2476645"/>
              <a:ext cx="373866" cy="260946"/>
            </a:xfrm>
            <a:custGeom>
              <a:avLst/>
              <a:gdLst>
                <a:gd name="connsiteX0" fmla="*/ 541228 w 979570"/>
                <a:gd name="connsiteY0" fmla="*/ 531962 h 887227"/>
                <a:gd name="connsiteX1" fmla="*/ 547155 w 979570"/>
                <a:gd name="connsiteY1" fmla="*/ 538150 h 887227"/>
                <a:gd name="connsiteX2" fmla="*/ 760399 w 979570"/>
                <a:gd name="connsiteY2" fmla="*/ 601984 h 887227"/>
                <a:gd name="connsiteX3" fmla="*/ 973643 w 979570"/>
                <a:gd name="connsiteY3" fmla="*/ 538150 h 887227"/>
                <a:gd name="connsiteX4" fmla="*/ 979570 w 979570"/>
                <a:gd name="connsiteY4" fmla="*/ 531962 h 887227"/>
                <a:gd name="connsiteX5" fmla="*/ 979570 w 979570"/>
                <a:gd name="connsiteY5" fmla="*/ 776991 h 887227"/>
                <a:gd name="connsiteX6" fmla="*/ 979570 w 979570"/>
                <a:gd name="connsiteY6" fmla="*/ 776993 h 887227"/>
                <a:gd name="connsiteX7" fmla="*/ 760399 w 979570"/>
                <a:gd name="connsiteY7" fmla="*/ 887227 h 887227"/>
                <a:gd name="connsiteX8" fmla="*/ 541228 w 979570"/>
                <a:gd name="connsiteY8" fmla="*/ 776993 h 887227"/>
                <a:gd name="connsiteX9" fmla="*/ 541228 w 979570"/>
                <a:gd name="connsiteY9" fmla="*/ 776993 h 887227"/>
                <a:gd name="connsiteX10" fmla="*/ 0 w 979570"/>
                <a:gd name="connsiteY10" fmla="*/ 531962 h 887227"/>
                <a:gd name="connsiteX11" fmla="*/ 5927 w 979570"/>
                <a:gd name="connsiteY11" fmla="*/ 538150 h 887227"/>
                <a:gd name="connsiteX12" fmla="*/ 219171 w 979570"/>
                <a:gd name="connsiteY12" fmla="*/ 601984 h 887227"/>
                <a:gd name="connsiteX13" fmla="*/ 432415 w 979570"/>
                <a:gd name="connsiteY13" fmla="*/ 538150 h 887227"/>
                <a:gd name="connsiteX14" fmla="*/ 438342 w 979570"/>
                <a:gd name="connsiteY14" fmla="*/ 531962 h 887227"/>
                <a:gd name="connsiteX15" fmla="*/ 438342 w 979570"/>
                <a:gd name="connsiteY15" fmla="*/ 776991 h 887227"/>
                <a:gd name="connsiteX16" fmla="*/ 438342 w 979570"/>
                <a:gd name="connsiteY16" fmla="*/ 776993 h 887227"/>
                <a:gd name="connsiteX17" fmla="*/ 219171 w 979570"/>
                <a:gd name="connsiteY17" fmla="*/ 887227 h 887227"/>
                <a:gd name="connsiteX18" fmla="*/ 0 w 979570"/>
                <a:gd name="connsiteY18" fmla="*/ 776993 h 887227"/>
                <a:gd name="connsiteX19" fmla="*/ 0 w 979570"/>
                <a:gd name="connsiteY19" fmla="*/ 776993 h 887227"/>
                <a:gd name="connsiteX20" fmla="*/ 760036 w 979570"/>
                <a:gd name="connsiteY20" fmla="*/ 322411 h 887227"/>
                <a:gd name="connsiteX21" fmla="*/ 978844 w 979570"/>
                <a:gd name="connsiteY21" fmla="*/ 444386 h 887227"/>
                <a:gd name="connsiteX22" fmla="*/ 760036 w 979570"/>
                <a:gd name="connsiteY22" fmla="*/ 566361 h 887227"/>
                <a:gd name="connsiteX23" fmla="*/ 541228 w 979570"/>
                <a:gd name="connsiteY23" fmla="*/ 444386 h 887227"/>
                <a:gd name="connsiteX24" fmla="*/ 760036 w 979570"/>
                <a:gd name="connsiteY24" fmla="*/ 322411 h 887227"/>
                <a:gd name="connsiteX25" fmla="*/ 0 w 979570"/>
                <a:gd name="connsiteY25" fmla="*/ 209552 h 887227"/>
                <a:gd name="connsiteX26" fmla="*/ 5927 w 979570"/>
                <a:gd name="connsiteY26" fmla="*/ 215739 h 887227"/>
                <a:gd name="connsiteX27" fmla="*/ 219171 w 979570"/>
                <a:gd name="connsiteY27" fmla="*/ 279574 h 887227"/>
                <a:gd name="connsiteX28" fmla="*/ 432415 w 979570"/>
                <a:gd name="connsiteY28" fmla="*/ 215739 h 887227"/>
                <a:gd name="connsiteX29" fmla="*/ 438342 w 979570"/>
                <a:gd name="connsiteY29" fmla="*/ 209552 h 887227"/>
                <a:gd name="connsiteX30" fmla="*/ 438342 w 979570"/>
                <a:gd name="connsiteY30" fmla="*/ 454580 h 887227"/>
                <a:gd name="connsiteX31" fmla="*/ 438342 w 979570"/>
                <a:gd name="connsiteY31" fmla="*/ 454583 h 887227"/>
                <a:gd name="connsiteX32" fmla="*/ 219171 w 979570"/>
                <a:gd name="connsiteY32" fmla="*/ 564817 h 887227"/>
                <a:gd name="connsiteX33" fmla="*/ 0 w 979570"/>
                <a:gd name="connsiteY33" fmla="*/ 454583 h 887227"/>
                <a:gd name="connsiteX34" fmla="*/ 0 w 979570"/>
                <a:gd name="connsiteY34" fmla="*/ 454582 h 887227"/>
                <a:gd name="connsiteX35" fmla="*/ 218808 w 979570"/>
                <a:gd name="connsiteY35" fmla="*/ 0 h 887227"/>
                <a:gd name="connsiteX36" fmla="*/ 437616 w 979570"/>
                <a:gd name="connsiteY36" fmla="*/ 121975 h 887227"/>
                <a:gd name="connsiteX37" fmla="*/ 218808 w 979570"/>
                <a:gd name="connsiteY37" fmla="*/ 243950 h 887227"/>
                <a:gd name="connsiteX38" fmla="*/ 0 w 979570"/>
                <a:gd name="connsiteY38" fmla="*/ 121975 h 887227"/>
                <a:gd name="connsiteX39" fmla="*/ 218808 w 979570"/>
                <a:gd name="connsiteY39" fmla="*/ 0 h 8872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979570" h="887227">
                  <a:moveTo>
                    <a:pt x="541228" y="531962"/>
                  </a:moveTo>
                  <a:lnTo>
                    <a:pt x="547155" y="538150"/>
                  </a:lnTo>
                  <a:cubicBezTo>
                    <a:pt x="588222" y="576173"/>
                    <a:pt x="668317" y="601984"/>
                    <a:pt x="760399" y="601984"/>
                  </a:cubicBezTo>
                  <a:cubicBezTo>
                    <a:pt x="852481" y="601984"/>
                    <a:pt x="932576" y="576173"/>
                    <a:pt x="973643" y="538150"/>
                  </a:cubicBezTo>
                  <a:lnTo>
                    <a:pt x="979570" y="531962"/>
                  </a:lnTo>
                  <a:lnTo>
                    <a:pt x="979570" y="776991"/>
                  </a:lnTo>
                  <a:lnTo>
                    <a:pt x="979570" y="776993"/>
                  </a:lnTo>
                  <a:cubicBezTo>
                    <a:pt x="979570" y="837874"/>
                    <a:pt x="881444" y="887227"/>
                    <a:pt x="760399" y="887227"/>
                  </a:cubicBezTo>
                  <a:cubicBezTo>
                    <a:pt x="639354" y="887227"/>
                    <a:pt x="541228" y="837874"/>
                    <a:pt x="541228" y="776993"/>
                  </a:cubicBezTo>
                  <a:lnTo>
                    <a:pt x="541228" y="776993"/>
                  </a:lnTo>
                  <a:close/>
                  <a:moveTo>
                    <a:pt x="0" y="531962"/>
                  </a:moveTo>
                  <a:lnTo>
                    <a:pt x="5927" y="538150"/>
                  </a:lnTo>
                  <a:cubicBezTo>
                    <a:pt x="46994" y="576173"/>
                    <a:pt x="127089" y="601984"/>
                    <a:pt x="219171" y="601984"/>
                  </a:cubicBezTo>
                  <a:cubicBezTo>
                    <a:pt x="311253" y="601984"/>
                    <a:pt x="391348" y="576173"/>
                    <a:pt x="432415" y="538150"/>
                  </a:cubicBezTo>
                  <a:lnTo>
                    <a:pt x="438342" y="531962"/>
                  </a:lnTo>
                  <a:lnTo>
                    <a:pt x="438342" y="776991"/>
                  </a:lnTo>
                  <a:lnTo>
                    <a:pt x="438342" y="776993"/>
                  </a:lnTo>
                  <a:cubicBezTo>
                    <a:pt x="438342" y="837874"/>
                    <a:pt x="340216" y="887227"/>
                    <a:pt x="219171" y="887227"/>
                  </a:cubicBezTo>
                  <a:cubicBezTo>
                    <a:pt x="98126" y="887227"/>
                    <a:pt x="0" y="837874"/>
                    <a:pt x="0" y="776993"/>
                  </a:cubicBezTo>
                  <a:lnTo>
                    <a:pt x="0" y="776993"/>
                  </a:lnTo>
                  <a:close/>
                  <a:moveTo>
                    <a:pt x="760036" y="322411"/>
                  </a:moveTo>
                  <a:cubicBezTo>
                    <a:pt x="880880" y="322411"/>
                    <a:pt x="978844" y="377021"/>
                    <a:pt x="978844" y="444386"/>
                  </a:cubicBezTo>
                  <a:cubicBezTo>
                    <a:pt x="978844" y="511751"/>
                    <a:pt x="880880" y="566361"/>
                    <a:pt x="760036" y="566361"/>
                  </a:cubicBezTo>
                  <a:cubicBezTo>
                    <a:pt x="639192" y="566361"/>
                    <a:pt x="541228" y="511751"/>
                    <a:pt x="541228" y="444386"/>
                  </a:cubicBezTo>
                  <a:cubicBezTo>
                    <a:pt x="541228" y="377021"/>
                    <a:pt x="639192" y="322411"/>
                    <a:pt x="760036" y="322411"/>
                  </a:cubicBezTo>
                  <a:close/>
                  <a:moveTo>
                    <a:pt x="0" y="209552"/>
                  </a:moveTo>
                  <a:lnTo>
                    <a:pt x="5927" y="215739"/>
                  </a:lnTo>
                  <a:cubicBezTo>
                    <a:pt x="46994" y="253762"/>
                    <a:pt x="127089" y="279574"/>
                    <a:pt x="219171" y="279574"/>
                  </a:cubicBezTo>
                  <a:cubicBezTo>
                    <a:pt x="311253" y="279574"/>
                    <a:pt x="391348" y="253762"/>
                    <a:pt x="432415" y="215739"/>
                  </a:cubicBezTo>
                  <a:lnTo>
                    <a:pt x="438342" y="209552"/>
                  </a:lnTo>
                  <a:lnTo>
                    <a:pt x="438342" y="454580"/>
                  </a:lnTo>
                  <a:lnTo>
                    <a:pt x="438342" y="454583"/>
                  </a:lnTo>
                  <a:cubicBezTo>
                    <a:pt x="438342" y="515463"/>
                    <a:pt x="340216" y="564817"/>
                    <a:pt x="219171" y="564817"/>
                  </a:cubicBezTo>
                  <a:cubicBezTo>
                    <a:pt x="98126" y="564817"/>
                    <a:pt x="0" y="515463"/>
                    <a:pt x="0" y="454583"/>
                  </a:cubicBezTo>
                  <a:lnTo>
                    <a:pt x="0" y="454582"/>
                  </a:lnTo>
                  <a:close/>
                  <a:moveTo>
                    <a:pt x="218808" y="0"/>
                  </a:moveTo>
                  <a:cubicBezTo>
                    <a:pt x="339652" y="0"/>
                    <a:pt x="437616" y="54610"/>
                    <a:pt x="437616" y="121975"/>
                  </a:cubicBezTo>
                  <a:cubicBezTo>
                    <a:pt x="437616" y="189340"/>
                    <a:pt x="339652" y="243950"/>
                    <a:pt x="218808" y="243950"/>
                  </a:cubicBezTo>
                  <a:cubicBezTo>
                    <a:pt x="97964" y="243950"/>
                    <a:pt x="0" y="189340"/>
                    <a:pt x="0" y="121975"/>
                  </a:cubicBezTo>
                  <a:cubicBezTo>
                    <a:pt x="0" y="54610"/>
                    <a:pt x="97964" y="0"/>
                    <a:pt x="218808"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8" tIns="109719" rIns="137148" bIns="109719" numCol="1" spcCol="0" rtlCol="0" fromWordArt="0" anchor="t" anchorCtr="0" forceAA="0" compatLnSpc="1">
              <a:prstTxWarp prst="textNoShape">
                <a:avLst/>
              </a:prstTxWarp>
              <a:noAutofit/>
            </a:bodyPr>
            <a:lstStyle/>
            <a:p>
              <a:pPr algn="ctr" defTabSz="699261" fontAlgn="base">
                <a:lnSpc>
                  <a:spcPct val="90000"/>
                </a:lnSpc>
                <a:spcBef>
                  <a:spcPct val="0"/>
                </a:spcBef>
                <a:spcAft>
                  <a:spcPct val="0"/>
                </a:spcAft>
              </a:pPr>
              <a:endParaRPr lang="en-US">
                <a:gradFill>
                  <a:gsLst>
                    <a:gs pos="0">
                      <a:srgbClr val="FFFFFF"/>
                    </a:gs>
                    <a:gs pos="100000">
                      <a:srgbClr val="FFFFFF"/>
                    </a:gs>
                  </a:gsLst>
                  <a:lin ang="5400000" scaled="0"/>
                </a:gradFill>
                <a:ea typeface="Segoe UI" pitchFamily="34" charset="0"/>
                <a:cs typeface="Segoe UI" pitchFamily="34" charset="0"/>
              </a:endParaRPr>
            </a:p>
          </p:txBody>
        </p:sp>
      </p:grpSp>
      <p:grpSp>
        <p:nvGrpSpPr>
          <p:cNvPr id="63" name="Group 62"/>
          <p:cNvGrpSpPr>
            <a:grpSpLocks noChangeAspect="1"/>
          </p:cNvGrpSpPr>
          <p:nvPr/>
        </p:nvGrpSpPr>
        <p:grpSpPr>
          <a:xfrm>
            <a:off x="197042" y="2842214"/>
            <a:ext cx="457200" cy="457200"/>
            <a:chOff x="719415" y="3138080"/>
            <a:chExt cx="640080" cy="640080"/>
          </a:xfrm>
        </p:grpSpPr>
        <p:pic>
          <p:nvPicPr>
            <p:cNvPr id="64" name="Picture 6" descr="\\MAGNUM\Projects\Microsoft\Cloud Power FY12\Design\ICONS_PNG\Cloud.png"/>
            <p:cNvPicPr>
              <a:picLocks noChangeAspect="1" noChangeArrowheads="1"/>
            </p:cNvPicPr>
            <p:nvPr/>
          </p:nvPicPr>
          <p:blipFill>
            <a:blip r:embed="rId3" cstate="print">
              <a:biLevel thresh="75000"/>
            </a:blip>
            <a:srcRect/>
            <a:stretch>
              <a:fillRect/>
            </a:stretch>
          </p:blipFill>
          <p:spPr bwMode="auto">
            <a:xfrm>
              <a:off x="719415" y="3138080"/>
              <a:ext cx="640080" cy="640080"/>
            </a:xfrm>
            <a:prstGeom prst="rect">
              <a:avLst/>
            </a:prstGeom>
            <a:noFill/>
          </p:spPr>
        </p:pic>
        <p:pic>
          <p:nvPicPr>
            <p:cNvPr id="68" name="Picture 67"/>
            <p:cNvPicPr>
              <a:picLocks noChangeAspect="1"/>
            </p:cNvPicPr>
            <p:nvPr/>
          </p:nvPicPr>
          <p:blipFill>
            <a:blip r:embed="rId4"/>
            <a:stretch>
              <a:fillRect/>
            </a:stretch>
          </p:blipFill>
          <p:spPr>
            <a:xfrm flipH="1">
              <a:off x="975955" y="3370303"/>
              <a:ext cx="127000" cy="175846"/>
            </a:xfrm>
            <a:prstGeom prst="rect">
              <a:avLst/>
            </a:prstGeom>
          </p:spPr>
        </p:pic>
      </p:grpSp>
      <p:sp>
        <p:nvSpPr>
          <p:cNvPr id="69" name="Freeform 122"/>
          <p:cNvSpPr>
            <a:spLocks noChangeAspect="1"/>
          </p:cNvSpPr>
          <p:nvPr/>
        </p:nvSpPr>
        <p:spPr bwMode="black">
          <a:xfrm>
            <a:off x="266989" y="4843626"/>
            <a:ext cx="317305" cy="320040"/>
          </a:xfrm>
          <a:custGeom>
            <a:avLst/>
            <a:gdLst>
              <a:gd name="T0" fmla="*/ 61 w 70"/>
              <a:gd name="T1" fmla="*/ 11 h 71"/>
              <a:gd name="T2" fmla="*/ 60 w 70"/>
              <a:gd name="T3" fmla="*/ 11 h 71"/>
              <a:gd name="T4" fmla="*/ 53 w 70"/>
              <a:gd name="T5" fmla="*/ 18 h 71"/>
              <a:gd name="T6" fmla="*/ 53 w 70"/>
              <a:gd name="T7" fmla="*/ 19 h 71"/>
              <a:gd name="T8" fmla="*/ 53 w 70"/>
              <a:gd name="T9" fmla="*/ 19 h 71"/>
              <a:gd name="T10" fmla="*/ 60 w 70"/>
              <a:gd name="T11" fmla="*/ 35 h 71"/>
              <a:gd name="T12" fmla="*/ 35 w 70"/>
              <a:gd name="T13" fmla="*/ 60 h 71"/>
              <a:gd name="T14" fmla="*/ 10 w 70"/>
              <a:gd name="T15" fmla="*/ 36 h 71"/>
              <a:gd name="T16" fmla="*/ 16 w 70"/>
              <a:gd name="T17" fmla="*/ 21 h 71"/>
              <a:gd name="T18" fmla="*/ 18 w 70"/>
              <a:gd name="T19" fmla="*/ 18 h 71"/>
              <a:gd name="T20" fmla="*/ 25 w 70"/>
              <a:gd name="T21" fmla="*/ 26 h 71"/>
              <a:gd name="T22" fmla="*/ 30 w 70"/>
              <a:gd name="T23" fmla="*/ 0 h 71"/>
              <a:gd name="T24" fmla="*/ 4 w 70"/>
              <a:gd name="T25" fmla="*/ 2 h 71"/>
              <a:gd name="T26" fmla="*/ 11 w 70"/>
              <a:gd name="T27" fmla="*/ 10 h 71"/>
              <a:gd name="T28" fmla="*/ 9 w 70"/>
              <a:gd name="T29" fmla="*/ 12 h 71"/>
              <a:gd name="T30" fmla="*/ 0 w 70"/>
              <a:gd name="T31" fmla="*/ 36 h 71"/>
              <a:gd name="T32" fmla="*/ 35 w 70"/>
              <a:gd name="T33" fmla="*/ 71 h 71"/>
              <a:gd name="T34" fmla="*/ 35 w 70"/>
              <a:gd name="T35" fmla="*/ 71 h 71"/>
              <a:gd name="T36" fmla="*/ 70 w 70"/>
              <a:gd name="T37" fmla="*/ 35 h 71"/>
              <a:gd name="T38" fmla="*/ 61 w 70"/>
              <a:gd name="T39" fmla="*/ 1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0" h="71">
                <a:moveTo>
                  <a:pt x="61" y="11"/>
                </a:moveTo>
                <a:cubicBezTo>
                  <a:pt x="60" y="11"/>
                  <a:pt x="60" y="11"/>
                  <a:pt x="60" y="11"/>
                </a:cubicBezTo>
                <a:cubicBezTo>
                  <a:pt x="53" y="18"/>
                  <a:pt x="53" y="18"/>
                  <a:pt x="53" y="18"/>
                </a:cubicBezTo>
                <a:cubicBezTo>
                  <a:pt x="53" y="19"/>
                  <a:pt x="53" y="19"/>
                  <a:pt x="53" y="19"/>
                </a:cubicBezTo>
                <a:cubicBezTo>
                  <a:pt x="53" y="19"/>
                  <a:pt x="53" y="19"/>
                  <a:pt x="53" y="19"/>
                </a:cubicBezTo>
                <a:cubicBezTo>
                  <a:pt x="57" y="23"/>
                  <a:pt x="60" y="29"/>
                  <a:pt x="60" y="35"/>
                </a:cubicBezTo>
                <a:cubicBezTo>
                  <a:pt x="60" y="49"/>
                  <a:pt x="49" y="60"/>
                  <a:pt x="35" y="60"/>
                </a:cubicBezTo>
                <a:cubicBezTo>
                  <a:pt x="22" y="60"/>
                  <a:pt x="11" y="49"/>
                  <a:pt x="10" y="36"/>
                </a:cubicBezTo>
                <a:cubicBezTo>
                  <a:pt x="10" y="30"/>
                  <a:pt x="12" y="25"/>
                  <a:pt x="16" y="21"/>
                </a:cubicBezTo>
                <a:cubicBezTo>
                  <a:pt x="18" y="18"/>
                  <a:pt x="18" y="18"/>
                  <a:pt x="18" y="18"/>
                </a:cubicBezTo>
                <a:cubicBezTo>
                  <a:pt x="25" y="26"/>
                  <a:pt x="25" y="26"/>
                  <a:pt x="25" y="26"/>
                </a:cubicBezTo>
                <a:cubicBezTo>
                  <a:pt x="30" y="0"/>
                  <a:pt x="30" y="0"/>
                  <a:pt x="30" y="0"/>
                </a:cubicBezTo>
                <a:cubicBezTo>
                  <a:pt x="4" y="2"/>
                  <a:pt x="4" y="2"/>
                  <a:pt x="4" y="2"/>
                </a:cubicBezTo>
                <a:cubicBezTo>
                  <a:pt x="11" y="10"/>
                  <a:pt x="11" y="10"/>
                  <a:pt x="11" y="10"/>
                </a:cubicBezTo>
                <a:cubicBezTo>
                  <a:pt x="9" y="12"/>
                  <a:pt x="9" y="12"/>
                  <a:pt x="9" y="12"/>
                </a:cubicBezTo>
                <a:cubicBezTo>
                  <a:pt x="3" y="19"/>
                  <a:pt x="0" y="27"/>
                  <a:pt x="0" y="36"/>
                </a:cubicBezTo>
                <a:cubicBezTo>
                  <a:pt x="0" y="55"/>
                  <a:pt x="16" y="71"/>
                  <a:pt x="35" y="71"/>
                </a:cubicBezTo>
                <a:cubicBezTo>
                  <a:pt x="35" y="71"/>
                  <a:pt x="35" y="71"/>
                  <a:pt x="35" y="71"/>
                </a:cubicBezTo>
                <a:cubicBezTo>
                  <a:pt x="55" y="71"/>
                  <a:pt x="70" y="55"/>
                  <a:pt x="70" y="35"/>
                </a:cubicBezTo>
                <a:cubicBezTo>
                  <a:pt x="70" y="26"/>
                  <a:pt x="67" y="18"/>
                  <a:pt x="61" y="11"/>
                </a:cubicBezTo>
              </a:path>
            </a:pathLst>
          </a:custGeom>
          <a:solidFill>
            <a:schemeClr val="tx1"/>
          </a:solidFill>
          <a:ln>
            <a:noFill/>
          </a:ln>
        </p:spPr>
        <p:txBody>
          <a:bodyPr vert="horz" wrap="square" lIns="69953" tIns="34976" rIns="69953" bIns="34976" numCol="1" anchor="t" anchorCtr="0" compatLnSpc="1">
            <a:prstTxWarp prst="textNoShape">
              <a:avLst/>
            </a:prstTxWarp>
          </a:bodyPr>
          <a:lstStyle/>
          <a:p>
            <a:endParaRPr lang="en-US" sz="1350">
              <a:solidFill>
                <a:srgbClr val="000000"/>
              </a:solidFill>
            </a:endParaRPr>
          </a:p>
        </p:txBody>
      </p:sp>
      <p:sp>
        <p:nvSpPr>
          <p:cNvPr id="70" name="Freeform 21"/>
          <p:cNvSpPr>
            <a:spLocks noChangeAspect="1" noEditPoints="1"/>
          </p:cNvSpPr>
          <p:nvPr/>
        </p:nvSpPr>
        <p:spPr bwMode="black">
          <a:xfrm>
            <a:off x="242762" y="3875709"/>
            <a:ext cx="365760" cy="318790"/>
          </a:xfrm>
          <a:custGeom>
            <a:avLst/>
            <a:gdLst>
              <a:gd name="T0" fmla="*/ 1220 w 1220"/>
              <a:gd name="T1" fmla="*/ 204 h 1063"/>
              <a:gd name="T2" fmla="*/ 1096 w 1220"/>
              <a:gd name="T3" fmla="*/ 79 h 1063"/>
              <a:gd name="T4" fmla="*/ 978 w 1220"/>
              <a:gd name="T5" fmla="*/ 164 h 1063"/>
              <a:gd name="T6" fmla="*/ 589 w 1220"/>
              <a:gd name="T7" fmla="*/ 115 h 1063"/>
              <a:gd name="T8" fmla="*/ 465 w 1220"/>
              <a:gd name="T9" fmla="*/ 0 h 1063"/>
              <a:gd name="T10" fmla="*/ 340 w 1220"/>
              <a:gd name="T11" fmla="*/ 124 h 1063"/>
              <a:gd name="T12" fmla="*/ 370 w 1220"/>
              <a:gd name="T13" fmla="*/ 205 h 1063"/>
              <a:gd name="T14" fmla="*/ 180 w 1220"/>
              <a:gd name="T15" fmla="*/ 453 h 1063"/>
              <a:gd name="T16" fmla="*/ 125 w 1220"/>
              <a:gd name="T17" fmla="*/ 440 h 1063"/>
              <a:gd name="T18" fmla="*/ 0 w 1220"/>
              <a:gd name="T19" fmla="*/ 564 h 1063"/>
              <a:gd name="T20" fmla="*/ 125 w 1220"/>
              <a:gd name="T21" fmla="*/ 689 h 1063"/>
              <a:gd name="T22" fmla="*/ 197 w 1220"/>
              <a:gd name="T23" fmla="*/ 666 h 1063"/>
              <a:gd name="T24" fmla="*/ 416 w 1220"/>
              <a:gd name="T25" fmla="*/ 872 h 1063"/>
              <a:gd name="T26" fmla="*/ 397 w 1220"/>
              <a:gd name="T27" fmla="*/ 938 h 1063"/>
              <a:gd name="T28" fmla="*/ 521 w 1220"/>
              <a:gd name="T29" fmla="*/ 1063 h 1063"/>
              <a:gd name="T30" fmla="*/ 646 w 1220"/>
              <a:gd name="T31" fmla="*/ 938 h 1063"/>
              <a:gd name="T32" fmla="*/ 642 w 1220"/>
              <a:gd name="T33" fmla="*/ 908 h 1063"/>
              <a:gd name="T34" fmla="*/ 948 w 1220"/>
              <a:gd name="T35" fmla="*/ 763 h 1063"/>
              <a:gd name="T36" fmla="*/ 1048 w 1220"/>
              <a:gd name="T37" fmla="*/ 814 h 1063"/>
              <a:gd name="T38" fmla="*/ 1173 w 1220"/>
              <a:gd name="T39" fmla="*/ 689 h 1063"/>
              <a:gd name="T40" fmla="*/ 1084 w 1220"/>
              <a:gd name="T41" fmla="*/ 570 h 1063"/>
              <a:gd name="T42" fmla="*/ 1108 w 1220"/>
              <a:gd name="T43" fmla="*/ 327 h 1063"/>
              <a:gd name="T44" fmla="*/ 1220 w 1220"/>
              <a:gd name="T45" fmla="*/ 204 h 1063"/>
              <a:gd name="T46" fmla="*/ 521 w 1220"/>
              <a:gd name="T47" fmla="*/ 594 h 1063"/>
              <a:gd name="T48" fmla="*/ 493 w 1220"/>
              <a:gd name="T49" fmla="*/ 245 h 1063"/>
              <a:gd name="T50" fmla="*/ 535 w 1220"/>
              <a:gd name="T51" fmla="*/ 226 h 1063"/>
              <a:gd name="T52" fmla="*/ 944 w 1220"/>
              <a:gd name="T53" fmla="*/ 621 h 1063"/>
              <a:gd name="T54" fmla="*/ 930 w 1220"/>
              <a:gd name="T55" fmla="*/ 649 h 1063"/>
              <a:gd name="T56" fmla="*/ 521 w 1220"/>
              <a:gd name="T57" fmla="*/ 594 h 1063"/>
              <a:gd name="T58" fmla="*/ 490 w 1220"/>
              <a:gd name="T59" fmla="*/ 818 h 1063"/>
              <a:gd name="T60" fmla="*/ 449 w 1220"/>
              <a:gd name="T61" fmla="*/ 837 h 1063"/>
              <a:gd name="T62" fmla="*/ 230 w 1220"/>
              <a:gd name="T63" fmla="*/ 631 h 1063"/>
              <a:gd name="T64" fmla="*/ 242 w 1220"/>
              <a:gd name="T65" fmla="*/ 605 h 1063"/>
              <a:gd name="T66" fmla="*/ 476 w 1220"/>
              <a:gd name="T67" fmla="*/ 636 h 1063"/>
              <a:gd name="T68" fmla="*/ 490 w 1220"/>
              <a:gd name="T69" fmla="*/ 818 h 1063"/>
              <a:gd name="T70" fmla="*/ 249 w 1220"/>
              <a:gd name="T71" fmla="*/ 558 h 1063"/>
              <a:gd name="T72" fmla="*/ 218 w 1220"/>
              <a:gd name="T73" fmla="*/ 482 h 1063"/>
              <a:gd name="T74" fmla="*/ 408 w 1220"/>
              <a:gd name="T75" fmla="*/ 235 h 1063"/>
              <a:gd name="T76" fmla="*/ 445 w 1220"/>
              <a:gd name="T77" fmla="*/ 247 h 1063"/>
              <a:gd name="T78" fmla="*/ 472 w 1220"/>
              <a:gd name="T79" fmla="*/ 587 h 1063"/>
              <a:gd name="T80" fmla="*/ 249 w 1220"/>
              <a:gd name="T81" fmla="*/ 558 h 1063"/>
              <a:gd name="T82" fmla="*/ 977 w 1220"/>
              <a:gd name="T83" fmla="*/ 587 h 1063"/>
              <a:gd name="T84" fmla="*/ 569 w 1220"/>
              <a:gd name="T85" fmla="*/ 192 h 1063"/>
              <a:gd name="T86" fmla="*/ 583 w 1220"/>
              <a:gd name="T87" fmla="*/ 163 h 1063"/>
              <a:gd name="T88" fmla="*/ 972 w 1220"/>
              <a:gd name="T89" fmla="*/ 212 h 1063"/>
              <a:gd name="T90" fmla="*/ 1060 w 1220"/>
              <a:gd name="T91" fmla="*/ 323 h 1063"/>
              <a:gd name="T92" fmla="*/ 1036 w 1220"/>
              <a:gd name="T93" fmla="*/ 566 h 1063"/>
              <a:gd name="T94" fmla="*/ 977 w 1220"/>
              <a:gd name="T95" fmla="*/ 587 h 1063"/>
              <a:gd name="T96" fmla="*/ 621 w 1220"/>
              <a:gd name="T97" fmla="*/ 864 h 1063"/>
              <a:gd name="T98" fmla="*/ 538 w 1220"/>
              <a:gd name="T99" fmla="*/ 815 h 1063"/>
              <a:gd name="T100" fmla="*/ 524 w 1220"/>
              <a:gd name="T101" fmla="*/ 643 h 1063"/>
              <a:gd name="T102" fmla="*/ 924 w 1220"/>
              <a:gd name="T103" fmla="*/ 696 h 1063"/>
              <a:gd name="T104" fmla="*/ 927 w 1220"/>
              <a:gd name="T105" fmla="*/ 720 h 1063"/>
              <a:gd name="T106" fmla="*/ 621 w 1220"/>
              <a:gd name="T107" fmla="*/ 864 h 10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220" h="1063">
                <a:moveTo>
                  <a:pt x="1220" y="204"/>
                </a:moveTo>
                <a:cubicBezTo>
                  <a:pt x="1220" y="135"/>
                  <a:pt x="1164" y="79"/>
                  <a:pt x="1096" y="79"/>
                </a:cubicBezTo>
                <a:cubicBezTo>
                  <a:pt x="1041" y="79"/>
                  <a:pt x="994" y="115"/>
                  <a:pt x="978" y="164"/>
                </a:cubicBezTo>
                <a:cubicBezTo>
                  <a:pt x="589" y="115"/>
                  <a:pt x="589" y="115"/>
                  <a:pt x="589" y="115"/>
                </a:cubicBezTo>
                <a:cubicBezTo>
                  <a:pt x="584" y="51"/>
                  <a:pt x="530" y="0"/>
                  <a:pt x="465" y="0"/>
                </a:cubicBezTo>
                <a:cubicBezTo>
                  <a:pt x="396" y="0"/>
                  <a:pt x="340" y="55"/>
                  <a:pt x="340" y="124"/>
                </a:cubicBezTo>
                <a:cubicBezTo>
                  <a:pt x="340" y="155"/>
                  <a:pt x="352" y="183"/>
                  <a:pt x="370" y="205"/>
                </a:cubicBezTo>
                <a:cubicBezTo>
                  <a:pt x="180" y="453"/>
                  <a:pt x="180" y="453"/>
                  <a:pt x="180" y="453"/>
                </a:cubicBezTo>
                <a:cubicBezTo>
                  <a:pt x="163" y="445"/>
                  <a:pt x="145" y="440"/>
                  <a:pt x="125" y="440"/>
                </a:cubicBezTo>
                <a:cubicBezTo>
                  <a:pt x="56" y="440"/>
                  <a:pt x="0" y="496"/>
                  <a:pt x="0" y="564"/>
                </a:cubicBezTo>
                <a:cubicBezTo>
                  <a:pt x="0" y="633"/>
                  <a:pt x="56" y="689"/>
                  <a:pt x="125" y="689"/>
                </a:cubicBezTo>
                <a:cubicBezTo>
                  <a:pt x="152" y="689"/>
                  <a:pt x="177" y="680"/>
                  <a:pt x="197" y="666"/>
                </a:cubicBezTo>
                <a:cubicBezTo>
                  <a:pt x="416" y="872"/>
                  <a:pt x="416" y="872"/>
                  <a:pt x="416" y="872"/>
                </a:cubicBezTo>
                <a:cubicBezTo>
                  <a:pt x="404" y="891"/>
                  <a:pt x="397" y="914"/>
                  <a:pt x="397" y="938"/>
                </a:cubicBezTo>
                <a:cubicBezTo>
                  <a:pt x="397" y="1007"/>
                  <a:pt x="453" y="1063"/>
                  <a:pt x="521" y="1063"/>
                </a:cubicBezTo>
                <a:cubicBezTo>
                  <a:pt x="590" y="1063"/>
                  <a:pt x="646" y="1007"/>
                  <a:pt x="646" y="938"/>
                </a:cubicBezTo>
                <a:cubicBezTo>
                  <a:pt x="646" y="928"/>
                  <a:pt x="644" y="918"/>
                  <a:pt x="642" y="908"/>
                </a:cubicBezTo>
                <a:cubicBezTo>
                  <a:pt x="948" y="763"/>
                  <a:pt x="948" y="763"/>
                  <a:pt x="948" y="763"/>
                </a:cubicBezTo>
                <a:cubicBezTo>
                  <a:pt x="970" y="794"/>
                  <a:pt x="1007" y="814"/>
                  <a:pt x="1048" y="814"/>
                </a:cubicBezTo>
                <a:cubicBezTo>
                  <a:pt x="1117" y="814"/>
                  <a:pt x="1173" y="758"/>
                  <a:pt x="1173" y="689"/>
                </a:cubicBezTo>
                <a:cubicBezTo>
                  <a:pt x="1173" y="633"/>
                  <a:pt x="1135" y="586"/>
                  <a:pt x="1084" y="570"/>
                </a:cubicBezTo>
                <a:cubicBezTo>
                  <a:pt x="1108" y="327"/>
                  <a:pt x="1108" y="327"/>
                  <a:pt x="1108" y="327"/>
                </a:cubicBezTo>
                <a:cubicBezTo>
                  <a:pt x="1171" y="321"/>
                  <a:pt x="1220" y="268"/>
                  <a:pt x="1220" y="204"/>
                </a:cubicBezTo>
                <a:close/>
                <a:moveTo>
                  <a:pt x="521" y="594"/>
                </a:moveTo>
                <a:cubicBezTo>
                  <a:pt x="493" y="245"/>
                  <a:pt x="493" y="245"/>
                  <a:pt x="493" y="245"/>
                </a:cubicBezTo>
                <a:cubicBezTo>
                  <a:pt x="509" y="241"/>
                  <a:pt x="523" y="235"/>
                  <a:pt x="535" y="226"/>
                </a:cubicBezTo>
                <a:cubicBezTo>
                  <a:pt x="944" y="621"/>
                  <a:pt x="944" y="621"/>
                  <a:pt x="944" y="621"/>
                </a:cubicBezTo>
                <a:cubicBezTo>
                  <a:pt x="938" y="630"/>
                  <a:pt x="934" y="639"/>
                  <a:pt x="930" y="649"/>
                </a:cubicBezTo>
                <a:lnTo>
                  <a:pt x="521" y="594"/>
                </a:lnTo>
                <a:close/>
                <a:moveTo>
                  <a:pt x="490" y="818"/>
                </a:moveTo>
                <a:cubicBezTo>
                  <a:pt x="475" y="822"/>
                  <a:pt x="461" y="828"/>
                  <a:pt x="449" y="837"/>
                </a:cubicBezTo>
                <a:cubicBezTo>
                  <a:pt x="230" y="631"/>
                  <a:pt x="230" y="631"/>
                  <a:pt x="230" y="631"/>
                </a:cubicBezTo>
                <a:cubicBezTo>
                  <a:pt x="235" y="623"/>
                  <a:pt x="239" y="614"/>
                  <a:pt x="242" y="605"/>
                </a:cubicBezTo>
                <a:cubicBezTo>
                  <a:pt x="476" y="636"/>
                  <a:pt x="476" y="636"/>
                  <a:pt x="476" y="636"/>
                </a:cubicBezTo>
                <a:lnTo>
                  <a:pt x="490" y="818"/>
                </a:lnTo>
                <a:close/>
                <a:moveTo>
                  <a:pt x="249" y="558"/>
                </a:moveTo>
                <a:cubicBezTo>
                  <a:pt x="247" y="529"/>
                  <a:pt x="236" y="502"/>
                  <a:pt x="218" y="482"/>
                </a:cubicBezTo>
                <a:cubicBezTo>
                  <a:pt x="408" y="235"/>
                  <a:pt x="408" y="235"/>
                  <a:pt x="408" y="235"/>
                </a:cubicBezTo>
                <a:cubicBezTo>
                  <a:pt x="420" y="241"/>
                  <a:pt x="432" y="245"/>
                  <a:pt x="445" y="247"/>
                </a:cubicBezTo>
                <a:cubicBezTo>
                  <a:pt x="472" y="587"/>
                  <a:pt x="472" y="587"/>
                  <a:pt x="472" y="587"/>
                </a:cubicBezTo>
                <a:lnTo>
                  <a:pt x="249" y="558"/>
                </a:lnTo>
                <a:close/>
                <a:moveTo>
                  <a:pt x="977" y="587"/>
                </a:moveTo>
                <a:cubicBezTo>
                  <a:pt x="569" y="192"/>
                  <a:pt x="569" y="192"/>
                  <a:pt x="569" y="192"/>
                </a:cubicBezTo>
                <a:cubicBezTo>
                  <a:pt x="575" y="183"/>
                  <a:pt x="579" y="173"/>
                  <a:pt x="583" y="163"/>
                </a:cubicBezTo>
                <a:cubicBezTo>
                  <a:pt x="972" y="212"/>
                  <a:pt x="972" y="212"/>
                  <a:pt x="972" y="212"/>
                </a:cubicBezTo>
                <a:cubicBezTo>
                  <a:pt x="975" y="265"/>
                  <a:pt x="1011" y="308"/>
                  <a:pt x="1060" y="323"/>
                </a:cubicBezTo>
                <a:cubicBezTo>
                  <a:pt x="1036" y="566"/>
                  <a:pt x="1036" y="566"/>
                  <a:pt x="1036" y="566"/>
                </a:cubicBezTo>
                <a:cubicBezTo>
                  <a:pt x="1015" y="568"/>
                  <a:pt x="994" y="575"/>
                  <a:pt x="977" y="587"/>
                </a:cubicBezTo>
                <a:close/>
                <a:moveTo>
                  <a:pt x="621" y="864"/>
                </a:moveTo>
                <a:cubicBezTo>
                  <a:pt x="602" y="838"/>
                  <a:pt x="572" y="819"/>
                  <a:pt x="538" y="815"/>
                </a:cubicBezTo>
                <a:cubicBezTo>
                  <a:pt x="524" y="643"/>
                  <a:pt x="524" y="643"/>
                  <a:pt x="524" y="643"/>
                </a:cubicBezTo>
                <a:cubicBezTo>
                  <a:pt x="924" y="696"/>
                  <a:pt x="924" y="696"/>
                  <a:pt x="924" y="696"/>
                </a:cubicBezTo>
                <a:cubicBezTo>
                  <a:pt x="924" y="704"/>
                  <a:pt x="925" y="712"/>
                  <a:pt x="927" y="720"/>
                </a:cubicBezTo>
                <a:lnTo>
                  <a:pt x="621" y="864"/>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1177" tIns="56942" rIns="71177" bIns="56942" numCol="1" spcCol="0" rtlCol="0" fromWordArt="0" anchor="t" anchorCtr="0" forceAA="0" compatLnSpc="1">
            <a:prstTxWarp prst="textNoShape">
              <a:avLst/>
            </a:prstTxWarp>
            <a:noAutofit/>
          </a:bodyPr>
          <a:lstStyle/>
          <a:p>
            <a:pPr algn="ctr" defTabSz="362895" fontAlgn="base">
              <a:lnSpc>
                <a:spcPct val="90000"/>
              </a:lnSpc>
              <a:spcBef>
                <a:spcPct val="0"/>
              </a:spcBef>
              <a:spcAft>
                <a:spcPct val="0"/>
              </a:spcAft>
            </a:pPr>
            <a:endParaRPr lang="en-US" sz="934">
              <a:gradFill>
                <a:gsLst>
                  <a:gs pos="0">
                    <a:srgbClr val="FFFFFF"/>
                  </a:gs>
                  <a:gs pos="100000">
                    <a:srgbClr val="FFFFFF"/>
                  </a:gs>
                </a:gsLst>
                <a:lin ang="5400000" scaled="0"/>
              </a:gradFill>
              <a:ea typeface="Segoe UI" pitchFamily="34" charset="0"/>
              <a:cs typeface="Segoe UI" pitchFamily="34" charset="0"/>
            </a:endParaRPr>
          </a:p>
        </p:txBody>
      </p:sp>
      <p:sp>
        <p:nvSpPr>
          <p:cNvPr id="71" name="Freeform 70"/>
          <p:cNvSpPr>
            <a:spLocks noChangeAspect="1"/>
          </p:cNvSpPr>
          <p:nvPr/>
        </p:nvSpPr>
        <p:spPr bwMode="black">
          <a:xfrm>
            <a:off x="242762" y="5803220"/>
            <a:ext cx="365760" cy="320928"/>
          </a:xfrm>
          <a:custGeom>
            <a:avLst/>
            <a:gdLst/>
            <a:ahLst/>
            <a:cxnLst/>
            <a:rect l="l" t="t" r="r" b="b"/>
            <a:pathLst>
              <a:path w="4740335" h="4048081">
                <a:moveTo>
                  <a:pt x="3683614" y="1098549"/>
                </a:moveTo>
                <a:cubicBezTo>
                  <a:pt x="3683654" y="1098549"/>
                  <a:pt x="3689354" y="1098549"/>
                  <a:pt x="4502870" y="1098549"/>
                </a:cubicBezTo>
                <a:cubicBezTo>
                  <a:pt x="4633477" y="1098549"/>
                  <a:pt x="4740335" y="1205183"/>
                  <a:pt x="4740335" y="1335514"/>
                </a:cubicBezTo>
                <a:cubicBezTo>
                  <a:pt x="4740335" y="1335569"/>
                  <a:pt x="4740335" y="1343335"/>
                  <a:pt x="4740335" y="2449249"/>
                </a:cubicBezTo>
                <a:cubicBezTo>
                  <a:pt x="4740335" y="2579580"/>
                  <a:pt x="4633477" y="2686214"/>
                  <a:pt x="4502870" y="2686214"/>
                </a:cubicBezTo>
                <a:cubicBezTo>
                  <a:pt x="4502870" y="2686253"/>
                  <a:pt x="4502870" y="2691777"/>
                  <a:pt x="4502870" y="3480046"/>
                </a:cubicBezTo>
                <a:cubicBezTo>
                  <a:pt x="4502870" y="3610377"/>
                  <a:pt x="4396011" y="3717011"/>
                  <a:pt x="4265405" y="3717011"/>
                </a:cubicBezTo>
                <a:cubicBezTo>
                  <a:pt x="4265376" y="3717011"/>
                  <a:pt x="4262133" y="3717011"/>
                  <a:pt x="3909206" y="3717011"/>
                </a:cubicBezTo>
                <a:cubicBezTo>
                  <a:pt x="3790473" y="3717011"/>
                  <a:pt x="3683614" y="3610377"/>
                  <a:pt x="3683614" y="3480046"/>
                </a:cubicBezTo>
                <a:cubicBezTo>
                  <a:pt x="3683614" y="3480010"/>
                  <a:pt x="3683614" y="3474701"/>
                  <a:pt x="3683614" y="2686214"/>
                </a:cubicBezTo>
                <a:cubicBezTo>
                  <a:pt x="3553008" y="2686214"/>
                  <a:pt x="3446148" y="2579580"/>
                  <a:pt x="3446148" y="2449249"/>
                </a:cubicBezTo>
                <a:cubicBezTo>
                  <a:pt x="3446148" y="2449192"/>
                  <a:pt x="3446148" y="2441288"/>
                  <a:pt x="3446148" y="1335514"/>
                </a:cubicBezTo>
                <a:cubicBezTo>
                  <a:pt x="3446148" y="1205183"/>
                  <a:pt x="3553008" y="1098549"/>
                  <a:pt x="3683614" y="1098549"/>
                </a:cubicBezTo>
                <a:close/>
                <a:moveTo>
                  <a:pt x="236546" y="1098549"/>
                </a:moveTo>
                <a:cubicBezTo>
                  <a:pt x="236570" y="1098549"/>
                  <a:pt x="240947" y="1098549"/>
                  <a:pt x="1052628" y="1098549"/>
                </a:cubicBezTo>
                <a:cubicBezTo>
                  <a:pt x="1182728" y="1098549"/>
                  <a:pt x="1289174" y="1205183"/>
                  <a:pt x="1289174" y="1335514"/>
                </a:cubicBezTo>
                <a:cubicBezTo>
                  <a:pt x="1289174" y="1335532"/>
                  <a:pt x="1289174" y="1340039"/>
                  <a:pt x="1289174" y="2449249"/>
                </a:cubicBezTo>
                <a:cubicBezTo>
                  <a:pt x="1289174" y="2579580"/>
                  <a:pt x="1182728" y="2686214"/>
                  <a:pt x="1052628" y="2686214"/>
                </a:cubicBezTo>
                <a:cubicBezTo>
                  <a:pt x="1052628" y="2686235"/>
                  <a:pt x="1052628" y="2690268"/>
                  <a:pt x="1052628" y="3480046"/>
                </a:cubicBezTo>
                <a:cubicBezTo>
                  <a:pt x="1052628" y="3610377"/>
                  <a:pt x="946183" y="3717011"/>
                  <a:pt x="827910" y="3717011"/>
                </a:cubicBezTo>
                <a:cubicBezTo>
                  <a:pt x="827894" y="3717011"/>
                  <a:pt x="825508" y="3717011"/>
                  <a:pt x="473091" y="3717011"/>
                </a:cubicBezTo>
                <a:cubicBezTo>
                  <a:pt x="342991" y="3717011"/>
                  <a:pt x="236546" y="3610377"/>
                  <a:pt x="236546" y="3480046"/>
                </a:cubicBezTo>
                <a:cubicBezTo>
                  <a:pt x="236546" y="3480026"/>
                  <a:pt x="236546" y="3476021"/>
                  <a:pt x="236546" y="2686214"/>
                </a:cubicBezTo>
                <a:cubicBezTo>
                  <a:pt x="106446" y="2686214"/>
                  <a:pt x="0" y="2579580"/>
                  <a:pt x="0" y="2449249"/>
                </a:cubicBezTo>
                <a:cubicBezTo>
                  <a:pt x="0" y="2449230"/>
                  <a:pt x="0" y="2444630"/>
                  <a:pt x="0" y="1335514"/>
                </a:cubicBezTo>
                <a:cubicBezTo>
                  <a:pt x="0" y="1205183"/>
                  <a:pt x="106446" y="1098549"/>
                  <a:pt x="236546" y="1098549"/>
                </a:cubicBezTo>
                <a:close/>
                <a:moveTo>
                  <a:pt x="1895194" y="993211"/>
                </a:moveTo>
                <a:cubicBezTo>
                  <a:pt x="1895245" y="993211"/>
                  <a:pt x="1902161" y="993211"/>
                  <a:pt x="2845141" y="993211"/>
                </a:cubicBezTo>
                <a:cubicBezTo>
                  <a:pt x="2999507" y="993211"/>
                  <a:pt x="3130125" y="1123457"/>
                  <a:pt x="3130125" y="1277385"/>
                </a:cubicBezTo>
                <a:cubicBezTo>
                  <a:pt x="3130125" y="1277420"/>
                  <a:pt x="3130125" y="1284134"/>
                  <a:pt x="3130125" y="2568008"/>
                </a:cubicBezTo>
                <a:cubicBezTo>
                  <a:pt x="3130125" y="2721936"/>
                  <a:pt x="2999507" y="2852182"/>
                  <a:pt x="2845141" y="2852182"/>
                </a:cubicBezTo>
                <a:cubicBezTo>
                  <a:pt x="2845141" y="2852231"/>
                  <a:pt x="2845141" y="2858826"/>
                  <a:pt x="2845141" y="3763907"/>
                </a:cubicBezTo>
                <a:cubicBezTo>
                  <a:pt x="2845141" y="3917835"/>
                  <a:pt x="2726398" y="4048081"/>
                  <a:pt x="2572031" y="4048081"/>
                </a:cubicBezTo>
                <a:cubicBezTo>
                  <a:pt x="2571992" y="4048081"/>
                  <a:pt x="2568051" y="4048081"/>
                  <a:pt x="2168304" y="4048081"/>
                </a:cubicBezTo>
                <a:cubicBezTo>
                  <a:pt x="2013937" y="4048081"/>
                  <a:pt x="1895194" y="3917835"/>
                  <a:pt x="1895194" y="3763907"/>
                </a:cubicBezTo>
                <a:cubicBezTo>
                  <a:pt x="1895194" y="3763858"/>
                  <a:pt x="1895194" y="3757193"/>
                  <a:pt x="1895194" y="2852182"/>
                </a:cubicBezTo>
                <a:cubicBezTo>
                  <a:pt x="1740828" y="2852182"/>
                  <a:pt x="1610210" y="2721936"/>
                  <a:pt x="1610210" y="2568008"/>
                </a:cubicBezTo>
                <a:cubicBezTo>
                  <a:pt x="1610210" y="2567966"/>
                  <a:pt x="1610210" y="2560581"/>
                  <a:pt x="1610210" y="1277385"/>
                </a:cubicBezTo>
                <a:cubicBezTo>
                  <a:pt x="1610210" y="1123457"/>
                  <a:pt x="1740828" y="993211"/>
                  <a:pt x="1895194" y="993211"/>
                </a:cubicBezTo>
                <a:close/>
                <a:moveTo>
                  <a:pt x="4093246" y="245790"/>
                </a:moveTo>
                <a:cubicBezTo>
                  <a:pt x="4306565" y="245790"/>
                  <a:pt x="4479495" y="420965"/>
                  <a:pt x="4479495" y="637055"/>
                </a:cubicBezTo>
                <a:cubicBezTo>
                  <a:pt x="4479495" y="853145"/>
                  <a:pt x="4306565" y="1028320"/>
                  <a:pt x="4093246" y="1028320"/>
                </a:cubicBezTo>
                <a:cubicBezTo>
                  <a:pt x="3879927" y="1028320"/>
                  <a:pt x="3706997" y="853145"/>
                  <a:pt x="3706997" y="637055"/>
                </a:cubicBezTo>
                <a:cubicBezTo>
                  <a:pt x="3706997" y="420965"/>
                  <a:pt x="3879927" y="245790"/>
                  <a:pt x="4093246" y="245790"/>
                </a:cubicBezTo>
                <a:close/>
                <a:moveTo>
                  <a:pt x="644584" y="245790"/>
                </a:moveTo>
                <a:cubicBezTo>
                  <a:pt x="856519" y="245790"/>
                  <a:pt x="1028326" y="420965"/>
                  <a:pt x="1028326" y="637055"/>
                </a:cubicBezTo>
                <a:cubicBezTo>
                  <a:pt x="1028326" y="853145"/>
                  <a:pt x="856519" y="1028320"/>
                  <a:pt x="644584" y="1028320"/>
                </a:cubicBezTo>
                <a:cubicBezTo>
                  <a:pt x="432649" y="1028320"/>
                  <a:pt x="260842" y="853145"/>
                  <a:pt x="260842" y="637055"/>
                </a:cubicBezTo>
                <a:cubicBezTo>
                  <a:pt x="260842" y="420965"/>
                  <a:pt x="432649" y="245790"/>
                  <a:pt x="644584" y="245790"/>
                </a:cubicBezTo>
                <a:close/>
                <a:moveTo>
                  <a:pt x="2367657" y="0"/>
                </a:moveTo>
                <a:cubicBezTo>
                  <a:pt x="2616992" y="0"/>
                  <a:pt x="2819118" y="203249"/>
                  <a:pt x="2819118" y="453969"/>
                </a:cubicBezTo>
                <a:cubicBezTo>
                  <a:pt x="2819118" y="704689"/>
                  <a:pt x="2616992" y="907938"/>
                  <a:pt x="2367657" y="907938"/>
                </a:cubicBezTo>
                <a:cubicBezTo>
                  <a:pt x="2118322" y="907938"/>
                  <a:pt x="1916196" y="704689"/>
                  <a:pt x="1916196" y="453969"/>
                </a:cubicBezTo>
                <a:cubicBezTo>
                  <a:pt x="1916196" y="203249"/>
                  <a:pt x="2118322" y="0"/>
                  <a:pt x="2367657"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37148" tIns="109719" rIns="137148" bIns="109719"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699261" fontAlgn="base">
              <a:lnSpc>
                <a:spcPct val="90000"/>
              </a:lnSpc>
              <a:spcBef>
                <a:spcPct val="0"/>
              </a:spcBef>
              <a:spcAft>
                <a:spcPct val="0"/>
              </a:spcAft>
            </a:pPr>
            <a:endParaRPr lang="en-US">
              <a:gradFill>
                <a:gsLst>
                  <a:gs pos="0">
                    <a:srgbClr val="FFFFFF"/>
                  </a:gs>
                  <a:gs pos="100000">
                    <a:srgbClr val="FFFFFF"/>
                  </a:gs>
                </a:gsLst>
                <a:lin ang="5400000" scaled="0"/>
              </a:gradFill>
              <a:ea typeface="Segoe UI" pitchFamily="34" charset="0"/>
              <a:cs typeface="Segoe UI" pitchFamily="34" charset="0"/>
            </a:endParaRPr>
          </a:p>
        </p:txBody>
      </p:sp>
      <p:sp>
        <p:nvSpPr>
          <p:cNvPr id="73" name="Rectangle 72"/>
          <p:cNvSpPr/>
          <p:nvPr/>
        </p:nvSpPr>
        <p:spPr bwMode="auto">
          <a:xfrm>
            <a:off x="-1464" y="2637201"/>
            <a:ext cx="2816907" cy="4220799"/>
          </a:xfrm>
          <a:prstGeom prst="rect">
            <a:avLst/>
          </a:prstGeom>
          <a:solidFill>
            <a:schemeClr val="tx1">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74" name="Rectangle 73"/>
          <p:cNvSpPr/>
          <p:nvPr/>
        </p:nvSpPr>
        <p:spPr bwMode="auto">
          <a:xfrm>
            <a:off x="0" y="657643"/>
            <a:ext cx="2787733" cy="874445"/>
          </a:xfrm>
          <a:prstGeom prst="rect">
            <a:avLst/>
          </a:prstGeom>
          <a:solidFill>
            <a:schemeClr val="tx1">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31" name="Rectangle 130"/>
          <p:cNvSpPr/>
          <p:nvPr/>
        </p:nvSpPr>
        <p:spPr>
          <a:xfrm>
            <a:off x="2906883" y="1184902"/>
            <a:ext cx="4527587" cy="5386090"/>
          </a:xfrm>
          <a:prstGeom prst="rect">
            <a:avLst/>
          </a:prstGeom>
        </p:spPr>
        <p:txBody>
          <a:bodyPr wrap="square">
            <a:spAutoFit/>
          </a:bodyPr>
          <a:lstStyle/>
          <a:p>
            <a:pPr marL="342900" lvl="0" indent="-342900" fontAlgn="base">
              <a:spcBef>
                <a:spcPts val="600"/>
              </a:spcBef>
              <a:spcAft>
                <a:spcPts val="600"/>
              </a:spcAft>
              <a:buFont typeface="Symbol" panose="05050102010706020507" pitchFamily="18" charset="2"/>
              <a:buChar char=""/>
            </a:pPr>
            <a:r>
              <a:rPr lang="en-US" sz="2000" dirty="0">
                <a:latin typeface="+mj-lt"/>
                <a:ea typeface="Calibri" panose="020F0502020204030204" pitchFamily="34" charset="0"/>
                <a:cs typeface="Times New Roman" panose="02020603050405020304" pitchFamily="18" charset="0"/>
              </a:rPr>
              <a:t>Import data into Power BI from files</a:t>
            </a:r>
          </a:p>
          <a:p>
            <a:pPr marL="692150" lvl="1" indent="-349250">
              <a:buFont typeface="Courier New" panose="02070309020205020404" pitchFamily="49" charset="0"/>
              <a:buChar char="o"/>
            </a:pPr>
            <a:r>
              <a:rPr lang="en-US" sz="1600" dirty="0">
                <a:latin typeface="+mj-lt"/>
                <a:ea typeface="Calibri" panose="020F0502020204030204" pitchFamily="34" charset="0"/>
                <a:cs typeface="Times New Roman" panose="02020603050405020304" pitchFamily="18" charset="0"/>
              </a:rPr>
              <a:t>Microsoft Excel (</a:t>
            </a:r>
            <a:r>
              <a:rPr lang="en-US" sz="1600" dirty="0" err="1">
                <a:latin typeface="+mj-lt"/>
                <a:ea typeface="Calibri" panose="020F0502020204030204" pitchFamily="34" charset="0"/>
                <a:cs typeface="Times New Roman" panose="02020603050405020304" pitchFamily="18" charset="0"/>
              </a:rPr>
              <a:t>xlxs</a:t>
            </a:r>
            <a:r>
              <a:rPr lang="en-US" sz="1600" dirty="0">
                <a:latin typeface="+mj-lt"/>
                <a:ea typeface="Calibri" panose="020F0502020204030204" pitchFamily="34" charset="0"/>
                <a:cs typeface="Times New Roman" panose="02020603050405020304" pitchFamily="18" charset="0"/>
              </a:rPr>
              <a:t> or </a:t>
            </a:r>
            <a:r>
              <a:rPr lang="en-US" sz="1600" dirty="0" err="1">
                <a:latin typeface="+mj-lt"/>
                <a:ea typeface="Calibri" panose="020F0502020204030204" pitchFamily="34" charset="0"/>
                <a:cs typeface="Times New Roman" panose="02020603050405020304" pitchFamily="18" charset="0"/>
              </a:rPr>
              <a:t>xlsm</a:t>
            </a:r>
            <a:r>
              <a:rPr lang="en-US" sz="1600" dirty="0">
                <a:latin typeface="+mj-lt"/>
                <a:ea typeface="Calibri" panose="020F0502020204030204" pitchFamily="34" charset="0"/>
                <a:cs typeface="Times New Roman" panose="02020603050405020304" pitchFamily="18" charset="0"/>
              </a:rPr>
              <a:t>)</a:t>
            </a:r>
          </a:p>
          <a:p>
            <a:pPr marL="692150" lvl="1" indent="-349250">
              <a:buFont typeface="Courier New" panose="02070309020205020404" pitchFamily="49" charset="0"/>
              <a:buChar char="o"/>
            </a:pPr>
            <a:r>
              <a:rPr lang="en-US" sz="1600" dirty="0">
                <a:latin typeface="+mj-lt"/>
                <a:ea typeface="Calibri" panose="020F0502020204030204" pitchFamily="34" charset="0"/>
                <a:cs typeface="Times New Roman" panose="02020603050405020304" pitchFamily="18" charset="0"/>
              </a:rPr>
              <a:t>Power BI Desktop (</a:t>
            </a:r>
            <a:r>
              <a:rPr lang="en-US" sz="1600" dirty="0" err="1">
                <a:latin typeface="+mj-lt"/>
                <a:ea typeface="Calibri" panose="020F0502020204030204" pitchFamily="34" charset="0"/>
                <a:cs typeface="Times New Roman" panose="02020603050405020304" pitchFamily="18" charset="0"/>
              </a:rPr>
              <a:t>pbix</a:t>
            </a:r>
            <a:r>
              <a:rPr lang="en-US" sz="1600" dirty="0">
                <a:latin typeface="+mj-lt"/>
                <a:ea typeface="Calibri" panose="020F0502020204030204" pitchFamily="34" charset="0"/>
                <a:cs typeface="Times New Roman" panose="02020603050405020304" pitchFamily="18" charset="0"/>
              </a:rPr>
              <a:t>)</a:t>
            </a:r>
          </a:p>
          <a:p>
            <a:pPr marL="692150" lvl="1" indent="-349250">
              <a:buFont typeface="Courier New" panose="02070309020205020404" pitchFamily="49" charset="0"/>
              <a:buChar char="o"/>
            </a:pPr>
            <a:r>
              <a:rPr lang="en-US" sz="1600" dirty="0">
                <a:latin typeface="+mj-lt"/>
                <a:ea typeface="Calibri" panose="020F0502020204030204" pitchFamily="34" charset="0"/>
                <a:cs typeface="Times New Roman" panose="02020603050405020304" pitchFamily="18" charset="0"/>
              </a:rPr>
              <a:t>Comma Separated Value (csv)</a:t>
            </a:r>
          </a:p>
          <a:p>
            <a:pPr marL="342900" indent="-342900" fontAlgn="base">
              <a:spcBef>
                <a:spcPts val="600"/>
              </a:spcBef>
              <a:spcAft>
                <a:spcPts val="600"/>
              </a:spcAft>
              <a:buFont typeface="Symbol" panose="05050102010706020507" pitchFamily="18" charset="2"/>
              <a:buChar char=""/>
            </a:pPr>
            <a:r>
              <a:rPr lang="en-US" sz="2000" dirty="0">
                <a:latin typeface="+mj-lt"/>
                <a:ea typeface="Calibri" panose="020F0502020204030204" pitchFamily="34" charset="0"/>
                <a:cs typeface="Times New Roman" panose="02020603050405020304" pitchFamily="18" charset="0"/>
              </a:rPr>
              <a:t>Files can be located on</a:t>
            </a:r>
          </a:p>
          <a:p>
            <a:pPr marL="692150" lvl="1" indent="-349250">
              <a:buFont typeface="Courier New" panose="02070309020205020404" pitchFamily="49" charset="0"/>
              <a:buChar char="o"/>
            </a:pPr>
            <a:r>
              <a:rPr lang="en-US" sz="1600" dirty="0">
                <a:latin typeface="+mj-lt"/>
                <a:ea typeface="Calibri" panose="020F0502020204030204" pitchFamily="34" charset="0"/>
                <a:cs typeface="Times New Roman" panose="02020603050405020304" pitchFamily="18" charset="0"/>
              </a:rPr>
              <a:t>Local machine</a:t>
            </a:r>
          </a:p>
          <a:p>
            <a:pPr marL="692150" lvl="1" indent="-349250">
              <a:buFont typeface="Courier New" panose="02070309020205020404" pitchFamily="49" charset="0"/>
              <a:buChar char="o"/>
            </a:pPr>
            <a:r>
              <a:rPr lang="en-US" sz="1600" dirty="0">
                <a:latin typeface="+mj-lt"/>
                <a:ea typeface="Calibri" panose="020F0502020204030204" pitchFamily="34" charset="0"/>
                <a:cs typeface="Times New Roman" panose="02020603050405020304" pitchFamily="18" charset="0"/>
              </a:rPr>
              <a:t>OneDrive Business or Personal</a:t>
            </a:r>
          </a:p>
          <a:p>
            <a:pPr marL="692150" lvl="1" indent="-349250">
              <a:buFont typeface="Courier New" panose="02070309020205020404" pitchFamily="49" charset="0"/>
              <a:buChar char="o"/>
            </a:pPr>
            <a:r>
              <a:rPr lang="en-US" sz="1600" dirty="0">
                <a:latin typeface="+mj-lt"/>
                <a:ea typeface="Calibri" panose="020F0502020204030204" pitchFamily="34" charset="0"/>
                <a:cs typeface="Times New Roman" panose="02020603050405020304" pitchFamily="18" charset="0"/>
              </a:rPr>
              <a:t>SharePoint Team Sites</a:t>
            </a:r>
          </a:p>
          <a:p>
            <a:pPr marL="342900" indent="-342900" fontAlgn="base">
              <a:spcBef>
                <a:spcPts val="600"/>
              </a:spcBef>
              <a:spcAft>
                <a:spcPts val="600"/>
              </a:spcAft>
              <a:buFont typeface="Symbol" panose="05050102010706020507" pitchFamily="18" charset="2"/>
              <a:buChar char=""/>
            </a:pPr>
            <a:r>
              <a:rPr lang="en-US" sz="2000" dirty="0">
                <a:latin typeface="+mj-lt"/>
                <a:ea typeface="Calibri" panose="020F0502020204030204" pitchFamily="34" charset="0"/>
                <a:cs typeface="Times New Roman" panose="02020603050405020304" pitchFamily="18" charset="0"/>
              </a:rPr>
              <a:t>Two ways to use Excel files</a:t>
            </a:r>
          </a:p>
          <a:p>
            <a:pPr marL="692150" lvl="1" indent="-349250">
              <a:buFont typeface="Courier New" panose="02070309020205020404" pitchFamily="49" charset="0"/>
              <a:buChar char="o"/>
            </a:pPr>
            <a:r>
              <a:rPr lang="en-US" sz="1600" dirty="0">
                <a:latin typeface="+mj-lt"/>
                <a:ea typeface="Calibri" panose="020F0502020204030204" pitchFamily="34" charset="0"/>
                <a:cs typeface="Times New Roman" panose="02020603050405020304" pitchFamily="18" charset="0"/>
              </a:rPr>
              <a:t>Import into Power BI</a:t>
            </a:r>
          </a:p>
          <a:p>
            <a:pPr marL="692150" lvl="1" indent="-349250">
              <a:buFont typeface="Courier New" panose="02070309020205020404" pitchFamily="49" charset="0"/>
              <a:buChar char="o"/>
            </a:pPr>
            <a:r>
              <a:rPr lang="en-US" sz="1600" dirty="0">
                <a:latin typeface="+mj-lt"/>
                <a:ea typeface="Calibri" panose="020F0502020204030204" pitchFamily="34" charset="0"/>
                <a:cs typeface="Times New Roman" panose="02020603050405020304" pitchFamily="18" charset="0"/>
              </a:rPr>
              <a:t>Connect (upload), manage and view in Power BI</a:t>
            </a:r>
          </a:p>
          <a:p>
            <a:pPr marL="342900" indent="-342900" fontAlgn="base">
              <a:spcBef>
                <a:spcPts val="600"/>
              </a:spcBef>
              <a:spcAft>
                <a:spcPts val="600"/>
              </a:spcAft>
              <a:buFont typeface="Symbol" panose="05050102010706020507" pitchFamily="18" charset="2"/>
              <a:buChar char=""/>
            </a:pPr>
            <a:r>
              <a:rPr lang="en-US" sz="2000" dirty="0">
                <a:latin typeface="+mj-lt"/>
                <a:ea typeface="Calibri" panose="020F0502020204030204" pitchFamily="34" charset="0"/>
                <a:cs typeface="Times New Roman" panose="02020603050405020304" pitchFamily="18" charset="0"/>
              </a:rPr>
              <a:t>Any changes to a file in OneDrive or SharePoint are synced automatically (hourly)</a:t>
            </a:r>
          </a:p>
          <a:p>
            <a:pPr marL="342900" indent="-342900" fontAlgn="base">
              <a:spcBef>
                <a:spcPts val="600"/>
              </a:spcBef>
              <a:spcAft>
                <a:spcPts val="600"/>
              </a:spcAft>
              <a:buFont typeface="Symbol" panose="05050102010706020507" pitchFamily="18" charset="2"/>
              <a:buChar char=""/>
            </a:pPr>
            <a:r>
              <a:rPr lang="en-US" sz="2000" dirty="0">
                <a:latin typeface="+mj-lt"/>
                <a:ea typeface="Calibri" panose="020F0502020204030204" pitchFamily="34" charset="0"/>
                <a:cs typeface="Times New Roman" panose="02020603050405020304" pitchFamily="18" charset="0"/>
              </a:rPr>
              <a:t>Data and reports from Power BI Desktop files</a:t>
            </a:r>
          </a:p>
        </p:txBody>
      </p:sp>
      <p:pic>
        <p:nvPicPr>
          <p:cNvPr id="49" name="Picture 48"/>
          <p:cNvPicPr>
            <a:picLocks noChangeAspect="1"/>
          </p:cNvPicPr>
          <p:nvPr/>
        </p:nvPicPr>
        <p:blipFill>
          <a:blip r:embed="rId5"/>
          <a:stretch>
            <a:fillRect/>
          </a:stretch>
        </p:blipFill>
        <p:spPr>
          <a:xfrm>
            <a:off x="7669906" y="1475232"/>
            <a:ext cx="4114800" cy="1040524"/>
          </a:xfrm>
          <a:prstGeom prst="rect">
            <a:avLst/>
          </a:prstGeom>
        </p:spPr>
      </p:pic>
    </p:spTree>
    <p:extLst>
      <p:ext uri="{BB962C8B-B14F-4D97-AF65-F5344CB8AC3E}">
        <p14:creationId xmlns:p14="http://schemas.microsoft.com/office/powerpoint/2010/main" val="42239281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 name="Title 10"/>
          <p:cNvSpPr txBox="1">
            <a:spLocks/>
          </p:cNvSpPr>
          <p:nvPr/>
        </p:nvSpPr>
        <p:spPr>
          <a:xfrm>
            <a:off x="2849060" y="0"/>
            <a:ext cx="9342940" cy="665151"/>
          </a:xfrm>
          <a:prstGeom prst="rect">
            <a:avLst/>
          </a:prstGeom>
          <a:noFill/>
        </p:spPr>
        <p:txBody>
          <a:bodyPr vert="horz" wrap="square" lIns="0" tIns="91440" rIns="0" bIns="91440" rtlCol="0" anchor="t">
            <a:noAutofit/>
          </a:bodyPr>
          <a:lstStyle>
            <a:lvl1pPr defTabSz="914367">
              <a:lnSpc>
                <a:spcPct val="90000"/>
              </a:lnSpc>
              <a:spcBef>
                <a:spcPct val="0"/>
              </a:spcBef>
              <a:buNone/>
              <a:defRPr lang="en-US" sz="5294" b="0" cap="none" spc="-100" baseline="0" dirty="0" smtClean="0">
                <a:ln w="3175">
                  <a:noFill/>
                </a:ln>
                <a:solidFill>
                  <a:schemeClr val="tx2"/>
                </a:solidFill>
                <a:effectLst/>
                <a:latin typeface="+mj-lt"/>
                <a:cs typeface="Segoe UI" pitchFamily="34" charset="0"/>
              </a:defRPr>
            </a:lvl1pPr>
          </a:lstStyle>
          <a:p>
            <a:pPr marL="168275" marR="0" lvl="0" indent="0" algn="l" defTabSz="914367" rtl="0" eaLnBrk="1" fontAlgn="auto" latinLnBrk="0" hangingPunct="1">
              <a:lnSpc>
                <a:spcPct val="90000"/>
              </a:lnSpc>
              <a:spcBef>
                <a:spcPct val="0"/>
              </a:spcBef>
              <a:spcAft>
                <a:spcPts val="0"/>
              </a:spcAft>
              <a:buClrTx/>
              <a:buSzTx/>
              <a:buFontTx/>
              <a:buNone/>
              <a:tabLst/>
              <a:defRPr/>
            </a:pPr>
            <a:r>
              <a:rPr kumimoji="0" lang="en-US" sz="3600" b="0" i="0" u="none" strike="noStrike" kern="1200" cap="none" spc="-100" normalizeH="0" baseline="0" noProof="0">
                <a:ln w="3175">
                  <a:noFill/>
                </a:ln>
                <a:solidFill>
                  <a:prstClr val="black"/>
                </a:solidFill>
                <a:effectLst/>
                <a:uLnTx/>
                <a:uFillTx/>
                <a:latin typeface="Segoe UI Light"/>
                <a:ea typeface="+mn-ea"/>
                <a:cs typeface="Segoe UI" pitchFamily="34" charset="0"/>
              </a:rPr>
              <a:t>Sharing</a:t>
            </a:r>
            <a:endParaRPr kumimoji="0" lang="en-IN" sz="3600" b="0" i="0" u="none" strike="noStrike" kern="1200" cap="none" spc="-100" normalizeH="0" baseline="0" noProof="0">
              <a:ln w="3175">
                <a:noFill/>
              </a:ln>
              <a:solidFill>
                <a:prstClr val="black"/>
              </a:solidFill>
              <a:effectLst/>
              <a:uLnTx/>
              <a:uFillTx/>
              <a:latin typeface="Segoe UI Light"/>
              <a:ea typeface="+mn-ea"/>
              <a:cs typeface="Segoe UI" pitchFamily="34" charset="0"/>
            </a:endParaRPr>
          </a:p>
        </p:txBody>
      </p:sp>
      <p:sp>
        <p:nvSpPr>
          <p:cNvPr id="41" name="Rectangle 3"/>
          <p:cNvSpPr/>
          <p:nvPr/>
        </p:nvSpPr>
        <p:spPr bwMode="auto">
          <a:xfrm>
            <a:off x="3202216" y="704712"/>
            <a:ext cx="8105312" cy="44435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PT" sz="2000" b="0" i="1" u="none" strike="noStrike" kern="1200" cap="none" spc="0" normalizeH="0" baseline="0" noProof="0">
                <a:ln>
                  <a:noFill/>
                </a:ln>
                <a:solidFill>
                  <a:prstClr val="black"/>
                </a:solidFill>
                <a:effectLst/>
                <a:uLnTx/>
                <a:uFillTx/>
                <a:latin typeface="Segoe UI Light"/>
                <a:ea typeface="+mn-ea"/>
                <a:cs typeface="+mn-cs"/>
              </a:rPr>
              <a:t>Organizational Content Packs</a:t>
            </a:r>
            <a:endParaRPr kumimoji="0" lang="en-US" sz="2000" b="0" i="1" u="none" strike="noStrike" kern="1200" cap="none" spc="0" normalizeH="0" baseline="0" noProof="0">
              <a:ln>
                <a:noFill/>
              </a:ln>
              <a:solidFill>
                <a:prstClr val="black"/>
              </a:solidFill>
              <a:effectLst/>
              <a:uLnTx/>
              <a:uFillTx/>
              <a:latin typeface="Segoe UI Light"/>
              <a:ea typeface="+mn-ea"/>
              <a:cs typeface="+mn-cs"/>
            </a:endParaRPr>
          </a:p>
        </p:txBody>
      </p:sp>
      <p:sp>
        <p:nvSpPr>
          <p:cNvPr id="87" name="Text Placeholder 2"/>
          <p:cNvSpPr txBox="1">
            <a:spLocks/>
          </p:cNvSpPr>
          <p:nvPr/>
        </p:nvSpPr>
        <p:spPr>
          <a:xfrm>
            <a:off x="2953103" y="1479922"/>
            <a:ext cx="8707001" cy="897374"/>
          </a:xfrm>
          <a:prstGeom prst="rect">
            <a:avLst/>
          </a:prstGeom>
        </p:spPr>
        <p:txBody>
          <a:bodyPr vert="horz" wrap="square" lIns="182880" tIns="146304" rIns="182880" bIns="146304" rtlCol="0">
            <a:noAutofit/>
          </a:bodyPr>
          <a:lstStyle>
            <a:lvl1pPr marL="182845" marR="0"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3921" kern="1200" spc="0" baseline="0">
                <a:gradFill>
                  <a:gsLst>
                    <a:gs pos="1250">
                      <a:schemeClr val="tx2"/>
                    </a:gs>
                    <a:gs pos="99000">
                      <a:schemeClr val="tx2"/>
                    </a:gs>
                  </a:gsLst>
                  <a:lin ang="5400000" scaled="0"/>
                </a:gradFill>
                <a:latin typeface="+mj-lt"/>
                <a:ea typeface="+mn-ea"/>
                <a:cs typeface="+mn-cs"/>
              </a:defRPr>
            </a:lvl1pPr>
            <a:lvl2pPr marL="365690" marR="0"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2400" kern="1200" spc="0" baseline="0">
                <a:solidFill>
                  <a:schemeClr val="tx2"/>
                </a:solidFill>
                <a:latin typeface="+mj-lt"/>
                <a:ea typeface="+mn-ea"/>
                <a:cs typeface="+mn-cs"/>
              </a:defRPr>
            </a:lvl2pPr>
            <a:lvl3pPr marL="548535" marR="0"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2000" kern="1200" spc="0" baseline="0">
                <a:solidFill>
                  <a:schemeClr val="tx2"/>
                </a:solidFill>
                <a:latin typeface="+mj-lt"/>
                <a:ea typeface="+mn-ea"/>
                <a:cs typeface="+mn-cs"/>
              </a:defRPr>
            </a:lvl3pPr>
            <a:lvl4pPr marL="733802" marR="0" indent="-28569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1765" kern="1200" spc="0" baseline="0">
                <a:solidFill>
                  <a:schemeClr val="tx2"/>
                </a:solidFill>
                <a:latin typeface="+mn-lt"/>
                <a:ea typeface="+mn-ea"/>
                <a:cs typeface="+mn-cs"/>
              </a:defRPr>
            </a:lvl4pPr>
            <a:lvl5pPr marL="957856" marR="0" indent="-28569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1765" kern="1200" spc="0" baseline="0">
                <a:solidFill>
                  <a:schemeClr val="tx2"/>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r>
              <a:rPr kumimoji="0" lang="en-US" sz="2000" b="1"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rPr>
              <a:t>Distribute to a large audience </a:t>
            </a:r>
            <a:r>
              <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rPr>
              <a:t>a set of dashboards, reports and datasets</a:t>
            </a: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r>
              <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rPr>
              <a:t>Users can </a:t>
            </a:r>
            <a:r>
              <a:rPr kumimoji="0" lang="en-US" sz="2000" b="1"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rPr>
              <a:t>subscribe</a:t>
            </a:r>
            <a:r>
              <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rPr>
              <a:t> to the Pack </a:t>
            </a:r>
            <a:r>
              <a:rPr kumimoji="0" lang="en-US" sz="2000" b="1"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rPr>
              <a:t>via the Get Data </a:t>
            </a:r>
            <a:r>
              <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rPr>
              <a:t>experience</a:t>
            </a: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r>
              <a:rPr kumimoji="0" lang="en-US" sz="2000" b="1"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rPr>
              <a:t>Access</a:t>
            </a:r>
            <a:r>
              <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rPr>
              <a:t> to the content is </a:t>
            </a:r>
            <a:r>
              <a:rPr kumimoji="0" lang="en-US" sz="2000" b="1"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rPr>
              <a:t>read-only</a:t>
            </a:r>
            <a:r>
              <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rPr>
              <a:t>, but users can </a:t>
            </a:r>
            <a:r>
              <a:rPr kumimoji="0" lang="en-US" sz="2000" b="1"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rPr>
              <a:t>customize by creating a copy</a:t>
            </a:r>
            <a:r>
              <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rPr>
              <a:t> of their own</a:t>
            </a: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r>
              <a:rPr kumimoji="0" lang="en-US" sz="2000" b="1"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rPr>
              <a:t>Schedule refresh </a:t>
            </a:r>
            <a:r>
              <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rPr>
              <a:t>is set by author</a:t>
            </a: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r>
              <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rPr>
              <a:t>Can be used in conjunction with </a:t>
            </a:r>
            <a:r>
              <a:rPr kumimoji="0" lang="en-US" sz="2000" b="1"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rPr>
              <a:t>Groups</a:t>
            </a: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1"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r>
              <a:rPr kumimoji="0" lang="en-US" sz="2000" b="1"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rPr>
              <a:t>Can be edited </a:t>
            </a:r>
            <a:r>
              <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rPr>
              <a:t>after creation</a:t>
            </a: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p:txBody>
      </p:sp>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289421" y="3793524"/>
            <a:ext cx="4237087" cy="762066"/>
          </a:xfrm>
          <a:prstGeom prst="rect">
            <a:avLst/>
          </a:prstGeom>
          <a:ln>
            <a:noFill/>
          </a:ln>
          <a:effectLst>
            <a:outerShdw blurRad="190500" algn="tl" rotWithShape="0">
              <a:srgbClr val="000000">
                <a:alpha val="70000"/>
              </a:srgbClr>
            </a:outerShdw>
          </a:effectLst>
        </p:spPr>
      </p:pic>
      <p:grpSp>
        <p:nvGrpSpPr>
          <p:cNvPr id="42" name="Group 41"/>
          <p:cNvGrpSpPr/>
          <p:nvPr/>
        </p:nvGrpSpPr>
        <p:grpSpPr>
          <a:xfrm>
            <a:off x="-2887" y="973"/>
            <a:ext cx="2849058" cy="6857027"/>
            <a:chOff x="2" y="487"/>
            <a:chExt cx="2849058" cy="6857027"/>
          </a:xfrm>
        </p:grpSpPr>
        <p:sp>
          <p:nvSpPr>
            <p:cNvPr id="51" name="Rectangle 15"/>
            <p:cNvSpPr/>
            <p:nvPr/>
          </p:nvSpPr>
          <p:spPr bwMode="auto">
            <a:xfrm>
              <a:off x="2" y="487"/>
              <a:ext cx="2849058" cy="685702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0" name="Rectangle 145"/>
            <p:cNvSpPr/>
            <p:nvPr/>
          </p:nvSpPr>
          <p:spPr bwMode="auto">
            <a:xfrm>
              <a:off x="696152" y="956997"/>
              <a:ext cx="1821468" cy="3831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2C812"/>
                  </a:solidFill>
                  <a:effectLst/>
                  <a:uLnTx/>
                  <a:uFillTx/>
                  <a:latin typeface="Segoe UI"/>
                  <a:ea typeface="+mn-ea"/>
                  <a:cs typeface="Segoe UI Light" panose="020B0502040204020203" pitchFamily="34" charset="0"/>
                </a:rPr>
                <a:t>Get Data</a:t>
              </a:r>
              <a:endParaRPr kumimoji="0" lang="en-US" sz="1200" b="1" i="1" u="none" strike="noStrike" kern="1200" cap="none" spc="0" normalizeH="0" baseline="0" noProof="0">
                <a:ln>
                  <a:noFill/>
                </a:ln>
                <a:solidFill>
                  <a:srgbClr val="F2C812"/>
                </a:solidFill>
                <a:effectLst/>
                <a:uLnTx/>
                <a:uFillTx/>
                <a:latin typeface="Segoe UI"/>
                <a:ea typeface="+mn-ea"/>
                <a:cs typeface="Segoe UI Light" panose="020B0502040204020203" pitchFamily="34" charset="0"/>
              </a:endParaRPr>
            </a:p>
          </p:txBody>
        </p:sp>
        <p:grpSp>
          <p:nvGrpSpPr>
            <p:cNvPr id="81" name="Group 80"/>
            <p:cNvGrpSpPr/>
            <p:nvPr/>
          </p:nvGrpSpPr>
          <p:grpSpPr>
            <a:xfrm>
              <a:off x="219373" y="934583"/>
              <a:ext cx="433844" cy="433844"/>
              <a:chOff x="440005" y="997815"/>
              <a:chExt cx="296322" cy="296322"/>
            </a:xfrm>
          </p:grpSpPr>
          <p:sp>
            <p:nvSpPr>
              <p:cNvPr id="101" name="Oval 147"/>
              <p:cNvSpPr/>
              <p:nvPr/>
            </p:nvSpPr>
            <p:spPr bwMode="auto">
              <a:xfrm>
                <a:off x="440005" y="997815"/>
                <a:ext cx="296322" cy="296322"/>
              </a:xfrm>
              <a:prstGeom prst="ellipse">
                <a:avLst/>
              </a:prstGeom>
              <a:solidFill>
                <a:srgbClr val="FFCC00"/>
              </a:solidFill>
              <a:ln>
                <a:solidFill>
                  <a:srgbClr val="F2C81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02" name="Group 332"/>
              <p:cNvGrpSpPr/>
              <p:nvPr/>
            </p:nvGrpSpPr>
            <p:grpSpPr>
              <a:xfrm>
                <a:off x="482167" y="1059311"/>
                <a:ext cx="211997" cy="173292"/>
                <a:chOff x="2123129" y="293070"/>
                <a:chExt cx="2472585" cy="2021178"/>
              </a:xfrm>
            </p:grpSpPr>
            <p:sp>
              <p:nvSpPr>
                <p:cNvPr id="103" name="Freeform 13"/>
                <p:cNvSpPr>
                  <a:spLocks/>
                </p:cNvSpPr>
                <p:nvPr/>
              </p:nvSpPr>
              <p:spPr bwMode="auto">
                <a:xfrm rot="20700000">
                  <a:off x="3155853" y="872796"/>
                  <a:ext cx="1439861" cy="1441452"/>
                </a:xfrm>
                <a:custGeom>
                  <a:avLst/>
                  <a:gdLst>
                    <a:gd name="T0" fmla="*/ 138 w 441"/>
                    <a:gd name="T1" fmla="*/ 341 h 441"/>
                    <a:gd name="T2" fmla="*/ 183 w 441"/>
                    <a:gd name="T3" fmla="*/ 374 h 441"/>
                    <a:gd name="T4" fmla="*/ 220 w 441"/>
                    <a:gd name="T5" fmla="*/ 423 h 441"/>
                    <a:gd name="T6" fmla="*/ 422 w 441"/>
                    <a:gd name="T7" fmla="*/ 220 h 441"/>
                    <a:gd name="T8" fmla="*/ 373 w 441"/>
                    <a:gd name="T9" fmla="*/ 184 h 441"/>
                    <a:gd name="T10" fmla="*/ 341 w 441"/>
                    <a:gd name="T11" fmla="*/ 139 h 441"/>
                    <a:gd name="T12" fmla="*/ 382 w 441"/>
                    <a:gd name="T13" fmla="*/ 58 h 441"/>
                    <a:gd name="T14" fmla="*/ 302 w 441"/>
                    <a:gd name="T15" fmla="*/ 100 h 441"/>
                    <a:gd name="T16" fmla="*/ 257 w 441"/>
                    <a:gd name="T17" fmla="*/ 67 h 441"/>
                    <a:gd name="T18" fmla="*/ 220 w 441"/>
                    <a:gd name="T19" fmla="*/ 18 h 441"/>
                    <a:gd name="T20" fmla="*/ 171 w 441"/>
                    <a:gd name="T21" fmla="*/ 55 h 441"/>
                    <a:gd name="T22" fmla="*/ 138 w 441"/>
                    <a:gd name="T23" fmla="*/ 100 h 441"/>
                    <a:gd name="T24" fmla="*/ 180 w 441"/>
                    <a:gd name="T25" fmla="*/ 181 h 441"/>
                    <a:gd name="T26" fmla="*/ 100 w 441"/>
                    <a:gd name="T27" fmla="*/ 139 h 441"/>
                    <a:gd name="T28" fmla="*/ 55 w 441"/>
                    <a:gd name="T29" fmla="*/ 171 h 441"/>
                    <a:gd name="T30" fmla="*/ 18 w 441"/>
                    <a:gd name="T31" fmla="*/ 220 h 441"/>
                    <a:gd name="T32" fmla="*/ 67 w 441"/>
                    <a:gd name="T33" fmla="*/ 257 h 441"/>
                    <a:gd name="T34" fmla="*/ 100 w 441"/>
                    <a:gd name="T35" fmla="*/ 302 h 441"/>
                    <a:gd name="T36" fmla="*/ 58 w 441"/>
                    <a:gd name="T37" fmla="*/ 383 h 441"/>
                    <a:gd name="T38" fmla="*/ 138 w 441"/>
                    <a:gd name="T39" fmla="*/ 341 h 4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41" h="441">
                      <a:moveTo>
                        <a:pt x="138" y="341"/>
                      </a:moveTo>
                      <a:cubicBezTo>
                        <a:pt x="147" y="337"/>
                        <a:pt x="171" y="361"/>
                        <a:pt x="183" y="374"/>
                      </a:cubicBezTo>
                      <a:cubicBezTo>
                        <a:pt x="196" y="386"/>
                        <a:pt x="220" y="423"/>
                        <a:pt x="220" y="423"/>
                      </a:cubicBezTo>
                      <a:cubicBezTo>
                        <a:pt x="422" y="220"/>
                        <a:pt x="422" y="220"/>
                        <a:pt x="422" y="220"/>
                      </a:cubicBezTo>
                      <a:cubicBezTo>
                        <a:pt x="422" y="220"/>
                        <a:pt x="386" y="196"/>
                        <a:pt x="373" y="184"/>
                      </a:cubicBezTo>
                      <a:cubicBezTo>
                        <a:pt x="361" y="171"/>
                        <a:pt x="338" y="149"/>
                        <a:pt x="341" y="139"/>
                      </a:cubicBezTo>
                      <a:cubicBezTo>
                        <a:pt x="343" y="129"/>
                        <a:pt x="441" y="116"/>
                        <a:pt x="382" y="58"/>
                      </a:cubicBezTo>
                      <a:cubicBezTo>
                        <a:pt x="324" y="0"/>
                        <a:pt x="310" y="96"/>
                        <a:pt x="302" y="100"/>
                      </a:cubicBezTo>
                      <a:cubicBezTo>
                        <a:pt x="294" y="104"/>
                        <a:pt x="269" y="80"/>
                        <a:pt x="257" y="67"/>
                      </a:cubicBezTo>
                      <a:cubicBezTo>
                        <a:pt x="245" y="55"/>
                        <a:pt x="220" y="18"/>
                        <a:pt x="220" y="18"/>
                      </a:cubicBezTo>
                      <a:cubicBezTo>
                        <a:pt x="220" y="18"/>
                        <a:pt x="183" y="43"/>
                        <a:pt x="171" y="55"/>
                      </a:cubicBezTo>
                      <a:cubicBezTo>
                        <a:pt x="159" y="67"/>
                        <a:pt x="134" y="92"/>
                        <a:pt x="138" y="100"/>
                      </a:cubicBezTo>
                      <a:cubicBezTo>
                        <a:pt x="142" y="108"/>
                        <a:pt x="238" y="122"/>
                        <a:pt x="180" y="181"/>
                      </a:cubicBezTo>
                      <a:cubicBezTo>
                        <a:pt x="122" y="239"/>
                        <a:pt x="110" y="141"/>
                        <a:pt x="100" y="139"/>
                      </a:cubicBezTo>
                      <a:cubicBezTo>
                        <a:pt x="89" y="137"/>
                        <a:pt x="67" y="159"/>
                        <a:pt x="55" y="171"/>
                      </a:cubicBezTo>
                      <a:cubicBezTo>
                        <a:pt x="42" y="184"/>
                        <a:pt x="18" y="220"/>
                        <a:pt x="18" y="220"/>
                      </a:cubicBezTo>
                      <a:cubicBezTo>
                        <a:pt x="18" y="220"/>
                        <a:pt x="55" y="245"/>
                        <a:pt x="67" y="257"/>
                      </a:cubicBezTo>
                      <a:cubicBezTo>
                        <a:pt x="79" y="269"/>
                        <a:pt x="102" y="292"/>
                        <a:pt x="100" y="302"/>
                      </a:cubicBezTo>
                      <a:cubicBezTo>
                        <a:pt x="98" y="312"/>
                        <a:pt x="0" y="325"/>
                        <a:pt x="58" y="383"/>
                      </a:cubicBezTo>
                      <a:cubicBezTo>
                        <a:pt x="116" y="441"/>
                        <a:pt x="130" y="345"/>
                        <a:pt x="138" y="341"/>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104" name="Freeform 14"/>
                <p:cNvSpPr>
                  <a:spLocks/>
                </p:cNvSpPr>
                <p:nvPr/>
              </p:nvSpPr>
              <p:spPr bwMode="auto">
                <a:xfrm rot="9900000">
                  <a:off x="2123129" y="293070"/>
                  <a:ext cx="1377948" cy="1377947"/>
                </a:xfrm>
                <a:custGeom>
                  <a:avLst/>
                  <a:gdLst>
                    <a:gd name="T0" fmla="*/ 422 w 422"/>
                    <a:gd name="T1" fmla="*/ 220 h 422"/>
                    <a:gd name="T2" fmla="*/ 386 w 422"/>
                    <a:gd name="T3" fmla="*/ 171 h 422"/>
                    <a:gd name="T4" fmla="*/ 341 w 422"/>
                    <a:gd name="T5" fmla="*/ 138 h 422"/>
                    <a:gd name="T6" fmla="*/ 260 w 422"/>
                    <a:gd name="T7" fmla="*/ 180 h 422"/>
                    <a:gd name="T8" fmla="*/ 302 w 422"/>
                    <a:gd name="T9" fmla="*/ 100 h 422"/>
                    <a:gd name="T10" fmla="*/ 269 w 422"/>
                    <a:gd name="T11" fmla="*/ 55 h 422"/>
                    <a:gd name="T12" fmla="*/ 220 w 422"/>
                    <a:gd name="T13" fmla="*/ 18 h 422"/>
                    <a:gd name="T14" fmla="*/ 183 w 422"/>
                    <a:gd name="T15" fmla="*/ 67 h 422"/>
                    <a:gd name="T16" fmla="*/ 138 w 422"/>
                    <a:gd name="T17" fmla="*/ 100 h 422"/>
                    <a:gd name="T18" fmla="*/ 58 w 422"/>
                    <a:gd name="T19" fmla="*/ 58 h 422"/>
                    <a:gd name="T20" fmla="*/ 100 w 422"/>
                    <a:gd name="T21" fmla="*/ 138 h 422"/>
                    <a:gd name="T22" fmla="*/ 67 w 422"/>
                    <a:gd name="T23" fmla="*/ 183 h 422"/>
                    <a:gd name="T24" fmla="*/ 18 w 422"/>
                    <a:gd name="T25" fmla="*/ 220 h 422"/>
                    <a:gd name="T26" fmla="*/ 55 w 422"/>
                    <a:gd name="T27" fmla="*/ 269 h 422"/>
                    <a:gd name="T28" fmla="*/ 100 w 422"/>
                    <a:gd name="T29" fmla="*/ 302 h 422"/>
                    <a:gd name="T30" fmla="*/ 180 w 422"/>
                    <a:gd name="T31" fmla="*/ 260 h 422"/>
                    <a:gd name="T32" fmla="*/ 138 w 422"/>
                    <a:gd name="T33" fmla="*/ 341 h 422"/>
                    <a:gd name="T34" fmla="*/ 171 w 422"/>
                    <a:gd name="T35" fmla="*/ 386 h 422"/>
                    <a:gd name="T36" fmla="*/ 220 w 422"/>
                    <a:gd name="T37" fmla="*/ 422 h 422"/>
                    <a:gd name="T38" fmla="*/ 422 w 422"/>
                    <a:gd name="T39" fmla="*/ 220 h 4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22" h="422">
                      <a:moveTo>
                        <a:pt x="422" y="220"/>
                      </a:moveTo>
                      <a:cubicBezTo>
                        <a:pt x="422" y="220"/>
                        <a:pt x="398" y="183"/>
                        <a:pt x="386" y="171"/>
                      </a:cubicBezTo>
                      <a:cubicBezTo>
                        <a:pt x="373" y="159"/>
                        <a:pt x="349" y="134"/>
                        <a:pt x="341" y="138"/>
                      </a:cubicBezTo>
                      <a:cubicBezTo>
                        <a:pt x="332" y="142"/>
                        <a:pt x="318" y="239"/>
                        <a:pt x="260" y="180"/>
                      </a:cubicBezTo>
                      <a:cubicBezTo>
                        <a:pt x="202" y="122"/>
                        <a:pt x="300" y="110"/>
                        <a:pt x="302" y="100"/>
                      </a:cubicBezTo>
                      <a:cubicBezTo>
                        <a:pt x="304" y="90"/>
                        <a:pt x="281" y="67"/>
                        <a:pt x="269" y="55"/>
                      </a:cubicBezTo>
                      <a:cubicBezTo>
                        <a:pt x="257" y="42"/>
                        <a:pt x="220" y="18"/>
                        <a:pt x="220" y="18"/>
                      </a:cubicBezTo>
                      <a:cubicBezTo>
                        <a:pt x="220" y="18"/>
                        <a:pt x="196" y="55"/>
                        <a:pt x="183" y="67"/>
                      </a:cubicBezTo>
                      <a:cubicBezTo>
                        <a:pt x="171" y="79"/>
                        <a:pt x="149" y="102"/>
                        <a:pt x="138" y="100"/>
                      </a:cubicBezTo>
                      <a:cubicBezTo>
                        <a:pt x="128" y="98"/>
                        <a:pt x="116" y="0"/>
                        <a:pt x="58" y="58"/>
                      </a:cubicBezTo>
                      <a:cubicBezTo>
                        <a:pt x="0" y="116"/>
                        <a:pt x="96" y="130"/>
                        <a:pt x="100" y="138"/>
                      </a:cubicBezTo>
                      <a:cubicBezTo>
                        <a:pt x="104" y="147"/>
                        <a:pt x="79" y="171"/>
                        <a:pt x="67" y="183"/>
                      </a:cubicBezTo>
                      <a:cubicBezTo>
                        <a:pt x="55" y="196"/>
                        <a:pt x="18" y="220"/>
                        <a:pt x="18" y="220"/>
                      </a:cubicBezTo>
                      <a:cubicBezTo>
                        <a:pt x="18" y="220"/>
                        <a:pt x="42" y="257"/>
                        <a:pt x="55" y="269"/>
                      </a:cubicBezTo>
                      <a:cubicBezTo>
                        <a:pt x="67" y="281"/>
                        <a:pt x="91" y="306"/>
                        <a:pt x="100" y="302"/>
                      </a:cubicBezTo>
                      <a:cubicBezTo>
                        <a:pt x="108" y="298"/>
                        <a:pt x="122" y="202"/>
                        <a:pt x="180" y="260"/>
                      </a:cubicBezTo>
                      <a:cubicBezTo>
                        <a:pt x="238" y="318"/>
                        <a:pt x="140" y="330"/>
                        <a:pt x="138" y="341"/>
                      </a:cubicBezTo>
                      <a:cubicBezTo>
                        <a:pt x="136" y="351"/>
                        <a:pt x="159" y="373"/>
                        <a:pt x="171" y="386"/>
                      </a:cubicBezTo>
                      <a:cubicBezTo>
                        <a:pt x="183" y="398"/>
                        <a:pt x="220" y="422"/>
                        <a:pt x="220" y="422"/>
                      </a:cubicBezTo>
                      <a:lnTo>
                        <a:pt x="422" y="22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grpSp>
        </p:grpSp>
        <p:sp>
          <p:nvSpPr>
            <p:cNvPr id="82" name="Rectangle 152"/>
            <p:cNvSpPr/>
            <p:nvPr/>
          </p:nvSpPr>
          <p:spPr bwMode="auto">
            <a:xfrm>
              <a:off x="669652" y="2738277"/>
              <a:ext cx="1805162" cy="37532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2C812"/>
                  </a:solidFill>
                  <a:effectLst/>
                  <a:uLnTx/>
                  <a:uFillTx/>
                  <a:latin typeface="Segoe UI"/>
                  <a:ea typeface="+mn-ea"/>
                  <a:cs typeface="Segoe UI Light" panose="020B0502040204020203" pitchFamily="34" charset="0"/>
                </a:rPr>
                <a:t>Keeping Data Current</a:t>
              </a:r>
            </a:p>
          </p:txBody>
        </p:sp>
        <p:grpSp>
          <p:nvGrpSpPr>
            <p:cNvPr id="83" name="Group 82"/>
            <p:cNvGrpSpPr/>
            <p:nvPr/>
          </p:nvGrpSpPr>
          <p:grpSpPr>
            <a:xfrm>
              <a:off x="199649" y="2692629"/>
              <a:ext cx="433844" cy="433844"/>
              <a:chOff x="342620" y="2228265"/>
              <a:chExt cx="433844" cy="433844"/>
            </a:xfrm>
            <a:solidFill>
              <a:schemeClr val="bg1"/>
            </a:solidFill>
          </p:grpSpPr>
          <p:sp>
            <p:nvSpPr>
              <p:cNvPr id="99" name="Oval 154"/>
              <p:cNvSpPr/>
              <p:nvPr/>
            </p:nvSpPr>
            <p:spPr bwMode="auto">
              <a:xfrm>
                <a:off x="342620" y="2228265"/>
                <a:ext cx="433844" cy="433844"/>
              </a:xfrm>
              <a:prstGeom prst="ellipse">
                <a:avLst/>
              </a:prstGeom>
              <a:solidFill>
                <a:srgbClr val="FFC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0" name="Freeform 30"/>
              <p:cNvSpPr>
                <a:spLocks noEditPoints="1"/>
              </p:cNvSpPr>
              <p:nvPr/>
            </p:nvSpPr>
            <p:spPr bwMode="auto">
              <a:xfrm>
                <a:off x="444786" y="2340040"/>
                <a:ext cx="238402" cy="210293"/>
              </a:xfrm>
              <a:custGeom>
                <a:avLst/>
                <a:gdLst>
                  <a:gd name="T0" fmla="*/ 883 w 916"/>
                  <a:gd name="T1" fmla="*/ 286 h 808"/>
                  <a:gd name="T2" fmla="*/ 539 w 916"/>
                  <a:gd name="T3" fmla="*/ 723 h 808"/>
                  <a:gd name="T4" fmla="*/ 504 w 916"/>
                  <a:gd name="T5" fmla="*/ 0 h 808"/>
                  <a:gd name="T6" fmla="*/ 35 w 916"/>
                  <a:gd name="T7" fmla="*/ 723 h 808"/>
                  <a:gd name="T8" fmla="*/ 0 w 916"/>
                  <a:gd name="T9" fmla="*/ 808 h 808"/>
                  <a:gd name="T10" fmla="*/ 916 w 916"/>
                  <a:gd name="T11" fmla="*/ 723 h 808"/>
                  <a:gd name="T12" fmla="*/ 229 w 916"/>
                  <a:gd name="T13" fmla="*/ 665 h 808"/>
                  <a:gd name="T14" fmla="*/ 109 w 916"/>
                  <a:gd name="T15" fmla="*/ 596 h 808"/>
                  <a:gd name="T16" fmla="*/ 229 w 916"/>
                  <a:gd name="T17" fmla="*/ 665 h 808"/>
                  <a:gd name="T18" fmla="*/ 109 w 916"/>
                  <a:gd name="T19" fmla="*/ 501 h 808"/>
                  <a:gd name="T20" fmla="*/ 229 w 916"/>
                  <a:gd name="T21" fmla="*/ 432 h 808"/>
                  <a:gd name="T22" fmla="*/ 229 w 916"/>
                  <a:gd name="T23" fmla="*/ 337 h 808"/>
                  <a:gd name="T24" fmla="*/ 109 w 916"/>
                  <a:gd name="T25" fmla="*/ 267 h 808"/>
                  <a:gd name="T26" fmla="*/ 229 w 916"/>
                  <a:gd name="T27" fmla="*/ 337 h 808"/>
                  <a:gd name="T28" fmla="*/ 109 w 916"/>
                  <a:gd name="T29" fmla="*/ 172 h 808"/>
                  <a:gd name="T30" fmla="*/ 229 w 916"/>
                  <a:gd name="T31" fmla="*/ 103 h 808"/>
                  <a:gd name="T32" fmla="*/ 428 w 916"/>
                  <a:gd name="T33" fmla="*/ 665 h 808"/>
                  <a:gd name="T34" fmla="*/ 307 w 916"/>
                  <a:gd name="T35" fmla="*/ 596 h 808"/>
                  <a:gd name="T36" fmla="*/ 428 w 916"/>
                  <a:gd name="T37" fmla="*/ 665 h 808"/>
                  <a:gd name="T38" fmla="*/ 307 w 916"/>
                  <a:gd name="T39" fmla="*/ 501 h 808"/>
                  <a:gd name="T40" fmla="*/ 428 w 916"/>
                  <a:gd name="T41" fmla="*/ 432 h 808"/>
                  <a:gd name="T42" fmla="*/ 428 w 916"/>
                  <a:gd name="T43" fmla="*/ 337 h 808"/>
                  <a:gd name="T44" fmla="*/ 307 w 916"/>
                  <a:gd name="T45" fmla="*/ 267 h 808"/>
                  <a:gd name="T46" fmla="*/ 428 w 916"/>
                  <a:gd name="T47" fmla="*/ 337 h 808"/>
                  <a:gd name="T48" fmla="*/ 307 w 916"/>
                  <a:gd name="T49" fmla="*/ 172 h 808"/>
                  <a:gd name="T50" fmla="*/ 428 w 916"/>
                  <a:gd name="T51" fmla="*/ 103 h 808"/>
                  <a:gd name="T52" fmla="*/ 684 w 916"/>
                  <a:gd name="T53" fmla="*/ 668 h 808"/>
                  <a:gd name="T54" fmla="*/ 606 w 916"/>
                  <a:gd name="T55" fmla="*/ 549 h 808"/>
                  <a:gd name="T56" fmla="*/ 684 w 916"/>
                  <a:gd name="T57" fmla="*/ 668 h 808"/>
                  <a:gd name="T58" fmla="*/ 606 w 916"/>
                  <a:gd name="T59" fmla="*/ 482 h 808"/>
                  <a:gd name="T60" fmla="*/ 684 w 916"/>
                  <a:gd name="T61" fmla="*/ 365 h 808"/>
                  <a:gd name="T62" fmla="*/ 816 w 916"/>
                  <a:gd name="T63" fmla="*/ 668 h 808"/>
                  <a:gd name="T64" fmla="*/ 738 w 916"/>
                  <a:gd name="T65" fmla="*/ 549 h 808"/>
                  <a:gd name="T66" fmla="*/ 816 w 916"/>
                  <a:gd name="T67" fmla="*/ 668 h 808"/>
                  <a:gd name="T68" fmla="*/ 738 w 916"/>
                  <a:gd name="T69" fmla="*/ 482 h 808"/>
                  <a:gd name="T70" fmla="*/ 816 w 916"/>
                  <a:gd name="T71" fmla="*/ 365 h 8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16" h="808">
                    <a:moveTo>
                      <a:pt x="883" y="723"/>
                    </a:moveTo>
                    <a:lnTo>
                      <a:pt x="883" y="286"/>
                    </a:lnTo>
                    <a:lnTo>
                      <a:pt x="539" y="286"/>
                    </a:lnTo>
                    <a:lnTo>
                      <a:pt x="539" y="723"/>
                    </a:lnTo>
                    <a:lnTo>
                      <a:pt x="504" y="723"/>
                    </a:lnTo>
                    <a:lnTo>
                      <a:pt x="504" y="0"/>
                    </a:lnTo>
                    <a:lnTo>
                      <a:pt x="35" y="0"/>
                    </a:lnTo>
                    <a:lnTo>
                      <a:pt x="35" y="723"/>
                    </a:lnTo>
                    <a:lnTo>
                      <a:pt x="0" y="723"/>
                    </a:lnTo>
                    <a:lnTo>
                      <a:pt x="0" y="808"/>
                    </a:lnTo>
                    <a:lnTo>
                      <a:pt x="916" y="808"/>
                    </a:lnTo>
                    <a:lnTo>
                      <a:pt x="916" y="723"/>
                    </a:lnTo>
                    <a:lnTo>
                      <a:pt x="883" y="723"/>
                    </a:lnTo>
                    <a:close/>
                    <a:moveTo>
                      <a:pt x="229" y="665"/>
                    </a:moveTo>
                    <a:lnTo>
                      <a:pt x="109" y="665"/>
                    </a:lnTo>
                    <a:lnTo>
                      <a:pt x="109" y="596"/>
                    </a:lnTo>
                    <a:lnTo>
                      <a:pt x="229" y="596"/>
                    </a:lnTo>
                    <a:lnTo>
                      <a:pt x="229" y="665"/>
                    </a:lnTo>
                    <a:close/>
                    <a:moveTo>
                      <a:pt x="229" y="501"/>
                    </a:moveTo>
                    <a:lnTo>
                      <a:pt x="109" y="501"/>
                    </a:lnTo>
                    <a:lnTo>
                      <a:pt x="109" y="432"/>
                    </a:lnTo>
                    <a:lnTo>
                      <a:pt x="229" y="432"/>
                    </a:lnTo>
                    <a:lnTo>
                      <a:pt x="229" y="501"/>
                    </a:lnTo>
                    <a:close/>
                    <a:moveTo>
                      <a:pt x="229" y="337"/>
                    </a:moveTo>
                    <a:lnTo>
                      <a:pt x="109" y="337"/>
                    </a:lnTo>
                    <a:lnTo>
                      <a:pt x="109" y="267"/>
                    </a:lnTo>
                    <a:lnTo>
                      <a:pt x="229" y="267"/>
                    </a:lnTo>
                    <a:lnTo>
                      <a:pt x="229" y="337"/>
                    </a:lnTo>
                    <a:close/>
                    <a:moveTo>
                      <a:pt x="229" y="172"/>
                    </a:moveTo>
                    <a:lnTo>
                      <a:pt x="109" y="172"/>
                    </a:lnTo>
                    <a:lnTo>
                      <a:pt x="109" y="103"/>
                    </a:lnTo>
                    <a:lnTo>
                      <a:pt x="229" y="103"/>
                    </a:lnTo>
                    <a:lnTo>
                      <a:pt x="229" y="172"/>
                    </a:lnTo>
                    <a:close/>
                    <a:moveTo>
                      <a:pt x="428" y="665"/>
                    </a:moveTo>
                    <a:lnTo>
                      <a:pt x="307" y="665"/>
                    </a:lnTo>
                    <a:lnTo>
                      <a:pt x="307" y="596"/>
                    </a:lnTo>
                    <a:lnTo>
                      <a:pt x="428" y="596"/>
                    </a:lnTo>
                    <a:lnTo>
                      <a:pt x="428" y="665"/>
                    </a:lnTo>
                    <a:close/>
                    <a:moveTo>
                      <a:pt x="428" y="501"/>
                    </a:moveTo>
                    <a:lnTo>
                      <a:pt x="307" y="501"/>
                    </a:lnTo>
                    <a:lnTo>
                      <a:pt x="307" y="432"/>
                    </a:lnTo>
                    <a:lnTo>
                      <a:pt x="428" y="432"/>
                    </a:lnTo>
                    <a:lnTo>
                      <a:pt x="428" y="501"/>
                    </a:lnTo>
                    <a:close/>
                    <a:moveTo>
                      <a:pt x="428" y="337"/>
                    </a:moveTo>
                    <a:lnTo>
                      <a:pt x="307" y="337"/>
                    </a:lnTo>
                    <a:lnTo>
                      <a:pt x="307" y="267"/>
                    </a:lnTo>
                    <a:lnTo>
                      <a:pt x="428" y="267"/>
                    </a:lnTo>
                    <a:lnTo>
                      <a:pt x="428" y="337"/>
                    </a:lnTo>
                    <a:close/>
                    <a:moveTo>
                      <a:pt x="428" y="172"/>
                    </a:moveTo>
                    <a:lnTo>
                      <a:pt x="307" y="172"/>
                    </a:lnTo>
                    <a:lnTo>
                      <a:pt x="307" y="103"/>
                    </a:lnTo>
                    <a:lnTo>
                      <a:pt x="428" y="103"/>
                    </a:lnTo>
                    <a:lnTo>
                      <a:pt x="428" y="172"/>
                    </a:lnTo>
                    <a:close/>
                    <a:moveTo>
                      <a:pt x="684" y="668"/>
                    </a:moveTo>
                    <a:lnTo>
                      <a:pt x="606" y="668"/>
                    </a:lnTo>
                    <a:lnTo>
                      <a:pt x="606" y="549"/>
                    </a:lnTo>
                    <a:lnTo>
                      <a:pt x="684" y="549"/>
                    </a:lnTo>
                    <a:lnTo>
                      <a:pt x="684" y="668"/>
                    </a:lnTo>
                    <a:close/>
                    <a:moveTo>
                      <a:pt x="684" y="482"/>
                    </a:moveTo>
                    <a:lnTo>
                      <a:pt x="606" y="482"/>
                    </a:lnTo>
                    <a:lnTo>
                      <a:pt x="606" y="365"/>
                    </a:lnTo>
                    <a:lnTo>
                      <a:pt x="684" y="365"/>
                    </a:lnTo>
                    <a:lnTo>
                      <a:pt x="684" y="482"/>
                    </a:lnTo>
                    <a:close/>
                    <a:moveTo>
                      <a:pt x="816" y="668"/>
                    </a:moveTo>
                    <a:lnTo>
                      <a:pt x="738" y="668"/>
                    </a:lnTo>
                    <a:lnTo>
                      <a:pt x="738" y="549"/>
                    </a:lnTo>
                    <a:lnTo>
                      <a:pt x="816" y="549"/>
                    </a:lnTo>
                    <a:lnTo>
                      <a:pt x="816" y="668"/>
                    </a:lnTo>
                    <a:close/>
                    <a:moveTo>
                      <a:pt x="816" y="482"/>
                    </a:moveTo>
                    <a:lnTo>
                      <a:pt x="738" y="482"/>
                    </a:lnTo>
                    <a:lnTo>
                      <a:pt x="738" y="365"/>
                    </a:lnTo>
                    <a:lnTo>
                      <a:pt x="816" y="365"/>
                    </a:lnTo>
                    <a:lnTo>
                      <a:pt x="816" y="482"/>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grpSp>
        <p:sp>
          <p:nvSpPr>
            <p:cNvPr id="84" name="TextBox 83"/>
            <p:cNvSpPr txBox="1"/>
            <p:nvPr/>
          </p:nvSpPr>
          <p:spPr>
            <a:xfrm>
              <a:off x="83345" y="113808"/>
              <a:ext cx="2532630" cy="627864"/>
            </a:xfrm>
            <a:prstGeom prst="rect">
              <a:avLst/>
            </a:prstGeom>
            <a:noFill/>
          </p:spPr>
          <p:txBody>
            <a:bodyPr wrap="square" lIns="182880" tIns="146304" rIns="182880" bIns="146304" rtlCol="0">
              <a:spAutoFit/>
            </a:bodyPr>
            <a:lstStyle>
              <a:defPPr>
                <a:defRPr lang="en-US"/>
              </a:defPPr>
              <a:lvl1pPr>
                <a:lnSpc>
                  <a:spcPct val="90000"/>
                </a:lnSpc>
                <a:spcAft>
                  <a:spcPts val="600"/>
                </a:spcAft>
                <a:defRPr sz="2800" b="1">
                  <a:solidFill>
                    <a:srgbClr val="F2C812"/>
                  </a:solidFill>
                  <a:latin typeface="Segoe UI Light"/>
                </a:defRPr>
              </a:lvl1p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400" b="1" i="0" u="none" strike="noStrike" kern="1200" cap="none" spc="0" normalizeH="0" baseline="0" noProof="0">
                  <a:ln>
                    <a:noFill/>
                  </a:ln>
                  <a:solidFill>
                    <a:srgbClr val="F2C812"/>
                  </a:solidFill>
                  <a:effectLst/>
                  <a:uLnTx/>
                  <a:uFillTx/>
                  <a:latin typeface="Segoe UI Light"/>
                  <a:ea typeface="+mn-ea"/>
                  <a:cs typeface="+mn-cs"/>
                </a:rPr>
                <a:t>Power BI Service</a:t>
              </a:r>
              <a:endParaRPr kumimoji="0" lang="en-US" sz="2800" b="1" i="0" u="none" strike="noStrike" kern="1200" cap="none" spc="0" normalizeH="0" baseline="0" noProof="0">
                <a:ln>
                  <a:noFill/>
                </a:ln>
                <a:solidFill>
                  <a:srgbClr val="F2C812"/>
                </a:solidFill>
                <a:effectLst/>
                <a:uLnTx/>
                <a:uFillTx/>
                <a:latin typeface="Segoe UI Light"/>
                <a:ea typeface="+mn-ea"/>
                <a:cs typeface="+mn-cs"/>
              </a:endParaRPr>
            </a:p>
          </p:txBody>
        </p:sp>
        <p:grpSp>
          <p:nvGrpSpPr>
            <p:cNvPr id="85" name="Group 84"/>
            <p:cNvGrpSpPr/>
            <p:nvPr/>
          </p:nvGrpSpPr>
          <p:grpSpPr>
            <a:xfrm>
              <a:off x="219373" y="3621383"/>
              <a:ext cx="433844" cy="645668"/>
              <a:chOff x="280990" y="3358164"/>
              <a:chExt cx="433844" cy="645668"/>
            </a:xfrm>
          </p:grpSpPr>
          <p:sp>
            <p:nvSpPr>
              <p:cNvPr id="92" name="Oval 1083"/>
              <p:cNvSpPr/>
              <p:nvPr/>
            </p:nvSpPr>
            <p:spPr bwMode="auto">
              <a:xfrm>
                <a:off x="280990" y="3358164"/>
                <a:ext cx="433844" cy="433847"/>
              </a:xfrm>
              <a:prstGeom prst="ellipse">
                <a:avLst/>
              </a:prstGeom>
              <a:solidFill>
                <a:srgbClr val="F2C812"/>
              </a:solidFill>
              <a:ln>
                <a:solidFill>
                  <a:srgbClr val="FFCC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93" name="Group 379"/>
              <p:cNvGrpSpPr/>
              <p:nvPr/>
            </p:nvGrpSpPr>
            <p:grpSpPr>
              <a:xfrm>
                <a:off x="453702" y="3910852"/>
                <a:ext cx="175660" cy="92980"/>
                <a:chOff x="3895793" y="7466656"/>
                <a:chExt cx="785810" cy="415941"/>
              </a:xfrm>
              <a:solidFill>
                <a:srgbClr val="00BCF2"/>
              </a:solidFill>
            </p:grpSpPr>
            <p:sp>
              <p:nvSpPr>
                <p:cNvPr id="94" name="Freeform 132"/>
                <p:cNvSpPr>
                  <a:spLocks/>
                </p:cNvSpPr>
                <p:nvPr/>
              </p:nvSpPr>
              <p:spPr bwMode="auto">
                <a:xfrm>
                  <a:off x="4125979" y="7688918"/>
                  <a:ext cx="0" cy="6353"/>
                </a:xfrm>
                <a:custGeom>
                  <a:avLst/>
                  <a:gdLst>
                    <a:gd name="T0" fmla="*/ 1 w 1"/>
                    <a:gd name="T1" fmla="*/ 0 h 8"/>
                    <a:gd name="T2" fmla="*/ 0 w 1"/>
                    <a:gd name="T3" fmla="*/ 0 h 8"/>
                    <a:gd name="T4" fmla="*/ 1 w 1"/>
                    <a:gd name="T5" fmla="*/ 8 h 8"/>
                    <a:gd name="T6" fmla="*/ 1 w 1"/>
                    <a:gd name="T7" fmla="*/ 0 h 8"/>
                  </a:gdLst>
                  <a:ahLst/>
                  <a:cxnLst>
                    <a:cxn ang="0">
                      <a:pos x="T0" y="T1"/>
                    </a:cxn>
                    <a:cxn ang="0">
                      <a:pos x="T2" y="T3"/>
                    </a:cxn>
                    <a:cxn ang="0">
                      <a:pos x="T4" y="T5"/>
                    </a:cxn>
                    <a:cxn ang="0">
                      <a:pos x="T6" y="T7"/>
                    </a:cxn>
                  </a:cxnLst>
                  <a:rect l="0" t="0" r="r" b="b"/>
                  <a:pathLst>
                    <a:path w="1" h="8">
                      <a:moveTo>
                        <a:pt x="1" y="0"/>
                      </a:moveTo>
                      <a:cubicBezTo>
                        <a:pt x="0" y="0"/>
                        <a:pt x="0" y="0"/>
                        <a:pt x="0" y="0"/>
                      </a:cubicBezTo>
                      <a:cubicBezTo>
                        <a:pt x="0" y="3"/>
                        <a:pt x="1" y="5"/>
                        <a:pt x="1" y="8"/>
                      </a:cubicBezTo>
                      <a:lnTo>
                        <a:pt x="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95" name="Freeform 133"/>
                <p:cNvSpPr>
                  <a:spLocks/>
                </p:cNvSpPr>
                <p:nvPr/>
              </p:nvSpPr>
              <p:spPr bwMode="auto">
                <a:xfrm>
                  <a:off x="3895793" y="7812745"/>
                  <a:ext cx="219078" cy="69852"/>
                </a:xfrm>
                <a:custGeom>
                  <a:avLst/>
                  <a:gdLst>
                    <a:gd name="T0" fmla="*/ 186 w 238"/>
                    <a:gd name="T1" fmla="*/ 9 h 76"/>
                    <a:gd name="T2" fmla="*/ 131 w 238"/>
                    <a:gd name="T3" fmla="*/ 22 h 76"/>
                    <a:gd name="T4" fmla="*/ 60 w 238"/>
                    <a:gd name="T5" fmla="*/ 0 h 76"/>
                    <a:gd name="T6" fmla="*/ 0 w 238"/>
                    <a:gd name="T7" fmla="*/ 42 h 76"/>
                    <a:gd name="T8" fmla="*/ 0 w 238"/>
                    <a:gd name="T9" fmla="*/ 76 h 76"/>
                    <a:gd name="T10" fmla="*/ 238 w 238"/>
                    <a:gd name="T11" fmla="*/ 76 h 76"/>
                    <a:gd name="T12" fmla="*/ 236 w 238"/>
                    <a:gd name="T13" fmla="*/ 53 h 76"/>
                    <a:gd name="T14" fmla="*/ 236 w 238"/>
                    <a:gd name="T15" fmla="*/ 49 h 76"/>
                    <a:gd name="T16" fmla="*/ 186 w 238"/>
                    <a:gd name="T17" fmla="*/ 9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8" h="76">
                      <a:moveTo>
                        <a:pt x="186" y="9"/>
                      </a:moveTo>
                      <a:cubicBezTo>
                        <a:pt x="169" y="18"/>
                        <a:pt x="150" y="22"/>
                        <a:pt x="131" y="22"/>
                      </a:cubicBezTo>
                      <a:cubicBezTo>
                        <a:pt x="105" y="22"/>
                        <a:pt x="80" y="14"/>
                        <a:pt x="60" y="0"/>
                      </a:cubicBezTo>
                      <a:cubicBezTo>
                        <a:pt x="0" y="42"/>
                        <a:pt x="0" y="42"/>
                        <a:pt x="0" y="42"/>
                      </a:cubicBezTo>
                      <a:cubicBezTo>
                        <a:pt x="0" y="76"/>
                        <a:pt x="0" y="76"/>
                        <a:pt x="0" y="76"/>
                      </a:cubicBezTo>
                      <a:cubicBezTo>
                        <a:pt x="238" y="76"/>
                        <a:pt x="238" y="76"/>
                        <a:pt x="238" y="76"/>
                      </a:cubicBezTo>
                      <a:cubicBezTo>
                        <a:pt x="237" y="68"/>
                        <a:pt x="236" y="61"/>
                        <a:pt x="236" y="53"/>
                      </a:cubicBezTo>
                      <a:cubicBezTo>
                        <a:pt x="236" y="51"/>
                        <a:pt x="236" y="50"/>
                        <a:pt x="236" y="49"/>
                      </a:cubicBezTo>
                      <a:lnTo>
                        <a:pt x="186" y="9"/>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96" name="Freeform 137"/>
                <p:cNvSpPr>
                  <a:spLocks/>
                </p:cNvSpPr>
                <p:nvPr/>
              </p:nvSpPr>
              <p:spPr bwMode="auto">
                <a:xfrm>
                  <a:off x="4338704" y="7809561"/>
                  <a:ext cx="65090" cy="73028"/>
                </a:xfrm>
                <a:custGeom>
                  <a:avLst/>
                  <a:gdLst>
                    <a:gd name="T0" fmla="*/ 71 w 71"/>
                    <a:gd name="T1" fmla="*/ 79 h 79"/>
                    <a:gd name="T2" fmla="*/ 71 w 71"/>
                    <a:gd name="T3" fmla="*/ 0 h 79"/>
                    <a:gd name="T4" fmla="*/ 2 w 71"/>
                    <a:gd name="T5" fmla="*/ 53 h 79"/>
                    <a:gd name="T6" fmla="*/ 2 w 71"/>
                    <a:gd name="T7" fmla="*/ 56 h 79"/>
                    <a:gd name="T8" fmla="*/ 0 w 71"/>
                    <a:gd name="T9" fmla="*/ 79 h 79"/>
                    <a:gd name="T10" fmla="*/ 71 w 71"/>
                    <a:gd name="T11" fmla="*/ 79 h 79"/>
                  </a:gdLst>
                  <a:ahLst/>
                  <a:cxnLst>
                    <a:cxn ang="0">
                      <a:pos x="T0" y="T1"/>
                    </a:cxn>
                    <a:cxn ang="0">
                      <a:pos x="T2" y="T3"/>
                    </a:cxn>
                    <a:cxn ang="0">
                      <a:pos x="T4" y="T5"/>
                    </a:cxn>
                    <a:cxn ang="0">
                      <a:pos x="T6" y="T7"/>
                    </a:cxn>
                    <a:cxn ang="0">
                      <a:pos x="T8" y="T9"/>
                    </a:cxn>
                    <a:cxn ang="0">
                      <a:pos x="T10" y="T11"/>
                    </a:cxn>
                  </a:cxnLst>
                  <a:rect l="0" t="0" r="r" b="b"/>
                  <a:pathLst>
                    <a:path w="71" h="79">
                      <a:moveTo>
                        <a:pt x="71" y="79"/>
                      </a:moveTo>
                      <a:cubicBezTo>
                        <a:pt x="71" y="0"/>
                        <a:pt x="71" y="0"/>
                        <a:pt x="71" y="0"/>
                      </a:cubicBezTo>
                      <a:cubicBezTo>
                        <a:pt x="2" y="53"/>
                        <a:pt x="2" y="53"/>
                        <a:pt x="2" y="53"/>
                      </a:cubicBezTo>
                      <a:cubicBezTo>
                        <a:pt x="2" y="54"/>
                        <a:pt x="2" y="55"/>
                        <a:pt x="2" y="56"/>
                      </a:cubicBezTo>
                      <a:cubicBezTo>
                        <a:pt x="2" y="64"/>
                        <a:pt x="1" y="71"/>
                        <a:pt x="0" y="79"/>
                      </a:cubicBezTo>
                      <a:lnTo>
                        <a:pt x="71" y="79"/>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97" name="Freeform 140"/>
                <p:cNvSpPr>
                  <a:spLocks/>
                </p:cNvSpPr>
                <p:nvPr/>
              </p:nvSpPr>
              <p:spPr bwMode="auto">
                <a:xfrm>
                  <a:off x="4600643" y="7622229"/>
                  <a:ext cx="80960" cy="38099"/>
                </a:xfrm>
                <a:custGeom>
                  <a:avLst/>
                  <a:gdLst>
                    <a:gd name="T0" fmla="*/ 0 w 51"/>
                    <a:gd name="T1" fmla="*/ 24 h 24"/>
                    <a:gd name="T2" fmla="*/ 51 w 51"/>
                    <a:gd name="T3" fmla="*/ 24 h 24"/>
                    <a:gd name="T4" fmla="*/ 32 w 51"/>
                    <a:gd name="T5" fmla="*/ 0 h 24"/>
                    <a:gd name="T6" fmla="*/ 0 w 51"/>
                    <a:gd name="T7" fmla="*/ 24 h 24"/>
                  </a:gdLst>
                  <a:ahLst/>
                  <a:cxnLst>
                    <a:cxn ang="0">
                      <a:pos x="T0" y="T1"/>
                    </a:cxn>
                    <a:cxn ang="0">
                      <a:pos x="T2" y="T3"/>
                    </a:cxn>
                    <a:cxn ang="0">
                      <a:pos x="T4" y="T5"/>
                    </a:cxn>
                    <a:cxn ang="0">
                      <a:pos x="T6" y="T7"/>
                    </a:cxn>
                  </a:cxnLst>
                  <a:rect l="0" t="0" r="r" b="b"/>
                  <a:pathLst>
                    <a:path w="51" h="24">
                      <a:moveTo>
                        <a:pt x="0" y="24"/>
                      </a:moveTo>
                      <a:lnTo>
                        <a:pt x="51" y="24"/>
                      </a:lnTo>
                      <a:lnTo>
                        <a:pt x="32" y="0"/>
                      </a:lnTo>
                      <a:lnTo>
                        <a:pt x="0" y="24"/>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98" name="Freeform 141"/>
                <p:cNvSpPr>
                  <a:spLocks/>
                </p:cNvSpPr>
                <p:nvPr/>
              </p:nvSpPr>
              <p:spPr bwMode="auto">
                <a:xfrm>
                  <a:off x="4449825" y="7466656"/>
                  <a:ext cx="119065" cy="139703"/>
                </a:xfrm>
                <a:custGeom>
                  <a:avLst/>
                  <a:gdLst>
                    <a:gd name="T0" fmla="*/ 52 w 75"/>
                    <a:gd name="T1" fmla="*/ 0 h 88"/>
                    <a:gd name="T2" fmla="*/ 0 w 75"/>
                    <a:gd name="T3" fmla="*/ 0 h 88"/>
                    <a:gd name="T4" fmla="*/ 0 w 75"/>
                    <a:gd name="T5" fmla="*/ 88 h 88"/>
                    <a:gd name="T6" fmla="*/ 75 w 75"/>
                    <a:gd name="T7" fmla="*/ 30 h 88"/>
                    <a:gd name="T8" fmla="*/ 52 w 75"/>
                    <a:gd name="T9" fmla="*/ 0 h 88"/>
                  </a:gdLst>
                  <a:ahLst/>
                  <a:cxnLst>
                    <a:cxn ang="0">
                      <a:pos x="T0" y="T1"/>
                    </a:cxn>
                    <a:cxn ang="0">
                      <a:pos x="T2" y="T3"/>
                    </a:cxn>
                    <a:cxn ang="0">
                      <a:pos x="T4" y="T5"/>
                    </a:cxn>
                    <a:cxn ang="0">
                      <a:pos x="T6" y="T7"/>
                    </a:cxn>
                    <a:cxn ang="0">
                      <a:pos x="T8" y="T9"/>
                    </a:cxn>
                  </a:cxnLst>
                  <a:rect l="0" t="0" r="r" b="b"/>
                  <a:pathLst>
                    <a:path w="75" h="88">
                      <a:moveTo>
                        <a:pt x="52" y="0"/>
                      </a:moveTo>
                      <a:lnTo>
                        <a:pt x="0" y="0"/>
                      </a:lnTo>
                      <a:lnTo>
                        <a:pt x="0" y="88"/>
                      </a:lnTo>
                      <a:lnTo>
                        <a:pt x="75" y="30"/>
                      </a:lnTo>
                      <a:lnTo>
                        <a:pt x="52"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grpSp>
        </p:grpSp>
        <p:sp>
          <p:nvSpPr>
            <p:cNvPr id="86" name="Rectangle 152"/>
            <p:cNvSpPr/>
            <p:nvPr/>
          </p:nvSpPr>
          <p:spPr bwMode="auto">
            <a:xfrm>
              <a:off x="712458" y="3628917"/>
              <a:ext cx="1805162" cy="37532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2C812"/>
                  </a:solidFill>
                  <a:effectLst/>
                  <a:uLnTx/>
                  <a:uFillTx/>
                  <a:latin typeface="Segoe UI"/>
                  <a:ea typeface="+mn-ea"/>
                  <a:cs typeface="Segoe UI Light" panose="020B0502040204020203" pitchFamily="34" charset="0"/>
                </a:rPr>
                <a:t>Q&amp;A and </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2C812"/>
                  </a:solidFill>
                  <a:effectLst/>
                  <a:uLnTx/>
                  <a:uFillTx/>
                  <a:latin typeface="Segoe UI"/>
                  <a:ea typeface="+mn-ea"/>
                  <a:cs typeface="Segoe UI Light" panose="020B0502040204020203" pitchFamily="34" charset="0"/>
                </a:rPr>
                <a:t>Quick Insights</a:t>
              </a:r>
              <a:endParaRPr kumimoji="0" lang="en-US" sz="1200" b="1" i="0" u="none" strike="noStrike" kern="1200" cap="none" spc="0" normalizeH="0" baseline="0" noProof="0">
                <a:ln>
                  <a:noFill/>
                </a:ln>
                <a:solidFill>
                  <a:srgbClr val="F2C812"/>
                </a:solidFill>
                <a:effectLst/>
                <a:uLnTx/>
                <a:uFillTx/>
                <a:latin typeface="Segoe UI"/>
                <a:ea typeface="+mn-ea"/>
                <a:cs typeface="Segoe UI Light" panose="020B0502040204020203" pitchFamily="34" charset="0"/>
              </a:endParaRPr>
            </a:p>
          </p:txBody>
        </p:sp>
        <p:sp>
          <p:nvSpPr>
            <p:cNvPr id="88" name="Oval 162"/>
            <p:cNvSpPr/>
            <p:nvPr/>
          </p:nvSpPr>
          <p:spPr bwMode="auto">
            <a:xfrm>
              <a:off x="226619" y="4551712"/>
              <a:ext cx="433844" cy="433844"/>
            </a:xfrm>
            <a:prstGeom prst="ellipse">
              <a:avLst/>
            </a:prstGeom>
            <a:solidFill>
              <a:srgbClr val="F2C812"/>
            </a:solidFill>
            <a:ln>
              <a:solidFill>
                <a:srgbClr val="FFCC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9" name="Rectangle 152"/>
            <p:cNvSpPr/>
            <p:nvPr/>
          </p:nvSpPr>
          <p:spPr bwMode="auto">
            <a:xfrm>
              <a:off x="738443" y="4596194"/>
              <a:ext cx="1884825" cy="30233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2C812"/>
                  </a:solidFill>
                  <a:effectLst/>
                  <a:uLnTx/>
                  <a:uFillTx/>
                  <a:latin typeface="Segoe UI"/>
                  <a:ea typeface="+mn-ea"/>
                  <a:cs typeface="Segoe UI Light" panose="020B0502040204020203" pitchFamily="34" charset="0"/>
                </a:rPr>
                <a:t>Sharing</a:t>
              </a:r>
              <a:endParaRPr kumimoji="0" lang="en-US" sz="1200" b="1" i="1" u="none" strike="noStrike" kern="1200" cap="none" spc="0" normalizeH="0" baseline="0" noProof="0">
                <a:ln>
                  <a:noFill/>
                </a:ln>
                <a:solidFill>
                  <a:srgbClr val="F2C812"/>
                </a:solidFill>
                <a:effectLst/>
                <a:uLnTx/>
                <a:uFillTx/>
                <a:latin typeface="Segoe UI"/>
                <a:ea typeface="+mn-ea"/>
                <a:cs typeface="Segoe UI Light" panose="020B0502040204020203" pitchFamily="34" charset="0"/>
              </a:endParaRPr>
            </a:p>
          </p:txBody>
        </p:sp>
        <p:sp>
          <p:nvSpPr>
            <p:cNvPr id="90" name="Rectangle 145"/>
            <p:cNvSpPr/>
            <p:nvPr/>
          </p:nvSpPr>
          <p:spPr bwMode="auto">
            <a:xfrm>
              <a:off x="697198" y="1847637"/>
              <a:ext cx="1821468" cy="3831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2C812"/>
                  </a:solidFill>
                  <a:effectLst/>
                  <a:uLnTx/>
                  <a:uFillTx/>
                  <a:latin typeface="Segoe UI"/>
                  <a:ea typeface="+mn-ea"/>
                  <a:cs typeface="Segoe UI Light" panose="020B0502040204020203" pitchFamily="34" charset="0"/>
                </a:rPr>
                <a:t>Pinning and Navigation</a:t>
              </a:r>
            </a:p>
          </p:txBody>
        </p:sp>
        <p:sp>
          <p:nvSpPr>
            <p:cNvPr id="91" name="Oval 162"/>
            <p:cNvSpPr/>
            <p:nvPr/>
          </p:nvSpPr>
          <p:spPr bwMode="auto">
            <a:xfrm>
              <a:off x="224136" y="1813606"/>
              <a:ext cx="433844" cy="433844"/>
            </a:xfrm>
            <a:prstGeom prst="ellipse">
              <a:avLst/>
            </a:prstGeom>
            <a:solidFill>
              <a:srgbClr val="FFCC00"/>
            </a:solidFill>
            <a:ln>
              <a:solidFill>
                <a:srgbClr val="F2C81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pic>
        <p:nvPicPr>
          <p:cNvPr id="105" name="Picture 104"/>
          <p:cNvPicPr>
            <a:picLocks noChangeAspect="1"/>
          </p:cNvPicPr>
          <p:nvPr/>
        </p:nvPicPr>
        <p:blipFill rotWithShape="1">
          <a:blip r:embed="rId4"/>
          <a:srcRect l="6503" t="21287" r="74698" b="20220"/>
          <a:stretch/>
        </p:blipFill>
        <p:spPr>
          <a:xfrm>
            <a:off x="339111" y="1946110"/>
            <a:ext cx="228600" cy="231962"/>
          </a:xfrm>
          <a:prstGeom prst="rect">
            <a:avLst/>
          </a:prstGeom>
        </p:spPr>
      </p:pic>
      <p:pic>
        <p:nvPicPr>
          <p:cNvPr id="106" name="Picture 105"/>
          <p:cNvPicPr>
            <a:picLocks noChangeAspect="1"/>
          </p:cNvPicPr>
          <p:nvPr/>
        </p:nvPicPr>
        <p:blipFill>
          <a:blip r:embed="rId5"/>
          <a:stretch>
            <a:fillRect/>
          </a:stretch>
        </p:blipFill>
        <p:spPr>
          <a:xfrm>
            <a:off x="284769" y="3673076"/>
            <a:ext cx="311766" cy="303106"/>
          </a:xfrm>
          <a:prstGeom prst="rect">
            <a:avLst/>
          </a:prstGeom>
        </p:spPr>
      </p:pic>
      <p:sp>
        <p:nvSpPr>
          <p:cNvPr id="107" name="Rectangle 145"/>
          <p:cNvSpPr/>
          <p:nvPr/>
        </p:nvSpPr>
        <p:spPr bwMode="auto">
          <a:xfrm>
            <a:off x="718897" y="5436715"/>
            <a:ext cx="1821468" cy="3831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2C812"/>
                </a:solidFill>
                <a:effectLst/>
                <a:uLnTx/>
                <a:uFillTx/>
                <a:latin typeface="Segoe UI"/>
                <a:ea typeface="+mn-ea"/>
                <a:cs typeface="Segoe UI Light" panose="020B0502040204020203" pitchFamily="34" charset="0"/>
              </a:rPr>
              <a:t>Connect from Excel</a:t>
            </a:r>
          </a:p>
        </p:txBody>
      </p:sp>
      <p:sp>
        <p:nvSpPr>
          <p:cNvPr id="108" name="Oval 162"/>
          <p:cNvSpPr/>
          <p:nvPr/>
        </p:nvSpPr>
        <p:spPr bwMode="auto">
          <a:xfrm>
            <a:off x="231441" y="5429649"/>
            <a:ext cx="433844" cy="433844"/>
          </a:xfrm>
          <a:prstGeom prst="ellipse">
            <a:avLst/>
          </a:prstGeom>
          <a:solidFill>
            <a:srgbClr val="FFCC00"/>
          </a:solidFill>
          <a:ln>
            <a:solidFill>
              <a:srgbClr val="F2C81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09" name="Picture 108"/>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flipH="1">
            <a:off x="283763" y="4596680"/>
            <a:ext cx="357484" cy="357484"/>
          </a:xfrm>
          <a:prstGeom prst="rect">
            <a:avLst/>
          </a:prstGeom>
        </p:spPr>
      </p:pic>
      <p:sp>
        <p:nvSpPr>
          <p:cNvPr id="110" name="Oval 162"/>
          <p:cNvSpPr/>
          <p:nvPr/>
        </p:nvSpPr>
        <p:spPr bwMode="auto">
          <a:xfrm>
            <a:off x="233032" y="6267344"/>
            <a:ext cx="433844" cy="433844"/>
          </a:xfrm>
          <a:prstGeom prst="ellipse">
            <a:avLst/>
          </a:prstGeom>
          <a:solidFill>
            <a:srgbClr val="FFCC00"/>
          </a:solidFill>
          <a:ln>
            <a:solidFill>
              <a:srgbClr val="F2C81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1" name="Rectangle 145"/>
          <p:cNvSpPr/>
          <p:nvPr/>
        </p:nvSpPr>
        <p:spPr bwMode="auto">
          <a:xfrm>
            <a:off x="701416" y="6289969"/>
            <a:ext cx="1821468" cy="3831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2C812"/>
                </a:solidFill>
                <a:effectLst/>
                <a:uLnTx/>
                <a:uFillTx/>
                <a:latin typeface="Segoe UI"/>
                <a:ea typeface="+mn-ea"/>
                <a:cs typeface="Segoe UI Light" panose="020B0502040204020203" pitchFamily="34" charset="0"/>
              </a:rPr>
              <a:t>Mobile Reports</a:t>
            </a:r>
          </a:p>
        </p:txBody>
      </p:sp>
      <p:pic>
        <p:nvPicPr>
          <p:cNvPr id="112" name="Picture 111"/>
          <p:cNvPicPr>
            <a:picLocks noChangeAspect="1"/>
          </p:cNvPicPr>
          <p:nvPr/>
        </p:nvPicPr>
        <p:blipFill>
          <a:blip r:embed="rId7" cstate="print">
            <a:extLst>
              <a:ext uri="{BEBA8EAE-BF5A-486C-A8C5-ECC9F3942E4B}">
                <a14:imgProps xmlns:a14="http://schemas.microsoft.com/office/drawing/2010/main">
                  <a14:imgLayer r:embed="rId8">
                    <a14:imgEffect>
                      <a14:saturation sat="0"/>
                    </a14:imgEffect>
                  </a14:imgLayer>
                </a14:imgProps>
              </a:ext>
              <a:ext uri="{28A0092B-C50C-407E-A947-70E740481C1C}">
                <a14:useLocalDpi xmlns:a14="http://schemas.microsoft.com/office/drawing/2010/main" val="0"/>
              </a:ext>
            </a:extLst>
          </a:blip>
          <a:stretch>
            <a:fillRect/>
          </a:stretch>
        </p:blipFill>
        <p:spPr>
          <a:xfrm>
            <a:off x="391946" y="6350039"/>
            <a:ext cx="133350" cy="251587"/>
          </a:xfrm>
          <a:prstGeom prst="rect">
            <a:avLst/>
          </a:prstGeom>
        </p:spPr>
      </p:pic>
      <p:pic>
        <p:nvPicPr>
          <p:cNvPr id="113" name="Picture 112"/>
          <p:cNvPicPr>
            <a:picLocks noChangeAspect="1"/>
          </p:cNvPicPr>
          <p:nvPr/>
        </p:nvPicPr>
        <p:blipFill>
          <a:blip r:embed="rId9" cstate="print">
            <a:biLevel thresh="50000"/>
            <a:extLst>
              <a:ext uri="{28A0092B-C50C-407E-A947-70E740481C1C}">
                <a14:useLocalDpi xmlns:a14="http://schemas.microsoft.com/office/drawing/2010/main" val="0"/>
              </a:ext>
            </a:extLst>
          </a:blip>
          <a:stretch>
            <a:fillRect/>
          </a:stretch>
        </p:blipFill>
        <p:spPr>
          <a:xfrm>
            <a:off x="332658" y="5538489"/>
            <a:ext cx="268940" cy="268940"/>
          </a:xfrm>
          <a:prstGeom prst="rect">
            <a:avLst/>
          </a:prstGeom>
        </p:spPr>
      </p:pic>
      <p:sp>
        <p:nvSpPr>
          <p:cNvPr id="114" name="Rectangle 113"/>
          <p:cNvSpPr/>
          <p:nvPr/>
        </p:nvSpPr>
        <p:spPr bwMode="auto">
          <a:xfrm>
            <a:off x="35912" y="5223435"/>
            <a:ext cx="2464420" cy="1564989"/>
          </a:xfrm>
          <a:prstGeom prst="rect">
            <a:avLst/>
          </a:prstGeom>
          <a:solidFill>
            <a:srgbClr val="000000">
              <a:alpha val="6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5" name="Rectangle 114"/>
          <p:cNvSpPr/>
          <p:nvPr/>
        </p:nvSpPr>
        <p:spPr bwMode="auto">
          <a:xfrm>
            <a:off x="95936" y="731575"/>
            <a:ext cx="2464420" cy="3635751"/>
          </a:xfrm>
          <a:prstGeom prst="rect">
            <a:avLst/>
          </a:prstGeom>
          <a:solidFill>
            <a:srgbClr val="000000">
              <a:alpha val="6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12121101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 name="Title 10"/>
          <p:cNvSpPr txBox="1">
            <a:spLocks/>
          </p:cNvSpPr>
          <p:nvPr/>
        </p:nvSpPr>
        <p:spPr>
          <a:xfrm>
            <a:off x="2849060" y="0"/>
            <a:ext cx="9342940" cy="665151"/>
          </a:xfrm>
          <a:prstGeom prst="rect">
            <a:avLst/>
          </a:prstGeom>
          <a:noFill/>
        </p:spPr>
        <p:txBody>
          <a:bodyPr vert="horz" wrap="square" lIns="0" tIns="91440" rIns="0" bIns="91440" rtlCol="0" anchor="t">
            <a:noAutofit/>
          </a:bodyPr>
          <a:lstStyle>
            <a:lvl1pPr defTabSz="914367">
              <a:lnSpc>
                <a:spcPct val="90000"/>
              </a:lnSpc>
              <a:spcBef>
                <a:spcPct val="0"/>
              </a:spcBef>
              <a:buNone/>
              <a:defRPr lang="en-US" sz="5294" b="0" cap="none" spc="-100" baseline="0" dirty="0" smtClean="0">
                <a:ln w="3175">
                  <a:noFill/>
                </a:ln>
                <a:solidFill>
                  <a:schemeClr val="tx2"/>
                </a:solidFill>
                <a:effectLst/>
                <a:latin typeface="+mj-lt"/>
                <a:cs typeface="Segoe UI" pitchFamily="34" charset="0"/>
              </a:defRPr>
            </a:lvl1pPr>
          </a:lstStyle>
          <a:p>
            <a:pPr marL="168275" marR="0" lvl="0" indent="0" algn="l" defTabSz="914367" rtl="0" eaLnBrk="1" fontAlgn="auto" latinLnBrk="0" hangingPunct="1">
              <a:lnSpc>
                <a:spcPct val="90000"/>
              </a:lnSpc>
              <a:spcBef>
                <a:spcPct val="0"/>
              </a:spcBef>
              <a:spcAft>
                <a:spcPts val="0"/>
              </a:spcAft>
              <a:buClrTx/>
              <a:buSzTx/>
              <a:buFontTx/>
              <a:buNone/>
              <a:tabLst/>
              <a:defRPr/>
            </a:pPr>
            <a:r>
              <a:rPr kumimoji="0" lang="en-US" sz="3600" b="0" i="0" u="none" strike="noStrike" kern="1200" cap="none" spc="-100" normalizeH="0" baseline="0" noProof="0">
                <a:ln w="3175">
                  <a:noFill/>
                </a:ln>
                <a:solidFill>
                  <a:prstClr val="black"/>
                </a:solidFill>
                <a:effectLst/>
                <a:uLnTx/>
                <a:uFillTx/>
                <a:latin typeface="Segoe UI Light"/>
                <a:ea typeface="+mn-ea"/>
                <a:cs typeface="Segoe UI" pitchFamily="34" charset="0"/>
              </a:rPr>
              <a:t>Sharing</a:t>
            </a:r>
            <a:endParaRPr kumimoji="0" lang="en-IN" sz="3600" b="0" i="0" u="none" strike="noStrike" kern="1200" cap="none" spc="-100" normalizeH="0" baseline="0" noProof="0">
              <a:ln w="3175">
                <a:noFill/>
              </a:ln>
              <a:solidFill>
                <a:prstClr val="black"/>
              </a:solidFill>
              <a:effectLst/>
              <a:uLnTx/>
              <a:uFillTx/>
              <a:latin typeface="Segoe UI Light"/>
              <a:ea typeface="+mn-ea"/>
              <a:cs typeface="Segoe UI" pitchFamily="34" charset="0"/>
            </a:endParaRPr>
          </a:p>
        </p:txBody>
      </p:sp>
      <p:sp>
        <p:nvSpPr>
          <p:cNvPr id="41" name="Rectangle 3"/>
          <p:cNvSpPr/>
          <p:nvPr/>
        </p:nvSpPr>
        <p:spPr bwMode="auto">
          <a:xfrm>
            <a:off x="3202216" y="704712"/>
            <a:ext cx="8105312" cy="44435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PT" sz="2000" b="0" i="1" u="none" strike="noStrike" kern="1200" cap="none" spc="0" normalizeH="0" baseline="0" noProof="0">
                <a:ln>
                  <a:noFill/>
                </a:ln>
                <a:solidFill>
                  <a:prstClr val="black"/>
                </a:solidFill>
                <a:effectLst/>
                <a:uLnTx/>
                <a:uFillTx/>
                <a:latin typeface="Segoe UI Light"/>
                <a:ea typeface="+mn-ea"/>
                <a:cs typeface="+mn-cs"/>
              </a:rPr>
              <a:t>Organizational Content Packs</a:t>
            </a:r>
            <a:endParaRPr kumimoji="0" lang="en-US" sz="2000" b="0" i="1" u="none" strike="noStrike" kern="1200" cap="none" spc="0" normalizeH="0" baseline="0" noProof="0">
              <a:ln>
                <a:noFill/>
              </a:ln>
              <a:solidFill>
                <a:prstClr val="black"/>
              </a:solidFill>
              <a:effectLst/>
              <a:uLnTx/>
              <a:uFillTx/>
              <a:latin typeface="Segoe UI Light"/>
              <a:ea typeface="+mn-ea"/>
              <a:cs typeface="+mn-cs"/>
            </a:endParaRPr>
          </a:p>
        </p:txBody>
      </p:sp>
      <p:sp>
        <p:nvSpPr>
          <p:cNvPr id="87" name="Text Placeholder 2"/>
          <p:cNvSpPr txBox="1">
            <a:spLocks/>
          </p:cNvSpPr>
          <p:nvPr/>
        </p:nvSpPr>
        <p:spPr>
          <a:xfrm>
            <a:off x="2953103" y="1479922"/>
            <a:ext cx="8707001" cy="897374"/>
          </a:xfrm>
          <a:prstGeom prst="rect">
            <a:avLst/>
          </a:prstGeom>
        </p:spPr>
        <p:txBody>
          <a:bodyPr vert="horz" wrap="square" lIns="182880" tIns="146304" rIns="182880" bIns="146304" rtlCol="0">
            <a:noAutofit/>
          </a:bodyPr>
          <a:lstStyle>
            <a:lvl1pPr marL="182845" marR="0"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3921" kern="1200" spc="0" baseline="0">
                <a:gradFill>
                  <a:gsLst>
                    <a:gs pos="1250">
                      <a:schemeClr val="tx2"/>
                    </a:gs>
                    <a:gs pos="99000">
                      <a:schemeClr val="tx2"/>
                    </a:gs>
                  </a:gsLst>
                  <a:lin ang="5400000" scaled="0"/>
                </a:gradFill>
                <a:latin typeface="+mj-lt"/>
                <a:ea typeface="+mn-ea"/>
                <a:cs typeface="+mn-cs"/>
              </a:defRPr>
            </a:lvl1pPr>
            <a:lvl2pPr marL="365690" marR="0"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2400" kern="1200" spc="0" baseline="0">
                <a:solidFill>
                  <a:schemeClr val="tx2"/>
                </a:solidFill>
                <a:latin typeface="+mj-lt"/>
                <a:ea typeface="+mn-ea"/>
                <a:cs typeface="+mn-cs"/>
              </a:defRPr>
            </a:lvl2pPr>
            <a:lvl3pPr marL="548535" marR="0"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2000" kern="1200" spc="0" baseline="0">
                <a:solidFill>
                  <a:schemeClr val="tx2"/>
                </a:solidFill>
                <a:latin typeface="+mj-lt"/>
                <a:ea typeface="+mn-ea"/>
                <a:cs typeface="+mn-cs"/>
              </a:defRPr>
            </a:lvl3pPr>
            <a:lvl4pPr marL="733802" marR="0" indent="-28569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1765" kern="1200" spc="0" baseline="0">
                <a:solidFill>
                  <a:schemeClr val="tx2"/>
                </a:solidFill>
                <a:latin typeface="+mn-lt"/>
                <a:ea typeface="+mn-ea"/>
                <a:cs typeface="+mn-cs"/>
              </a:defRPr>
            </a:lvl4pPr>
            <a:lvl5pPr marL="957856" marR="0" indent="-28569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1765" kern="1200" spc="0" baseline="0">
                <a:solidFill>
                  <a:schemeClr val="tx2"/>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p:txBody>
      </p:sp>
      <p:pic>
        <p:nvPicPr>
          <p:cNvPr id="2" name="Picture 1"/>
          <p:cNvPicPr>
            <a:picLocks noChangeAspect="1"/>
          </p:cNvPicPr>
          <p:nvPr/>
        </p:nvPicPr>
        <p:blipFill>
          <a:blip r:embed="rId3"/>
          <a:stretch>
            <a:fillRect/>
          </a:stretch>
        </p:blipFill>
        <p:spPr>
          <a:xfrm>
            <a:off x="4077943" y="2311769"/>
            <a:ext cx="1809750" cy="3086100"/>
          </a:xfrm>
          <a:prstGeom prst="rect">
            <a:avLst/>
          </a:prstGeom>
          <a:ln>
            <a:noFill/>
          </a:ln>
          <a:effectLst>
            <a:outerShdw blurRad="190500" algn="tl" rotWithShape="0">
              <a:srgbClr val="000000">
                <a:alpha val="70000"/>
              </a:srgbClr>
            </a:outerShdw>
          </a:effectLst>
        </p:spPr>
      </p:pic>
      <p:sp>
        <p:nvSpPr>
          <p:cNvPr id="42" name="Rectangle 41"/>
          <p:cNvSpPr/>
          <p:nvPr/>
        </p:nvSpPr>
        <p:spPr bwMode="auto">
          <a:xfrm flipH="1" flipV="1">
            <a:off x="4100719" y="3414112"/>
            <a:ext cx="1345924" cy="321243"/>
          </a:xfrm>
          <a:prstGeom prst="rect">
            <a:avLst/>
          </a:prstGeom>
          <a:noFill/>
          <a:ln w="38100">
            <a:solidFill>
              <a:srgbClr val="FF00F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4" name="Picture 3"/>
          <p:cNvPicPr>
            <a:picLocks noChangeAspect="1"/>
          </p:cNvPicPr>
          <p:nvPr/>
        </p:nvPicPr>
        <p:blipFill>
          <a:blip r:embed="rId4"/>
          <a:stretch>
            <a:fillRect/>
          </a:stretch>
        </p:blipFill>
        <p:spPr>
          <a:xfrm>
            <a:off x="6829749" y="1005667"/>
            <a:ext cx="4853131" cy="5598098"/>
          </a:xfrm>
          <a:prstGeom prst="rect">
            <a:avLst/>
          </a:prstGeom>
          <a:ln>
            <a:noFill/>
          </a:ln>
          <a:effectLst>
            <a:outerShdw blurRad="190500" algn="tl" rotWithShape="0">
              <a:srgbClr val="000000">
                <a:alpha val="70000"/>
              </a:srgbClr>
            </a:outerShdw>
          </a:effectLst>
        </p:spPr>
      </p:pic>
      <p:grpSp>
        <p:nvGrpSpPr>
          <p:cNvPr id="51" name="Group 50"/>
          <p:cNvGrpSpPr/>
          <p:nvPr/>
        </p:nvGrpSpPr>
        <p:grpSpPr>
          <a:xfrm>
            <a:off x="-2887" y="973"/>
            <a:ext cx="2849058" cy="6857027"/>
            <a:chOff x="2" y="487"/>
            <a:chExt cx="2849058" cy="6857027"/>
          </a:xfrm>
        </p:grpSpPr>
        <p:sp>
          <p:nvSpPr>
            <p:cNvPr id="80" name="Rectangle 15"/>
            <p:cNvSpPr/>
            <p:nvPr/>
          </p:nvSpPr>
          <p:spPr bwMode="auto">
            <a:xfrm>
              <a:off x="2" y="487"/>
              <a:ext cx="2849058" cy="685702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1" name="Rectangle 145"/>
            <p:cNvSpPr/>
            <p:nvPr/>
          </p:nvSpPr>
          <p:spPr bwMode="auto">
            <a:xfrm>
              <a:off x="696152" y="956997"/>
              <a:ext cx="1821468" cy="3831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2C812"/>
                  </a:solidFill>
                  <a:effectLst/>
                  <a:uLnTx/>
                  <a:uFillTx/>
                  <a:latin typeface="Segoe UI"/>
                  <a:ea typeface="+mn-ea"/>
                  <a:cs typeface="Segoe UI Light" panose="020B0502040204020203" pitchFamily="34" charset="0"/>
                </a:rPr>
                <a:t>Get Data</a:t>
              </a:r>
              <a:endParaRPr kumimoji="0" lang="en-US" sz="1200" b="1" i="1" u="none" strike="noStrike" kern="1200" cap="none" spc="0" normalizeH="0" baseline="0" noProof="0">
                <a:ln>
                  <a:noFill/>
                </a:ln>
                <a:solidFill>
                  <a:srgbClr val="F2C812"/>
                </a:solidFill>
                <a:effectLst/>
                <a:uLnTx/>
                <a:uFillTx/>
                <a:latin typeface="Segoe UI"/>
                <a:ea typeface="+mn-ea"/>
                <a:cs typeface="Segoe UI Light" panose="020B0502040204020203" pitchFamily="34" charset="0"/>
              </a:endParaRPr>
            </a:p>
          </p:txBody>
        </p:sp>
        <p:grpSp>
          <p:nvGrpSpPr>
            <p:cNvPr id="82" name="Group 81"/>
            <p:cNvGrpSpPr/>
            <p:nvPr/>
          </p:nvGrpSpPr>
          <p:grpSpPr>
            <a:xfrm>
              <a:off x="219373" y="934583"/>
              <a:ext cx="433844" cy="433844"/>
              <a:chOff x="440005" y="997815"/>
              <a:chExt cx="296322" cy="296322"/>
            </a:xfrm>
          </p:grpSpPr>
          <p:sp>
            <p:nvSpPr>
              <p:cNvPr id="102" name="Oval 147"/>
              <p:cNvSpPr/>
              <p:nvPr/>
            </p:nvSpPr>
            <p:spPr bwMode="auto">
              <a:xfrm>
                <a:off x="440005" y="997815"/>
                <a:ext cx="296322" cy="296322"/>
              </a:xfrm>
              <a:prstGeom prst="ellipse">
                <a:avLst/>
              </a:prstGeom>
              <a:solidFill>
                <a:srgbClr val="FFCC00"/>
              </a:solidFill>
              <a:ln>
                <a:solidFill>
                  <a:srgbClr val="F2C81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03" name="Group 332"/>
              <p:cNvGrpSpPr/>
              <p:nvPr/>
            </p:nvGrpSpPr>
            <p:grpSpPr>
              <a:xfrm>
                <a:off x="482167" y="1059311"/>
                <a:ext cx="211997" cy="173292"/>
                <a:chOff x="2123129" y="293070"/>
                <a:chExt cx="2472585" cy="2021178"/>
              </a:xfrm>
            </p:grpSpPr>
            <p:sp>
              <p:nvSpPr>
                <p:cNvPr id="104" name="Freeform 13"/>
                <p:cNvSpPr>
                  <a:spLocks/>
                </p:cNvSpPr>
                <p:nvPr/>
              </p:nvSpPr>
              <p:spPr bwMode="auto">
                <a:xfrm rot="20700000">
                  <a:off x="3155853" y="872796"/>
                  <a:ext cx="1439861" cy="1441452"/>
                </a:xfrm>
                <a:custGeom>
                  <a:avLst/>
                  <a:gdLst>
                    <a:gd name="T0" fmla="*/ 138 w 441"/>
                    <a:gd name="T1" fmla="*/ 341 h 441"/>
                    <a:gd name="T2" fmla="*/ 183 w 441"/>
                    <a:gd name="T3" fmla="*/ 374 h 441"/>
                    <a:gd name="T4" fmla="*/ 220 w 441"/>
                    <a:gd name="T5" fmla="*/ 423 h 441"/>
                    <a:gd name="T6" fmla="*/ 422 w 441"/>
                    <a:gd name="T7" fmla="*/ 220 h 441"/>
                    <a:gd name="T8" fmla="*/ 373 w 441"/>
                    <a:gd name="T9" fmla="*/ 184 h 441"/>
                    <a:gd name="T10" fmla="*/ 341 w 441"/>
                    <a:gd name="T11" fmla="*/ 139 h 441"/>
                    <a:gd name="T12" fmla="*/ 382 w 441"/>
                    <a:gd name="T13" fmla="*/ 58 h 441"/>
                    <a:gd name="T14" fmla="*/ 302 w 441"/>
                    <a:gd name="T15" fmla="*/ 100 h 441"/>
                    <a:gd name="T16" fmla="*/ 257 w 441"/>
                    <a:gd name="T17" fmla="*/ 67 h 441"/>
                    <a:gd name="T18" fmla="*/ 220 w 441"/>
                    <a:gd name="T19" fmla="*/ 18 h 441"/>
                    <a:gd name="T20" fmla="*/ 171 w 441"/>
                    <a:gd name="T21" fmla="*/ 55 h 441"/>
                    <a:gd name="T22" fmla="*/ 138 w 441"/>
                    <a:gd name="T23" fmla="*/ 100 h 441"/>
                    <a:gd name="T24" fmla="*/ 180 w 441"/>
                    <a:gd name="T25" fmla="*/ 181 h 441"/>
                    <a:gd name="T26" fmla="*/ 100 w 441"/>
                    <a:gd name="T27" fmla="*/ 139 h 441"/>
                    <a:gd name="T28" fmla="*/ 55 w 441"/>
                    <a:gd name="T29" fmla="*/ 171 h 441"/>
                    <a:gd name="T30" fmla="*/ 18 w 441"/>
                    <a:gd name="T31" fmla="*/ 220 h 441"/>
                    <a:gd name="T32" fmla="*/ 67 w 441"/>
                    <a:gd name="T33" fmla="*/ 257 h 441"/>
                    <a:gd name="T34" fmla="*/ 100 w 441"/>
                    <a:gd name="T35" fmla="*/ 302 h 441"/>
                    <a:gd name="T36" fmla="*/ 58 w 441"/>
                    <a:gd name="T37" fmla="*/ 383 h 441"/>
                    <a:gd name="T38" fmla="*/ 138 w 441"/>
                    <a:gd name="T39" fmla="*/ 341 h 4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41" h="441">
                      <a:moveTo>
                        <a:pt x="138" y="341"/>
                      </a:moveTo>
                      <a:cubicBezTo>
                        <a:pt x="147" y="337"/>
                        <a:pt x="171" y="361"/>
                        <a:pt x="183" y="374"/>
                      </a:cubicBezTo>
                      <a:cubicBezTo>
                        <a:pt x="196" y="386"/>
                        <a:pt x="220" y="423"/>
                        <a:pt x="220" y="423"/>
                      </a:cubicBezTo>
                      <a:cubicBezTo>
                        <a:pt x="422" y="220"/>
                        <a:pt x="422" y="220"/>
                        <a:pt x="422" y="220"/>
                      </a:cubicBezTo>
                      <a:cubicBezTo>
                        <a:pt x="422" y="220"/>
                        <a:pt x="386" y="196"/>
                        <a:pt x="373" y="184"/>
                      </a:cubicBezTo>
                      <a:cubicBezTo>
                        <a:pt x="361" y="171"/>
                        <a:pt x="338" y="149"/>
                        <a:pt x="341" y="139"/>
                      </a:cubicBezTo>
                      <a:cubicBezTo>
                        <a:pt x="343" y="129"/>
                        <a:pt x="441" y="116"/>
                        <a:pt x="382" y="58"/>
                      </a:cubicBezTo>
                      <a:cubicBezTo>
                        <a:pt x="324" y="0"/>
                        <a:pt x="310" y="96"/>
                        <a:pt x="302" y="100"/>
                      </a:cubicBezTo>
                      <a:cubicBezTo>
                        <a:pt x="294" y="104"/>
                        <a:pt x="269" y="80"/>
                        <a:pt x="257" y="67"/>
                      </a:cubicBezTo>
                      <a:cubicBezTo>
                        <a:pt x="245" y="55"/>
                        <a:pt x="220" y="18"/>
                        <a:pt x="220" y="18"/>
                      </a:cubicBezTo>
                      <a:cubicBezTo>
                        <a:pt x="220" y="18"/>
                        <a:pt x="183" y="43"/>
                        <a:pt x="171" y="55"/>
                      </a:cubicBezTo>
                      <a:cubicBezTo>
                        <a:pt x="159" y="67"/>
                        <a:pt x="134" y="92"/>
                        <a:pt x="138" y="100"/>
                      </a:cubicBezTo>
                      <a:cubicBezTo>
                        <a:pt x="142" y="108"/>
                        <a:pt x="238" y="122"/>
                        <a:pt x="180" y="181"/>
                      </a:cubicBezTo>
                      <a:cubicBezTo>
                        <a:pt x="122" y="239"/>
                        <a:pt x="110" y="141"/>
                        <a:pt x="100" y="139"/>
                      </a:cubicBezTo>
                      <a:cubicBezTo>
                        <a:pt x="89" y="137"/>
                        <a:pt x="67" y="159"/>
                        <a:pt x="55" y="171"/>
                      </a:cubicBezTo>
                      <a:cubicBezTo>
                        <a:pt x="42" y="184"/>
                        <a:pt x="18" y="220"/>
                        <a:pt x="18" y="220"/>
                      </a:cubicBezTo>
                      <a:cubicBezTo>
                        <a:pt x="18" y="220"/>
                        <a:pt x="55" y="245"/>
                        <a:pt x="67" y="257"/>
                      </a:cubicBezTo>
                      <a:cubicBezTo>
                        <a:pt x="79" y="269"/>
                        <a:pt x="102" y="292"/>
                        <a:pt x="100" y="302"/>
                      </a:cubicBezTo>
                      <a:cubicBezTo>
                        <a:pt x="98" y="312"/>
                        <a:pt x="0" y="325"/>
                        <a:pt x="58" y="383"/>
                      </a:cubicBezTo>
                      <a:cubicBezTo>
                        <a:pt x="116" y="441"/>
                        <a:pt x="130" y="345"/>
                        <a:pt x="138" y="341"/>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105" name="Freeform 14"/>
                <p:cNvSpPr>
                  <a:spLocks/>
                </p:cNvSpPr>
                <p:nvPr/>
              </p:nvSpPr>
              <p:spPr bwMode="auto">
                <a:xfrm rot="9900000">
                  <a:off x="2123129" y="293070"/>
                  <a:ext cx="1377948" cy="1377947"/>
                </a:xfrm>
                <a:custGeom>
                  <a:avLst/>
                  <a:gdLst>
                    <a:gd name="T0" fmla="*/ 422 w 422"/>
                    <a:gd name="T1" fmla="*/ 220 h 422"/>
                    <a:gd name="T2" fmla="*/ 386 w 422"/>
                    <a:gd name="T3" fmla="*/ 171 h 422"/>
                    <a:gd name="T4" fmla="*/ 341 w 422"/>
                    <a:gd name="T5" fmla="*/ 138 h 422"/>
                    <a:gd name="T6" fmla="*/ 260 w 422"/>
                    <a:gd name="T7" fmla="*/ 180 h 422"/>
                    <a:gd name="T8" fmla="*/ 302 w 422"/>
                    <a:gd name="T9" fmla="*/ 100 h 422"/>
                    <a:gd name="T10" fmla="*/ 269 w 422"/>
                    <a:gd name="T11" fmla="*/ 55 h 422"/>
                    <a:gd name="T12" fmla="*/ 220 w 422"/>
                    <a:gd name="T13" fmla="*/ 18 h 422"/>
                    <a:gd name="T14" fmla="*/ 183 w 422"/>
                    <a:gd name="T15" fmla="*/ 67 h 422"/>
                    <a:gd name="T16" fmla="*/ 138 w 422"/>
                    <a:gd name="T17" fmla="*/ 100 h 422"/>
                    <a:gd name="T18" fmla="*/ 58 w 422"/>
                    <a:gd name="T19" fmla="*/ 58 h 422"/>
                    <a:gd name="T20" fmla="*/ 100 w 422"/>
                    <a:gd name="T21" fmla="*/ 138 h 422"/>
                    <a:gd name="T22" fmla="*/ 67 w 422"/>
                    <a:gd name="T23" fmla="*/ 183 h 422"/>
                    <a:gd name="T24" fmla="*/ 18 w 422"/>
                    <a:gd name="T25" fmla="*/ 220 h 422"/>
                    <a:gd name="T26" fmla="*/ 55 w 422"/>
                    <a:gd name="T27" fmla="*/ 269 h 422"/>
                    <a:gd name="T28" fmla="*/ 100 w 422"/>
                    <a:gd name="T29" fmla="*/ 302 h 422"/>
                    <a:gd name="T30" fmla="*/ 180 w 422"/>
                    <a:gd name="T31" fmla="*/ 260 h 422"/>
                    <a:gd name="T32" fmla="*/ 138 w 422"/>
                    <a:gd name="T33" fmla="*/ 341 h 422"/>
                    <a:gd name="T34" fmla="*/ 171 w 422"/>
                    <a:gd name="T35" fmla="*/ 386 h 422"/>
                    <a:gd name="T36" fmla="*/ 220 w 422"/>
                    <a:gd name="T37" fmla="*/ 422 h 422"/>
                    <a:gd name="T38" fmla="*/ 422 w 422"/>
                    <a:gd name="T39" fmla="*/ 220 h 4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22" h="422">
                      <a:moveTo>
                        <a:pt x="422" y="220"/>
                      </a:moveTo>
                      <a:cubicBezTo>
                        <a:pt x="422" y="220"/>
                        <a:pt x="398" y="183"/>
                        <a:pt x="386" y="171"/>
                      </a:cubicBezTo>
                      <a:cubicBezTo>
                        <a:pt x="373" y="159"/>
                        <a:pt x="349" y="134"/>
                        <a:pt x="341" y="138"/>
                      </a:cubicBezTo>
                      <a:cubicBezTo>
                        <a:pt x="332" y="142"/>
                        <a:pt x="318" y="239"/>
                        <a:pt x="260" y="180"/>
                      </a:cubicBezTo>
                      <a:cubicBezTo>
                        <a:pt x="202" y="122"/>
                        <a:pt x="300" y="110"/>
                        <a:pt x="302" y="100"/>
                      </a:cubicBezTo>
                      <a:cubicBezTo>
                        <a:pt x="304" y="90"/>
                        <a:pt x="281" y="67"/>
                        <a:pt x="269" y="55"/>
                      </a:cubicBezTo>
                      <a:cubicBezTo>
                        <a:pt x="257" y="42"/>
                        <a:pt x="220" y="18"/>
                        <a:pt x="220" y="18"/>
                      </a:cubicBezTo>
                      <a:cubicBezTo>
                        <a:pt x="220" y="18"/>
                        <a:pt x="196" y="55"/>
                        <a:pt x="183" y="67"/>
                      </a:cubicBezTo>
                      <a:cubicBezTo>
                        <a:pt x="171" y="79"/>
                        <a:pt x="149" y="102"/>
                        <a:pt x="138" y="100"/>
                      </a:cubicBezTo>
                      <a:cubicBezTo>
                        <a:pt x="128" y="98"/>
                        <a:pt x="116" y="0"/>
                        <a:pt x="58" y="58"/>
                      </a:cubicBezTo>
                      <a:cubicBezTo>
                        <a:pt x="0" y="116"/>
                        <a:pt x="96" y="130"/>
                        <a:pt x="100" y="138"/>
                      </a:cubicBezTo>
                      <a:cubicBezTo>
                        <a:pt x="104" y="147"/>
                        <a:pt x="79" y="171"/>
                        <a:pt x="67" y="183"/>
                      </a:cubicBezTo>
                      <a:cubicBezTo>
                        <a:pt x="55" y="196"/>
                        <a:pt x="18" y="220"/>
                        <a:pt x="18" y="220"/>
                      </a:cubicBezTo>
                      <a:cubicBezTo>
                        <a:pt x="18" y="220"/>
                        <a:pt x="42" y="257"/>
                        <a:pt x="55" y="269"/>
                      </a:cubicBezTo>
                      <a:cubicBezTo>
                        <a:pt x="67" y="281"/>
                        <a:pt x="91" y="306"/>
                        <a:pt x="100" y="302"/>
                      </a:cubicBezTo>
                      <a:cubicBezTo>
                        <a:pt x="108" y="298"/>
                        <a:pt x="122" y="202"/>
                        <a:pt x="180" y="260"/>
                      </a:cubicBezTo>
                      <a:cubicBezTo>
                        <a:pt x="238" y="318"/>
                        <a:pt x="140" y="330"/>
                        <a:pt x="138" y="341"/>
                      </a:cubicBezTo>
                      <a:cubicBezTo>
                        <a:pt x="136" y="351"/>
                        <a:pt x="159" y="373"/>
                        <a:pt x="171" y="386"/>
                      </a:cubicBezTo>
                      <a:cubicBezTo>
                        <a:pt x="183" y="398"/>
                        <a:pt x="220" y="422"/>
                        <a:pt x="220" y="422"/>
                      </a:cubicBezTo>
                      <a:lnTo>
                        <a:pt x="422" y="22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grpSp>
        </p:grpSp>
        <p:sp>
          <p:nvSpPr>
            <p:cNvPr id="83" name="Rectangle 152"/>
            <p:cNvSpPr/>
            <p:nvPr/>
          </p:nvSpPr>
          <p:spPr bwMode="auto">
            <a:xfrm>
              <a:off x="669652" y="2738277"/>
              <a:ext cx="1805162" cy="37532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2C812"/>
                  </a:solidFill>
                  <a:effectLst/>
                  <a:uLnTx/>
                  <a:uFillTx/>
                  <a:latin typeface="Segoe UI"/>
                  <a:ea typeface="+mn-ea"/>
                  <a:cs typeface="Segoe UI Light" panose="020B0502040204020203" pitchFamily="34" charset="0"/>
                </a:rPr>
                <a:t>Keeping Data Current</a:t>
              </a:r>
            </a:p>
          </p:txBody>
        </p:sp>
        <p:grpSp>
          <p:nvGrpSpPr>
            <p:cNvPr id="84" name="Group 83"/>
            <p:cNvGrpSpPr/>
            <p:nvPr/>
          </p:nvGrpSpPr>
          <p:grpSpPr>
            <a:xfrm>
              <a:off x="199649" y="2692629"/>
              <a:ext cx="433844" cy="433844"/>
              <a:chOff x="342620" y="2228265"/>
              <a:chExt cx="433844" cy="433844"/>
            </a:xfrm>
            <a:solidFill>
              <a:schemeClr val="bg1"/>
            </a:solidFill>
          </p:grpSpPr>
          <p:sp>
            <p:nvSpPr>
              <p:cNvPr id="100" name="Oval 154"/>
              <p:cNvSpPr/>
              <p:nvPr/>
            </p:nvSpPr>
            <p:spPr bwMode="auto">
              <a:xfrm>
                <a:off x="342620" y="2228265"/>
                <a:ext cx="433844" cy="433844"/>
              </a:xfrm>
              <a:prstGeom prst="ellipse">
                <a:avLst/>
              </a:prstGeom>
              <a:solidFill>
                <a:srgbClr val="FFC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1" name="Freeform 30"/>
              <p:cNvSpPr>
                <a:spLocks noEditPoints="1"/>
              </p:cNvSpPr>
              <p:nvPr/>
            </p:nvSpPr>
            <p:spPr bwMode="auto">
              <a:xfrm>
                <a:off x="444786" y="2340040"/>
                <a:ext cx="238402" cy="210293"/>
              </a:xfrm>
              <a:custGeom>
                <a:avLst/>
                <a:gdLst>
                  <a:gd name="T0" fmla="*/ 883 w 916"/>
                  <a:gd name="T1" fmla="*/ 286 h 808"/>
                  <a:gd name="T2" fmla="*/ 539 w 916"/>
                  <a:gd name="T3" fmla="*/ 723 h 808"/>
                  <a:gd name="T4" fmla="*/ 504 w 916"/>
                  <a:gd name="T5" fmla="*/ 0 h 808"/>
                  <a:gd name="T6" fmla="*/ 35 w 916"/>
                  <a:gd name="T7" fmla="*/ 723 h 808"/>
                  <a:gd name="T8" fmla="*/ 0 w 916"/>
                  <a:gd name="T9" fmla="*/ 808 h 808"/>
                  <a:gd name="T10" fmla="*/ 916 w 916"/>
                  <a:gd name="T11" fmla="*/ 723 h 808"/>
                  <a:gd name="T12" fmla="*/ 229 w 916"/>
                  <a:gd name="T13" fmla="*/ 665 h 808"/>
                  <a:gd name="T14" fmla="*/ 109 w 916"/>
                  <a:gd name="T15" fmla="*/ 596 h 808"/>
                  <a:gd name="T16" fmla="*/ 229 w 916"/>
                  <a:gd name="T17" fmla="*/ 665 h 808"/>
                  <a:gd name="T18" fmla="*/ 109 w 916"/>
                  <a:gd name="T19" fmla="*/ 501 h 808"/>
                  <a:gd name="T20" fmla="*/ 229 w 916"/>
                  <a:gd name="T21" fmla="*/ 432 h 808"/>
                  <a:gd name="T22" fmla="*/ 229 w 916"/>
                  <a:gd name="T23" fmla="*/ 337 h 808"/>
                  <a:gd name="T24" fmla="*/ 109 w 916"/>
                  <a:gd name="T25" fmla="*/ 267 h 808"/>
                  <a:gd name="T26" fmla="*/ 229 w 916"/>
                  <a:gd name="T27" fmla="*/ 337 h 808"/>
                  <a:gd name="T28" fmla="*/ 109 w 916"/>
                  <a:gd name="T29" fmla="*/ 172 h 808"/>
                  <a:gd name="T30" fmla="*/ 229 w 916"/>
                  <a:gd name="T31" fmla="*/ 103 h 808"/>
                  <a:gd name="T32" fmla="*/ 428 w 916"/>
                  <a:gd name="T33" fmla="*/ 665 h 808"/>
                  <a:gd name="T34" fmla="*/ 307 w 916"/>
                  <a:gd name="T35" fmla="*/ 596 h 808"/>
                  <a:gd name="T36" fmla="*/ 428 w 916"/>
                  <a:gd name="T37" fmla="*/ 665 h 808"/>
                  <a:gd name="T38" fmla="*/ 307 w 916"/>
                  <a:gd name="T39" fmla="*/ 501 h 808"/>
                  <a:gd name="T40" fmla="*/ 428 w 916"/>
                  <a:gd name="T41" fmla="*/ 432 h 808"/>
                  <a:gd name="T42" fmla="*/ 428 w 916"/>
                  <a:gd name="T43" fmla="*/ 337 h 808"/>
                  <a:gd name="T44" fmla="*/ 307 w 916"/>
                  <a:gd name="T45" fmla="*/ 267 h 808"/>
                  <a:gd name="T46" fmla="*/ 428 w 916"/>
                  <a:gd name="T47" fmla="*/ 337 h 808"/>
                  <a:gd name="T48" fmla="*/ 307 w 916"/>
                  <a:gd name="T49" fmla="*/ 172 h 808"/>
                  <a:gd name="T50" fmla="*/ 428 w 916"/>
                  <a:gd name="T51" fmla="*/ 103 h 808"/>
                  <a:gd name="T52" fmla="*/ 684 w 916"/>
                  <a:gd name="T53" fmla="*/ 668 h 808"/>
                  <a:gd name="T54" fmla="*/ 606 w 916"/>
                  <a:gd name="T55" fmla="*/ 549 h 808"/>
                  <a:gd name="T56" fmla="*/ 684 w 916"/>
                  <a:gd name="T57" fmla="*/ 668 h 808"/>
                  <a:gd name="T58" fmla="*/ 606 w 916"/>
                  <a:gd name="T59" fmla="*/ 482 h 808"/>
                  <a:gd name="T60" fmla="*/ 684 w 916"/>
                  <a:gd name="T61" fmla="*/ 365 h 808"/>
                  <a:gd name="T62" fmla="*/ 816 w 916"/>
                  <a:gd name="T63" fmla="*/ 668 h 808"/>
                  <a:gd name="T64" fmla="*/ 738 w 916"/>
                  <a:gd name="T65" fmla="*/ 549 h 808"/>
                  <a:gd name="T66" fmla="*/ 816 w 916"/>
                  <a:gd name="T67" fmla="*/ 668 h 808"/>
                  <a:gd name="T68" fmla="*/ 738 w 916"/>
                  <a:gd name="T69" fmla="*/ 482 h 808"/>
                  <a:gd name="T70" fmla="*/ 816 w 916"/>
                  <a:gd name="T71" fmla="*/ 365 h 8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16" h="808">
                    <a:moveTo>
                      <a:pt x="883" y="723"/>
                    </a:moveTo>
                    <a:lnTo>
                      <a:pt x="883" y="286"/>
                    </a:lnTo>
                    <a:lnTo>
                      <a:pt x="539" y="286"/>
                    </a:lnTo>
                    <a:lnTo>
                      <a:pt x="539" y="723"/>
                    </a:lnTo>
                    <a:lnTo>
                      <a:pt x="504" y="723"/>
                    </a:lnTo>
                    <a:lnTo>
                      <a:pt x="504" y="0"/>
                    </a:lnTo>
                    <a:lnTo>
                      <a:pt x="35" y="0"/>
                    </a:lnTo>
                    <a:lnTo>
                      <a:pt x="35" y="723"/>
                    </a:lnTo>
                    <a:lnTo>
                      <a:pt x="0" y="723"/>
                    </a:lnTo>
                    <a:lnTo>
                      <a:pt x="0" y="808"/>
                    </a:lnTo>
                    <a:lnTo>
                      <a:pt x="916" y="808"/>
                    </a:lnTo>
                    <a:lnTo>
                      <a:pt x="916" y="723"/>
                    </a:lnTo>
                    <a:lnTo>
                      <a:pt x="883" y="723"/>
                    </a:lnTo>
                    <a:close/>
                    <a:moveTo>
                      <a:pt x="229" y="665"/>
                    </a:moveTo>
                    <a:lnTo>
                      <a:pt x="109" y="665"/>
                    </a:lnTo>
                    <a:lnTo>
                      <a:pt x="109" y="596"/>
                    </a:lnTo>
                    <a:lnTo>
                      <a:pt x="229" y="596"/>
                    </a:lnTo>
                    <a:lnTo>
                      <a:pt x="229" y="665"/>
                    </a:lnTo>
                    <a:close/>
                    <a:moveTo>
                      <a:pt x="229" y="501"/>
                    </a:moveTo>
                    <a:lnTo>
                      <a:pt x="109" y="501"/>
                    </a:lnTo>
                    <a:lnTo>
                      <a:pt x="109" y="432"/>
                    </a:lnTo>
                    <a:lnTo>
                      <a:pt x="229" y="432"/>
                    </a:lnTo>
                    <a:lnTo>
                      <a:pt x="229" y="501"/>
                    </a:lnTo>
                    <a:close/>
                    <a:moveTo>
                      <a:pt x="229" y="337"/>
                    </a:moveTo>
                    <a:lnTo>
                      <a:pt x="109" y="337"/>
                    </a:lnTo>
                    <a:lnTo>
                      <a:pt x="109" y="267"/>
                    </a:lnTo>
                    <a:lnTo>
                      <a:pt x="229" y="267"/>
                    </a:lnTo>
                    <a:lnTo>
                      <a:pt x="229" y="337"/>
                    </a:lnTo>
                    <a:close/>
                    <a:moveTo>
                      <a:pt x="229" y="172"/>
                    </a:moveTo>
                    <a:lnTo>
                      <a:pt x="109" y="172"/>
                    </a:lnTo>
                    <a:lnTo>
                      <a:pt x="109" y="103"/>
                    </a:lnTo>
                    <a:lnTo>
                      <a:pt x="229" y="103"/>
                    </a:lnTo>
                    <a:lnTo>
                      <a:pt x="229" y="172"/>
                    </a:lnTo>
                    <a:close/>
                    <a:moveTo>
                      <a:pt x="428" y="665"/>
                    </a:moveTo>
                    <a:lnTo>
                      <a:pt x="307" y="665"/>
                    </a:lnTo>
                    <a:lnTo>
                      <a:pt x="307" y="596"/>
                    </a:lnTo>
                    <a:lnTo>
                      <a:pt x="428" y="596"/>
                    </a:lnTo>
                    <a:lnTo>
                      <a:pt x="428" y="665"/>
                    </a:lnTo>
                    <a:close/>
                    <a:moveTo>
                      <a:pt x="428" y="501"/>
                    </a:moveTo>
                    <a:lnTo>
                      <a:pt x="307" y="501"/>
                    </a:lnTo>
                    <a:lnTo>
                      <a:pt x="307" y="432"/>
                    </a:lnTo>
                    <a:lnTo>
                      <a:pt x="428" y="432"/>
                    </a:lnTo>
                    <a:lnTo>
                      <a:pt x="428" y="501"/>
                    </a:lnTo>
                    <a:close/>
                    <a:moveTo>
                      <a:pt x="428" y="337"/>
                    </a:moveTo>
                    <a:lnTo>
                      <a:pt x="307" y="337"/>
                    </a:lnTo>
                    <a:lnTo>
                      <a:pt x="307" y="267"/>
                    </a:lnTo>
                    <a:lnTo>
                      <a:pt x="428" y="267"/>
                    </a:lnTo>
                    <a:lnTo>
                      <a:pt x="428" y="337"/>
                    </a:lnTo>
                    <a:close/>
                    <a:moveTo>
                      <a:pt x="428" y="172"/>
                    </a:moveTo>
                    <a:lnTo>
                      <a:pt x="307" y="172"/>
                    </a:lnTo>
                    <a:lnTo>
                      <a:pt x="307" y="103"/>
                    </a:lnTo>
                    <a:lnTo>
                      <a:pt x="428" y="103"/>
                    </a:lnTo>
                    <a:lnTo>
                      <a:pt x="428" y="172"/>
                    </a:lnTo>
                    <a:close/>
                    <a:moveTo>
                      <a:pt x="684" y="668"/>
                    </a:moveTo>
                    <a:lnTo>
                      <a:pt x="606" y="668"/>
                    </a:lnTo>
                    <a:lnTo>
                      <a:pt x="606" y="549"/>
                    </a:lnTo>
                    <a:lnTo>
                      <a:pt x="684" y="549"/>
                    </a:lnTo>
                    <a:lnTo>
                      <a:pt x="684" y="668"/>
                    </a:lnTo>
                    <a:close/>
                    <a:moveTo>
                      <a:pt x="684" y="482"/>
                    </a:moveTo>
                    <a:lnTo>
                      <a:pt x="606" y="482"/>
                    </a:lnTo>
                    <a:lnTo>
                      <a:pt x="606" y="365"/>
                    </a:lnTo>
                    <a:lnTo>
                      <a:pt x="684" y="365"/>
                    </a:lnTo>
                    <a:lnTo>
                      <a:pt x="684" y="482"/>
                    </a:lnTo>
                    <a:close/>
                    <a:moveTo>
                      <a:pt x="816" y="668"/>
                    </a:moveTo>
                    <a:lnTo>
                      <a:pt x="738" y="668"/>
                    </a:lnTo>
                    <a:lnTo>
                      <a:pt x="738" y="549"/>
                    </a:lnTo>
                    <a:lnTo>
                      <a:pt x="816" y="549"/>
                    </a:lnTo>
                    <a:lnTo>
                      <a:pt x="816" y="668"/>
                    </a:lnTo>
                    <a:close/>
                    <a:moveTo>
                      <a:pt x="816" y="482"/>
                    </a:moveTo>
                    <a:lnTo>
                      <a:pt x="738" y="482"/>
                    </a:lnTo>
                    <a:lnTo>
                      <a:pt x="738" y="365"/>
                    </a:lnTo>
                    <a:lnTo>
                      <a:pt x="816" y="365"/>
                    </a:lnTo>
                    <a:lnTo>
                      <a:pt x="816" y="482"/>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grpSp>
        <p:sp>
          <p:nvSpPr>
            <p:cNvPr id="85" name="TextBox 84"/>
            <p:cNvSpPr txBox="1"/>
            <p:nvPr/>
          </p:nvSpPr>
          <p:spPr>
            <a:xfrm>
              <a:off x="83345" y="113808"/>
              <a:ext cx="2532630" cy="627864"/>
            </a:xfrm>
            <a:prstGeom prst="rect">
              <a:avLst/>
            </a:prstGeom>
            <a:noFill/>
          </p:spPr>
          <p:txBody>
            <a:bodyPr wrap="square" lIns="182880" tIns="146304" rIns="182880" bIns="146304" rtlCol="0">
              <a:spAutoFit/>
            </a:bodyPr>
            <a:lstStyle>
              <a:defPPr>
                <a:defRPr lang="en-US"/>
              </a:defPPr>
              <a:lvl1pPr>
                <a:lnSpc>
                  <a:spcPct val="90000"/>
                </a:lnSpc>
                <a:spcAft>
                  <a:spcPts val="600"/>
                </a:spcAft>
                <a:defRPr sz="2800" b="1">
                  <a:solidFill>
                    <a:srgbClr val="F2C812"/>
                  </a:solidFill>
                  <a:latin typeface="Segoe UI Light"/>
                </a:defRPr>
              </a:lvl1p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400" b="1" i="0" u="none" strike="noStrike" kern="1200" cap="none" spc="0" normalizeH="0" baseline="0" noProof="0">
                  <a:ln>
                    <a:noFill/>
                  </a:ln>
                  <a:solidFill>
                    <a:srgbClr val="F2C812"/>
                  </a:solidFill>
                  <a:effectLst/>
                  <a:uLnTx/>
                  <a:uFillTx/>
                  <a:latin typeface="Segoe UI Light"/>
                  <a:ea typeface="+mn-ea"/>
                  <a:cs typeface="+mn-cs"/>
                </a:rPr>
                <a:t>Power BI Service</a:t>
              </a:r>
              <a:endParaRPr kumimoji="0" lang="en-US" sz="2800" b="1" i="0" u="none" strike="noStrike" kern="1200" cap="none" spc="0" normalizeH="0" baseline="0" noProof="0">
                <a:ln>
                  <a:noFill/>
                </a:ln>
                <a:solidFill>
                  <a:srgbClr val="F2C812"/>
                </a:solidFill>
                <a:effectLst/>
                <a:uLnTx/>
                <a:uFillTx/>
                <a:latin typeface="Segoe UI Light"/>
                <a:ea typeface="+mn-ea"/>
                <a:cs typeface="+mn-cs"/>
              </a:endParaRPr>
            </a:p>
          </p:txBody>
        </p:sp>
        <p:grpSp>
          <p:nvGrpSpPr>
            <p:cNvPr id="86" name="Group 85"/>
            <p:cNvGrpSpPr/>
            <p:nvPr/>
          </p:nvGrpSpPr>
          <p:grpSpPr>
            <a:xfrm>
              <a:off x="219373" y="3621383"/>
              <a:ext cx="433844" cy="645668"/>
              <a:chOff x="280990" y="3358164"/>
              <a:chExt cx="433844" cy="645668"/>
            </a:xfrm>
          </p:grpSpPr>
          <p:sp>
            <p:nvSpPr>
              <p:cNvPr id="93" name="Oval 1083"/>
              <p:cNvSpPr/>
              <p:nvPr/>
            </p:nvSpPr>
            <p:spPr bwMode="auto">
              <a:xfrm>
                <a:off x="280990" y="3358164"/>
                <a:ext cx="433844" cy="433847"/>
              </a:xfrm>
              <a:prstGeom prst="ellipse">
                <a:avLst/>
              </a:prstGeom>
              <a:solidFill>
                <a:srgbClr val="F2C812"/>
              </a:solidFill>
              <a:ln>
                <a:solidFill>
                  <a:srgbClr val="FFCC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94" name="Group 379"/>
              <p:cNvGrpSpPr/>
              <p:nvPr/>
            </p:nvGrpSpPr>
            <p:grpSpPr>
              <a:xfrm>
                <a:off x="453702" y="3910852"/>
                <a:ext cx="175660" cy="92980"/>
                <a:chOff x="3895793" y="7466656"/>
                <a:chExt cx="785810" cy="415941"/>
              </a:xfrm>
              <a:solidFill>
                <a:srgbClr val="00BCF2"/>
              </a:solidFill>
            </p:grpSpPr>
            <p:sp>
              <p:nvSpPr>
                <p:cNvPr id="95" name="Freeform 132"/>
                <p:cNvSpPr>
                  <a:spLocks/>
                </p:cNvSpPr>
                <p:nvPr/>
              </p:nvSpPr>
              <p:spPr bwMode="auto">
                <a:xfrm>
                  <a:off x="4125979" y="7688918"/>
                  <a:ext cx="0" cy="6353"/>
                </a:xfrm>
                <a:custGeom>
                  <a:avLst/>
                  <a:gdLst>
                    <a:gd name="T0" fmla="*/ 1 w 1"/>
                    <a:gd name="T1" fmla="*/ 0 h 8"/>
                    <a:gd name="T2" fmla="*/ 0 w 1"/>
                    <a:gd name="T3" fmla="*/ 0 h 8"/>
                    <a:gd name="T4" fmla="*/ 1 w 1"/>
                    <a:gd name="T5" fmla="*/ 8 h 8"/>
                    <a:gd name="T6" fmla="*/ 1 w 1"/>
                    <a:gd name="T7" fmla="*/ 0 h 8"/>
                  </a:gdLst>
                  <a:ahLst/>
                  <a:cxnLst>
                    <a:cxn ang="0">
                      <a:pos x="T0" y="T1"/>
                    </a:cxn>
                    <a:cxn ang="0">
                      <a:pos x="T2" y="T3"/>
                    </a:cxn>
                    <a:cxn ang="0">
                      <a:pos x="T4" y="T5"/>
                    </a:cxn>
                    <a:cxn ang="0">
                      <a:pos x="T6" y="T7"/>
                    </a:cxn>
                  </a:cxnLst>
                  <a:rect l="0" t="0" r="r" b="b"/>
                  <a:pathLst>
                    <a:path w="1" h="8">
                      <a:moveTo>
                        <a:pt x="1" y="0"/>
                      </a:moveTo>
                      <a:cubicBezTo>
                        <a:pt x="0" y="0"/>
                        <a:pt x="0" y="0"/>
                        <a:pt x="0" y="0"/>
                      </a:cubicBezTo>
                      <a:cubicBezTo>
                        <a:pt x="0" y="3"/>
                        <a:pt x="1" y="5"/>
                        <a:pt x="1" y="8"/>
                      </a:cubicBezTo>
                      <a:lnTo>
                        <a:pt x="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96" name="Freeform 133"/>
                <p:cNvSpPr>
                  <a:spLocks/>
                </p:cNvSpPr>
                <p:nvPr/>
              </p:nvSpPr>
              <p:spPr bwMode="auto">
                <a:xfrm>
                  <a:off x="3895793" y="7812745"/>
                  <a:ext cx="219078" cy="69852"/>
                </a:xfrm>
                <a:custGeom>
                  <a:avLst/>
                  <a:gdLst>
                    <a:gd name="T0" fmla="*/ 186 w 238"/>
                    <a:gd name="T1" fmla="*/ 9 h 76"/>
                    <a:gd name="T2" fmla="*/ 131 w 238"/>
                    <a:gd name="T3" fmla="*/ 22 h 76"/>
                    <a:gd name="T4" fmla="*/ 60 w 238"/>
                    <a:gd name="T5" fmla="*/ 0 h 76"/>
                    <a:gd name="T6" fmla="*/ 0 w 238"/>
                    <a:gd name="T7" fmla="*/ 42 h 76"/>
                    <a:gd name="T8" fmla="*/ 0 w 238"/>
                    <a:gd name="T9" fmla="*/ 76 h 76"/>
                    <a:gd name="T10" fmla="*/ 238 w 238"/>
                    <a:gd name="T11" fmla="*/ 76 h 76"/>
                    <a:gd name="T12" fmla="*/ 236 w 238"/>
                    <a:gd name="T13" fmla="*/ 53 h 76"/>
                    <a:gd name="T14" fmla="*/ 236 w 238"/>
                    <a:gd name="T15" fmla="*/ 49 h 76"/>
                    <a:gd name="T16" fmla="*/ 186 w 238"/>
                    <a:gd name="T17" fmla="*/ 9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8" h="76">
                      <a:moveTo>
                        <a:pt x="186" y="9"/>
                      </a:moveTo>
                      <a:cubicBezTo>
                        <a:pt x="169" y="18"/>
                        <a:pt x="150" y="22"/>
                        <a:pt x="131" y="22"/>
                      </a:cubicBezTo>
                      <a:cubicBezTo>
                        <a:pt x="105" y="22"/>
                        <a:pt x="80" y="14"/>
                        <a:pt x="60" y="0"/>
                      </a:cubicBezTo>
                      <a:cubicBezTo>
                        <a:pt x="0" y="42"/>
                        <a:pt x="0" y="42"/>
                        <a:pt x="0" y="42"/>
                      </a:cubicBezTo>
                      <a:cubicBezTo>
                        <a:pt x="0" y="76"/>
                        <a:pt x="0" y="76"/>
                        <a:pt x="0" y="76"/>
                      </a:cubicBezTo>
                      <a:cubicBezTo>
                        <a:pt x="238" y="76"/>
                        <a:pt x="238" y="76"/>
                        <a:pt x="238" y="76"/>
                      </a:cubicBezTo>
                      <a:cubicBezTo>
                        <a:pt x="237" y="68"/>
                        <a:pt x="236" y="61"/>
                        <a:pt x="236" y="53"/>
                      </a:cubicBezTo>
                      <a:cubicBezTo>
                        <a:pt x="236" y="51"/>
                        <a:pt x="236" y="50"/>
                        <a:pt x="236" y="49"/>
                      </a:cubicBezTo>
                      <a:lnTo>
                        <a:pt x="186" y="9"/>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97" name="Freeform 137"/>
                <p:cNvSpPr>
                  <a:spLocks/>
                </p:cNvSpPr>
                <p:nvPr/>
              </p:nvSpPr>
              <p:spPr bwMode="auto">
                <a:xfrm>
                  <a:off x="4338704" y="7809561"/>
                  <a:ext cx="65090" cy="73028"/>
                </a:xfrm>
                <a:custGeom>
                  <a:avLst/>
                  <a:gdLst>
                    <a:gd name="T0" fmla="*/ 71 w 71"/>
                    <a:gd name="T1" fmla="*/ 79 h 79"/>
                    <a:gd name="T2" fmla="*/ 71 w 71"/>
                    <a:gd name="T3" fmla="*/ 0 h 79"/>
                    <a:gd name="T4" fmla="*/ 2 w 71"/>
                    <a:gd name="T5" fmla="*/ 53 h 79"/>
                    <a:gd name="T6" fmla="*/ 2 w 71"/>
                    <a:gd name="T7" fmla="*/ 56 h 79"/>
                    <a:gd name="T8" fmla="*/ 0 w 71"/>
                    <a:gd name="T9" fmla="*/ 79 h 79"/>
                    <a:gd name="T10" fmla="*/ 71 w 71"/>
                    <a:gd name="T11" fmla="*/ 79 h 79"/>
                  </a:gdLst>
                  <a:ahLst/>
                  <a:cxnLst>
                    <a:cxn ang="0">
                      <a:pos x="T0" y="T1"/>
                    </a:cxn>
                    <a:cxn ang="0">
                      <a:pos x="T2" y="T3"/>
                    </a:cxn>
                    <a:cxn ang="0">
                      <a:pos x="T4" y="T5"/>
                    </a:cxn>
                    <a:cxn ang="0">
                      <a:pos x="T6" y="T7"/>
                    </a:cxn>
                    <a:cxn ang="0">
                      <a:pos x="T8" y="T9"/>
                    </a:cxn>
                    <a:cxn ang="0">
                      <a:pos x="T10" y="T11"/>
                    </a:cxn>
                  </a:cxnLst>
                  <a:rect l="0" t="0" r="r" b="b"/>
                  <a:pathLst>
                    <a:path w="71" h="79">
                      <a:moveTo>
                        <a:pt x="71" y="79"/>
                      </a:moveTo>
                      <a:cubicBezTo>
                        <a:pt x="71" y="0"/>
                        <a:pt x="71" y="0"/>
                        <a:pt x="71" y="0"/>
                      </a:cubicBezTo>
                      <a:cubicBezTo>
                        <a:pt x="2" y="53"/>
                        <a:pt x="2" y="53"/>
                        <a:pt x="2" y="53"/>
                      </a:cubicBezTo>
                      <a:cubicBezTo>
                        <a:pt x="2" y="54"/>
                        <a:pt x="2" y="55"/>
                        <a:pt x="2" y="56"/>
                      </a:cubicBezTo>
                      <a:cubicBezTo>
                        <a:pt x="2" y="64"/>
                        <a:pt x="1" y="71"/>
                        <a:pt x="0" y="79"/>
                      </a:cubicBezTo>
                      <a:lnTo>
                        <a:pt x="71" y="79"/>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98" name="Freeform 140"/>
                <p:cNvSpPr>
                  <a:spLocks/>
                </p:cNvSpPr>
                <p:nvPr/>
              </p:nvSpPr>
              <p:spPr bwMode="auto">
                <a:xfrm>
                  <a:off x="4600643" y="7622229"/>
                  <a:ext cx="80960" cy="38099"/>
                </a:xfrm>
                <a:custGeom>
                  <a:avLst/>
                  <a:gdLst>
                    <a:gd name="T0" fmla="*/ 0 w 51"/>
                    <a:gd name="T1" fmla="*/ 24 h 24"/>
                    <a:gd name="T2" fmla="*/ 51 w 51"/>
                    <a:gd name="T3" fmla="*/ 24 h 24"/>
                    <a:gd name="T4" fmla="*/ 32 w 51"/>
                    <a:gd name="T5" fmla="*/ 0 h 24"/>
                    <a:gd name="T6" fmla="*/ 0 w 51"/>
                    <a:gd name="T7" fmla="*/ 24 h 24"/>
                  </a:gdLst>
                  <a:ahLst/>
                  <a:cxnLst>
                    <a:cxn ang="0">
                      <a:pos x="T0" y="T1"/>
                    </a:cxn>
                    <a:cxn ang="0">
                      <a:pos x="T2" y="T3"/>
                    </a:cxn>
                    <a:cxn ang="0">
                      <a:pos x="T4" y="T5"/>
                    </a:cxn>
                    <a:cxn ang="0">
                      <a:pos x="T6" y="T7"/>
                    </a:cxn>
                  </a:cxnLst>
                  <a:rect l="0" t="0" r="r" b="b"/>
                  <a:pathLst>
                    <a:path w="51" h="24">
                      <a:moveTo>
                        <a:pt x="0" y="24"/>
                      </a:moveTo>
                      <a:lnTo>
                        <a:pt x="51" y="24"/>
                      </a:lnTo>
                      <a:lnTo>
                        <a:pt x="32" y="0"/>
                      </a:lnTo>
                      <a:lnTo>
                        <a:pt x="0" y="24"/>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99" name="Freeform 141"/>
                <p:cNvSpPr>
                  <a:spLocks/>
                </p:cNvSpPr>
                <p:nvPr/>
              </p:nvSpPr>
              <p:spPr bwMode="auto">
                <a:xfrm>
                  <a:off x="4449825" y="7466656"/>
                  <a:ext cx="119065" cy="139703"/>
                </a:xfrm>
                <a:custGeom>
                  <a:avLst/>
                  <a:gdLst>
                    <a:gd name="T0" fmla="*/ 52 w 75"/>
                    <a:gd name="T1" fmla="*/ 0 h 88"/>
                    <a:gd name="T2" fmla="*/ 0 w 75"/>
                    <a:gd name="T3" fmla="*/ 0 h 88"/>
                    <a:gd name="T4" fmla="*/ 0 w 75"/>
                    <a:gd name="T5" fmla="*/ 88 h 88"/>
                    <a:gd name="T6" fmla="*/ 75 w 75"/>
                    <a:gd name="T7" fmla="*/ 30 h 88"/>
                    <a:gd name="T8" fmla="*/ 52 w 75"/>
                    <a:gd name="T9" fmla="*/ 0 h 88"/>
                  </a:gdLst>
                  <a:ahLst/>
                  <a:cxnLst>
                    <a:cxn ang="0">
                      <a:pos x="T0" y="T1"/>
                    </a:cxn>
                    <a:cxn ang="0">
                      <a:pos x="T2" y="T3"/>
                    </a:cxn>
                    <a:cxn ang="0">
                      <a:pos x="T4" y="T5"/>
                    </a:cxn>
                    <a:cxn ang="0">
                      <a:pos x="T6" y="T7"/>
                    </a:cxn>
                    <a:cxn ang="0">
                      <a:pos x="T8" y="T9"/>
                    </a:cxn>
                  </a:cxnLst>
                  <a:rect l="0" t="0" r="r" b="b"/>
                  <a:pathLst>
                    <a:path w="75" h="88">
                      <a:moveTo>
                        <a:pt x="52" y="0"/>
                      </a:moveTo>
                      <a:lnTo>
                        <a:pt x="0" y="0"/>
                      </a:lnTo>
                      <a:lnTo>
                        <a:pt x="0" y="88"/>
                      </a:lnTo>
                      <a:lnTo>
                        <a:pt x="75" y="30"/>
                      </a:lnTo>
                      <a:lnTo>
                        <a:pt x="52"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grpSp>
        </p:grpSp>
        <p:sp>
          <p:nvSpPr>
            <p:cNvPr id="88" name="Rectangle 152"/>
            <p:cNvSpPr/>
            <p:nvPr/>
          </p:nvSpPr>
          <p:spPr bwMode="auto">
            <a:xfrm>
              <a:off x="712458" y="3628917"/>
              <a:ext cx="1805162" cy="37532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2C812"/>
                  </a:solidFill>
                  <a:effectLst/>
                  <a:uLnTx/>
                  <a:uFillTx/>
                  <a:latin typeface="Segoe UI"/>
                  <a:ea typeface="+mn-ea"/>
                  <a:cs typeface="Segoe UI Light" panose="020B0502040204020203" pitchFamily="34" charset="0"/>
                </a:rPr>
                <a:t>Q&amp;A and </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2C812"/>
                  </a:solidFill>
                  <a:effectLst/>
                  <a:uLnTx/>
                  <a:uFillTx/>
                  <a:latin typeface="Segoe UI"/>
                  <a:ea typeface="+mn-ea"/>
                  <a:cs typeface="Segoe UI Light" panose="020B0502040204020203" pitchFamily="34" charset="0"/>
                </a:rPr>
                <a:t>Quick Insights</a:t>
              </a:r>
              <a:endParaRPr kumimoji="0" lang="en-US" sz="1200" b="1" i="0" u="none" strike="noStrike" kern="1200" cap="none" spc="0" normalizeH="0" baseline="0" noProof="0">
                <a:ln>
                  <a:noFill/>
                </a:ln>
                <a:solidFill>
                  <a:srgbClr val="F2C812"/>
                </a:solidFill>
                <a:effectLst/>
                <a:uLnTx/>
                <a:uFillTx/>
                <a:latin typeface="Segoe UI"/>
                <a:ea typeface="+mn-ea"/>
                <a:cs typeface="Segoe UI Light" panose="020B0502040204020203" pitchFamily="34" charset="0"/>
              </a:endParaRPr>
            </a:p>
          </p:txBody>
        </p:sp>
        <p:sp>
          <p:nvSpPr>
            <p:cNvPr id="89" name="Oval 162"/>
            <p:cNvSpPr/>
            <p:nvPr/>
          </p:nvSpPr>
          <p:spPr bwMode="auto">
            <a:xfrm>
              <a:off x="226619" y="4551712"/>
              <a:ext cx="433844" cy="433844"/>
            </a:xfrm>
            <a:prstGeom prst="ellipse">
              <a:avLst/>
            </a:prstGeom>
            <a:solidFill>
              <a:srgbClr val="F2C812"/>
            </a:solidFill>
            <a:ln>
              <a:solidFill>
                <a:srgbClr val="FFCC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0" name="Rectangle 152"/>
            <p:cNvSpPr/>
            <p:nvPr/>
          </p:nvSpPr>
          <p:spPr bwMode="auto">
            <a:xfrm>
              <a:off x="738443" y="4596194"/>
              <a:ext cx="1884825" cy="30233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2C812"/>
                  </a:solidFill>
                  <a:effectLst/>
                  <a:uLnTx/>
                  <a:uFillTx/>
                  <a:latin typeface="Segoe UI"/>
                  <a:ea typeface="+mn-ea"/>
                  <a:cs typeface="Segoe UI Light" panose="020B0502040204020203" pitchFamily="34" charset="0"/>
                </a:rPr>
                <a:t>Sharing</a:t>
              </a:r>
              <a:endParaRPr kumimoji="0" lang="en-US" sz="1200" b="1" i="1" u="none" strike="noStrike" kern="1200" cap="none" spc="0" normalizeH="0" baseline="0" noProof="0">
                <a:ln>
                  <a:noFill/>
                </a:ln>
                <a:solidFill>
                  <a:srgbClr val="F2C812"/>
                </a:solidFill>
                <a:effectLst/>
                <a:uLnTx/>
                <a:uFillTx/>
                <a:latin typeface="Segoe UI"/>
                <a:ea typeface="+mn-ea"/>
                <a:cs typeface="Segoe UI Light" panose="020B0502040204020203" pitchFamily="34" charset="0"/>
              </a:endParaRPr>
            </a:p>
          </p:txBody>
        </p:sp>
        <p:sp>
          <p:nvSpPr>
            <p:cNvPr id="91" name="Rectangle 145"/>
            <p:cNvSpPr/>
            <p:nvPr/>
          </p:nvSpPr>
          <p:spPr bwMode="auto">
            <a:xfrm>
              <a:off x="697198" y="1847637"/>
              <a:ext cx="1821468" cy="3831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2C812"/>
                  </a:solidFill>
                  <a:effectLst/>
                  <a:uLnTx/>
                  <a:uFillTx/>
                  <a:latin typeface="Segoe UI"/>
                  <a:ea typeface="+mn-ea"/>
                  <a:cs typeface="Segoe UI Light" panose="020B0502040204020203" pitchFamily="34" charset="0"/>
                </a:rPr>
                <a:t>Pinning and Navigation</a:t>
              </a:r>
            </a:p>
          </p:txBody>
        </p:sp>
        <p:sp>
          <p:nvSpPr>
            <p:cNvPr id="92" name="Oval 162"/>
            <p:cNvSpPr/>
            <p:nvPr/>
          </p:nvSpPr>
          <p:spPr bwMode="auto">
            <a:xfrm>
              <a:off x="224136" y="1813606"/>
              <a:ext cx="433844" cy="433844"/>
            </a:xfrm>
            <a:prstGeom prst="ellipse">
              <a:avLst/>
            </a:prstGeom>
            <a:solidFill>
              <a:srgbClr val="FFCC00"/>
            </a:solidFill>
            <a:ln>
              <a:solidFill>
                <a:srgbClr val="F2C81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pic>
        <p:nvPicPr>
          <p:cNvPr id="106" name="Picture 105"/>
          <p:cNvPicPr>
            <a:picLocks noChangeAspect="1"/>
          </p:cNvPicPr>
          <p:nvPr/>
        </p:nvPicPr>
        <p:blipFill rotWithShape="1">
          <a:blip r:embed="rId5"/>
          <a:srcRect l="6503" t="21287" r="74698" b="20220"/>
          <a:stretch/>
        </p:blipFill>
        <p:spPr>
          <a:xfrm>
            <a:off x="339111" y="1946110"/>
            <a:ext cx="228600" cy="231962"/>
          </a:xfrm>
          <a:prstGeom prst="rect">
            <a:avLst/>
          </a:prstGeom>
        </p:spPr>
      </p:pic>
      <p:pic>
        <p:nvPicPr>
          <p:cNvPr id="107" name="Picture 106"/>
          <p:cNvPicPr>
            <a:picLocks noChangeAspect="1"/>
          </p:cNvPicPr>
          <p:nvPr/>
        </p:nvPicPr>
        <p:blipFill>
          <a:blip r:embed="rId6"/>
          <a:stretch>
            <a:fillRect/>
          </a:stretch>
        </p:blipFill>
        <p:spPr>
          <a:xfrm>
            <a:off x="284769" y="3673076"/>
            <a:ext cx="311766" cy="303106"/>
          </a:xfrm>
          <a:prstGeom prst="rect">
            <a:avLst/>
          </a:prstGeom>
        </p:spPr>
      </p:pic>
      <p:sp>
        <p:nvSpPr>
          <p:cNvPr id="108" name="Rectangle 145"/>
          <p:cNvSpPr/>
          <p:nvPr/>
        </p:nvSpPr>
        <p:spPr bwMode="auto">
          <a:xfrm>
            <a:off x="718897" y="5436715"/>
            <a:ext cx="1821468" cy="3831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2C812"/>
                </a:solidFill>
                <a:effectLst/>
                <a:uLnTx/>
                <a:uFillTx/>
                <a:latin typeface="Segoe UI"/>
                <a:ea typeface="+mn-ea"/>
                <a:cs typeface="Segoe UI Light" panose="020B0502040204020203" pitchFamily="34" charset="0"/>
              </a:rPr>
              <a:t>Connect from Excel</a:t>
            </a:r>
          </a:p>
        </p:txBody>
      </p:sp>
      <p:sp>
        <p:nvSpPr>
          <p:cNvPr id="109" name="Oval 162"/>
          <p:cNvSpPr/>
          <p:nvPr/>
        </p:nvSpPr>
        <p:spPr bwMode="auto">
          <a:xfrm>
            <a:off x="231441" y="5429649"/>
            <a:ext cx="433844" cy="433844"/>
          </a:xfrm>
          <a:prstGeom prst="ellipse">
            <a:avLst/>
          </a:prstGeom>
          <a:solidFill>
            <a:srgbClr val="FFCC00"/>
          </a:solidFill>
          <a:ln>
            <a:solidFill>
              <a:srgbClr val="F2C81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10" name="Picture 109"/>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flipH="1">
            <a:off x="283763" y="4596680"/>
            <a:ext cx="357484" cy="357484"/>
          </a:xfrm>
          <a:prstGeom prst="rect">
            <a:avLst/>
          </a:prstGeom>
        </p:spPr>
      </p:pic>
      <p:sp>
        <p:nvSpPr>
          <p:cNvPr id="111" name="Oval 162"/>
          <p:cNvSpPr/>
          <p:nvPr/>
        </p:nvSpPr>
        <p:spPr bwMode="auto">
          <a:xfrm>
            <a:off x="233032" y="6267344"/>
            <a:ext cx="433844" cy="433844"/>
          </a:xfrm>
          <a:prstGeom prst="ellipse">
            <a:avLst/>
          </a:prstGeom>
          <a:solidFill>
            <a:srgbClr val="FFCC00"/>
          </a:solidFill>
          <a:ln>
            <a:solidFill>
              <a:srgbClr val="F2C81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2" name="Rectangle 145"/>
          <p:cNvSpPr/>
          <p:nvPr/>
        </p:nvSpPr>
        <p:spPr bwMode="auto">
          <a:xfrm>
            <a:off x="701416" y="6289969"/>
            <a:ext cx="1821468" cy="3831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2C812"/>
                </a:solidFill>
                <a:effectLst/>
                <a:uLnTx/>
                <a:uFillTx/>
                <a:latin typeface="Segoe UI"/>
                <a:ea typeface="+mn-ea"/>
                <a:cs typeface="Segoe UI Light" panose="020B0502040204020203" pitchFamily="34" charset="0"/>
              </a:rPr>
              <a:t>Mobile Reports</a:t>
            </a:r>
          </a:p>
        </p:txBody>
      </p:sp>
      <p:pic>
        <p:nvPicPr>
          <p:cNvPr id="113" name="Picture 112"/>
          <p:cNvPicPr>
            <a:picLocks noChangeAspect="1"/>
          </p:cNvPicPr>
          <p:nvPr/>
        </p:nvPicPr>
        <p:blipFill>
          <a:blip r:embed="rId8" cstate="print">
            <a:extLst>
              <a:ext uri="{BEBA8EAE-BF5A-486C-A8C5-ECC9F3942E4B}">
                <a14:imgProps xmlns:a14="http://schemas.microsoft.com/office/drawing/2010/main">
                  <a14:imgLayer r:embed="rId9">
                    <a14:imgEffect>
                      <a14:saturation sat="0"/>
                    </a14:imgEffect>
                  </a14:imgLayer>
                </a14:imgProps>
              </a:ext>
              <a:ext uri="{28A0092B-C50C-407E-A947-70E740481C1C}">
                <a14:useLocalDpi xmlns:a14="http://schemas.microsoft.com/office/drawing/2010/main" val="0"/>
              </a:ext>
            </a:extLst>
          </a:blip>
          <a:stretch>
            <a:fillRect/>
          </a:stretch>
        </p:blipFill>
        <p:spPr>
          <a:xfrm>
            <a:off x="391946" y="6350039"/>
            <a:ext cx="133350" cy="251587"/>
          </a:xfrm>
          <a:prstGeom prst="rect">
            <a:avLst/>
          </a:prstGeom>
        </p:spPr>
      </p:pic>
      <p:pic>
        <p:nvPicPr>
          <p:cNvPr id="114" name="Picture 113"/>
          <p:cNvPicPr>
            <a:picLocks noChangeAspect="1"/>
          </p:cNvPicPr>
          <p:nvPr/>
        </p:nvPicPr>
        <p:blipFill>
          <a:blip r:embed="rId10" cstate="print">
            <a:biLevel thresh="50000"/>
            <a:extLst>
              <a:ext uri="{28A0092B-C50C-407E-A947-70E740481C1C}">
                <a14:useLocalDpi xmlns:a14="http://schemas.microsoft.com/office/drawing/2010/main" val="0"/>
              </a:ext>
            </a:extLst>
          </a:blip>
          <a:stretch>
            <a:fillRect/>
          </a:stretch>
        </p:blipFill>
        <p:spPr>
          <a:xfrm>
            <a:off x="332658" y="5538489"/>
            <a:ext cx="268940" cy="268940"/>
          </a:xfrm>
          <a:prstGeom prst="rect">
            <a:avLst/>
          </a:prstGeom>
        </p:spPr>
      </p:pic>
      <p:sp>
        <p:nvSpPr>
          <p:cNvPr id="115" name="Rectangle 114"/>
          <p:cNvSpPr/>
          <p:nvPr/>
        </p:nvSpPr>
        <p:spPr bwMode="auto">
          <a:xfrm>
            <a:off x="35912" y="5223435"/>
            <a:ext cx="2464420" cy="1564989"/>
          </a:xfrm>
          <a:prstGeom prst="rect">
            <a:avLst/>
          </a:prstGeom>
          <a:solidFill>
            <a:srgbClr val="000000">
              <a:alpha val="6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6" name="Rectangle 115"/>
          <p:cNvSpPr/>
          <p:nvPr/>
        </p:nvSpPr>
        <p:spPr bwMode="auto">
          <a:xfrm>
            <a:off x="95936" y="731575"/>
            <a:ext cx="2464420" cy="3635751"/>
          </a:xfrm>
          <a:prstGeom prst="rect">
            <a:avLst/>
          </a:prstGeom>
          <a:solidFill>
            <a:srgbClr val="000000">
              <a:alpha val="6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22272537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4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2" grpId="0" animBg="1"/>
    </p:bldLst>
  </p:timing>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 name="Title 10"/>
          <p:cNvSpPr txBox="1">
            <a:spLocks/>
          </p:cNvSpPr>
          <p:nvPr/>
        </p:nvSpPr>
        <p:spPr>
          <a:xfrm>
            <a:off x="2849060" y="0"/>
            <a:ext cx="9342940" cy="665151"/>
          </a:xfrm>
          <a:prstGeom prst="rect">
            <a:avLst/>
          </a:prstGeom>
          <a:noFill/>
        </p:spPr>
        <p:txBody>
          <a:bodyPr vert="horz" wrap="square" lIns="0" tIns="91440" rIns="0" bIns="91440" rtlCol="0" anchor="t">
            <a:noAutofit/>
          </a:bodyPr>
          <a:lstStyle>
            <a:lvl1pPr defTabSz="914367">
              <a:lnSpc>
                <a:spcPct val="90000"/>
              </a:lnSpc>
              <a:spcBef>
                <a:spcPct val="0"/>
              </a:spcBef>
              <a:buNone/>
              <a:defRPr lang="en-US" sz="5294" b="0" cap="none" spc="-100" baseline="0" dirty="0" smtClean="0">
                <a:ln w="3175">
                  <a:noFill/>
                </a:ln>
                <a:solidFill>
                  <a:schemeClr val="tx2"/>
                </a:solidFill>
                <a:effectLst/>
                <a:latin typeface="+mj-lt"/>
                <a:cs typeface="Segoe UI" pitchFamily="34" charset="0"/>
              </a:defRPr>
            </a:lvl1pPr>
          </a:lstStyle>
          <a:p>
            <a:pPr marL="168275" marR="0" lvl="0" indent="0" algn="l" defTabSz="914367" rtl="0" eaLnBrk="1" fontAlgn="auto" latinLnBrk="0" hangingPunct="1">
              <a:lnSpc>
                <a:spcPct val="90000"/>
              </a:lnSpc>
              <a:spcBef>
                <a:spcPct val="0"/>
              </a:spcBef>
              <a:spcAft>
                <a:spcPts val="0"/>
              </a:spcAft>
              <a:buClrTx/>
              <a:buSzTx/>
              <a:buFontTx/>
              <a:buNone/>
              <a:tabLst/>
              <a:defRPr/>
            </a:pPr>
            <a:r>
              <a:rPr kumimoji="0" lang="en-US" sz="3600" b="0" i="0" u="none" strike="noStrike" kern="1200" cap="none" spc="-100" normalizeH="0" baseline="0" noProof="0">
                <a:ln w="3175">
                  <a:noFill/>
                </a:ln>
                <a:solidFill>
                  <a:prstClr val="black"/>
                </a:solidFill>
                <a:effectLst/>
                <a:uLnTx/>
                <a:uFillTx/>
                <a:latin typeface="Segoe UI Light"/>
                <a:ea typeface="+mn-ea"/>
                <a:cs typeface="Segoe UI" pitchFamily="34" charset="0"/>
              </a:rPr>
              <a:t>Sharing</a:t>
            </a:r>
            <a:endParaRPr kumimoji="0" lang="en-IN" sz="3600" b="0" i="0" u="none" strike="noStrike" kern="1200" cap="none" spc="-100" normalizeH="0" baseline="0" noProof="0">
              <a:ln w="3175">
                <a:noFill/>
              </a:ln>
              <a:solidFill>
                <a:prstClr val="black"/>
              </a:solidFill>
              <a:effectLst/>
              <a:uLnTx/>
              <a:uFillTx/>
              <a:latin typeface="Segoe UI Light"/>
              <a:ea typeface="+mn-ea"/>
              <a:cs typeface="Segoe UI" pitchFamily="34" charset="0"/>
            </a:endParaRPr>
          </a:p>
        </p:txBody>
      </p:sp>
      <p:sp>
        <p:nvSpPr>
          <p:cNvPr id="41" name="Rectangle 3"/>
          <p:cNvSpPr/>
          <p:nvPr/>
        </p:nvSpPr>
        <p:spPr bwMode="auto">
          <a:xfrm>
            <a:off x="3202216" y="704712"/>
            <a:ext cx="8105312" cy="44435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PT" sz="2000" b="0" i="1" u="none" strike="noStrike" kern="1200" cap="none" spc="0" normalizeH="0" baseline="0" noProof="0">
                <a:ln>
                  <a:noFill/>
                </a:ln>
                <a:solidFill>
                  <a:prstClr val="black"/>
                </a:solidFill>
                <a:effectLst/>
                <a:uLnTx/>
                <a:uFillTx/>
                <a:latin typeface="Segoe UI Light"/>
                <a:ea typeface="+mn-ea"/>
                <a:cs typeface="+mn-cs"/>
              </a:rPr>
              <a:t>Public Share</a:t>
            </a:r>
            <a:endParaRPr kumimoji="0" lang="en-US" sz="2000" b="0" i="1" u="none" strike="noStrike" kern="1200" cap="none" spc="0" normalizeH="0" baseline="0" noProof="0">
              <a:ln>
                <a:noFill/>
              </a:ln>
              <a:solidFill>
                <a:prstClr val="black"/>
              </a:solidFill>
              <a:effectLst/>
              <a:uLnTx/>
              <a:uFillTx/>
              <a:latin typeface="Segoe UI Light"/>
              <a:ea typeface="+mn-ea"/>
              <a:cs typeface="+mn-cs"/>
            </a:endParaRPr>
          </a:p>
        </p:txBody>
      </p:sp>
      <p:sp>
        <p:nvSpPr>
          <p:cNvPr id="87" name="Text Placeholder 2"/>
          <p:cNvSpPr txBox="1">
            <a:spLocks/>
          </p:cNvSpPr>
          <p:nvPr/>
        </p:nvSpPr>
        <p:spPr>
          <a:xfrm>
            <a:off x="2953103" y="1479922"/>
            <a:ext cx="8707001" cy="897374"/>
          </a:xfrm>
          <a:prstGeom prst="rect">
            <a:avLst/>
          </a:prstGeom>
        </p:spPr>
        <p:txBody>
          <a:bodyPr vert="horz" wrap="square" lIns="182880" tIns="146304" rIns="182880" bIns="146304" rtlCol="0">
            <a:noAutofit/>
          </a:bodyPr>
          <a:lstStyle>
            <a:lvl1pPr marL="182845" marR="0"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3921" kern="1200" spc="0" baseline="0">
                <a:gradFill>
                  <a:gsLst>
                    <a:gs pos="1250">
                      <a:schemeClr val="tx2"/>
                    </a:gs>
                    <a:gs pos="99000">
                      <a:schemeClr val="tx2"/>
                    </a:gs>
                  </a:gsLst>
                  <a:lin ang="5400000" scaled="0"/>
                </a:gradFill>
                <a:latin typeface="+mj-lt"/>
                <a:ea typeface="+mn-ea"/>
                <a:cs typeface="+mn-cs"/>
              </a:defRPr>
            </a:lvl1pPr>
            <a:lvl2pPr marL="365690" marR="0"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2400" kern="1200" spc="0" baseline="0">
                <a:solidFill>
                  <a:schemeClr val="tx2"/>
                </a:solidFill>
                <a:latin typeface="+mj-lt"/>
                <a:ea typeface="+mn-ea"/>
                <a:cs typeface="+mn-cs"/>
              </a:defRPr>
            </a:lvl2pPr>
            <a:lvl3pPr marL="548535" marR="0"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2000" kern="1200" spc="0" baseline="0">
                <a:solidFill>
                  <a:schemeClr val="tx2"/>
                </a:solidFill>
                <a:latin typeface="+mj-lt"/>
                <a:ea typeface="+mn-ea"/>
                <a:cs typeface="+mn-cs"/>
              </a:defRPr>
            </a:lvl3pPr>
            <a:lvl4pPr marL="733802" marR="0" indent="-28569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1765" kern="1200" spc="0" baseline="0">
                <a:solidFill>
                  <a:schemeClr val="tx2"/>
                </a:solidFill>
                <a:latin typeface="+mn-lt"/>
                <a:ea typeface="+mn-ea"/>
                <a:cs typeface="+mn-cs"/>
              </a:defRPr>
            </a:lvl4pPr>
            <a:lvl5pPr marL="957856" marR="0" indent="-28569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1765" kern="1200" spc="0" baseline="0">
                <a:solidFill>
                  <a:schemeClr val="tx2"/>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r>
              <a:rPr kumimoji="0" lang="en-US" sz="2000" b="1"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rPr>
              <a:t>Embed interactive visualizations online </a:t>
            </a:r>
            <a:r>
              <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rPr>
              <a:t>such as blog posts, websites or social media</a:t>
            </a: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r>
              <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rPr>
              <a:t>Visuals can be edited, updated, refreshed or un-shared after publishing</a:t>
            </a: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r>
              <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rPr>
              <a:t>Sharing starts on a report</a:t>
            </a: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p:txBody>
      </p:sp>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263833" y="3935884"/>
            <a:ext cx="3771429" cy="1933333"/>
          </a:xfrm>
          <a:prstGeom prst="rect">
            <a:avLst/>
          </a:prstGeom>
          <a:ln>
            <a:noFill/>
          </a:ln>
          <a:effectLst>
            <a:outerShdw blurRad="190500" algn="tl" rotWithShape="0">
              <a:srgbClr val="000000">
                <a:alpha val="70000"/>
              </a:srgbClr>
            </a:outerShdw>
          </a:effectLst>
        </p:spPr>
      </p:pic>
      <p:grpSp>
        <p:nvGrpSpPr>
          <p:cNvPr id="42" name="Group 41"/>
          <p:cNvGrpSpPr/>
          <p:nvPr/>
        </p:nvGrpSpPr>
        <p:grpSpPr>
          <a:xfrm>
            <a:off x="-2887" y="973"/>
            <a:ext cx="2849058" cy="6857027"/>
            <a:chOff x="2" y="487"/>
            <a:chExt cx="2849058" cy="6857027"/>
          </a:xfrm>
        </p:grpSpPr>
        <p:sp>
          <p:nvSpPr>
            <p:cNvPr id="51" name="Rectangle 15"/>
            <p:cNvSpPr/>
            <p:nvPr/>
          </p:nvSpPr>
          <p:spPr bwMode="auto">
            <a:xfrm>
              <a:off x="2" y="487"/>
              <a:ext cx="2849058" cy="685702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0" name="Rectangle 145"/>
            <p:cNvSpPr/>
            <p:nvPr/>
          </p:nvSpPr>
          <p:spPr bwMode="auto">
            <a:xfrm>
              <a:off x="696152" y="956997"/>
              <a:ext cx="1821468" cy="3831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2C812"/>
                  </a:solidFill>
                  <a:effectLst/>
                  <a:uLnTx/>
                  <a:uFillTx/>
                  <a:latin typeface="Segoe UI"/>
                  <a:ea typeface="+mn-ea"/>
                  <a:cs typeface="Segoe UI Light" panose="020B0502040204020203" pitchFamily="34" charset="0"/>
                </a:rPr>
                <a:t>Get Data</a:t>
              </a:r>
              <a:endParaRPr kumimoji="0" lang="en-US" sz="1200" b="1" i="1" u="none" strike="noStrike" kern="1200" cap="none" spc="0" normalizeH="0" baseline="0" noProof="0">
                <a:ln>
                  <a:noFill/>
                </a:ln>
                <a:solidFill>
                  <a:srgbClr val="F2C812"/>
                </a:solidFill>
                <a:effectLst/>
                <a:uLnTx/>
                <a:uFillTx/>
                <a:latin typeface="Segoe UI"/>
                <a:ea typeface="+mn-ea"/>
                <a:cs typeface="Segoe UI Light" panose="020B0502040204020203" pitchFamily="34" charset="0"/>
              </a:endParaRPr>
            </a:p>
          </p:txBody>
        </p:sp>
        <p:grpSp>
          <p:nvGrpSpPr>
            <p:cNvPr id="81" name="Group 80"/>
            <p:cNvGrpSpPr/>
            <p:nvPr/>
          </p:nvGrpSpPr>
          <p:grpSpPr>
            <a:xfrm>
              <a:off x="219373" y="934583"/>
              <a:ext cx="433844" cy="433844"/>
              <a:chOff x="440005" y="997815"/>
              <a:chExt cx="296322" cy="296322"/>
            </a:xfrm>
          </p:grpSpPr>
          <p:sp>
            <p:nvSpPr>
              <p:cNvPr id="101" name="Oval 147"/>
              <p:cNvSpPr/>
              <p:nvPr/>
            </p:nvSpPr>
            <p:spPr bwMode="auto">
              <a:xfrm>
                <a:off x="440005" y="997815"/>
                <a:ext cx="296322" cy="296322"/>
              </a:xfrm>
              <a:prstGeom prst="ellipse">
                <a:avLst/>
              </a:prstGeom>
              <a:solidFill>
                <a:srgbClr val="FFCC00"/>
              </a:solidFill>
              <a:ln>
                <a:solidFill>
                  <a:srgbClr val="F2C81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02" name="Group 332"/>
              <p:cNvGrpSpPr/>
              <p:nvPr/>
            </p:nvGrpSpPr>
            <p:grpSpPr>
              <a:xfrm>
                <a:off x="482167" y="1059311"/>
                <a:ext cx="211997" cy="173292"/>
                <a:chOff x="2123129" y="293070"/>
                <a:chExt cx="2472585" cy="2021178"/>
              </a:xfrm>
            </p:grpSpPr>
            <p:sp>
              <p:nvSpPr>
                <p:cNvPr id="103" name="Freeform 13"/>
                <p:cNvSpPr>
                  <a:spLocks/>
                </p:cNvSpPr>
                <p:nvPr/>
              </p:nvSpPr>
              <p:spPr bwMode="auto">
                <a:xfrm rot="20700000">
                  <a:off x="3155853" y="872796"/>
                  <a:ext cx="1439861" cy="1441452"/>
                </a:xfrm>
                <a:custGeom>
                  <a:avLst/>
                  <a:gdLst>
                    <a:gd name="T0" fmla="*/ 138 w 441"/>
                    <a:gd name="T1" fmla="*/ 341 h 441"/>
                    <a:gd name="T2" fmla="*/ 183 w 441"/>
                    <a:gd name="T3" fmla="*/ 374 h 441"/>
                    <a:gd name="T4" fmla="*/ 220 w 441"/>
                    <a:gd name="T5" fmla="*/ 423 h 441"/>
                    <a:gd name="T6" fmla="*/ 422 w 441"/>
                    <a:gd name="T7" fmla="*/ 220 h 441"/>
                    <a:gd name="T8" fmla="*/ 373 w 441"/>
                    <a:gd name="T9" fmla="*/ 184 h 441"/>
                    <a:gd name="T10" fmla="*/ 341 w 441"/>
                    <a:gd name="T11" fmla="*/ 139 h 441"/>
                    <a:gd name="T12" fmla="*/ 382 w 441"/>
                    <a:gd name="T13" fmla="*/ 58 h 441"/>
                    <a:gd name="T14" fmla="*/ 302 w 441"/>
                    <a:gd name="T15" fmla="*/ 100 h 441"/>
                    <a:gd name="T16" fmla="*/ 257 w 441"/>
                    <a:gd name="T17" fmla="*/ 67 h 441"/>
                    <a:gd name="T18" fmla="*/ 220 w 441"/>
                    <a:gd name="T19" fmla="*/ 18 h 441"/>
                    <a:gd name="T20" fmla="*/ 171 w 441"/>
                    <a:gd name="T21" fmla="*/ 55 h 441"/>
                    <a:gd name="T22" fmla="*/ 138 w 441"/>
                    <a:gd name="T23" fmla="*/ 100 h 441"/>
                    <a:gd name="T24" fmla="*/ 180 w 441"/>
                    <a:gd name="T25" fmla="*/ 181 h 441"/>
                    <a:gd name="T26" fmla="*/ 100 w 441"/>
                    <a:gd name="T27" fmla="*/ 139 h 441"/>
                    <a:gd name="T28" fmla="*/ 55 w 441"/>
                    <a:gd name="T29" fmla="*/ 171 h 441"/>
                    <a:gd name="T30" fmla="*/ 18 w 441"/>
                    <a:gd name="T31" fmla="*/ 220 h 441"/>
                    <a:gd name="T32" fmla="*/ 67 w 441"/>
                    <a:gd name="T33" fmla="*/ 257 h 441"/>
                    <a:gd name="T34" fmla="*/ 100 w 441"/>
                    <a:gd name="T35" fmla="*/ 302 h 441"/>
                    <a:gd name="T36" fmla="*/ 58 w 441"/>
                    <a:gd name="T37" fmla="*/ 383 h 441"/>
                    <a:gd name="T38" fmla="*/ 138 w 441"/>
                    <a:gd name="T39" fmla="*/ 341 h 4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41" h="441">
                      <a:moveTo>
                        <a:pt x="138" y="341"/>
                      </a:moveTo>
                      <a:cubicBezTo>
                        <a:pt x="147" y="337"/>
                        <a:pt x="171" y="361"/>
                        <a:pt x="183" y="374"/>
                      </a:cubicBezTo>
                      <a:cubicBezTo>
                        <a:pt x="196" y="386"/>
                        <a:pt x="220" y="423"/>
                        <a:pt x="220" y="423"/>
                      </a:cubicBezTo>
                      <a:cubicBezTo>
                        <a:pt x="422" y="220"/>
                        <a:pt x="422" y="220"/>
                        <a:pt x="422" y="220"/>
                      </a:cubicBezTo>
                      <a:cubicBezTo>
                        <a:pt x="422" y="220"/>
                        <a:pt x="386" y="196"/>
                        <a:pt x="373" y="184"/>
                      </a:cubicBezTo>
                      <a:cubicBezTo>
                        <a:pt x="361" y="171"/>
                        <a:pt x="338" y="149"/>
                        <a:pt x="341" y="139"/>
                      </a:cubicBezTo>
                      <a:cubicBezTo>
                        <a:pt x="343" y="129"/>
                        <a:pt x="441" y="116"/>
                        <a:pt x="382" y="58"/>
                      </a:cubicBezTo>
                      <a:cubicBezTo>
                        <a:pt x="324" y="0"/>
                        <a:pt x="310" y="96"/>
                        <a:pt x="302" y="100"/>
                      </a:cubicBezTo>
                      <a:cubicBezTo>
                        <a:pt x="294" y="104"/>
                        <a:pt x="269" y="80"/>
                        <a:pt x="257" y="67"/>
                      </a:cubicBezTo>
                      <a:cubicBezTo>
                        <a:pt x="245" y="55"/>
                        <a:pt x="220" y="18"/>
                        <a:pt x="220" y="18"/>
                      </a:cubicBezTo>
                      <a:cubicBezTo>
                        <a:pt x="220" y="18"/>
                        <a:pt x="183" y="43"/>
                        <a:pt x="171" y="55"/>
                      </a:cubicBezTo>
                      <a:cubicBezTo>
                        <a:pt x="159" y="67"/>
                        <a:pt x="134" y="92"/>
                        <a:pt x="138" y="100"/>
                      </a:cubicBezTo>
                      <a:cubicBezTo>
                        <a:pt x="142" y="108"/>
                        <a:pt x="238" y="122"/>
                        <a:pt x="180" y="181"/>
                      </a:cubicBezTo>
                      <a:cubicBezTo>
                        <a:pt x="122" y="239"/>
                        <a:pt x="110" y="141"/>
                        <a:pt x="100" y="139"/>
                      </a:cubicBezTo>
                      <a:cubicBezTo>
                        <a:pt x="89" y="137"/>
                        <a:pt x="67" y="159"/>
                        <a:pt x="55" y="171"/>
                      </a:cubicBezTo>
                      <a:cubicBezTo>
                        <a:pt x="42" y="184"/>
                        <a:pt x="18" y="220"/>
                        <a:pt x="18" y="220"/>
                      </a:cubicBezTo>
                      <a:cubicBezTo>
                        <a:pt x="18" y="220"/>
                        <a:pt x="55" y="245"/>
                        <a:pt x="67" y="257"/>
                      </a:cubicBezTo>
                      <a:cubicBezTo>
                        <a:pt x="79" y="269"/>
                        <a:pt x="102" y="292"/>
                        <a:pt x="100" y="302"/>
                      </a:cubicBezTo>
                      <a:cubicBezTo>
                        <a:pt x="98" y="312"/>
                        <a:pt x="0" y="325"/>
                        <a:pt x="58" y="383"/>
                      </a:cubicBezTo>
                      <a:cubicBezTo>
                        <a:pt x="116" y="441"/>
                        <a:pt x="130" y="345"/>
                        <a:pt x="138" y="341"/>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104" name="Freeform 14"/>
                <p:cNvSpPr>
                  <a:spLocks/>
                </p:cNvSpPr>
                <p:nvPr/>
              </p:nvSpPr>
              <p:spPr bwMode="auto">
                <a:xfrm rot="9900000">
                  <a:off x="2123129" y="293070"/>
                  <a:ext cx="1377948" cy="1377947"/>
                </a:xfrm>
                <a:custGeom>
                  <a:avLst/>
                  <a:gdLst>
                    <a:gd name="T0" fmla="*/ 422 w 422"/>
                    <a:gd name="T1" fmla="*/ 220 h 422"/>
                    <a:gd name="T2" fmla="*/ 386 w 422"/>
                    <a:gd name="T3" fmla="*/ 171 h 422"/>
                    <a:gd name="T4" fmla="*/ 341 w 422"/>
                    <a:gd name="T5" fmla="*/ 138 h 422"/>
                    <a:gd name="T6" fmla="*/ 260 w 422"/>
                    <a:gd name="T7" fmla="*/ 180 h 422"/>
                    <a:gd name="T8" fmla="*/ 302 w 422"/>
                    <a:gd name="T9" fmla="*/ 100 h 422"/>
                    <a:gd name="T10" fmla="*/ 269 w 422"/>
                    <a:gd name="T11" fmla="*/ 55 h 422"/>
                    <a:gd name="T12" fmla="*/ 220 w 422"/>
                    <a:gd name="T13" fmla="*/ 18 h 422"/>
                    <a:gd name="T14" fmla="*/ 183 w 422"/>
                    <a:gd name="T15" fmla="*/ 67 h 422"/>
                    <a:gd name="T16" fmla="*/ 138 w 422"/>
                    <a:gd name="T17" fmla="*/ 100 h 422"/>
                    <a:gd name="T18" fmla="*/ 58 w 422"/>
                    <a:gd name="T19" fmla="*/ 58 h 422"/>
                    <a:gd name="T20" fmla="*/ 100 w 422"/>
                    <a:gd name="T21" fmla="*/ 138 h 422"/>
                    <a:gd name="T22" fmla="*/ 67 w 422"/>
                    <a:gd name="T23" fmla="*/ 183 h 422"/>
                    <a:gd name="T24" fmla="*/ 18 w 422"/>
                    <a:gd name="T25" fmla="*/ 220 h 422"/>
                    <a:gd name="T26" fmla="*/ 55 w 422"/>
                    <a:gd name="T27" fmla="*/ 269 h 422"/>
                    <a:gd name="T28" fmla="*/ 100 w 422"/>
                    <a:gd name="T29" fmla="*/ 302 h 422"/>
                    <a:gd name="T30" fmla="*/ 180 w 422"/>
                    <a:gd name="T31" fmla="*/ 260 h 422"/>
                    <a:gd name="T32" fmla="*/ 138 w 422"/>
                    <a:gd name="T33" fmla="*/ 341 h 422"/>
                    <a:gd name="T34" fmla="*/ 171 w 422"/>
                    <a:gd name="T35" fmla="*/ 386 h 422"/>
                    <a:gd name="T36" fmla="*/ 220 w 422"/>
                    <a:gd name="T37" fmla="*/ 422 h 422"/>
                    <a:gd name="T38" fmla="*/ 422 w 422"/>
                    <a:gd name="T39" fmla="*/ 220 h 4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22" h="422">
                      <a:moveTo>
                        <a:pt x="422" y="220"/>
                      </a:moveTo>
                      <a:cubicBezTo>
                        <a:pt x="422" y="220"/>
                        <a:pt x="398" y="183"/>
                        <a:pt x="386" y="171"/>
                      </a:cubicBezTo>
                      <a:cubicBezTo>
                        <a:pt x="373" y="159"/>
                        <a:pt x="349" y="134"/>
                        <a:pt x="341" y="138"/>
                      </a:cubicBezTo>
                      <a:cubicBezTo>
                        <a:pt x="332" y="142"/>
                        <a:pt x="318" y="239"/>
                        <a:pt x="260" y="180"/>
                      </a:cubicBezTo>
                      <a:cubicBezTo>
                        <a:pt x="202" y="122"/>
                        <a:pt x="300" y="110"/>
                        <a:pt x="302" y="100"/>
                      </a:cubicBezTo>
                      <a:cubicBezTo>
                        <a:pt x="304" y="90"/>
                        <a:pt x="281" y="67"/>
                        <a:pt x="269" y="55"/>
                      </a:cubicBezTo>
                      <a:cubicBezTo>
                        <a:pt x="257" y="42"/>
                        <a:pt x="220" y="18"/>
                        <a:pt x="220" y="18"/>
                      </a:cubicBezTo>
                      <a:cubicBezTo>
                        <a:pt x="220" y="18"/>
                        <a:pt x="196" y="55"/>
                        <a:pt x="183" y="67"/>
                      </a:cubicBezTo>
                      <a:cubicBezTo>
                        <a:pt x="171" y="79"/>
                        <a:pt x="149" y="102"/>
                        <a:pt x="138" y="100"/>
                      </a:cubicBezTo>
                      <a:cubicBezTo>
                        <a:pt x="128" y="98"/>
                        <a:pt x="116" y="0"/>
                        <a:pt x="58" y="58"/>
                      </a:cubicBezTo>
                      <a:cubicBezTo>
                        <a:pt x="0" y="116"/>
                        <a:pt x="96" y="130"/>
                        <a:pt x="100" y="138"/>
                      </a:cubicBezTo>
                      <a:cubicBezTo>
                        <a:pt x="104" y="147"/>
                        <a:pt x="79" y="171"/>
                        <a:pt x="67" y="183"/>
                      </a:cubicBezTo>
                      <a:cubicBezTo>
                        <a:pt x="55" y="196"/>
                        <a:pt x="18" y="220"/>
                        <a:pt x="18" y="220"/>
                      </a:cubicBezTo>
                      <a:cubicBezTo>
                        <a:pt x="18" y="220"/>
                        <a:pt x="42" y="257"/>
                        <a:pt x="55" y="269"/>
                      </a:cubicBezTo>
                      <a:cubicBezTo>
                        <a:pt x="67" y="281"/>
                        <a:pt x="91" y="306"/>
                        <a:pt x="100" y="302"/>
                      </a:cubicBezTo>
                      <a:cubicBezTo>
                        <a:pt x="108" y="298"/>
                        <a:pt x="122" y="202"/>
                        <a:pt x="180" y="260"/>
                      </a:cubicBezTo>
                      <a:cubicBezTo>
                        <a:pt x="238" y="318"/>
                        <a:pt x="140" y="330"/>
                        <a:pt x="138" y="341"/>
                      </a:cubicBezTo>
                      <a:cubicBezTo>
                        <a:pt x="136" y="351"/>
                        <a:pt x="159" y="373"/>
                        <a:pt x="171" y="386"/>
                      </a:cubicBezTo>
                      <a:cubicBezTo>
                        <a:pt x="183" y="398"/>
                        <a:pt x="220" y="422"/>
                        <a:pt x="220" y="422"/>
                      </a:cubicBezTo>
                      <a:lnTo>
                        <a:pt x="422" y="22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grpSp>
        </p:grpSp>
        <p:sp>
          <p:nvSpPr>
            <p:cNvPr id="82" name="Rectangle 152"/>
            <p:cNvSpPr/>
            <p:nvPr/>
          </p:nvSpPr>
          <p:spPr bwMode="auto">
            <a:xfrm>
              <a:off x="669652" y="2738277"/>
              <a:ext cx="1805162" cy="37532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2C812"/>
                  </a:solidFill>
                  <a:effectLst/>
                  <a:uLnTx/>
                  <a:uFillTx/>
                  <a:latin typeface="Segoe UI"/>
                  <a:ea typeface="+mn-ea"/>
                  <a:cs typeface="Segoe UI Light" panose="020B0502040204020203" pitchFamily="34" charset="0"/>
                </a:rPr>
                <a:t>Keeping Data Current</a:t>
              </a:r>
            </a:p>
          </p:txBody>
        </p:sp>
        <p:grpSp>
          <p:nvGrpSpPr>
            <p:cNvPr id="83" name="Group 82"/>
            <p:cNvGrpSpPr/>
            <p:nvPr/>
          </p:nvGrpSpPr>
          <p:grpSpPr>
            <a:xfrm>
              <a:off x="199649" y="2692629"/>
              <a:ext cx="433844" cy="433844"/>
              <a:chOff x="342620" y="2228265"/>
              <a:chExt cx="433844" cy="433844"/>
            </a:xfrm>
            <a:solidFill>
              <a:schemeClr val="bg1"/>
            </a:solidFill>
          </p:grpSpPr>
          <p:sp>
            <p:nvSpPr>
              <p:cNvPr id="99" name="Oval 154"/>
              <p:cNvSpPr/>
              <p:nvPr/>
            </p:nvSpPr>
            <p:spPr bwMode="auto">
              <a:xfrm>
                <a:off x="342620" y="2228265"/>
                <a:ext cx="433844" cy="433844"/>
              </a:xfrm>
              <a:prstGeom prst="ellipse">
                <a:avLst/>
              </a:prstGeom>
              <a:solidFill>
                <a:srgbClr val="FFC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0" name="Freeform 30"/>
              <p:cNvSpPr>
                <a:spLocks noEditPoints="1"/>
              </p:cNvSpPr>
              <p:nvPr/>
            </p:nvSpPr>
            <p:spPr bwMode="auto">
              <a:xfrm>
                <a:off x="444786" y="2340040"/>
                <a:ext cx="238402" cy="210293"/>
              </a:xfrm>
              <a:custGeom>
                <a:avLst/>
                <a:gdLst>
                  <a:gd name="T0" fmla="*/ 883 w 916"/>
                  <a:gd name="T1" fmla="*/ 286 h 808"/>
                  <a:gd name="T2" fmla="*/ 539 w 916"/>
                  <a:gd name="T3" fmla="*/ 723 h 808"/>
                  <a:gd name="T4" fmla="*/ 504 w 916"/>
                  <a:gd name="T5" fmla="*/ 0 h 808"/>
                  <a:gd name="T6" fmla="*/ 35 w 916"/>
                  <a:gd name="T7" fmla="*/ 723 h 808"/>
                  <a:gd name="T8" fmla="*/ 0 w 916"/>
                  <a:gd name="T9" fmla="*/ 808 h 808"/>
                  <a:gd name="T10" fmla="*/ 916 w 916"/>
                  <a:gd name="T11" fmla="*/ 723 h 808"/>
                  <a:gd name="T12" fmla="*/ 229 w 916"/>
                  <a:gd name="T13" fmla="*/ 665 h 808"/>
                  <a:gd name="T14" fmla="*/ 109 w 916"/>
                  <a:gd name="T15" fmla="*/ 596 h 808"/>
                  <a:gd name="T16" fmla="*/ 229 w 916"/>
                  <a:gd name="T17" fmla="*/ 665 h 808"/>
                  <a:gd name="T18" fmla="*/ 109 w 916"/>
                  <a:gd name="T19" fmla="*/ 501 h 808"/>
                  <a:gd name="T20" fmla="*/ 229 w 916"/>
                  <a:gd name="T21" fmla="*/ 432 h 808"/>
                  <a:gd name="T22" fmla="*/ 229 w 916"/>
                  <a:gd name="T23" fmla="*/ 337 h 808"/>
                  <a:gd name="T24" fmla="*/ 109 w 916"/>
                  <a:gd name="T25" fmla="*/ 267 h 808"/>
                  <a:gd name="T26" fmla="*/ 229 w 916"/>
                  <a:gd name="T27" fmla="*/ 337 h 808"/>
                  <a:gd name="T28" fmla="*/ 109 w 916"/>
                  <a:gd name="T29" fmla="*/ 172 h 808"/>
                  <a:gd name="T30" fmla="*/ 229 w 916"/>
                  <a:gd name="T31" fmla="*/ 103 h 808"/>
                  <a:gd name="T32" fmla="*/ 428 w 916"/>
                  <a:gd name="T33" fmla="*/ 665 h 808"/>
                  <a:gd name="T34" fmla="*/ 307 w 916"/>
                  <a:gd name="T35" fmla="*/ 596 h 808"/>
                  <a:gd name="T36" fmla="*/ 428 w 916"/>
                  <a:gd name="T37" fmla="*/ 665 h 808"/>
                  <a:gd name="T38" fmla="*/ 307 w 916"/>
                  <a:gd name="T39" fmla="*/ 501 h 808"/>
                  <a:gd name="T40" fmla="*/ 428 w 916"/>
                  <a:gd name="T41" fmla="*/ 432 h 808"/>
                  <a:gd name="T42" fmla="*/ 428 w 916"/>
                  <a:gd name="T43" fmla="*/ 337 h 808"/>
                  <a:gd name="T44" fmla="*/ 307 w 916"/>
                  <a:gd name="T45" fmla="*/ 267 h 808"/>
                  <a:gd name="T46" fmla="*/ 428 w 916"/>
                  <a:gd name="T47" fmla="*/ 337 h 808"/>
                  <a:gd name="T48" fmla="*/ 307 w 916"/>
                  <a:gd name="T49" fmla="*/ 172 h 808"/>
                  <a:gd name="T50" fmla="*/ 428 w 916"/>
                  <a:gd name="T51" fmla="*/ 103 h 808"/>
                  <a:gd name="T52" fmla="*/ 684 w 916"/>
                  <a:gd name="T53" fmla="*/ 668 h 808"/>
                  <a:gd name="T54" fmla="*/ 606 w 916"/>
                  <a:gd name="T55" fmla="*/ 549 h 808"/>
                  <a:gd name="T56" fmla="*/ 684 w 916"/>
                  <a:gd name="T57" fmla="*/ 668 h 808"/>
                  <a:gd name="T58" fmla="*/ 606 w 916"/>
                  <a:gd name="T59" fmla="*/ 482 h 808"/>
                  <a:gd name="T60" fmla="*/ 684 w 916"/>
                  <a:gd name="T61" fmla="*/ 365 h 808"/>
                  <a:gd name="T62" fmla="*/ 816 w 916"/>
                  <a:gd name="T63" fmla="*/ 668 h 808"/>
                  <a:gd name="T64" fmla="*/ 738 w 916"/>
                  <a:gd name="T65" fmla="*/ 549 h 808"/>
                  <a:gd name="T66" fmla="*/ 816 w 916"/>
                  <a:gd name="T67" fmla="*/ 668 h 808"/>
                  <a:gd name="T68" fmla="*/ 738 w 916"/>
                  <a:gd name="T69" fmla="*/ 482 h 808"/>
                  <a:gd name="T70" fmla="*/ 816 w 916"/>
                  <a:gd name="T71" fmla="*/ 365 h 8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16" h="808">
                    <a:moveTo>
                      <a:pt x="883" y="723"/>
                    </a:moveTo>
                    <a:lnTo>
                      <a:pt x="883" y="286"/>
                    </a:lnTo>
                    <a:lnTo>
                      <a:pt x="539" y="286"/>
                    </a:lnTo>
                    <a:lnTo>
                      <a:pt x="539" y="723"/>
                    </a:lnTo>
                    <a:lnTo>
                      <a:pt x="504" y="723"/>
                    </a:lnTo>
                    <a:lnTo>
                      <a:pt x="504" y="0"/>
                    </a:lnTo>
                    <a:lnTo>
                      <a:pt x="35" y="0"/>
                    </a:lnTo>
                    <a:lnTo>
                      <a:pt x="35" y="723"/>
                    </a:lnTo>
                    <a:lnTo>
                      <a:pt x="0" y="723"/>
                    </a:lnTo>
                    <a:lnTo>
                      <a:pt x="0" y="808"/>
                    </a:lnTo>
                    <a:lnTo>
                      <a:pt x="916" y="808"/>
                    </a:lnTo>
                    <a:lnTo>
                      <a:pt x="916" y="723"/>
                    </a:lnTo>
                    <a:lnTo>
                      <a:pt x="883" y="723"/>
                    </a:lnTo>
                    <a:close/>
                    <a:moveTo>
                      <a:pt x="229" y="665"/>
                    </a:moveTo>
                    <a:lnTo>
                      <a:pt x="109" y="665"/>
                    </a:lnTo>
                    <a:lnTo>
                      <a:pt x="109" y="596"/>
                    </a:lnTo>
                    <a:lnTo>
                      <a:pt x="229" y="596"/>
                    </a:lnTo>
                    <a:lnTo>
                      <a:pt x="229" y="665"/>
                    </a:lnTo>
                    <a:close/>
                    <a:moveTo>
                      <a:pt x="229" y="501"/>
                    </a:moveTo>
                    <a:lnTo>
                      <a:pt x="109" y="501"/>
                    </a:lnTo>
                    <a:lnTo>
                      <a:pt x="109" y="432"/>
                    </a:lnTo>
                    <a:lnTo>
                      <a:pt x="229" y="432"/>
                    </a:lnTo>
                    <a:lnTo>
                      <a:pt x="229" y="501"/>
                    </a:lnTo>
                    <a:close/>
                    <a:moveTo>
                      <a:pt x="229" y="337"/>
                    </a:moveTo>
                    <a:lnTo>
                      <a:pt x="109" y="337"/>
                    </a:lnTo>
                    <a:lnTo>
                      <a:pt x="109" y="267"/>
                    </a:lnTo>
                    <a:lnTo>
                      <a:pt x="229" y="267"/>
                    </a:lnTo>
                    <a:lnTo>
                      <a:pt x="229" y="337"/>
                    </a:lnTo>
                    <a:close/>
                    <a:moveTo>
                      <a:pt x="229" y="172"/>
                    </a:moveTo>
                    <a:lnTo>
                      <a:pt x="109" y="172"/>
                    </a:lnTo>
                    <a:lnTo>
                      <a:pt x="109" y="103"/>
                    </a:lnTo>
                    <a:lnTo>
                      <a:pt x="229" y="103"/>
                    </a:lnTo>
                    <a:lnTo>
                      <a:pt x="229" y="172"/>
                    </a:lnTo>
                    <a:close/>
                    <a:moveTo>
                      <a:pt x="428" y="665"/>
                    </a:moveTo>
                    <a:lnTo>
                      <a:pt x="307" y="665"/>
                    </a:lnTo>
                    <a:lnTo>
                      <a:pt x="307" y="596"/>
                    </a:lnTo>
                    <a:lnTo>
                      <a:pt x="428" y="596"/>
                    </a:lnTo>
                    <a:lnTo>
                      <a:pt x="428" y="665"/>
                    </a:lnTo>
                    <a:close/>
                    <a:moveTo>
                      <a:pt x="428" y="501"/>
                    </a:moveTo>
                    <a:lnTo>
                      <a:pt x="307" y="501"/>
                    </a:lnTo>
                    <a:lnTo>
                      <a:pt x="307" y="432"/>
                    </a:lnTo>
                    <a:lnTo>
                      <a:pt x="428" y="432"/>
                    </a:lnTo>
                    <a:lnTo>
                      <a:pt x="428" y="501"/>
                    </a:lnTo>
                    <a:close/>
                    <a:moveTo>
                      <a:pt x="428" y="337"/>
                    </a:moveTo>
                    <a:lnTo>
                      <a:pt x="307" y="337"/>
                    </a:lnTo>
                    <a:lnTo>
                      <a:pt x="307" y="267"/>
                    </a:lnTo>
                    <a:lnTo>
                      <a:pt x="428" y="267"/>
                    </a:lnTo>
                    <a:lnTo>
                      <a:pt x="428" y="337"/>
                    </a:lnTo>
                    <a:close/>
                    <a:moveTo>
                      <a:pt x="428" y="172"/>
                    </a:moveTo>
                    <a:lnTo>
                      <a:pt x="307" y="172"/>
                    </a:lnTo>
                    <a:lnTo>
                      <a:pt x="307" y="103"/>
                    </a:lnTo>
                    <a:lnTo>
                      <a:pt x="428" y="103"/>
                    </a:lnTo>
                    <a:lnTo>
                      <a:pt x="428" y="172"/>
                    </a:lnTo>
                    <a:close/>
                    <a:moveTo>
                      <a:pt x="684" y="668"/>
                    </a:moveTo>
                    <a:lnTo>
                      <a:pt x="606" y="668"/>
                    </a:lnTo>
                    <a:lnTo>
                      <a:pt x="606" y="549"/>
                    </a:lnTo>
                    <a:lnTo>
                      <a:pt x="684" y="549"/>
                    </a:lnTo>
                    <a:lnTo>
                      <a:pt x="684" y="668"/>
                    </a:lnTo>
                    <a:close/>
                    <a:moveTo>
                      <a:pt x="684" y="482"/>
                    </a:moveTo>
                    <a:lnTo>
                      <a:pt x="606" y="482"/>
                    </a:lnTo>
                    <a:lnTo>
                      <a:pt x="606" y="365"/>
                    </a:lnTo>
                    <a:lnTo>
                      <a:pt x="684" y="365"/>
                    </a:lnTo>
                    <a:lnTo>
                      <a:pt x="684" y="482"/>
                    </a:lnTo>
                    <a:close/>
                    <a:moveTo>
                      <a:pt x="816" y="668"/>
                    </a:moveTo>
                    <a:lnTo>
                      <a:pt x="738" y="668"/>
                    </a:lnTo>
                    <a:lnTo>
                      <a:pt x="738" y="549"/>
                    </a:lnTo>
                    <a:lnTo>
                      <a:pt x="816" y="549"/>
                    </a:lnTo>
                    <a:lnTo>
                      <a:pt x="816" y="668"/>
                    </a:lnTo>
                    <a:close/>
                    <a:moveTo>
                      <a:pt x="816" y="482"/>
                    </a:moveTo>
                    <a:lnTo>
                      <a:pt x="738" y="482"/>
                    </a:lnTo>
                    <a:lnTo>
                      <a:pt x="738" y="365"/>
                    </a:lnTo>
                    <a:lnTo>
                      <a:pt x="816" y="365"/>
                    </a:lnTo>
                    <a:lnTo>
                      <a:pt x="816" y="482"/>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grpSp>
        <p:sp>
          <p:nvSpPr>
            <p:cNvPr id="84" name="TextBox 83"/>
            <p:cNvSpPr txBox="1"/>
            <p:nvPr/>
          </p:nvSpPr>
          <p:spPr>
            <a:xfrm>
              <a:off x="83345" y="113808"/>
              <a:ext cx="2532630" cy="627864"/>
            </a:xfrm>
            <a:prstGeom prst="rect">
              <a:avLst/>
            </a:prstGeom>
            <a:noFill/>
          </p:spPr>
          <p:txBody>
            <a:bodyPr wrap="square" lIns="182880" tIns="146304" rIns="182880" bIns="146304" rtlCol="0">
              <a:spAutoFit/>
            </a:bodyPr>
            <a:lstStyle>
              <a:defPPr>
                <a:defRPr lang="en-US"/>
              </a:defPPr>
              <a:lvl1pPr>
                <a:lnSpc>
                  <a:spcPct val="90000"/>
                </a:lnSpc>
                <a:spcAft>
                  <a:spcPts val="600"/>
                </a:spcAft>
                <a:defRPr sz="2800" b="1">
                  <a:solidFill>
                    <a:srgbClr val="F2C812"/>
                  </a:solidFill>
                  <a:latin typeface="Segoe UI Light"/>
                </a:defRPr>
              </a:lvl1p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400" b="1" i="0" u="none" strike="noStrike" kern="1200" cap="none" spc="0" normalizeH="0" baseline="0" noProof="0">
                  <a:ln>
                    <a:noFill/>
                  </a:ln>
                  <a:solidFill>
                    <a:srgbClr val="F2C812"/>
                  </a:solidFill>
                  <a:effectLst/>
                  <a:uLnTx/>
                  <a:uFillTx/>
                  <a:latin typeface="Segoe UI Light"/>
                  <a:ea typeface="+mn-ea"/>
                  <a:cs typeface="+mn-cs"/>
                </a:rPr>
                <a:t>Power BI Service</a:t>
              </a:r>
              <a:endParaRPr kumimoji="0" lang="en-US" sz="2800" b="1" i="0" u="none" strike="noStrike" kern="1200" cap="none" spc="0" normalizeH="0" baseline="0" noProof="0">
                <a:ln>
                  <a:noFill/>
                </a:ln>
                <a:solidFill>
                  <a:srgbClr val="F2C812"/>
                </a:solidFill>
                <a:effectLst/>
                <a:uLnTx/>
                <a:uFillTx/>
                <a:latin typeface="Segoe UI Light"/>
                <a:ea typeface="+mn-ea"/>
                <a:cs typeface="+mn-cs"/>
              </a:endParaRPr>
            </a:p>
          </p:txBody>
        </p:sp>
        <p:grpSp>
          <p:nvGrpSpPr>
            <p:cNvPr id="85" name="Group 84"/>
            <p:cNvGrpSpPr/>
            <p:nvPr/>
          </p:nvGrpSpPr>
          <p:grpSpPr>
            <a:xfrm>
              <a:off x="219373" y="3621383"/>
              <a:ext cx="433844" cy="645668"/>
              <a:chOff x="280990" y="3358164"/>
              <a:chExt cx="433844" cy="645668"/>
            </a:xfrm>
          </p:grpSpPr>
          <p:sp>
            <p:nvSpPr>
              <p:cNvPr id="92" name="Oval 1083"/>
              <p:cNvSpPr/>
              <p:nvPr/>
            </p:nvSpPr>
            <p:spPr bwMode="auto">
              <a:xfrm>
                <a:off x="280990" y="3358164"/>
                <a:ext cx="433844" cy="433847"/>
              </a:xfrm>
              <a:prstGeom prst="ellipse">
                <a:avLst/>
              </a:prstGeom>
              <a:solidFill>
                <a:srgbClr val="F2C812"/>
              </a:solidFill>
              <a:ln>
                <a:solidFill>
                  <a:srgbClr val="FFCC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93" name="Group 379"/>
              <p:cNvGrpSpPr/>
              <p:nvPr/>
            </p:nvGrpSpPr>
            <p:grpSpPr>
              <a:xfrm>
                <a:off x="453702" y="3910852"/>
                <a:ext cx="175660" cy="92980"/>
                <a:chOff x="3895793" y="7466656"/>
                <a:chExt cx="785810" cy="415941"/>
              </a:xfrm>
              <a:solidFill>
                <a:srgbClr val="00BCF2"/>
              </a:solidFill>
            </p:grpSpPr>
            <p:sp>
              <p:nvSpPr>
                <p:cNvPr id="94" name="Freeform 132"/>
                <p:cNvSpPr>
                  <a:spLocks/>
                </p:cNvSpPr>
                <p:nvPr/>
              </p:nvSpPr>
              <p:spPr bwMode="auto">
                <a:xfrm>
                  <a:off x="4125979" y="7688918"/>
                  <a:ext cx="0" cy="6353"/>
                </a:xfrm>
                <a:custGeom>
                  <a:avLst/>
                  <a:gdLst>
                    <a:gd name="T0" fmla="*/ 1 w 1"/>
                    <a:gd name="T1" fmla="*/ 0 h 8"/>
                    <a:gd name="T2" fmla="*/ 0 w 1"/>
                    <a:gd name="T3" fmla="*/ 0 h 8"/>
                    <a:gd name="T4" fmla="*/ 1 w 1"/>
                    <a:gd name="T5" fmla="*/ 8 h 8"/>
                    <a:gd name="T6" fmla="*/ 1 w 1"/>
                    <a:gd name="T7" fmla="*/ 0 h 8"/>
                  </a:gdLst>
                  <a:ahLst/>
                  <a:cxnLst>
                    <a:cxn ang="0">
                      <a:pos x="T0" y="T1"/>
                    </a:cxn>
                    <a:cxn ang="0">
                      <a:pos x="T2" y="T3"/>
                    </a:cxn>
                    <a:cxn ang="0">
                      <a:pos x="T4" y="T5"/>
                    </a:cxn>
                    <a:cxn ang="0">
                      <a:pos x="T6" y="T7"/>
                    </a:cxn>
                  </a:cxnLst>
                  <a:rect l="0" t="0" r="r" b="b"/>
                  <a:pathLst>
                    <a:path w="1" h="8">
                      <a:moveTo>
                        <a:pt x="1" y="0"/>
                      </a:moveTo>
                      <a:cubicBezTo>
                        <a:pt x="0" y="0"/>
                        <a:pt x="0" y="0"/>
                        <a:pt x="0" y="0"/>
                      </a:cubicBezTo>
                      <a:cubicBezTo>
                        <a:pt x="0" y="3"/>
                        <a:pt x="1" y="5"/>
                        <a:pt x="1" y="8"/>
                      </a:cubicBezTo>
                      <a:lnTo>
                        <a:pt x="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95" name="Freeform 133"/>
                <p:cNvSpPr>
                  <a:spLocks/>
                </p:cNvSpPr>
                <p:nvPr/>
              </p:nvSpPr>
              <p:spPr bwMode="auto">
                <a:xfrm>
                  <a:off x="3895793" y="7812745"/>
                  <a:ext cx="219078" cy="69852"/>
                </a:xfrm>
                <a:custGeom>
                  <a:avLst/>
                  <a:gdLst>
                    <a:gd name="T0" fmla="*/ 186 w 238"/>
                    <a:gd name="T1" fmla="*/ 9 h 76"/>
                    <a:gd name="T2" fmla="*/ 131 w 238"/>
                    <a:gd name="T3" fmla="*/ 22 h 76"/>
                    <a:gd name="T4" fmla="*/ 60 w 238"/>
                    <a:gd name="T5" fmla="*/ 0 h 76"/>
                    <a:gd name="T6" fmla="*/ 0 w 238"/>
                    <a:gd name="T7" fmla="*/ 42 h 76"/>
                    <a:gd name="T8" fmla="*/ 0 w 238"/>
                    <a:gd name="T9" fmla="*/ 76 h 76"/>
                    <a:gd name="T10" fmla="*/ 238 w 238"/>
                    <a:gd name="T11" fmla="*/ 76 h 76"/>
                    <a:gd name="T12" fmla="*/ 236 w 238"/>
                    <a:gd name="T13" fmla="*/ 53 h 76"/>
                    <a:gd name="T14" fmla="*/ 236 w 238"/>
                    <a:gd name="T15" fmla="*/ 49 h 76"/>
                    <a:gd name="T16" fmla="*/ 186 w 238"/>
                    <a:gd name="T17" fmla="*/ 9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8" h="76">
                      <a:moveTo>
                        <a:pt x="186" y="9"/>
                      </a:moveTo>
                      <a:cubicBezTo>
                        <a:pt x="169" y="18"/>
                        <a:pt x="150" y="22"/>
                        <a:pt x="131" y="22"/>
                      </a:cubicBezTo>
                      <a:cubicBezTo>
                        <a:pt x="105" y="22"/>
                        <a:pt x="80" y="14"/>
                        <a:pt x="60" y="0"/>
                      </a:cubicBezTo>
                      <a:cubicBezTo>
                        <a:pt x="0" y="42"/>
                        <a:pt x="0" y="42"/>
                        <a:pt x="0" y="42"/>
                      </a:cubicBezTo>
                      <a:cubicBezTo>
                        <a:pt x="0" y="76"/>
                        <a:pt x="0" y="76"/>
                        <a:pt x="0" y="76"/>
                      </a:cubicBezTo>
                      <a:cubicBezTo>
                        <a:pt x="238" y="76"/>
                        <a:pt x="238" y="76"/>
                        <a:pt x="238" y="76"/>
                      </a:cubicBezTo>
                      <a:cubicBezTo>
                        <a:pt x="237" y="68"/>
                        <a:pt x="236" y="61"/>
                        <a:pt x="236" y="53"/>
                      </a:cubicBezTo>
                      <a:cubicBezTo>
                        <a:pt x="236" y="51"/>
                        <a:pt x="236" y="50"/>
                        <a:pt x="236" y="49"/>
                      </a:cubicBezTo>
                      <a:lnTo>
                        <a:pt x="186" y="9"/>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96" name="Freeform 137"/>
                <p:cNvSpPr>
                  <a:spLocks/>
                </p:cNvSpPr>
                <p:nvPr/>
              </p:nvSpPr>
              <p:spPr bwMode="auto">
                <a:xfrm>
                  <a:off x="4338704" y="7809561"/>
                  <a:ext cx="65090" cy="73028"/>
                </a:xfrm>
                <a:custGeom>
                  <a:avLst/>
                  <a:gdLst>
                    <a:gd name="T0" fmla="*/ 71 w 71"/>
                    <a:gd name="T1" fmla="*/ 79 h 79"/>
                    <a:gd name="T2" fmla="*/ 71 w 71"/>
                    <a:gd name="T3" fmla="*/ 0 h 79"/>
                    <a:gd name="T4" fmla="*/ 2 w 71"/>
                    <a:gd name="T5" fmla="*/ 53 h 79"/>
                    <a:gd name="T6" fmla="*/ 2 w 71"/>
                    <a:gd name="T7" fmla="*/ 56 h 79"/>
                    <a:gd name="T8" fmla="*/ 0 w 71"/>
                    <a:gd name="T9" fmla="*/ 79 h 79"/>
                    <a:gd name="T10" fmla="*/ 71 w 71"/>
                    <a:gd name="T11" fmla="*/ 79 h 79"/>
                  </a:gdLst>
                  <a:ahLst/>
                  <a:cxnLst>
                    <a:cxn ang="0">
                      <a:pos x="T0" y="T1"/>
                    </a:cxn>
                    <a:cxn ang="0">
                      <a:pos x="T2" y="T3"/>
                    </a:cxn>
                    <a:cxn ang="0">
                      <a:pos x="T4" y="T5"/>
                    </a:cxn>
                    <a:cxn ang="0">
                      <a:pos x="T6" y="T7"/>
                    </a:cxn>
                    <a:cxn ang="0">
                      <a:pos x="T8" y="T9"/>
                    </a:cxn>
                    <a:cxn ang="0">
                      <a:pos x="T10" y="T11"/>
                    </a:cxn>
                  </a:cxnLst>
                  <a:rect l="0" t="0" r="r" b="b"/>
                  <a:pathLst>
                    <a:path w="71" h="79">
                      <a:moveTo>
                        <a:pt x="71" y="79"/>
                      </a:moveTo>
                      <a:cubicBezTo>
                        <a:pt x="71" y="0"/>
                        <a:pt x="71" y="0"/>
                        <a:pt x="71" y="0"/>
                      </a:cubicBezTo>
                      <a:cubicBezTo>
                        <a:pt x="2" y="53"/>
                        <a:pt x="2" y="53"/>
                        <a:pt x="2" y="53"/>
                      </a:cubicBezTo>
                      <a:cubicBezTo>
                        <a:pt x="2" y="54"/>
                        <a:pt x="2" y="55"/>
                        <a:pt x="2" y="56"/>
                      </a:cubicBezTo>
                      <a:cubicBezTo>
                        <a:pt x="2" y="64"/>
                        <a:pt x="1" y="71"/>
                        <a:pt x="0" y="79"/>
                      </a:cubicBezTo>
                      <a:lnTo>
                        <a:pt x="71" y="79"/>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97" name="Freeform 140"/>
                <p:cNvSpPr>
                  <a:spLocks/>
                </p:cNvSpPr>
                <p:nvPr/>
              </p:nvSpPr>
              <p:spPr bwMode="auto">
                <a:xfrm>
                  <a:off x="4600643" y="7622229"/>
                  <a:ext cx="80960" cy="38099"/>
                </a:xfrm>
                <a:custGeom>
                  <a:avLst/>
                  <a:gdLst>
                    <a:gd name="T0" fmla="*/ 0 w 51"/>
                    <a:gd name="T1" fmla="*/ 24 h 24"/>
                    <a:gd name="T2" fmla="*/ 51 w 51"/>
                    <a:gd name="T3" fmla="*/ 24 h 24"/>
                    <a:gd name="T4" fmla="*/ 32 w 51"/>
                    <a:gd name="T5" fmla="*/ 0 h 24"/>
                    <a:gd name="T6" fmla="*/ 0 w 51"/>
                    <a:gd name="T7" fmla="*/ 24 h 24"/>
                  </a:gdLst>
                  <a:ahLst/>
                  <a:cxnLst>
                    <a:cxn ang="0">
                      <a:pos x="T0" y="T1"/>
                    </a:cxn>
                    <a:cxn ang="0">
                      <a:pos x="T2" y="T3"/>
                    </a:cxn>
                    <a:cxn ang="0">
                      <a:pos x="T4" y="T5"/>
                    </a:cxn>
                    <a:cxn ang="0">
                      <a:pos x="T6" y="T7"/>
                    </a:cxn>
                  </a:cxnLst>
                  <a:rect l="0" t="0" r="r" b="b"/>
                  <a:pathLst>
                    <a:path w="51" h="24">
                      <a:moveTo>
                        <a:pt x="0" y="24"/>
                      </a:moveTo>
                      <a:lnTo>
                        <a:pt x="51" y="24"/>
                      </a:lnTo>
                      <a:lnTo>
                        <a:pt x="32" y="0"/>
                      </a:lnTo>
                      <a:lnTo>
                        <a:pt x="0" y="24"/>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98" name="Freeform 141"/>
                <p:cNvSpPr>
                  <a:spLocks/>
                </p:cNvSpPr>
                <p:nvPr/>
              </p:nvSpPr>
              <p:spPr bwMode="auto">
                <a:xfrm>
                  <a:off x="4449825" y="7466656"/>
                  <a:ext cx="119065" cy="139703"/>
                </a:xfrm>
                <a:custGeom>
                  <a:avLst/>
                  <a:gdLst>
                    <a:gd name="T0" fmla="*/ 52 w 75"/>
                    <a:gd name="T1" fmla="*/ 0 h 88"/>
                    <a:gd name="T2" fmla="*/ 0 w 75"/>
                    <a:gd name="T3" fmla="*/ 0 h 88"/>
                    <a:gd name="T4" fmla="*/ 0 w 75"/>
                    <a:gd name="T5" fmla="*/ 88 h 88"/>
                    <a:gd name="T6" fmla="*/ 75 w 75"/>
                    <a:gd name="T7" fmla="*/ 30 h 88"/>
                    <a:gd name="T8" fmla="*/ 52 w 75"/>
                    <a:gd name="T9" fmla="*/ 0 h 88"/>
                  </a:gdLst>
                  <a:ahLst/>
                  <a:cxnLst>
                    <a:cxn ang="0">
                      <a:pos x="T0" y="T1"/>
                    </a:cxn>
                    <a:cxn ang="0">
                      <a:pos x="T2" y="T3"/>
                    </a:cxn>
                    <a:cxn ang="0">
                      <a:pos x="T4" y="T5"/>
                    </a:cxn>
                    <a:cxn ang="0">
                      <a:pos x="T6" y="T7"/>
                    </a:cxn>
                    <a:cxn ang="0">
                      <a:pos x="T8" y="T9"/>
                    </a:cxn>
                  </a:cxnLst>
                  <a:rect l="0" t="0" r="r" b="b"/>
                  <a:pathLst>
                    <a:path w="75" h="88">
                      <a:moveTo>
                        <a:pt x="52" y="0"/>
                      </a:moveTo>
                      <a:lnTo>
                        <a:pt x="0" y="0"/>
                      </a:lnTo>
                      <a:lnTo>
                        <a:pt x="0" y="88"/>
                      </a:lnTo>
                      <a:lnTo>
                        <a:pt x="75" y="30"/>
                      </a:lnTo>
                      <a:lnTo>
                        <a:pt x="52"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grpSp>
        </p:grpSp>
        <p:sp>
          <p:nvSpPr>
            <p:cNvPr id="86" name="Rectangle 152"/>
            <p:cNvSpPr/>
            <p:nvPr/>
          </p:nvSpPr>
          <p:spPr bwMode="auto">
            <a:xfrm>
              <a:off x="712458" y="3628917"/>
              <a:ext cx="1805162" cy="37532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2C812"/>
                  </a:solidFill>
                  <a:effectLst/>
                  <a:uLnTx/>
                  <a:uFillTx/>
                  <a:latin typeface="Segoe UI"/>
                  <a:ea typeface="+mn-ea"/>
                  <a:cs typeface="Segoe UI Light" panose="020B0502040204020203" pitchFamily="34" charset="0"/>
                </a:rPr>
                <a:t>Q&amp;A and </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2C812"/>
                  </a:solidFill>
                  <a:effectLst/>
                  <a:uLnTx/>
                  <a:uFillTx/>
                  <a:latin typeface="Segoe UI"/>
                  <a:ea typeface="+mn-ea"/>
                  <a:cs typeface="Segoe UI Light" panose="020B0502040204020203" pitchFamily="34" charset="0"/>
                </a:rPr>
                <a:t>Quick Insights</a:t>
              </a:r>
              <a:endParaRPr kumimoji="0" lang="en-US" sz="1200" b="1" i="0" u="none" strike="noStrike" kern="1200" cap="none" spc="0" normalizeH="0" baseline="0" noProof="0">
                <a:ln>
                  <a:noFill/>
                </a:ln>
                <a:solidFill>
                  <a:srgbClr val="F2C812"/>
                </a:solidFill>
                <a:effectLst/>
                <a:uLnTx/>
                <a:uFillTx/>
                <a:latin typeface="Segoe UI"/>
                <a:ea typeface="+mn-ea"/>
                <a:cs typeface="Segoe UI Light" panose="020B0502040204020203" pitchFamily="34" charset="0"/>
              </a:endParaRPr>
            </a:p>
          </p:txBody>
        </p:sp>
        <p:sp>
          <p:nvSpPr>
            <p:cNvPr id="88" name="Oval 162"/>
            <p:cNvSpPr/>
            <p:nvPr/>
          </p:nvSpPr>
          <p:spPr bwMode="auto">
            <a:xfrm>
              <a:off x="226619" y="4551712"/>
              <a:ext cx="433844" cy="433844"/>
            </a:xfrm>
            <a:prstGeom prst="ellipse">
              <a:avLst/>
            </a:prstGeom>
            <a:solidFill>
              <a:srgbClr val="F2C812"/>
            </a:solidFill>
            <a:ln>
              <a:solidFill>
                <a:srgbClr val="FFCC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9" name="Rectangle 152"/>
            <p:cNvSpPr/>
            <p:nvPr/>
          </p:nvSpPr>
          <p:spPr bwMode="auto">
            <a:xfrm>
              <a:off x="738443" y="4596194"/>
              <a:ext cx="1884825" cy="30233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2C812"/>
                  </a:solidFill>
                  <a:effectLst/>
                  <a:uLnTx/>
                  <a:uFillTx/>
                  <a:latin typeface="Segoe UI"/>
                  <a:ea typeface="+mn-ea"/>
                  <a:cs typeface="Segoe UI Light" panose="020B0502040204020203" pitchFamily="34" charset="0"/>
                </a:rPr>
                <a:t>Sharing</a:t>
              </a:r>
              <a:endParaRPr kumimoji="0" lang="en-US" sz="1200" b="1" i="1" u="none" strike="noStrike" kern="1200" cap="none" spc="0" normalizeH="0" baseline="0" noProof="0">
                <a:ln>
                  <a:noFill/>
                </a:ln>
                <a:solidFill>
                  <a:srgbClr val="F2C812"/>
                </a:solidFill>
                <a:effectLst/>
                <a:uLnTx/>
                <a:uFillTx/>
                <a:latin typeface="Segoe UI"/>
                <a:ea typeface="+mn-ea"/>
                <a:cs typeface="Segoe UI Light" panose="020B0502040204020203" pitchFamily="34" charset="0"/>
              </a:endParaRPr>
            </a:p>
          </p:txBody>
        </p:sp>
        <p:sp>
          <p:nvSpPr>
            <p:cNvPr id="90" name="Rectangle 145"/>
            <p:cNvSpPr/>
            <p:nvPr/>
          </p:nvSpPr>
          <p:spPr bwMode="auto">
            <a:xfrm>
              <a:off x="697198" y="1847637"/>
              <a:ext cx="1821468" cy="3831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2C812"/>
                  </a:solidFill>
                  <a:effectLst/>
                  <a:uLnTx/>
                  <a:uFillTx/>
                  <a:latin typeface="Segoe UI"/>
                  <a:ea typeface="+mn-ea"/>
                  <a:cs typeface="Segoe UI Light" panose="020B0502040204020203" pitchFamily="34" charset="0"/>
                </a:rPr>
                <a:t>Pinning and Navigation</a:t>
              </a:r>
            </a:p>
          </p:txBody>
        </p:sp>
        <p:sp>
          <p:nvSpPr>
            <p:cNvPr id="91" name="Oval 162"/>
            <p:cNvSpPr/>
            <p:nvPr/>
          </p:nvSpPr>
          <p:spPr bwMode="auto">
            <a:xfrm>
              <a:off x="224136" y="1813606"/>
              <a:ext cx="433844" cy="433844"/>
            </a:xfrm>
            <a:prstGeom prst="ellipse">
              <a:avLst/>
            </a:prstGeom>
            <a:solidFill>
              <a:srgbClr val="FFCC00"/>
            </a:solidFill>
            <a:ln>
              <a:solidFill>
                <a:srgbClr val="F2C81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pic>
        <p:nvPicPr>
          <p:cNvPr id="105" name="Picture 104"/>
          <p:cNvPicPr>
            <a:picLocks noChangeAspect="1"/>
          </p:cNvPicPr>
          <p:nvPr/>
        </p:nvPicPr>
        <p:blipFill rotWithShape="1">
          <a:blip r:embed="rId4"/>
          <a:srcRect l="6503" t="21287" r="74698" b="20220"/>
          <a:stretch/>
        </p:blipFill>
        <p:spPr>
          <a:xfrm>
            <a:off x="339111" y="1946110"/>
            <a:ext cx="228600" cy="231962"/>
          </a:xfrm>
          <a:prstGeom prst="rect">
            <a:avLst/>
          </a:prstGeom>
        </p:spPr>
      </p:pic>
      <p:pic>
        <p:nvPicPr>
          <p:cNvPr id="106" name="Picture 105"/>
          <p:cNvPicPr>
            <a:picLocks noChangeAspect="1"/>
          </p:cNvPicPr>
          <p:nvPr/>
        </p:nvPicPr>
        <p:blipFill>
          <a:blip r:embed="rId5"/>
          <a:stretch>
            <a:fillRect/>
          </a:stretch>
        </p:blipFill>
        <p:spPr>
          <a:xfrm>
            <a:off x="284769" y="3673076"/>
            <a:ext cx="311766" cy="303106"/>
          </a:xfrm>
          <a:prstGeom prst="rect">
            <a:avLst/>
          </a:prstGeom>
        </p:spPr>
      </p:pic>
      <p:sp>
        <p:nvSpPr>
          <p:cNvPr id="107" name="Rectangle 145"/>
          <p:cNvSpPr/>
          <p:nvPr/>
        </p:nvSpPr>
        <p:spPr bwMode="auto">
          <a:xfrm>
            <a:off x="718897" y="5436715"/>
            <a:ext cx="1821468" cy="3831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2C812"/>
                </a:solidFill>
                <a:effectLst/>
                <a:uLnTx/>
                <a:uFillTx/>
                <a:latin typeface="Segoe UI"/>
                <a:ea typeface="+mn-ea"/>
                <a:cs typeface="Segoe UI Light" panose="020B0502040204020203" pitchFamily="34" charset="0"/>
              </a:rPr>
              <a:t>Connect from Excel</a:t>
            </a:r>
          </a:p>
        </p:txBody>
      </p:sp>
      <p:sp>
        <p:nvSpPr>
          <p:cNvPr id="108" name="Oval 162"/>
          <p:cNvSpPr/>
          <p:nvPr/>
        </p:nvSpPr>
        <p:spPr bwMode="auto">
          <a:xfrm>
            <a:off x="231441" y="5429649"/>
            <a:ext cx="433844" cy="433844"/>
          </a:xfrm>
          <a:prstGeom prst="ellipse">
            <a:avLst/>
          </a:prstGeom>
          <a:solidFill>
            <a:srgbClr val="FFCC00"/>
          </a:solidFill>
          <a:ln>
            <a:solidFill>
              <a:srgbClr val="F2C81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09" name="Picture 108"/>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flipH="1">
            <a:off x="283763" y="4596680"/>
            <a:ext cx="357484" cy="357484"/>
          </a:xfrm>
          <a:prstGeom prst="rect">
            <a:avLst/>
          </a:prstGeom>
        </p:spPr>
      </p:pic>
      <p:sp>
        <p:nvSpPr>
          <p:cNvPr id="110" name="Oval 162"/>
          <p:cNvSpPr/>
          <p:nvPr/>
        </p:nvSpPr>
        <p:spPr bwMode="auto">
          <a:xfrm>
            <a:off x="233032" y="6267344"/>
            <a:ext cx="433844" cy="433844"/>
          </a:xfrm>
          <a:prstGeom prst="ellipse">
            <a:avLst/>
          </a:prstGeom>
          <a:solidFill>
            <a:srgbClr val="FFCC00"/>
          </a:solidFill>
          <a:ln>
            <a:solidFill>
              <a:srgbClr val="F2C81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1" name="Rectangle 145"/>
          <p:cNvSpPr/>
          <p:nvPr/>
        </p:nvSpPr>
        <p:spPr bwMode="auto">
          <a:xfrm>
            <a:off x="701416" y="6289969"/>
            <a:ext cx="1821468" cy="3831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2C812"/>
                </a:solidFill>
                <a:effectLst/>
                <a:uLnTx/>
                <a:uFillTx/>
                <a:latin typeface="Segoe UI"/>
                <a:ea typeface="+mn-ea"/>
                <a:cs typeface="Segoe UI Light" panose="020B0502040204020203" pitchFamily="34" charset="0"/>
              </a:rPr>
              <a:t>Mobile Reports</a:t>
            </a:r>
          </a:p>
        </p:txBody>
      </p:sp>
      <p:pic>
        <p:nvPicPr>
          <p:cNvPr id="112" name="Picture 111"/>
          <p:cNvPicPr>
            <a:picLocks noChangeAspect="1"/>
          </p:cNvPicPr>
          <p:nvPr/>
        </p:nvPicPr>
        <p:blipFill>
          <a:blip r:embed="rId7" cstate="print">
            <a:extLst>
              <a:ext uri="{BEBA8EAE-BF5A-486C-A8C5-ECC9F3942E4B}">
                <a14:imgProps xmlns:a14="http://schemas.microsoft.com/office/drawing/2010/main">
                  <a14:imgLayer r:embed="rId8">
                    <a14:imgEffect>
                      <a14:saturation sat="0"/>
                    </a14:imgEffect>
                  </a14:imgLayer>
                </a14:imgProps>
              </a:ext>
              <a:ext uri="{28A0092B-C50C-407E-A947-70E740481C1C}">
                <a14:useLocalDpi xmlns:a14="http://schemas.microsoft.com/office/drawing/2010/main" val="0"/>
              </a:ext>
            </a:extLst>
          </a:blip>
          <a:stretch>
            <a:fillRect/>
          </a:stretch>
        </p:blipFill>
        <p:spPr>
          <a:xfrm>
            <a:off x="391946" y="6350039"/>
            <a:ext cx="133350" cy="251587"/>
          </a:xfrm>
          <a:prstGeom prst="rect">
            <a:avLst/>
          </a:prstGeom>
        </p:spPr>
      </p:pic>
      <p:pic>
        <p:nvPicPr>
          <p:cNvPr id="113" name="Picture 112"/>
          <p:cNvPicPr>
            <a:picLocks noChangeAspect="1"/>
          </p:cNvPicPr>
          <p:nvPr/>
        </p:nvPicPr>
        <p:blipFill>
          <a:blip r:embed="rId9" cstate="print">
            <a:biLevel thresh="50000"/>
            <a:extLst>
              <a:ext uri="{28A0092B-C50C-407E-A947-70E740481C1C}">
                <a14:useLocalDpi xmlns:a14="http://schemas.microsoft.com/office/drawing/2010/main" val="0"/>
              </a:ext>
            </a:extLst>
          </a:blip>
          <a:stretch>
            <a:fillRect/>
          </a:stretch>
        </p:blipFill>
        <p:spPr>
          <a:xfrm>
            <a:off x="332658" y="5538489"/>
            <a:ext cx="268940" cy="268940"/>
          </a:xfrm>
          <a:prstGeom prst="rect">
            <a:avLst/>
          </a:prstGeom>
        </p:spPr>
      </p:pic>
      <p:sp>
        <p:nvSpPr>
          <p:cNvPr id="114" name="Rectangle 113"/>
          <p:cNvSpPr/>
          <p:nvPr/>
        </p:nvSpPr>
        <p:spPr bwMode="auto">
          <a:xfrm>
            <a:off x="35912" y="5223435"/>
            <a:ext cx="2464420" cy="1564989"/>
          </a:xfrm>
          <a:prstGeom prst="rect">
            <a:avLst/>
          </a:prstGeom>
          <a:solidFill>
            <a:srgbClr val="000000">
              <a:alpha val="6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5" name="Rectangle 114"/>
          <p:cNvSpPr/>
          <p:nvPr/>
        </p:nvSpPr>
        <p:spPr bwMode="auto">
          <a:xfrm>
            <a:off x="95936" y="731575"/>
            <a:ext cx="2464420" cy="3635751"/>
          </a:xfrm>
          <a:prstGeom prst="rect">
            <a:avLst/>
          </a:prstGeom>
          <a:solidFill>
            <a:srgbClr val="000000">
              <a:alpha val="6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40635322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 name="Title 10"/>
          <p:cNvSpPr txBox="1">
            <a:spLocks/>
          </p:cNvSpPr>
          <p:nvPr/>
        </p:nvSpPr>
        <p:spPr>
          <a:xfrm>
            <a:off x="2849060" y="0"/>
            <a:ext cx="9342940" cy="665151"/>
          </a:xfrm>
          <a:prstGeom prst="rect">
            <a:avLst/>
          </a:prstGeom>
          <a:noFill/>
        </p:spPr>
        <p:txBody>
          <a:bodyPr vert="horz" wrap="square" lIns="0" tIns="91440" rIns="0" bIns="91440" rtlCol="0" anchor="t">
            <a:noAutofit/>
          </a:bodyPr>
          <a:lstStyle>
            <a:lvl1pPr defTabSz="914367">
              <a:lnSpc>
                <a:spcPct val="90000"/>
              </a:lnSpc>
              <a:spcBef>
                <a:spcPct val="0"/>
              </a:spcBef>
              <a:buNone/>
              <a:defRPr lang="en-US" sz="5294" b="0" cap="none" spc="-100" baseline="0" dirty="0" smtClean="0">
                <a:ln w="3175">
                  <a:noFill/>
                </a:ln>
                <a:solidFill>
                  <a:schemeClr val="tx2"/>
                </a:solidFill>
                <a:effectLst/>
                <a:latin typeface="+mj-lt"/>
                <a:cs typeface="Segoe UI" pitchFamily="34" charset="0"/>
              </a:defRPr>
            </a:lvl1pPr>
          </a:lstStyle>
          <a:p>
            <a:pPr marL="168275" marR="0" lvl="0" indent="0" algn="l" defTabSz="914367" rtl="0" eaLnBrk="1" fontAlgn="auto" latinLnBrk="0" hangingPunct="1">
              <a:lnSpc>
                <a:spcPct val="90000"/>
              </a:lnSpc>
              <a:spcBef>
                <a:spcPct val="0"/>
              </a:spcBef>
              <a:spcAft>
                <a:spcPts val="0"/>
              </a:spcAft>
              <a:buClrTx/>
              <a:buSzTx/>
              <a:buFontTx/>
              <a:buNone/>
              <a:tabLst/>
              <a:defRPr/>
            </a:pPr>
            <a:r>
              <a:rPr kumimoji="0" lang="en-US" sz="3600" b="0" i="0" u="none" strike="noStrike" kern="1200" cap="none" spc="-100" normalizeH="0" baseline="0" noProof="0">
                <a:ln w="3175">
                  <a:noFill/>
                </a:ln>
                <a:solidFill>
                  <a:prstClr val="black"/>
                </a:solidFill>
                <a:effectLst/>
                <a:uLnTx/>
                <a:uFillTx/>
                <a:latin typeface="Segoe UI Light"/>
                <a:ea typeface="+mn-ea"/>
                <a:cs typeface="Segoe UI" pitchFamily="34" charset="0"/>
              </a:rPr>
              <a:t>Sharing</a:t>
            </a:r>
            <a:endParaRPr kumimoji="0" lang="en-IN" sz="3600" b="0" i="0" u="none" strike="noStrike" kern="1200" cap="none" spc="-100" normalizeH="0" baseline="0" noProof="0">
              <a:ln w="3175">
                <a:noFill/>
              </a:ln>
              <a:solidFill>
                <a:prstClr val="black"/>
              </a:solidFill>
              <a:effectLst/>
              <a:uLnTx/>
              <a:uFillTx/>
              <a:latin typeface="Segoe UI Light"/>
              <a:ea typeface="+mn-ea"/>
              <a:cs typeface="Segoe UI" pitchFamily="34" charset="0"/>
            </a:endParaRPr>
          </a:p>
        </p:txBody>
      </p:sp>
      <p:sp>
        <p:nvSpPr>
          <p:cNvPr id="41" name="Rectangle 3"/>
          <p:cNvSpPr/>
          <p:nvPr/>
        </p:nvSpPr>
        <p:spPr bwMode="auto">
          <a:xfrm>
            <a:off x="3202216" y="704712"/>
            <a:ext cx="8105312" cy="44435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PT" sz="2000" b="0" i="1" u="none" strike="noStrike" kern="1200" cap="none" spc="0" normalizeH="0" baseline="0" noProof="0">
                <a:ln>
                  <a:noFill/>
                </a:ln>
                <a:solidFill>
                  <a:prstClr val="black"/>
                </a:solidFill>
                <a:effectLst/>
                <a:uLnTx/>
                <a:uFillTx/>
                <a:latin typeface="Segoe UI Light"/>
                <a:ea typeface="+mn-ea"/>
                <a:cs typeface="+mn-cs"/>
              </a:rPr>
              <a:t>Public Share</a:t>
            </a:r>
            <a:endParaRPr kumimoji="0" lang="en-US" sz="2000" b="0" i="1" u="none" strike="noStrike" kern="1200" cap="none" spc="0" normalizeH="0" baseline="0" noProof="0">
              <a:ln>
                <a:noFill/>
              </a:ln>
              <a:solidFill>
                <a:prstClr val="black"/>
              </a:solidFill>
              <a:effectLst/>
              <a:uLnTx/>
              <a:uFillTx/>
              <a:latin typeface="Segoe UI Light"/>
              <a:ea typeface="+mn-ea"/>
              <a:cs typeface="+mn-cs"/>
            </a:endParaRPr>
          </a:p>
        </p:txBody>
      </p:sp>
      <p:sp>
        <p:nvSpPr>
          <p:cNvPr id="87" name="Text Placeholder 2"/>
          <p:cNvSpPr txBox="1">
            <a:spLocks/>
          </p:cNvSpPr>
          <p:nvPr/>
        </p:nvSpPr>
        <p:spPr>
          <a:xfrm>
            <a:off x="2953103" y="1479922"/>
            <a:ext cx="8707001" cy="897374"/>
          </a:xfrm>
          <a:prstGeom prst="rect">
            <a:avLst/>
          </a:prstGeom>
        </p:spPr>
        <p:txBody>
          <a:bodyPr vert="horz" wrap="square" lIns="182880" tIns="146304" rIns="182880" bIns="146304" rtlCol="0">
            <a:noAutofit/>
          </a:bodyPr>
          <a:lstStyle>
            <a:lvl1pPr marL="182845" marR="0"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3921" kern="1200" spc="0" baseline="0">
                <a:gradFill>
                  <a:gsLst>
                    <a:gs pos="1250">
                      <a:schemeClr val="tx2"/>
                    </a:gs>
                    <a:gs pos="99000">
                      <a:schemeClr val="tx2"/>
                    </a:gs>
                  </a:gsLst>
                  <a:lin ang="5400000" scaled="0"/>
                </a:gradFill>
                <a:latin typeface="+mj-lt"/>
                <a:ea typeface="+mn-ea"/>
                <a:cs typeface="+mn-cs"/>
              </a:defRPr>
            </a:lvl1pPr>
            <a:lvl2pPr marL="365690" marR="0"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2400" kern="1200" spc="0" baseline="0">
                <a:solidFill>
                  <a:schemeClr val="tx2"/>
                </a:solidFill>
                <a:latin typeface="+mj-lt"/>
                <a:ea typeface="+mn-ea"/>
                <a:cs typeface="+mn-cs"/>
              </a:defRPr>
            </a:lvl2pPr>
            <a:lvl3pPr marL="548535" marR="0"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2000" kern="1200" spc="0" baseline="0">
                <a:solidFill>
                  <a:schemeClr val="tx2"/>
                </a:solidFill>
                <a:latin typeface="+mj-lt"/>
                <a:ea typeface="+mn-ea"/>
                <a:cs typeface="+mn-cs"/>
              </a:defRPr>
            </a:lvl3pPr>
            <a:lvl4pPr marL="733802" marR="0" indent="-28569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1765" kern="1200" spc="0" baseline="0">
                <a:solidFill>
                  <a:schemeClr val="tx2"/>
                </a:solidFill>
                <a:latin typeface="+mn-lt"/>
                <a:ea typeface="+mn-ea"/>
                <a:cs typeface="+mn-cs"/>
              </a:defRPr>
            </a:lvl4pPr>
            <a:lvl5pPr marL="957856" marR="0" indent="-28569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1765" kern="1200" spc="0" baseline="0">
                <a:solidFill>
                  <a:schemeClr val="tx2"/>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r>
              <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rPr>
              <a:t>A link and html code will be generated</a:t>
            </a: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p:txBody>
      </p:sp>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920530" y="2247498"/>
            <a:ext cx="5200000" cy="3685714"/>
          </a:xfrm>
          <a:prstGeom prst="rect">
            <a:avLst/>
          </a:prstGeom>
          <a:ln>
            <a:noFill/>
          </a:ln>
          <a:effectLst>
            <a:outerShdw blurRad="190500" algn="tl" rotWithShape="0">
              <a:srgbClr val="000000">
                <a:alpha val="70000"/>
              </a:srgbClr>
            </a:outerShdw>
          </a:effectLst>
        </p:spPr>
      </p:pic>
      <p:grpSp>
        <p:nvGrpSpPr>
          <p:cNvPr id="43" name="Group 42"/>
          <p:cNvGrpSpPr/>
          <p:nvPr/>
        </p:nvGrpSpPr>
        <p:grpSpPr>
          <a:xfrm>
            <a:off x="-2887" y="973"/>
            <a:ext cx="2849058" cy="6857027"/>
            <a:chOff x="2" y="487"/>
            <a:chExt cx="2849058" cy="6857027"/>
          </a:xfrm>
        </p:grpSpPr>
        <p:sp>
          <p:nvSpPr>
            <p:cNvPr id="51" name="Rectangle 15"/>
            <p:cNvSpPr/>
            <p:nvPr/>
          </p:nvSpPr>
          <p:spPr bwMode="auto">
            <a:xfrm>
              <a:off x="2" y="487"/>
              <a:ext cx="2849058" cy="685702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0" name="Rectangle 145"/>
            <p:cNvSpPr/>
            <p:nvPr/>
          </p:nvSpPr>
          <p:spPr bwMode="auto">
            <a:xfrm>
              <a:off x="696152" y="956997"/>
              <a:ext cx="1821468" cy="3831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2C812"/>
                  </a:solidFill>
                  <a:effectLst/>
                  <a:uLnTx/>
                  <a:uFillTx/>
                  <a:latin typeface="Segoe UI"/>
                  <a:ea typeface="+mn-ea"/>
                  <a:cs typeface="Segoe UI Light" panose="020B0502040204020203" pitchFamily="34" charset="0"/>
                </a:rPr>
                <a:t>Get Data</a:t>
              </a:r>
              <a:endParaRPr kumimoji="0" lang="en-US" sz="1200" b="1" i="1" u="none" strike="noStrike" kern="1200" cap="none" spc="0" normalizeH="0" baseline="0" noProof="0">
                <a:ln>
                  <a:noFill/>
                </a:ln>
                <a:solidFill>
                  <a:srgbClr val="F2C812"/>
                </a:solidFill>
                <a:effectLst/>
                <a:uLnTx/>
                <a:uFillTx/>
                <a:latin typeface="Segoe UI"/>
                <a:ea typeface="+mn-ea"/>
                <a:cs typeface="Segoe UI Light" panose="020B0502040204020203" pitchFamily="34" charset="0"/>
              </a:endParaRPr>
            </a:p>
          </p:txBody>
        </p:sp>
        <p:grpSp>
          <p:nvGrpSpPr>
            <p:cNvPr id="81" name="Group 80"/>
            <p:cNvGrpSpPr/>
            <p:nvPr/>
          </p:nvGrpSpPr>
          <p:grpSpPr>
            <a:xfrm>
              <a:off x="219373" y="934583"/>
              <a:ext cx="433844" cy="433844"/>
              <a:chOff x="440005" y="997815"/>
              <a:chExt cx="296322" cy="296322"/>
            </a:xfrm>
          </p:grpSpPr>
          <p:sp>
            <p:nvSpPr>
              <p:cNvPr id="101" name="Oval 147"/>
              <p:cNvSpPr/>
              <p:nvPr/>
            </p:nvSpPr>
            <p:spPr bwMode="auto">
              <a:xfrm>
                <a:off x="440005" y="997815"/>
                <a:ext cx="296322" cy="296322"/>
              </a:xfrm>
              <a:prstGeom prst="ellipse">
                <a:avLst/>
              </a:prstGeom>
              <a:solidFill>
                <a:srgbClr val="FFCC00"/>
              </a:solidFill>
              <a:ln>
                <a:solidFill>
                  <a:srgbClr val="F2C81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02" name="Group 332"/>
              <p:cNvGrpSpPr/>
              <p:nvPr/>
            </p:nvGrpSpPr>
            <p:grpSpPr>
              <a:xfrm>
                <a:off x="482167" y="1059311"/>
                <a:ext cx="211997" cy="173292"/>
                <a:chOff x="2123129" y="293070"/>
                <a:chExt cx="2472585" cy="2021178"/>
              </a:xfrm>
            </p:grpSpPr>
            <p:sp>
              <p:nvSpPr>
                <p:cNvPr id="103" name="Freeform 13"/>
                <p:cNvSpPr>
                  <a:spLocks/>
                </p:cNvSpPr>
                <p:nvPr/>
              </p:nvSpPr>
              <p:spPr bwMode="auto">
                <a:xfrm rot="20700000">
                  <a:off x="3155853" y="872796"/>
                  <a:ext cx="1439861" cy="1441452"/>
                </a:xfrm>
                <a:custGeom>
                  <a:avLst/>
                  <a:gdLst>
                    <a:gd name="T0" fmla="*/ 138 w 441"/>
                    <a:gd name="T1" fmla="*/ 341 h 441"/>
                    <a:gd name="T2" fmla="*/ 183 w 441"/>
                    <a:gd name="T3" fmla="*/ 374 h 441"/>
                    <a:gd name="T4" fmla="*/ 220 w 441"/>
                    <a:gd name="T5" fmla="*/ 423 h 441"/>
                    <a:gd name="T6" fmla="*/ 422 w 441"/>
                    <a:gd name="T7" fmla="*/ 220 h 441"/>
                    <a:gd name="T8" fmla="*/ 373 w 441"/>
                    <a:gd name="T9" fmla="*/ 184 h 441"/>
                    <a:gd name="T10" fmla="*/ 341 w 441"/>
                    <a:gd name="T11" fmla="*/ 139 h 441"/>
                    <a:gd name="T12" fmla="*/ 382 w 441"/>
                    <a:gd name="T13" fmla="*/ 58 h 441"/>
                    <a:gd name="T14" fmla="*/ 302 w 441"/>
                    <a:gd name="T15" fmla="*/ 100 h 441"/>
                    <a:gd name="T16" fmla="*/ 257 w 441"/>
                    <a:gd name="T17" fmla="*/ 67 h 441"/>
                    <a:gd name="T18" fmla="*/ 220 w 441"/>
                    <a:gd name="T19" fmla="*/ 18 h 441"/>
                    <a:gd name="T20" fmla="*/ 171 w 441"/>
                    <a:gd name="T21" fmla="*/ 55 h 441"/>
                    <a:gd name="T22" fmla="*/ 138 w 441"/>
                    <a:gd name="T23" fmla="*/ 100 h 441"/>
                    <a:gd name="T24" fmla="*/ 180 w 441"/>
                    <a:gd name="T25" fmla="*/ 181 h 441"/>
                    <a:gd name="T26" fmla="*/ 100 w 441"/>
                    <a:gd name="T27" fmla="*/ 139 h 441"/>
                    <a:gd name="T28" fmla="*/ 55 w 441"/>
                    <a:gd name="T29" fmla="*/ 171 h 441"/>
                    <a:gd name="T30" fmla="*/ 18 w 441"/>
                    <a:gd name="T31" fmla="*/ 220 h 441"/>
                    <a:gd name="T32" fmla="*/ 67 w 441"/>
                    <a:gd name="T33" fmla="*/ 257 h 441"/>
                    <a:gd name="T34" fmla="*/ 100 w 441"/>
                    <a:gd name="T35" fmla="*/ 302 h 441"/>
                    <a:gd name="T36" fmla="*/ 58 w 441"/>
                    <a:gd name="T37" fmla="*/ 383 h 441"/>
                    <a:gd name="T38" fmla="*/ 138 w 441"/>
                    <a:gd name="T39" fmla="*/ 341 h 4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41" h="441">
                      <a:moveTo>
                        <a:pt x="138" y="341"/>
                      </a:moveTo>
                      <a:cubicBezTo>
                        <a:pt x="147" y="337"/>
                        <a:pt x="171" y="361"/>
                        <a:pt x="183" y="374"/>
                      </a:cubicBezTo>
                      <a:cubicBezTo>
                        <a:pt x="196" y="386"/>
                        <a:pt x="220" y="423"/>
                        <a:pt x="220" y="423"/>
                      </a:cubicBezTo>
                      <a:cubicBezTo>
                        <a:pt x="422" y="220"/>
                        <a:pt x="422" y="220"/>
                        <a:pt x="422" y="220"/>
                      </a:cubicBezTo>
                      <a:cubicBezTo>
                        <a:pt x="422" y="220"/>
                        <a:pt x="386" y="196"/>
                        <a:pt x="373" y="184"/>
                      </a:cubicBezTo>
                      <a:cubicBezTo>
                        <a:pt x="361" y="171"/>
                        <a:pt x="338" y="149"/>
                        <a:pt x="341" y="139"/>
                      </a:cubicBezTo>
                      <a:cubicBezTo>
                        <a:pt x="343" y="129"/>
                        <a:pt x="441" y="116"/>
                        <a:pt x="382" y="58"/>
                      </a:cubicBezTo>
                      <a:cubicBezTo>
                        <a:pt x="324" y="0"/>
                        <a:pt x="310" y="96"/>
                        <a:pt x="302" y="100"/>
                      </a:cubicBezTo>
                      <a:cubicBezTo>
                        <a:pt x="294" y="104"/>
                        <a:pt x="269" y="80"/>
                        <a:pt x="257" y="67"/>
                      </a:cubicBezTo>
                      <a:cubicBezTo>
                        <a:pt x="245" y="55"/>
                        <a:pt x="220" y="18"/>
                        <a:pt x="220" y="18"/>
                      </a:cubicBezTo>
                      <a:cubicBezTo>
                        <a:pt x="220" y="18"/>
                        <a:pt x="183" y="43"/>
                        <a:pt x="171" y="55"/>
                      </a:cubicBezTo>
                      <a:cubicBezTo>
                        <a:pt x="159" y="67"/>
                        <a:pt x="134" y="92"/>
                        <a:pt x="138" y="100"/>
                      </a:cubicBezTo>
                      <a:cubicBezTo>
                        <a:pt x="142" y="108"/>
                        <a:pt x="238" y="122"/>
                        <a:pt x="180" y="181"/>
                      </a:cubicBezTo>
                      <a:cubicBezTo>
                        <a:pt x="122" y="239"/>
                        <a:pt x="110" y="141"/>
                        <a:pt x="100" y="139"/>
                      </a:cubicBezTo>
                      <a:cubicBezTo>
                        <a:pt x="89" y="137"/>
                        <a:pt x="67" y="159"/>
                        <a:pt x="55" y="171"/>
                      </a:cubicBezTo>
                      <a:cubicBezTo>
                        <a:pt x="42" y="184"/>
                        <a:pt x="18" y="220"/>
                        <a:pt x="18" y="220"/>
                      </a:cubicBezTo>
                      <a:cubicBezTo>
                        <a:pt x="18" y="220"/>
                        <a:pt x="55" y="245"/>
                        <a:pt x="67" y="257"/>
                      </a:cubicBezTo>
                      <a:cubicBezTo>
                        <a:pt x="79" y="269"/>
                        <a:pt x="102" y="292"/>
                        <a:pt x="100" y="302"/>
                      </a:cubicBezTo>
                      <a:cubicBezTo>
                        <a:pt x="98" y="312"/>
                        <a:pt x="0" y="325"/>
                        <a:pt x="58" y="383"/>
                      </a:cubicBezTo>
                      <a:cubicBezTo>
                        <a:pt x="116" y="441"/>
                        <a:pt x="130" y="345"/>
                        <a:pt x="138" y="341"/>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104" name="Freeform 14"/>
                <p:cNvSpPr>
                  <a:spLocks/>
                </p:cNvSpPr>
                <p:nvPr/>
              </p:nvSpPr>
              <p:spPr bwMode="auto">
                <a:xfrm rot="9900000">
                  <a:off x="2123129" y="293070"/>
                  <a:ext cx="1377948" cy="1377947"/>
                </a:xfrm>
                <a:custGeom>
                  <a:avLst/>
                  <a:gdLst>
                    <a:gd name="T0" fmla="*/ 422 w 422"/>
                    <a:gd name="T1" fmla="*/ 220 h 422"/>
                    <a:gd name="T2" fmla="*/ 386 w 422"/>
                    <a:gd name="T3" fmla="*/ 171 h 422"/>
                    <a:gd name="T4" fmla="*/ 341 w 422"/>
                    <a:gd name="T5" fmla="*/ 138 h 422"/>
                    <a:gd name="T6" fmla="*/ 260 w 422"/>
                    <a:gd name="T7" fmla="*/ 180 h 422"/>
                    <a:gd name="T8" fmla="*/ 302 w 422"/>
                    <a:gd name="T9" fmla="*/ 100 h 422"/>
                    <a:gd name="T10" fmla="*/ 269 w 422"/>
                    <a:gd name="T11" fmla="*/ 55 h 422"/>
                    <a:gd name="T12" fmla="*/ 220 w 422"/>
                    <a:gd name="T13" fmla="*/ 18 h 422"/>
                    <a:gd name="T14" fmla="*/ 183 w 422"/>
                    <a:gd name="T15" fmla="*/ 67 h 422"/>
                    <a:gd name="T16" fmla="*/ 138 w 422"/>
                    <a:gd name="T17" fmla="*/ 100 h 422"/>
                    <a:gd name="T18" fmla="*/ 58 w 422"/>
                    <a:gd name="T19" fmla="*/ 58 h 422"/>
                    <a:gd name="T20" fmla="*/ 100 w 422"/>
                    <a:gd name="T21" fmla="*/ 138 h 422"/>
                    <a:gd name="T22" fmla="*/ 67 w 422"/>
                    <a:gd name="T23" fmla="*/ 183 h 422"/>
                    <a:gd name="T24" fmla="*/ 18 w 422"/>
                    <a:gd name="T25" fmla="*/ 220 h 422"/>
                    <a:gd name="T26" fmla="*/ 55 w 422"/>
                    <a:gd name="T27" fmla="*/ 269 h 422"/>
                    <a:gd name="T28" fmla="*/ 100 w 422"/>
                    <a:gd name="T29" fmla="*/ 302 h 422"/>
                    <a:gd name="T30" fmla="*/ 180 w 422"/>
                    <a:gd name="T31" fmla="*/ 260 h 422"/>
                    <a:gd name="T32" fmla="*/ 138 w 422"/>
                    <a:gd name="T33" fmla="*/ 341 h 422"/>
                    <a:gd name="T34" fmla="*/ 171 w 422"/>
                    <a:gd name="T35" fmla="*/ 386 h 422"/>
                    <a:gd name="T36" fmla="*/ 220 w 422"/>
                    <a:gd name="T37" fmla="*/ 422 h 422"/>
                    <a:gd name="T38" fmla="*/ 422 w 422"/>
                    <a:gd name="T39" fmla="*/ 220 h 4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22" h="422">
                      <a:moveTo>
                        <a:pt x="422" y="220"/>
                      </a:moveTo>
                      <a:cubicBezTo>
                        <a:pt x="422" y="220"/>
                        <a:pt x="398" y="183"/>
                        <a:pt x="386" y="171"/>
                      </a:cubicBezTo>
                      <a:cubicBezTo>
                        <a:pt x="373" y="159"/>
                        <a:pt x="349" y="134"/>
                        <a:pt x="341" y="138"/>
                      </a:cubicBezTo>
                      <a:cubicBezTo>
                        <a:pt x="332" y="142"/>
                        <a:pt x="318" y="239"/>
                        <a:pt x="260" y="180"/>
                      </a:cubicBezTo>
                      <a:cubicBezTo>
                        <a:pt x="202" y="122"/>
                        <a:pt x="300" y="110"/>
                        <a:pt x="302" y="100"/>
                      </a:cubicBezTo>
                      <a:cubicBezTo>
                        <a:pt x="304" y="90"/>
                        <a:pt x="281" y="67"/>
                        <a:pt x="269" y="55"/>
                      </a:cubicBezTo>
                      <a:cubicBezTo>
                        <a:pt x="257" y="42"/>
                        <a:pt x="220" y="18"/>
                        <a:pt x="220" y="18"/>
                      </a:cubicBezTo>
                      <a:cubicBezTo>
                        <a:pt x="220" y="18"/>
                        <a:pt x="196" y="55"/>
                        <a:pt x="183" y="67"/>
                      </a:cubicBezTo>
                      <a:cubicBezTo>
                        <a:pt x="171" y="79"/>
                        <a:pt x="149" y="102"/>
                        <a:pt x="138" y="100"/>
                      </a:cubicBezTo>
                      <a:cubicBezTo>
                        <a:pt x="128" y="98"/>
                        <a:pt x="116" y="0"/>
                        <a:pt x="58" y="58"/>
                      </a:cubicBezTo>
                      <a:cubicBezTo>
                        <a:pt x="0" y="116"/>
                        <a:pt x="96" y="130"/>
                        <a:pt x="100" y="138"/>
                      </a:cubicBezTo>
                      <a:cubicBezTo>
                        <a:pt x="104" y="147"/>
                        <a:pt x="79" y="171"/>
                        <a:pt x="67" y="183"/>
                      </a:cubicBezTo>
                      <a:cubicBezTo>
                        <a:pt x="55" y="196"/>
                        <a:pt x="18" y="220"/>
                        <a:pt x="18" y="220"/>
                      </a:cubicBezTo>
                      <a:cubicBezTo>
                        <a:pt x="18" y="220"/>
                        <a:pt x="42" y="257"/>
                        <a:pt x="55" y="269"/>
                      </a:cubicBezTo>
                      <a:cubicBezTo>
                        <a:pt x="67" y="281"/>
                        <a:pt x="91" y="306"/>
                        <a:pt x="100" y="302"/>
                      </a:cubicBezTo>
                      <a:cubicBezTo>
                        <a:pt x="108" y="298"/>
                        <a:pt x="122" y="202"/>
                        <a:pt x="180" y="260"/>
                      </a:cubicBezTo>
                      <a:cubicBezTo>
                        <a:pt x="238" y="318"/>
                        <a:pt x="140" y="330"/>
                        <a:pt x="138" y="341"/>
                      </a:cubicBezTo>
                      <a:cubicBezTo>
                        <a:pt x="136" y="351"/>
                        <a:pt x="159" y="373"/>
                        <a:pt x="171" y="386"/>
                      </a:cubicBezTo>
                      <a:cubicBezTo>
                        <a:pt x="183" y="398"/>
                        <a:pt x="220" y="422"/>
                        <a:pt x="220" y="422"/>
                      </a:cubicBezTo>
                      <a:lnTo>
                        <a:pt x="422" y="22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grpSp>
        </p:grpSp>
        <p:sp>
          <p:nvSpPr>
            <p:cNvPr id="82" name="Rectangle 152"/>
            <p:cNvSpPr/>
            <p:nvPr/>
          </p:nvSpPr>
          <p:spPr bwMode="auto">
            <a:xfrm>
              <a:off x="669652" y="2738277"/>
              <a:ext cx="1805162" cy="37532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2C812"/>
                  </a:solidFill>
                  <a:effectLst/>
                  <a:uLnTx/>
                  <a:uFillTx/>
                  <a:latin typeface="Segoe UI"/>
                  <a:ea typeface="+mn-ea"/>
                  <a:cs typeface="Segoe UI Light" panose="020B0502040204020203" pitchFamily="34" charset="0"/>
                </a:rPr>
                <a:t>Keeping Data Current</a:t>
              </a:r>
            </a:p>
          </p:txBody>
        </p:sp>
        <p:grpSp>
          <p:nvGrpSpPr>
            <p:cNvPr id="83" name="Group 82"/>
            <p:cNvGrpSpPr/>
            <p:nvPr/>
          </p:nvGrpSpPr>
          <p:grpSpPr>
            <a:xfrm>
              <a:off x="199649" y="2692629"/>
              <a:ext cx="433844" cy="433844"/>
              <a:chOff x="342620" y="2228265"/>
              <a:chExt cx="433844" cy="433844"/>
            </a:xfrm>
            <a:solidFill>
              <a:schemeClr val="bg1"/>
            </a:solidFill>
          </p:grpSpPr>
          <p:sp>
            <p:nvSpPr>
              <p:cNvPr id="99" name="Oval 154"/>
              <p:cNvSpPr/>
              <p:nvPr/>
            </p:nvSpPr>
            <p:spPr bwMode="auto">
              <a:xfrm>
                <a:off x="342620" y="2228265"/>
                <a:ext cx="433844" cy="433844"/>
              </a:xfrm>
              <a:prstGeom prst="ellipse">
                <a:avLst/>
              </a:prstGeom>
              <a:solidFill>
                <a:srgbClr val="FFC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0" name="Freeform 30"/>
              <p:cNvSpPr>
                <a:spLocks noEditPoints="1"/>
              </p:cNvSpPr>
              <p:nvPr/>
            </p:nvSpPr>
            <p:spPr bwMode="auto">
              <a:xfrm>
                <a:off x="444786" y="2340040"/>
                <a:ext cx="238402" cy="210293"/>
              </a:xfrm>
              <a:custGeom>
                <a:avLst/>
                <a:gdLst>
                  <a:gd name="T0" fmla="*/ 883 w 916"/>
                  <a:gd name="T1" fmla="*/ 286 h 808"/>
                  <a:gd name="T2" fmla="*/ 539 w 916"/>
                  <a:gd name="T3" fmla="*/ 723 h 808"/>
                  <a:gd name="T4" fmla="*/ 504 w 916"/>
                  <a:gd name="T5" fmla="*/ 0 h 808"/>
                  <a:gd name="T6" fmla="*/ 35 w 916"/>
                  <a:gd name="T7" fmla="*/ 723 h 808"/>
                  <a:gd name="T8" fmla="*/ 0 w 916"/>
                  <a:gd name="T9" fmla="*/ 808 h 808"/>
                  <a:gd name="T10" fmla="*/ 916 w 916"/>
                  <a:gd name="T11" fmla="*/ 723 h 808"/>
                  <a:gd name="T12" fmla="*/ 229 w 916"/>
                  <a:gd name="T13" fmla="*/ 665 h 808"/>
                  <a:gd name="T14" fmla="*/ 109 w 916"/>
                  <a:gd name="T15" fmla="*/ 596 h 808"/>
                  <a:gd name="T16" fmla="*/ 229 w 916"/>
                  <a:gd name="T17" fmla="*/ 665 h 808"/>
                  <a:gd name="T18" fmla="*/ 109 w 916"/>
                  <a:gd name="T19" fmla="*/ 501 h 808"/>
                  <a:gd name="T20" fmla="*/ 229 w 916"/>
                  <a:gd name="T21" fmla="*/ 432 h 808"/>
                  <a:gd name="T22" fmla="*/ 229 w 916"/>
                  <a:gd name="T23" fmla="*/ 337 h 808"/>
                  <a:gd name="T24" fmla="*/ 109 w 916"/>
                  <a:gd name="T25" fmla="*/ 267 h 808"/>
                  <a:gd name="T26" fmla="*/ 229 w 916"/>
                  <a:gd name="T27" fmla="*/ 337 h 808"/>
                  <a:gd name="T28" fmla="*/ 109 w 916"/>
                  <a:gd name="T29" fmla="*/ 172 h 808"/>
                  <a:gd name="T30" fmla="*/ 229 w 916"/>
                  <a:gd name="T31" fmla="*/ 103 h 808"/>
                  <a:gd name="T32" fmla="*/ 428 w 916"/>
                  <a:gd name="T33" fmla="*/ 665 h 808"/>
                  <a:gd name="T34" fmla="*/ 307 w 916"/>
                  <a:gd name="T35" fmla="*/ 596 h 808"/>
                  <a:gd name="T36" fmla="*/ 428 w 916"/>
                  <a:gd name="T37" fmla="*/ 665 h 808"/>
                  <a:gd name="T38" fmla="*/ 307 w 916"/>
                  <a:gd name="T39" fmla="*/ 501 h 808"/>
                  <a:gd name="T40" fmla="*/ 428 w 916"/>
                  <a:gd name="T41" fmla="*/ 432 h 808"/>
                  <a:gd name="T42" fmla="*/ 428 w 916"/>
                  <a:gd name="T43" fmla="*/ 337 h 808"/>
                  <a:gd name="T44" fmla="*/ 307 w 916"/>
                  <a:gd name="T45" fmla="*/ 267 h 808"/>
                  <a:gd name="T46" fmla="*/ 428 w 916"/>
                  <a:gd name="T47" fmla="*/ 337 h 808"/>
                  <a:gd name="T48" fmla="*/ 307 w 916"/>
                  <a:gd name="T49" fmla="*/ 172 h 808"/>
                  <a:gd name="T50" fmla="*/ 428 w 916"/>
                  <a:gd name="T51" fmla="*/ 103 h 808"/>
                  <a:gd name="T52" fmla="*/ 684 w 916"/>
                  <a:gd name="T53" fmla="*/ 668 h 808"/>
                  <a:gd name="T54" fmla="*/ 606 w 916"/>
                  <a:gd name="T55" fmla="*/ 549 h 808"/>
                  <a:gd name="T56" fmla="*/ 684 w 916"/>
                  <a:gd name="T57" fmla="*/ 668 h 808"/>
                  <a:gd name="T58" fmla="*/ 606 w 916"/>
                  <a:gd name="T59" fmla="*/ 482 h 808"/>
                  <a:gd name="T60" fmla="*/ 684 w 916"/>
                  <a:gd name="T61" fmla="*/ 365 h 808"/>
                  <a:gd name="T62" fmla="*/ 816 w 916"/>
                  <a:gd name="T63" fmla="*/ 668 h 808"/>
                  <a:gd name="T64" fmla="*/ 738 w 916"/>
                  <a:gd name="T65" fmla="*/ 549 h 808"/>
                  <a:gd name="T66" fmla="*/ 816 w 916"/>
                  <a:gd name="T67" fmla="*/ 668 h 808"/>
                  <a:gd name="T68" fmla="*/ 738 w 916"/>
                  <a:gd name="T69" fmla="*/ 482 h 808"/>
                  <a:gd name="T70" fmla="*/ 816 w 916"/>
                  <a:gd name="T71" fmla="*/ 365 h 8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16" h="808">
                    <a:moveTo>
                      <a:pt x="883" y="723"/>
                    </a:moveTo>
                    <a:lnTo>
                      <a:pt x="883" y="286"/>
                    </a:lnTo>
                    <a:lnTo>
                      <a:pt x="539" y="286"/>
                    </a:lnTo>
                    <a:lnTo>
                      <a:pt x="539" y="723"/>
                    </a:lnTo>
                    <a:lnTo>
                      <a:pt x="504" y="723"/>
                    </a:lnTo>
                    <a:lnTo>
                      <a:pt x="504" y="0"/>
                    </a:lnTo>
                    <a:lnTo>
                      <a:pt x="35" y="0"/>
                    </a:lnTo>
                    <a:lnTo>
                      <a:pt x="35" y="723"/>
                    </a:lnTo>
                    <a:lnTo>
                      <a:pt x="0" y="723"/>
                    </a:lnTo>
                    <a:lnTo>
                      <a:pt x="0" y="808"/>
                    </a:lnTo>
                    <a:lnTo>
                      <a:pt x="916" y="808"/>
                    </a:lnTo>
                    <a:lnTo>
                      <a:pt x="916" y="723"/>
                    </a:lnTo>
                    <a:lnTo>
                      <a:pt x="883" y="723"/>
                    </a:lnTo>
                    <a:close/>
                    <a:moveTo>
                      <a:pt x="229" y="665"/>
                    </a:moveTo>
                    <a:lnTo>
                      <a:pt x="109" y="665"/>
                    </a:lnTo>
                    <a:lnTo>
                      <a:pt x="109" y="596"/>
                    </a:lnTo>
                    <a:lnTo>
                      <a:pt x="229" y="596"/>
                    </a:lnTo>
                    <a:lnTo>
                      <a:pt x="229" y="665"/>
                    </a:lnTo>
                    <a:close/>
                    <a:moveTo>
                      <a:pt x="229" y="501"/>
                    </a:moveTo>
                    <a:lnTo>
                      <a:pt x="109" y="501"/>
                    </a:lnTo>
                    <a:lnTo>
                      <a:pt x="109" y="432"/>
                    </a:lnTo>
                    <a:lnTo>
                      <a:pt x="229" y="432"/>
                    </a:lnTo>
                    <a:lnTo>
                      <a:pt x="229" y="501"/>
                    </a:lnTo>
                    <a:close/>
                    <a:moveTo>
                      <a:pt x="229" y="337"/>
                    </a:moveTo>
                    <a:lnTo>
                      <a:pt x="109" y="337"/>
                    </a:lnTo>
                    <a:lnTo>
                      <a:pt x="109" y="267"/>
                    </a:lnTo>
                    <a:lnTo>
                      <a:pt x="229" y="267"/>
                    </a:lnTo>
                    <a:lnTo>
                      <a:pt x="229" y="337"/>
                    </a:lnTo>
                    <a:close/>
                    <a:moveTo>
                      <a:pt x="229" y="172"/>
                    </a:moveTo>
                    <a:lnTo>
                      <a:pt x="109" y="172"/>
                    </a:lnTo>
                    <a:lnTo>
                      <a:pt x="109" y="103"/>
                    </a:lnTo>
                    <a:lnTo>
                      <a:pt x="229" y="103"/>
                    </a:lnTo>
                    <a:lnTo>
                      <a:pt x="229" y="172"/>
                    </a:lnTo>
                    <a:close/>
                    <a:moveTo>
                      <a:pt x="428" y="665"/>
                    </a:moveTo>
                    <a:lnTo>
                      <a:pt x="307" y="665"/>
                    </a:lnTo>
                    <a:lnTo>
                      <a:pt x="307" y="596"/>
                    </a:lnTo>
                    <a:lnTo>
                      <a:pt x="428" y="596"/>
                    </a:lnTo>
                    <a:lnTo>
                      <a:pt x="428" y="665"/>
                    </a:lnTo>
                    <a:close/>
                    <a:moveTo>
                      <a:pt x="428" y="501"/>
                    </a:moveTo>
                    <a:lnTo>
                      <a:pt x="307" y="501"/>
                    </a:lnTo>
                    <a:lnTo>
                      <a:pt x="307" y="432"/>
                    </a:lnTo>
                    <a:lnTo>
                      <a:pt x="428" y="432"/>
                    </a:lnTo>
                    <a:lnTo>
                      <a:pt x="428" y="501"/>
                    </a:lnTo>
                    <a:close/>
                    <a:moveTo>
                      <a:pt x="428" y="337"/>
                    </a:moveTo>
                    <a:lnTo>
                      <a:pt x="307" y="337"/>
                    </a:lnTo>
                    <a:lnTo>
                      <a:pt x="307" y="267"/>
                    </a:lnTo>
                    <a:lnTo>
                      <a:pt x="428" y="267"/>
                    </a:lnTo>
                    <a:lnTo>
                      <a:pt x="428" y="337"/>
                    </a:lnTo>
                    <a:close/>
                    <a:moveTo>
                      <a:pt x="428" y="172"/>
                    </a:moveTo>
                    <a:lnTo>
                      <a:pt x="307" y="172"/>
                    </a:lnTo>
                    <a:lnTo>
                      <a:pt x="307" y="103"/>
                    </a:lnTo>
                    <a:lnTo>
                      <a:pt x="428" y="103"/>
                    </a:lnTo>
                    <a:lnTo>
                      <a:pt x="428" y="172"/>
                    </a:lnTo>
                    <a:close/>
                    <a:moveTo>
                      <a:pt x="684" y="668"/>
                    </a:moveTo>
                    <a:lnTo>
                      <a:pt x="606" y="668"/>
                    </a:lnTo>
                    <a:lnTo>
                      <a:pt x="606" y="549"/>
                    </a:lnTo>
                    <a:lnTo>
                      <a:pt x="684" y="549"/>
                    </a:lnTo>
                    <a:lnTo>
                      <a:pt x="684" y="668"/>
                    </a:lnTo>
                    <a:close/>
                    <a:moveTo>
                      <a:pt x="684" y="482"/>
                    </a:moveTo>
                    <a:lnTo>
                      <a:pt x="606" y="482"/>
                    </a:lnTo>
                    <a:lnTo>
                      <a:pt x="606" y="365"/>
                    </a:lnTo>
                    <a:lnTo>
                      <a:pt x="684" y="365"/>
                    </a:lnTo>
                    <a:lnTo>
                      <a:pt x="684" y="482"/>
                    </a:lnTo>
                    <a:close/>
                    <a:moveTo>
                      <a:pt x="816" y="668"/>
                    </a:moveTo>
                    <a:lnTo>
                      <a:pt x="738" y="668"/>
                    </a:lnTo>
                    <a:lnTo>
                      <a:pt x="738" y="549"/>
                    </a:lnTo>
                    <a:lnTo>
                      <a:pt x="816" y="549"/>
                    </a:lnTo>
                    <a:lnTo>
                      <a:pt x="816" y="668"/>
                    </a:lnTo>
                    <a:close/>
                    <a:moveTo>
                      <a:pt x="816" y="482"/>
                    </a:moveTo>
                    <a:lnTo>
                      <a:pt x="738" y="482"/>
                    </a:lnTo>
                    <a:lnTo>
                      <a:pt x="738" y="365"/>
                    </a:lnTo>
                    <a:lnTo>
                      <a:pt x="816" y="365"/>
                    </a:lnTo>
                    <a:lnTo>
                      <a:pt x="816" y="482"/>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grpSp>
        <p:sp>
          <p:nvSpPr>
            <p:cNvPr id="84" name="TextBox 83"/>
            <p:cNvSpPr txBox="1"/>
            <p:nvPr/>
          </p:nvSpPr>
          <p:spPr>
            <a:xfrm>
              <a:off x="83345" y="113808"/>
              <a:ext cx="2532630" cy="627864"/>
            </a:xfrm>
            <a:prstGeom prst="rect">
              <a:avLst/>
            </a:prstGeom>
            <a:noFill/>
          </p:spPr>
          <p:txBody>
            <a:bodyPr wrap="square" lIns="182880" tIns="146304" rIns="182880" bIns="146304" rtlCol="0">
              <a:spAutoFit/>
            </a:bodyPr>
            <a:lstStyle>
              <a:defPPr>
                <a:defRPr lang="en-US"/>
              </a:defPPr>
              <a:lvl1pPr>
                <a:lnSpc>
                  <a:spcPct val="90000"/>
                </a:lnSpc>
                <a:spcAft>
                  <a:spcPts val="600"/>
                </a:spcAft>
                <a:defRPr sz="2800" b="1">
                  <a:solidFill>
                    <a:srgbClr val="F2C812"/>
                  </a:solidFill>
                  <a:latin typeface="Segoe UI Light"/>
                </a:defRPr>
              </a:lvl1p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400" b="1" i="0" u="none" strike="noStrike" kern="1200" cap="none" spc="0" normalizeH="0" baseline="0" noProof="0">
                  <a:ln>
                    <a:noFill/>
                  </a:ln>
                  <a:solidFill>
                    <a:srgbClr val="F2C812"/>
                  </a:solidFill>
                  <a:effectLst/>
                  <a:uLnTx/>
                  <a:uFillTx/>
                  <a:latin typeface="Segoe UI Light"/>
                  <a:ea typeface="+mn-ea"/>
                  <a:cs typeface="+mn-cs"/>
                </a:rPr>
                <a:t>Power BI Service</a:t>
              </a:r>
              <a:endParaRPr kumimoji="0" lang="en-US" sz="2800" b="1" i="0" u="none" strike="noStrike" kern="1200" cap="none" spc="0" normalizeH="0" baseline="0" noProof="0">
                <a:ln>
                  <a:noFill/>
                </a:ln>
                <a:solidFill>
                  <a:srgbClr val="F2C812"/>
                </a:solidFill>
                <a:effectLst/>
                <a:uLnTx/>
                <a:uFillTx/>
                <a:latin typeface="Segoe UI Light"/>
                <a:ea typeface="+mn-ea"/>
                <a:cs typeface="+mn-cs"/>
              </a:endParaRPr>
            </a:p>
          </p:txBody>
        </p:sp>
        <p:grpSp>
          <p:nvGrpSpPr>
            <p:cNvPr id="85" name="Group 84"/>
            <p:cNvGrpSpPr/>
            <p:nvPr/>
          </p:nvGrpSpPr>
          <p:grpSpPr>
            <a:xfrm>
              <a:off x="219373" y="3621383"/>
              <a:ext cx="433844" cy="645668"/>
              <a:chOff x="280990" y="3358164"/>
              <a:chExt cx="433844" cy="645668"/>
            </a:xfrm>
          </p:grpSpPr>
          <p:sp>
            <p:nvSpPr>
              <p:cNvPr id="92" name="Oval 1083"/>
              <p:cNvSpPr/>
              <p:nvPr/>
            </p:nvSpPr>
            <p:spPr bwMode="auto">
              <a:xfrm>
                <a:off x="280990" y="3358164"/>
                <a:ext cx="433844" cy="433847"/>
              </a:xfrm>
              <a:prstGeom prst="ellipse">
                <a:avLst/>
              </a:prstGeom>
              <a:solidFill>
                <a:srgbClr val="F2C812"/>
              </a:solidFill>
              <a:ln>
                <a:solidFill>
                  <a:srgbClr val="FFCC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93" name="Group 379"/>
              <p:cNvGrpSpPr/>
              <p:nvPr/>
            </p:nvGrpSpPr>
            <p:grpSpPr>
              <a:xfrm>
                <a:off x="453702" y="3910852"/>
                <a:ext cx="175660" cy="92980"/>
                <a:chOff x="3895793" y="7466656"/>
                <a:chExt cx="785810" cy="415941"/>
              </a:xfrm>
              <a:solidFill>
                <a:srgbClr val="00BCF2"/>
              </a:solidFill>
            </p:grpSpPr>
            <p:sp>
              <p:nvSpPr>
                <p:cNvPr id="94" name="Freeform 132"/>
                <p:cNvSpPr>
                  <a:spLocks/>
                </p:cNvSpPr>
                <p:nvPr/>
              </p:nvSpPr>
              <p:spPr bwMode="auto">
                <a:xfrm>
                  <a:off x="4125979" y="7688918"/>
                  <a:ext cx="0" cy="6353"/>
                </a:xfrm>
                <a:custGeom>
                  <a:avLst/>
                  <a:gdLst>
                    <a:gd name="T0" fmla="*/ 1 w 1"/>
                    <a:gd name="T1" fmla="*/ 0 h 8"/>
                    <a:gd name="T2" fmla="*/ 0 w 1"/>
                    <a:gd name="T3" fmla="*/ 0 h 8"/>
                    <a:gd name="T4" fmla="*/ 1 w 1"/>
                    <a:gd name="T5" fmla="*/ 8 h 8"/>
                    <a:gd name="T6" fmla="*/ 1 w 1"/>
                    <a:gd name="T7" fmla="*/ 0 h 8"/>
                  </a:gdLst>
                  <a:ahLst/>
                  <a:cxnLst>
                    <a:cxn ang="0">
                      <a:pos x="T0" y="T1"/>
                    </a:cxn>
                    <a:cxn ang="0">
                      <a:pos x="T2" y="T3"/>
                    </a:cxn>
                    <a:cxn ang="0">
                      <a:pos x="T4" y="T5"/>
                    </a:cxn>
                    <a:cxn ang="0">
                      <a:pos x="T6" y="T7"/>
                    </a:cxn>
                  </a:cxnLst>
                  <a:rect l="0" t="0" r="r" b="b"/>
                  <a:pathLst>
                    <a:path w="1" h="8">
                      <a:moveTo>
                        <a:pt x="1" y="0"/>
                      </a:moveTo>
                      <a:cubicBezTo>
                        <a:pt x="0" y="0"/>
                        <a:pt x="0" y="0"/>
                        <a:pt x="0" y="0"/>
                      </a:cubicBezTo>
                      <a:cubicBezTo>
                        <a:pt x="0" y="3"/>
                        <a:pt x="1" y="5"/>
                        <a:pt x="1" y="8"/>
                      </a:cubicBezTo>
                      <a:lnTo>
                        <a:pt x="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95" name="Freeform 133"/>
                <p:cNvSpPr>
                  <a:spLocks/>
                </p:cNvSpPr>
                <p:nvPr/>
              </p:nvSpPr>
              <p:spPr bwMode="auto">
                <a:xfrm>
                  <a:off x="3895793" y="7812745"/>
                  <a:ext cx="219078" cy="69852"/>
                </a:xfrm>
                <a:custGeom>
                  <a:avLst/>
                  <a:gdLst>
                    <a:gd name="T0" fmla="*/ 186 w 238"/>
                    <a:gd name="T1" fmla="*/ 9 h 76"/>
                    <a:gd name="T2" fmla="*/ 131 w 238"/>
                    <a:gd name="T3" fmla="*/ 22 h 76"/>
                    <a:gd name="T4" fmla="*/ 60 w 238"/>
                    <a:gd name="T5" fmla="*/ 0 h 76"/>
                    <a:gd name="T6" fmla="*/ 0 w 238"/>
                    <a:gd name="T7" fmla="*/ 42 h 76"/>
                    <a:gd name="T8" fmla="*/ 0 w 238"/>
                    <a:gd name="T9" fmla="*/ 76 h 76"/>
                    <a:gd name="T10" fmla="*/ 238 w 238"/>
                    <a:gd name="T11" fmla="*/ 76 h 76"/>
                    <a:gd name="T12" fmla="*/ 236 w 238"/>
                    <a:gd name="T13" fmla="*/ 53 h 76"/>
                    <a:gd name="T14" fmla="*/ 236 w 238"/>
                    <a:gd name="T15" fmla="*/ 49 h 76"/>
                    <a:gd name="T16" fmla="*/ 186 w 238"/>
                    <a:gd name="T17" fmla="*/ 9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8" h="76">
                      <a:moveTo>
                        <a:pt x="186" y="9"/>
                      </a:moveTo>
                      <a:cubicBezTo>
                        <a:pt x="169" y="18"/>
                        <a:pt x="150" y="22"/>
                        <a:pt x="131" y="22"/>
                      </a:cubicBezTo>
                      <a:cubicBezTo>
                        <a:pt x="105" y="22"/>
                        <a:pt x="80" y="14"/>
                        <a:pt x="60" y="0"/>
                      </a:cubicBezTo>
                      <a:cubicBezTo>
                        <a:pt x="0" y="42"/>
                        <a:pt x="0" y="42"/>
                        <a:pt x="0" y="42"/>
                      </a:cubicBezTo>
                      <a:cubicBezTo>
                        <a:pt x="0" y="76"/>
                        <a:pt x="0" y="76"/>
                        <a:pt x="0" y="76"/>
                      </a:cubicBezTo>
                      <a:cubicBezTo>
                        <a:pt x="238" y="76"/>
                        <a:pt x="238" y="76"/>
                        <a:pt x="238" y="76"/>
                      </a:cubicBezTo>
                      <a:cubicBezTo>
                        <a:pt x="237" y="68"/>
                        <a:pt x="236" y="61"/>
                        <a:pt x="236" y="53"/>
                      </a:cubicBezTo>
                      <a:cubicBezTo>
                        <a:pt x="236" y="51"/>
                        <a:pt x="236" y="50"/>
                        <a:pt x="236" y="49"/>
                      </a:cubicBezTo>
                      <a:lnTo>
                        <a:pt x="186" y="9"/>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96" name="Freeform 137"/>
                <p:cNvSpPr>
                  <a:spLocks/>
                </p:cNvSpPr>
                <p:nvPr/>
              </p:nvSpPr>
              <p:spPr bwMode="auto">
                <a:xfrm>
                  <a:off x="4338704" y="7809561"/>
                  <a:ext cx="65090" cy="73028"/>
                </a:xfrm>
                <a:custGeom>
                  <a:avLst/>
                  <a:gdLst>
                    <a:gd name="T0" fmla="*/ 71 w 71"/>
                    <a:gd name="T1" fmla="*/ 79 h 79"/>
                    <a:gd name="T2" fmla="*/ 71 w 71"/>
                    <a:gd name="T3" fmla="*/ 0 h 79"/>
                    <a:gd name="T4" fmla="*/ 2 w 71"/>
                    <a:gd name="T5" fmla="*/ 53 h 79"/>
                    <a:gd name="T6" fmla="*/ 2 w 71"/>
                    <a:gd name="T7" fmla="*/ 56 h 79"/>
                    <a:gd name="T8" fmla="*/ 0 w 71"/>
                    <a:gd name="T9" fmla="*/ 79 h 79"/>
                    <a:gd name="T10" fmla="*/ 71 w 71"/>
                    <a:gd name="T11" fmla="*/ 79 h 79"/>
                  </a:gdLst>
                  <a:ahLst/>
                  <a:cxnLst>
                    <a:cxn ang="0">
                      <a:pos x="T0" y="T1"/>
                    </a:cxn>
                    <a:cxn ang="0">
                      <a:pos x="T2" y="T3"/>
                    </a:cxn>
                    <a:cxn ang="0">
                      <a:pos x="T4" y="T5"/>
                    </a:cxn>
                    <a:cxn ang="0">
                      <a:pos x="T6" y="T7"/>
                    </a:cxn>
                    <a:cxn ang="0">
                      <a:pos x="T8" y="T9"/>
                    </a:cxn>
                    <a:cxn ang="0">
                      <a:pos x="T10" y="T11"/>
                    </a:cxn>
                  </a:cxnLst>
                  <a:rect l="0" t="0" r="r" b="b"/>
                  <a:pathLst>
                    <a:path w="71" h="79">
                      <a:moveTo>
                        <a:pt x="71" y="79"/>
                      </a:moveTo>
                      <a:cubicBezTo>
                        <a:pt x="71" y="0"/>
                        <a:pt x="71" y="0"/>
                        <a:pt x="71" y="0"/>
                      </a:cubicBezTo>
                      <a:cubicBezTo>
                        <a:pt x="2" y="53"/>
                        <a:pt x="2" y="53"/>
                        <a:pt x="2" y="53"/>
                      </a:cubicBezTo>
                      <a:cubicBezTo>
                        <a:pt x="2" y="54"/>
                        <a:pt x="2" y="55"/>
                        <a:pt x="2" y="56"/>
                      </a:cubicBezTo>
                      <a:cubicBezTo>
                        <a:pt x="2" y="64"/>
                        <a:pt x="1" y="71"/>
                        <a:pt x="0" y="79"/>
                      </a:cubicBezTo>
                      <a:lnTo>
                        <a:pt x="71" y="79"/>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97" name="Freeform 140"/>
                <p:cNvSpPr>
                  <a:spLocks/>
                </p:cNvSpPr>
                <p:nvPr/>
              </p:nvSpPr>
              <p:spPr bwMode="auto">
                <a:xfrm>
                  <a:off x="4600643" y="7622229"/>
                  <a:ext cx="80960" cy="38099"/>
                </a:xfrm>
                <a:custGeom>
                  <a:avLst/>
                  <a:gdLst>
                    <a:gd name="T0" fmla="*/ 0 w 51"/>
                    <a:gd name="T1" fmla="*/ 24 h 24"/>
                    <a:gd name="T2" fmla="*/ 51 w 51"/>
                    <a:gd name="T3" fmla="*/ 24 h 24"/>
                    <a:gd name="T4" fmla="*/ 32 w 51"/>
                    <a:gd name="T5" fmla="*/ 0 h 24"/>
                    <a:gd name="T6" fmla="*/ 0 w 51"/>
                    <a:gd name="T7" fmla="*/ 24 h 24"/>
                  </a:gdLst>
                  <a:ahLst/>
                  <a:cxnLst>
                    <a:cxn ang="0">
                      <a:pos x="T0" y="T1"/>
                    </a:cxn>
                    <a:cxn ang="0">
                      <a:pos x="T2" y="T3"/>
                    </a:cxn>
                    <a:cxn ang="0">
                      <a:pos x="T4" y="T5"/>
                    </a:cxn>
                    <a:cxn ang="0">
                      <a:pos x="T6" y="T7"/>
                    </a:cxn>
                  </a:cxnLst>
                  <a:rect l="0" t="0" r="r" b="b"/>
                  <a:pathLst>
                    <a:path w="51" h="24">
                      <a:moveTo>
                        <a:pt x="0" y="24"/>
                      </a:moveTo>
                      <a:lnTo>
                        <a:pt x="51" y="24"/>
                      </a:lnTo>
                      <a:lnTo>
                        <a:pt x="32" y="0"/>
                      </a:lnTo>
                      <a:lnTo>
                        <a:pt x="0" y="24"/>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98" name="Freeform 141"/>
                <p:cNvSpPr>
                  <a:spLocks/>
                </p:cNvSpPr>
                <p:nvPr/>
              </p:nvSpPr>
              <p:spPr bwMode="auto">
                <a:xfrm>
                  <a:off x="4449825" y="7466656"/>
                  <a:ext cx="119065" cy="139703"/>
                </a:xfrm>
                <a:custGeom>
                  <a:avLst/>
                  <a:gdLst>
                    <a:gd name="T0" fmla="*/ 52 w 75"/>
                    <a:gd name="T1" fmla="*/ 0 h 88"/>
                    <a:gd name="T2" fmla="*/ 0 w 75"/>
                    <a:gd name="T3" fmla="*/ 0 h 88"/>
                    <a:gd name="T4" fmla="*/ 0 w 75"/>
                    <a:gd name="T5" fmla="*/ 88 h 88"/>
                    <a:gd name="T6" fmla="*/ 75 w 75"/>
                    <a:gd name="T7" fmla="*/ 30 h 88"/>
                    <a:gd name="T8" fmla="*/ 52 w 75"/>
                    <a:gd name="T9" fmla="*/ 0 h 88"/>
                  </a:gdLst>
                  <a:ahLst/>
                  <a:cxnLst>
                    <a:cxn ang="0">
                      <a:pos x="T0" y="T1"/>
                    </a:cxn>
                    <a:cxn ang="0">
                      <a:pos x="T2" y="T3"/>
                    </a:cxn>
                    <a:cxn ang="0">
                      <a:pos x="T4" y="T5"/>
                    </a:cxn>
                    <a:cxn ang="0">
                      <a:pos x="T6" y="T7"/>
                    </a:cxn>
                    <a:cxn ang="0">
                      <a:pos x="T8" y="T9"/>
                    </a:cxn>
                  </a:cxnLst>
                  <a:rect l="0" t="0" r="r" b="b"/>
                  <a:pathLst>
                    <a:path w="75" h="88">
                      <a:moveTo>
                        <a:pt x="52" y="0"/>
                      </a:moveTo>
                      <a:lnTo>
                        <a:pt x="0" y="0"/>
                      </a:lnTo>
                      <a:lnTo>
                        <a:pt x="0" y="88"/>
                      </a:lnTo>
                      <a:lnTo>
                        <a:pt x="75" y="30"/>
                      </a:lnTo>
                      <a:lnTo>
                        <a:pt x="52"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grpSp>
        </p:grpSp>
        <p:sp>
          <p:nvSpPr>
            <p:cNvPr id="86" name="Rectangle 152"/>
            <p:cNvSpPr/>
            <p:nvPr/>
          </p:nvSpPr>
          <p:spPr bwMode="auto">
            <a:xfrm>
              <a:off x="712458" y="3628917"/>
              <a:ext cx="1805162" cy="37532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2C812"/>
                  </a:solidFill>
                  <a:effectLst/>
                  <a:uLnTx/>
                  <a:uFillTx/>
                  <a:latin typeface="Segoe UI"/>
                  <a:ea typeface="+mn-ea"/>
                  <a:cs typeface="Segoe UI Light" panose="020B0502040204020203" pitchFamily="34" charset="0"/>
                </a:rPr>
                <a:t>Q&amp;A and </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2C812"/>
                  </a:solidFill>
                  <a:effectLst/>
                  <a:uLnTx/>
                  <a:uFillTx/>
                  <a:latin typeface="Segoe UI"/>
                  <a:ea typeface="+mn-ea"/>
                  <a:cs typeface="Segoe UI Light" panose="020B0502040204020203" pitchFamily="34" charset="0"/>
                </a:rPr>
                <a:t>Quick Insights</a:t>
              </a:r>
              <a:endParaRPr kumimoji="0" lang="en-US" sz="1200" b="1" i="0" u="none" strike="noStrike" kern="1200" cap="none" spc="0" normalizeH="0" baseline="0" noProof="0">
                <a:ln>
                  <a:noFill/>
                </a:ln>
                <a:solidFill>
                  <a:srgbClr val="F2C812"/>
                </a:solidFill>
                <a:effectLst/>
                <a:uLnTx/>
                <a:uFillTx/>
                <a:latin typeface="Segoe UI"/>
                <a:ea typeface="+mn-ea"/>
                <a:cs typeface="Segoe UI Light" panose="020B0502040204020203" pitchFamily="34" charset="0"/>
              </a:endParaRPr>
            </a:p>
          </p:txBody>
        </p:sp>
        <p:sp>
          <p:nvSpPr>
            <p:cNvPr id="88" name="Oval 162"/>
            <p:cNvSpPr/>
            <p:nvPr/>
          </p:nvSpPr>
          <p:spPr bwMode="auto">
            <a:xfrm>
              <a:off x="226619" y="4551712"/>
              <a:ext cx="433844" cy="433844"/>
            </a:xfrm>
            <a:prstGeom prst="ellipse">
              <a:avLst/>
            </a:prstGeom>
            <a:solidFill>
              <a:srgbClr val="F2C812"/>
            </a:solidFill>
            <a:ln>
              <a:solidFill>
                <a:srgbClr val="FFCC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9" name="Rectangle 152"/>
            <p:cNvSpPr/>
            <p:nvPr/>
          </p:nvSpPr>
          <p:spPr bwMode="auto">
            <a:xfrm>
              <a:off x="738443" y="4596194"/>
              <a:ext cx="1884825" cy="30233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2C812"/>
                  </a:solidFill>
                  <a:effectLst/>
                  <a:uLnTx/>
                  <a:uFillTx/>
                  <a:latin typeface="Segoe UI"/>
                  <a:ea typeface="+mn-ea"/>
                  <a:cs typeface="Segoe UI Light" panose="020B0502040204020203" pitchFamily="34" charset="0"/>
                </a:rPr>
                <a:t>Sharing</a:t>
              </a:r>
              <a:endParaRPr kumimoji="0" lang="en-US" sz="1200" b="1" i="1" u="none" strike="noStrike" kern="1200" cap="none" spc="0" normalizeH="0" baseline="0" noProof="0">
                <a:ln>
                  <a:noFill/>
                </a:ln>
                <a:solidFill>
                  <a:srgbClr val="F2C812"/>
                </a:solidFill>
                <a:effectLst/>
                <a:uLnTx/>
                <a:uFillTx/>
                <a:latin typeface="Segoe UI"/>
                <a:ea typeface="+mn-ea"/>
                <a:cs typeface="Segoe UI Light" panose="020B0502040204020203" pitchFamily="34" charset="0"/>
              </a:endParaRPr>
            </a:p>
          </p:txBody>
        </p:sp>
        <p:sp>
          <p:nvSpPr>
            <p:cNvPr id="90" name="Rectangle 145"/>
            <p:cNvSpPr/>
            <p:nvPr/>
          </p:nvSpPr>
          <p:spPr bwMode="auto">
            <a:xfrm>
              <a:off x="697198" y="1847637"/>
              <a:ext cx="1821468" cy="3831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2C812"/>
                  </a:solidFill>
                  <a:effectLst/>
                  <a:uLnTx/>
                  <a:uFillTx/>
                  <a:latin typeface="Segoe UI"/>
                  <a:ea typeface="+mn-ea"/>
                  <a:cs typeface="Segoe UI Light" panose="020B0502040204020203" pitchFamily="34" charset="0"/>
                </a:rPr>
                <a:t>Pinning and Navigation</a:t>
              </a:r>
            </a:p>
          </p:txBody>
        </p:sp>
        <p:sp>
          <p:nvSpPr>
            <p:cNvPr id="91" name="Oval 162"/>
            <p:cNvSpPr/>
            <p:nvPr/>
          </p:nvSpPr>
          <p:spPr bwMode="auto">
            <a:xfrm>
              <a:off x="224136" y="1813606"/>
              <a:ext cx="433844" cy="433844"/>
            </a:xfrm>
            <a:prstGeom prst="ellipse">
              <a:avLst/>
            </a:prstGeom>
            <a:solidFill>
              <a:srgbClr val="FFCC00"/>
            </a:solidFill>
            <a:ln>
              <a:solidFill>
                <a:srgbClr val="F2C81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pic>
        <p:nvPicPr>
          <p:cNvPr id="105" name="Picture 104"/>
          <p:cNvPicPr>
            <a:picLocks noChangeAspect="1"/>
          </p:cNvPicPr>
          <p:nvPr/>
        </p:nvPicPr>
        <p:blipFill rotWithShape="1">
          <a:blip r:embed="rId4"/>
          <a:srcRect l="6503" t="21287" r="74698" b="20220"/>
          <a:stretch/>
        </p:blipFill>
        <p:spPr>
          <a:xfrm>
            <a:off x="339111" y="1946110"/>
            <a:ext cx="228600" cy="231962"/>
          </a:xfrm>
          <a:prstGeom prst="rect">
            <a:avLst/>
          </a:prstGeom>
        </p:spPr>
      </p:pic>
      <p:pic>
        <p:nvPicPr>
          <p:cNvPr id="106" name="Picture 105"/>
          <p:cNvPicPr>
            <a:picLocks noChangeAspect="1"/>
          </p:cNvPicPr>
          <p:nvPr/>
        </p:nvPicPr>
        <p:blipFill>
          <a:blip r:embed="rId5"/>
          <a:stretch>
            <a:fillRect/>
          </a:stretch>
        </p:blipFill>
        <p:spPr>
          <a:xfrm>
            <a:off x="284769" y="3673076"/>
            <a:ext cx="311766" cy="303106"/>
          </a:xfrm>
          <a:prstGeom prst="rect">
            <a:avLst/>
          </a:prstGeom>
        </p:spPr>
      </p:pic>
      <p:sp>
        <p:nvSpPr>
          <p:cNvPr id="107" name="Rectangle 145"/>
          <p:cNvSpPr/>
          <p:nvPr/>
        </p:nvSpPr>
        <p:spPr bwMode="auto">
          <a:xfrm>
            <a:off x="718897" y="5436715"/>
            <a:ext cx="1821468" cy="3831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2C812"/>
                </a:solidFill>
                <a:effectLst/>
                <a:uLnTx/>
                <a:uFillTx/>
                <a:latin typeface="Segoe UI"/>
                <a:ea typeface="+mn-ea"/>
                <a:cs typeface="Segoe UI Light" panose="020B0502040204020203" pitchFamily="34" charset="0"/>
              </a:rPr>
              <a:t>Connect from Excel</a:t>
            </a:r>
          </a:p>
        </p:txBody>
      </p:sp>
      <p:sp>
        <p:nvSpPr>
          <p:cNvPr id="108" name="Oval 162"/>
          <p:cNvSpPr/>
          <p:nvPr/>
        </p:nvSpPr>
        <p:spPr bwMode="auto">
          <a:xfrm>
            <a:off x="231441" y="5429649"/>
            <a:ext cx="433844" cy="433844"/>
          </a:xfrm>
          <a:prstGeom prst="ellipse">
            <a:avLst/>
          </a:prstGeom>
          <a:solidFill>
            <a:srgbClr val="FFCC00"/>
          </a:solidFill>
          <a:ln>
            <a:solidFill>
              <a:srgbClr val="F2C81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09" name="Picture 108"/>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flipH="1">
            <a:off x="283763" y="4596680"/>
            <a:ext cx="357484" cy="357484"/>
          </a:xfrm>
          <a:prstGeom prst="rect">
            <a:avLst/>
          </a:prstGeom>
        </p:spPr>
      </p:pic>
      <p:sp>
        <p:nvSpPr>
          <p:cNvPr id="110" name="Oval 162"/>
          <p:cNvSpPr/>
          <p:nvPr/>
        </p:nvSpPr>
        <p:spPr bwMode="auto">
          <a:xfrm>
            <a:off x="233032" y="6267344"/>
            <a:ext cx="433844" cy="433844"/>
          </a:xfrm>
          <a:prstGeom prst="ellipse">
            <a:avLst/>
          </a:prstGeom>
          <a:solidFill>
            <a:srgbClr val="FFCC00"/>
          </a:solidFill>
          <a:ln>
            <a:solidFill>
              <a:srgbClr val="F2C81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1" name="Rectangle 145"/>
          <p:cNvSpPr/>
          <p:nvPr/>
        </p:nvSpPr>
        <p:spPr bwMode="auto">
          <a:xfrm>
            <a:off x="701416" y="6289969"/>
            <a:ext cx="1821468" cy="3831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2C812"/>
                </a:solidFill>
                <a:effectLst/>
                <a:uLnTx/>
                <a:uFillTx/>
                <a:latin typeface="Segoe UI"/>
                <a:ea typeface="+mn-ea"/>
                <a:cs typeface="Segoe UI Light" panose="020B0502040204020203" pitchFamily="34" charset="0"/>
              </a:rPr>
              <a:t>Mobile Reports</a:t>
            </a:r>
          </a:p>
        </p:txBody>
      </p:sp>
      <p:pic>
        <p:nvPicPr>
          <p:cNvPr id="112" name="Picture 111"/>
          <p:cNvPicPr>
            <a:picLocks noChangeAspect="1"/>
          </p:cNvPicPr>
          <p:nvPr/>
        </p:nvPicPr>
        <p:blipFill>
          <a:blip r:embed="rId7" cstate="print">
            <a:extLst>
              <a:ext uri="{BEBA8EAE-BF5A-486C-A8C5-ECC9F3942E4B}">
                <a14:imgProps xmlns:a14="http://schemas.microsoft.com/office/drawing/2010/main">
                  <a14:imgLayer r:embed="rId8">
                    <a14:imgEffect>
                      <a14:saturation sat="0"/>
                    </a14:imgEffect>
                  </a14:imgLayer>
                </a14:imgProps>
              </a:ext>
              <a:ext uri="{28A0092B-C50C-407E-A947-70E740481C1C}">
                <a14:useLocalDpi xmlns:a14="http://schemas.microsoft.com/office/drawing/2010/main" val="0"/>
              </a:ext>
            </a:extLst>
          </a:blip>
          <a:stretch>
            <a:fillRect/>
          </a:stretch>
        </p:blipFill>
        <p:spPr>
          <a:xfrm>
            <a:off x="391946" y="6350039"/>
            <a:ext cx="133350" cy="251587"/>
          </a:xfrm>
          <a:prstGeom prst="rect">
            <a:avLst/>
          </a:prstGeom>
        </p:spPr>
      </p:pic>
      <p:pic>
        <p:nvPicPr>
          <p:cNvPr id="113" name="Picture 112"/>
          <p:cNvPicPr>
            <a:picLocks noChangeAspect="1"/>
          </p:cNvPicPr>
          <p:nvPr/>
        </p:nvPicPr>
        <p:blipFill>
          <a:blip r:embed="rId9" cstate="print">
            <a:biLevel thresh="50000"/>
            <a:extLst>
              <a:ext uri="{28A0092B-C50C-407E-A947-70E740481C1C}">
                <a14:useLocalDpi xmlns:a14="http://schemas.microsoft.com/office/drawing/2010/main" val="0"/>
              </a:ext>
            </a:extLst>
          </a:blip>
          <a:stretch>
            <a:fillRect/>
          </a:stretch>
        </p:blipFill>
        <p:spPr>
          <a:xfrm>
            <a:off x="332658" y="5538489"/>
            <a:ext cx="268940" cy="268940"/>
          </a:xfrm>
          <a:prstGeom prst="rect">
            <a:avLst/>
          </a:prstGeom>
        </p:spPr>
      </p:pic>
      <p:sp>
        <p:nvSpPr>
          <p:cNvPr id="114" name="Rectangle 113"/>
          <p:cNvSpPr/>
          <p:nvPr/>
        </p:nvSpPr>
        <p:spPr bwMode="auto">
          <a:xfrm>
            <a:off x="35912" y="5223435"/>
            <a:ext cx="2464420" cy="1564989"/>
          </a:xfrm>
          <a:prstGeom prst="rect">
            <a:avLst/>
          </a:prstGeom>
          <a:solidFill>
            <a:srgbClr val="000000">
              <a:alpha val="6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5" name="Rectangle 114"/>
          <p:cNvSpPr/>
          <p:nvPr/>
        </p:nvSpPr>
        <p:spPr bwMode="auto">
          <a:xfrm>
            <a:off x="95936" y="731575"/>
            <a:ext cx="2464420" cy="3635751"/>
          </a:xfrm>
          <a:prstGeom prst="rect">
            <a:avLst/>
          </a:prstGeom>
          <a:solidFill>
            <a:srgbClr val="000000">
              <a:alpha val="6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11563057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 name="Title 10"/>
          <p:cNvSpPr txBox="1">
            <a:spLocks/>
          </p:cNvSpPr>
          <p:nvPr/>
        </p:nvSpPr>
        <p:spPr>
          <a:xfrm>
            <a:off x="2849060" y="0"/>
            <a:ext cx="9342940" cy="665151"/>
          </a:xfrm>
          <a:prstGeom prst="rect">
            <a:avLst/>
          </a:prstGeom>
          <a:noFill/>
        </p:spPr>
        <p:txBody>
          <a:bodyPr vert="horz" wrap="square" lIns="0" tIns="91440" rIns="0" bIns="91440" rtlCol="0" anchor="t">
            <a:noAutofit/>
          </a:bodyPr>
          <a:lstStyle>
            <a:lvl1pPr defTabSz="914367">
              <a:lnSpc>
                <a:spcPct val="90000"/>
              </a:lnSpc>
              <a:spcBef>
                <a:spcPct val="0"/>
              </a:spcBef>
              <a:buNone/>
              <a:defRPr lang="en-US" sz="5294" b="0" cap="none" spc="-100" baseline="0" dirty="0" smtClean="0">
                <a:ln w="3175">
                  <a:noFill/>
                </a:ln>
                <a:solidFill>
                  <a:schemeClr val="tx2"/>
                </a:solidFill>
                <a:effectLst/>
                <a:latin typeface="+mj-lt"/>
                <a:cs typeface="Segoe UI" pitchFamily="34" charset="0"/>
              </a:defRPr>
            </a:lvl1pPr>
          </a:lstStyle>
          <a:p>
            <a:pPr marL="168275" marR="0" lvl="0" indent="0" algn="l" defTabSz="914367" rtl="0" eaLnBrk="1" fontAlgn="auto" latinLnBrk="0" hangingPunct="1">
              <a:lnSpc>
                <a:spcPct val="90000"/>
              </a:lnSpc>
              <a:spcBef>
                <a:spcPct val="0"/>
              </a:spcBef>
              <a:spcAft>
                <a:spcPts val="0"/>
              </a:spcAft>
              <a:buClrTx/>
              <a:buSzTx/>
              <a:buFontTx/>
              <a:buNone/>
              <a:tabLst/>
              <a:defRPr/>
            </a:pPr>
            <a:r>
              <a:rPr kumimoji="0" lang="en-US" sz="3600" b="0" i="0" u="none" strike="noStrike" kern="1200" cap="none" spc="-100" normalizeH="0" baseline="0" noProof="0">
                <a:ln w="3175">
                  <a:noFill/>
                </a:ln>
                <a:solidFill>
                  <a:prstClr val="black"/>
                </a:solidFill>
                <a:effectLst/>
                <a:uLnTx/>
                <a:uFillTx/>
                <a:latin typeface="Segoe UI Light"/>
                <a:ea typeface="+mn-ea"/>
                <a:cs typeface="Segoe UI" pitchFamily="34" charset="0"/>
              </a:rPr>
              <a:t>Sharing</a:t>
            </a:r>
            <a:endParaRPr kumimoji="0" lang="en-IN" sz="3600" b="0" i="0" u="none" strike="noStrike" kern="1200" cap="none" spc="-100" normalizeH="0" baseline="0" noProof="0">
              <a:ln w="3175">
                <a:noFill/>
              </a:ln>
              <a:solidFill>
                <a:prstClr val="black"/>
              </a:solidFill>
              <a:effectLst/>
              <a:uLnTx/>
              <a:uFillTx/>
              <a:latin typeface="Segoe UI Light"/>
              <a:ea typeface="+mn-ea"/>
              <a:cs typeface="Segoe UI" pitchFamily="34" charset="0"/>
            </a:endParaRPr>
          </a:p>
        </p:txBody>
      </p:sp>
      <p:sp>
        <p:nvSpPr>
          <p:cNvPr id="41" name="Rectangle 3"/>
          <p:cNvSpPr/>
          <p:nvPr/>
        </p:nvSpPr>
        <p:spPr bwMode="auto">
          <a:xfrm>
            <a:off x="3202216" y="704712"/>
            <a:ext cx="8105312" cy="44435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PT" sz="2000" b="0" i="1" u="none" strike="noStrike" kern="1200" cap="none" spc="0" normalizeH="0" baseline="0" noProof="0">
                <a:ln>
                  <a:noFill/>
                </a:ln>
                <a:solidFill>
                  <a:prstClr val="black"/>
                </a:solidFill>
                <a:effectLst/>
                <a:uLnTx/>
                <a:uFillTx/>
                <a:latin typeface="Segoe UI Light"/>
                <a:ea typeface="+mn-ea"/>
                <a:cs typeface="+mn-cs"/>
              </a:rPr>
              <a:t>Power BI Embbeded</a:t>
            </a:r>
            <a:endParaRPr kumimoji="0" lang="en-US" sz="2000" b="0" i="1" u="none" strike="noStrike" kern="1200" cap="none" spc="0" normalizeH="0" baseline="0" noProof="0">
              <a:ln>
                <a:noFill/>
              </a:ln>
              <a:solidFill>
                <a:prstClr val="black"/>
              </a:solidFill>
              <a:effectLst/>
              <a:uLnTx/>
              <a:uFillTx/>
              <a:latin typeface="Segoe UI Light"/>
              <a:ea typeface="+mn-ea"/>
              <a:cs typeface="+mn-cs"/>
            </a:endParaRPr>
          </a:p>
        </p:txBody>
      </p:sp>
      <p:sp>
        <p:nvSpPr>
          <p:cNvPr id="87" name="Text Placeholder 2"/>
          <p:cNvSpPr txBox="1">
            <a:spLocks/>
          </p:cNvSpPr>
          <p:nvPr/>
        </p:nvSpPr>
        <p:spPr>
          <a:xfrm>
            <a:off x="2944994" y="1399436"/>
            <a:ext cx="9033488" cy="897374"/>
          </a:xfrm>
          <a:prstGeom prst="rect">
            <a:avLst/>
          </a:prstGeom>
        </p:spPr>
        <p:txBody>
          <a:bodyPr vert="horz" wrap="square" lIns="182880" tIns="146304" rIns="182880" bIns="146304" rtlCol="0">
            <a:noAutofit/>
          </a:bodyPr>
          <a:lstStyle>
            <a:lvl1pPr marL="182845" marR="0"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3921" kern="1200" spc="0" baseline="0">
                <a:gradFill>
                  <a:gsLst>
                    <a:gs pos="1250">
                      <a:schemeClr val="tx2"/>
                    </a:gs>
                    <a:gs pos="99000">
                      <a:schemeClr val="tx2"/>
                    </a:gs>
                  </a:gsLst>
                  <a:lin ang="5400000" scaled="0"/>
                </a:gradFill>
                <a:latin typeface="+mj-lt"/>
                <a:ea typeface="+mn-ea"/>
                <a:cs typeface="+mn-cs"/>
              </a:defRPr>
            </a:lvl1pPr>
            <a:lvl2pPr marL="365690" marR="0"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2400" kern="1200" spc="0" baseline="0">
                <a:solidFill>
                  <a:schemeClr val="tx2"/>
                </a:solidFill>
                <a:latin typeface="+mj-lt"/>
                <a:ea typeface="+mn-ea"/>
                <a:cs typeface="+mn-cs"/>
              </a:defRPr>
            </a:lvl2pPr>
            <a:lvl3pPr marL="548535" marR="0"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2000" kern="1200" spc="0" baseline="0">
                <a:solidFill>
                  <a:schemeClr val="tx2"/>
                </a:solidFill>
                <a:latin typeface="+mj-lt"/>
                <a:ea typeface="+mn-ea"/>
                <a:cs typeface="+mn-cs"/>
              </a:defRPr>
            </a:lvl3pPr>
            <a:lvl4pPr marL="733802" marR="0" indent="-28569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1765" kern="1200" spc="0" baseline="0">
                <a:solidFill>
                  <a:schemeClr val="tx2"/>
                </a:solidFill>
                <a:latin typeface="+mn-lt"/>
                <a:ea typeface="+mn-ea"/>
                <a:cs typeface="+mn-cs"/>
              </a:defRPr>
            </a:lvl4pPr>
            <a:lvl5pPr marL="957856" marR="0" indent="-28569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1765" kern="1200" spc="0" baseline="0">
                <a:solidFill>
                  <a:schemeClr val="tx2"/>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r>
              <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rPr>
              <a:t>Is a new </a:t>
            </a:r>
            <a:r>
              <a:rPr kumimoji="0" lang="en-US" sz="2000" b="1"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rPr>
              <a:t>Azure service </a:t>
            </a:r>
            <a:r>
              <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rPr>
              <a:t>that allows the inclusion of Power BI </a:t>
            </a:r>
            <a:r>
              <a:rPr kumimoji="0" lang="en-US" sz="2000" b="1"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rPr>
              <a:t>visualizations</a:t>
            </a:r>
            <a:r>
              <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rPr>
              <a:t> inside of </a:t>
            </a:r>
            <a:r>
              <a:rPr kumimoji="0" lang="en-US" sz="2000" b="1"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rPr>
              <a:t>custom desktop or mobile apps </a:t>
            </a:r>
            <a:r>
              <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rPr>
              <a:t>(through iframe)</a:t>
            </a: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r>
              <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rPr>
              <a:t> Users of the </a:t>
            </a:r>
            <a:r>
              <a:rPr kumimoji="0" lang="en-US" sz="2000" b="1"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rPr>
              <a:t>application</a:t>
            </a:r>
            <a:r>
              <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rPr>
              <a:t> don’t need to be Power BI users (pricing is per rendering)</a:t>
            </a: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1"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p:txBody>
      </p:sp>
      <p:grpSp>
        <p:nvGrpSpPr>
          <p:cNvPr id="42" name="Group 41"/>
          <p:cNvGrpSpPr/>
          <p:nvPr/>
        </p:nvGrpSpPr>
        <p:grpSpPr>
          <a:xfrm>
            <a:off x="-2887" y="973"/>
            <a:ext cx="2849058" cy="6857027"/>
            <a:chOff x="2" y="487"/>
            <a:chExt cx="2849058" cy="6857027"/>
          </a:xfrm>
        </p:grpSpPr>
        <p:sp>
          <p:nvSpPr>
            <p:cNvPr id="51" name="Rectangle 15"/>
            <p:cNvSpPr/>
            <p:nvPr/>
          </p:nvSpPr>
          <p:spPr bwMode="auto">
            <a:xfrm>
              <a:off x="2" y="487"/>
              <a:ext cx="2849058" cy="685702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0" name="Rectangle 145"/>
            <p:cNvSpPr/>
            <p:nvPr/>
          </p:nvSpPr>
          <p:spPr bwMode="auto">
            <a:xfrm>
              <a:off x="696152" y="956997"/>
              <a:ext cx="1821468" cy="3831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2C812"/>
                  </a:solidFill>
                  <a:effectLst/>
                  <a:uLnTx/>
                  <a:uFillTx/>
                  <a:latin typeface="Segoe UI"/>
                  <a:ea typeface="+mn-ea"/>
                  <a:cs typeface="Segoe UI Light" panose="020B0502040204020203" pitchFamily="34" charset="0"/>
                </a:rPr>
                <a:t>Get Data</a:t>
              </a:r>
              <a:endParaRPr kumimoji="0" lang="en-US" sz="1200" b="1" i="1" u="none" strike="noStrike" kern="1200" cap="none" spc="0" normalizeH="0" baseline="0" noProof="0">
                <a:ln>
                  <a:noFill/>
                </a:ln>
                <a:solidFill>
                  <a:srgbClr val="F2C812"/>
                </a:solidFill>
                <a:effectLst/>
                <a:uLnTx/>
                <a:uFillTx/>
                <a:latin typeface="Segoe UI"/>
                <a:ea typeface="+mn-ea"/>
                <a:cs typeface="Segoe UI Light" panose="020B0502040204020203" pitchFamily="34" charset="0"/>
              </a:endParaRPr>
            </a:p>
          </p:txBody>
        </p:sp>
        <p:grpSp>
          <p:nvGrpSpPr>
            <p:cNvPr id="81" name="Group 80"/>
            <p:cNvGrpSpPr/>
            <p:nvPr/>
          </p:nvGrpSpPr>
          <p:grpSpPr>
            <a:xfrm>
              <a:off x="219373" y="934583"/>
              <a:ext cx="433844" cy="433844"/>
              <a:chOff x="440005" y="997815"/>
              <a:chExt cx="296322" cy="296322"/>
            </a:xfrm>
          </p:grpSpPr>
          <p:sp>
            <p:nvSpPr>
              <p:cNvPr id="101" name="Oval 147"/>
              <p:cNvSpPr/>
              <p:nvPr/>
            </p:nvSpPr>
            <p:spPr bwMode="auto">
              <a:xfrm>
                <a:off x="440005" y="997815"/>
                <a:ext cx="296322" cy="296322"/>
              </a:xfrm>
              <a:prstGeom prst="ellipse">
                <a:avLst/>
              </a:prstGeom>
              <a:solidFill>
                <a:srgbClr val="FFCC00"/>
              </a:solidFill>
              <a:ln>
                <a:solidFill>
                  <a:srgbClr val="F2C81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02" name="Group 332"/>
              <p:cNvGrpSpPr/>
              <p:nvPr/>
            </p:nvGrpSpPr>
            <p:grpSpPr>
              <a:xfrm>
                <a:off x="482167" y="1059311"/>
                <a:ext cx="211997" cy="173292"/>
                <a:chOff x="2123129" y="293070"/>
                <a:chExt cx="2472585" cy="2021178"/>
              </a:xfrm>
            </p:grpSpPr>
            <p:sp>
              <p:nvSpPr>
                <p:cNvPr id="103" name="Freeform 13"/>
                <p:cNvSpPr>
                  <a:spLocks/>
                </p:cNvSpPr>
                <p:nvPr/>
              </p:nvSpPr>
              <p:spPr bwMode="auto">
                <a:xfrm rot="20700000">
                  <a:off x="3155853" y="872796"/>
                  <a:ext cx="1439861" cy="1441452"/>
                </a:xfrm>
                <a:custGeom>
                  <a:avLst/>
                  <a:gdLst>
                    <a:gd name="T0" fmla="*/ 138 w 441"/>
                    <a:gd name="T1" fmla="*/ 341 h 441"/>
                    <a:gd name="T2" fmla="*/ 183 w 441"/>
                    <a:gd name="T3" fmla="*/ 374 h 441"/>
                    <a:gd name="T4" fmla="*/ 220 w 441"/>
                    <a:gd name="T5" fmla="*/ 423 h 441"/>
                    <a:gd name="T6" fmla="*/ 422 w 441"/>
                    <a:gd name="T7" fmla="*/ 220 h 441"/>
                    <a:gd name="T8" fmla="*/ 373 w 441"/>
                    <a:gd name="T9" fmla="*/ 184 h 441"/>
                    <a:gd name="T10" fmla="*/ 341 w 441"/>
                    <a:gd name="T11" fmla="*/ 139 h 441"/>
                    <a:gd name="T12" fmla="*/ 382 w 441"/>
                    <a:gd name="T13" fmla="*/ 58 h 441"/>
                    <a:gd name="T14" fmla="*/ 302 w 441"/>
                    <a:gd name="T15" fmla="*/ 100 h 441"/>
                    <a:gd name="T16" fmla="*/ 257 w 441"/>
                    <a:gd name="T17" fmla="*/ 67 h 441"/>
                    <a:gd name="T18" fmla="*/ 220 w 441"/>
                    <a:gd name="T19" fmla="*/ 18 h 441"/>
                    <a:gd name="T20" fmla="*/ 171 w 441"/>
                    <a:gd name="T21" fmla="*/ 55 h 441"/>
                    <a:gd name="T22" fmla="*/ 138 w 441"/>
                    <a:gd name="T23" fmla="*/ 100 h 441"/>
                    <a:gd name="T24" fmla="*/ 180 w 441"/>
                    <a:gd name="T25" fmla="*/ 181 h 441"/>
                    <a:gd name="T26" fmla="*/ 100 w 441"/>
                    <a:gd name="T27" fmla="*/ 139 h 441"/>
                    <a:gd name="T28" fmla="*/ 55 w 441"/>
                    <a:gd name="T29" fmla="*/ 171 h 441"/>
                    <a:gd name="T30" fmla="*/ 18 w 441"/>
                    <a:gd name="T31" fmla="*/ 220 h 441"/>
                    <a:gd name="T32" fmla="*/ 67 w 441"/>
                    <a:gd name="T33" fmla="*/ 257 h 441"/>
                    <a:gd name="T34" fmla="*/ 100 w 441"/>
                    <a:gd name="T35" fmla="*/ 302 h 441"/>
                    <a:gd name="T36" fmla="*/ 58 w 441"/>
                    <a:gd name="T37" fmla="*/ 383 h 441"/>
                    <a:gd name="T38" fmla="*/ 138 w 441"/>
                    <a:gd name="T39" fmla="*/ 341 h 4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41" h="441">
                      <a:moveTo>
                        <a:pt x="138" y="341"/>
                      </a:moveTo>
                      <a:cubicBezTo>
                        <a:pt x="147" y="337"/>
                        <a:pt x="171" y="361"/>
                        <a:pt x="183" y="374"/>
                      </a:cubicBezTo>
                      <a:cubicBezTo>
                        <a:pt x="196" y="386"/>
                        <a:pt x="220" y="423"/>
                        <a:pt x="220" y="423"/>
                      </a:cubicBezTo>
                      <a:cubicBezTo>
                        <a:pt x="422" y="220"/>
                        <a:pt x="422" y="220"/>
                        <a:pt x="422" y="220"/>
                      </a:cubicBezTo>
                      <a:cubicBezTo>
                        <a:pt x="422" y="220"/>
                        <a:pt x="386" y="196"/>
                        <a:pt x="373" y="184"/>
                      </a:cubicBezTo>
                      <a:cubicBezTo>
                        <a:pt x="361" y="171"/>
                        <a:pt x="338" y="149"/>
                        <a:pt x="341" y="139"/>
                      </a:cubicBezTo>
                      <a:cubicBezTo>
                        <a:pt x="343" y="129"/>
                        <a:pt x="441" y="116"/>
                        <a:pt x="382" y="58"/>
                      </a:cubicBezTo>
                      <a:cubicBezTo>
                        <a:pt x="324" y="0"/>
                        <a:pt x="310" y="96"/>
                        <a:pt x="302" y="100"/>
                      </a:cubicBezTo>
                      <a:cubicBezTo>
                        <a:pt x="294" y="104"/>
                        <a:pt x="269" y="80"/>
                        <a:pt x="257" y="67"/>
                      </a:cubicBezTo>
                      <a:cubicBezTo>
                        <a:pt x="245" y="55"/>
                        <a:pt x="220" y="18"/>
                        <a:pt x="220" y="18"/>
                      </a:cubicBezTo>
                      <a:cubicBezTo>
                        <a:pt x="220" y="18"/>
                        <a:pt x="183" y="43"/>
                        <a:pt x="171" y="55"/>
                      </a:cubicBezTo>
                      <a:cubicBezTo>
                        <a:pt x="159" y="67"/>
                        <a:pt x="134" y="92"/>
                        <a:pt x="138" y="100"/>
                      </a:cubicBezTo>
                      <a:cubicBezTo>
                        <a:pt x="142" y="108"/>
                        <a:pt x="238" y="122"/>
                        <a:pt x="180" y="181"/>
                      </a:cubicBezTo>
                      <a:cubicBezTo>
                        <a:pt x="122" y="239"/>
                        <a:pt x="110" y="141"/>
                        <a:pt x="100" y="139"/>
                      </a:cubicBezTo>
                      <a:cubicBezTo>
                        <a:pt x="89" y="137"/>
                        <a:pt x="67" y="159"/>
                        <a:pt x="55" y="171"/>
                      </a:cubicBezTo>
                      <a:cubicBezTo>
                        <a:pt x="42" y="184"/>
                        <a:pt x="18" y="220"/>
                        <a:pt x="18" y="220"/>
                      </a:cubicBezTo>
                      <a:cubicBezTo>
                        <a:pt x="18" y="220"/>
                        <a:pt x="55" y="245"/>
                        <a:pt x="67" y="257"/>
                      </a:cubicBezTo>
                      <a:cubicBezTo>
                        <a:pt x="79" y="269"/>
                        <a:pt x="102" y="292"/>
                        <a:pt x="100" y="302"/>
                      </a:cubicBezTo>
                      <a:cubicBezTo>
                        <a:pt x="98" y="312"/>
                        <a:pt x="0" y="325"/>
                        <a:pt x="58" y="383"/>
                      </a:cubicBezTo>
                      <a:cubicBezTo>
                        <a:pt x="116" y="441"/>
                        <a:pt x="130" y="345"/>
                        <a:pt x="138" y="341"/>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104" name="Freeform 14"/>
                <p:cNvSpPr>
                  <a:spLocks/>
                </p:cNvSpPr>
                <p:nvPr/>
              </p:nvSpPr>
              <p:spPr bwMode="auto">
                <a:xfrm rot="9900000">
                  <a:off x="2123129" y="293070"/>
                  <a:ext cx="1377948" cy="1377947"/>
                </a:xfrm>
                <a:custGeom>
                  <a:avLst/>
                  <a:gdLst>
                    <a:gd name="T0" fmla="*/ 422 w 422"/>
                    <a:gd name="T1" fmla="*/ 220 h 422"/>
                    <a:gd name="T2" fmla="*/ 386 w 422"/>
                    <a:gd name="T3" fmla="*/ 171 h 422"/>
                    <a:gd name="T4" fmla="*/ 341 w 422"/>
                    <a:gd name="T5" fmla="*/ 138 h 422"/>
                    <a:gd name="T6" fmla="*/ 260 w 422"/>
                    <a:gd name="T7" fmla="*/ 180 h 422"/>
                    <a:gd name="T8" fmla="*/ 302 w 422"/>
                    <a:gd name="T9" fmla="*/ 100 h 422"/>
                    <a:gd name="T10" fmla="*/ 269 w 422"/>
                    <a:gd name="T11" fmla="*/ 55 h 422"/>
                    <a:gd name="T12" fmla="*/ 220 w 422"/>
                    <a:gd name="T13" fmla="*/ 18 h 422"/>
                    <a:gd name="T14" fmla="*/ 183 w 422"/>
                    <a:gd name="T15" fmla="*/ 67 h 422"/>
                    <a:gd name="T16" fmla="*/ 138 w 422"/>
                    <a:gd name="T17" fmla="*/ 100 h 422"/>
                    <a:gd name="T18" fmla="*/ 58 w 422"/>
                    <a:gd name="T19" fmla="*/ 58 h 422"/>
                    <a:gd name="T20" fmla="*/ 100 w 422"/>
                    <a:gd name="T21" fmla="*/ 138 h 422"/>
                    <a:gd name="T22" fmla="*/ 67 w 422"/>
                    <a:gd name="T23" fmla="*/ 183 h 422"/>
                    <a:gd name="T24" fmla="*/ 18 w 422"/>
                    <a:gd name="T25" fmla="*/ 220 h 422"/>
                    <a:gd name="T26" fmla="*/ 55 w 422"/>
                    <a:gd name="T27" fmla="*/ 269 h 422"/>
                    <a:gd name="T28" fmla="*/ 100 w 422"/>
                    <a:gd name="T29" fmla="*/ 302 h 422"/>
                    <a:gd name="T30" fmla="*/ 180 w 422"/>
                    <a:gd name="T31" fmla="*/ 260 h 422"/>
                    <a:gd name="T32" fmla="*/ 138 w 422"/>
                    <a:gd name="T33" fmla="*/ 341 h 422"/>
                    <a:gd name="T34" fmla="*/ 171 w 422"/>
                    <a:gd name="T35" fmla="*/ 386 h 422"/>
                    <a:gd name="T36" fmla="*/ 220 w 422"/>
                    <a:gd name="T37" fmla="*/ 422 h 422"/>
                    <a:gd name="T38" fmla="*/ 422 w 422"/>
                    <a:gd name="T39" fmla="*/ 220 h 4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22" h="422">
                      <a:moveTo>
                        <a:pt x="422" y="220"/>
                      </a:moveTo>
                      <a:cubicBezTo>
                        <a:pt x="422" y="220"/>
                        <a:pt x="398" y="183"/>
                        <a:pt x="386" y="171"/>
                      </a:cubicBezTo>
                      <a:cubicBezTo>
                        <a:pt x="373" y="159"/>
                        <a:pt x="349" y="134"/>
                        <a:pt x="341" y="138"/>
                      </a:cubicBezTo>
                      <a:cubicBezTo>
                        <a:pt x="332" y="142"/>
                        <a:pt x="318" y="239"/>
                        <a:pt x="260" y="180"/>
                      </a:cubicBezTo>
                      <a:cubicBezTo>
                        <a:pt x="202" y="122"/>
                        <a:pt x="300" y="110"/>
                        <a:pt x="302" y="100"/>
                      </a:cubicBezTo>
                      <a:cubicBezTo>
                        <a:pt x="304" y="90"/>
                        <a:pt x="281" y="67"/>
                        <a:pt x="269" y="55"/>
                      </a:cubicBezTo>
                      <a:cubicBezTo>
                        <a:pt x="257" y="42"/>
                        <a:pt x="220" y="18"/>
                        <a:pt x="220" y="18"/>
                      </a:cubicBezTo>
                      <a:cubicBezTo>
                        <a:pt x="220" y="18"/>
                        <a:pt x="196" y="55"/>
                        <a:pt x="183" y="67"/>
                      </a:cubicBezTo>
                      <a:cubicBezTo>
                        <a:pt x="171" y="79"/>
                        <a:pt x="149" y="102"/>
                        <a:pt x="138" y="100"/>
                      </a:cubicBezTo>
                      <a:cubicBezTo>
                        <a:pt x="128" y="98"/>
                        <a:pt x="116" y="0"/>
                        <a:pt x="58" y="58"/>
                      </a:cubicBezTo>
                      <a:cubicBezTo>
                        <a:pt x="0" y="116"/>
                        <a:pt x="96" y="130"/>
                        <a:pt x="100" y="138"/>
                      </a:cubicBezTo>
                      <a:cubicBezTo>
                        <a:pt x="104" y="147"/>
                        <a:pt x="79" y="171"/>
                        <a:pt x="67" y="183"/>
                      </a:cubicBezTo>
                      <a:cubicBezTo>
                        <a:pt x="55" y="196"/>
                        <a:pt x="18" y="220"/>
                        <a:pt x="18" y="220"/>
                      </a:cubicBezTo>
                      <a:cubicBezTo>
                        <a:pt x="18" y="220"/>
                        <a:pt x="42" y="257"/>
                        <a:pt x="55" y="269"/>
                      </a:cubicBezTo>
                      <a:cubicBezTo>
                        <a:pt x="67" y="281"/>
                        <a:pt x="91" y="306"/>
                        <a:pt x="100" y="302"/>
                      </a:cubicBezTo>
                      <a:cubicBezTo>
                        <a:pt x="108" y="298"/>
                        <a:pt x="122" y="202"/>
                        <a:pt x="180" y="260"/>
                      </a:cubicBezTo>
                      <a:cubicBezTo>
                        <a:pt x="238" y="318"/>
                        <a:pt x="140" y="330"/>
                        <a:pt x="138" y="341"/>
                      </a:cubicBezTo>
                      <a:cubicBezTo>
                        <a:pt x="136" y="351"/>
                        <a:pt x="159" y="373"/>
                        <a:pt x="171" y="386"/>
                      </a:cubicBezTo>
                      <a:cubicBezTo>
                        <a:pt x="183" y="398"/>
                        <a:pt x="220" y="422"/>
                        <a:pt x="220" y="422"/>
                      </a:cubicBezTo>
                      <a:lnTo>
                        <a:pt x="422" y="22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grpSp>
        </p:grpSp>
        <p:sp>
          <p:nvSpPr>
            <p:cNvPr id="82" name="Rectangle 152"/>
            <p:cNvSpPr/>
            <p:nvPr/>
          </p:nvSpPr>
          <p:spPr bwMode="auto">
            <a:xfrm>
              <a:off x="669652" y="2738277"/>
              <a:ext cx="1805162" cy="37532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2C812"/>
                  </a:solidFill>
                  <a:effectLst/>
                  <a:uLnTx/>
                  <a:uFillTx/>
                  <a:latin typeface="Segoe UI"/>
                  <a:ea typeface="+mn-ea"/>
                  <a:cs typeface="Segoe UI Light" panose="020B0502040204020203" pitchFamily="34" charset="0"/>
                </a:rPr>
                <a:t>Keeping Data Current</a:t>
              </a:r>
            </a:p>
          </p:txBody>
        </p:sp>
        <p:grpSp>
          <p:nvGrpSpPr>
            <p:cNvPr id="83" name="Group 82"/>
            <p:cNvGrpSpPr/>
            <p:nvPr/>
          </p:nvGrpSpPr>
          <p:grpSpPr>
            <a:xfrm>
              <a:off x="199649" y="2692629"/>
              <a:ext cx="433844" cy="433844"/>
              <a:chOff x="342620" y="2228265"/>
              <a:chExt cx="433844" cy="433844"/>
            </a:xfrm>
            <a:solidFill>
              <a:schemeClr val="bg1"/>
            </a:solidFill>
          </p:grpSpPr>
          <p:sp>
            <p:nvSpPr>
              <p:cNvPr id="99" name="Oval 154"/>
              <p:cNvSpPr/>
              <p:nvPr/>
            </p:nvSpPr>
            <p:spPr bwMode="auto">
              <a:xfrm>
                <a:off x="342620" y="2228265"/>
                <a:ext cx="433844" cy="433844"/>
              </a:xfrm>
              <a:prstGeom prst="ellipse">
                <a:avLst/>
              </a:prstGeom>
              <a:solidFill>
                <a:srgbClr val="FFC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0" name="Freeform 30"/>
              <p:cNvSpPr>
                <a:spLocks noEditPoints="1"/>
              </p:cNvSpPr>
              <p:nvPr/>
            </p:nvSpPr>
            <p:spPr bwMode="auto">
              <a:xfrm>
                <a:off x="444786" y="2340040"/>
                <a:ext cx="238402" cy="210293"/>
              </a:xfrm>
              <a:custGeom>
                <a:avLst/>
                <a:gdLst>
                  <a:gd name="T0" fmla="*/ 883 w 916"/>
                  <a:gd name="T1" fmla="*/ 286 h 808"/>
                  <a:gd name="T2" fmla="*/ 539 w 916"/>
                  <a:gd name="T3" fmla="*/ 723 h 808"/>
                  <a:gd name="T4" fmla="*/ 504 w 916"/>
                  <a:gd name="T5" fmla="*/ 0 h 808"/>
                  <a:gd name="T6" fmla="*/ 35 w 916"/>
                  <a:gd name="T7" fmla="*/ 723 h 808"/>
                  <a:gd name="T8" fmla="*/ 0 w 916"/>
                  <a:gd name="T9" fmla="*/ 808 h 808"/>
                  <a:gd name="T10" fmla="*/ 916 w 916"/>
                  <a:gd name="T11" fmla="*/ 723 h 808"/>
                  <a:gd name="T12" fmla="*/ 229 w 916"/>
                  <a:gd name="T13" fmla="*/ 665 h 808"/>
                  <a:gd name="T14" fmla="*/ 109 w 916"/>
                  <a:gd name="T15" fmla="*/ 596 h 808"/>
                  <a:gd name="T16" fmla="*/ 229 w 916"/>
                  <a:gd name="T17" fmla="*/ 665 h 808"/>
                  <a:gd name="T18" fmla="*/ 109 w 916"/>
                  <a:gd name="T19" fmla="*/ 501 h 808"/>
                  <a:gd name="T20" fmla="*/ 229 w 916"/>
                  <a:gd name="T21" fmla="*/ 432 h 808"/>
                  <a:gd name="T22" fmla="*/ 229 w 916"/>
                  <a:gd name="T23" fmla="*/ 337 h 808"/>
                  <a:gd name="T24" fmla="*/ 109 w 916"/>
                  <a:gd name="T25" fmla="*/ 267 h 808"/>
                  <a:gd name="T26" fmla="*/ 229 w 916"/>
                  <a:gd name="T27" fmla="*/ 337 h 808"/>
                  <a:gd name="T28" fmla="*/ 109 w 916"/>
                  <a:gd name="T29" fmla="*/ 172 h 808"/>
                  <a:gd name="T30" fmla="*/ 229 w 916"/>
                  <a:gd name="T31" fmla="*/ 103 h 808"/>
                  <a:gd name="T32" fmla="*/ 428 w 916"/>
                  <a:gd name="T33" fmla="*/ 665 h 808"/>
                  <a:gd name="T34" fmla="*/ 307 w 916"/>
                  <a:gd name="T35" fmla="*/ 596 h 808"/>
                  <a:gd name="T36" fmla="*/ 428 w 916"/>
                  <a:gd name="T37" fmla="*/ 665 h 808"/>
                  <a:gd name="T38" fmla="*/ 307 w 916"/>
                  <a:gd name="T39" fmla="*/ 501 h 808"/>
                  <a:gd name="T40" fmla="*/ 428 w 916"/>
                  <a:gd name="T41" fmla="*/ 432 h 808"/>
                  <a:gd name="T42" fmla="*/ 428 w 916"/>
                  <a:gd name="T43" fmla="*/ 337 h 808"/>
                  <a:gd name="T44" fmla="*/ 307 w 916"/>
                  <a:gd name="T45" fmla="*/ 267 h 808"/>
                  <a:gd name="T46" fmla="*/ 428 w 916"/>
                  <a:gd name="T47" fmla="*/ 337 h 808"/>
                  <a:gd name="T48" fmla="*/ 307 w 916"/>
                  <a:gd name="T49" fmla="*/ 172 h 808"/>
                  <a:gd name="T50" fmla="*/ 428 w 916"/>
                  <a:gd name="T51" fmla="*/ 103 h 808"/>
                  <a:gd name="T52" fmla="*/ 684 w 916"/>
                  <a:gd name="T53" fmla="*/ 668 h 808"/>
                  <a:gd name="T54" fmla="*/ 606 w 916"/>
                  <a:gd name="T55" fmla="*/ 549 h 808"/>
                  <a:gd name="T56" fmla="*/ 684 w 916"/>
                  <a:gd name="T57" fmla="*/ 668 h 808"/>
                  <a:gd name="T58" fmla="*/ 606 w 916"/>
                  <a:gd name="T59" fmla="*/ 482 h 808"/>
                  <a:gd name="T60" fmla="*/ 684 w 916"/>
                  <a:gd name="T61" fmla="*/ 365 h 808"/>
                  <a:gd name="T62" fmla="*/ 816 w 916"/>
                  <a:gd name="T63" fmla="*/ 668 h 808"/>
                  <a:gd name="T64" fmla="*/ 738 w 916"/>
                  <a:gd name="T65" fmla="*/ 549 h 808"/>
                  <a:gd name="T66" fmla="*/ 816 w 916"/>
                  <a:gd name="T67" fmla="*/ 668 h 808"/>
                  <a:gd name="T68" fmla="*/ 738 w 916"/>
                  <a:gd name="T69" fmla="*/ 482 h 808"/>
                  <a:gd name="T70" fmla="*/ 816 w 916"/>
                  <a:gd name="T71" fmla="*/ 365 h 8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16" h="808">
                    <a:moveTo>
                      <a:pt x="883" y="723"/>
                    </a:moveTo>
                    <a:lnTo>
                      <a:pt x="883" y="286"/>
                    </a:lnTo>
                    <a:lnTo>
                      <a:pt x="539" y="286"/>
                    </a:lnTo>
                    <a:lnTo>
                      <a:pt x="539" y="723"/>
                    </a:lnTo>
                    <a:lnTo>
                      <a:pt x="504" y="723"/>
                    </a:lnTo>
                    <a:lnTo>
                      <a:pt x="504" y="0"/>
                    </a:lnTo>
                    <a:lnTo>
                      <a:pt x="35" y="0"/>
                    </a:lnTo>
                    <a:lnTo>
                      <a:pt x="35" y="723"/>
                    </a:lnTo>
                    <a:lnTo>
                      <a:pt x="0" y="723"/>
                    </a:lnTo>
                    <a:lnTo>
                      <a:pt x="0" y="808"/>
                    </a:lnTo>
                    <a:lnTo>
                      <a:pt x="916" y="808"/>
                    </a:lnTo>
                    <a:lnTo>
                      <a:pt x="916" y="723"/>
                    </a:lnTo>
                    <a:lnTo>
                      <a:pt x="883" y="723"/>
                    </a:lnTo>
                    <a:close/>
                    <a:moveTo>
                      <a:pt x="229" y="665"/>
                    </a:moveTo>
                    <a:lnTo>
                      <a:pt x="109" y="665"/>
                    </a:lnTo>
                    <a:lnTo>
                      <a:pt x="109" y="596"/>
                    </a:lnTo>
                    <a:lnTo>
                      <a:pt x="229" y="596"/>
                    </a:lnTo>
                    <a:lnTo>
                      <a:pt x="229" y="665"/>
                    </a:lnTo>
                    <a:close/>
                    <a:moveTo>
                      <a:pt x="229" y="501"/>
                    </a:moveTo>
                    <a:lnTo>
                      <a:pt x="109" y="501"/>
                    </a:lnTo>
                    <a:lnTo>
                      <a:pt x="109" y="432"/>
                    </a:lnTo>
                    <a:lnTo>
                      <a:pt x="229" y="432"/>
                    </a:lnTo>
                    <a:lnTo>
                      <a:pt x="229" y="501"/>
                    </a:lnTo>
                    <a:close/>
                    <a:moveTo>
                      <a:pt x="229" y="337"/>
                    </a:moveTo>
                    <a:lnTo>
                      <a:pt x="109" y="337"/>
                    </a:lnTo>
                    <a:lnTo>
                      <a:pt x="109" y="267"/>
                    </a:lnTo>
                    <a:lnTo>
                      <a:pt x="229" y="267"/>
                    </a:lnTo>
                    <a:lnTo>
                      <a:pt x="229" y="337"/>
                    </a:lnTo>
                    <a:close/>
                    <a:moveTo>
                      <a:pt x="229" y="172"/>
                    </a:moveTo>
                    <a:lnTo>
                      <a:pt x="109" y="172"/>
                    </a:lnTo>
                    <a:lnTo>
                      <a:pt x="109" y="103"/>
                    </a:lnTo>
                    <a:lnTo>
                      <a:pt x="229" y="103"/>
                    </a:lnTo>
                    <a:lnTo>
                      <a:pt x="229" y="172"/>
                    </a:lnTo>
                    <a:close/>
                    <a:moveTo>
                      <a:pt x="428" y="665"/>
                    </a:moveTo>
                    <a:lnTo>
                      <a:pt x="307" y="665"/>
                    </a:lnTo>
                    <a:lnTo>
                      <a:pt x="307" y="596"/>
                    </a:lnTo>
                    <a:lnTo>
                      <a:pt x="428" y="596"/>
                    </a:lnTo>
                    <a:lnTo>
                      <a:pt x="428" y="665"/>
                    </a:lnTo>
                    <a:close/>
                    <a:moveTo>
                      <a:pt x="428" y="501"/>
                    </a:moveTo>
                    <a:lnTo>
                      <a:pt x="307" y="501"/>
                    </a:lnTo>
                    <a:lnTo>
                      <a:pt x="307" y="432"/>
                    </a:lnTo>
                    <a:lnTo>
                      <a:pt x="428" y="432"/>
                    </a:lnTo>
                    <a:lnTo>
                      <a:pt x="428" y="501"/>
                    </a:lnTo>
                    <a:close/>
                    <a:moveTo>
                      <a:pt x="428" y="337"/>
                    </a:moveTo>
                    <a:lnTo>
                      <a:pt x="307" y="337"/>
                    </a:lnTo>
                    <a:lnTo>
                      <a:pt x="307" y="267"/>
                    </a:lnTo>
                    <a:lnTo>
                      <a:pt x="428" y="267"/>
                    </a:lnTo>
                    <a:lnTo>
                      <a:pt x="428" y="337"/>
                    </a:lnTo>
                    <a:close/>
                    <a:moveTo>
                      <a:pt x="428" y="172"/>
                    </a:moveTo>
                    <a:lnTo>
                      <a:pt x="307" y="172"/>
                    </a:lnTo>
                    <a:lnTo>
                      <a:pt x="307" y="103"/>
                    </a:lnTo>
                    <a:lnTo>
                      <a:pt x="428" y="103"/>
                    </a:lnTo>
                    <a:lnTo>
                      <a:pt x="428" y="172"/>
                    </a:lnTo>
                    <a:close/>
                    <a:moveTo>
                      <a:pt x="684" y="668"/>
                    </a:moveTo>
                    <a:lnTo>
                      <a:pt x="606" y="668"/>
                    </a:lnTo>
                    <a:lnTo>
                      <a:pt x="606" y="549"/>
                    </a:lnTo>
                    <a:lnTo>
                      <a:pt x="684" y="549"/>
                    </a:lnTo>
                    <a:lnTo>
                      <a:pt x="684" y="668"/>
                    </a:lnTo>
                    <a:close/>
                    <a:moveTo>
                      <a:pt x="684" y="482"/>
                    </a:moveTo>
                    <a:lnTo>
                      <a:pt x="606" y="482"/>
                    </a:lnTo>
                    <a:lnTo>
                      <a:pt x="606" y="365"/>
                    </a:lnTo>
                    <a:lnTo>
                      <a:pt x="684" y="365"/>
                    </a:lnTo>
                    <a:lnTo>
                      <a:pt x="684" y="482"/>
                    </a:lnTo>
                    <a:close/>
                    <a:moveTo>
                      <a:pt x="816" y="668"/>
                    </a:moveTo>
                    <a:lnTo>
                      <a:pt x="738" y="668"/>
                    </a:lnTo>
                    <a:lnTo>
                      <a:pt x="738" y="549"/>
                    </a:lnTo>
                    <a:lnTo>
                      <a:pt x="816" y="549"/>
                    </a:lnTo>
                    <a:lnTo>
                      <a:pt x="816" y="668"/>
                    </a:lnTo>
                    <a:close/>
                    <a:moveTo>
                      <a:pt x="816" y="482"/>
                    </a:moveTo>
                    <a:lnTo>
                      <a:pt x="738" y="482"/>
                    </a:lnTo>
                    <a:lnTo>
                      <a:pt x="738" y="365"/>
                    </a:lnTo>
                    <a:lnTo>
                      <a:pt x="816" y="365"/>
                    </a:lnTo>
                    <a:lnTo>
                      <a:pt x="816" y="482"/>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grpSp>
        <p:sp>
          <p:nvSpPr>
            <p:cNvPr id="84" name="TextBox 83"/>
            <p:cNvSpPr txBox="1"/>
            <p:nvPr/>
          </p:nvSpPr>
          <p:spPr>
            <a:xfrm>
              <a:off x="83345" y="113808"/>
              <a:ext cx="2532630" cy="627864"/>
            </a:xfrm>
            <a:prstGeom prst="rect">
              <a:avLst/>
            </a:prstGeom>
            <a:noFill/>
          </p:spPr>
          <p:txBody>
            <a:bodyPr wrap="square" lIns="182880" tIns="146304" rIns="182880" bIns="146304" rtlCol="0">
              <a:spAutoFit/>
            </a:bodyPr>
            <a:lstStyle>
              <a:defPPr>
                <a:defRPr lang="en-US"/>
              </a:defPPr>
              <a:lvl1pPr>
                <a:lnSpc>
                  <a:spcPct val="90000"/>
                </a:lnSpc>
                <a:spcAft>
                  <a:spcPts val="600"/>
                </a:spcAft>
                <a:defRPr sz="2800" b="1">
                  <a:solidFill>
                    <a:srgbClr val="F2C812"/>
                  </a:solidFill>
                  <a:latin typeface="Segoe UI Light"/>
                </a:defRPr>
              </a:lvl1p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400" b="1" i="0" u="none" strike="noStrike" kern="1200" cap="none" spc="0" normalizeH="0" baseline="0" noProof="0">
                  <a:ln>
                    <a:noFill/>
                  </a:ln>
                  <a:solidFill>
                    <a:srgbClr val="F2C812"/>
                  </a:solidFill>
                  <a:effectLst/>
                  <a:uLnTx/>
                  <a:uFillTx/>
                  <a:latin typeface="Segoe UI Light"/>
                  <a:ea typeface="+mn-ea"/>
                  <a:cs typeface="+mn-cs"/>
                </a:rPr>
                <a:t>Power BI Service</a:t>
              </a:r>
              <a:endParaRPr kumimoji="0" lang="en-US" sz="2800" b="1" i="0" u="none" strike="noStrike" kern="1200" cap="none" spc="0" normalizeH="0" baseline="0" noProof="0">
                <a:ln>
                  <a:noFill/>
                </a:ln>
                <a:solidFill>
                  <a:srgbClr val="F2C812"/>
                </a:solidFill>
                <a:effectLst/>
                <a:uLnTx/>
                <a:uFillTx/>
                <a:latin typeface="Segoe UI Light"/>
                <a:ea typeface="+mn-ea"/>
                <a:cs typeface="+mn-cs"/>
              </a:endParaRPr>
            </a:p>
          </p:txBody>
        </p:sp>
        <p:grpSp>
          <p:nvGrpSpPr>
            <p:cNvPr id="85" name="Group 84"/>
            <p:cNvGrpSpPr/>
            <p:nvPr/>
          </p:nvGrpSpPr>
          <p:grpSpPr>
            <a:xfrm>
              <a:off x="219373" y="3621383"/>
              <a:ext cx="433844" cy="645668"/>
              <a:chOff x="280990" y="3358164"/>
              <a:chExt cx="433844" cy="645668"/>
            </a:xfrm>
          </p:grpSpPr>
          <p:sp>
            <p:nvSpPr>
              <p:cNvPr id="92" name="Oval 1083"/>
              <p:cNvSpPr/>
              <p:nvPr/>
            </p:nvSpPr>
            <p:spPr bwMode="auto">
              <a:xfrm>
                <a:off x="280990" y="3358164"/>
                <a:ext cx="433844" cy="433847"/>
              </a:xfrm>
              <a:prstGeom prst="ellipse">
                <a:avLst/>
              </a:prstGeom>
              <a:solidFill>
                <a:srgbClr val="F2C812"/>
              </a:solidFill>
              <a:ln>
                <a:solidFill>
                  <a:srgbClr val="FFCC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93" name="Group 379"/>
              <p:cNvGrpSpPr/>
              <p:nvPr/>
            </p:nvGrpSpPr>
            <p:grpSpPr>
              <a:xfrm>
                <a:off x="453702" y="3910852"/>
                <a:ext cx="175660" cy="92980"/>
                <a:chOff x="3895793" y="7466656"/>
                <a:chExt cx="785810" cy="415941"/>
              </a:xfrm>
              <a:solidFill>
                <a:srgbClr val="00BCF2"/>
              </a:solidFill>
            </p:grpSpPr>
            <p:sp>
              <p:nvSpPr>
                <p:cNvPr id="94" name="Freeform 132"/>
                <p:cNvSpPr>
                  <a:spLocks/>
                </p:cNvSpPr>
                <p:nvPr/>
              </p:nvSpPr>
              <p:spPr bwMode="auto">
                <a:xfrm>
                  <a:off x="4125979" y="7688918"/>
                  <a:ext cx="0" cy="6353"/>
                </a:xfrm>
                <a:custGeom>
                  <a:avLst/>
                  <a:gdLst>
                    <a:gd name="T0" fmla="*/ 1 w 1"/>
                    <a:gd name="T1" fmla="*/ 0 h 8"/>
                    <a:gd name="T2" fmla="*/ 0 w 1"/>
                    <a:gd name="T3" fmla="*/ 0 h 8"/>
                    <a:gd name="T4" fmla="*/ 1 w 1"/>
                    <a:gd name="T5" fmla="*/ 8 h 8"/>
                    <a:gd name="T6" fmla="*/ 1 w 1"/>
                    <a:gd name="T7" fmla="*/ 0 h 8"/>
                  </a:gdLst>
                  <a:ahLst/>
                  <a:cxnLst>
                    <a:cxn ang="0">
                      <a:pos x="T0" y="T1"/>
                    </a:cxn>
                    <a:cxn ang="0">
                      <a:pos x="T2" y="T3"/>
                    </a:cxn>
                    <a:cxn ang="0">
                      <a:pos x="T4" y="T5"/>
                    </a:cxn>
                    <a:cxn ang="0">
                      <a:pos x="T6" y="T7"/>
                    </a:cxn>
                  </a:cxnLst>
                  <a:rect l="0" t="0" r="r" b="b"/>
                  <a:pathLst>
                    <a:path w="1" h="8">
                      <a:moveTo>
                        <a:pt x="1" y="0"/>
                      </a:moveTo>
                      <a:cubicBezTo>
                        <a:pt x="0" y="0"/>
                        <a:pt x="0" y="0"/>
                        <a:pt x="0" y="0"/>
                      </a:cubicBezTo>
                      <a:cubicBezTo>
                        <a:pt x="0" y="3"/>
                        <a:pt x="1" y="5"/>
                        <a:pt x="1" y="8"/>
                      </a:cubicBezTo>
                      <a:lnTo>
                        <a:pt x="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95" name="Freeform 133"/>
                <p:cNvSpPr>
                  <a:spLocks/>
                </p:cNvSpPr>
                <p:nvPr/>
              </p:nvSpPr>
              <p:spPr bwMode="auto">
                <a:xfrm>
                  <a:off x="3895793" y="7812745"/>
                  <a:ext cx="219078" cy="69852"/>
                </a:xfrm>
                <a:custGeom>
                  <a:avLst/>
                  <a:gdLst>
                    <a:gd name="T0" fmla="*/ 186 w 238"/>
                    <a:gd name="T1" fmla="*/ 9 h 76"/>
                    <a:gd name="T2" fmla="*/ 131 w 238"/>
                    <a:gd name="T3" fmla="*/ 22 h 76"/>
                    <a:gd name="T4" fmla="*/ 60 w 238"/>
                    <a:gd name="T5" fmla="*/ 0 h 76"/>
                    <a:gd name="T6" fmla="*/ 0 w 238"/>
                    <a:gd name="T7" fmla="*/ 42 h 76"/>
                    <a:gd name="T8" fmla="*/ 0 w 238"/>
                    <a:gd name="T9" fmla="*/ 76 h 76"/>
                    <a:gd name="T10" fmla="*/ 238 w 238"/>
                    <a:gd name="T11" fmla="*/ 76 h 76"/>
                    <a:gd name="T12" fmla="*/ 236 w 238"/>
                    <a:gd name="T13" fmla="*/ 53 h 76"/>
                    <a:gd name="T14" fmla="*/ 236 w 238"/>
                    <a:gd name="T15" fmla="*/ 49 h 76"/>
                    <a:gd name="T16" fmla="*/ 186 w 238"/>
                    <a:gd name="T17" fmla="*/ 9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8" h="76">
                      <a:moveTo>
                        <a:pt x="186" y="9"/>
                      </a:moveTo>
                      <a:cubicBezTo>
                        <a:pt x="169" y="18"/>
                        <a:pt x="150" y="22"/>
                        <a:pt x="131" y="22"/>
                      </a:cubicBezTo>
                      <a:cubicBezTo>
                        <a:pt x="105" y="22"/>
                        <a:pt x="80" y="14"/>
                        <a:pt x="60" y="0"/>
                      </a:cubicBezTo>
                      <a:cubicBezTo>
                        <a:pt x="0" y="42"/>
                        <a:pt x="0" y="42"/>
                        <a:pt x="0" y="42"/>
                      </a:cubicBezTo>
                      <a:cubicBezTo>
                        <a:pt x="0" y="76"/>
                        <a:pt x="0" y="76"/>
                        <a:pt x="0" y="76"/>
                      </a:cubicBezTo>
                      <a:cubicBezTo>
                        <a:pt x="238" y="76"/>
                        <a:pt x="238" y="76"/>
                        <a:pt x="238" y="76"/>
                      </a:cubicBezTo>
                      <a:cubicBezTo>
                        <a:pt x="237" y="68"/>
                        <a:pt x="236" y="61"/>
                        <a:pt x="236" y="53"/>
                      </a:cubicBezTo>
                      <a:cubicBezTo>
                        <a:pt x="236" y="51"/>
                        <a:pt x="236" y="50"/>
                        <a:pt x="236" y="49"/>
                      </a:cubicBezTo>
                      <a:lnTo>
                        <a:pt x="186" y="9"/>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96" name="Freeform 137"/>
                <p:cNvSpPr>
                  <a:spLocks/>
                </p:cNvSpPr>
                <p:nvPr/>
              </p:nvSpPr>
              <p:spPr bwMode="auto">
                <a:xfrm>
                  <a:off x="4338704" y="7809561"/>
                  <a:ext cx="65090" cy="73028"/>
                </a:xfrm>
                <a:custGeom>
                  <a:avLst/>
                  <a:gdLst>
                    <a:gd name="T0" fmla="*/ 71 w 71"/>
                    <a:gd name="T1" fmla="*/ 79 h 79"/>
                    <a:gd name="T2" fmla="*/ 71 w 71"/>
                    <a:gd name="T3" fmla="*/ 0 h 79"/>
                    <a:gd name="T4" fmla="*/ 2 w 71"/>
                    <a:gd name="T5" fmla="*/ 53 h 79"/>
                    <a:gd name="T6" fmla="*/ 2 w 71"/>
                    <a:gd name="T7" fmla="*/ 56 h 79"/>
                    <a:gd name="T8" fmla="*/ 0 w 71"/>
                    <a:gd name="T9" fmla="*/ 79 h 79"/>
                    <a:gd name="T10" fmla="*/ 71 w 71"/>
                    <a:gd name="T11" fmla="*/ 79 h 79"/>
                  </a:gdLst>
                  <a:ahLst/>
                  <a:cxnLst>
                    <a:cxn ang="0">
                      <a:pos x="T0" y="T1"/>
                    </a:cxn>
                    <a:cxn ang="0">
                      <a:pos x="T2" y="T3"/>
                    </a:cxn>
                    <a:cxn ang="0">
                      <a:pos x="T4" y="T5"/>
                    </a:cxn>
                    <a:cxn ang="0">
                      <a:pos x="T6" y="T7"/>
                    </a:cxn>
                    <a:cxn ang="0">
                      <a:pos x="T8" y="T9"/>
                    </a:cxn>
                    <a:cxn ang="0">
                      <a:pos x="T10" y="T11"/>
                    </a:cxn>
                  </a:cxnLst>
                  <a:rect l="0" t="0" r="r" b="b"/>
                  <a:pathLst>
                    <a:path w="71" h="79">
                      <a:moveTo>
                        <a:pt x="71" y="79"/>
                      </a:moveTo>
                      <a:cubicBezTo>
                        <a:pt x="71" y="0"/>
                        <a:pt x="71" y="0"/>
                        <a:pt x="71" y="0"/>
                      </a:cubicBezTo>
                      <a:cubicBezTo>
                        <a:pt x="2" y="53"/>
                        <a:pt x="2" y="53"/>
                        <a:pt x="2" y="53"/>
                      </a:cubicBezTo>
                      <a:cubicBezTo>
                        <a:pt x="2" y="54"/>
                        <a:pt x="2" y="55"/>
                        <a:pt x="2" y="56"/>
                      </a:cubicBezTo>
                      <a:cubicBezTo>
                        <a:pt x="2" y="64"/>
                        <a:pt x="1" y="71"/>
                        <a:pt x="0" y="79"/>
                      </a:cubicBezTo>
                      <a:lnTo>
                        <a:pt x="71" y="79"/>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97" name="Freeform 140"/>
                <p:cNvSpPr>
                  <a:spLocks/>
                </p:cNvSpPr>
                <p:nvPr/>
              </p:nvSpPr>
              <p:spPr bwMode="auto">
                <a:xfrm>
                  <a:off x="4600643" y="7622229"/>
                  <a:ext cx="80960" cy="38099"/>
                </a:xfrm>
                <a:custGeom>
                  <a:avLst/>
                  <a:gdLst>
                    <a:gd name="T0" fmla="*/ 0 w 51"/>
                    <a:gd name="T1" fmla="*/ 24 h 24"/>
                    <a:gd name="T2" fmla="*/ 51 w 51"/>
                    <a:gd name="T3" fmla="*/ 24 h 24"/>
                    <a:gd name="T4" fmla="*/ 32 w 51"/>
                    <a:gd name="T5" fmla="*/ 0 h 24"/>
                    <a:gd name="T6" fmla="*/ 0 w 51"/>
                    <a:gd name="T7" fmla="*/ 24 h 24"/>
                  </a:gdLst>
                  <a:ahLst/>
                  <a:cxnLst>
                    <a:cxn ang="0">
                      <a:pos x="T0" y="T1"/>
                    </a:cxn>
                    <a:cxn ang="0">
                      <a:pos x="T2" y="T3"/>
                    </a:cxn>
                    <a:cxn ang="0">
                      <a:pos x="T4" y="T5"/>
                    </a:cxn>
                    <a:cxn ang="0">
                      <a:pos x="T6" y="T7"/>
                    </a:cxn>
                  </a:cxnLst>
                  <a:rect l="0" t="0" r="r" b="b"/>
                  <a:pathLst>
                    <a:path w="51" h="24">
                      <a:moveTo>
                        <a:pt x="0" y="24"/>
                      </a:moveTo>
                      <a:lnTo>
                        <a:pt x="51" y="24"/>
                      </a:lnTo>
                      <a:lnTo>
                        <a:pt x="32" y="0"/>
                      </a:lnTo>
                      <a:lnTo>
                        <a:pt x="0" y="24"/>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98" name="Freeform 141"/>
                <p:cNvSpPr>
                  <a:spLocks/>
                </p:cNvSpPr>
                <p:nvPr/>
              </p:nvSpPr>
              <p:spPr bwMode="auto">
                <a:xfrm>
                  <a:off x="4449825" y="7466656"/>
                  <a:ext cx="119065" cy="139703"/>
                </a:xfrm>
                <a:custGeom>
                  <a:avLst/>
                  <a:gdLst>
                    <a:gd name="T0" fmla="*/ 52 w 75"/>
                    <a:gd name="T1" fmla="*/ 0 h 88"/>
                    <a:gd name="T2" fmla="*/ 0 w 75"/>
                    <a:gd name="T3" fmla="*/ 0 h 88"/>
                    <a:gd name="T4" fmla="*/ 0 w 75"/>
                    <a:gd name="T5" fmla="*/ 88 h 88"/>
                    <a:gd name="T6" fmla="*/ 75 w 75"/>
                    <a:gd name="T7" fmla="*/ 30 h 88"/>
                    <a:gd name="T8" fmla="*/ 52 w 75"/>
                    <a:gd name="T9" fmla="*/ 0 h 88"/>
                  </a:gdLst>
                  <a:ahLst/>
                  <a:cxnLst>
                    <a:cxn ang="0">
                      <a:pos x="T0" y="T1"/>
                    </a:cxn>
                    <a:cxn ang="0">
                      <a:pos x="T2" y="T3"/>
                    </a:cxn>
                    <a:cxn ang="0">
                      <a:pos x="T4" y="T5"/>
                    </a:cxn>
                    <a:cxn ang="0">
                      <a:pos x="T6" y="T7"/>
                    </a:cxn>
                    <a:cxn ang="0">
                      <a:pos x="T8" y="T9"/>
                    </a:cxn>
                  </a:cxnLst>
                  <a:rect l="0" t="0" r="r" b="b"/>
                  <a:pathLst>
                    <a:path w="75" h="88">
                      <a:moveTo>
                        <a:pt x="52" y="0"/>
                      </a:moveTo>
                      <a:lnTo>
                        <a:pt x="0" y="0"/>
                      </a:lnTo>
                      <a:lnTo>
                        <a:pt x="0" y="88"/>
                      </a:lnTo>
                      <a:lnTo>
                        <a:pt x="75" y="30"/>
                      </a:lnTo>
                      <a:lnTo>
                        <a:pt x="52"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grpSp>
        </p:grpSp>
        <p:sp>
          <p:nvSpPr>
            <p:cNvPr id="86" name="Rectangle 152"/>
            <p:cNvSpPr/>
            <p:nvPr/>
          </p:nvSpPr>
          <p:spPr bwMode="auto">
            <a:xfrm>
              <a:off x="712458" y="3628917"/>
              <a:ext cx="1805162" cy="37532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2C812"/>
                  </a:solidFill>
                  <a:effectLst/>
                  <a:uLnTx/>
                  <a:uFillTx/>
                  <a:latin typeface="Segoe UI"/>
                  <a:ea typeface="+mn-ea"/>
                  <a:cs typeface="Segoe UI Light" panose="020B0502040204020203" pitchFamily="34" charset="0"/>
                </a:rPr>
                <a:t>Q&amp;A and </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2C812"/>
                  </a:solidFill>
                  <a:effectLst/>
                  <a:uLnTx/>
                  <a:uFillTx/>
                  <a:latin typeface="Segoe UI"/>
                  <a:ea typeface="+mn-ea"/>
                  <a:cs typeface="Segoe UI Light" panose="020B0502040204020203" pitchFamily="34" charset="0"/>
                </a:rPr>
                <a:t>Quick Insights</a:t>
              </a:r>
              <a:endParaRPr kumimoji="0" lang="en-US" sz="1200" b="1" i="0" u="none" strike="noStrike" kern="1200" cap="none" spc="0" normalizeH="0" baseline="0" noProof="0">
                <a:ln>
                  <a:noFill/>
                </a:ln>
                <a:solidFill>
                  <a:srgbClr val="F2C812"/>
                </a:solidFill>
                <a:effectLst/>
                <a:uLnTx/>
                <a:uFillTx/>
                <a:latin typeface="Segoe UI"/>
                <a:ea typeface="+mn-ea"/>
                <a:cs typeface="Segoe UI Light" panose="020B0502040204020203" pitchFamily="34" charset="0"/>
              </a:endParaRPr>
            </a:p>
          </p:txBody>
        </p:sp>
        <p:sp>
          <p:nvSpPr>
            <p:cNvPr id="88" name="Oval 162"/>
            <p:cNvSpPr/>
            <p:nvPr/>
          </p:nvSpPr>
          <p:spPr bwMode="auto">
            <a:xfrm>
              <a:off x="226619" y="4551712"/>
              <a:ext cx="433844" cy="433844"/>
            </a:xfrm>
            <a:prstGeom prst="ellipse">
              <a:avLst/>
            </a:prstGeom>
            <a:solidFill>
              <a:srgbClr val="F2C812"/>
            </a:solidFill>
            <a:ln>
              <a:solidFill>
                <a:srgbClr val="FFCC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9" name="Rectangle 152"/>
            <p:cNvSpPr/>
            <p:nvPr/>
          </p:nvSpPr>
          <p:spPr bwMode="auto">
            <a:xfrm>
              <a:off x="738443" y="4596194"/>
              <a:ext cx="1884825" cy="30233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2C812"/>
                  </a:solidFill>
                  <a:effectLst/>
                  <a:uLnTx/>
                  <a:uFillTx/>
                  <a:latin typeface="Segoe UI"/>
                  <a:ea typeface="+mn-ea"/>
                  <a:cs typeface="Segoe UI Light" panose="020B0502040204020203" pitchFamily="34" charset="0"/>
                </a:rPr>
                <a:t>Sharing</a:t>
              </a:r>
              <a:endParaRPr kumimoji="0" lang="en-US" sz="1200" b="1" i="1" u="none" strike="noStrike" kern="1200" cap="none" spc="0" normalizeH="0" baseline="0" noProof="0">
                <a:ln>
                  <a:noFill/>
                </a:ln>
                <a:solidFill>
                  <a:srgbClr val="F2C812"/>
                </a:solidFill>
                <a:effectLst/>
                <a:uLnTx/>
                <a:uFillTx/>
                <a:latin typeface="Segoe UI"/>
                <a:ea typeface="+mn-ea"/>
                <a:cs typeface="Segoe UI Light" panose="020B0502040204020203" pitchFamily="34" charset="0"/>
              </a:endParaRPr>
            </a:p>
          </p:txBody>
        </p:sp>
        <p:sp>
          <p:nvSpPr>
            <p:cNvPr id="90" name="Rectangle 145"/>
            <p:cNvSpPr/>
            <p:nvPr/>
          </p:nvSpPr>
          <p:spPr bwMode="auto">
            <a:xfrm>
              <a:off x="697198" y="1847637"/>
              <a:ext cx="1821468" cy="3831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2C812"/>
                  </a:solidFill>
                  <a:effectLst/>
                  <a:uLnTx/>
                  <a:uFillTx/>
                  <a:latin typeface="Segoe UI"/>
                  <a:ea typeface="+mn-ea"/>
                  <a:cs typeface="Segoe UI Light" panose="020B0502040204020203" pitchFamily="34" charset="0"/>
                </a:rPr>
                <a:t>Pinning and Navigation</a:t>
              </a:r>
            </a:p>
          </p:txBody>
        </p:sp>
        <p:sp>
          <p:nvSpPr>
            <p:cNvPr id="91" name="Oval 162"/>
            <p:cNvSpPr/>
            <p:nvPr/>
          </p:nvSpPr>
          <p:spPr bwMode="auto">
            <a:xfrm>
              <a:off x="224136" y="1813606"/>
              <a:ext cx="433844" cy="433844"/>
            </a:xfrm>
            <a:prstGeom prst="ellipse">
              <a:avLst/>
            </a:prstGeom>
            <a:solidFill>
              <a:srgbClr val="FFCC00"/>
            </a:solidFill>
            <a:ln>
              <a:solidFill>
                <a:srgbClr val="F2C81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pic>
        <p:nvPicPr>
          <p:cNvPr id="105" name="Picture 104"/>
          <p:cNvPicPr>
            <a:picLocks noChangeAspect="1"/>
          </p:cNvPicPr>
          <p:nvPr/>
        </p:nvPicPr>
        <p:blipFill rotWithShape="1">
          <a:blip r:embed="rId3"/>
          <a:srcRect l="6503" t="21287" r="74698" b="20220"/>
          <a:stretch/>
        </p:blipFill>
        <p:spPr>
          <a:xfrm>
            <a:off x="339111" y="1946110"/>
            <a:ext cx="228600" cy="231962"/>
          </a:xfrm>
          <a:prstGeom prst="rect">
            <a:avLst/>
          </a:prstGeom>
        </p:spPr>
      </p:pic>
      <p:pic>
        <p:nvPicPr>
          <p:cNvPr id="106" name="Picture 105"/>
          <p:cNvPicPr>
            <a:picLocks noChangeAspect="1"/>
          </p:cNvPicPr>
          <p:nvPr/>
        </p:nvPicPr>
        <p:blipFill>
          <a:blip r:embed="rId4"/>
          <a:stretch>
            <a:fillRect/>
          </a:stretch>
        </p:blipFill>
        <p:spPr>
          <a:xfrm>
            <a:off x="284769" y="3673076"/>
            <a:ext cx="311766" cy="303106"/>
          </a:xfrm>
          <a:prstGeom prst="rect">
            <a:avLst/>
          </a:prstGeom>
        </p:spPr>
      </p:pic>
      <p:sp>
        <p:nvSpPr>
          <p:cNvPr id="107" name="Rectangle 145"/>
          <p:cNvSpPr/>
          <p:nvPr/>
        </p:nvSpPr>
        <p:spPr bwMode="auto">
          <a:xfrm>
            <a:off x="718897" y="5436715"/>
            <a:ext cx="1821468" cy="3831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2C812"/>
                </a:solidFill>
                <a:effectLst/>
                <a:uLnTx/>
                <a:uFillTx/>
                <a:latin typeface="Segoe UI"/>
                <a:ea typeface="+mn-ea"/>
                <a:cs typeface="Segoe UI Light" panose="020B0502040204020203" pitchFamily="34" charset="0"/>
              </a:rPr>
              <a:t>Connect from Excel</a:t>
            </a:r>
          </a:p>
        </p:txBody>
      </p:sp>
      <p:sp>
        <p:nvSpPr>
          <p:cNvPr id="108" name="Oval 162"/>
          <p:cNvSpPr/>
          <p:nvPr/>
        </p:nvSpPr>
        <p:spPr bwMode="auto">
          <a:xfrm>
            <a:off x="231441" y="5429649"/>
            <a:ext cx="433844" cy="433844"/>
          </a:xfrm>
          <a:prstGeom prst="ellipse">
            <a:avLst/>
          </a:prstGeom>
          <a:solidFill>
            <a:srgbClr val="FFCC00"/>
          </a:solidFill>
          <a:ln>
            <a:solidFill>
              <a:srgbClr val="F2C81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09" name="Picture 10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flipH="1">
            <a:off x="283763" y="4596680"/>
            <a:ext cx="357484" cy="357484"/>
          </a:xfrm>
          <a:prstGeom prst="rect">
            <a:avLst/>
          </a:prstGeom>
        </p:spPr>
      </p:pic>
      <p:sp>
        <p:nvSpPr>
          <p:cNvPr id="110" name="Oval 162"/>
          <p:cNvSpPr/>
          <p:nvPr/>
        </p:nvSpPr>
        <p:spPr bwMode="auto">
          <a:xfrm>
            <a:off x="233032" y="6267344"/>
            <a:ext cx="433844" cy="433844"/>
          </a:xfrm>
          <a:prstGeom prst="ellipse">
            <a:avLst/>
          </a:prstGeom>
          <a:solidFill>
            <a:srgbClr val="FFCC00"/>
          </a:solidFill>
          <a:ln>
            <a:solidFill>
              <a:srgbClr val="F2C81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1" name="Rectangle 145"/>
          <p:cNvSpPr/>
          <p:nvPr/>
        </p:nvSpPr>
        <p:spPr bwMode="auto">
          <a:xfrm>
            <a:off x="701416" y="6289969"/>
            <a:ext cx="1821468" cy="3831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2C812"/>
                </a:solidFill>
                <a:effectLst/>
                <a:uLnTx/>
                <a:uFillTx/>
                <a:latin typeface="Segoe UI"/>
                <a:ea typeface="+mn-ea"/>
                <a:cs typeface="Segoe UI Light" panose="020B0502040204020203" pitchFamily="34" charset="0"/>
              </a:rPr>
              <a:t>Mobile Reports</a:t>
            </a:r>
          </a:p>
        </p:txBody>
      </p:sp>
      <p:pic>
        <p:nvPicPr>
          <p:cNvPr id="112" name="Picture 111"/>
          <p:cNvPicPr>
            <a:picLocks noChangeAspect="1"/>
          </p:cNvPicPr>
          <p:nvPr/>
        </p:nvPicPr>
        <p:blipFill>
          <a:blip r:embed="rId6" cstate="print">
            <a:extLst>
              <a:ext uri="{BEBA8EAE-BF5A-486C-A8C5-ECC9F3942E4B}">
                <a14:imgProps xmlns:a14="http://schemas.microsoft.com/office/drawing/2010/main">
                  <a14:imgLayer r:embed="rId7">
                    <a14:imgEffect>
                      <a14:saturation sat="0"/>
                    </a14:imgEffect>
                  </a14:imgLayer>
                </a14:imgProps>
              </a:ext>
              <a:ext uri="{28A0092B-C50C-407E-A947-70E740481C1C}">
                <a14:useLocalDpi xmlns:a14="http://schemas.microsoft.com/office/drawing/2010/main" val="0"/>
              </a:ext>
            </a:extLst>
          </a:blip>
          <a:stretch>
            <a:fillRect/>
          </a:stretch>
        </p:blipFill>
        <p:spPr>
          <a:xfrm>
            <a:off x="391946" y="6350039"/>
            <a:ext cx="133350" cy="251587"/>
          </a:xfrm>
          <a:prstGeom prst="rect">
            <a:avLst/>
          </a:prstGeom>
        </p:spPr>
      </p:pic>
      <p:pic>
        <p:nvPicPr>
          <p:cNvPr id="113" name="Picture 112"/>
          <p:cNvPicPr>
            <a:picLocks noChangeAspect="1"/>
          </p:cNvPicPr>
          <p:nvPr/>
        </p:nvPicPr>
        <p:blipFill>
          <a:blip r:embed="rId8" cstate="print">
            <a:biLevel thresh="50000"/>
            <a:extLst>
              <a:ext uri="{28A0092B-C50C-407E-A947-70E740481C1C}">
                <a14:useLocalDpi xmlns:a14="http://schemas.microsoft.com/office/drawing/2010/main" val="0"/>
              </a:ext>
            </a:extLst>
          </a:blip>
          <a:stretch>
            <a:fillRect/>
          </a:stretch>
        </p:blipFill>
        <p:spPr>
          <a:xfrm>
            <a:off x="332658" y="5538489"/>
            <a:ext cx="268940" cy="268940"/>
          </a:xfrm>
          <a:prstGeom prst="rect">
            <a:avLst/>
          </a:prstGeom>
        </p:spPr>
      </p:pic>
      <p:sp>
        <p:nvSpPr>
          <p:cNvPr id="114" name="Rectangle 113"/>
          <p:cNvSpPr/>
          <p:nvPr/>
        </p:nvSpPr>
        <p:spPr bwMode="auto">
          <a:xfrm>
            <a:off x="35912" y="5223435"/>
            <a:ext cx="2464420" cy="1564989"/>
          </a:xfrm>
          <a:prstGeom prst="rect">
            <a:avLst/>
          </a:prstGeom>
          <a:solidFill>
            <a:srgbClr val="000000">
              <a:alpha val="6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5" name="Rectangle 114"/>
          <p:cNvSpPr/>
          <p:nvPr/>
        </p:nvSpPr>
        <p:spPr bwMode="auto">
          <a:xfrm>
            <a:off x="95936" y="731575"/>
            <a:ext cx="2464420" cy="3635751"/>
          </a:xfrm>
          <a:prstGeom prst="rect">
            <a:avLst/>
          </a:prstGeom>
          <a:solidFill>
            <a:srgbClr val="000000">
              <a:alpha val="6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4" name="Picture 3"/>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4453301" y="3287408"/>
            <a:ext cx="6134458" cy="3162255"/>
          </a:xfrm>
          <a:prstGeom prst="rect">
            <a:avLst/>
          </a:prstGeom>
          <a:ln>
            <a:noFill/>
          </a:ln>
          <a:effectLst>
            <a:outerShdw blurRad="190500" algn="tl" rotWithShape="0">
              <a:srgbClr val="000000">
                <a:alpha val="70000"/>
              </a:srgbClr>
            </a:outerShdw>
          </a:effectLst>
        </p:spPr>
      </p:pic>
    </p:spTree>
    <p:extLst>
      <p:ext uri="{BB962C8B-B14F-4D97-AF65-F5344CB8AC3E}">
        <p14:creationId xmlns:p14="http://schemas.microsoft.com/office/powerpoint/2010/main" val="24340950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 name="Title 10"/>
          <p:cNvSpPr txBox="1">
            <a:spLocks/>
          </p:cNvSpPr>
          <p:nvPr/>
        </p:nvSpPr>
        <p:spPr>
          <a:xfrm>
            <a:off x="2849060" y="0"/>
            <a:ext cx="9342940" cy="665151"/>
          </a:xfrm>
          <a:prstGeom prst="rect">
            <a:avLst/>
          </a:prstGeom>
          <a:noFill/>
        </p:spPr>
        <p:txBody>
          <a:bodyPr vert="horz" wrap="square" lIns="0" tIns="91440" rIns="0" bIns="91440" rtlCol="0" anchor="t">
            <a:noAutofit/>
          </a:bodyPr>
          <a:lstStyle>
            <a:lvl1pPr defTabSz="914367">
              <a:lnSpc>
                <a:spcPct val="90000"/>
              </a:lnSpc>
              <a:spcBef>
                <a:spcPct val="0"/>
              </a:spcBef>
              <a:buNone/>
              <a:defRPr lang="en-US" sz="5294" b="0" cap="none" spc="-100" baseline="0" dirty="0" smtClean="0">
                <a:ln w="3175">
                  <a:noFill/>
                </a:ln>
                <a:solidFill>
                  <a:schemeClr val="tx2"/>
                </a:solidFill>
                <a:effectLst/>
                <a:latin typeface="+mj-lt"/>
                <a:cs typeface="Segoe UI" pitchFamily="34" charset="0"/>
              </a:defRPr>
            </a:lvl1pPr>
          </a:lstStyle>
          <a:p>
            <a:pPr marL="168275" marR="0" lvl="0" indent="0" algn="l" defTabSz="914367" rtl="0" eaLnBrk="1" fontAlgn="auto" latinLnBrk="0" hangingPunct="1">
              <a:lnSpc>
                <a:spcPct val="90000"/>
              </a:lnSpc>
              <a:spcBef>
                <a:spcPct val="0"/>
              </a:spcBef>
              <a:spcAft>
                <a:spcPts val="0"/>
              </a:spcAft>
              <a:buClrTx/>
              <a:buSzTx/>
              <a:buFontTx/>
              <a:buNone/>
              <a:tabLst/>
              <a:defRPr/>
            </a:pPr>
            <a:r>
              <a:rPr kumimoji="0" lang="en-US" sz="3600" b="0" i="0" u="none" strike="noStrike" kern="1200" cap="none" spc="-100" normalizeH="0" baseline="0" noProof="0">
                <a:ln w="3175">
                  <a:noFill/>
                </a:ln>
                <a:solidFill>
                  <a:prstClr val="black"/>
                </a:solidFill>
                <a:effectLst/>
                <a:uLnTx/>
                <a:uFillTx/>
                <a:latin typeface="Segoe UI Light"/>
                <a:ea typeface="+mn-ea"/>
                <a:cs typeface="Segoe UI" pitchFamily="34" charset="0"/>
              </a:rPr>
              <a:t>Sharing</a:t>
            </a:r>
            <a:endParaRPr kumimoji="0" lang="en-IN" sz="3600" b="0" i="0" u="none" strike="noStrike" kern="1200" cap="none" spc="-100" normalizeH="0" baseline="0" noProof="0">
              <a:ln w="3175">
                <a:noFill/>
              </a:ln>
              <a:solidFill>
                <a:prstClr val="black"/>
              </a:solidFill>
              <a:effectLst/>
              <a:uLnTx/>
              <a:uFillTx/>
              <a:latin typeface="Segoe UI Light"/>
              <a:ea typeface="+mn-ea"/>
              <a:cs typeface="Segoe UI" pitchFamily="34" charset="0"/>
            </a:endParaRPr>
          </a:p>
        </p:txBody>
      </p:sp>
      <p:sp>
        <p:nvSpPr>
          <p:cNvPr id="41" name="Rectangle 3"/>
          <p:cNvSpPr/>
          <p:nvPr/>
        </p:nvSpPr>
        <p:spPr bwMode="auto">
          <a:xfrm>
            <a:off x="3202216" y="704712"/>
            <a:ext cx="8105312" cy="44435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PT" sz="2000" b="0" i="1" u="none" strike="noStrike" kern="1200" cap="none" spc="0" normalizeH="0" baseline="0" noProof="0">
                <a:ln>
                  <a:noFill/>
                </a:ln>
                <a:solidFill>
                  <a:prstClr val="black"/>
                </a:solidFill>
                <a:effectLst/>
                <a:uLnTx/>
                <a:uFillTx/>
                <a:latin typeface="Segoe UI Light"/>
                <a:ea typeface="+mn-ea"/>
                <a:cs typeface="+mn-cs"/>
              </a:rPr>
              <a:t>E-mail subscriptions</a:t>
            </a:r>
            <a:endParaRPr kumimoji="0" lang="en-US" sz="2000" b="0" i="1" u="none" strike="noStrike" kern="1200" cap="none" spc="0" normalizeH="0" baseline="0" noProof="0">
              <a:ln>
                <a:noFill/>
              </a:ln>
              <a:solidFill>
                <a:prstClr val="black"/>
              </a:solidFill>
              <a:effectLst/>
              <a:uLnTx/>
              <a:uFillTx/>
              <a:latin typeface="Segoe UI Light"/>
              <a:ea typeface="+mn-ea"/>
              <a:cs typeface="+mn-cs"/>
            </a:endParaRPr>
          </a:p>
        </p:txBody>
      </p:sp>
      <p:sp>
        <p:nvSpPr>
          <p:cNvPr id="87" name="Text Placeholder 2"/>
          <p:cNvSpPr txBox="1">
            <a:spLocks/>
          </p:cNvSpPr>
          <p:nvPr/>
        </p:nvSpPr>
        <p:spPr>
          <a:xfrm>
            <a:off x="2944994" y="1399436"/>
            <a:ext cx="9033488" cy="897374"/>
          </a:xfrm>
          <a:prstGeom prst="rect">
            <a:avLst/>
          </a:prstGeom>
        </p:spPr>
        <p:txBody>
          <a:bodyPr vert="horz" wrap="square" lIns="182880" tIns="146304" rIns="182880" bIns="146304" rtlCol="0">
            <a:noAutofit/>
          </a:bodyPr>
          <a:lstStyle>
            <a:lvl1pPr marL="182845" marR="0"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3921" kern="1200" spc="0" baseline="0">
                <a:gradFill>
                  <a:gsLst>
                    <a:gs pos="1250">
                      <a:schemeClr val="tx2"/>
                    </a:gs>
                    <a:gs pos="99000">
                      <a:schemeClr val="tx2"/>
                    </a:gs>
                  </a:gsLst>
                  <a:lin ang="5400000" scaled="0"/>
                </a:gradFill>
                <a:latin typeface="+mj-lt"/>
                <a:ea typeface="+mn-ea"/>
                <a:cs typeface="+mn-cs"/>
              </a:defRPr>
            </a:lvl1pPr>
            <a:lvl2pPr marL="365690" marR="0"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2400" kern="1200" spc="0" baseline="0">
                <a:solidFill>
                  <a:schemeClr val="tx2"/>
                </a:solidFill>
                <a:latin typeface="+mj-lt"/>
                <a:ea typeface="+mn-ea"/>
                <a:cs typeface="+mn-cs"/>
              </a:defRPr>
            </a:lvl2pPr>
            <a:lvl3pPr marL="548535" marR="0"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2000" kern="1200" spc="0" baseline="0">
                <a:solidFill>
                  <a:schemeClr val="tx2"/>
                </a:solidFill>
                <a:latin typeface="+mj-lt"/>
                <a:ea typeface="+mn-ea"/>
                <a:cs typeface="+mn-cs"/>
              </a:defRPr>
            </a:lvl3pPr>
            <a:lvl4pPr marL="733802" marR="0" indent="-28569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1765" kern="1200" spc="0" baseline="0">
                <a:solidFill>
                  <a:schemeClr val="tx2"/>
                </a:solidFill>
                <a:latin typeface="+mn-lt"/>
                <a:ea typeface="+mn-ea"/>
                <a:cs typeface="+mn-cs"/>
              </a:defRPr>
            </a:lvl4pPr>
            <a:lvl5pPr marL="957856" marR="0" indent="-28569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1765" kern="1200" spc="0" baseline="0">
                <a:solidFill>
                  <a:schemeClr val="tx2"/>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Segoe UI Light"/>
                <a:ea typeface="+mn-ea"/>
                <a:cs typeface="Times New Roman" panose="02020603050405020304" pitchFamily="18" charset="0"/>
              </a:rPr>
              <a:t>With Power BI </a:t>
            </a:r>
            <a:r>
              <a:rPr kumimoji="0" lang="en-US" sz="2000" b="1" i="0" u="none" strike="noStrike" kern="1200" cap="none" spc="0" normalizeH="0" baseline="0" noProof="0" dirty="0">
                <a:ln>
                  <a:noFill/>
                </a:ln>
                <a:solidFill>
                  <a:prstClr val="black"/>
                </a:solidFill>
                <a:effectLst/>
                <a:uLnTx/>
                <a:uFillTx/>
                <a:latin typeface="Segoe UI Light"/>
                <a:ea typeface="+mn-ea"/>
                <a:cs typeface="Times New Roman" panose="02020603050405020304" pitchFamily="18" charset="0"/>
              </a:rPr>
              <a:t>e-mail subscriptions</a:t>
            </a:r>
            <a:r>
              <a:rPr kumimoji="0" lang="en-US" sz="2000" b="0" i="0" u="none" strike="noStrike" kern="1200" cap="none" spc="0" normalizeH="0" baseline="0" noProof="0" dirty="0">
                <a:ln>
                  <a:noFill/>
                </a:ln>
                <a:solidFill>
                  <a:prstClr val="black"/>
                </a:solidFill>
                <a:effectLst/>
                <a:uLnTx/>
                <a:uFillTx/>
                <a:latin typeface="Segoe UI Light"/>
                <a:ea typeface="+mn-ea"/>
                <a:cs typeface="Times New Roman" panose="02020603050405020304" pitchFamily="18" charset="0"/>
              </a:rPr>
              <a:t>, you can quickly subscribe to emails of the report pages that matter most. </a:t>
            </a: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Segoe UI Light"/>
                <a:ea typeface="+mn-ea"/>
                <a:cs typeface="Times New Roman" panose="02020603050405020304" pitchFamily="18" charset="0"/>
              </a:rPr>
              <a:t>Once subscribed, Power BI will regularly </a:t>
            </a:r>
            <a:r>
              <a:rPr kumimoji="0" lang="en-US" sz="2000" b="1" i="0" u="none" strike="noStrike" kern="1200" cap="none" spc="0" normalizeH="0" baseline="0" noProof="0" dirty="0">
                <a:ln>
                  <a:noFill/>
                </a:ln>
                <a:solidFill>
                  <a:prstClr val="black"/>
                </a:solidFill>
                <a:effectLst/>
                <a:uLnTx/>
                <a:uFillTx/>
                <a:latin typeface="Segoe UI Light"/>
                <a:ea typeface="+mn-ea"/>
                <a:cs typeface="Times New Roman" panose="02020603050405020304" pitchFamily="18" charset="0"/>
              </a:rPr>
              <a:t>send screenshots </a:t>
            </a:r>
            <a:r>
              <a:rPr kumimoji="0" lang="en-US" sz="2000" b="0" i="0" u="none" strike="noStrike" kern="1200" cap="none" spc="0" normalizeH="0" baseline="0" noProof="0" dirty="0">
                <a:ln>
                  <a:noFill/>
                </a:ln>
                <a:solidFill>
                  <a:prstClr val="black"/>
                </a:solidFill>
                <a:effectLst/>
                <a:uLnTx/>
                <a:uFillTx/>
                <a:latin typeface="Segoe UI Light"/>
                <a:ea typeface="+mn-ea"/>
                <a:cs typeface="Times New Roman" panose="02020603050405020304" pitchFamily="18" charset="0"/>
              </a:rPr>
              <a:t>of that report page directly to your inbox whenever the </a:t>
            </a:r>
            <a:r>
              <a:rPr kumimoji="0" lang="en-US" sz="2000" b="1" i="0" u="none" strike="noStrike" kern="1200" cap="none" spc="0" normalizeH="0" baseline="0" noProof="0" dirty="0">
                <a:ln>
                  <a:noFill/>
                </a:ln>
                <a:solidFill>
                  <a:prstClr val="black"/>
                </a:solidFill>
                <a:effectLst/>
                <a:uLnTx/>
                <a:uFillTx/>
                <a:latin typeface="Segoe UI Light"/>
                <a:ea typeface="+mn-ea"/>
                <a:cs typeface="Times New Roman" panose="02020603050405020304" pitchFamily="18" charset="0"/>
              </a:rPr>
              <a:t>data changes</a:t>
            </a:r>
            <a:r>
              <a:rPr kumimoji="0" lang="en-US" sz="2000" b="0" i="0" u="none" strike="noStrike" kern="1200" cap="none" spc="0" normalizeH="0" baseline="0" noProof="0" dirty="0">
                <a:ln>
                  <a:noFill/>
                </a:ln>
                <a:solidFill>
                  <a:prstClr val="black"/>
                </a:solidFill>
                <a:effectLst/>
                <a:uLnTx/>
                <a:uFillTx/>
                <a:latin typeface="Segoe UI Light"/>
                <a:ea typeface="+mn-ea"/>
                <a:cs typeface="Times New Roman" panose="02020603050405020304" pitchFamily="18" charset="0"/>
              </a:rPr>
              <a:t>.</a:t>
            </a:r>
            <a:endParaRPr kumimoji="0" lang="en-US" sz="2000" b="1" i="0" u="none" strike="noStrike" kern="1200" cap="none" spc="0" normalizeH="0" baseline="0" noProof="0" dirty="0">
              <a:ln>
                <a:noFill/>
              </a:ln>
              <a:solidFill>
                <a:prstClr val="black"/>
              </a:solidFill>
              <a:effectLst/>
              <a:uLnTx/>
              <a:uFillTx/>
              <a:latin typeface="Segoe UI Light"/>
              <a:ea typeface="+mn-ea"/>
              <a:cs typeface="Times New Roman" panose="02020603050405020304" pitchFamily="18" charset="0"/>
            </a:endParaRPr>
          </a:p>
        </p:txBody>
      </p:sp>
      <p:grpSp>
        <p:nvGrpSpPr>
          <p:cNvPr id="42" name="Group 41"/>
          <p:cNvGrpSpPr/>
          <p:nvPr/>
        </p:nvGrpSpPr>
        <p:grpSpPr>
          <a:xfrm>
            <a:off x="-2887" y="973"/>
            <a:ext cx="2849058" cy="6857027"/>
            <a:chOff x="2" y="487"/>
            <a:chExt cx="2849058" cy="6857027"/>
          </a:xfrm>
        </p:grpSpPr>
        <p:sp>
          <p:nvSpPr>
            <p:cNvPr id="51" name="Rectangle 15"/>
            <p:cNvSpPr/>
            <p:nvPr/>
          </p:nvSpPr>
          <p:spPr bwMode="auto">
            <a:xfrm>
              <a:off x="2" y="487"/>
              <a:ext cx="2849058" cy="685702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0" name="Rectangle 145"/>
            <p:cNvSpPr/>
            <p:nvPr/>
          </p:nvSpPr>
          <p:spPr bwMode="auto">
            <a:xfrm>
              <a:off x="696152" y="956997"/>
              <a:ext cx="1821468" cy="3831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2C812"/>
                  </a:solidFill>
                  <a:effectLst/>
                  <a:uLnTx/>
                  <a:uFillTx/>
                  <a:latin typeface="Segoe UI"/>
                  <a:ea typeface="+mn-ea"/>
                  <a:cs typeface="Segoe UI Light" panose="020B0502040204020203" pitchFamily="34" charset="0"/>
                </a:rPr>
                <a:t>Get Data</a:t>
              </a:r>
              <a:endParaRPr kumimoji="0" lang="en-US" sz="1200" b="1" i="1" u="none" strike="noStrike" kern="1200" cap="none" spc="0" normalizeH="0" baseline="0" noProof="0">
                <a:ln>
                  <a:noFill/>
                </a:ln>
                <a:solidFill>
                  <a:srgbClr val="F2C812"/>
                </a:solidFill>
                <a:effectLst/>
                <a:uLnTx/>
                <a:uFillTx/>
                <a:latin typeface="Segoe UI"/>
                <a:ea typeface="+mn-ea"/>
                <a:cs typeface="Segoe UI Light" panose="020B0502040204020203" pitchFamily="34" charset="0"/>
              </a:endParaRPr>
            </a:p>
          </p:txBody>
        </p:sp>
        <p:grpSp>
          <p:nvGrpSpPr>
            <p:cNvPr id="81" name="Group 80"/>
            <p:cNvGrpSpPr/>
            <p:nvPr/>
          </p:nvGrpSpPr>
          <p:grpSpPr>
            <a:xfrm>
              <a:off x="219373" y="934583"/>
              <a:ext cx="433844" cy="433844"/>
              <a:chOff x="440005" y="997815"/>
              <a:chExt cx="296322" cy="296322"/>
            </a:xfrm>
          </p:grpSpPr>
          <p:sp>
            <p:nvSpPr>
              <p:cNvPr id="101" name="Oval 147"/>
              <p:cNvSpPr/>
              <p:nvPr/>
            </p:nvSpPr>
            <p:spPr bwMode="auto">
              <a:xfrm>
                <a:off x="440005" y="997815"/>
                <a:ext cx="296322" cy="296322"/>
              </a:xfrm>
              <a:prstGeom prst="ellipse">
                <a:avLst/>
              </a:prstGeom>
              <a:solidFill>
                <a:srgbClr val="FFCC00"/>
              </a:solidFill>
              <a:ln>
                <a:solidFill>
                  <a:srgbClr val="F2C81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02" name="Group 332"/>
              <p:cNvGrpSpPr/>
              <p:nvPr/>
            </p:nvGrpSpPr>
            <p:grpSpPr>
              <a:xfrm>
                <a:off x="482167" y="1059311"/>
                <a:ext cx="211997" cy="173292"/>
                <a:chOff x="2123129" y="293070"/>
                <a:chExt cx="2472585" cy="2021178"/>
              </a:xfrm>
            </p:grpSpPr>
            <p:sp>
              <p:nvSpPr>
                <p:cNvPr id="103" name="Freeform 13"/>
                <p:cNvSpPr>
                  <a:spLocks/>
                </p:cNvSpPr>
                <p:nvPr/>
              </p:nvSpPr>
              <p:spPr bwMode="auto">
                <a:xfrm rot="20700000">
                  <a:off x="3155853" y="872796"/>
                  <a:ext cx="1439861" cy="1441452"/>
                </a:xfrm>
                <a:custGeom>
                  <a:avLst/>
                  <a:gdLst>
                    <a:gd name="T0" fmla="*/ 138 w 441"/>
                    <a:gd name="T1" fmla="*/ 341 h 441"/>
                    <a:gd name="T2" fmla="*/ 183 w 441"/>
                    <a:gd name="T3" fmla="*/ 374 h 441"/>
                    <a:gd name="T4" fmla="*/ 220 w 441"/>
                    <a:gd name="T5" fmla="*/ 423 h 441"/>
                    <a:gd name="T6" fmla="*/ 422 w 441"/>
                    <a:gd name="T7" fmla="*/ 220 h 441"/>
                    <a:gd name="T8" fmla="*/ 373 w 441"/>
                    <a:gd name="T9" fmla="*/ 184 h 441"/>
                    <a:gd name="T10" fmla="*/ 341 w 441"/>
                    <a:gd name="T11" fmla="*/ 139 h 441"/>
                    <a:gd name="T12" fmla="*/ 382 w 441"/>
                    <a:gd name="T13" fmla="*/ 58 h 441"/>
                    <a:gd name="T14" fmla="*/ 302 w 441"/>
                    <a:gd name="T15" fmla="*/ 100 h 441"/>
                    <a:gd name="T16" fmla="*/ 257 w 441"/>
                    <a:gd name="T17" fmla="*/ 67 h 441"/>
                    <a:gd name="T18" fmla="*/ 220 w 441"/>
                    <a:gd name="T19" fmla="*/ 18 h 441"/>
                    <a:gd name="T20" fmla="*/ 171 w 441"/>
                    <a:gd name="T21" fmla="*/ 55 h 441"/>
                    <a:gd name="T22" fmla="*/ 138 w 441"/>
                    <a:gd name="T23" fmla="*/ 100 h 441"/>
                    <a:gd name="T24" fmla="*/ 180 w 441"/>
                    <a:gd name="T25" fmla="*/ 181 h 441"/>
                    <a:gd name="T26" fmla="*/ 100 w 441"/>
                    <a:gd name="T27" fmla="*/ 139 h 441"/>
                    <a:gd name="T28" fmla="*/ 55 w 441"/>
                    <a:gd name="T29" fmla="*/ 171 h 441"/>
                    <a:gd name="T30" fmla="*/ 18 w 441"/>
                    <a:gd name="T31" fmla="*/ 220 h 441"/>
                    <a:gd name="T32" fmla="*/ 67 w 441"/>
                    <a:gd name="T33" fmla="*/ 257 h 441"/>
                    <a:gd name="T34" fmla="*/ 100 w 441"/>
                    <a:gd name="T35" fmla="*/ 302 h 441"/>
                    <a:gd name="T36" fmla="*/ 58 w 441"/>
                    <a:gd name="T37" fmla="*/ 383 h 441"/>
                    <a:gd name="T38" fmla="*/ 138 w 441"/>
                    <a:gd name="T39" fmla="*/ 341 h 4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41" h="441">
                      <a:moveTo>
                        <a:pt x="138" y="341"/>
                      </a:moveTo>
                      <a:cubicBezTo>
                        <a:pt x="147" y="337"/>
                        <a:pt x="171" y="361"/>
                        <a:pt x="183" y="374"/>
                      </a:cubicBezTo>
                      <a:cubicBezTo>
                        <a:pt x="196" y="386"/>
                        <a:pt x="220" y="423"/>
                        <a:pt x="220" y="423"/>
                      </a:cubicBezTo>
                      <a:cubicBezTo>
                        <a:pt x="422" y="220"/>
                        <a:pt x="422" y="220"/>
                        <a:pt x="422" y="220"/>
                      </a:cubicBezTo>
                      <a:cubicBezTo>
                        <a:pt x="422" y="220"/>
                        <a:pt x="386" y="196"/>
                        <a:pt x="373" y="184"/>
                      </a:cubicBezTo>
                      <a:cubicBezTo>
                        <a:pt x="361" y="171"/>
                        <a:pt x="338" y="149"/>
                        <a:pt x="341" y="139"/>
                      </a:cubicBezTo>
                      <a:cubicBezTo>
                        <a:pt x="343" y="129"/>
                        <a:pt x="441" y="116"/>
                        <a:pt x="382" y="58"/>
                      </a:cubicBezTo>
                      <a:cubicBezTo>
                        <a:pt x="324" y="0"/>
                        <a:pt x="310" y="96"/>
                        <a:pt x="302" y="100"/>
                      </a:cubicBezTo>
                      <a:cubicBezTo>
                        <a:pt x="294" y="104"/>
                        <a:pt x="269" y="80"/>
                        <a:pt x="257" y="67"/>
                      </a:cubicBezTo>
                      <a:cubicBezTo>
                        <a:pt x="245" y="55"/>
                        <a:pt x="220" y="18"/>
                        <a:pt x="220" y="18"/>
                      </a:cubicBezTo>
                      <a:cubicBezTo>
                        <a:pt x="220" y="18"/>
                        <a:pt x="183" y="43"/>
                        <a:pt x="171" y="55"/>
                      </a:cubicBezTo>
                      <a:cubicBezTo>
                        <a:pt x="159" y="67"/>
                        <a:pt x="134" y="92"/>
                        <a:pt x="138" y="100"/>
                      </a:cubicBezTo>
                      <a:cubicBezTo>
                        <a:pt x="142" y="108"/>
                        <a:pt x="238" y="122"/>
                        <a:pt x="180" y="181"/>
                      </a:cubicBezTo>
                      <a:cubicBezTo>
                        <a:pt x="122" y="239"/>
                        <a:pt x="110" y="141"/>
                        <a:pt x="100" y="139"/>
                      </a:cubicBezTo>
                      <a:cubicBezTo>
                        <a:pt x="89" y="137"/>
                        <a:pt x="67" y="159"/>
                        <a:pt x="55" y="171"/>
                      </a:cubicBezTo>
                      <a:cubicBezTo>
                        <a:pt x="42" y="184"/>
                        <a:pt x="18" y="220"/>
                        <a:pt x="18" y="220"/>
                      </a:cubicBezTo>
                      <a:cubicBezTo>
                        <a:pt x="18" y="220"/>
                        <a:pt x="55" y="245"/>
                        <a:pt x="67" y="257"/>
                      </a:cubicBezTo>
                      <a:cubicBezTo>
                        <a:pt x="79" y="269"/>
                        <a:pt x="102" y="292"/>
                        <a:pt x="100" y="302"/>
                      </a:cubicBezTo>
                      <a:cubicBezTo>
                        <a:pt x="98" y="312"/>
                        <a:pt x="0" y="325"/>
                        <a:pt x="58" y="383"/>
                      </a:cubicBezTo>
                      <a:cubicBezTo>
                        <a:pt x="116" y="441"/>
                        <a:pt x="130" y="345"/>
                        <a:pt x="138" y="341"/>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104" name="Freeform 14"/>
                <p:cNvSpPr>
                  <a:spLocks/>
                </p:cNvSpPr>
                <p:nvPr/>
              </p:nvSpPr>
              <p:spPr bwMode="auto">
                <a:xfrm rot="9900000">
                  <a:off x="2123129" y="293070"/>
                  <a:ext cx="1377948" cy="1377947"/>
                </a:xfrm>
                <a:custGeom>
                  <a:avLst/>
                  <a:gdLst>
                    <a:gd name="T0" fmla="*/ 422 w 422"/>
                    <a:gd name="T1" fmla="*/ 220 h 422"/>
                    <a:gd name="T2" fmla="*/ 386 w 422"/>
                    <a:gd name="T3" fmla="*/ 171 h 422"/>
                    <a:gd name="T4" fmla="*/ 341 w 422"/>
                    <a:gd name="T5" fmla="*/ 138 h 422"/>
                    <a:gd name="T6" fmla="*/ 260 w 422"/>
                    <a:gd name="T7" fmla="*/ 180 h 422"/>
                    <a:gd name="T8" fmla="*/ 302 w 422"/>
                    <a:gd name="T9" fmla="*/ 100 h 422"/>
                    <a:gd name="T10" fmla="*/ 269 w 422"/>
                    <a:gd name="T11" fmla="*/ 55 h 422"/>
                    <a:gd name="T12" fmla="*/ 220 w 422"/>
                    <a:gd name="T13" fmla="*/ 18 h 422"/>
                    <a:gd name="T14" fmla="*/ 183 w 422"/>
                    <a:gd name="T15" fmla="*/ 67 h 422"/>
                    <a:gd name="T16" fmla="*/ 138 w 422"/>
                    <a:gd name="T17" fmla="*/ 100 h 422"/>
                    <a:gd name="T18" fmla="*/ 58 w 422"/>
                    <a:gd name="T19" fmla="*/ 58 h 422"/>
                    <a:gd name="T20" fmla="*/ 100 w 422"/>
                    <a:gd name="T21" fmla="*/ 138 h 422"/>
                    <a:gd name="T22" fmla="*/ 67 w 422"/>
                    <a:gd name="T23" fmla="*/ 183 h 422"/>
                    <a:gd name="T24" fmla="*/ 18 w 422"/>
                    <a:gd name="T25" fmla="*/ 220 h 422"/>
                    <a:gd name="T26" fmla="*/ 55 w 422"/>
                    <a:gd name="T27" fmla="*/ 269 h 422"/>
                    <a:gd name="T28" fmla="*/ 100 w 422"/>
                    <a:gd name="T29" fmla="*/ 302 h 422"/>
                    <a:gd name="T30" fmla="*/ 180 w 422"/>
                    <a:gd name="T31" fmla="*/ 260 h 422"/>
                    <a:gd name="T32" fmla="*/ 138 w 422"/>
                    <a:gd name="T33" fmla="*/ 341 h 422"/>
                    <a:gd name="T34" fmla="*/ 171 w 422"/>
                    <a:gd name="T35" fmla="*/ 386 h 422"/>
                    <a:gd name="T36" fmla="*/ 220 w 422"/>
                    <a:gd name="T37" fmla="*/ 422 h 422"/>
                    <a:gd name="T38" fmla="*/ 422 w 422"/>
                    <a:gd name="T39" fmla="*/ 220 h 4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22" h="422">
                      <a:moveTo>
                        <a:pt x="422" y="220"/>
                      </a:moveTo>
                      <a:cubicBezTo>
                        <a:pt x="422" y="220"/>
                        <a:pt x="398" y="183"/>
                        <a:pt x="386" y="171"/>
                      </a:cubicBezTo>
                      <a:cubicBezTo>
                        <a:pt x="373" y="159"/>
                        <a:pt x="349" y="134"/>
                        <a:pt x="341" y="138"/>
                      </a:cubicBezTo>
                      <a:cubicBezTo>
                        <a:pt x="332" y="142"/>
                        <a:pt x="318" y="239"/>
                        <a:pt x="260" y="180"/>
                      </a:cubicBezTo>
                      <a:cubicBezTo>
                        <a:pt x="202" y="122"/>
                        <a:pt x="300" y="110"/>
                        <a:pt x="302" y="100"/>
                      </a:cubicBezTo>
                      <a:cubicBezTo>
                        <a:pt x="304" y="90"/>
                        <a:pt x="281" y="67"/>
                        <a:pt x="269" y="55"/>
                      </a:cubicBezTo>
                      <a:cubicBezTo>
                        <a:pt x="257" y="42"/>
                        <a:pt x="220" y="18"/>
                        <a:pt x="220" y="18"/>
                      </a:cubicBezTo>
                      <a:cubicBezTo>
                        <a:pt x="220" y="18"/>
                        <a:pt x="196" y="55"/>
                        <a:pt x="183" y="67"/>
                      </a:cubicBezTo>
                      <a:cubicBezTo>
                        <a:pt x="171" y="79"/>
                        <a:pt x="149" y="102"/>
                        <a:pt x="138" y="100"/>
                      </a:cubicBezTo>
                      <a:cubicBezTo>
                        <a:pt x="128" y="98"/>
                        <a:pt x="116" y="0"/>
                        <a:pt x="58" y="58"/>
                      </a:cubicBezTo>
                      <a:cubicBezTo>
                        <a:pt x="0" y="116"/>
                        <a:pt x="96" y="130"/>
                        <a:pt x="100" y="138"/>
                      </a:cubicBezTo>
                      <a:cubicBezTo>
                        <a:pt x="104" y="147"/>
                        <a:pt x="79" y="171"/>
                        <a:pt x="67" y="183"/>
                      </a:cubicBezTo>
                      <a:cubicBezTo>
                        <a:pt x="55" y="196"/>
                        <a:pt x="18" y="220"/>
                        <a:pt x="18" y="220"/>
                      </a:cubicBezTo>
                      <a:cubicBezTo>
                        <a:pt x="18" y="220"/>
                        <a:pt x="42" y="257"/>
                        <a:pt x="55" y="269"/>
                      </a:cubicBezTo>
                      <a:cubicBezTo>
                        <a:pt x="67" y="281"/>
                        <a:pt x="91" y="306"/>
                        <a:pt x="100" y="302"/>
                      </a:cubicBezTo>
                      <a:cubicBezTo>
                        <a:pt x="108" y="298"/>
                        <a:pt x="122" y="202"/>
                        <a:pt x="180" y="260"/>
                      </a:cubicBezTo>
                      <a:cubicBezTo>
                        <a:pt x="238" y="318"/>
                        <a:pt x="140" y="330"/>
                        <a:pt x="138" y="341"/>
                      </a:cubicBezTo>
                      <a:cubicBezTo>
                        <a:pt x="136" y="351"/>
                        <a:pt x="159" y="373"/>
                        <a:pt x="171" y="386"/>
                      </a:cubicBezTo>
                      <a:cubicBezTo>
                        <a:pt x="183" y="398"/>
                        <a:pt x="220" y="422"/>
                        <a:pt x="220" y="422"/>
                      </a:cubicBezTo>
                      <a:lnTo>
                        <a:pt x="422" y="22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grpSp>
        </p:grpSp>
        <p:sp>
          <p:nvSpPr>
            <p:cNvPr id="82" name="Rectangle 152"/>
            <p:cNvSpPr/>
            <p:nvPr/>
          </p:nvSpPr>
          <p:spPr bwMode="auto">
            <a:xfrm>
              <a:off x="669652" y="2738277"/>
              <a:ext cx="1805162" cy="37532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2C812"/>
                  </a:solidFill>
                  <a:effectLst/>
                  <a:uLnTx/>
                  <a:uFillTx/>
                  <a:latin typeface="Segoe UI"/>
                  <a:ea typeface="+mn-ea"/>
                  <a:cs typeface="Segoe UI Light" panose="020B0502040204020203" pitchFamily="34" charset="0"/>
                </a:rPr>
                <a:t>Keeping Data Current</a:t>
              </a:r>
            </a:p>
          </p:txBody>
        </p:sp>
        <p:grpSp>
          <p:nvGrpSpPr>
            <p:cNvPr id="83" name="Group 82"/>
            <p:cNvGrpSpPr/>
            <p:nvPr/>
          </p:nvGrpSpPr>
          <p:grpSpPr>
            <a:xfrm>
              <a:off x="199649" y="2692629"/>
              <a:ext cx="433844" cy="433844"/>
              <a:chOff x="342620" y="2228265"/>
              <a:chExt cx="433844" cy="433844"/>
            </a:xfrm>
            <a:solidFill>
              <a:schemeClr val="bg1"/>
            </a:solidFill>
          </p:grpSpPr>
          <p:sp>
            <p:nvSpPr>
              <p:cNvPr id="99" name="Oval 154"/>
              <p:cNvSpPr/>
              <p:nvPr/>
            </p:nvSpPr>
            <p:spPr bwMode="auto">
              <a:xfrm>
                <a:off x="342620" y="2228265"/>
                <a:ext cx="433844" cy="433844"/>
              </a:xfrm>
              <a:prstGeom prst="ellipse">
                <a:avLst/>
              </a:prstGeom>
              <a:solidFill>
                <a:srgbClr val="FFC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0" name="Freeform 30"/>
              <p:cNvSpPr>
                <a:spLocks noEditPoints="1"/>
              </p:cNvSpPr>
              <p:nvPr/>
            </p:nvSpPr>
            <p:spPr bwMode="auto">
              <a:xfrm>
                <a:off x="444786" y="2340040"/>
                <a:ext cx="238402" cy="210293"/>
              </a:xfrm>
              <a:custGeom>
                <a:avLst/>
                <a:gdLst>
                  <a:gd name="T0" fmla="*/ 883 w 916"/>
                  <a:gd name="T1" fmla="*/ 286 h 808"/>
                  <a:gd name="T2" fmla="*/ 539 w 916"/>
                  <a:gd name="T3" fmla="*/ 723 h 808"/>
                  <a:gd name="T4" fmla="*/ 504 w 916"/>
                  <a:gd name="T5" fmla="*/ 0 h 808"/>
                  <a:gd name="T6" fmla="*/ 35 w 916"/>
                  <a:gd name="T7" fmla="*/ 723 h 808"/>
                  <a:gd name="T8" fmla="*/ 0 w 916"/>
                  <a:gd name="T9" fmla="*/ 808 h 808"/>
                  <a:gd name="T10" fmla="*/ 916 w 916"/>
                  <a:gd name="T11" fmla="*/ 723 h 808"/>
                  <a:gd name="T12" fmla="*/ 229 w 916"/>
                  <a:gd name="T13" fmla="*/ 665 h 808"/>
                  <a:gd name="T14" fmla="*/ 109 w 916"/>
                  <a:gd name="T15" fmla="*/ 596 h 808"/>
                  <a:gd name="T16" fmla="*/ 229 w 916"/>
                  <a:gd name="T17" fmla="*/ 665 h 808"/>
                  <a:gd name="T18" fmla="*/ 109 w 916"/>
                  <a:gd name="T19" fmla="*/ 501 h 808"/>
                  <a:gd name="T20" fmla="*/ 229 w 916"/>
                  <a:gd name="T21" fmla="*/ 432 h 808"/>
                  <a:gd name="T22" fmla="*/ 229 w 916"/>
                  <a:gd name="T23" fmla="*/ 337 h 808"/>
                  <a:gd name="T24" fmla="*/ 109 w 916"/>
                  <a:gd name="T25" fmla="*/ 267 h 808"/>
                  <a:gd name="T26" fmla="*/ 229 w 916"/>
                  <a:gd name="T27" fmla="*/ 337 h 808"/>
                  <a:gd name="T28" fmla="*/ 109 w 916"/>
                  <a:gd name="T29" fmla="*/ 172 h 808"/>
                  <a:gd name="T30" fmla="*/ 229 w 916"/>
                  <a:gd name="T31" fmla="*/ 103 h 808"/>
                  <a:gd name="T32" fmla="*/ 428 w 916"/>
                  <a:gd name="T33" fmla="*/ 665 h 808"/>
                  <a:gd name="T34" fmla="*/ 307 w 916"/>
                  <a:gd name="T35" fmla="*/ 596 h 808"/>
                  <a:gd name="T36" fmla="*/ 428 w 916"/>
                  <a:gd name="T37" fmla="*/ 665 h 808"/>
                  <a:gd name="T38" fmla="*/ 307 w 916"/>
                  <a:gd name="T39" fmla="*/ 501 h 808"/>
                  <a:gd name="T40" fmla="*/ 428 w 916"/>
                  <a:gd name="T41" fmla="*/ 432 h 808"/>
                  <a:gd name="T42" fmla="*/ 428 w 916"/>
                  <a:gd name="T43" fmla="*/ 337 h 808"/>
                  <a:gd name="T44" fmla="*/ 307 w 916"/>
                  <a:gd name="T45" fmla="*/ 267 h 808"/>
                  <a:gd name="T46" fmla="*/ 428 w 916"/>
                  <a:gd name="T47" fmla="*/ 337 h 808"/>
                  <a:gd name="T48" fmla="*/ 307 w 916"/>
                  <a:gd name="T49" fmla="*/ 172 h 808"/>
                  <a:gd name="T50" fmla="*/ 428 w 916"/>
                  <a:gd name="T51" fmla="*/ 103 h 808"/>
                  <a:gd name="T52" fmla="*/ 684 w 916"/>
                  <a:gd name="T53" fmla="*/ 668 h 808"/>
                  <a:gd name="T54" fmla="*/ 606 w 916"/>
                  <a:gd name="T55" fmla="*/ 549 h 808"/>
                  <a:gd name="T56" fmla="*/ 684 w 916"/>
                  <a:gd name="T57" fmla="*/ 668 h 808"/>
                  <a:gd name="T58" fmla="*/ 606 w 916"/>
                  <a:gd name="T59" fmla="*/ 482 h 808"/>
                  <a:gd name="T60" fmla="*/ 684 w 916"/>
                  <a:gd name="T61" fmla="*/ 365 h 808"/>
                  <a:gd name="T62" fmla="*/ 816 w 916"/>
                  <a:gd name="T63" fmla="*/ 668 h 808"/>
                  <a:gd name="T64" fmla="*/ 738 w 916"/>
                  <a:gd name="T65" fmla="*/ 549 h 808"/>
                  <a:gd name="T66" fmla="*/ 816 w 916"/>
                  <a:gd name="T67" fmla="*/ 668 h 808"/>
                  <a:gd name="T68" fmla="*/ 738 w 916"/>
                  <a:gd name="T69" fmla="*/ 482 h 808"/>
                  <a:gd name="T70" fmla="*/ 816 w 916"/>
                  <a:gd name="T71" fmla="*/ 365 h 8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16" h="808">
                    <a:moveTo>
                      <a:pt x="883" y="723"/>
                    </a:moveTo>
                    <a:lnTo>
                      <a:pt x="883" y="286"/>
                    </a:lnTo>
                    <a:lnTo>
                      <a:pt x="539" y="286"/>
                    </a:lnTo>
                    <a:lnTo>
                      <a:pt x="539" y="723"/>
                    </a:lnTo>
                    <a:lnTo>
                      <a:pt x="504" y="723"/>
                    </a:lnTo>
                    <a:lnTo>
                      <a:pt x="504" y="0"/>
                    </a:lnTo>
                    <a:lnTo>
                      <a:pt x="35" y="0"/>
                    </a:lnTo>
                    <a:lnTo>
                      <a:pt x="35" y="723"/>
                    </a:lnTo>
                    <a:lnTo>
                      <a:pt x="0" y="723"/>
                    </a:lnTo>
                    <a:lnTo>
                      <a:pt x="0" y="808"/>
                    </a:lnTo>
                    <a:lnTo>
                      <a:pt x="916" y="808"/>
                    </a:lnTo>
                    <a:lnTo>
                      <a:pt x="916" y="723"/>
                    </a:lnTo>
                    <a:lnTo>
                      <a:pt x="883" y="723"/>
                    </a:lnTo>
                    <a:close/>
                    <a:moveTo>
                      <a:pt x="229" y="665"/>
                    </a:moveTo>
                    <a:lnTo>
                      <a:pt x="109" y="665"/>
                    </a:lnTo>
                    <a:lnTo>
                      <a:pt x="109" y="596"/>
                    </a:lnTo>
                    <a:lnTo>
                      <a:pt x="229" y="596"/>
                    </a:lnTo>
                    <a:lnTo>
                      <a:pt x="229" y="665"/>
                    </a:lnTo>
                    <a:close/>
                    <a:moveTo>
                      <a:pt x="229" y="501"/>
                    </a:moveTo>
                    <a:lnTo>
                      <a:pt x="109" y="501"/>
                    </a:lnTo>
                    <a:lnTo>
                      <a:pt x="109" y="432"/>
                    </a:lnTo>
                    <a:lnTo>
                      <a:pt x="229" y="432"/>
                    </a:lnTo>
                    <a:lnTo>
                      <a:pt x="229" y="501"/>
                    </a:lnTo>
                    <a:close/>
                    <a:moveTo>
                      <a:pt x="229" y="337"/>
                    </a:moveTo>
                    <a:lnTo>
                      <a:pt x="109" y="337"/>
                    </a:lnTo>
                    <a:lnTo>
                      <a:pt x="109" y="267"/>
                    </a:lnTo>
                    <a:lnTo>
                      <a:pt x="229" y="267"/>
                    </a:lnTo>
                    <a:lnTo>
                      <a:pt x="229" y="337"/>
                    </a:lnTo>
                    <a:close/>
                    <a:moveTo>
                      <a:pt x="229" y="172"/>
                    </a:moveTo>
                    <a:lnTo>
                      <a:pt x="109" y="172"/>
                    </a:lnTo>
                    <a:lnTo>
                      <a:pt x="109" y="103"/>
                    </a:lnTo>
                    <a:lnTo>
                      <a:pt x="229" y="103"/>
                    </a:lnTo>
                    <a:lnTo>
                      <a:pt x="229" y="172"/>
                    </a:lnTo>
                    <a:close/>
                    <a:moveTo>
                      <a:pt x="428" y="665"/>
                    </a:moveTo>
                    <a:lnTo>
                      <a:pt x="307" y="665"/>
                    </a:lnTo>
                    <a:lnTo>
                      <a:pt x="307" y="596"/>
                    </a:lnTo>
                    <a:lnTo>
                      <a:pt x="428" y="596"/>
                    </a:lnTo>
                    <a:lnTo>
                      <a:pt x="428" y="665"/>
                    </a:lnTo>
                    <a:close/>
                    <a:moveTo>
                      <a:pt x="428" y="501"/>
                    </a:moveTo>
                    <a:lnTo>
                      <a:pt x="307" y="501"/>
                    </a:lnTo>
                    <a:lnTo>
                      <a:pt x="307" y="432"/>
                    </a:lnTo>
                    <a:lnTo>
                      <a:pt x="428" y="432"/>
                    </a:lnTo>
                    <a:lnTo>
                      <a:pt x="428" y="501"/>
                    </a:lnTo>
                    <a:close/>
                    <a:moveTo>
                      <a:pt x="428" y="337"/>
                    </a:moveTo>
                    <a:lnTo>
                      <a:pt x="307" y="337"/>
                    </a:lnTo>
                    <a:lnTo>
                      <a:pt x="307" y="267"/>
                    </a:lnTo>
                    <a:lnTo>
                      <a:pt x="428" y="267"/>
                    </a:lnTo>
                    <a:lnTo>
                      <a:pt x="428" y="337"/>
                    </a:lnTo>
                    <a:close/>
                    <a:moveTo>
                      <a:pt x="428" y="172"/>
                    </a:moveTo>
                    <a:lnTo>
                      <a:pt x="307" y="172"/>
                    </a:lnTo>
                    <a:lnTo>
                      <a:pt x="307" y="103"/>
                    </a:lnTo>
                    <a:lnTo>
                      <a:pt x="428" y="103"/>
                    </a:lnTo>
                    <a:lnTo>
                      <a:pt x="428" y="172"/>
                    </a:lnTo>
                    <a:close/>
                    <a:moveTo>
                      <a:pt x="684" y="668"/>
                    </a:moveTo>
                    <a:lnTo>
                      <a:pt x="606" y="668"/>
                    </a:lnTo>
                    <a:lnTo>
                      <a:pt x="606" y="549"/>
                    </a:lnTo>
                    <a:lnTo>
                      <a:pt x="684" y="549"/>
                    </a:lnTo>
                    <a:lnTo>
                      <a:pt x="684" y="668"/>
                    </a:lnTo>
                    <a:close/>
                    <a:moveTo>
                      <a:pt x="684" y="482"/>
                    </a:moveTo>
                    <a:lnTo>
                      <a:pt x="606" y="482"/>
                    </a:lnTo>
                    <a:lnTo>
                      <a:pt x="606" y="365"/>
                    </a:lnTo>
                    <a:lnTo>
                      <a:pt x="684" y="365"/>
                    </a:lnTo>
                    <a:lnTo>
                      <a:pt x="684" y="482"/>
                    </a:lnTo>
                    <a:close/>
                    <a:moveTo>
                      <a:pt x="816" y="668"/>
                    </a:moveTo>
                    <a:lnTo>
                      <a:pt x="738" y="668"/>
                    </a:lnTo>
                    <a:lnTo>
                      <a:pt x="738" y="549"/>
                    </a:lnTo>
                    <a:lnTo>
                      <a:pt x="816" y="549"/>
                    </a:lnTo>
                    <a:lnTo>
                      <a:pt x="816" y="668"/>
                    </a:lnTo>
                    <a:close/>
                    <a:moveTo>
                      <a:pt x="816" y="482"/>
                    </a:moveTo>
                    <a:lnTo>
                      <a:pt x="738" y="482"/>
                    </a:lnTo>
                    <a:lnTo>
                      <a:pt x="738" y="365"/>
                    </a:lnTo>
                    <a:lnTo>
                      <a:pt x="816" y="365"/>
                    </a:lnTo>
                    <a:lnTo>
                      <a:pt x="816" y="482"/>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grpSp>
        <p:sp>
          <p:nvSpPr>
            <p:cNvPr id="84" name="TextBox 83"/>
            <p:cNvSpPr txBox="1"/>
            <p:nvPr/>
          </p:nvSpPr>
          <p:spPr>
            <a:xfrm>
              <a:off x="83345" y="113808"/>
              <a:ext cx="2532630" cy="627864"/>
            </a:xfrm>
            <a:prstGeom prst="rect">
              <a:avLst/>
            </a:prstGeom>
            <a:noFill/>
          </p:spPr>
          <p:txBody>
            <a:bodyPr wrap="square" lIns="182880" tIns="146304" rIns="182880" bIns="146304" rtlCol="0">
              <a:spAutoFit/>
            </a:bodyPr>
            <a:lstStyle>
              <a:defPPr>
                <a:defRPr lang="en-US"/>
              </a:defPPr>
              <a:lvl1pPr>
                <a:lnSpc>
                  <a:spcPct val="90000"/>
                </a:lnSpc>
                <a:spcAft>
                  <a:spcPts val="600"/>
                </a:spcAft>
                <a:defRPr sz="2800" b="1">
                  <a:solidFill>
                    <a:srgbClr val="F2C812"/>
                  </a:solidFill>
                  <a:latin typeface="Segoe UI Light"/>
                </a:defRPr>
              </a:lvl1p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400" b="1" i="0" u="none" strike="noStrike" kern="1200" cap="none" spc="0" normalizeH="0" baseline="0" noProof="0">
                  <a:ln>
                    <a:noFill/>
                  </a:ln>
                  <a:solidFill>
                    <a:srgbClr val="F2C812"/>
                  </a:solidFill>
                  <a:effectLst/>
                  <a:uLnTx/>
                  <a:uFillTx/>
                  <a:latin typeface="Segoe UI Light"/>
                  <a:ea typeface="+mn-ea"/>
                  <a:cs typeface="+mn-cs"/>
                </a:rPr>
                <a:t>Power BI Service</a:t>
              </a:r>
              <a:endParaRPr kumimoji="0" lang="en-US" sz="2800" b="1" i="0" u="none" strike="noStrike" kern="1200" cap="none" spc="0" normalizeH="0" baseline="0" noProof="0">
                <a:ln>
                  <a:noFill/>
                </a:ln>
                <a:solidFill>
                  <a:srgbClr val="F2C812"/>
                </a:solidFill>
                <a:effectLst/>
                <a:uLnTx/>
                <a:uFillTx/>
                <a:latin typeface="Segoe UI Light"/>
                <a:ea typeface="+mn-ea"/>
                <a:cs typeface="+mn-cs"/>
              </a:endParaRPr>
            </a:p>
          </p:txBody>
        </p:sp>
        <p:grpSp>
          <p:nvGrpSpPr>
            <p:cNvPr id="85" name="Group 84"/>
            <p:cNvGrpSpPr/>
            <p:nvPr/>
          </p:nvGrpSpPr>
          <p:grpSpPr>
            <a:xfrm>
              <a:off x="219373" y="3621383"/>
              <a:ext cx="433844" cy="645668"/>
              <a:chOff x="280990" y="3358164"/>
              <a:chExt cx="433844" cy="645668"/>
            </a:xfrm>
          </p:grpSpPr>
          <p:sp>
            <p:nvSpPr>
              <p:cNvPr id="92" name="Oval 1083"/>
              <p:cNvSpPr/>
              <p:nvPr/>
            </p:nvSpPr>
            <p:spPr bwMode="auto">
              <a:xfrm>
                <a:off x="280990" y="3358164"/>
                <a:ext cx="433844" cy="433847"/>
              </a:xfrm>
              <a:prstGeom prst="ellipse">
                <a:avLst/>
              </a:prstGeom>
              <a:solidFill>
                <a:srgbClr val="F2C812"/>
              </a:solidFill>
              <a:ln>
                <a:solidFill>
                  <a:srgbClr val="FFCC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93" name="Group 379"/>
              <p:cNvGrpSpPr/>
              <p:nvPr/>
            </p:nvGrpSpPr>
            <p:grpSpPr>
              <a:xfrm>
                <a:off x="453702" y="3910852"/>
                <a:ext cx="175660" cy="92980"/>
                <a:chOff x="3895793" y="7466656"/>
                <a:chExt cx="785810" cy="415941"/>
              </a:xfrm>
              <a:solidFill>
                <a:srgbClr val="00BCF2"/>
              </a:solidFill>
            </p:grpSpPr>
            <p:sp>
              <p:nvSpPr>
                <p:cNvPr id="94" name="Freeform 132"/>
                <p:cNvSpPr>
                  <a:spLocks/>
                </p:cNvSpPr>
                <p:nvPr/>
              </p:nvSpPr>
              <p:spPr bwMode="auto">
                <a:xfrm>
                  <a:off x="4125979" y="7688918"/>
                  <a:ext cx="0" cy="6353"/>
                </a:xfrm>
                <a:custGeom>
                  <a:avLst/>
                  <a:gdLst>
                    <a:gd name="T0" fmla="*/ 1 w 1"/>
                    <a:gd name="T1" fmla="*/ 0 h 8"/>
                    <a:gd name="T2" fmla="*/ 0 w 1"/>
                    <a:gd name="T3" fmla="*/ 0 h 8"/>
                    <a:gd name="T4" fmla="*/ 1 w 1"/>
                    <a:gd name="T5" fmla="*/ 8 h 8"/>
                    <a:gd name="T6" fmla="*/ 1 w 1"/>
                    <a:gd name="T7" fmla="*/ 0 h 8"/>
                  </a:gdLst>
                  <a:ahLst/>
                  <a:cxnLst>
                    <a:cxn ang="0">
                      <a:pos x="T0" y="T1"/>
                    </a:cxn>
                    <a:cxn ang="0">
                      <a:pos x="T2" y="T3"/>
                    </a:cxn>
                    <a:cxn ang="0">
                      <a:pos x="T4" y="T5"/>
                    </a:cxn>
                    <a:cxn ang="0">
                      <a:pos x="T6" y="T7"/>
                    </a:cxn>
                  </a:cxnLst>
                  <a:rect l="0" t="0" r="r" b="b"/>
                  <a:pathLst>
                    <a:path w="1" h="8">
                      <a:moveTo>
                        <a:pt x="1" y="0"/>
                      </a:moveTo>
                      <a:cubicBezTo>
                        <a:pt x="0" y="0"/>
                        <a:pt x="0" y="0"/>
                        <a:pt x="0" y="0"/>
                      </a:cubicBezTo>
                      <a:cubicBezTo>
                        <a:pt x="0" y="3"/>
                        <a:pt x="1" y="5"/>
                        <a:pt x="1" y="8"/>
                      </a:cubicBezTo>
                      <a:lnTo>
                        <a:pt x="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95" name="Freeform 133"/>
                <p:cNvSpPr>
                  <a:spLocks/>
                </p:cNvSpPr>
                <p:nvPr/>
              </p:nvSpPr>
              <p:spPr bwMode="auto">
                <a:xfrm>
                  <a:off x="3895793" y="7812745"/>
                  <a:ext cx="219078" cy="69852"/>
                </a:xfrm>
                <a:custGeom>
                  <a:avLst/>
                  <a:gdLst>
                    <a:gd name="T0" fmla="*/ 186 w 238"/>
                    <a:gd name="T1" fmla="*/ 9 h 76"/>
                    <a:gd name="T2" fmla="*/ 131 w 238"/>
                    <a:gd name="T3" fmla="*/ 22 h 76"/>
                    <a:gd name="T4" fmla="*/ 60 w 238"/>
                    <a:gd name="T5" fmla="*/ 0 h 76"/>
                    <a:gd name="T6" fmla="*/ 0 w 238"/>
                    <a:gd name="T7" fmla="*/ 42 h 76"/>
                    <a:gd name="T8" fmla="*/ 0 w 238"/>
                    <a:gd name="T9" fmla="*/ 76 h 76"/>
                    <a:gd name="T10" fmla="*/ 238 w 238"/>
                    <a:gd name="T11" fmla="*/ 76 h 76"/>
                    <a:gd name="T12" fmla="*/ 236 w 238"/>
                    <a:gd name="T13" fmla="*/ 53 h 76"/>
                    <a:gd name="T14" fmla="*/ 236 w 238"/>
                    <a:gd name="T15" fmla="*/ 49 h 76"/>
                    <a:gd name="T16" fmla="*/ 186 w 238"/>
                    <a:gd name="T17" fmla="*/ 9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8" h="76">
                      <a:moveTo>
                        <a:pt x="186" y="9"/>
                      </a:moveTo>
                      <a:cubicBezTo>
                        <a:pt x="169" y="18"/>
                        <a:pt x="150" y="22"/>
                        <a:pt x="131" y="22"/>
                      </a:cubicBezTo>
                      <a:cubicBezTo>
                        <a:pt x="105" y="22"/>
                        <a:pt x="80" y="14"/>
                        <a:pt x="60" y="0"/>
                      </a:cubicBezTo>
                      <a:cubicBezTo>
                        <a:pt x="0" y="42"/>
                        <a:pt x="0" y="42"/>
                        <a:pt x="0" y="42"/>
                      </a:cubicBezTo>
                      <a:cubicBezTo>
                        <a:pt x="0" y="76"/>
                        <a:pt x="0" y="76"/>
                        <a:pt x="0" y="76"/>
                      </a:cubicBezTo>
                      <a:cubicBezTo>
                        <a:pt x="238" y="76"/>
                        <a:pt x="238" y="76"/>
                        <a:pt x="238" y="76"/>
                      </a:cubicBezTo>
                      <a:cubicBezTo>
                        <a:pt x="237" y="68"/>
                        <a:pt x="236" y="61"/>
                        <a:pt x="236" y="53"/>
                      </a:cubicBezTo>
                      <a:cubicBezTo>
                        <a:pt x="236" y="51"/>
                        <a:pt x="236" y="50"/>
                        <a:pt x="236" y="49"/>
                      </a:cubicBezTo>
                      <a:lnTo>
                        <a:pt x="186" y="9"/>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96" name="Freeform 137"/>
                <p:cNvSpPr>
                  <a:spLocks/>
                </p:cNvSpPr>
                <p:nvPr/>
              </p:nvSpPr>
              <p:spPr bwMode="auto">
                <a:xfrm>
                  <a:off x="4338704" y="7809561"/>
                  <a:ext cx="65090" cy="73028"/>
                </a:xfrm>
                <a:custGeom>
                  <a:avLst/>
                  <a:gdLst>
                    <a:gd name="T0" fmla="*/ 71 w 71"/>
                    <a:gd name="T1" fmla="*/ 79 h 79"/>
                    <a:gd name="T2" fmla="*/ 71 w 71"/>
                    <a:gd name="T3" fmla="*/ 0 h 79"/>
                    <a:gd name="T4" fmla="*/ 2 w 71"/>
                    <a:gd name="T5" fmla="*/ 53 h 79"/>
                    <a:gd name="T6" fmla="*/ 2 w 71"/>
                    <a:gd name="T7" fmla="*/ 56 h 79"/>
                    <a:gd name="T8" fmla="*/ 0 w 71"/>
                    <a:gd name="T9" fmla="*/ 79 h 79"/>
                    <a:gd name="T10" fmla="*/ 71 w 71"/>
                    <a:gd name="T11" fmla="*/ 79 h 79"/>
                  </a:gdLst>
                  <a:ahLst/>
                  <a:cxnLst>
                    <a:cxn ang="0">
                      <a:pos x="T0" y="T1"/>
                    </a:cxn>
                    <a:cxn ang="0">
                      <a:pos x="T2" y="T3"/>
                    </a:cxn>
                    <a:cxn ang="0">
                      <a:pos x="T4" y="T5"/>
                    </a:cxn>
                    <a:cxn ang="0">
                      <a:pos x="T6" y="T7"/>
                    </a:cxn>
                    <a:cxn ang="0">
                      <a:pos x="T8" y="T9"/>
                    </a:cxn>
                    <a:cxn ang="0">
                      <a:pos x="T10" y="T11"/>
                    </a:cxn>
                  </a:cxnLst>
                  <a:rect l="0" t="0" r="r" b="b"/>
                  <a:pathLst>
                    <a:path w="71" h="79">
                      <a:moveTo>
                        <a:pt x="71" y="79"/>
                      </a:moveTo>
                      <a:cubicBezTo>
                        <a:pt x="71" y="0"/>
                        <a:pt x="71" y="0"/>
                        <a:pt x="71" y="0"/>
                      </a:cubicBezTo>
                      <a:cubicBezTo>
                        <a:pt x="2" y="53"/>
                        <a:pt x="2" y="53"/>
                        <a:pt x="2" y="53"/>
                      </a:cubicBezTo>
                      <a:cubicBezTo>
                        <a:pt x="2" y="54"/>
                        <a:pt x="2" y="55"/>
                        <a:pt x="2" y="56"/>
                      </a:cubicBezTo>
                      <a:cubicBezTo>
                        <a:pt x="2" y="64"/>
                        <a:pt x="1" y="71"/>
                        <a:pt x="0" y="79"/>
                      </a:cubicBezTo>
                      <a:lnTo>
                        <a:pt x="71" y="79"/>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97" name="Freeform 140"/>
                <p:cNvSpPr>
                  <a:spLocks/>
                </p:cNvSpPr>
                <p:nvPr/>
              </p:nvSpPr>
              <p:spPr bwMode="auto">
                <a:xfrm>
                  <a:off x="4600643" y="7622229"/>
                  <a:ext cx="80960" cy="38099"/>
                </a:xfrm>
                <a:custGeom>
                  <a:avLst/>
                  <a:gdLst>
                    <a:gd name="T0" fmla="*/ 0 w 51"/>
                    <a:gd name="T1" fmla="*/ 24 h 24"/>
                    <a:gd name="T2" fmla="*/ 51 w 51"/>
                    <a:gd name="T3" fmla="*/ 24 h 24"/>
                    <a:gd name="T4" fmla="*/ 32 w 51"/>
                    <a:gd name="T5" fmla="*/ 0 h 24"/>
                    <a:gd name="T6" fmla="*/ 0 w 51"/>
                    <a:gd name="T7" fmla="*/ 24 h 24"/>
                  </a:gdLst>
                  <a:ahLst/>
                  <a:cxnLst>
                    <a:cxn ang="0">
                      <a:pos x="T0" y="T1"/>
                    </a:cxn>
                    <a:cxn ang="0">
                      <a:pos x="T2" y="T3"/>
                    </a:cxn>
                    <a:cxn ang="0">
                      <a:pos x="T4" y="T5"/>
                    </a:cxn>
                    <a:cxn ang="0">
                      <a:pos x="T6" y="T7"/>
                    </a:cxn>
                  </a:cxnLst>
                  <a:rect l="0" t="0" r="r" b="b"/>
                  <a:pathLst>
                    <a:path w="51" h="24">
                      <a:moveTo>
                        <a:pt x="0" y="24"/>
                      </a:moveTo>
                      <a:lnTo>
                        <a:pt x="51" y="24"/>
                      </a:lnTo>
                      <a:lnTo>
                        <a:pt x="32" y="0"/>
                      </a:lnTo>
                      <a:lnTo>
                        <a:pt x="0" y="24"/>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98" name="Freeform 141"/>
                <p:cNvSpPr>
                  <a:spLocks/>
                </p:cNvSpPr>
                <p:nvPr/>
              </p:nvSpPr>
              <p:spPr bwMode="auto">
                <a:xfrm>
                  <a:off x="4449825" y="7466656"/>
                  <a:ext cx="119065" cy="139703"/>
                </a:xfrm>
                <a:custGeom>
                  <a:avLst/>
                  <a:gdLst>
                    <a:gd name="T0" fmla="*/ 52 w 75"/>
                    <a:gd name="T1" fmla="*/ 0 h 88"/>
                    <a:gd name="T2" fmla="*/ 0 w 75"/>
                    <a:gd name="T3" fmla="*/ 0 h 88"/>
                    <a:gd name="T4" fmla="*/ 0 w 75"/>
                    <a:gd name="T5" fmla="*/ 88 h 88"/>
                    <a:gd name="T6" fmla="*/ 75 w 75"/>
                    <a:gd name="T7" fmla="*/ 30 h 88"/>
                    <a:gd name="T8" fmla="*/ 52 w 75"/>
                    <a:gd name="T9" fmla="*/ 0 h 88"/>
                  </a:gdLst>
                  <a:ahLst/>
                  <a:cxnLst>
                    <a:cxn ang="0">
                      <a:pos x="T0" y="T1"/>
                    </a:cxn>
                    <a:cxn ang="0">
                      <a:pos x="T2" y="T3"/>
                    </a:cxn>
                    <a:cxn ang="0">
                      <a:pos x="T4" y="T5"/>
                    </a:cxn>
                    <a:cxn ang="0">
                      <a:pos x="T6" y="T7"/>
                    </a:cxn>
                    <a:cxn ang="0">
                      <a:pos x="T8" y="T9"/>
                    </a:cxn>
                  </a:cxnLst>
                  <a:rect l="0" t="0" r="r" b="b"/>
                  <a:pathLst>
                    <a:path w="75" h="88">
                      <a:moveTo>
                        <a:pt x="52" y="0"/>
                      </a:moveTo>
                      <a:lnTo>
                        <a:pt x="0" y="0"/>
                      </a:lnTo>
                      <a:lnTo>
                        <a:pt x="0" y="88"/>
                      </a:lnTo>
                      <a:lnTo>
                        <a:pt x="75" y="30"/>
                      </a:lnTo>
                      <a:lnTo>
                        <a:pt x="52"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grpSp>
        </p:grpSp>
        <p:sp>
          <p:nvSpPr>
            <p:cNvPr id="86" name="Rectangle 152"/>
            <p:cNvSpPr/>
            <p:nvPr/>
          </p:nvSpPr>
          <p:spPr bwMode="auto">
            <a:xfrm>
              <a:off x="712458" y="3628917"/>
              <a:ext cx="1805162" cy="37532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2C812"/>
                  </a:solidFill>
                  <a:effectLst/>
                  <a:uLnTx/>
                  <a:uFillTx/>
                  <a:latin typeface="Segoe UI"/>
                  <a:ea typeface="+mn-ea"/>
                  <a:cs typeface="Segoe UI Light" panose="020B0502040204020203" pitchFamily="34" charset="0"/>
                </a:rPr>
                <a:t>Q&amp;A and </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2C812"/>
                  </a:solidFill>
                  <a:effectLst/>
                  <a:uLnTx/>
                  <a:uFillTx/>
                  <a:latin typeface="Segoe UI"/>
                  <a:ea typeface="+mn-ea"/>
                  <a:cs typeface="Segoe UI Light" panose="020B0502040204020203" pitchFamily="34" charset="0"/>
                </a:rPr>
                <a:t>Quick Insights</a:t>
              </a:r>
              <a:endParaRPr kumimoji="0" lang="en-US" sz="1200" b="1" i="0" u="none" strike="noStrike" kern="1200" cap="none" spc="0" normalizeH="0" baseline="0" noProof="0">
                <a:ln>
                  <a:noFill/>
                </a:ln>
                <a:solidFill>
                  <a:srgbClr val="F2C812"/>
                </a:solidFill>
                <a:effectLst/>
                <a:uLnTx/>
                <a:uFillTx/>
                <a:latin typeface="Segoe UI"/>
                <a:ea typeface="+mn-ea"/>
                <a:cs typeface="Segoe UI Light" panose="020B0502040204020203" pitchFamily="34" charset="0"/>
              </a:endParaRPr>
            </a:p>
          </p:txBody>
        </p:sp>
        <p:sp>
          <p:nvSpPr>
            <p:cNvPr id="88" name="Oval 162"/>
            <p:cNvSpPr/>
            <p:nvPr/>
          </p:nvSpPr>
          <p:spPr bwMode="auto">
            <a:xfrm>
              <a:off x="226619" y="4551712"/>
              <a:ext cx="433844" cy="433844"/>
            </a:xfrm>
            <a:prstGeom prst="ellipse">
              <a:avLst/>
            </a:prstGeom>
            <a:solidFill>
              <a:srgbClr val="F2C812"/>
            </a:solidFill>
            <a:ln>
              <a:solidFill>
                <a:srgbClr val="FFCC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9" name="Rectangle 152"/>
            <p:cNvSpPr/>
            <p:nvPr/>
          </p:nvSpPr>
          <p:spPr bwMode="auto">
            <a:xfrm>
              <a:off x="738443" y="4596194"/>
              <a:ext cx="1884825" cy="30233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2C812"/>
                  </a:solidFill>
                  <a:effectLst/>
                  <a:uLnTx/>
                  <a:uFillTx/>
                  <a:latin typeface="Segoe UI"/>
                  <a:ea typeface="+mn-ea"/>
                  <a:cs typeface="Segoe UI Light" panose="020B0502040204020203" pitchFamily="34" charset="0"/>
                </a:rPr>
                <a:t>Sharing</a:t>
              </a:r>
              <a:endParaRPr kumimoji="0" lang="en-US" sz="1200" b="1" i="1" u="none" strike="noStrike" kern="1200" cap="none" spc="0" normalizeH="0" baseline="0" noProof="0">
                <a:ln>
                  <a:noFill/>
                </a:ln>
                <a:solidFill>
                  <a:srgbClr val="F2C812"/>
                </a:solidFill>
                <a:effectLst/>
                <a:uLnTx/>
                <a:uFillTx/>
                <a:latin typeface="Segoe UI"/>
                <a:ea typeface="+mn-ea"/>
                <a:cs typeface="Segoe UI Light" panose="020B0502040204020203" pitchFamily="34" charset="0"/>
              </a:endParaRPr>
            </a:p>
          </p:txBody>
        </p:sp>
        <p:sp>
          <p:nvSpPr>
            <p:cNvPr id="90" name="Rectangle 145"/>
            <p:cNvSpPr/>
            <p:nvPr/>
          </p:nvSpPr>
          <p:spPr bwMode="auto">
            <a:xfrm>
              <a:off x="697198" y="1847637"/>
              <a:ext cx="1821468" cy="3831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2C812"/>
                  </a:solidFill>
                  <a:effectLst/>
                  <a:uLnTx/>
                  <a:uFillTx/>
                  <a:latin typeface="Segoe UI"/>
                  <a:ea typeface="+mn-ea"/>
                  <a:cs typeface="Segoe UI Light" panose="020B0502040204020203" pitchFamily="34" charset="0"/>
                </a:rPr>
                <a:t>Pinning and Navigation</a:t>
              </a:r>
            </a:p>
          </p:txBody>
        </p:sp>
        <p:sp>
          <p:nvSpPr>
            <p:cNvPr id="91" name="Oval 162"/>
            <p:cNvSpPr/>
            <p:nvPr/>
          </p:nvSpPr>
          <p:spPr bwMode="auto">
            <a:xfrm>
              <a:off x="224136" y="1813606"/>
              <a:ext cx="433844" cy="433844"/>
            </a:xfrm>
            <a:prstGeom prst="ellipse">
              <a:avLst/>
            </a:prstGeom>
            <a:solidFill>
              <a:srgbClr val="FFCC00"/>
            </a:solidFill>
            <a:ln>
              <a:solidFill>
                <a:srgbClr val="F2C81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pic>
        <p:nvPicPr>
          <p:cNvPr id="105" name="Picture 104"/>
          <p:cNvPicPr>
            <a:picLocks noChangeAspect="1"/>
          </p:cNvPicPr>
          <p:nvPr/>
        </p:nvPicPr>
        <p:blipFill rotWithShape="1">
          <a:blip r:embed="rId3"/>
          <a:srcRect l="6503" t="21287" r="74698" b="20220"/>
          <a:stretch/>
        </p:blipFill>
        <p:spPr>
          <a:xfrm>
            <a:off x="339111" y="1946110"/>
            <a:ext cx="228600" cy="231962"/>
          </a:xfrm>
          <a:prstGeom prst="rect">
            <a:avLst/>
          </a:prstGeom>
        </p:spPr>
      </p:pic>
      <p:pic>
        <p:nvPicPr>
          <p:cNvPr id="106" name="Picture 105"/>
          <p:cNvPicPr>
            <a:picLocks noChangeAspect="1"/>
          </p:cNvPicPr>
          <p:nvPr/>
        </p:nvPicPr>
        <p:blipFill>
          <a:blip r:embed="rId4"/>
          <a:stretch>
            <a:fillRect/>
          </a:stretch>
        </p:blipFill>
        <p:spPr>
          <a:xfrm>
            <a:off x="284769" y="3673076"/>
            <a:ext cx="311766" cy="303106"/>
          </a:xfrm>
          <a:prstGeom prst="rect">
            <a:avLst/>
          </a:prstGeom>
        </p:spPr>
      </p:pic>
      <p:sp>
        <p:nvSpPr>
          <p:cNvPr id="107" name="Rectangle 145"/>
          <p:cNvSpPr/>
          <p:nvPr/>
        </p:nvSpPr>
        <p:spPr bwMode="auto">
          <a:xfrm>
            <a:off x="718897" y="5436715"/>
            <a:ext cx="1821468" cy="3831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2C812"/>
                </a:solidFill>
                <a:effectLst/>
                <a:uLnTx/>
                <a:uFillTx/>
                <a:latin typeface="Segoe UI"/>
                <a:ea typeface="+mn-ea"/>
                <a:cs typeface="Segoe UI Light" panose="020B0502040204020203" pitchFamily="34" charset="0"/>
              </a:rPr>
              <a:t>Connect from Excel</a:t>
            </a:r>
          </a:p>
        </p:txBody>
      </p:sp>
      <p:sp>
        <p:nvSpPr>
          <p:cNvPr id="108" name="Oval 162"/>
          <p:cNvSpPr/>
          <p:nvPr/>
        </p:nvSpPr>
        <p:spPr bwMode="auto">
          <a:xfrm>
            <a:off x="231441" y="5429649"/>
            <a:ext cx="433844" cy="433844"/>
          </a:xfrm>
          <a:prstGeom prst="ellipse">
            <a:avLst/>
          </a:prstGeom>
          <a:solidFill>
            <a:srgbClr val="FFCC00"/>
          </a:solidFill>
          <a:ln>
            <a:solidFill>
              <a:srgbClr val="F2C81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09" name="Picture 10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flipH="1">
            <a:off x="283763" y="4596680"/>
            <a:ext cx="357484" cy="357484"/>
          </a:xfrm>
          <a:prstGeom prst="rect">
            <a:avLst/>
          </a:prstGeom>
        </p:spPr>
      </p:pic>
      <p:sp>
        <p:nvSpPr>
          <p:cNvPr id="110" name="Oval 162"/>
          <p:cNvSpPr/>
          <p:nvPr/>
        </p:nvSpPr>
        <p:spPr bwMode="auto">
          <a:xfrm>
            <a:off x="233032" y="6267344"/>
            <a:ext cx="433844" cy="433844"/>
          </a:xfrm>
          <a:prstGeom prst="ellipse">
            <a:avLst/>
          </a:prstGeom>
          <a:solidFill>
            <a:srgbClr val="FFCC00"/>
          </a:solidFill>
          <a:ln>
            <a:solidFill>
              <a:srgbClr val="F2C81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1" name="Rectangle 145"/>
          <p:cNvSpPr/>
          <p:nvPr/>
        </p:nvSpPr>
        <p:spPr bwMode="auto">
          <a:xfrm>
            <a:off x="701416" y="6289969"/>
            <a:ext cx="1821468" cy="3831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2C812"/>
                </a:solidFill>
                <a:effectLst/>
                <a:uLnTx/>
                <a:uFillTx/>
                <a:latin typeface="Segoe UI"/>
                <a:ea typeface="+mn-ea"/>
                <a:cs typeface="Segoe UI Light" panose="020B0502040204020203" pitchFamily="34" charset="0"/>
              </a:rPr>
              <a:t>Mobile Reports</a:t>
            </a:r>
          </a:p>
        </p:txBody>
      </p:sp>
      <p:pic>
        <p:nvPicPr>
          <p:cNvPr id="112" name="Picture 111"/>
          <p:cNvPicPr>
            <a:picLocks noChangeAspect="1"/>
          </p:cNvPicPr>
          <p:nvPr/>
        </p:nvPicPr>
        <p:blipFill>
          <a:blip r:embed="rId6" cstate="print">
            <a:extLst>
              <a:ext uri="{BEBA8EAE-BF5A-486C-A8C5-ECC9F3942E4B}">
                <a14:imgProps xmlns:a14="http://schemas.microsoft.com/office/drawing/2010/main">
                  <a14:imgLayer r:embed="rId7">
                    <a14:imgEffect>
                      <a14:saturation sat="0"/>
                    </a14:imgEffect>
                  </a14:imgLayer>
                </a14:imgProps>
              </a:ext>
              <a:ext uri="{28A0092B-C50C-407E-A947-70E740481C1C}">
                <a14:useLocalDpi xmlns:a14="http://schemas.microsoft.com/office/drawing/2010/main" val="0"/>
              </a:ext>
            </a:extLst>
          </a:blip>
          <a:stretch>
            <a:fillRect/>
          </a:stretch>
        </p:blipFill>
        <p:spPr>
          <a:xfrm>
            <a:off x="391946" y="6350039"/>
            <a:ext cx="133350" cy="251587"/>
          </a:xfrm>
          <a:prstGeom prst="rect">
            <a:avLst/>
          </a:prstGeom>
        </p:spPr>
      </p:pic>
      <p:pic>
        <p:nvPicPr>
          <p:cNvPr id="113" name="Picture 112"/>
          <p:cNvPicPr>
            <a:picLocks noChangeAspect="1"/>
          </p:cNvPicPr>
          <p:nvPr/>
        </p:nvPicPr>
        <p:blipFill>
          <a:blip r:embed="rId8" cstate="print">
            <a:biLevel thresh="50000"/>
            <a:extLst>
              <a:ext uri="{28A0092B-C50C-407E-A947-70E740481C1C}">
                <a14:useLocalDpi xmlns:a14="http://schemas.microsoft.com/office/drawing/2010/main" val="0"/>
              </a:ext>
            </a:extLst>
          </a:blip>
          <a:stretch>
            <a:fillRect/>
          </a:stretch>
        </p:blipFill>
        <p:spPr>
          <a:xfrm>
            <a:off x="332658" y="5538489"/>
            <a:ext cx="268940" cy="268940"/>
          </a:xfrm>
          <a:prstGeom prst="rect">
            <a:avLst/>
          </a:prstGeom>
        </p:spPr>
      </p:pic>
      <p:sp>
        <p:nvSpPr>
          <p:cNvPr id="114" name="Rectangle 113"/>
          <p:cNvSpPr/>
          <p:nvPr/>
        </p:nvSpPr>
        <p:spPr bwMode="auto">
          <a:xfrm>
            <a:off x="35912" y="5223435"/>
            <a:ext cx="2464420" cy="1564989"/>
          </a:xfrm>
          <a:prstGeom prst="rect">
            <a:avLst/>
          </a:prstGeom>
          <a:solidFill>
            <a:srgbClr val="000000">
              <a:alpha val="6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5" name="Rectangle 114"/>
          <p:cNvSpPr/>
          <p:nvPr/>
        </p:nvSpPr>
        <p:spPr bwMode="auto">
          <a:xfrm>
            <a:off x="95936" y="731575"/>
            <a:ext cx="2464420" cy="3635751"/>
          </a:xfrm>
          <a:prstGeom prst="rect">
            <a:avLst/>
          </a:prstGeom>
          <a:solidFill>
            <a:srgbClr val="000000">
              <a:alpha val="6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3" name="Slide Number Placeholder 3"/>
          <p:cNvSpPr txBox="1">
            <a:spLocks/>
          </p:cNvSpPr>
          <p:nvPr/>
        </p:nvSpPr>
        <p:spPr>
          <a:xfrm>
            <a:off x="4673600" y="6477000"/>
            <a:ext cx="2844800" cy="365125"/>
          </a:xfrm>
          <a:prstGeom prst="rect">
            <a:avLst/>
          </a:prstGeom>
        </p:spPr>
        <p:txBody>
          <a:bodyPr lIns="182880" rIns="182880"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3F3F3F"/>
                </a:solidFill>
                <a:effectLst/>
                <a:uLnTx/>
                <a:uFillTx/>
                <a:latin typeface="Segoe UI"/>
                <a:ea typeface="+mn-ea"/>
              </a:rPr>
              <a:t>Microsoft Confidential</a:t>
            </a:r>
          </a:p>
        </p:txBody>
      </p:sp>
      <p:pic>
        <p:nvPicPr>
          <p:cNvPr id="44" name="Picture 2" descr="clip_image001"/>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4734467" y="2917079"/>
            <a:ext cx="5572125" cy="476250"/>
          </a:xfrm>
          <a:prstGeom prst="rect">
            <a:avLst/>
          </a:prstGeom>
          <a:noFill/>
          <a:extLst>
            <a:ext uri="{909E8E84-426E-40DD-AFC4-6F175D3DCCD1}">
              <a14:hiddenFill xmlns:a14="http://schemas.microsoft.com/office/drawing/2010/main">
                <a:solidFill>
                  <a:srgbClr val="FFFFFF"/>
                </a:solidFill>
              </a14:hiddenFill>
            </a:ext>
          </a:extLst>
        </p:spPr>
      </p:pic>
      <p:pic>
        <p:nvPicPr>
          <p:cNvPr id="45" name="Picture 4" descr="clip_image003"/>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4318497" y="3629403"/>
            <a:ext cx="2794406" cy="3133503"/>
          </a:xfrm>
          <a:prstGeom prst="rect">
            <a:avLst/>
          </a:prstGeom>
          <a:noFill/>
          <a:extLst>
            <a:ext uri="{909E8E84-426E-40DD-AFC4-6F175D3DCCD1}">
              <a14:hiddenFill xmlns:a14="http://schemas.microsoft.com/office/drawing/2010/main">
                <a:solidFill>
                  <a:srgbClr val="FFFFFF"/>
                </a:solidFill>
              </a14:hiddenFill>
            </a:ext>
          </a:extLst>
        </p:spPr>
      </p:pic>
      <p:pic>
        <p:nvPicPr>
          <p:cNvPr id="46" name="Picture 6" descr="clip_image005"/>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7440477" y="3512951"/>
            <a:ext cx="3867051" cy="327547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044844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6.xml><?xml version="1.0" encoding="utf-8"?>
<p:sld xmlns:a="http://schemas.openxmlformats.org/drawingml/2006/main" xmlns:r="http://schemas.openxmlformats.org/officeDocument/2006/relationships" xmlns:p="http://schemas.openxmlformats.org/presentationml/2006/main">
  <p:cSld>
    <p:bg>
      <p:bgPr>
        <a:solidFill>
          <a:srgbClr val="F2C81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7200"/>
              <a:t>Power BI Service:</a:t>
            </a:r>
            <a:br>
              <a:rPr lang="en-US" sz="7200"/>
            </a:br>
            <a:r>
              <a:rPr lang="en-US" sz="7200"/>
              <a:t>Mobile Reports</a:t>
            </a:r>
          </a:p>
        </p:txBody>
      </p:sp>
    </p:spTree>
    <p:extLst>
      <p:ext uri="{BB962C8B-B14F-4D97-AF65-F5344CB8AC3E}">
        <p14:creationId xmlns:p14="http://schemas.microsoft.com/office/powerpoint/2010/main" val="9944618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8" name="Text Placeholder 2"/>
          <p:cNvSpPr txBox="1">
            <a:spLocks/>
          </p:cNvSpPr>
          <p:nvPr/>
        </p:nvSpPr>
        <p:spPr>
          <a:xfrm>
            <a:off x="2953103" y="1479922"/>
            <a:ext cx="8914339" cy="897374"/>
          </a:xfrm>
          <a:prstGeom prst="rect">
            <a:avLst/>
          </a:prstGeom>
        </p:spPr>
        <p:txBody>
          <a:bodyPr vert="horz" wrap="square" lIns="182880" tIns="146304" rIns="182880" bIns="146304" rtlCol="0">
            <a:noAutofit/>
          </a:bodyPr>
          <a:lstStyle>
            <a:lvl1pPr marL="182845" marR="0"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3921" kern="1200" spc="0" baseline="0">
                <a:gradFill>
                  <a:gsLst>
                    <a:gs pos="1250">
                      <a:schemeClr val="tx2"/>
                    </a:gs>
                    <a:gs pos="99000">
                      <a:schemeClr val="tx2"/>
                    </a:gs>
                  </a:gsLst>
                  <a:lin ang="5400000" scaled="0"/>
                </a:gradFill>
                <a:latin typeface="+mj-lt"/>
                <a:ea typeface="+mn-ea"/>
                <a:cs typeface="+mn-cs"/>
              </a:defRPr>
            </a:lvl1pPr>
            <a:lvl2pPr marL="365690" marR="0"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2400" kern="1200" spc="0" baseline="0">
                <a:solidFill>
                  <a:schemeClr val="tx2"/>
                </a:solidFill>
                <a:latin typeface="+mj-lt"/>
                <a:ea typeface="+mn-ea"/>
                <a:cs typeface="+mn-cs"/>
              </a:defRPr>
            </a:lvl2pPr>
            <a:lvl3pPr marL="548535" marR="0"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2000" kern="1200" spc="0" baseline="0">
                <a:solidFill>
                  <a:schemeClr val="tx2"/>
                </a:solidFill>
                <a:latin typeface="+mj-lt"/>
                <a:ea typeface="+mn-ea"/>
                <a:cs typeface="+mn-cs"/>
              </a:defRPr>
            </a:lvl3pPr>
            <a:lvl4pPr marL="733802" marR="0" indent="-28569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1765" kern="1200" spc="0" baseline="0">
                <a:solidFill>
                  <a:schemeClr val="tx2"/>
                </a:solidFill>
                <a:latin typeface="+mn-lt"/>
                <a:ea typeface="+mn-ea"/>
                <a:cs typeface="+mn-cs"/>
              </a:defRPr>
            </a:lvl4pPr>
            <a:lvl5pPr marL="957856" marR="0" indent="-28569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1765" kern="1200" spc="0" baseline="0">
                <a:solidFill>
                  <a:schemeClr val="tx2"/>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r>
              <a:rPr kumimoji="0" lang="en-US" sz="2000" b="0" i="0" u="none" strike="noStrike" kern="1200" cap="none" spc="0" normalizeH="0" baseline="0" noProof="0">
                <a:ln>
                  <a:noFill/>
                </a:ln>
                <a:solidFill>
                  <a:prstClr val="black"/>
                </a:solidFill>
                <a:effectLst/>
                <a:uLnTx/>
                <a:uFillTx/>
                <a:latin typeface="Segoe UI Light"/>
                <a:ea typeface="+mn-ea"/>
                <a:cs typeface="+mn-cs"/>
              </a:rPr>
              <a:t>Apps are available for </a:t>
            </a:r>
            <a:r>
              <a:rPr kumimoji="0" lang="en-US" sz="2000" b="1" i="0" u="none" strike="noStrike" kern="1200" cap="none" spc="0" normalizeH="0" baseline="0" noProof="0">
                <a:ln>
                  <a:noFill/>
                </a:ln>
                <a:solidFill>
                  <a:prstClr val="black"/>
                </a:solidFill>
                <a:effectLst/>
                <a:uLnTx/>
                <a:uFillTx/>
                <a:latin typeface="Segoe UI Light"/>
                <a:ea typeface="+mn-ea"/>
                <a:cs typeface="+mn-cs"/>
              </a:rPr>
              <a:t>iPad</a:t>
            </a:r>
            <a:r>
              <a:rPr kumimoji="0" lang="en-US" sz="2000" b="0" i="0" u="none" strike="noStrike" kern="1200" cap="none" spc="0" normalizeH="0" baseline="0" noProof="0">
                <a:ln>
                  <a:noFill/>
                </a:ln>
                <a:solidFill>
                  <a:prstClr val="black"/>
                </a:solidFill>
                <a:effectLst/>
                <a:uLnTx/>
                <a:uFillTx/>
                <a:latin typeface="Segoe UI Light"/>
                <a:ea typeface="+mn-ea"/>
                <a:cs typeface="+mn-cs"/>
              </a:rPr>
              <a:t>, </a:t>
            </a:r>
            <a:r>
              <a:rPr kumimoji="0" lang="en-US" sz="2000" b="1" i="0" u="none" strike="noStrike" kern="1200" cap="none" spc="0" normalizeH="0" baseline="0" noProof="0">
                <a:ln>
                  <a:noFill/>
                </a:ln>
                <a:solidFill>
                  <a:prstClr val="black"/>
                </a:solidFill>
                <a:effectLst/>
                <a:uLnTx/>
                <a:uFillTx/>
                <a:latin typeface="Segoe UI Light"/>
                <a:ea typeface="+mn-ea"/>
                <a:cs typeface="+mn-cs"/>
              </a:rPr>
              <a:t>iPhone</a:t>
            </a:r>
            <a:r>
              <a:rPr kumimoji="0" lang="en-US" sz="2000" b="0" i="0" u="none" strike="noStrike" kern="1200" cap="none" spc="0" normalizeH="0" baseline="0" noProof="0">
                <a:ln>
                  <a:noFill/>
                </a:ln>
                <a:solidFill>
                  <a:prstClr val="black"/>
                </a:solidFill>
                <a:effectLst/>
                <a:uLnTx/>
                <a:uFillTx/>
                <a:latin typeface="Segoe UI Light"/>
                <a:ea typeface="+mn-ea"/>
                <a:cs typeface="+mn-cs"/>
              </a:rPr>
              <a:t>, </a:t>
            </a:r>
            <a:r>
              <a:rPr kumimoji="0" lang="en-US" sz="2000" b="1" i="0" u="none" strike="noStrike" kern="1200" cap="none" spc="0" normalizeH="0" baseline="0" noProof="0">
                <a:ln>
                  <a:noFill/>
                </a:ln>
                <a:solidFill>
                  <a:prstClr val="black"/>
                </a:solidFill>
                <a:effectLst/>
                <a:uLnTx/>
                <a:uFillTx/>
                <a:latin typeface="Segoe UI Light"/>
                <a:ea typeface="+mn-ea"/>
                <a:cs typeface="+mn-cs"/>
              </a:rPr>
              <a:t>Apple</a:t>
            </a:r>
            <a:r>
              <a:rPr kumimoji="0" lang="en-US" sz="2000" b="0" i="0" u="none" strike="noStrike" kern="1200" cap="none" spc="0" normalizeH="0" baseline="0" noProof="0">
                <a:ln>
                  <a:noFill/>
                </a:ln>
                <a:solidFill>
                  <a:prstClr val="black"/>
                </a:solidFill>
                <a:effectLst/>
                <a:uLnTx/>
                <a:uFillTx/>
                <a:latin typeface="Segoe UI Light"/>
                <a:ea typeface="+mn-ea"/>
                <a:cs typeface="+mn-cs"/>
              </a:rPr>
              <a:t> </a:t>
            </a:r>
            <a:r>
              <a:rPr kumimoji="0" lang="en-US" sz="2000" b="1" i="0" u="none" strike="noStrike" kern="1200" cap="none" spc="0" normalizeH="0" baseline="0" noProof="0">
                <a:ln>
                  <a:noFill/>
                </a:ln>
                <a:solidFill>
                  <a:prstClr val="black"/>
                </a:solidFill>
                <a:effectLst/>
                <a:uLnTx/>
                <a:uFillTx/>
                <a:latin typeface="Segoe UI Light"/>
                <a:ea typeface="+mn-ea"/>
                <a:cs typeface="+mn-cs"/>
              </a:rPr>
              <a:t>Watch</a:t>
            </a:r>
            <a:r>
              <a:rPr kumimoji="0" lang="en-US" sz="2000" b="0" i="0" u="none" strike="noStrike" kern="1200" cap="none" spc="0" normalizeH="0" baseline="0" noProof="0">
                <a:ln>
                  <a:noFill/>
                </a:ln>
                <a:solidFill>
                  <a:prstClr val="black"/>
                </a:solidFill>
                <a:effectLst/>
                <a:uLnTx/>
                <a:uFillTx/>
                <a:latin typeface="Segoe UI Light"/>
                <a:ea typeface="+mn-ea"/>
                <a:cs typeface="+mn-cs"/>
              </a:rPr>
              <a:t>, </a:t>
            </a:r>
            <a:r>
              <a:rPr kumimoji="0" lang="en-US" sz="2000" b="1" i="0" u="none" strike="noStrike" kern="1200" cap="none" spc="0" normalizeH="0" baseline="0" noProof="0">
                <a:ln>
                  <a:noFill/>
                </a:ln>
                <a:solidFill>
                  <a:prstClr val="black"/>
                </a:solidFill>
                <a:effectLst/>
                <a:uLnTx/>
                <a:uFillTx/>
                <a:latin typeface="Segoe UI Light"/>
                <a:ea typeface="+mn-ea"/>
                <a:cs typeface="+mn-cs"/>
              </a:rPr>
              <a:t>Android</a:t>
            </a:r>
            <a:r>
              <a:rPr kumimoji="0" lang="en-US" sz="2000" b="0" i="0" u="none" strike="noStrike" kern="1200" cap="none" spc="0" normalizeH="0" baseline="0" noProof="0">
                <a:ln>
                  <a:noFill/>
                </a:ln>
                <a:solidFill>
                  <a:prstClr val="black"/>
                </a:solidFill>
                <a:effectLst/>
                <a:uLnTx/>
                <a:uFillTx/>
                <a:latin typeface="Segoe UI Light"/>
                <a:ea typeface="+mn-ea"/>
                <a:cs typeface="+mn-cs"/>
              </a:rPr>
              <a:t> and </a:t>
            </a:r>
            <a:r>
              <a:rPr kumimoji="0" lang="en-US" sz="2000" b="1" i="0" u="none" strike="noStrike" kern="1200" cap="none" spc="0" normalizeH="0" baseline="0" noProof="0">
                <a:ln>
                  <a:noFill/>
                </a:ln>
                <a:solidFill>
                  <a:prstClr val="black"/>
                </a:solidFill>
                <a:effectLst/>
                <a:uLnTx/>
                <a:uFillTx/>
                <a:latin typeface="Segoe UI Light"/>
                <a:ea typeface="+mn-ea"/>
                <a:cs typeface="+mn-cs"/>
              </a:rPr>
              <a:t>Windows</a:t>
            </a:r>
            <a:r>
              <a:rPr kumimoji="0" lang="en-US" sz="2000" b="0" i="0" u="none" strike="noStrike" kern="1200" cap="none" spc="0" normalizeH="0" baseline="0" noProof="0">
                <a:ln>
                  <a:noFill/>
                </a:ln>
                <a:solidFill>
                  <a:prstClr val="black"/>
                </a:solidFill>
                <a:effectLst/>
                <a:uLnTx/>
                <a:uFillTx/>
                <a:latin typeface="Segoe UI Light"/>
                <a:ea typeface="+mn-ea"/>
                <a:cs typeface="+mn-cs"/>
              </a:rPr>
              <a:t> Devices</a:t>
            </a: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0" i="0" u="none" strike="noStrike" kern="1200" cap="none" spc="0" normalizeH="0" baseline="0" noProof="0">
              <a:ln>
                <a:noFill/>
              </a:ln>
              <a:solidFill>
                <a:prstClr val="black"/>
              </a:solidFill>
              <a:effectLst/>
              <a:uLnTx/>
              <a:uFillTx/>
              <a:latin typeface="Segoe UI Light"/>
              <a:ea typeface="+mn-ea"/>
              <a:cs typeface="+mn-cs"/>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0" i="0" u="none" strike="noStrike" kern="1200" cap="none" spc="0" normalizeH="0" baseline="0" noProof="0">
              <a:ln>
                <a:noFill/>
              </a:ln>
              <a:solidFill>
                <a:prstClr val="black"/>
              </a:solidFill>
              <a:effectLst/>
              <a:uLnTx/>
              <a:uFillTx/>
              <a:latin typeface="Segoe UI Light"/>
              <a:ea typeface="+mn-ea"/>
              <a:cs typeface="+mn-cs"/>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0" i="0" u="none" strike="noStrike" kern="1200" cap="none" spc="0" normalizeH="0" baseline="0" noProof="0">
              <a:ln>
                <a:noFill/>
              </a:ln>
              <a:solidFill>
                <a:prstClr val="black"/>
              </a:solidFill>
              <a:effectLst/>
              <a:uLnTx/>
              <a:uFillTx/>
              <a:latin typeface="Segoe UI Light"/>
              <a:ea typeface="+mn-ea"/>
              <a:cs typeface="+mn-cs"/>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0" i="0" u="none" strike="noStrike" kern="1200" cap="none" spc="0" normalizeH="0" baseline="0" noProof="0">
              <a:ln>
                <a:noFill/>
              </a:ln>
              <a:solidFill>
                <a:prstClr val="black"/>
              </a:solidFill>
              <a:effectLst/>
              <a:uLnTx/>
              <a:uFillTx/>
              <a:latin typeface="Segoe UI Light"/>
              <a:ea typeface="+mn-ea"/>
              <a:cs typeface="+mn-cs"/>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0" i="0" u="none" strike="noStrike" kern="1200" cap="none" spc="0" normalizeH="0" baseline="0" noProof="0">
              <a:ln>
                <a:noFill/>
              </a:ln>
              <a:solidFill>
                <a:prstClr val="black"/>
              </a:solidFill>
              <a:effectLst/>
              <a:uLnTx/>
              <a:uFillTx/>
              <a:latin typeface="Segoe UI Light"/>
              <a:ea typeface="+mn-ea"/>
              <a:cs typeface="+mn-cs"/>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0" i="0" u="none" strike="noStrike" kern="1200" cap="none" spc="0" normalizeH="0" baseline="0" noProof="0">
              <a:ln>
                <a:noFill/>
              </a:ln>
              <a:solidFill>
                <a:prstClr val="black"/>
              </a:solidFill>
              <a:effectLst/>
              <a:uLnTx/>
              <a:uFillTx/>
              <a:latin typeface="Segoe UI Light"/>
              <a:ea typeface="+mn-ea"/>
              <a:cs typeface="+mn-cs"/>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0" i="0" u="none" strike="noStrike" kern="1200" cap="none" spc="0" normalizeH="0" baseline="0" noProof="0">
              <a:ln>
                <a:noFill/>
              </a:ln>
              <a:solidFill>
                <a:prstClr val="black"/>
              </a:solidFill>
              <a:effectLst/>
              <a:uLnTx/>
              <a:uFillTx/>
              <a:latin typeface="Segoe UI Light"/>
              <a:ea typeface="+mn-ea"/>
              <a:cs typeface="+mn-cs"/>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0" i="0" u="none" strike="noStrike" kern="1200" cap="none" spc="0" normalizeH="0" baseline="0" noProof="0">
              <a:ln>
                <a:noFill/>
              </a:ln>
              <a:solidFill>
                <a:prstClr val="black"/>
              </a:solidFill>
              <a:effectLst/>
              <a:uLnTx/>
              <a:uFillTx/>
              <a:latin typeface="Segoe UI Light"/>
              <a:ea typeface="+mn-ea"/>
              <a:cs typeface="+mn-cs"/>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r>
              <a:rPr kumimoji="0" lang="en-US" sz="2000" b="1" i="0" u="none" strike="noStrike" kern="1200" cap="none" spc="0" normalizeH="0" baseline="0" noProof="0">
                <a:ln>
                  <a:noFill/>
                </a:ln>
                <a:solidFill>
                  <a:prstClr val="black"/>
                </a:solidFill>
                <a:effectLst/>
                <a:uLnTx/>
                <a:uFillTx/>
                <a:latin typeface="Segoe UI Light"/>
                <a:ea typeface="+mn-ea"/>
                <a:cs typeface="+mn-cs"/>
              </a:rPr>
              <a:t>Features may vary across platforms </a:t>
            </a:r>
            <a:r>
              <a:rPr kumimoji="0" lang="en-US" sz="2000" b="0" i="0" u="none" strike="noStrike" kern="1200" cap="none" spc="0" normalizeH="0" baseline="0" noProof="0">
                <a:ln>
                  <a:noFill/>
                </a:ln>
                <a:solidFill>
                  <a:prstClr val="black"/>
                </a:solidFill>
                <a:effectLst/>
                <a:uLnTx/>
                <a:uFillTx/>
                <a:latin typeface="Segoe UI Light"/>
                <a:ea typeface="+mn-ea"/>
                <a:cs typeface="+mn-cs"/>
              </a:rPr>
              <a:t>but tend to be the same in the future</a:t>
            </a: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0" i="0" u="none" strike="noStrike" kern="1200" cap="none" spc="0" normalizeH="0" baseline="0" noProof="0">
              <a:ln>
                <a:noFill/>
              </a:ln>
              <a:solidFill>
                <a:prstClr val="black"/>
              </a:solidFill>
              <a:effectLst/>
              <a:uLnTx/>
              <a:uFillTx/>
              <a:latin typeface="Segoe UI Light"/>
              <a:ea typeface="+mn-ea"/>
              <a:cs typeface="+mn-cs"/>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r>
              <a:rPr kumimoji="0" lang="en-US" sz="2000" b="0" i="0" u="none" strike="noStrike" kern="1200" cap="none" spc="0" normalizeH="0" baseline="0" noProof="0">
                <a:ln>
                  <a:noFill/>
                </a:ln>
                <a:solidFill>
                  <a:prstClr val="black"/>
                </a:solidFill>
                <a:effectLst/>
                <a:uLnTx/>
                <a:uFillTx/>
                <a:latin typeface="Segoe UI Light"/>
                <a:ea typeface="+mn-ea"/>
                <a:cs typeface="+mn-cs"/>
              </a:rPr>
              <a:t>The mobile apps can also to be used with </a:t>
            </a:r>
            <a:r>
              <a:rPr kumimoji="0" lang="en-US" sz="2000" b="1" i="0" u="none" strike="noStrike" kern="1200" cap="none" spc="0" normalizeH="0" baseline="0" noProof="0">
                <a:ln>
                  <a:noFill/>
                </a:ln>
                <a:solidFill>
                  <a:prstClr val="black"/>
                </a:solidFill>
                <a:effectLst/>
                <a:uLnTx/>
                <a:uFillTx/>
                <a:latin typeface="Segoe UI Light"/>
                <a:ea typeface="+mn-ea"/>
                <a:cs typeface="+mn-cs"/>
              </a:rPr>
              <a:t>SQL Server 2016 Mobile Reports and KPIs </a:t>
            </a:r>
            <a:r>
              <a:rPr kumimoji="0" lang="en-US" sz="2000" b="0" i="0" u="none" strike="noStrike" kern="1200" cap="none" spc="0" normalizeH="0" baseline="0" noProof="0">
                <a:ln>
                  <a:noFill/>
                </a:ln>
                <a:solidFill>
                  <a:prstClr val="black"/>
                </a:solidFill>
                <a:effectLst/>
                <a:uLnTx/>
                <a:uFillTx/>
                <a:latin typeface="Segoe UI Light"/>
                <a:ea typeface="+mn-ea"/>
                <a:cs typeface="+mn-cs"/>
              </a:rPr>
              <a:t>and require no Power BI licensing</a:t>
            </a: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1" i="0" u="none" strike="noStrike" kern="1200" cap="none" spc="0" normalizeH="0" baseline="0" noProof="0">
              <a:ln>
                <a:noFill/>
              </a:ln>
              <a:solidFill>
                <a:prstClr val="black"/>
              </a:solidFill>
              <a:effectLst/>
              <a:uLnTx/>
              <a:uFillTx/>
              <a:latin typeface="Segoe UI Light"/>
              <a:ea typeface="+mn-ea"/>
              <a:cs typeface="+mn-cs"/>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1" i="0" u="none" strike="noStrike" kern="1200" cap="none" spc="0" normalizeH="0" baseline="0" noProof="0">
              <a:ln>
                <a:noFill/>
              </a:ln>
              <a:solidFill>
                <a:prstClr val="black"/>
              </a:solidFill>
              <a:effectLst/>
              <a:uLnTx/>
              <a:uFillTx/>
              <a:latin typeface="Segoe UI Light"/>
              <a:ea typeface="+mn-ea"/>
              <a:cs typeface="+mn-cs"/>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0" i="0" u="none" strike="noStrike" kern="1200" cap="none" spc="0" normalizeH="0" baseline="0" noProof="0">
              <a:ln>
                <a:noFill/>
              </a:ln>
              <a:solidFill>
                <a:prstClr val="black"/>
              </a:solidFill>
              <a:effectLst/>
              <a:uLnTx/>
              <a:uFillTx/>
              <a:latin typeface="Segoe UI Light"/>
              <a:ea typeface="+mn-ea"/>
              <a:cs typeface="+mn-cs"/>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0" i="0" u="none" strike="noStrike" kern="1200" cap="none" spc="0" normalizeH="0" baseline="0" noProof="0">
              <a:ln>
                <a:noFill/>
              </a:ln>
              <a:solidFill>
                <a:prstClr val="black"/>
              </a:solidFill>
              <a:effectLst/>
              <a:uLnTx/>
              <a:uFillTx/>
              <a:latin typeface="Segoe UI Light"/>
              <a:ea typeface="+mn-ea"/>
              <a:cs typeface="+mn-cs"/>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0" i="0" u="none" strike="noStrike" kern="1200" cap="none" spc="0" normalizeH="0" baseline="0" noProof="0">
              <a:ln>
                <a:noFill/>
              </a:ln>
              <a:solidFill>
                <a:srgbClr val="000000"/>
              </a:solidFill>
              <a:effectLst/>
              <a:uLnTx/>
              <a:uFillTx/>
              <a:latin typeface="Segoe UI Light"/>
              <a:ea typeface="+mn-ea"/>
              <a:cs typeface="+mn-cs"/>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0" i="0" u="none" strike="noStrike" kern="1200" cap="none" spc="0" normalizeH="0" baseline="0" noProof="0">
              <a:ln>
                <a:noFill/>
              </a:ln>
              <a:solidFill>
                <a:srgbClr val="000000"/>
              </a:solidFill>
              <a:effectLst/>
              <a:uLnTx/>
              <a:uFillTx/>
              <a:latin typeface="Segoe UI Light"/>
              <a:ea typeface="+mn-ea"/>
              <a:cs typeface="+mn-cs"/>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0" i="0" u="none" strike="noStrike" kern="1200" cap="none" spc="0" normalizeH="0" baseline="0" noProof="0">
              <a:ln>
                <a:noFill/>
              </a:ln>
              <a:solidFill>
                <a:srgbClr val="000000"/>
              </a:solidFill>
              <a:effectLst/>
              <a:uLnTx/>
              <a:uFillTx/>
              <a:latin typeface="Segoe UI Light"/>
              <a:ea typeface="+mn-ea"/>
              <a:cs typeface="+mn-cs"/>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0" i="0" u="none" strike="noStrike" kern="1200" cap="none" spc="0" normalizeH="0" baseline="0" noProof="0">
              <a:ln>
                <a:noFill/>
              </a:ln>
              <a:solidFill>
                <a:srgbClr val="000000"/>
              </a:solidFill>
              <a:effectLst/>
              <a:uLnTx/>
              <a:uFillTx/>
              <a:latin typeface="Segoe UI Light"/>
              <a:ea typeface="+mn-ea"/>
              <a:cs typeface="+mn-cs"/>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0" i="0" u="none" strike="noStrike" kern="1200" cap="none" spc="0" normalizeH="0" baseline="0" noProof="0">
              <a:ln>
                <a:noFill/>
              </a:ln>
              <a:solidFill>
                <a:srgbClr val="000000"/>
              </a:solidFill>
              <a:effectLst/>
              <a:uLnTx/>
              <a:uFillTx/>
              <a:latin typeface="Segoe UI Light"/>
              <a:ea typeface="+mn-ea"/>
              <a:cs typeface="+mn-cs"/>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0" i="0" u="none" strike="noStrike" kern="1200" cap="none" spc="0" normalizeH="0" baseline="0" noProof="0">
              <a:ln>
                <a:noFill/>
              </a:ln>
              <a:solidFill>
                <a:srgbClr val="000000"/>
              </a:solidFill>
              <a:effectLst/>
              <a:uLnTx/>
              <a:uFillTx/>
              <a:latin typeface="Segoe UI Light"/>
              <a:ea typeface="+mn-ea"/>
              <a:cs typeface="+mn-cs"/>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p:txBody>
      </p:sp>
      <p:sp>
        <p:nvSpPr>
          <p:cNvPr id="53" name="Title 10"/>
          <p:cNvSpPr txBox="1">
            <a:spLocks/>
          </p:cNvSpPr>
          <p:nvPr/>
        </p:nvSpPr>
        <p:spPr>
          <a:xfrm>
            <a:off x="2849060" y="0"/>
            <a:ext cx="9342940" cy="665151"/>
          </a:xfrm>
          <a:prstGeom prst="rect">
            <a:avLst/>
          </a:prstGeom>
          <a:noFill/>
        </p:spPr>
        <p:txBody>
          <a:bodyPr vert="horz" wrap="square" lIns="0" tIns="91440" rIns="0" bIns="91440" rtlCol="0" anchor="t">
            <a:noAutofit/>
          </a:bodyPr>
          <a:lstStyle>
            <a:lvl1pPr defTabSz="914367">
              <a:lnSpc>
                <a:spcPct val="90000"/>
              </a:lnSpc>
              <a:spcBef>
                <a:spcPct val="0"/>
              </a:spcBef>
              <a:buNone/>
              <a:defRPr lang="en-US" sz="5294" b="0" cap="none" spc="-100" baseline="0" dirty="0" smtClean="0">
                <a:ln w="3175">
                  <a:noFill/>
                </a:ln>
                <a:solidFill>
                  <a:schemeClr val="tx2"/>
                </a:solidFill>
                <a:effectLst/>
                <a:latin typeface="+mj-lt"/>
                <a:cs typeface="Segoe UI" pitchFamily="34" charset="0"/>
              </a:defRPr>
            </a:lvl1pPr>
          </a:lstStyle>
          <a:p>
            <a:pPr marL="168275" marR="0" lvl="0" indent="0" algn="l" defTabSz="914367" rtl="0" eaLnBrk="1" fontAlgn="auto" latinLnBrk="0" hangingPunct="1">
              <a:lnSpc>
                <a:spcPct val="90000"/>
              </a:lnSpc>
              <a:spcBef>
                <a:spcPct val="0"/>
              </a:spcBef>
              <a:spcAft>
                <a:spcPts val="0"/>
              </a:spcAft>
              <a:buClrTx/>
              <a:buSzTx/>
              <a:buFontTx/>
              <a:buNone/>
              <a:tabLst/>
              <a:defRPr/>
            </a:pPr>
            <a:r>
              <a:rPr kumimoji="0" lang="en-US" sz="3600" b="0" i="0" u="none" strike="noStrike" kern="1200" cap="none" spc="-100" normalizeH="0" baseline="0" noProof="0">
                <a:ln w="3175">
                  <a:noFill/>
                </a:ln>
                <a:solidFill>
                  <a:prstClr val="black"/>
                </a:solidFill>
                <a:effectLst/>
                <a:uLnTx/>
                <a:uFillTx/>
                <a:latin typeface="Segoe UI Light"/>
                <a:ea typeface="+mn-ea"/>
                <a:cs typeface="Segoe UI" pitchFamily="34" charset="0"/>
              </a:rPr>
              <a:t>Mobile Reports</a:t>
            </a:r>
            <a:endParaRPr kumimoji="0" lang="en-IN" sz="3600" b="0" i="0" u="none" strike="noStrike" kern="1200" cap="none" spc="-100" normalizeH="0" baseline="0" noProof="0">
              <a:ln w="3175">
                <a:noFill/>
              </a:ln>
              <a:solidFill>
                <a:prstClr val="black"/>
              </a:solidFill>
              <a:effectLst/>
              <a:uLnTx/>
              <a:uFillTx/>
              <a:latin typeface="Segoe UI Light"/>
              <a:ea typeface="+mn-ea"/>
              <a:cs typeface="Segoe UI" pitchFamily="34" charset="0"/>
            </a:endParaRPr>
          </a:p>
        </p:txBody>
      </p:sp>
      <p:sp>
        <p:nvSpPr>
          <p:cNvPr id="41" name="Rectangle 3"/>
          <p:cNvSpPr/>
          <p:nvPr/>
        </p:nvSpPr>
        <p:spPr bwMode="auto">
          <a:xfrm>
            <a:off x="3202216" y="704712"/>
            <a:ext cx="8105312" cy="44435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PT" sz="2000" b="0" i="1" u="none" strike="noStrike" kern="1200" cap="none" spc="0" normalizeH="0" baseline="0" noProof="0">
                <a:ln>
                  <a:noFill/>
                </a:ln>
                <a:solidFill>
                  <a:prstClr val="black"/>
                </a:solidFill>
                <a:effectLst/>
                <a:uLnTx/>
                <a:uFillTx/>
                <a:latin typeface="Segoe UI Light"/>
                <a:ea typeface="+mn-ea"/>
                <a:cs typeface="+mn-cs"/>
              </a:rPr>
              <a:t>Mobile Apps – Platforms</a:t>
            </a:r>
            <a:endParaRPr kumimoji="0" lang="en-US" sz="2000" b="0" i="1" u="none" strike="noStrike" kern="1200" cap="none" spc="0" normalizeH="0" baseline="0" noProof="0">
              <a:ln>
                <a:noFill/>
              </a:ln>
              <a:solidFill>
                <a:prstClr val="black"/>
              </a:solidFill>
              <a:effectLst/>
              <a:uLnTx/>
              <a:uFillTx/>
              <a:latin typeface="Segoe UI Light"/>
              <a:ea typeface="+mn-ea"/>
              <a:cs typeface="+mn-cs"/>
            </a:endParaRPr>
          </a:p>
        </p:txBody>
      </p:sp>
      <p:pic>
        <p:nvPicPr>
          <p:cNvPr id="42" name="Picture 4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001316" y="2532489"/>
            <a:ext cx="4578920" cy="1963702"/>
          </a:xfrm>
          <a:prstGeom prst="rect">
            <a:avLst/>
          </a:prstGeom>
        </p:spPr>
      </p:pic>
      <p:pic>
        <p:nvPicPr>
          <p:cNvPr id="3" name="Picture 2"/>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000610" y="2247498"/>
            <a:ext cx="1617744" cy="2413059"/>
          </a:xfrm>
          <a:prstGeom prst="rect">
            <a:avLst/>
          </a:prstGeom>
        </p:spPr>
      </p:pic>
      <p:grpSp>
        <p:nvGrpSpPr>
          <p:cNvPr id="89" name="Group 88"/>
          <p:cNvGrpSpPr/>
          <p:nvPr/>
        </p:nvGrpSpPr>
        <p:grpSpPr>
          <a:xfrm>
            <a:off x="-2887" y="973"/>
            <a:ext cx="2849058" cy="6857027"/>
            <a:chOff x="2" y="487"/>
            <a:chExt cx="2849058" cy="6857027"/>
          </a:xfrm>
        </p:grpSpPr>
        <p:sp>
          <p:nvSpPr>
            <p:cNvPr id="90" name="Rectangle 15"/>
            <p:cNvSpPr/>
            <p:nvPr/>
          </p:nvSpPr>
          <p:spPr bwMode="auto">
            <a:xfrm>
              <a:off x="2" y="487"/>
              <a:ext cx="2849058" cy="685702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1" name="Rectangle 145"/>
            <p:cNvSpPr/>
            <p:nvPr/>
          </p:nvSpPr>
          <p:spPr bwMode="auto">
            <a:xfrm>
              <a:off x="696152" y="956997"/>
              <a:ext cx="1821468" cy="3831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2C812"/>
                  </a:solidFill>
                  <a:effectLst/>
                  <a:uLnTx/>
                  <a:uFillTx/>
                  <a:latin typeface="Segoe UI"/>
                  <a:ea typeface="+mn-ea"/>
                  <a:cs typeface="Segoe UI Light" panose="020B0502040204020203" pitchFamily="34" charset="0"/>
                </a:rPr>
                <a:t>Get Data</a:t>
              </a:r>
              <a:endParaRPr kumimoji="0" lang="en-US" sz="1200" b="1" i="1" u="none" strike="noStrike" kern="1200" cap="none" spc="0" normalizeH="0" baseline="0" noProof="0">
                <a:ln>
                  <a:noFill/>
                </a:ln>
                <a:solidFill>
                  <a:srgbClr val="F2C812"/>
                </a:solidFill>
                <a:effectLst/>
                <a:uLnTx/>
                <a:uFillTx/>
                <a:latin typeface="Segoe UI"/>
                <a:ea typeface="+mn-ea"/>
                <a:cs typeface="Segoe UI Light" panose="020B0502040204020203" pitchFamily="34" charset="0"/>
              </a:endParaRPr>
            </a:p>
          </p:txBody>
        </p:sp>
        <p:grpSp>
          <p:nvGrpSpPr>
            <p:cNvPr id="92" name="Group 91"/>
            <p:cNvGrpSpPr/>
            <p:nvPr/>
          </p:nvGrpSpPr>
          <p:grpSpPr>
            <a:xfrm>
              <a:off x="219373" y="934583"/>
              <a:ext cx="433844" cy="433844"/>
              <a:chOff x="440005" y="997815"/>
              <a:chExt cx="296322" cy="296322"/>
            </a:xfrm>
          </p:grpSpPr>
          <p:sp>
            <p:nvSpPr>
              <p:cNvPr id="111" name="Oval 147"/>
              <p:cNvSpPr/>
              <p:nvPr/>
            </p:nvSpPr>
            <p:spPr bwMode="auto">
              <a:xfrm>
                <a:off x="440005" y="997815"/>
                <a:ext cx="296322" cy="296322"/>
              </a:xfrm>
              <a:prstGeom prst="ellipse">
                <a:avLst/>
              </a:prstGeom>
              <a:solidFill>
                <a:srgbClr val="FFCC00"/>
              </a:solidFill>
              <a:ln>
                <a:solidFill>
                  <a:srgbClr val="F2C81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12" name="Group 332"/>
              <p:cNvGrpSpPr/>
              <p:nvPr/>
            </p:nvGrpSpPr>
            <p:grpSpPr>
              <a:xfrm>
                <a:off x="482167" y="1059311"/>
                <a:ext cx="211997" cy="173292"/>
                <a:chOff x="2123129" y="293070"/>
                <a:chExt cx="2472585" cy="2021178"/>
              </a:xfrm>
            </p:grpSpPr>
            <p:sp>
              <p:nvSpPr>
                <p:cNvPr id="113" name="Freeform 13"/>
                <p:cNvSpPr>
                  <a:spLocks/>
                </p:cNvSpPr>
                <p:nvPr/>
              </p:nvSpPr>
              <p:spPr bwMode="auto">
                <a:xfrm rot="20700000">
                  <a:off x="3155853" y="872796"/>
                  <a:ext cx="1439861" cy="1441452"/>
                </a:xfrm>
                <a:custGeom>
                  <a:avLst/>
                  <a:gdLst>
                    <a:gd name="T0" fmla="*/ 138 w 441"/>
                    <a:gd name="T1" fmla="*/ 341 h 441"/>
                    <a:gd name="T2" fmla="*/ 183 w 441"/>
                    <a:gd name="T3" fmla="*/ 374 h 441"/>
                    <a:gd name="T4" fmla="*/ 220 w 441"/>
                    <a:gd name="T5" fmla="*/ 423 h 441"/>
                    <a:gd name="T6" fmla="*/ 422 w 441"/>
                    <a:gd name="T7" fmla="*/ 220 h 441"/>
                    <a:gd name="T8" fmla="*/ 373 w 441"/>
                    <a:gd name="T9" fmla="*/ 184 h 441"/>
                    <a:gd name="T10" fmla="*/ 341 w 441"/>
                    <a:gd name="T11" fmla="*/ 139 h 441"/>
                    <a:gd name="T12" fmla="*/ 382 w 441"/>
                    <a:gd name="T13" fmla="*/ 58 h 441"/>
                    <a:gd name="T14" fmla="*/ 302 w 441"/>
                    <a:gd name="T15" fmla="*/ 100 h 441"/>
                    <a:gd name="T16" fmla="*/ 257 w 441"/>
                    <a:gd name="T17" fmla="*/ 67 h 441"/>
                    <a:gd name="T18" fmla="*/ 220 w 441"/>
                    <a:gd name="T19" fmla="*/ 18 h 441"/>
                    <a:gd name="T20" fmla="*/ 171 w 441"/>
                    <a:gd name="T21" fmla="*/ 55 h 441"/>
                    <a:gd name="T22" fmla="*/ 138 w 441"/>
                    <a:gd name="T23" fmla="*/ 100 h 441"/>
                    <a:gd name="T24" fmla="*/ 180 w 441"/>
                    <a:gd name="T25" fmla="*/ 181 h 441"/>
                    <a:gd name="T26" fmla="*/ 100 w 441"/>
                    <a:gd name="T27" fmla="*/ 139 h 441"/>
                    <a:gd name="T28" fmla="*/ 55 w 441"/>
                    <a:gd name="T29" fmla="*/ 171 h 441"/>
                    <a:gd name="T30" fmla="*/ 18 w 441"/>
                    <a:gd name="T31" fmla="*/ 220 h 441"/>
                    <a:gd name="T32" fmla="*/ 67 w 441"/>
                    <a:gd name="T33" fmla="*/ 257 h 441"/>
                    <a:gd name="T34" fmla="*/ 100 w 441"/>
                    <a:gd name="T35" fmla="*/ 302 h 441"/>
                    <a:gd name="T36" fmla="*/ 58 w 441"/>
                    <a:gd name="T37" fmla="*/ 383 h 441"/>
                    <a:gd name="T38" fmla="*/ 138 w 441"/>
                    <a:gd name="T39" fmla="*/ 341 h 4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41" h="441">
                      <a:moveTo>
                        <a:pt x="138" y="341"/>
                      </a:moveTo>
                      <a:cubicBezTo>
                        <a:pt x="147" y="337"/>
                        <a:pt x="171" y="361"/>
                        <a:pt x="183" y="374"/>
                      </a:cubicBezTo>
                      <a:cubicBezTo>
                        <a:pt x="196" y="386"/>
                        <a:pt x="220" y="423"/>
                        <a:pt x="220" y="423"/>
                      </a:cubicBezTo>
                      <a:cubicBezTo>
                        <a:pt x="422" y="220"/>
                        <a:pt x="422" y="220"/>
                        <a:pt x="422" y="220"/>
                      </a:cubicBezTo>
                      <a:cubicBezTo>
                        <a:pt x="422" y="220"/>
                        <a:pt x="386" y="196"/>
                        <a:pt x="373" y="184"/>
                      </a:cubicBezTo>
                      <a:cubicBezTo>
                        <a:pt x="361" y="171"/>
                        <a:pt x="338" y="149"/>
                        <a:pt x="341" y="139"/>
                      </a:cubicBezTo>
                      <a:cubicBezTo>
                        <a:pt x="343" y="129"/>
                        <a:pt x="441" y="116"/>
                        <a:pt x="382" y="58"/>
                      </a:cubicBezTo>
                      <a:cubicBezTo>
                        <a:pt x="324" y="0"/>
                        <a:pt x="310" y="96"/>
                        <a:pt x="302" y="100"/>
                      </a:cubicBezTo>
                      <a:cubicBezTo>
                        <a:pt x="294" y="104"/>
                        <a:pt x="269" y="80"/>
                        <a:pt x="257" y="67"/>
                      </a:cubicBezTo>
                      <a:cubicBezTo>
                        <a:pt x="245" y="55"/>
                        <a:pt x="220" y="18"/>
                        <a:pt x="220" y="18"/>
                      </a:cubicBezTo>
                      <a:cubicBezTo>
                        <a:pt x="220" y="18"/>
                        <a:pt x="183" y="43"/>
                        <a:pt x="171" y="55"/>
                      </a:cubicBezTo>
                      <a:cubicBezTo>
                        <a:pt x="159" y="67"/>
                        <a:pt x="134" y="92"/>
                        <a:pt x="138" y="100"/>
                      </a:cubicBezTo>
                      <a:cubicBezTo>
                        <a:pt x="142" y="108"/>
                        <a:pt x="238" y="122"/>
                        <a:pt x="180" y="181"/>
                      </a:cubicBezTo>
                      <a:cubicBezTo>
                        <a:pt x="122" y="239"/>
                        <a:pt x="110" y="141"/>
                        <a:pt x="100" y="139"/>
                      </a:cubicBezTo>
                      <a:cubicBezTo>
                        <a:pt x="89" y="137"/>
                        <a:pt x="67" y="159"/>
                        <a:pt x="55" y="171"/>
                      </a:cubicBezTo>
                      <a:cubicBezTo>
                        <a:pt x="42" y="184"/>
                        <a:pt x="18" y="220"/>
                        <a:pt x="18" y="220"/>
                      </a:cubicBezTo>
                      <a:cubicBezTo>
                        <a:pt x="18" y="220"/>
                        <a:pt x="55" y="245"/>
                        <a:pt x="67" y="257"/>
                      </a:cubicBezTo>
                      <a:cubicBezTo>
                        <a:pt x="79" y="269"/>
                        <a:pt x="102" y="292"/>
                        <a:pt x="100" y="302"/>
                      </a:cubicBezTo>
                      <a:cubicBezTo>
                        <a:pt x="98" y="312"/>
                        <a:pt x="0" y="325"/>
                        <a:pt x="58" y="383"/>
                      </a:cubicBezTo>
                      <a:cubicBezTo>
                        <a:pt x="116" y="441"/>
                        <a:pt x="130" y="345"/>
                        <a:pt x="138" y="341"/>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114" name="Freeform 14"/>
                <p:cNvSpPr>
                  <a:spLocks/>
                </p:cNvSpPr>
                <p:nvPr/>
              </p:nvSpPr>
              <p:spPr bwMode="auto">
                <a:xfrm rot="9900000">
                  <a:off x="2123129" y="293070"/>
                  <a:ext cx="1377948" cy="1377947"/>
                </a:xfrm>
                <a:custGeom>
                  <a:avLst/>
                  <a:gdLst>
                    <a:gd name="T0" fmla="*/ 422 w 422"/>
                    <a:gd name="T1" fmla="*/ 220 h 422"/>
                    <a:gd name="T2" fmla="*/ 386 w 422"/>
                    <a:gd name="T3" fmla="*/ 171 h 422"/>
                    <a:gd name="T4" fmla="*/ 341 w 422"/>
                    <a:gd name="T5" fmla="*/ 138 h 422"/>
                    <a:gd name="T6" fmla="*/ 260 w 422"/>
                    <a:gd name="T7" fmla="*/ 180 h 422"/>
                    <a:gd name="T8" fmla="*/ 302 w 422"/>
                    <a:gd name="T9" fmla="*/ 100 h 422"/>
                    <a:gd name="T10" fmla="*/ 269 w 422"/>
                    <a:gd name="T11" fmla="*/ 55 h 422"/>
                    <a:gd name="T12" fmla="*/ 220 w 422"/>
                    <a:gd name="T13" fmla="*/ 18 h 422"/>
                    <a:gd name="T14" fmla="*/ 183 w 422"/>
                    <a:gd name="T15" fmla="*/ 67 h 422"/>
                    <a:gd name="T16" fmla="*/ 138 w 422"/>
                    <a:gd name="T17" fmla="*/ 100 h 422"/>
                    <a:gd name="T18" fmla="*/ 58 w 422"/>
                    <a:gd name="T19" fmla="*/ 58 h 422"/>
                    <a:gd name="T20" fmla="*/ 100 w 422"/>
                    <a:gd name="T21" fmla="*/ 138 h 422"/>
                    <a:gd name="T22" fmla="*/ 67 w 422"/>
                    <a:gd name="T23" fmla="*/ 183 h 422"/>
                    <a:gd name="T24" fmla="*/ 18 w 422"/>
                    <a:gd name="T25" fmla="*/ 220 h 422"/>
                    <a:gd name="T26" fmla="*/ 55 w 422"/>
                    <a:gd name="T27" fmla="*/ 269 h 422"/>
                    <a:gd name="T28" fmla="*/ 100 w 422"/>
                    <a:gd name="T29" fmla="*/ 302 h 422"/>
                    <a:gd name="T30" fmla="*/ 180 w 422"/>
                    <a:gd name="T31" fmla="*/ 260 h 422"/>
                    <a:gd name="T32" fmla="*/ 138 w 422"/>
                    <a:gd name="T33" fmla="*/ 341 h 422"/>
                    <a:gd name="T34" fmla="*/ 171 w 422"/>
                    <a:gd name="T35" fmla="*/ 386 h 422"/>
                    <a:gd name="T36" fmla="*/ 220 w 422"/>
                    <a:gd name="T37" fmla="*/ 422 h 422"/>
                    <a:gd name="T38" fmla="*/ 422 w 422"/>
                    <a:gd name="T39" fmla="*/ 220 h 4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22" h="422">
                      <a:moveTo>
                        <a:pt x="422" y="220"/>
                      </a:moveTo>
                      <a:cubicBezTo>
                        <a:pt x="422" y="220"/>
                        <a:pt x="398" y="183"/>
                        <a:pt x="386" y="171"/>
                      </a:cubicBezTo>
                      <a:cubicBezTo>
                        <a:pt x="373" y="159"/>
                        <a:pt x="349" y="134"/>
                        <a:pt x="341" y="138"/>
                      </a:cubicBezTo>
                      <a:cubicBezTo>
                        <a:pt x="332" y="142"/>
                        <a:pt x="318" y="239"/>
                        <a:pt x="260" y="180"/>
                      </a:cubicBezTo>
                      <a:cubicBezTo>
                        <a:pt x="202" y="122"/>
                        <a:pt x="300" y="110"/>
                        <a:pt x="302" y="100"/>
                      </a:cubicBezTo>
                      <a:cubicBezTo>
                        <a:pt x="304" y="90"/>
                        <a:pt x="281" y="67"/>
                        <a:pt x="269" y="55"/>
                      </a:cubicBezTo>
                      <a:cubicBezTo>
                        <a:pt x="257" y="42"/>
                        <a:pt x="220" y="18"/>
                        <a:pt x="220" y="18"/>
                      </a:cubicBezTo>
                      <a:cubicBezTo>
                        <a:pt x="220" y="18"/>
                        <a:pt x="196" y="55"/>
                        <a:pt x="183" y="67"/>
                      </a:cubicBezTo>
                      <a:cubicBezTo>
                        <a:pt x="171" y="79"/>
                        <a:pt x="149" y="102"/>
                        <a:pt x="138" y="100"/>
                      </a:cubicBezTo>
                      <a:cubicBezTo>
                        <a:pt x="128" y="98"/>
                        <a:pt x="116" y="0"/>
                        <a:pt x="58" y="58"/>
                      </a:cubicBezTo>
                      <a:cubicBezTo>
                        <a:pt x="0" y="116"/>
                        <a:pt x="96" y="130"/>
                        <a:pt x="100" y="138"/>
                      </a:cubicBezTo>
                      <a:cubicBezTo>
                        <a:pt x="104" y="147"/>
                        <a:pt x="79" y="171"/>
                        <a:pt x="67" y="183"/>
                      </a:cubicBezTo>
                      <a:cubicBezTo>
                        <a:pt x="55" y="196"/>
                        <a:pt x="18" y="220"/>
                        <a:pt x="18" y="220"/>
                      </a:cubicBezTo>
                      <a:cubicBezTo>
                        <a:pt x="18" y="220"/>
                        <a:pt x="42" y="257"/>
                        <a:pt x="55" y="269"/>
                      </a:cubicBezTo>
                      <a:cubicBezTo>
                        <a:pt x="67" y="281"/>
                        <a:pt x="91" y="306"/>
                        <a:pt x="100" y="302"/>
                      </a:cubicBezTo>
                      <a:cubicBezTo>
                        <a:pt x="108" y="298"/>
                        <a:pt x="122" y="202"/>
                        <a:pt x="180" y="260"/>
                      </a:cubicBezTo>
                      <a:cubicBezTo>
                        <a:pt x="238" y="318"/>
                        <a:pt x="140" y="330"/>
                        <a:pt x="138" y="341"/>
                      </a:cubicBezTo>
                      <a:cubicBezTo>
                        <a:pt x="136" y="351"/>
                        <a:pt x="159" y="373"/>
                        <a:pt x="171" y="386"/>
                      </a:cubicBezTo>
                      <a:cubicBezTo>
                        <a:pt x="183" y="398"/>
                        <a:pt x="220" y="422"/>
                        <a:pt x="220" y="422"/>
                      </a:cubicBezTo>
                      <a:lnTo>
                        <a:pt x="422" y="22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grpSp>
        </p:grpSp>
        <p:sp>
          <p:nvSpPr>
            <p:cNvPr id="93" name="Rectangle 152"/>
            <p:cNvSpPr/>
            <p:nvPr/>
          </p:nvSpPr>
          <p:spPr bwMode="auto">
            <a:xfrm>
              <a:off x="669652" y="2738277"/>
              <a:ext cx="1805162" cy="37532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2C812"/>
                  </a:solidFill>
                  <a:effectLst/>
                  <a:uLnTx/>
                  <a:uFillTx/>
                  <a:latin typeface="Segoe UI"/>
                  <a:ea typeface="+mn-ea"/>
                  <a:cs typeface="Segoe UI Light" panose="020B0502040204020203" pitchFamily="34" charset="0"/>
                </a:rPr>
                <a:t>Keeping Data Current</a:t>
              </a:r>
            </a:p>
          </p:txBody>
        </p:sp>
        <p:grpSp>
          <p:nvGrpSpPr>
            <p:cNvPr id="94" name="Group 93"/>
            <p:cNvGrpSpPr/>
            <p:nvPr/>
          </p:nvGrpSpPr>
          <p:grpSpPr>
            <a:xfrm>
              <a:off x="199649" y="2692629"/>
              <a:ext cx="433844" cy="433844"/>
              <a:chOff x="342620" y="2228265"/>
              <a:chExt cx="433844" cy="433844"/>
            </a:xfrm>
            <a:solidFill>
              <a:schemeClr val="bg1"/>
            </a:solidFill>
          </p:grpSpPr>
          <p:sp>
            <p:nvSpPr>
              <p:cNvPr id="109" name="Oval 154"/>
              <p:cNvSpPr/>
              <p:nvPr/>
            </p:nvSpPr>
            <p:spPr bwMode="auto">
              <a:xfrm>
                <a:off x="342620" y="2228265"/>
                <a:ext cx="433844" cy="433844"/>
              </a:xfrm>
              <a:prstGeom prst="ellipse">
                <a:avLst/>
              </a:prstGeom>
              <a:solidFill>
                <a:srgbClr val="FFC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0" name="Freeform 30"/>
              <p:cNvSpPr>
                <a:spLocks noEditPoints="1"/>
              </p:cNvSpPr>
              <p:nvPr/>
            </p:nvSpPr>
            <p:spPr bwMode="auto">
              <a:xfrm>
                <a:off x="444786" y="2340040"/>
                <a:ext cx="238402" cy="210293"/>
              </a:xfrm>
              <a:custGeom>
                <a:avLst/>
                <a:gdLst>
                  <a:gd name="T0" fmla="*/ 883 w 916"/>
                  <a:gd name="T1" fmla="*/ 286 h 808"/>
                  <a:gd name="T2" fmla="*/ 539 w 916"/>
                  <a:gd name="T3" fmla="*/ 723 h 808"/>
                  <a:gd name="T4" fmla="*/ 504 w 916"/>
                  <a:gd name="T5" fmla="*/ 0 h 808"/>
                  <a:gd name="T6" fmla="*/ 35 w 916"/>
                  <a:gd name="T7" fmla="*/ 723 h 808"/>
                  <a:gd name="T8" fmla="*/ 0 w 916"/>
                  <a:gd name="T9" fmla="*/ 808 h 808"/>
                  <a:gd name="T10" fmla="*/ 916 w 916"/>
                  <a:gd name="T11" fmla="*/ 723 h 808"/>
                  <a:gd name="T12" fmla="*/ 229 w 916"/>
                  <a:gd name="T13" fmla="*/ 665 h 808"/>
                  <a:gd name="T14" fmla="*/ 109 w 916"/>
                  <a:gd name="T15" fmla="*/ 596 h 808"/>
                  <a:gd name="T16" fmla="*/ 229 w 916"/>
                  <a:gd name="T17" fmla="*/ 665 h 808"/>
                  <a:gd name="T18" fmla="*/ 109 w 916"/>
                  <a:gd name="T19" fmla="*/ 501 h 808"/>
                  <a:gd name="T20" fmla="*/ 229 w 916"/>
                  <a:gd name="T21" fmla="*/ 432 h 808"/>
                  <a:gd name="T22" fmla="*/ 229 w 916"/>
                  <a:gd name="T23" fmla="*/ 337 h 808"/>
                  <a:gd name="T24" fmla="*/ 109 w 916"/>
                  <a:gd name="T25" fmla="*/ 267 h 808"/>
                  <a:gd name="T26" fmla="*/ 229 w 916"/>
                  <a:gd name="T27" fmla="*/ 337 h 808"/>
                  <a:gd name="T28" fmla="*/ 109 w 916"/>
                  <a:gd name="T29" fmla="*/ 172 h 808"/>
                  <a:gd name="T30" fmla="*/ 229 w 916"/>
                  <a:gd name="T31" fmla="*/ 103 h 808"/>
                  <a:gd name="T32" fmla="*/ 428 w 916"/>
                  <a:gd name="T33" fmla="*/ 665 h 808"/>
                  <a:gd name="T34" fmla="*/ 307 w 916"/>
                  <a:gd name="T35" fmla="*/ 596 h 808"/>
                  <a:gd name="T36" fmla="*/ 428 w 916"/>
                  <a:gd name="T37" fmla="*/ 665 h 808"/>
                  <a:gd name="T38" fmla="*/ 307 w 916"/>
                  <a:gd name="T39" fmla="*/ 501 h 808"/>
                  <a:gd name="T40" fmla="*/ 428 w 916"/>
                  <a:gd name="T41" fmla="*/ 432 h 808"/>
                  <a:gd name="T42" fmla="*/ 428 w 916"/>
                  <a:gd name="T43" fmla="*/ 337 h 808"/>
                  <a:gd name="T44" fmla="*/ 307 w 916"/>
                  <a:gd name="T45" fmla="*/ 267 h 808"/>
                  <a:gd name="T46" fmla="*/ 428 w 916"/>
                  <a:gd name="T47" fmla="*/ 337 h 808"/>
                  <a:gd name="T48" fmla="*/ 307 w 916"/>
                  <a:gd name="T49" fmla="*/ 172 h 808"/>
                  <a:gd name="T50" fmla="*/ 428 w 916"/>
                  <a:gd name="T51" fmla="*/ 103 h 808"/>
                  <a:gd name="T52" fmla="*/ 684 w 916"/>
                  <a:gd name="T53" fmla="*/ 668 h 808"/>
                  <a:gd name="T54" fmla="*/ 606 w 916"/>
                  <a:gd name="T55" fmla="*/ 549 h 808"/>
                  <a:gd name="T56" fmla="*/ 684 w 916"/>
                  <a:gd name="T57" fmla="*/ 668 h 808"/>
                  <a:gd name="T58" fmla="*/ 606 w 916"/>
                  <a:gd name="T59" fmla="*/ 482 h 808"/>
                  <a:gd name="T60" fmla="*/ 684 w 916"/>
                  <a:gd name="T61" fmla="*/ 365 h 808"/>
                  <a:gd name="T62" fmla="*/ 816 w 916"/>
                  <a:gd name="T63" fmla="*/ 668 h 808"/>
                  <a:gd name="T64" fmla="*/ 738 w 916"/>
                  <a:gd name="T65" fmla="*/ 549 h 808"/>
                  <a:gd name="T66" fmla="*/ 816 w 916"/>
                  <a:gd name="T67" fmla="*/ 668 h 808"/>
                  <a:gd name="T68" fmla="*/ 738 w 916"/>
                  <a:gd name="T69" fmla="*/ 482 h 808"/>
                  <a:gd name="T70" fmla="*/ 816 w 916"/>
                  <a:gd name="T71" fmla="*/ 365 h 8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16" h="808">
                    <a:moveTo>
                      <a:pt x="883" y="723"/>
                    </a:moveTo>
                    <a:lnTo>
                      <a:pt x="883" y="286"/>
                    </a:lnTo>
                    <a:lnTo>
                      <a:pt x="539" y="286"/>
                    </a:lnTo>
                    <a:lnTo>
                      <a:pt x="539" y="723"/>
                    </a:lnTo>
                    <a:lnTo>
                      <a:pt x="504" y="723"/>
                    </a:lnTo>
                    <a:lnTo>
                      <a:pt x="504" y="0"/>
                    </a:lnTo>
                    <a:lnTo>
                      <a:pt x="35" y="0"/>
                    </a:lnTo>
                    <a:lnTo>
                      <a:pt x="35" y="723"/>
                    </a:lnTo>
                    <a:lnTo>
                      <a:pt x="0" y="723"/>
                    </a:lnTo>
                    <a:lnTo>
                      <a:pt x="0" y="808"/>
                    </a:lnTo>
                    <a:lnTo>
                      <a:pt x="916" y="808"/>
                    </a:lnTo>
                    <a:lnTo>
                      <a:pt x="916" y="723"/>
                    </a:lnTo>
                    <a:lnTo>
                      <a:pt x="883" y="723"/>
                    </a:lnTo>
                    <a:close/>
                    <a:moveTo>
                      <a:pt x="229" y="665"/>
                    </a:moveTo>
                    <a:lnTo>
                      <a:pt x="109" y="665"/>
                    </a:lnTo>
                    <a:lnTo>
                      <a:pt x="109" y="596"/>
                    </a:lnTo>
                    <a:lnTo>
                      <a:pt x="229" y="596"/>
                    </a:lnTo>
                    <a:lnTo>
                      <a:pt x="229" y="665"/>
                    </a:lnTo>
                    <a:close/>
                    <a:moveTo>
                      <a:pt x="229" y="501"/>
                    </a:moveTo>
                    <a:lnTo>
                      <a:pt x="109" y="501"/>
                    </a:lnTo>
                    <a:lnTo>
                      <a:pt x="109" y="432"/>
                    </a:lnTo>
                    <a:lnTo>
                      <a:pt x="229" y="432"/>
                    </a:lnTo>
                    <a:lnTo>
                      <a:pt x="229" y="501"/>
                    </a:lnTo>
                    <a:close/>
                    <a:moveTo>
                      <a:pt x="229" y="337"/>
                    </a:moveTo>
                    <a:lnTo>
                      <a:pt x="109" y="337"/>
                    </a:lnTo>
                    <a:lnTo>
                      <a:pt x="109" y="267"/>
                    </a:lnTo>
                    <a:lnTo>
                      <a:pt x="229" y="267"/>
                    </a:lnTo>
                    <a:lnTo>
                      <a:pt x="229" y="337"/>
                    </a:lnTo>
                    <a:close/>
                    <a:moveTo>
                      <a:pt x="229" y="172"/>
                    </a:moveTo>
                    <a:lnTo>
                      <a:pt x="109" y="172"/>
                    </a:lnTo>
                    <a:lnTo>
                      <a:pt x="109" y="103"/>
                    </a:lnTo>
                    <a:lnTo>
                      <a:pt x="229" y="103"/>
                    </a:lnTo>
                    <a:lnTo>
                      <a:pt x="229" y="172"/>
                    </a:lnTo>
                    <a:close/>
                    <a:moveTo>
                      <a:pt x="428" y="665"/>
                    </a:moveTo>
                    <a:lnTo>
                      <a:pt x="307" y="665"/>
                    </a:lnTo>
                    <a:lnTo>
                      <a:pt x="307" y="596"/>
                    </a:lnTo>
                    <a:lnTo>
                      <a:pt x="428" y="596"/>
                    </a:lnTo>
                    <a:lnTo>
                      <a:pt x="428" y="665"/>
                    </a:lnTo>
                    <a:close/>
                    <a:moveTo>
                      <a:pt x="428" y="501"/>
                    </a:moveTo>
                    <a:lnTo>
                      <a:pt x="307" y="501"/>
                    </a:lnTo>
                    <a:lnTo>
                      <a:pt x="307" y="432"/>
                    </a:lnTo>
                    <a:lnTo>
                      <a:pt x="428" y="432"/>
                    </a:lnTo>
                    <a:lnTo>
                      <a:pt x="428" y="501"/>
                    </a:lnTo>
                    <a:close/>
                    <a:moveTo>
                      <a:pt x="428" y="337"/>
                    </a:moveTo>
                    <a:lnTo>
                      <a:pt x="307" y="337"/>
                    </a:lnTo>
                    <a:lnTo>
                      <a:pt x="307" y="267"/>
                    </a:lnTo>
                    <a:lnTo>
                      <a:pt x="428" y="267"/>
                    </a:lnTo>
                    <a:lnTo>
                      <a:pt x="428" y="337"/>
                    </a:lnTo>
                    <a:close/>
                    <a:moveTo>
                      <a:pt x="428" y="172"/>
                    </a:moveTo>
                    <a:lnTo>
                      <a:pt x="307" y="172"/>
                    </a:lnTo>
                    <a:lnTo>
                      <a:pt x="307" y="103"/>
                    </a:lnTo>
                    <a:lnTo>
                      <a:pt x="428" y="103"/>
                    </a:lnTo>
                    <a:lnTo>
                      <a:pt x="428" y="172"/>
                    </a:lnTo>
                    <a:close/>
                    <a:moveTo>
                      <a:pt x="684" y="668"/>
                    </a:moveTo>
                    <a:lnTo>
                      <a:pt x="606" y="668"/>
                    </a:lnTo>
                    <a:lnTo>
                      <a:pt x="606" y="549"/>
                    </a:lnTo>
                    <a:lnTo>
                      <a:pt x="684" y="549"/>
                    </a:lnTo>
                    <a:lnTo>
                      <a:pt x="684" y="668"/>
                    </a:lnTo>
                    <a:close/>
                    <a:moveTo>
                      <a:pt x="684" y="482"/>
                    </a:moveTo>
                    <a:lnTo>
                      <a:pt x="606" y="482"/>
                    </a:lnTo>
                    <a:lnTo>
                      <a:pt x="606" y="365"/>
                    </a:lnTo>
                    <a:lnTo>
                      <a:pt x="684" y="365"/>
                    </a:lnTo>
                    <a:lnTo>
                      <a:pt x="684" y="482"/>
                    </a:lnTo>
                    <a:close/>
                    <a:moveTo>
                      <a:pt x="816" y="668"/>
                    </a:moveTo>
                    <a:lnTo>
                      <a:pt x="738" y="668"/>
                    </a:lnTo>
                    <a:lnTo>
                      <a:pt x="738" y="549"/>
                    </a:lnTo>
                    <a:lnTo>
                      <a:pt x="816" y="549"/>
                    </a:lnTo>
                    <a:lnTo>
                      <a:pt x="816" y="668"/>
                    </a:lnTo>
                    <a:close/>
                    <a:moveTo>
                      <a:pt x="816" y="482"/>
                    </a:moveTo>
                    <a:lnTo>
                      <a:pt x="738" y="482"/>
                    </a:lnTo>
                    <a:lnTo>
                      <a:pt x="738" y="365"/>
                    </a:lnTo>
                    <a:lnTo>
                      <a:pt x="816" y="365"/>
                    </a:lnTo>
                    <a:lnTo>
                      <a:pt x="816" y="482"/>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grpSp>
        <p:sp>
          <p:nvSpPr>
            <p:cNvPr id="95" name="TextBox 94"/>
            <p:cNvSpPr txBox="1"/>
            <p:nvPr/>
          </p:nvSpPr>
          <p:spPr>
            <a:xfrm>
              <a:off x="83345" y="113808"/>
              <a:ext cx="2532630" cy="627864"/>
            </a:xfrm>
            <a:prstGeom prst="rect">
              <a:avLst/>
            </a:prstGeom>
            <a:noFill/>
          </p:spPr>
          <p:txBody>
            <a:bodyPr wrap="square" lIns="182880" tIns="146304" rIns="182880" bIns="146304" rtlCol="0">
              <a:spAutoFit/>
            </a:bodyPr>
            <a:lstStyle>
              <a:defPPr>
                <a:defRPr lang="en-US"/>
              </a:defPPr>
              <a:lvl1pPr>
                <a:lnSpc>
                  <a:spcPct val="90000"/>
                </a:lnSpc>
                <a:spcAft>
                  <a:spcPts val="600"/>
                </a:spcAft>
                <a:defRPr sz="2800" b="1">
                  <a:solidFill>
                    <a:srgbClr val="F2C812"/>
                  </a:solidFill>
                  <a:latin typeface="Segoe UI Light"/>
                </a:defRPr>
              </a:lvl1p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400" b="1" i="0" u="none" strike="noStrike" kern="1200" cap="none" spc="0" normalizeH="0" baseline="0" noProof="0">
                  <a:ln>
                    <a:noFill/>
                  </a:ln>
                  <a:solidFill>
                    <a:srgbClr val="F2C812"/>
                  </a:solidFill>
                  <a:effectLst/>
                  <a:uLnTx/>
                  <a:uFillTx/>
                  <a:latin typeface="Segoe UI Light"/>
                  <a:ea typeface="+mn-ea"/>
                  <a:cs typeface="+mn-cs"/>
                </a:rPr>
                <a:t>Power BI Service</a:t>
              </a:r>
              <a:endParaRPr kumimoji="0" lang="en-US" sz="2800" b="1" i="0" u="none" strike="noStrike" kern="1200" cap="none" spc="0" normalizeH="0" baseline="0" noProof="0">
                <a:ln>
                  <a:noFill/>
                </a:ln>
                <a:solidFill>
                  <a:srgbClr val="F2C812"/>
                </a:solidFill>
                <a:effectLst/>
                <a:uLnTx/>
                <a:uFillTx/>
                <a:latin typeface="Segoe UI Light"/>
                <a:ea typeface="+mn-ea"/>
                <a:cs typeface="+mn-cs"/>
              </a:endParaRPr>
            </a:p>
          </p:txBody>
        </p:sp>
        <p:grpSp>
          <p:nvGrpSpPr>
            <p:cNvPr id="96" name="Group 95"/>
            <p:cNvGrpSpPr/>
            <p:nvPr/>
          </p:nvGrpSpPr>
          <p:grpSpPr>
            <a:xfrm>
              <a:off x="219373" y="3621383"/>
              <a:ext cx="433844" cy="645668"/>
              <a:chOff x="280990" y="3358164"/>
              <a:chExt cx="433844" cy="645668"/>
            </a:xfrm>
          </p:grpSpPr>
          <p:sp>
            <p:nvSpPr>
              <p:cNvPr id="102" name="Oval 1083"/>
              <p:cNvSpPr/>
              <p:nvPr/>
            </p:nvSpPr>
            <p:spPr bwMode="auto">
              <a:xfrm>
                <a:off x="280990" y="3358164"/>
                <a:ext cx="433844" cy="433847"/>
              </a:xfrm>
              <a:prstGeom prst="ellipse">
                <a:avLst/>
              </a:prstGeom>
              <a:solidFill>
                <a:srgbClr val="F2C812"/>
              </a:solidFill>
              <a:ln>
                <a:solidFill>
                  <a:srgbClr val="FFCC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03" name="Group 379"/>
              <p:cNvGrpSpPr/>
              <p:nvPr/>
            </p:nvGrpSpPr>
            <p:grpSpPr>
              <a:xfrm>
                <a:off x="453702" y="3910852"/>
                <a:ext cx="175660" cy="92980"/>
                <a:chOff x="3895793" y="7466656"/>
                <a:chExt cx="785810" cy="415941"/>
              </a:xfrm>
              <a:solidFill>
                <a:srgbClr val="00BCF2"/>
              </a:solidFill>
            </p:grpSpPr>
            <p:sp>
              <p:nvSpPr>
                <p:cNvPr id="104" name="Freeform 132"/>
                <p:cNvSpPr>
                  <a:spLocks/>
                </p:cNvSpPr>
                <p:nvPr/>
              </p:nvSpPr>
              <p:spPr bwMode="auto">
                <a:xfrm>
                  <a:off x="4125979" y="7688918"/>
                  <a:ext cx="0" cy="6353"/>
                </a:xfrm>
                <a:custGeom>
                  <a:avLst/>
                  <a:gdLst>
                    <a:gd name="T0" fmla="*/ 1 w 1"/>
                    <a:gd name="T1" fmla="*/ 0 h 8"/>
                    <a:gd name="T2" fmla="*/ 0 w 1"/>
                    <a:gd name="T3" fmla="*/ 0 h 8"/>
                    <a:gd name="T4" fmla="*/ 1 w 1"/>
                    <a:gd name="T5" fmla="*/ 8 h 8"/>
                    <a:gd name="T6" fmla="*/ 1 w 1"/>
                    <a:gd name="T7" fmla="*/ 0 h 8"/>
                  </a:gdLst>
                  <a:ahLst/>
                  <a:cxnLst>
                    <a:cxn ang="0">
                      <a:pos x="T0" y="T1"/>
                    </a:cxn>
                    <a:cxn ang="0">
                      <a:pos x="T2" y="T3"/>
                    </a:cxn>
                    <a:cxn ang="0">
                      <a:pos x="T4" y="T5"/>
                    </a:cxn>
                    <a:cxn ang="0">
                      <a:pos x="T6" y="T7"/>
                    </a:cxn>
                  </a:cxnLst>
                  <a:rect l="0" t="0" r="r" b="b"/>
                  <a:pathLst>
                    <a:path w="1" h="8">
                      <a:moveTo>
                        <a:pt x="1" y="0"/>
                      </a:moveTo>
                      <a:cubicBezTo>
                        <a:pt x="0" y="0"/>
                        <a:pt x="0" y="0"/>
                        <a:pt x="0" y="0"/>
                      </a:cubicBezTo>
                      <a:cubicBezTo>
                        <a:pt x="0" y="3"/>
                        <a:pt x="1" y="5"/>
                        <a:pt x="1" y="8"/>
                      </a:cubicBezTo>
                      <a:lnTo>
                        <a:pt x="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105" name="Freeform 133"/>
                <p:cNvSpPr>
                  <a:spLocks/>
                </p:cNvSpPr>
                <p:nvPr/>
              </p:nvSpPr>
              <p:spPr bwMode="auto">
                <a:xfrm>
                  <a:off x="3895793" y="7812745"/>
                  <a:ext cx="219078" cy="69852"/>
                </a:xfrm>
                <a:custGeom>
                  <a:avLst/>
                  <a:gdLst>
                    <a:gd name="T0" fmla="*/ 186 w 238"/>
                    <a:gd name="T1" fmla="*/ 9 h 76"/>
                    <a:gd name="T2" fmla="*/ 131 w 238"/>
                    <a:gd name="T3" fmla="*/ 22 h 76"/>
                    <a:gd name="T4" fmla="*/ 60 w 238"/>
                    <a:gd name="T5" fmla="*/ 0 h 76"/>
                    <a:gd name="T6" fmla="*/ 0 w 238"/>
                    <a:gd name="T7" fmla="*/ 42 h 76"/>
                    <a:gd name="T8" fmla="*/ 0 w 238"/>
                    <a:gd name="T9" fmla="*/ 76 h 76"/>
                    <a:gd name="T10" fmla="*/ 238 w 238"/>
                    <a:gd name="T11" fmla="*/ 76 h 76"/>
                    <a:gd name="T12" fmla="*/ 236 w 238"/>
                    <a:gd name="T13" fmla="*/ 53 h 76"/>
                    <a:gd name="T14" fmla="*/ 236 w 238"/>
                    <a:gd name="T15" fmla="*/ 49 h 76"/>
                    <a:gd name="T16" fmla="*/ 186 w 238"/>
                    <a:gd name="T17" fmla="*/ 9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8" h="76">
                      <a:moveTo>
                        <a:pt x="186" y="9"/>
                      </a:moveTo>
                      <a:cubicBezTo>
                        <a:pt x="169" y="18"/>
                        <a:pt x="150" y="22"/>
                        <a:pt x="131" y="22"/>
                      </a:cubicBezTo>
                      <a:cubicBezTo>
                        <a:pt x="105" y="22"/>
                        <a:pt x="80" y="14"/>
                        <a:pt x="60" y="0"/>
                      </a:cubicBezTo>
                      <a:cubicBezTo>
                        <a:pt x="0" y="42"/>
                        <a:pt x="0" y="42"/>
                        <a:pt x="0" y="42"/>
                      </a:cubicBezTo>
                      <a:cubicBezTo>
                        <a:pt x="0" y="76"/>
                        <a:pt x="0" y="76"/>
                        <a:pt x="0" y="76"/>
                      </a:cubicBezTo>
                      <a:cubicBezTo>
                        <a:pt x="238" y="76"/>
                        <a:pt x="238" y="76"/>
                        <a:pt x="238" y="76"/>
                      </a:cubicBezTo>
                      <a:cubicBezTo>
                        <a:pt x="237" y="68"/>
                        <a:pt x="236" y="61"/>
                        <a:pt x="236" y="53"/>
                      </a:cubicBezTo>
                      <a:cubicBezTo>
                        <a:pt x="236" y="51"/>
                        <a:pt x="236" y="50"/>
                        <a:pt x="236" y="49"/>
                      </a:cubicBezTo>
                      <a:lnTo>
                        <a:pt x="186" y="9"/>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106" name="Freeform 137"/>
                <p:cNvSpPr>
                  <a:spLocks/>
                </p:cNvSpPr>
                <p:nvPr/>
              </p:nvSpPr>
              <p:spPr bwMode="auto">
                <a:xfrm>
                  <a:off x="4338704" y="7809561"/>
                  <a:ext cx="65090" cy="73028"/>
                </a:xfrm>
                <a:custGeom>
                  <a:avLst/>
                  <a:gdLst>
                    <a:gd name="T0" fmla="*/ 71 w 71"/>
                    <a:gd name="T1" fmla="*/ 79 h 79"/>
                    <a:gd name="T2" fmla="*/ 71 w 71"/>
                    <a:gd name="T3" fmla="*/ 0 h 79"/>
                    <a:gd name="T4" fmla="*/ 2 w 71"/>
                    <a:gd name="T5" fmla="*/ 53 h 79"/>
                    <a:gd name="T6" fmla="*/ 2 w 71"/>
                    <a:gd name="T7" fmla="*/ 56 h 79"/>
                    <a:gd name="T8" fmla="*/ 0 w 71"/>
                    <a:gd name="T9" fmla="*/ 79 h 79"/>
                    <a:gd name="T10" fmla="*/ 71 w 71"/>
                    <a:gd name="T11" fmla="*/ 79 h 79"/>
                  </a:gdLst>
                  <a:ahLst/>
                  <a:cxnLst>
                    <a:cxn ang="0">
                      <a:pos x="T0" y="T1"/>
                    </a:cxn>
                    <a:cxn ang="0">
                      <a:pos x="T2" y="T3"/>
                    </a:cxn>
                    <a:cxn ang="0">
                      <a:pos x="T4" y="T5"/>
                    </a:cxn>
                    <a:cxn ang="0">
                      <a:pos x="T6" y="T7"/>
                    </a:cxn>
                    <a:cxn ang="0">
                      <a:pos x="T8" y="T9"/>
                    </a:cxn>
                    <a:cxn ang="0">
                      <a:pos x="T10" y="T11"/>
                    </a:cxn>
                  </a:cxnLst>
                  <a:rect l="0" t="0" r="r" b="b"/>
                  <a:pathLst>
                    <a:path w="71" h="79">
                      <a:moveTo>
                        <a:pt x="71" y="79"/>
                      </a:moveTo>
                      <a:cubicBezTo>
                        <a:pt x="71" y="0"/>
                        <a:pt x="71" y="0"/>
                        <a:pt x="71" y="0"/>
                      </a:cubicBezTo>
                      <a:cubicBezTo>
                        <a:pt x="2" y="53"/>
                        <a:pt x="2" y="53"/>
                        <a:pt x="2" y="53"/>
                      </a:cubicBezTo>
                      <a:cubicBezTo>
                        <a:pt x="2" y="54"/>
                        <a:pt x="2" y="55"/>
                        <a:pt x="2" y="56"/>
                      </a:cubicBezTo>
                      <a:cubicBezTo>
                        <a:pt x="2" y="64"/>
                        <a:pt x="1" y="71"/>
                        <a:pt x="0" y="79"/>
                      </a:cubicBezTo>
                      <a:lnTo>
                        <a:pt x="71" y="79"/>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107" name="Freeform 140"/>
                <p:cNvSpPr>
                  <a:spLocks/>
                </p:cNvSpPr>
                <p:nvPr/>
              </p:nvSpPr>
              <p:spPr bwMode="auto">
                <a:xfrm>
                  <a:off x="4600643" y="7622229"/>
                  <a:ext cx="80960" cy="38099"/>
                </a:xfrm>
                <a:custGeom>
                  <a:avLst/>
                  <a:gdLst>
                    <a:gd name="T0" fmla="*/ 0 w 51"/>
                    <a:gd name="T1" fmla="*/ 24 h 24"/>
                    <a:gd name="T2" fmla="*/ 51 w 51"/>
                    <a:gd name="T3" fmla="*/ 24 h 24"/>
                    <a:gd name="T4" fmla="*/ 32 w 51"/>
                    <a:gd name="T5" fmla="*/ 0 h 24"/>
                    <a:gd name="T6" fmla="*/ 0 w 51"/>
                    <a:gd name="T7" fmla="*/ 24 h 24"/>
                  </a:gdLst>
                  <a:ahLst/>
                  <a:cxnLst>
                    <a:cxn ang="0">
                      <a:pos x="T0" y="T1"/>
                    </a:cxn>
                    <a:cxn ang="0">
                      <a:pos x="T2" y="T3"/>
                    </a:cxn>
                    <a:cxn ang="0">
                      <a:pos x="T4" y="T5"/>
                    </a:cxn>
                    <a:cxn ang="0">
                      <a:pos x="T6" y="T7"/>
                    </a:cxn>
                  </a:cxnLst>
                  <a:rect l="0" t="0" r="r" b="b"/>
                  <a:pathLst>
                    <a:path w="51" h="24">
                      <a:moveTo>
                        <a:pt x="0" y="24"/>
                      </a:moveTo>
                      <a:lnTo>
                        <a:pt x="51" y="24"/>
                      </a:lnTo>
                      <a:lnTo>
                        <a:pt x="32" y="0"/>
                      </a:lnTo>
                      <a:lnTo>
                        <a:pt x="0" y="24"/>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108" name="Freeform 141"/>
                <p:cNvSpPr>
                  <a:spLocks/>
                </p:cNvSpPr>
                <p:nvPr/>
              </p:nvSpPr>
              <p:spPr bwMode="auto">
                <a:xfrm>
                  <a:off x="4449825" y="7466656"/>
                  <a:ext cx="119065" cy="139703"/>
                </a:xfrm>
                <a:custGeom>
                  <a:avLst/>
                  <a:gdLst>
                    <a:gd name="T0" fmla="*/ 52 w 75"/>
                    <a:gd name="T1" fmla="*/ 0 h 88"/>
                    <a:gd name="T2" fmla="*/ 0 w 75"/>
                    <a:gd name="T3" fmla="*/ 0 h 88"/>
                    <a:gd name="T4" fmla="*/ 0 w 75"/>
                    <a:gd name="T5" fmla="*/ 88 h 88"/>
                    <a:gd name="T6" fmla="*/ 75 w 75"/>
                    <a:gd name="T7" fmla="*/ 30 h 88"/>
                    <a:gd name="T8" fmla="*/ 52 w 75"/>
                    <a:gd name="T9" fmla="*/ 0 h 88"/>
                  </a:gdLst>
                  <a:ahLst/>
                  <a:cxnLst>
                    <a:cxn ang="0">
                      <a:pos x="T0" y="T1"/>
                    </a:cxn>
                    <a:cxn ang="0">
                      <a:pos x="T2" y="T3"/>
                    </a:cxn>
                    <a:cxn ang="0">
                      <a:pos x="T4" y="T5"/>
                    </a:cxn>
                    <a:cxn ang="0">
                      <a:pos x="T6" y="T7"/>
                    </a:cxn>
                    <a:cxn ang="0">
                      <a:pos x="T8" y="T9"/>
                    </a:cxn>
                  </a:cxnLst>
                  <a:rect l="0" t="0" r="r" b="b"/>
                  <a:pathLst>
                    <a:path w="75" h="88">
                      <a:moveTo>
                        <a:pt x="52" y="0"/>
                      </a:moveTo>
                      <a:lnTo>
                        <a:pt x="0" y="0"/>
                      </a:lnTo>
                      <a:lnTo>
                        <a:pt x="0" y="88"/>
                      </a:lnTo>
                      <a:lnTo>
                        <a:pt x="75" y="30"/>
                      </a:lnTo>
                      <a:lnTo>
                        <a:pt x="52"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grpSp>
        </p:grpSp>
        <p:sp>
          <p:nvSpPr>
            <p:cNvPr id="97" name="Rectangle 152"/>
            <p:cNvSpPr/>
            <p:nvPr/>
          </p:nvSpPr>
          <p:spPr bwMode="auto">
            <a:xfrm>
              <a:off x="712458" y="3628917"/>
              <a:ext cx="1805162" cy="37532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2C812"/>
                  </a:solidFill>
                  <a:effectLst/>
                  <a:uLnTx/>
                  <a:uFillTx/>
                  <a:latin typeface="Segoe UI"/>
                  <a:ea typeface="+mn-ea"/>
                  <a:cs typeface="Segoe UI Light" panose="020B0502040204020203" pitchFamily="34" charset="0"/>
                </a:rPr>
                <a:t>Q&amp;A and </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2C812"/>
                  </a:solidFill>
                  <a:effectLst/>
                  <a:uLnTx/>
                  <a:uFillTx/>
                  <a:latin typeface="Segoe UI"/>
                  <a:ea typeface="+mn-ea"/>
                  <a:cs typeface="Segoe UI Light" panose="020B0502040204020203" pitchFamily="34" charset="0"/>
                </a:rPr>
                <a:t>Quick Insights</a:t>
              </a:r>
              <a:endParaRPr kumimoji="0" lang="en-US" sz="1200" b="1" i="0" u="none" strike="noStrike" kern="1200" cap="none" spc="0" normalizeH="0" baseline="0" noProof="0">
                <a:ln>
                  <a:noFill/>
                </a:ln>
                <a:solidFill>
                  <a:srgbClr val="F2C812"/>
                </a:solidFill>
                <a:effectLst/>
                <a:uLnTx/>
                <a:uFillTx/>
                <a:latin typeface="Segoe UI"/>
                <a:ea typeface="+mn-ea"/>
                <a:cs typeface="Segoe UI Light" panose="020B0502040204020203" pitchFamily="34" charset="0"/>
              </a:endParaRPr>
            </a:p>
          </p:txBody>
        </p:sp>
        <p:sp>
          <p:nvSpPr>
            <p:cNvPr id="98" name="Oval 162"/>
            <p:cNvSpPr/>
            <p:nvPr/>
          </p:nvSpPr>
          <p:spPr bwMode="auto">
            <a:xfrm>
              <a:off x="226619" y="4551712"/>
              <a:ext cx="433844" cy="433844"/>
            </a:xfrm>
            <a:prstGeom prst="ellipse">
              <a:avLst/>
            </a:prstGeom>
            <a:solidFill>
              <a:srgbClr val="F2C812"/>
            </a:solidFill>
            <a:ln>
              <a:solidFill>
                <a:srgbClr val="FFCC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9" name="Rectangle 152"/>
            <p:cNvSpPr/>
            <p:nvPr/>
          </p:nvSpPr>
          <p:spPr bwMode="auto">
            <a:xfrm>
              <a:off x="738443" y="4596194"/>
              <a:ext cx="1884825" cy="30233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2C812"/>
                  </a:solidFill>
                  <a:effectLst/>
                  <a:uLnTx/>
                  <a:uFillTx/>
                  <a:latin typeface="Segoe UI"/>
                  <a:ea typeface="+mn-ea"/>
                  <a:cs typeface="Segoe UI Light" panose="020B0502040204020203" pitchFamily="34" charset="0"/>
                </a:rPr>
                <a:t>Sharing</a:t>
              </a:r>
              <a:endParaRPr kumimoji="0" lang="en-US" sz="1200" b="1" i="1" u="none" strike="noStrike" kern="1200" cap="none" spc="0" normalizeH="0" baseline="0" noProof="0">
                <a:ln>
                  <a:noFill/>
                </a:ln>
                <a:solidFill>
                  <a:srgbClr val="F2C812"/>
                </a:solidFill>
                <a:effectLst/>
                <a:uLnTx/>
                <a:uFillTx/>
                <a:latin typeface="Segoe UI"/>
                <a:ea typeface="+mn-ea"/>
                <a:cs typeface="Segoe UI Light" panose="020B0502040204020203" pitchFamily="34" charset="0"/>
              </a:endParaRPr>
            </a:p>
          </p:txBody>
        </p:sp>
        <p:sp>
          <p:nvSpPr>
            <p:cNvPr id="100" name="Rectangle 145"/>
            <p:cNvSpPr/>
            <p:nvPr/>
          </p:nvSpPr>
          <p:spPr bwMode="auto">
            <a:xfrm>
              <a:off x="697198" y="1847637"/>
              <a:ext cx="1821468" cy="3831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2C812"/>
                  </a:solidFill>
                  <a:effectLst/>
                  <a:uLnTx/>
                  <a:uFillTx/>
                  <a:latin typeface="Segoe UI"/>
                  <a:ea typeface="+mn-ea"/>
                  <a:cs typeface="Segoe UI Light" panose="020B0502040204020203" pitchFamily="34" charset="0"/>
                </a:rPr>
                <a:t>Pinning and Navigation</a:t>
              </a:r>
            </a:p>
          </p:txBody>
        </p:sp>
        <p:sp>
          <p:nvSpPr>
            <p:cNvPr id="101" name="Oval 162"/>
            <p:cNvSpPr/>
            <p:nvPr/>
          </p:nvSpPr>
          <p:spPr bwMode="auto">
            <a:xfrm>
              <a:off x="224136" y="1813606"/>
              <a:ext cx="433844" cy="433844"/>
            </a:xfrm>
            <a:prstGeom prst="ellipse">
              <a:avLst/>
            </a:prstGeom>
            <a:solidFill>
              <a:srgbClr val="FFCC00"/>
            </a:solidFill>
            <a:ln>
              <a:solidFill>
                <a:srgbClr val="F2C81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pic>
        <p:nvPicPr>
          <p:cNvPr id="115" name="Picture 114"/>
          <p:cNvPicPr>
            <a:picLocks noChangeAspect="1"/>
          </p:cNvPicPr>
          <p:nvPr/>
        </p:nvPicPr>
        <p:blipFill rotWithShape="1">
          <a:blip r:embed="rId5"/>
          <a:srcRect l="6503" t="21287" r="74698" b="20220"/>
          <a:stretch/>
        </p:blipFill>
        <p:spPr>
          <a:xfrm>
            <a:off x="339111" y="1946110"/>
            <a:ext cx="228600" cy="231962"/>
          </a:xfrm>
          <a:prstGeom prst="rect">
            <a:avLst/>
          </a:prstGeom>
        </p:spPr>
      </p:pic>
      <p:pic>
        <p:nvPicPr>
          <p:cNvPr id="116" name="Picture 115"/>
          <p:cNvPicPr>
            <a:picLocks noChangeAspect="1"/>
          </p:cNvPicPr>
          <p:nvPr/>
        </p:nvPicPr>
        <p:blipFill>
          <a:blip r:embed="rId6"/>
          <a:stretch>
            <a:fillRect/>
          </a:stretch>
        </p:blipFill>
        <p:spPr>
          <a:xfrm>
            <a:off x="284769" y="3673076"/>
            <a:ext cx="311766" cy="303106"/>
          </a:xfrm>
          <a:prstGeom prst="rect">
            <a:avLst/>
          </a:prstGeom>
        </p:spPr>
      </p:pic>
      <p:sp>
        <p:nvSpPr>
          <p:cNvPr id="117" name="Rectangle 145"/>
          <p:cNvSpPr/>
          <p:nvPr/>
        </p:nvSpPr>
        <p:spPr bwMode="auto">
          <a:xfrm>
            <a:off x="718897" y="5436715"/>
            <a:ext cx="1821468" cy="3831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2C812"/>
                </a:solidFill>
                <a:effectLst/>
                <a:uLnTx/>
                <a:uFillTx/>
                <a:latin typeface="Segoe UI"/>
                <a:ea typeface="+mn-ea"/>
                <a:cs typeface="Segoe UI Light" panose="020B0502040204020203" pitchFamily="34" charset="0"/>
              </a:rPr>
              <a:t>Connect from Excel</a:t>
            </a:r>
          </a:p>
        </p:txBody>
      </p:sp>
      <p:sp>
        <p:nvSpPr>
          <p:cNvPr id="118" name="Oval 162"/>
          <p:cNvSpPr/>
          <p:nvPr/>
        </p:nvSpPr>
        <p:spPr bwMode="auto">
          <a:xfrm>
            <a:off x="231441" y="5429649"/>
            <a:ext cx="433844" cy="433844"/>
          </a:xfrm>
          <a:prstGeom prst="ellipse">
            <a:avLst/>
          </a:prstGeom>
          <a:solidFill>
            <a:srgbClr val="FFCC00"/>
          </a:solidFill>
          <a:ln>
            <a:solidFill>
              <a:srgbClr val="F2C81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19" name="Picture 118"/>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flipH="1">
            <a:off x="283763" y="4596680"/>
            <a:ext cx="357484" cy="357484"/>
          </a:xfrm>
          <a:prstGeom prst="rect">
            <a:avLst/>
          </a:prstGeom>
        </p:spPr>
      </p:pic>
      <p:sp>
        <p:nvSpPr>
          <p:cNvPr id="120" name="Oval 162"/>
          <p:cNvSpPr/>
          <p:nvPr/>
        </p:nvSpPr>
        <p:spPr bwMode="auto">
          <a:xfrm>
            <a:off x="233032" y="6267344"/>
            <a:ext cx="433844" cy="433844"/>
          </a:xfrm>
          <a:prstGeom prst="ellipse">
            <a:avLst/>
          </a:prstGeom>
          <a:solidFill>
            <a:srgbClr val="FFCC00"/>
          </a:solidFill>
          <a:ln>
            <a:solidFill>
              <a:srgbClr val="F2C81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1" name="Rectangle 145"/>
          <p:cNvSpPr/>
          <p:nvPr/>
        </p:nvSpPr>
        <p:spPr bwMode="auto">
          <a:xfrm>
            <a:off x="701416" y="6289969"/>
            <a:ext cx="1821468" cy="3831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2C812"/>
                </a:solidFill>
                <a:effectLst/>
                <a:uLnTx/>
                <a:uFillTx/>
                <a:latin typeface="Segoe UI"/>
                <a:ea typeface="+mn-ea"/>
                <a:cs typeface="Segoe UI Light" panose="020B0502040204020203" pitchFamily="34" charset="0"/>
              </a:rPr>
              <a:t>Mobile Reports</a:t>
            </a:r>
          </a:p>
        </p:txBody>
      </p:sp>
      <p:pic>
        <p:nvPicPr>
          <p:cNvPr id="122" name="Picture 121"/>
          <p:cNvPicPr>
            <a:picLocks noChangeAspect="1"/>
          </p:cNvPicPr>
          <p:nvPr/>
        </p:nvPicPr>
        <p:blipFill>
          <a:blip r:embed="rId8" cstate="print">
            <a:extLst>
              <a:ext uri="{BEBA8EAE-BF5A-486C-A8C5-ECC9F3942E4B}">
                <a14:imgProps xmlns:a14="http://schemas.microsoft.com/office/drawing/2010/main">
                  <a14:imgLayer r:embed="rId9">
                    <a14:imgEffect>
                      <a14:saturation sat="0"/>
                    </a14:imgEffect>
                  </a14:imgLayer>
                </a14:imgProps>
              </a:ext>
              <a:ext uri="{28A0092B-C50C-407E-A947-70E740481C1C}">
                <a14:useLocalDpi xmlns:a14="http://schemas.microsoft.com/office/drawing/2010/main" val="0"/>
              </a:ext>
            </a:extLst>
          </a:blip>
          <a:stretch>
            <a:fillRect/>
          </a:stretch>
        </p:blipFill>
        <p:spPr>
          <a:xfrm>
            <a:off x="391946" y="6350039"/>
            <a:ext cx="133350" cy="251587"/>
          </a:xfrm>
          <a:prstGeom prst="rect">
            <a:avLst/>
          </a:prstGeom>
        </p:spPr>
      </p:pic>
      <p:pic>
        <p:nvPicPr>
          <p:cNvPr id="123" name="Picture 122"/>
          <p:cNvPicPr>
            <a:picLocks noChangeAspect="1"/>
          </p:cNvPicPr>
          <p:nvPr/>
        </p:nvPicPr>
        <p:blipFill>
          <a:blip r:embed="rId10" cstate="print">
            <a:biLevel thresh="50000"/>
            <a:extLst>
              <a:ext uri="{28A0092B-C50C-407E-A947-70E740481C1C}">
                <a14:useLocalDpi xmlns:a14="http://schemas.microsoft.com/office/drawing/2010/main" val="0"/>
              </a:ext>
            </a:extLst>
          </a:blip>
          <a:stretch>
            <a:fillRect/>
          </a:stretch>
        </p:blipFill>
        <p:spPr>
          <a:xfrm>
            <a:off x="332658" y="5538489"/>
            <a:ext cx="268940" cy="268940"/>
          </a:xfrm>
          <a:prstGeom prst="rect">
            <a:avLst/>
          </a:prstGeom>
        </p:spPr>
      </p:pic>
      <p:sp>
        <p:nvSpPr>
          <p:cNvPr id="125" name="Rectangle 124"/>
          <p:cNvSpPr/>
          <p:nvPr/>
        </p:nvSpPr>
        <p:spPr bwMode="auto">
          <a:xfrm>
            <a:off x="95936" y="731574"/>
            <a:ext cx="2464420" cy="5256537"/>
          </a:xfrm>
          <a:prstGeom prst="rect">
            <a:avLst/>
          </a:prstGeom>
          <a:solidFill>
            <a:srgbClr val="000000">
              <a:alpha val="6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19865678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8" name="Text Placeholder 2"/>
          <p:cNvSpPr txBox="1">
            <a:spLocks/>
          </p:cNvSpPr>
          <p:nvPr/>
        </p:nvSpPr>
        <p:spPr>
          <a:xfrm>
            <a:off x="2728052" y="1247229"/>
            <a:ext cx="6833514" cy="897374"/>
          </a:xfrm>
          <a:prstGeom prst="rect">
            <a:avLst/>
          </a:prstGeom>
        </p:spPr>
        <p:txBody>
          <a:bodyPr vert="horz" wrap="square" lIns="182880" tIns="146304" rIns="182880" bIns="146304" rtlCol="0">
            <a:noAutofit/>
          </a:bodyPr>
          <a:lstStyle>
            <a:lvl1pPr marL="182845" marR="0"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3921" kern="1200" spc="0" baseline="0">
                <a:gradFill>
                  <a:gsLst>
                    <a:gs pos="1250">
                      <a:schemeClr val="tx2"/>
                    </a:gs>
                    <a:gs pos="99000">
                      <a:schemeClr val="tx2"/>
                    </a:gs>
                  </a:gsLst>
                  <a:lin ang="5400000" scaled="0"/>
                </a:gradFill>
                <a:latin typeface="+mj-lt"/>
                <a:ea typeface="+mn-ea"/>
                <a:cs typeface="+mn-cs"/>
              </a:defRPr>
            </a:lvl1pPr>
            <a:lvl2pPr marL="365690" marR="0"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2400" kern="1200" spc="0" baseline="0">
                <a:solidFill>
                  <a:schemeClr val="tx2"/>
                </a:solidFill>
                <a:latin typeface="+mj-lt"/>
                <a:ea typeface="+mn-ea"/>
                <a:cs typeface="+mn-cs"/>
              </a:defRPr>
            </a:lvl2pPr>
            <a:lvl3pPr marL="548535" marR="0"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2000" kern="1200" spc="0" baseline="0">
                <a:solidFill>
                  <a:schemeClr val="tx2"/>
                </a:solidFill>
                <a:latin typeface="+mj-lt"/>
                <a:ea typeface="+mn-ea"/>
                <a:cs typeface="+mn-cs"/>
              </a:defRPr>
            </a:lvl3pPr>
            <a:lvl4pPr marL="733802" marR="0" indent="-28569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1765" kern="1200" spc="0" baseline="0">
                <a:solidFill>
                  <a:schemeClr val="tx2"/>
                </a:solidFill>
                <a:latin typeface="+mn-lt"/>
                <a:ea typeface="+mn-ea"/>
                <a:cs typeface="+mn-cs"/>
              </a:defRPr>
            </a:lvl4pPr>
            <a:lvl5pPr marL="957856" marR="0" indent="-28569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1765" kern="1200" spc="0" baseline="0">
                <a:solidFill>
                  <a:schemeClr val="tx2"/>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r>
              <a:rPr kumimoji="0" lang="en-US" sz="2000" b="1" i="0" u="none" strike="noStrike" kern="1200" cap="none" spc="0" normalizeH="0" baseline="0" noProof="0">
                <a:ln>
                  <a:noFill/>
                </a:ln>
                <a:solidFill>
                  <a:prstClr val="black"/>
                </a:solidFill>
                <a:effectLst/>
                <a:uLnTx/>
                <a:uFillTx/>
                <a:latin typeface="Segoe UI Light"/>
                <a:ea typeface="+mn-ea"/>
                <a:cs typeface="+mn-cs"/>
              </a:rPr>
              <a:t>Interact</a:t>
            </a:r>
            <a:r>
              <a:rPr kumimoji="0" lang="en-US" sz="2000" b="0" i="0" u="none" strike="noStrike" kern="1200" cap="none" spc="0" normalizeH="0" baseline="0" noProof="0">
                <a:ln>
                  <a:noFill/>
                </a:ln>
                <a:solidFill>
                  <a:prstClr val="black"/>
                </a:solidFill>
                <a:effectLst/>
                <a:uLnTx/>
                <a:uFillTx/>
                <a:latin typeface="Segoe UI Light"/>
                <a:ea typeface="+mn-ea"/>
                <a:cs typeface="+mn-cs"/>
              </a:rPr>
              <a:t> with dashboards in </a:t>
            </a:r>
            <a:r>
              <a:rPr kumimoji="0" lang="en-US" sz="2000" b="1" i="0" u="none" strike="noStrike" kern="1200" cap="none" spc="0" normalizeH="0" baseline="0" noProof="0">
                <a:ln>
                  <a:noFill/>
                </a:ln>
                <a:solidFill>
                  <a:prstClr val="black"/>
                </a:solidFill>
                <a:effectLst/>
                <a:uLnTx/>
                <a:uFillTx/>
                <a:latin typeface="Segoe UI Light"/>
                <a:ea typeface="+mn-ea"/>
                <a:cs typeface="+mn-cs"/>
              </a:rPr>
              <a:t>your workspace </a:t>
            </a:r>
            <a:r>
              <a:rPr kumimoji="0" lang="en-US" sz="2000" b="0" i="0" u="none" strike="noStrike" kern="1200" cap="none" spc="0" normalizeH="0" baseline="0" noProof="0">
                <a:ln>
                  <a:noFill/>
                </a:ln>
                <a:solidFill>
                  <a:prstClr val="black"/>
                </a:solidFill>
                <a:effectLst/>
                <a:uLnTx/>
                <a:uFillTx/>
                <a:latin typeface="Segoe UI Light"/>
                <a:ea typeface="+mn-ea"/>
                <a:cs typeface="+mn-cs"/>
              </a:rPr>
              <a:t>or </a:t>
            </a:r>
            <a:r>
              <a:rPr kumimoji="0" lang="en-US" sz="2000" b="1" i="0" u="none" strike="noStrike" kern="1200" cap="none" spc="0" normalizeH="0" baseline="0" noProof="0">
                <a:ln>
                  <a:noFill/>
                </a:ln>
                <a:solidFill>
                  <a:prstClr val="black"/>
                </a:solidFill>
                <a:effectLst/>
                <a:uLnTx/>
                <a:uFillTx/>
                <a:latin typeface="Segoe UI Light"/>
                <a:ea typeface="+mn-ea"/>
                <a:cs typeface="+mn-cs"/>
              </a:rPr>
              <a:t>groups</a:t>
            </a:r>
            <a:r>
              <a:rPr kumimoji="0" lang="en-US" sz="2000" b="0" i="0" u="none" strike="noStrike" kern="1200" cap="none" spc="0" normalizeH="0" baseline="0" noProof="0">
                <a:ln>
                  <a:noFill/>
                </a:ln>
                <a:solidFill>
                  <a:prstClr val="black"/>
                </a:solidFill>
                <a:effectLst/>
                <a:uLnTx/>
                <a:uFillTx/>
                <a:latin typeface="Segoe UI Light"/>
                <a:ea typeface="+mn-ea"/>
                <a:cs typeface="+mn-cs"/>
              </a:rPr>
              <a:t>’</a:t>
            </a: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1" i="0" u="none" strike="noStrike" kern="1200" cap="none" spc="0" normalizeH="0" baseline="0" noProof="0">
              <a:ln>
                <a:noFill/>
              </a:ln>
              <a:solidFill>
                <a:prstClr val="black"/>
              </a:solidFill>
              <a:effectLst/>
              <a:uLnTx/>
              <a:uFillTx/>
              <a:latin typeface="Segoe UI Light"/>
              <a:ea typeface="+mn-ea"/>
              <a:cs typeface="+mn-cs"/>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r>
              <a:rPr kumimoji="0" lang="en-US" sz="2000" b="0" i="0" u="none" strike="noStrike" kern="1200" cap="none" spc="0" normalizeH="0" baseline="0" noProof="0">
                <a:ln>
                  <a:noFill/>
                </a:ln>
                <a:solidFill>
                  <a:prstClr val="black"/>
                </a:solidFill>
                <a:effectLst/>
                <a:uLnTx/>
                <a:uFillTx/>
                <a:latin typeface="Segoe UI Light"/>
                <a:ea typeface="+mn-ea"/>
                <a:cs typeface="+mn-cs"/>
              </a:rPr>
              <a:t>When the dashboard is open it displays a series of tiles and </a:t>
            </a:r>
            <a:r>
              <a:rPr kumimoji="0" lang="en-US" sz="2000" b="1" i="0" u="none" strike="noStrike" kern="1200" cap="none" spc="0" normalizeH="0" baseline="0" noProof="0">
                <a:ln>
                  <a:noFill/>
                </a:ln>
                <a:solidFill>
                  <a:prstClr val="black"/>
                </a:solidFill>
                <a:effectLst/>
                <a:uLnTx/>
                <a:uFillTx/>
                <a:latin typeface="Segoe UI Light"/>
                <a:ea typeface="+mn-ea"/>
                <a:cs typeface="+mn-cs"/>
              </a:rPr>
              <a:t>supports real-time</a:t>
            </a: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r>
              <a:rPr kumimoji="0" lang="en-US" sz="2000" b="1"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rPr>
              <a:t>Flip it</a:t>
            </a:r>
            <a:r>
              <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rPr>
              <a:t> to display the entire dashboard and </a:t>
            </a:r>
            <a:r>
              <a:rPr kumimoji="0" lang="en-US" sz="2000" b="1"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rPr>
              <a:t>pinch</a:t>
            </a:r>
            <a:r>
              <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rPr>
              <a:t> to zoom</a:t>
            </a: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p:txBody>
      </p:sp>
      <p:sp>
        <p:nvSpPr>
          <p:cNvPr id="53" name="Title 10"/>
          <p:cNvSpPr txBox="1">
            <a:spLocks/>
          </p:cNvSpPr>
          <p:nvPr/>
        </p:nvSpPr>
        <p:spPr>
          <a:xfrm>
            <a:off x="2849060" y="0"/>
            <a:ext cx="9342940" cy="665151"/>
          </a:xfrm>
          <a:prstGeom prst="rect">
            <a:avLst/>
          </a:prstGeom>
          <a:noFill/>
        </p:spPr>
        <p:txBody>
          <a:bodyPr vert="horz" wrap="square" lIns="0" tIns="91440" rIns="0" bIns="91440" rtlCol="0" anchor="t">
            <a:noAutofit/>
          </a:bodyPr>
          <a:lstStyle>
            <a:lvl1pPr defTabSz="914367">
              <a:lnSpc>
                <a:spcPct val="90000"/>
              </a:lnSpc>
              <a:spcBef>
                <a:spcPct val="0"/>
              </a:spcBef>
              <a:buNone/>
              <a:defRPr lang="en-US" sz="5294" b="0" cap="none" spc="-100" baseline="0" dirty="0" smtClean="0">
                <a:ln w="3175">
                  <a:noFill/>
                </a:ln>
                <a:solidFill>
                  <a:schemeClr val="tx2"/>
                </a:solidFill>
                <a:effectLst/>
                <a:latin typeface="+mj-lt"/>
                <a:cs typeface="Segoe UI" pitchFamily="34" charset="0"/>
              </a:defRPr>
            </a:lvl1pPr>
          </a:lstStyle>
          <a:p>
            <a:pPr marL="168275" marR="0" lvl="0" indent="0" algn="l" defTabSz="914367" rtl="0" eaLnBrk="1" fontAlgn="auto" latinLnBrk="0" hangingPunct="1">
              <a:lnSpc>
                <a:spcPct val="90000"/>
              </a:lnSpc>
              <a:spcBef>
                <a:spcPct val="0"/>
              </a:spcBef>
              <a:spcAft>
                <a:spcPts val="0"/>
              </a:spcAft>
              <a:buClrTx/>
              <a:buSzTx/>
              <a:buFontTx/>
              <a:buNone/>
              <a:tabLst/>
              <a:defRPr/>
            </a:pPr>
            <a:r>
              <a:rPr kumimoji="0" lang="en-US" sz="3600" b="0" i="0" u="none" strike="noStrike" kern="1200" cap="none" spc="-100" normalizeH="0" baseline="0" noProof="0">
                <a:ln w="3175">
                  <a:noFill/>
                </a:ln>
                <a:solidFill>
                  <a:prstClr val="black"/>
                </a:solidFill>
                <a:effectLst/>
                <a:uLnTx/>
                <a:uFillTx/>
                <a:latin typeface="Segoe UI Light"/>
                <a:ea typeface="+mn-ea"/>
                <a:cs typeface="Segoe UI" pitchFamily="34" charset="0"/>
              </a:rPr>
              <a:t>Mobile Reports</a:t>
            </a:r>
            <a:endParaRPr kumimoji="0" lang="en-IN" sz="3600" b="0" i="0" u="none" strike="noStrike" kern="1200" cap="none" spc="-100" normalizeH="0" baseline="0" noProof="0">
              <a:ln w="3175">
                <a:noFill/>
              </a:ln>
              <a:solidFill>
                <a:prstClr val="black"/>
              </a:solidFill>
              <a:effectLst/>
              <a:uLnTx/>
              <a:uFillTx/>
              <a:latin typeface="Segoe UI Light"/>
              <a:ea typeface="+mn-ea"/>
              <a:cs typeface="Segoe UI" pitchFamily="34" charset="0"/>
            </a:endParaRPr>
          </a:p>
        </p:txBody>
      </p:sp>
      <p:sp>
        <p:nvSpPr>
          <p:cNvPr id="41" name="Rectangle 3"/>
          <p:cNvSpPr/>
          <p:nvPr/>
        </p:nvSpPr>
        <p:spPr bwMode="auto">
          <a:xfrm>
            <a:off x="3202216" y="704712"/>
            <a:ext cx="8105312" cy="44435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PT" sz="2000" b="0" i="1" u="none" strike="noStrike" kern="1200" cap="none" spc="0" normalizeH="0" baseline="0" noProof="0">
                <a:ln>
                  <a:noFill/>
                </a:ln>
                <a:solidFill>
                  <a:prstClr val="black"/>
                </a:solidFill>
                <a:effectLst/>
                <a:uLnTx/>
                <a:uFillTx/>
                <a:latin typeface="Segoe UI Light"/>
                <a:ea typeface="+mn-ea"/>
                <a:cs typeface="+mn-cs"/>
              </a:rPr>
              <a:t>Mobile Apps – Dashboards</a:t>
            </a:r>
            <a:endParaRPr kumimoji="0" lang="en-US" sz="2000" b="0" i="1" u="none" strike="noStrike" kern="1200" cap="none" spc="0" normalizeH="0" baseline="0" noProof="0">
              <a:ln>
                <a:noFill/>
              </a:ln>
              <a:solidFill>
                <a:prstClr val="black"/>
              </a:solidFill>
              <a:effectLst/>
              <a:uLnTx/>
              <a:uFillTx/>
              <a:latin typeface="Segoe UI Light"/>
              <a:ea typeface="+mn-ea"/>
              <a:cs typeface="+mn-cs"/>
            </a:endParaRPr>
          </a:p>
        </p:txBody>
      </p:sp>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679685" y="1614750"/>
            <a:ext cx="2304762" cy="2285714"/>
          </a:xfrm>
          <a:prstGeom prst="rect">
            <a:avLst/>
          </a:prstGeom>
          <a:ln>
            <a:noFill/>
          </a:ln>
          <a:effectLst>
            <a:outerShdw blurRad="190500" algn="tl" rotWithShape="0">
              <a:srgbClr val="000000">
                <a:alpha val="70000"/>
              </a:srgbClr>
            </a:outerShdw>
          </a:effectLst>
        </p:spPr>
      </p:pic>
      <p:pic>
        <p:nvPicPr>
          <p:cNvPr id="3" name="Picture 2"/>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993295" y="3517127"/>
            <a:ext cx="3300113" cy="3124794"/>
          </a:xfrm>
          <a:prstGeom prst="rect">
            <a:avLst/>
          </a:prstGeom>
        </p:spPr>
      </p:pic>
      <p:pic>
        <p:nvPicPr>
          <p:cNvPr id="6" name="Picture 5"/>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901193" y="3707296"/>
            <a:ext cx="1613043" cy="2867632"/>
          </a:xfrm>
          <a:prstGeom prst="rect">
            <a:avLst/>
          </a:prstGeom>
          <a:ln>
            <a:noFill/>
          </a:ln>
          <a:effectLst>
            <a:outerShdw blurRad="190500" algn="tl" rotWithShape="0">
              <a:srgbClr val="000000">
                <a:alpha val="70000"/>
              </a:srgbClr>
            </a:outerShdw>
          </a:effectLst>
        </p:spPr>
      </p:pic>
      <p:pic>
        <p:nvPicPr>
          <p:cNvPr id="7" name="Picture 6"/>
          <p:cNvPicPr>
            <a:picLocks noChangeAspect="1"/>
          </p:cNvPicPr>
          <p:nvPr/>
        </p:nvPicPr>
        <p:blipFill rotWithShape="1">
          <a:blip r:embed="rId6" cstate="print">
            <a:extLst>
              <a:ext uri="{28A0092B-C50C-407E-A947-70E740481C1C}">
                <a14:useLocalDpi xmlns:a14="http://schemas.microsoft.com/office/drawing/2010/main" val="0"/>
              </a:ext>
            </a:extLst>
          </a:blip>
          <a:srcRect r="2716"/>
          <a:stretch/>
        </p:blipFill>
        <p:spPr>
          <a:xfrm>
            <a:off x="6579197" y="4996579"/>
            <a:ext cx="2256690" cy="1304830"/>
          </a:xfrm>
          <a:prstGeom prst="rect">
            <a:avLst/>
          </a:prstGeom>
        </p:spPr>
      </p:pic>
      <p:grpSp>
        <p:nvGrpSpPr>
          <p:cNvPr id="51" name="Group 50"/>
          <p:cNvGrpSpPr/>
          <p:nvPr/>
        </p:nvGrpSpPr>
        <p:grpSpPr>
          <a:xfrm>
            <a:off x="-2887" y="973"/>
            <a:ext cx="2849058" cy="6857027"/>
            <a:chOff x="2" y="487"/>
            <a:chExt cx="2849058" cy="6857027"/>
          </a:xfrm>
        </p:grpSpPr>
        <p:sp>
          <p:nvSpPr>
            <p:cNvPr id="77" name="Rectangle 15"/>
            <p:cNvSpPr/>
            <p:nvPr/>
          </p:nvSpPr>
          <p:spPr bwMode="auto">
            <a:xfrm>
              <a:off x="2" y="487"/>
              <a:ext cx="2849058" cy="685702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8" name="Rectangle 145"/>
            <p:cNvSpPr/>
            <p:nvPr/>
          </p:nvSpPr>
          <p:spPr bwMode="auto">
            <a:xfrm>
              <a:off x="696152" y="956997"/>
              <a:ext cx="1821468" cy="3831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2C812"/>
                  </a:solidFill>
                  <a:effectLst/>
                  <a:uLnTx/>
                  <a:uFillTx/>
                  <a:latin typeface="Segoe UI"/>
                  <a:ea typeface="+mn-ea"/>
                  <a:cs typeface="Segoe UI Light" panose="020B0502040204020203" pitchFamily="34" charset="0"/>
                </a:rPr>
                <a:t>Get Data</a:t>
              </a:r>
              <a:endParaRPr kumimoji="0" lang="en-US" sz="1200" b="1" i="1" u="none" strike="noStrike" kern="1200" cap="none" spc="0" normalizeH="0" baseline="0" noProof="0">
                <a:ln>
                  <a:noFill/>
                </a:ln>
                <a:solidFill>
                  <a:srgbClr val="F2C812"/>
                </a:solidFill>
                <a:effectLst/>
                <a:uLnTx/>
                <a:uFillTx/>
                <a:latin typeface="Segoe UI"/>
                <a:ea typeface="+mn-ea"/>
                <a:cs typeface="Segoe UI Light" panose="020B0502040204020203" pitchFamily="34" charset="0"/>
              </a:endParaRPr>
            </a:p>
          </p:txBody>
        </p:sp>
        <p:grpSp>
          <p:nvGrpSpPr>
            <p:cNvPr id="80" name="Group 79"/>
            <p:cNvGrpSpPr/>
            <p:nvPr/>
          </p:nvGrpSpPr>
          <p:grpSpPr>
            <a:xfrm>
              <a:off x="219373" y="934583"/>
              <a:ext cx="433844" cy="433844"/>
              <a:chOff x="440005" y="997815"/>
              <a:chExt cx="296322" cy="296322"/>
            </a:xfrm>
          </p:grpSpPr>
          <p:sp>
            <p:nvSpPr>
              <p:cNvPr id="100" name="Oval 147"/>
              <p:cNvSpPr/>
              <p:nvPr/>
            </p:nvSpPr>
            <p:spPr bwMode="auto">
              <a:xfrm>
                <a:off x="440005" y="997815"/>
                <a:ext cx="296322" cy="296322"/>
              </a:xfrm>
              <a:prstGeom prst="ellipse">
                <a:avLst/>
              </a:prstGeom>
              <a:solidFill>
                <a:srgbClr val="FFCC00"/>
              </a:solidFill>
              <a:ln>
                <a:solidFill>
                  <a:srgbClr val="F2C81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01" name="Group 332"/>
              <p:cNvGrpSpPr/>
              <p:nvPr/>
            </p:nvGrpSpPr>
            <p:grpSpPr>
              <a:xfrm>
                <a:off x="482167" y="1059311"/>
                <a:ext cx="211997" cy="173292"/>
                <a:chOff x="2123129" y="293070"/>
                <a:chExt cx="2472585" cy="2021178"/>
              </a:xfrm>
            </p:grpSpPr>
            <p:sp>
              <p:nvSpPr>
                <p:cNvPr id="102" name="Freeform 13"/>
                <p:cNvSpPr>
                  <a:spLocks/>
                </p:cNvSpPr>
                <p:nvPr/>
              </p:nvSpPr>
              <p:spPr bwMode="auto">
                <a:xfrm rot="20700000">
                  <a:off x="3155853" y="872796"/>
                  <a:ext cx="1439861" cy="1441452"/>
                </a:xfrm>
                <a:custGeom>
                  <a:avLst/>
                  <a:gdLst>
                    <a:gd name="T0" fmla="*/ 138 w 441"/>
                    <a:gd name="T1" fmla="*/ 341 h 441"/>
                    <a:gd name="T2" fmla="*/ 183 w 441"/>
                    <a:gd name="T3" fmla="*/ 374 h 441"/>
                    <a:gd name="T4" fmla="*/ 220 w 441"/>
                    <a:gd name="T5" fmla="*/ 423 h 441"/>
                    <a:gd name="T6" fmla="*/ 422 w 441"/>
                    <a:gd name="T7" fmla="*/ 220 h 441"/>
                    <a:gd name="T8" fmla="*/ 373 w 441"/>
                    <a:gd name="T9" fmla="*/ 184 h 441"/>
                    <a:gd name="T10" fmla="*/ 341 w 441"/>
                    <a:gd name="T11" fmla="*/ 139 h 441"/>
                    <a:gd name="T12" fmla="*/ 382 w 441"/>
                    <a:gd name="T13" fmla="*/ 58 h 441"/>
                    <a:gd name="T14" fmla="*/ 302 w 441"/>
                    <a:gd name="T15" fmla="*/ 100 h 441"/>
                    <a:gd name="T16" fmla="*/ 257 w 441"/>
                    <a:gd name="T17" fmla="*/ 67 h 441"/>
                    <a:gd name="T18" fmla="*/ 220 w 441"/>
                    <a:gd name="T19" fmla="*/ 18 h 441"/>
                    <a:gd name="T20" fmla="*/ 171 w 441"/>
                    <a:gd name="T21" fmla="*/ 55 h 441"/>
                    <a:gd name="T22" fmla="*/ 138 w 441"/>
                    <a:gd name="T23" fmla="*/ 100 h 441"/>
                    <a:gd name="T24" fmla="*/ 180 w 441"/>
                    <a:gd name="T25" fmla="*/ 181 h 441"/>
                    <a:gd name="T26" fmla="*/ 100 w 441"/>
                    <a:gd name="T27" fmla="*/ 139 h 441"/>
                    <a:gd name="T28" fmla="*/ 55 w 441"/>
                    <a:gd name="T29" fmla="*/ 171 h 441"/>
                    <a:gd name="T30" fmla="*/ 18 w 441"/>
                    <a:gd name="T31" fmla="*/ 220 h 441"/>
                    <a:gd name="T32" fmla="*/ 67 w 441"/>
                    <a:gd name="T33" fmla="*/ 257 h 441"/>
                    <a:gd name="T34" fmla="*/ 100 w 441"/>
                    <a:gd name="T35" fmla="*/ 302 h 441"/>
                    <a:gd name="T36" fmla="*/ 58 w 441"/>
                    <a:gd name="T37" fmla="*/ 383 h 441"/>
                    <a:gd name="T38" fmla="*/ 138 w 441"/>
                    <a:gd name="T39" fmla="*/ 341 h 4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41" h="441">
                      <a:moveTo>
                        <a:pt x="138" y="341"/>
                      </a:moveTo>
                      <a:cubicBezTo>
                        <a:pt x="147" y="337"/>
                        <a:pt x="171" y="361"/>
                        <a:pt x="183" y="374"/>
                      </a:cubicBezTo>
                      <a:cubicBezTo>
                        <a:pt x="196" y="386"/>
                        <a:pt x="220" y="423"/>
                        <a:pt x="220" y="423"/>
                      </a:cubicBezTo>
                      <a:cubicBezTo>
                        <a:pt x="422" y="220"/>
                        <a:pt x="422" y="220"/>
                        <a:pt x="422" y="220"/>
                      </a:cubicBezTo>
                      <a:cubicBezTo>
                        <a:pt x="422" y="220"/>
                        <a:pt x="386" y="196"/>
                        <a:pt x="373" y="184"/>
                      </a:cubicBezTo>
                      <a:cubicBezTo>
                        <a:pt x="361" y="171"/>
                        <a:pt x="338" y="149"/>
                        <a:pt x="341" y="139"/>
                      </a:cubicBezTo>
                      <a:cubicBezTo>
                        <a:pt x="343" y="129"/>
                        <a:pt x="441" y="116"/>
                        <a:pt x="382" y="58"/>
                      </a:cubicBezTo>
                      <a:cubicBezTo>
                        <a:pt x="324" y="0"/>
                        <a:pt x="310" y="96"/>
                        <a:pt x="302" y="100"/>
                      </a:cubicBezTo>
                      <a:cubicBezTo>
                        <a:pt x="294" y="104"/>
                        <a:pt x="269" y="80"/>
                        <a:pt x="257" y="67"/>
                      </a:cubicBezTo>
                      <a:cubicBezTo>
                        <a:pt x="245" y="55"/>
                        <a:pt x="220" y="18"/>
                        <a:pt x="220" y="18"/>
                      </a:cubicBezTo>
                      <a:cubicBezTo>
                        <a:pt x="220" y="18"/>
                        <a:pt x="183" y="43"/>
                        <a:pt x="171" y="55"/>
                      </a:cubicBezTo>
                      <a:cubicBezTo>
                        <a:pt x="159" y="67"/>
                        <a:pt x="134" y="92"/>
                        <a:pt x="138" y="100"/>
                      </a:cubicBezTo>
                      <a:cubicBezTo>
                        <a:pt x="142" y="108"/>
                        <a:pt x="238" y="122"/>
                        <a:pt x="180" y="181"/>
                      </a:cubicBezTo>
                      <a:cubicBezTo>
                        <a:pt x="122" y="239"/>
                        <a:pt x="110" y="141"/>
                        <a:pt x="100" y="139"/>
                      </a:cubicBezTo>
                      <a:cubicBezTo>
                        <a:pt x="89" y="137"/>
                        <a:pt x="67" y="159"/>
                        <a:pt x="55" y="171"/>
                      </a:cubicBezTo>
                      <a:cubicBezTo>
                        <a:pt x="42" y="184"/>
                        <a:pt x="18" y="220"/>
                        <a:pt x="18" y="220"/>
                      </a:cubicBezTo>
                      <a:cubicBezTo>
                        <a:pt x="18" y="220"/>
                        <a:pt x="55" y="245"/>
                        <a:pt x="67" y="257"/>
                      </a:cubicBezTo>
                      <a:cubicBezTo>
                        <a:pt x="79" y="269"/>
                        <a:pt x="102" y="292"/>
                        <a:pt x="100" y="302"/>
                      </a:cubicBezTo>
                      <a:cubicBezTo>
                        <a:pt x="98" y="312"/>
                        <a:pt x="0" y="325"/>
                        <a:pt x="58" y="383"/>
                      </a:cubicBezTo>
                      <a:cubicBezTo>
                        <a:pt x="116" y="441"/>
                        <a:pt x="130" y="345"/>
                        <a:pt x="138" y="341"/>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103" name="Freeform 14"/>
                <p:cNvSpPr>
                  <a:spLocks/>
                </p:cNvSpPr>
                <p:nvPr/>
              </p:nvSpPr>
              <p:spPr bwMode="auto">
                <a:xfrm rot="9900000">
                  <a:off x="2123129" y="293070"/>
                  <a:ext cx="1377948" cy="1377947"/>
                </a:xfrm>
                <a:custGeom>
                  <a:avLst/>
                  <a:gdLst>
                    <a:gd name="T0" fmla="*/ 422 w 422"/>
                    <a:gd name="T1" fmla="*/ 220 h 422"/>
                    <a:gd name="T2" fmla="*/ 386 w 422"/>
                    <a:gd name="T3" fmla="*/ 171 h 422"/>
                    <a:gd name="T4" fmla="*/ 341 w 422"/>
                    <a:gd name="T5" fmla="*/ 138 h 422"/>
                    <a:gd name="T6" fmla="*/ 260 w 422"/>
                    <a:gd name="T7" fmla="*/ 180 h 422"/>
                    <a:gd name="T8" fmla="*/ 302 w 422"/>
                    <a:gd name="T9" fmla="*/ 100 h 422"/>
                    <a:gd name="T10" fmla="*/ 269 w 422"/>
                    <a:gd name="T11" fmla="*/ 55 h 422"/>
                    <a:gd name="T12" fmla="*/ 220 w 422"/>
                    <a:gd name="T13" fmla="*/ 18 h 422"/>
                    <a:gd name="T14" fmla="*/ 183 w 422"/>
                    <a:gd name="T15" fmla="*/ 67 h 422"/>
                    <a:gd name="T16" fmla="*/ 138 w 422"/>
                    <a:gd name="T17" fmla="*/ 100 h 422"/>
                    <a:gd name="T18" fmla="*/ 58 w 422"/>
                    <a:gd name="T19" fmla="*/ 58 h 422"/>
                    <a:gd name="T20" fmla="*/ 100 w 422"/>
                    <a:gd name="T21" fmla="*/ 138 h 422"/>
                    <a:gd name="T22" fmla="*/ 67 w 422"/>
                    <a:gd name="T23" fmla="*/ 183 h 422"/>
                    <a:gd name="T24" fmla="*/ 18 w 422"/>
                    <a:gd name="T25" fmla="*/ 220 h 422"/>
                    <a:gd name="T26" fmla="*/ 55 w 422"/>
                    <a:gd name="T27" fmla="*/ 269 h 422"/>
                    <a:gd name="T28" fmla="*/ 100 w 422"/>
                    <a:gd name="T29" fmla="*/ 302 h 422"/>
                    <a:gd name="T30" fmla="*/ 180 w 422"/>
                    <a:gd name="T31" fmla="*/ 260 h 422"/>
                    <a:gd name="T32" fmla="*/ 138 w 422"/>
                    <a:gd name="T33" fmla="*/ 341 h 422"/>
                    <a:gd name="T34" fmla="*/ 171 w 422"/>
                    <a:gd name="T35" fmla="*/ 386 h 422"/>
                    <a:gd name="T36" fmla="*/ 220 w 422"/>
                    <a:gd name="T37" fmla="*/ 422 h 422"/>
                    <a:gd name="T38" fmla="*/ 422 w 422"/>
                    <a:gd name="T39" fmla="*/ 220 h 4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22" h="422">
                      <a:moveTo>
                        <a:pt x="422" y="220"/>
                      </a:moveTo>
                      <a:cubicBezTo>
                        <a:pt x="422" y="220"/>
                        <a:pt x="398" y="183"/>
                        <a:pt x="386" y="171"/>
                      </a:cubicBezTo>
                      <a:cubicBezTo>
                        <a:pt x="373" y="159"/>
                        <a:pt x="349" y="134"/>
                        <a:pt x="341" y="138"/>
                      </a:cubicBezTo>
                      <a:cubicBezTo>
                        <a:pt x="332" y="142"/>
                        <a:pt x="318" y="239"/>
                        <a:pt x="260" y="180"/>
                      </a:cubicBezTo>
                      <a:cubicBezTo>
                        <a:pt x="202" y="122"/>
                        <a:pt x="300" y="110"/>
                        <a:pt x="302" y="100"/>
                      </a:cubicBezTo>
                      <a:cubicBezTo>
                        <a:pt x="304" y="90"/>
                        <a:pt x="281" y="67"/>
                        <a:pt x="269" y="55"/>
                      </a:cubicBezTo>
                      <a:cubicBezTo>
                        <a:pt x="257" y="42"/>
                        <a:pt x="220" y="18"/>
                        <a:pt x="220" y="18"/>
                      </a:cubicBezTo>
                      <a:cubicBezTo>
                        <a:pt x="220" y="18"/>
                        <a:pt x="196" y="55"/>
                        <a:pt x="183" y="67"/>
                      </a:cubicBezTo>
                      <a:cubicBezTo>
                        <a:pt x="171" y="79"/>
                        <a:pt x="149" y="102"/>
                        <a:pt x="138" y="100"/>
                      </a:cubicBezTo>
                      <a:cubicBezTo>
                        <a:pt x="128" y="98"/>
                        <a:pt x="116" y="0"/>
                        <a:pt x="58" y="58"/>
                      </a:cubicBezTo>
                      <a:cubicBezTo>
                        <a:pt x="0" y="116"/>
                        <a:pt x="96" y="130"/>
                        <a:pt x="100" y="138"/>
                      </a:cubicBezTo>
                      <a:cubicBezTo>
                        <a:pt x="104" y="147"/>
                        <a:pt x="79" y="171"/>
                        <a:pt x="67" y="183"/>
                      </a:cubicBezTo>
                      <a:cubicBezTo>
                        <a:pt x="55" y="196"/>
                        <a:pt x="18" y="220"/>
                        <a:pt x="18" y="220"/>
                      </a:cubicBezTo>
                      <a:cubicBezTo>
                        <a:pt x="18" y="220"/>
                        <a:pt x="42" y="257"/>
                        <a:pt x="55" y="269"/>
                      </a:cubicBezTo>
                      <a:cubicBezTo>
                        <a:pt x="67" y="281"/>
                        <a:pt x="91" y="306"/>
                        <a:pt x="100" y="302"/>
                      </a:cubicBezTo>
                      <a:cubicBezTo>
                        <a:pt x="108" y="298"/>
                        <a:pt x="122" y="202"/>
                        <a:pt x="180" y="260"/>
                      </a:cubicBezTo>
                      <a:cubicBezTo>
                        <a:pt x="238" y="318"/>
                        <a:pt x="140" y="330"/>
                        <a:pt x="138" y="341"/>
                      </a:cubicBezTo>
                      <a:cubicBezTo>
                        <a:pt x="136" y="351"/>
                        <a:pt x="159" y="373"/>
                        <a:pt x="171" y="386"/>
                      </a:cubicBezTo>
                      <a:cubicBezTo>
                        <a:pt x="183" y="398"/>
                        <a:pt x="220" y="422"/>
                        <a:pt x="220" y="422"/>
                      </a:cubicBezTo>
                      <a:lnTo>
                        <a:pt x="422" y="22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grpSp>
        </p:grpSp>
        <p:sp>
          <p:nvSpPr>
            <p:cNvPr id="81" name="Rectangle 152"/>
            <p:cNvSpPr/>
            <p:nvPr/>
          </p:nvSpPr>
          <p:spPr bwMode="auto">
            <a:xfrm>
              <a:off x="669652" y="2738277"/>
              <a:ext cx="1805162" cy="37532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2C812"/>
                  </a:solidFill>
                  <a:effectLst/>
                  <a:uLnTx/>
                  <a:uFillTx/>
                  <a:latin typeface="Segoe UI"/>
                  <a:ea typeface="+mn-ea"/>
                  <a:cs typeface="Segoe UI Light" panose="020B0502040204020203" pitchFamily="34" charset="0"/>
                </a:rPr>
                <a:t>Keeping Data Current</a:t>
              </a:r>
            </a:p>
          </p:txBody>
        </p:sp>
        <p:grpSp>
          <p:nvGrpSpPr>
            <p:cNvPr id="82" name="Group 81"/>
            <p:cNvGrpSpPr/>
            <p:nvPr/>
          </p:nvGrpSpPr>
          <p:grpSpPr>
            <a:xfrm>
              <a:off x="199649" y="2692629"/>
              <a:ext cx="433844" cy="433844"/>
              <a:chOff x="342620" y="2228265"/>
              <a:chExt cx="433844" cy="433844"/>
            </a:xfrm>
            <a:solidFill>
              <a:schemeClr val="bg1"/>
            </a:solidFill>
          </p:grpSpPr>
          <p:sp>
            <p:nvSpPr>
              <p:cNvPr id="98" name="Oval 154"/>
              <p:cNvSpPr/>
              <p:nvPr/>
            </p:nvSpPr>
            <p:spPr bwMode="auto">
              <a:xfrm>
                <a:off x="342620" y="2228265"/>
                <a:ext cx="433844" cy="433844"/>
              </a:xfrm>
              <a:prstGeom prst="ellipse">
                <a:avLst/>
              </a:prstGeom>
              <a:solidFill>
                <a:srgbClr val="FFC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9" name="Freeform 30"/>
              <p:cNvSpPr>
                <a:spLocks noEditPoints="1"/>
              </p:cNvSpPr>
              <p:nvPr/>
            </p:nvSpPr>
            <p:spPr bwMode="auto">
              <a:xfrm>
                <a:off x="444786" y="2340040"/>
                <a:ext cx="238402" cy="210293"/>
              </a:xfrm>
              <a:custGeom>
                <a:avLst/>
                <a:gdLst>
                  <a:gd name="T0" fmla="*/ 883 w 916"/>
                  <a:gd name="T1" fmla="*/ 286 h 808"/>
                  <a:gd name="T2" fmla="*/ 539 w 916"/>
                  <a:gd name="T3" fmla="*/ 723 h 808"/>
                  <a:gd name="T4" fmla="*/ 504 w 916"/>
                  <a:gd name="T5" fmla="*/ 0 h 808"/>
                  <a:gd name="T6" fmla="*/ 35 w 916"/>
                  <a:gd name="T7" fmla="*/ 723 h 808"/>
                  <a:gd name="T8" fmla="*/ 0 w 916"/>
                  <a:gd name="T9" fmla="*/ 808 h 808"/>
                  <a:gd name="T10" fmla="*/ 916 w 916"/>
                  <a:gd name="T11" fmla="*/ 723 h 808"/>
                  <a:gd name="T12" fmla="*/ 229 w 916"/>
                  <a:gd name="T13" fmla="*/ 665 h 808"/>
                  <a:gd name="T14" fmla="*/ 109 w 916"/>
                  <a:gd name="T15" fmla="*/ 596 h 808"/>
                  <a:gd name="T16" fmla="*/ 229 w 916"/>
                  <a:gd name="T17" fmla="*/ 665 h 808"/>
                  <a:gd name="T18" fmla="*/ 109 w 916"/>
                  <a:gd name="T19" fmla="*/ 501 h 808"/>
                  <a:gd name="T20" fmla="*/ 229 w 916"/>
                  <a:gd name="T21" fmla="*/ 432 h 808"/>
                  <a:gd name="T22" fmla="*/ 229 w 916"/>
                  <a:gd name="T23" fmla="*/ 337 h 808"/>
                  <a:gd name="T24" fmla="*/ 109 w 916"/>
                  <a:gd name="T25" fmla="*/ 267 h 808"/>
                  <a:gd name="T26" fmla="*/ 229 w 916"/>
                  <a:gd name="T27" fmla="*/ 337 h 808"/>
                  <a:gd name="T28" fmla="*/ 109 w 916"/>
                  <a:gd name="T29" fmla="*/ 172 h 808"/>
                  <a:gd name="T30" fmla="*/ 229 w 916"/>
                  <a:gd name="T31" fmla="*/ 103 h 808"/>
                  <a:gd name="T32" fmla="*/ 428 w 916"/>
                  <a:gd name="T33" fmla="*/ 665 h 808"/>
                  <a:gd name="T34" fmla="*/ 307 w 916"/>
                  <a:gd name="T35" fmla="*/ 596 h 808"/>
                  <a:gd name="T36" fmla="*/ 428 w 916"/>
                  <a:gd name="T37" fmla="*/ 665 h 808"/>
                  <a:gd name="T38" fmla="*/ 307 w 916"/>
                  <a:gd name="T39" fmla="*/ 501 h 808"/>
                  <a:gd name="T40" fmla="*/ 428 w 916"/>
                  <a:gd name="T41" fmla="*/ 432 h 808"/>
                  <a:gd name="T42" fmla="*/ 428 w 916"/>
                  <a:gd name="T43" fmla="*/ 337 h 808"/>
                  <a:gd name="T44" fmla="*/ 307 w 916"/>
                  <a:gd name="T45" fmla="*/ 267 h 808"/>
                  <a:gd name="T46" fmla="*/ 428 w 916"/>
                  <a:gd name="T47" fmla="*/ 337 h 808"/>
                  <a:gd name="T48" fmla="*/ 307 w 916"/>
                  <a:gd name="T49" fmla="*/ 172 h 808"/>
                  <a:gd name="T50" fmla="*/ 428 w 916"/>
                  <a:gd name="T51" fmla="*/ 103 h 808"/>
                  <a:gd name="T52" fmla="*/ 684 w 916"/>
                  <a:gd name="T53" fmla="*/ 668 h 808"/>
                  <a:gd name="T54" fmla="*/ 606 w 916"/>
                  <a:gd name="T55" fmla="*/ 549 h 808"/>
                  <a:gd name="T56" fmla="*/ 684 w 916"/>
                  <a:gd name="T57" fmla="*/ 668 h 808"/>
                  <a:gd name="T58" fmla="*/ 606 w 916"/>
                  <a:gd name="T59" fmla="*/ 482 h 808"/>
                  <a:gd name="T60" fmla="*/ 684 w 916"/>
                  <a:gd name="T61" fmla="*/ 365 h 808"/>
                  <a:gd name="T62" fmla="*/ 816 w 916"/>
                  <a:gd name="T63" fmla="*/ 668 h 808"/>
                  <a:gd name="T64" fmla="*/ 738 w 916"/>
                  <a:gd name="T65" fmla="*/ 549 h 808"/>
                  <a:gd name="T66" fmla="*/ 816 w 916"/>
                  <a:gd name="T67" fmla="*/ 668 h 808"/>
                  <a:gd name="T68" fmla="*/ 738 w 916"/>
                  <a:gd name="T69" fmla="*/ 482 h 808"/>
                  <a:gd name="T70" fmla="*/ 816 w 916"/>
                  <a:gd name="T71" fmla="*/ 365 h 8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16" h="808">
                    <a:moveTo>
                      <a:pt x="883" y="723"/>
                    </a:moveTo>
                    <a:lnTo>
                      <a:pt x="883" y="286"/>
                    </a:lnTo>
                    <a:lnTo>
                      <a:pt x="539" y="286"/>
                    </a:lnTo>
                    <a:lnTo>
                      <a:pt x="539" y="723"/>
                    </a:lnTo>
                    <a:lnTo>
                      <a:pt x="504" y="723"/>
                    </a:lnTo>
                    <a:lnTo>
                      <a:pt x="504" y="0"/>
                    </a:lnTo>
                    <a:lnTo>
                      <a:pt x="35" y="0"/>
                    </a:lnTo>
                    <a:lnTo>
                      <a:pt x="35" y="723"/>
                    </a:lnTo>
                    <a:lnTo>
                      <a:pt x="0" y="723"/>
                    </a:lnTo>
                    <a:lnTo>
                      <a:pt x="0" y="808"/>
                    </a:lnTo>
                    <a:lnTo>
                      <a:pt x="916" y="808"/>
                    </a:lnTo>
                    <a:lnTo>
                      <a:pt x="916" y="723"/>
                    </a:lnTo>
                    <a:lnTo>
                      <a:pt x="883" y="723"/>
                    </a:lnTo>
                    <a:close/>
                    <a:moveTo>
                      <a:pt x="229" y="665"/>
                    </a:moveTo>
                    <a:lnTo>
                      <a:pt x="109" y="665"/>
                    </a:lnTo>
                    <a:lnTo>
                      <a:pt x="109" y="596"/>
                    </a:lnTo>
                    <a:lnTo>
                      <a:pt x="229" y="596"/>
                    </a:lnTo>
                    <a:lnTo>
                      <a:pt x="229" y="665"/>
                    </a:lnTo>
                    <a:close/>
                    <a:moveTo>
                      <a:pt x="229" y="501"/>
                    </a:moveTo>
                    <a:lnTo>
                      <a:pt x="109" y="501"/>
                    </a:lnTo>
                    <a:lnTo>
                      <a:pt x="109" y="432"/>
                    </a:lnTo>
                    <a:lnTo>
                      <a:pt x="229" y="432"/>
                    </a:lnTo>
                    <a:lnTo>
                      <a:pt x="229" y="501"/>
                    </a:lnTo>
                    <a:close/>
                    <a:moveTo>
                      <a:pt x="229" y="337"/>
                    </a:moveTo>
                    <a:lnTo>
                      <a:pt x="109" y="337"/>
                    </a:lnTo>
                    <a:lnTo>
                      <a:pt x="109" y="267"/>
                    </a:lnTo>
                    <a:lnTo>
                      <a:pt x="229" y="267"/>
                    </a:lnTo>
                    <a:lnTo>
                      <a:pt x="229" y="337"/>
                    </a:lnTo>
                    <a:close/>
                    <a:moveTo>
                      <a:pt x="229" y="172"/>
                    </a:moveTo>
                    <a:lnTo>
                      <a:pt x="109" y="172"/>
                    </a:lnTo>
                    <a:lnTo>
                      <a:pt x="109" y="103"/>
                    </a:lnTo>
                    <a:lnTo>
                      <a:pt x="229" y="103"/>
                    </a:lnTo>
                    <a:lnTo>
                      <a:pt x="229" y="172"/>
                    </a:lnTo>
                    <a:close/>
                    <a:moveTo>
                      <a:pt x="428" y="665"/>
                    </a:moveTo>
                    <a:lnTo>
                      <a:pt x="307" y="665"/>
                    </a:lnTo>
                    <a:lnTo>
                      <a:pt x="307" y="596"/>
                    </a:lnTo>
                    <a:lnTo>
                      <a:pt x="428" y="596"/>
                    </a:lnTo>
                    <a:lnTo>
                      <a:pt x="428" y="665"/>
                    </a:lnTo>
                    <a:close/>
                    <a:moveTo>
                      <a:pt x="428" y="501"/>
                    </a:moveTo>
                    <a:lnTo>
                      <a:pt x="307" y="501"/>
                    </a:lnTo>
                    <a:lnTo>
                      <a:pt x="307" y="432"/>
                    </a:lnTo>
                    <a:lnTo>
                      <a:pt x="428" y="432"/>
                    </a:lnTo>
                    <a:lnTo>
                      <a:pt x="428" y="501"/>
                    </a:lnTo>
                    <a:close/>
                    <a:moveTo>
                      <a:pt x="428" y="337"/>
                    </a:moveTo>
                    <a:lnTo>
                      <a:pt x="307" y="337"/>
                    </a:lnTo>
                    <a:lnTo>
                      <a:pt x="307" y="267"/>
                    </a:lnTo>
                    <a:lnTo>
                      <a:pt x="428" y="267"/>
                    </a:lnTo>
                    <a:lnTo>
                      <a:pt x="428" y="337"/>
                    </a:lnTo>
                    <a:close/>
                    <a:moveTo>
                      <a:pt x="428" y="172"/>
                    </a:moveTo>
                    <a:lnTo>
                      <a:pt x="307" y="172"/>
                    </a:lnTo>
                    <a:lnTo>
                      <a:pt x="307" y="103"/>
                    </a:lnTo>
                    <a:lnTo>
                      <a:pt x="428" y="103"/>
                    </a:lnTo>
                    <a:lnTo>
                      <a:pt x="428" y="172"/>
                    </a:lnTo>
                    <a:close/>
                    <a:moveTo>
                      <a:pt x="684" y="668"/>
                    </a:moveTo>
                    <a:lnTo>
                      <a:pt x="606" y="668"/>
                    </a:lnTo>
                    <a:lnTo>
                      <a:pt x="606" y="549"/>
                    </a:lnTo>
                    <a:lnTo>
                      <a:pt x="684" y="549"/>
                    </a:lnTo>
                    <a:lnTo>
                      <a:pt x="684" y="668"/>
                    </a:lnTo>
                    <a:close/>
                    <a:moveTo>
                      <a:pt x="684" y="482"/>
                    </a:moveTo>
                    <a:lnTo>
                      <a:pt x="606" y="482"/>
                    </a:lnTo>
                    <a:lnTo>
                      <a:pt x="606" y="365"/>
                    </a:lnTo>
                    <a:lnTo>
                      <a:pt x="684" y="365"/>
                    </a:lnTo>
                    <a:lnTo>
                      <a:pt x="684" y="482"/>
                    </a:lnTo>
                    <a:close/>
                    <a:moveTo>
                      <a:pt x="816" y="668"/>
                    </a:moveTo>
                    <a:lnTo>
                      <a:pt x="738" y="668"/>
                    </a:lnTo>
                    <a:lnTo>
                      <a:pt x="738" y="549"/>
                    </a:lnTo>
                    <a:lnTo>
                      <a:pt x="816" y="549"/>
                    </a:lnTo>
                    <a:lnTo>
                      <a:pt x="816" y="668"/>
                    </a:lnTo>
                    <a:close/>
                    <a:moveTo>
                      <a:pt x="816" y="482"/>
                    </a:moveTo>
                    <a:lnTo>
                      <a:pt x="738" y="482"/>
                    </a:lnTo>
                    <a:lnTo>
                      <a:pt x="738" y="365"/>
                    </a:lnTo>
                    <a:lnTo>
                      <a:pt x="816" y="365"/>
                    </a:lnTo>
                    <a:lnTo>
                      <a:pt x="816" y="482"/>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grpSp>
        <p:sp>
          <p:nvSpPr>
            <p:cNvPr id="83" name="TextBox 82"/>
            <p:cNvSpPr txBox="1"/>
            <p:nvPr/>
          </p:nvSpPr>
          <p:spPr>
            <a:xfrm>
              <a:off x="83345" y="113808"/>
              <a:ext cx="2532630" cy="627864"/>
            </a:xfrm>
            <a:prstGeom prst="rect">
              <a:avLst/>
            </a:prstGeom>
            <a:noFill/>
          </p:spPr>
          <p:txBody>
            <a:bodyPr wrap="square" lIns="182880" tIns="146304" rIns="182880" bIns="146304" rtlCol="0">
              <a:spAutoFit/>
            </a:bodyPr>
            <a:lstStyle>
              <a:defPPr>
                <a:defRPr lang="en-US"/>
              </a:defPPr>
              <a:lvl1pPr>
                <a:lnSpc>
                  <a:spcPct val="90000"/>
                </a:lnSpc>
                <a:spcAft>
                  <a:spcPts val="600"/>
                </a:spcAft>
                <a:defRPr sz="2800" b="1">
                  <a:solidFill>
                    <a:srgbClr val="F2C812"/>
                  </a:solidFill>
                  <a:latin typeface="Segoe UI Light"/>
                </a:defRPr>
              </a:lvl1p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400" b="1" i="0" u="none" strike="noStrike" kern="1200" cap="none" spc="0" normalizeH="0" baseline="0" noProof="0">
                  <a:ln>
                    <a:noFill/>
                  </a:ln>
                  <a:solidFill>
                    <a:srgbClr val="F2C812"/>
                  </a:solidFill>
                  <a:effectLst/>
                  <a:uLnTx/>
                  <a:uFillTx/>
                  <a:latin typeface="Segoe UI Light"/>
                  <a:ea typeface="+mn-ea"/>
                  <a:cs typeface="+mn-cs"/>
                </a:rPr>
                <a:t>Power BI Service</a:t>
              </a:r>
              <a:endParaRPr kumimoji="0" lang="en-US" sz="2800" b="1" i="0" u="none" strike="noStrike" kern="1200" cap="none" spc="0" normalizeH="0" baseline="0" noProof="0">
                <a:ln>
                  <a:noFill/>
                </a:ln>
                <a:solidFill>
                  <a:srgbClr val="F2C812"/>
                </a:solidFill>
                <a:effectLst/>
                <a:uLnTx/>
                <a:uFillTx/>
                <a:latin typeface="Segoe UI Light"/>
                <a:ea typeface="+mn-ea"/>
                <a:cs typeface="+mn-cs"/>
              </a:endParaRPr>
            </a:p>
          </p:txBody>
        </p:sp>
        <p:grpSp>
          <p:nvGrpSpPr>
            <p:cNvPr id="84" name="Group 83"/>
            <p:cNvGrpSpPr/>
            <p:nvPr/>
          </p:nvGrpSpPr>
          <p:grpSpPr>
            <a:xfrm>
              <a:off x="219373" y="3621383"/>
              <a:ext cx="433844" cy="645668"/>
              <a:chOff x="280990" y="3358164"/>
              <a:chExt cx="433844" cy="645668"/>
            </a:xfrm>
          </p:grpSpPr>
          <p:sp>
            <p:nvSpPr>
              <p:cNvPr id="91" name="Oval 1083"/>
              <p:cNvSpPr/>
              <p:nvPr/>
            </p:nvSpPr>
            <p:spPr bwMode="auto">
              <a:xfrm>
                <a:off x="280990" y="3358164"/>
                <a:ext cx="433844" cy="433847"/>
              </a:xfrm>
              <a:prstGeom prst="ellipse">
                <a:avLst/>
              </a:prstGeom>
              <a:solidFill>
                <a:srgbClr val="F2C812"/>
              </a:solidFill>
              <a:ln>
                <a:solidFill>
                  <a:srgbClr val="FFCC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92" name="Group 379"/>
              <p:cNvGrpSpPr/>
              <p:nvPr/>
            </p:nvGrpSpPr>
            <p:grpSpPr>
              <a:xfrm>
                <a:off x="453702" y="3910852"/>
                <a:ext cx="175660" cy="92980"/>
                <a:chOff x="3895793" y="7466656"/>
                <a:chExt cx="785810" cy="415941"/>
              </a:xfrm>
              <a:solidFill>
                <a:srgbClr val="00BCF2"/>
              </a:solidFill>
            </p:grpSpPr>
            <p:sp>
              <p:nvSpPr>
                <p:cNvPr id="93" name="Freeform 132"/>
                <p:cNvSpPr>
                  <a:spLocks/>
                </p:cNvSpPr>
                <p:nvPr/>
              </p:nvSpPr>
              <p:spPr bwMode="auto">
                <a:xfrm>
                  <a:off x="4125979" y="7688918"/>
                  <a:ext cx="0" cy="6353"/>
                </a:xfrm>
                <a:custGeom>
                  <a:avLst/>
                  <a:gdLst>
                    <a:gd name="T0" fmla="*/ 1 w 1"/>
                    <a:gd name="T1" fmla="*/ 0 h 8"/>
                    <a:gd name="T2" fmla="*/ 0 w 1"/>
                    <a:gd name="T3" fmla="*/ 0 h 8"/>
                    <a:gd name="T4" fmla="*/ 1 w 1"/>
                    <a:gd name="T5" fmla="*/ 8 h 8"/>
                    <a:gd name="T6" fmla="*/ 1 w 1"/>
                    <a:gd name="T7" fmla="*/ 0 h 8"/>
                  </a:gdLst>
                  <a:ahLst/>
                  <a:cxnLst>
                    <a:cxn ang="0">
                      <a:pos x="T0" y="T1"/>
                    </a:cxn>
                    <a:cxn ang="0">
                      <a:pos x="T2" y="T3"/>
                    </a:cxn>
                    <a:cxn ang="0">
                      <a:pos x="T4" y="T5"/>
                    </a:cxn>
                    <a:cxn ang="0">
                      <a:pos x="T6" y="T7"/>
                    </a:cxn>
                  </a:cxnLst>
                  <a:rect l="0" t="0" r="r" b="b"/>
                  <a:pathLst>
                    <a:path w="1" h="8">
                      <a:moveTo>
                        <a:pt x="1" y="0"/>
                      </a:moveTo>
                      <a:cubicBezTo>
                        <a:pt x="0" y="0"/>
                        <a:pt x="0" y="0"/>
                        <a:pt x="0" y="0"/>
                      </a:cubicBezTo>
                      <a:cubicBezTo>
                        <a:pt x="0" y="3"/>
                        <a:pt x="1" y="5"/>
                        <a:pt x="1" y="8"/>
                      </a:cubicBezTo>
                      <a:lnTo>
                        <a:pt x="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94" name="Freeform 133"/>
                <p:cNvSpPr>
                  <a:spLocks/>
                </p:cNvSpPr>
                <p:nvPr/>
              </p:nvSpPr>
              <p:spPr bwMode="auto">
                <a:xfrm>
                  <a:off x="3895793" y="7812745"/>
                  <a:ext cx="219078" cy="69852"/>
                </a:xfrm>
                <a:custGeom>
                  <a:avLst/>
                  <a:gdLst>
                    <a:gd name="T0" fmla="*/ 186 w 238"/>
                    <a:gd name="T1" fmla="*/ 9 h 76"/>
                    <a:gd name="T2" fmla="*/ 131 w 238"/>
                    <a:gd name="T3" fmla="*/ 22 h 76"/>
                    <a:gd name="T4" fmla="*/ 60 w 238"/>
                    <a:gd name="T5" fmla="*/ 0 h 76"/>
                    <a:gd name="T6" fmla="*/ 0 w 238"/>
                    <a:gd name="T7" fmla="*/ 42 h 76"/>
                    <a:gd name="T8" fmla="*/ 0 w 238"/>
                    <a:gd name="T9" fmla="*/ 76 h 76"/>
                    <a:gd name="T10" fmla="*/ 238 w 238"/>
                    <a:gd name="T11" fmla="*/ 76 h 76"/>
                    <a:gd name="T12" fmla="*/ 236 w 238"/>
                    <a:gd name="T13" fmla="*/ 53 h 76"/>
                    <a:gd name="T14" fmla="*/ 236 w 238"/>
                    <a:gd name="T15" fmla="*/ 49 h 76"/>
                    <a:gd name="T16" fmla="*/ 186 w 238"/>
                    <a:gd name="T17" fmla="*/ 9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8" h="76">
                      <a:moveTo>
                        <a:pt x="186" y="9"/>
                      </a:moveTo>
                      <a:cubicBezTo>
                        <a:pt x="169" y="18"/>
                        <a:pt x="150" y="22"/>
                        <a:pt x="131" y="22"/>
                      </a:cubicBezTo>
                      <a:cubicBezTo>
                        <a:pt x="105" y="22"/>
                        <a:pt x="80" y="14"/>
                        <a:pt x="60" y="0"/>
                      </a:cubicBezTo>
                      <a:cubicBezTo>
                        <a:pt x="0" y="42"/>
                        <a:pt x="0" y="42"/>
                        <a:pt x="0" y="42"/>
                      </a:cubicBezTo>
                      <a:cubicBezTo>
                        <a:pt x="0" y="76"/>
                        <a:pt x="0" y="76"/>
                        <a:pt x="0" y="76"/>
                      </a:cubicBezTo>
                      <a:cubicBezTo>
                        <a:pt x="238" y="76"/>
                        <a:pt x="238" y="76"/>
                        <a:pt x="238" y="76"/>
                      </a:cubicBezTo>
                      <a:cubicBezTo>
                        <a:pt x="237" y="68"/>
                        <a:pt x="236" y="61"/>
                        <a:pt x="236" y="53"/>
                      </a:cubicBezTo>
                      <a:cubicBezTo>
                        <a:pt x="236" y="51"/>
                        <a:pt x="236" y="50"/>
                        <a:pt x="236" y="49"/>
                      </a:cubicBezTo>
                      <a:lnTo>
                        <a:pt x="186" y="9"/>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95" name="Freeform 137"/>
                <p:cNvSpPr>
                  <a:spLocks/>
                </p:cNvSpPr>
                <p:nvPr/>
              </p:nvSpPr>
              <p:spPr bwMode="auto">
                <a:xfrm>
                  <a:off x="4338704" y="7809561"/>
                  <a:ext cx="65090" cy="73028"/>
                </a:xfrm>
                <a:custGeom>
                  <a:avLst/>
                  <a:gdLst>
                    <a:gd name="T0" fmla="*/ 71 w 71"/>
                    <a:gd name="T1" fmla="*/ 79 h 79"/>
                    <a:gd name="T2" fmla="*/ 71 w 71"/>
                    <a:gd name="T3" fmla="*/ 0 h 79"/>
                    <a:gd name="T4" fmla="*/ 2 w 71"/>
                    <a:gd name="T5" fmla="*/ 53 h 79"/>
                    <a:gd name="T6" fmla="*/ 2 w 71"/>
                    <a:gd name="T7" fmla="*/ 56 h 79"/>
                    <a:gd name="T8" fmla="*/ 0 w 71"/>
                    <a:gd name="T9" fmla="*/ 79 h 79"/>
                    <a:gd name="T10" fmla="*/ 71 w 71"/>
                    <a:gd name="T11" fmla="*/ 79 h 79"/>
                  </a:gdLst>
                  <a:ahLst/>
                  <a:cxnLst>
                    <a:cxn ang="0">
                      <a:pos x="T0" y="T1"/>
                    </a:cxn>
                    <a:cxn ang="0">
                      <a:pos x="T2" y="T3"/>
                    </a:cxn>
                    <a:cxn ang="0">
                      <a:pos x="T4" y="T5"/>
                    </a:cxn>
                    <a:cxn ang="0">
                      <a:pos x="T6" y="T7"/>
                    </a:cxn>
                    <a:cxn ang="0">
                      <a:pos x="T8" y="T9"/>
                    </a:cxn>
                    <a:cxn ang="0">
                      <a:pos x="T10" y="T11"/>
                    </a:cxn>
                  </a:cxnLst>
                  <a:rect l="0" t="0" r="r" b="b"/>
                  <a:pathLst>
                    <a:path w="71" h="79">
                      <a:moveTo>
                        <a:pt x="71" y="79"/>
                      </a:moveTo>
                      <a:cubicBezTo>
                        <a:pt x="71" y="0"/>
                        <a:pt x="71" y="0"/>
                        <a:pt x="71" y="0"/>
                      </a:cubicBezTo>
                      <a:cubicBezTo>
                        <a:pt x="2" y="53"/>
                        <a:pt x="2" y="53"/>
                        <a:pt x="2" y="53"/>
                      </a:cubicBezTo>
                      <a:cubicBezTo>
                        <a:pt x="2" y="54"/>
                        <a:pt x="2" y="55"/>
                        <a:pt x="2" y="56"/>
                      </a:cubicBezTo>
                      <a:cubicBezTo>
                        <a:pt x="2" y="64"/>
                        <a:pt x="1" y="71"/>
                        <a:pt x="0" y="79"/>
                      </a:cubicBezTo>
                      <a:lnTo>
                        <a:pt x="71" y="79"/>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96" name="Freeform 140"/>
                <p:cNvSpPr>
                  <a:spLocks/>
                </p:cNvSpPr>
                <p:nvPr/>
              </p:nvSpPr>
              <p:spPr bwMode="auto">
                <a:xfrm>
                  <a:off x="4600643" y="7622229"/>
                  <a:ext cx="80960" cy="38099"/>
                </a:xfrm>
                <a:custGeom>
                  <a:avLst/>
                  <a:gdLst>
                    <a:gd name="T0" fmla="*/ 0 w 51"/>
                    <a:gd name="T1" fmla="*/ 24 h 24"/>
                    <a:gd name="T2" fmla="*/ 51 w 51"/>
                    <a:gd name="T3" fmla="*/ 24 h 24"/>
                    <a:gd name="T4" fmla="*/ 32 w 51"/>
                    <a:gd name="T5" fmla="*/ 0 h 24"/>
                    <a:gd name="T6" fmla="*/ 0 w 51"/>
                    <a:gd name="T7" fmla="*/ 24 h 24"/>
                  </a:gdLst>
                  <a:ahLst/>
                  <a:cxnLst>
                    <a:cxn ang="0">
                      <a:pos x="T0" y="T1"/>
                    </a:cxn>
                    <a:cxn ang="0">
                      <a:pos x="T2" y="T3"/>
                    </a:cxn>
                    <a:cxn ang="0">
                      <a:pos x="T4" y="T5"/>
                    </a:cxn>
                    <a:cxn ang="0">
                      <a:pos x="T6" y="T7"/>
                    </a:cxn>
                  </a:cxnLst>
                  <a:rect l="0" t="0" r="r" b="b"/>
                  <a:pathLst>
                    <a:path w="51" h="24">
                      <a:moveTo>
                        <a:pt x="0" y="24"/>
                      </a:moveTo>
                      <a:lnTo>
                        <a:pt x="51" y="24"/>
                      </a:lnTo>
                      <a:lnTo>
                        <a:pt x="32" y="0"/>
                      </a:lnTo>
                      <a:lnTo>
                        <a:pt x="0" y="24"/>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97" name="Freeform 141"/>
                <p:cNvSpPr>
                  <a:spLocks/>
                </p:cNvSpPr>
                <p:nvPr/>
              </p:nvSpPr>
              <p:spPr bwMode="auto">
                <a:xfrm>
                  <a:off x="4449825" y="7466656"/>
                  <a:ext cx="119065" cy="139703"/>
                </a:xfrm>
                <a:custGeom>
                  <a:avLst/>
                  <a:gdLst>
                    <a:gd name="T0" fmla="*/ 52 w 75"/>
                    <a:gd name="T1" fmla="*/ 0 h 88"/>
                    <a:gd name="T2" fmla="*/ 0 w 75"/>
                    <a:gd name="T3" fmla="*/ 0 h 88"/>
                    <a:gd name="T4" fmla="*/ 0 w 75"/>
                    <a:gd name="T5" fmla="*/ 88 h 88"/>
                    <a:gd name="T6" fmla="*/ 75 w 75"/>
                    <a:gd name="T7" fmla="*/ 30 h 88"/>
                    <a:gd name="T8" fmla="*/ 52 w 75"/>
                    <a:gd name="T9" fmla="*/ 0 h 88"/>
                  </a:gdLst>
                  <a:ahLst/>
                  <a:cxnLst>
                    <a:cxn ang="0">
                      <a:pos x="T0" y="T1"/>
                    </a:cxn>
                    <a:cxn ang="0">
                      <a:pos x="T2" y="T3"/>
                    </a:cxn>
                    <a:cxn ang="0">
                      <a:pos x="T4" y="T5"/>
                    </a:cxn>
                    <a:cxn ang="0">
                      <a:pos x="T6" y="T7"/>
                    </a:cxn>
                    <a:cxn ang="0">
                      <a:pos x="T8" y="T9"/>
                    </a:cxn>
                  </a:cxnLst>
                  <a:rect l="0" t="0" r="r" b="b"/>
                  <a:pathLst>
                    <a:path w="75" h="88">
                      <a:moveTo>
                        <a:pt x="52" y="0"/>
                      </a:moveTo>
                      <a:lnTo>
                        <a:pt x="0" y="0"/>
                      </a:lnTo>
                      <a:lnTo>
                        <a:pt x="0" y="88"/>
                      </a:lnTo>
                      <a:lnTo>
                        <a:pt x="75" y="30"/>
                      </a:lnTo>
                      <a:lnTo>
                        <a:pt x="52"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grpSp>
        </p:grpSp>
        <p:sp>
          <p:nvSpPr>
            <p:cNvPr id="85" name="Rectangle 152"/>
            <p:cNvSpPr/>
            <p:nvPr/>
          </p:nvSpPr>
          <p:spPr bwMode="auto">
            <a:xfrm>
              <a:off x="712458" y="3628917"/>
              <a:ext cx="1805162" cy="37532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2C812"/>
                  </a:solidFill>
                  <a:effectLst/>
                  <a:uLnTx/>
                  <a:uFillTx/>
                  <a:latin typeface="Segoe UI"/>
                  <a:ea typeface="+mn-ea"/>
                  <a:cs typeface="Segoe UI Light" panose="020B0502040204020203" pitchFamily="34" charset="0"/>
                </a:rPr>
                <a:t>Q&amp;A and </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2C812"/>
                  </a:solidFill>
                  <a:effectLst/>
                  <a:uLnTx/>
                  <a:uFillTx/>
                  <a:latin typeface="Segoe UI"/>
                  <a:ea typeface="+mn-ea"/>
                  <a:cs typeface="Segoe UI Light" panose="020B0502040204020203" pitchFamily="34" charset="0"/>
                </a:rPr>
                <a:t>Quick Insights</a:t>
              </a:r>
              <a:endParaRPr kumimoji="0" lang="en-US" sz="1200" b="1" i="0" u="none" strike="noStrike" kern="1200" cap="none" spc="0" normalizeH="0" baseline="0" noProof="0">
                <a:ln>
                  <a:noFill/>
                </a:ln>
                <a:solidFill>
                  <a:srgbClr val="F2C812"/>
                </a:solidFill>
                <a:effectLst/>
                <a:uLnTx/>
                <a:uFillTx/>
                <a:latin typeface="Segoe UI"/>
                <a:ea typeface="+mn-ea"/>
                <a:cs typeface="Segoe UI Light" panose="020B0502040204020203" pitchFamily="34" charset="0"/>
              </a:endParaRPr>
            </a:p>
          </p:txBody>
        </p:sp>
        <p:sp>
          <p:nvSpPr>
            <p:cNvPr id="86" name="Oval 162"/>
            <p:cNvSpPr/>
            <p:nvPr/>
          </p:nvSpPr>
          <p:spPr bwMode="auto">
            <a:xfrm>
              <a:off x="226619" y="4551712"/>
              <a:ext cx="433844" cy="433844"/>
            </a:xfrm>
            <a:prstGeom prst="ellipse">
              <a:avLst/>
            </a:prstGeom>
            <a:solidFill>
              <a:srgbClr val="F2C812"/>
            </a:solidFill>
            <a:ln>
              <a:solidFill>
                <a:srgbClr val="FFCC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7" name="Rectangle 152"/>
            <p:cNvSpPr/>
            <p:nvPr/>
          </p:nvSpPr>
          <p:spPr bwMode="auto">
            <a:xfrm>
              <a:off x="738443" y="4596194"/>
              <a:ext cx="1884825" cy="30233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2C812"/>
                  </a:solidFill>
                  <a:effectLst/>
                  <a:uLnTx/>
                  <a:uFillTx/>
                  <a:latin typeface="Segoe UI"/>
                  <a:ea typeface="+mn-ea"/>
                  <a:cs typeface="Segoe UI Light" panose="020B0502040204020203" pitchFamily="34" charset="0"/>
                </a:rPr>
                <a:t>Sharing</a:t>
              </a:r>
              <a:endParaRPr kumimoji="0" lang="en-US" sz="1200" b="1" i="1" u="none" strike="noStrike" kern="1200" cap="none" spc="0" normalizeH="0" baseline="0" noProof="0">
                <a:ln>
                  <a:noFill/>
                </a:ln>
                <a:solidFill>
                  <a:srgbClr val="F2C812"/>
                </a:solidFill>
                <a:effectLst/>
                <a:uLnTx/>
                <a:uFillTx/>
                <a:latin typeface="Segoe UI"/>
                <a:ea typeface="+mn-ea"/>
                <a:cs typeface="Segoe UI Light" panose="020B0502040204020203" pitchFamily="34" charset="0"/>
              </a:endParaRPr>
            </a:p>
          </p:txBody>
        </p:sp>
        <p:sp>
          <p:nvSpPr>
            <p:cNvPr id="89" name="Rectangle 145"/>
            <p:cNvSpPr/>
            <p:nvPr/>
          </p:nvSpPr>
          <p:spPr bwMode="auto">
            <a:xfrm>
              <a:off x="697198" y="1847637"/>
              <a:ext cx="1821468" cy="3831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2C812"/>
                  </a:solidFill>
                  <a:effectLst/>
                  <a:uLnTx/>
                  <a:uFillTx/>
                  <a:latin typeface="Segoe UI"/>
                  <a:ea typeface="+mn-ea"/>
                  <a:cs typeface="Segoe UI Light" panose="020B0502040204020203" pitchFamily="34" charset="0"/>
                </a:rPr>
                <a:t>Pinning and Navigation</a:t>
              </a:r>
            </a:p>
          </p:txBody>
        </p:sp>
        <p:sp>
          <p:nvSpPr>
            <p:cNvPr id="90" name="Oval 162"/>
            <p:cNvSpPr/>
            <p:nvPr/>
          </p:nvSpPr>
          <p:spPr bwMode="auto">
            <a:xfrm>
              <a:off x="224136" y="1813606"/>
              <a:ext cx="433844" cy="433844"/>
            </a:xfrm>
            <a:prstGeom prst="ellipse">
              <a:avLst/>
            </a:prstGeom>
            <a:solidFill>
              <a:srgbClr val="FFCC00"/>
            </a:solidFill>
            <a:ln>
              <a:solidFill>
                <a:srgbClr val="F2C81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pic>
        <p:nvPicPr>
          <p:cNvPr id="104" name="Picture 103"/>
          <p:cNvPicPr>
            <a:picLocks noChangeAspect="1"/>
          </p:cNvPicPr>
          <p:nvPr/>
        </p:nvPicPr>
        <p:blipFill rotWithShape="1">
          <a:blip r:embed="rId7"/>
          <a:srcRect l="6503" t="21287" r="74698" b="20220"/>
          <a:stretch/>
        </p:blipFill>
        <p:spPr>
          <a:xfrm>
            <a:off x="339111" y="1946110"/>
            <a:ext cx="228600" cy="231962"/>
          </a:xfrm>
          <a:prstGeom prst="rect">
            <a:avLst/>
          </a:prstGeom>
        </p:spPr>
      </p:pic>
      <p:pic>
        <p:nvPicPr>
          <p:cNvPr id="105" name="Picture 104"/>
          <p:cNvPicPr>
            <a:picLocks noChangeAspect="1"/>
          </p:cNvPicPr>
          <p:nvPr/>
        </p:nvPicPr>
        <p:blipFill>
          <a:blip r:embed="rId8"/>
          <a:stretch>
            <a:fillRect/>
          </a:stretch>
        </p:blipFill>
        <p:spPr>
          <a:xfrm>
            <a:off x="284769" y="3673076"/>
            <a:ext cx="311766" cy="303106"/>
          </a:xfrm>
          <a:prstGeom prst="rect">
            <a:avLst/>
          </a:prstGeom>
        </p:spPr>
      </p:pic>
      <p:sp>
        <p:nvSpPr>
          <p:cNvPr id="106" name="Rectangle 145"/>
          <p:cNvSpPr/>
          <p:nvPr/>
        </p:nvSpPr>
        <p:spPr bwMode="auto">
          <a:xfrm>
            <a:off x="718897" y="5436715"/>
            <a:ext cx="1821468" cy="3831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2C812"/>
                </a:solidFill>
                <a:effectLst/>
                <a:uLnTx/>
                <a:uFillTx/>
                <a:latin typeface="Segoe UI"/>
                <a:ea typeface="+mn-ea"/>
                <a:cs typeface="Segoe UI Light" panose="020B0502040204020203" pitchFamily="34" charset="0"/>
              </a:rPr>
              <a:t>Connect from Excel</a:t>
            </a:r>
          </a:p>
        </p:txBody>
      </p:sp>
      <p:sp>
        <p:nvSpPr>
          <p:cNvPr id="107" name="Oval 162"/>
          <p:cNvSpPr/>
          <p:nvPr/>
        </p:nvSpPr>
        <p:spPr bwMode="auto">
          <a:xfrm>
            <a:off x="231441" y="5429649"/>
            <a:ext cx="433844" cy="433844"/>
          </a:xfrm>
          <a:prstGeom prst="ellipse">
            <a:avLst/>
          </a:prstGeom>
          <a:solidFill>
            <a:srgbClr val="FFCC00"/>
          </a:solidFill>
          <a:ln>
            <a:solidFill>
              <a:srgbClr val="F2C81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08" name="Picture 107"/>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flipH="1">
            <a:off x="283763" y="4596680"/>
            <a:ext cx="357484" cy="357484"/>
          </a:xfrm>
          <a:prstGeom prst="rect">
            <a:avLst/>
          </a:prstGeom>
        </p:spPr>
      </p:pic>
      <p:sp>
        <p:nvSpPr>
          <p:cNvPr id="109" name="Oval 162"/>
          <p:cNvSpPr/>
          <p:nvPr/>
        </p:nvSpPr>
        <p:spPr bwMode="auto">
          <a:xfrm>
            <a:off x="233032" y="6267344"/>
            <a:ext cx="433844" cy="433844"/>
          </a:xfrm>
          <a:prstGeom prst="ellipse">
            <a:avLst/>
          </a:prstGeom>
          <a:solidFill>
            <a:srgbClr val="FFCC00"/>
          </a:solidFill>
          <a:ln>
            <a:solidFill>
              <a:srgbClr val="F2C81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0" name="Rectangle 145"/>
          <p:cNvSpPr/>
          <p:nvPr/>
        </p:nvSpPr>
        <p:spPr bwMode="auto">
          <a:xfrm>
            <a:off x="701416" y="6289969"/>
            <a:ext cx="1821468" cy="3831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2C812"/>
                </a:solidFill>
                <a:effectLst/>
                <a:uLnTx/>
                <a:uFillTx/>
                <a:latin typeface="Segoe UI"/>
                <a:ea typeface="+mn-ea"/>
                <a:cs typeface="Segoe UI Light" panose="020B0502040204020203" pitchFamily="34" charset="0"/>
              </a:rPr>
              <a:t>Mobile Reports</a:t>
            </a:r>
          </a:p>
        </p:txBody>
      </p:sp>
      <p:pic>
        <p:nvPicPr>
          <p:cNvPr id="111" name="Picture 110"/>
          <p:cNvPicPr>
            <a:picLocks noChangeAspect="1"/>
          </p:cNvPicPr>
          <p:nvPr/>
        </p:nvPicPr>
        <p:blipFill>
          <a:blip r:embed="rId10" cstate="print">
            <a:extLst>
              <a:ext uri="{BEBA8EAE-BF5A-486C-A8C5-ECC9F3942E4B}">
                <a14:imgProps xmlns:a14="http://schemas.microsoft.com/office/drawing/2010/main">
                  <a14:imgLayer r:embed="rId11">
                    <a14:imgEffect>
                      <a14:saturation sat="0"/>
                    </a14:imgEffect>
                  </a14:imgLayer>
                </a14:imgProps>
              </a:ext>
              <a:ext uri="{28A0092B-C50C-407E-A947-70E740481C1C}">
                <a14:useLocalDpi xmlns:a14="http://schemas.microsoft.com/office/drawing/2010/main" val="0"/>
              </a:ext>
            </a:extLst>
          </a:blip>
          <a:stretch>
            <a:fillRect/>
          </a:stretch>
        </p:blipFill>
        <p:spPr>
          <a:xfrm>
            <a:off x="391946" y="6350039"/>
            <a:ext cx="133350" cy="251587"/>
          </a:xfrm>
          <a:prstGeom prst="rect">
            <a:avLst/>
          </a:prstGeom>
        </p:spPr>
      </p:pic>
      <p:pic>
        <p:nvPicPr>
          <p:cNvPr id="112" name="Picture 111"/>
          <p:cNvPicPr>
            <a:picLocks noChangeAspect="1"/>
          </p:cNvPicPr>
          <p:nvPr/>
        </p:nvPicPr>
        <p:blipFill>
          <a:blip r:embed="rId12" cstate="print">
            <a:biLevel thresh="50000"/>
            <a:extLst>
              <a:ext uri="{28A0092B-C50C-407E-A947-70E740481C1C}">
                <a14:useLocalDpi xmlns:a14="http://schemas.microsoft.com/office/drawing/2010/main" val="0"/>
              </a:ext>
            </a:extLst>
          </a:blip>
          <a:stretch>
            <a:fillRect/>
          </a:stretch>
        </p:blipFill>
        <p:spPr>
          <a:xfrm>
            <a:off x="332658" y="5538489"/>
            <a:ext cx="268940" cy="268940"/>
          </a:xfrm>
          <a:prstGeom prst="rect">
            <a:avLst/>
          </a:prstGeom>
        </p:spPr>
      </p:pic>
      <p:sp>
        <p:nvSpPr>
          <p:cNvPr id="113" name="Rectangle 112"/>
          <p:cNvSpPr/>
          <p:nvPr/>
        </p:nvSpPr>
        <p:spPr bwMode="auto">
          <a:xfrm>
            <a:off x="95936" y="731574"/>
            <a:ext cx="2464420" cy="5256537"/>
          </a:xfrm>
          <a:prstGeom prst="rect">
            <a:avLst/>
          </a:prstGeom>
          <a:solidFill>
            <a:srgbClr val="000000">
              <a:alpha val="6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58388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9.xml><?xml version="1.0" encoding="utf-8"?>
<p:sld xmlns:a="http://schemas.openxmlformats.org/drawingml/2006/main" xmlns:r="http://schemas.openxmlformats.org/officeDocument/2006/relationships" xmlns:p="http://schemas.openxmlformats.org/presentationml/2006/main">
  <p:cSld>
    <p:bg>
      <p:bgPr>
        <a:solidFill>
          <a:srgbClr val="F2C81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Power BI Service:</a:t>
            </a:r>
            <a:br>
              <a:rPr lang="en-US"/>
            </a:br>
            <a:r>
              <a:rPr lang="en-US"/>
              <a:t>Keeping Data Current</a:t>
            </a:r>
          </a:p>
        </p:txBody>
      </p:sp>
    </p:spTree>
    <p:extLst>
      <p:ext uri="{BB962C8B-B14F-4D97-AF65-F5344CB8AC3E}">
        <p14:creationId xmlns:p14="http://schemas.microsoft.com/office/powerpoint/2010/main" val="31074464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 name="Title 10"/>
          <p:cNvSpPr txBox="1">
            <a:spLocks/>
          </p:cNvSpPr>
          <p:nvPr/>
        </p:nvSpPr>
        <p:spPr>
          <a:xfrm>
            <a:off x="2982006" y="9056"/>
            <a:ext cx="9092764" cy="665151"/>
          </a:xfrm>
          <a:prstGeom prst="rect">
            <a:avLst/>
          </a:prstGeom>
          <a:noFill/>
        </p:spPr>
        <p:txBody>
          <a:bodyPr vert="horz" wrap="square" lIns="0" tIns="91440" rIns="0" bIns="91440" rtlCol="0" anchor="t">
            <a:noAutofit/>
          </a:bodyPr>
          <a:lstStyle>
            <a:lvl1pPr defTabSz="914367">
              <a:lnSpc>
                <a:spcPct val="90000"/>
              </a:lnSpc>
              <a:spcBef>
                <a:spcPct val="0"/>
              </a:spcBef>
              <a:buNone/>
              <a:defRPr lang="en-US" sz="5294" b="0" cap="none" spc="-100" baseline="0" dirty="0" smtClean="0">
                <a:ln w="3175">
                  <a:noFill/>
                </a:ln>
                <a:solidFill>
                  <a:schemeClr val="tx2"/>
                </a:solidFill>
                <a:effectLst/>
                <a:latin typeface="+mj-lt"/>
                <a:cs typeface="Segoe UI" pitchFamily="34" charset="0"/>
              </a:defRPr>
            </a:lvl1pPr>
          </a:lstStyle>
          <a:p>
            <a:pPr marL="168275"/>
            <a:r>
              <a:rPr lang="en-US" sz="3600">
                <a:solidFill>
                  <a:schemeClr val="tx1"/>
                </a:solidFill>
              </a:rPr>
              <a:t>Keep your data where it is and connect securely</a:t>
            </a:r>
          </a:p>
          <a:p>
            <a:pPr marL="168275"/>
            <a:endParaRPr lang="en-US" sz="3600">
              <a:solidFill>
                <a:schemeClr val="tx1"/>
              </a:solidFill>
            </a:endParaRPr>
          </a:p>
          <a:p>
            <a:pPr marL="168275"/>
            <a:endParaRPr lang="en-US" sz="3600" b="1">
              <a:solidFill>
                <a:schemeClr val="tx1"/>
              </a:solidFill>
            </a:endParaRPr>
          </a:p>
          <a:p>
            <a:pPr marL="168275"/>
            <a:endParaRPr lang="en-IN" sz="3600">
              <a:solidFill>
                <a:schemeClr val="tx1"/>
              </a:solidFill>
            </a:endParaRPr>
          </a:p>
        </p:txBody>
      </p:sp>
      <p:sp>
        <p:nvSpPr>
          <p:cNvPr id="49" name="Rectangle 48"/>
          <p:cNvSpPr/>
          <p:nvPr/>
        </p:nvSpPr>
        <p:spPr>
          <a:xfrm>
            <a:off x="2906883" y="1144531"/>
            <a:ext cx="4183425" cy="4909036"/>
          </a:xfrm>
          <a:prstGeom prst="rect">
            <a:avLst/>
          </a:prstGeom>
        </p:spPr>
        <p:txBody>
          <a:bodyPr wrap="square" anchor="t">
            <a:spAutoFit/>
          </a:bodyPr>
          <a:lstStyle/>
          <a:p>
            <a:pPr marL="342900" indent="-342900">
              <a:spcBef>
                <a:spcPts val="600"/>
              </a:spcBef>
              <a:spcAft>
                <a:spcPts val="600"/>
              </a:spcAft>
              <a:buFont typeface="Symbol" panose="05050102010706020507" pitchFamily="18" charset="2"/>
              <a:buChar char=""/>
            </a:pPr>
            <a:r>
              <a:rPr lang="en-US" sz="2000" dirty="0">
                <a:latin typeface="+mj-lt"/>
                <a:ea typeface="Calibri" panose="020F0502020204030204" pitchFamily="34" charset="0"/>
                <a:cs typeface="Times New Roman"/>
              </a:rPr>
              <a:t>Faster time to insight with a hybrid BI solution </a:t>
            </a:r>
            <a:endParaRPr lang="en-US" sz="2000">
              <a:latin typeface="+mj-lt"/>
              <a:ea typeface="Calibri" panose="020F0502020204030204" pitchFamily="34" charset="0"/>
              <a:cs typeface="Times New Roman" panose="02020603050405020304" pitchFamily="18" charset="0"/>
            </a:endParaRPr>
          </a:p>
          <a:p>
            <a:pPr marL="342900" indent="-342900">
              <a:spcBef>
                <a:spcPts val="600"/>
              </a:spcBef>
              <a:spcAft>
                <a:spcPts val="600"/>
              </a:spcAft>
              <a:buFont typeface="Symbol" panose="05050102010706020507" pitchFamily="18" charset="2"/>
              <a:buChar char=""/>
            </a:pPr>
            <a:r>
              <a:rPr lang="en-US" sz="2000" dirty="0">
                <a:latin typeface="+mj-lt"/>
                <a:ea typeface="Calibri" panose="020F0502020204030204" pitchFamily="34" charset="0"/>
                <a:cs typeface="Times New Roman"/>
              </a:rPr>
              <a:t>Cloud data sources </a:t>
            </a:r>
            <a:endParaRPr lang="en-US" sz="2000" dirty="0">
              <a:latin typeface="+mj-lt"/>
              <a:ea typeface="Calibri" panose="020F0502020204030204" pitchFamily="34" charset="0"/>
              <a:cs typeface="Times New Roman" panose="02020603050405020304" pitchFamily="18" charset="0"/>
            </a:endParaRPr>
          </a:p>
          <a:p>
            <a:pPr marL="800100" lvl="1" indent="-342900">
              <a:buFont typeface="Courier New" panose="02070309020205020404" pitchFamily="49" charset="0"/>
              <a:buChar char="o"/>
            </a:pPr>
            <a:r>
              <a:rPr lang="en-US" sz="1600" dirty="0">
                <a:latin typeface="+mj-lt"/>
                <a:ea typeface="Calibri" panose="020F0502020204030204" pitchFamily="34" charset="0"/>
                <a:cs typeface="Times New Roman"/>
              </a:rPr>
              <a:t>SaaS sources </a:t>
            </a:r>
            <a:endParaRPr lang="en-US" sz="1600" dirty="0">
              <a:latin typeface="+mj-lt"/>
              <a:ea typeface="Calibri" panose="020F0502020204030204" pitchFamily="34" charset="0"/>
              <a:cs typeface="Times New Roman" panose="02020603050405020304" pitchFamily="18" charset="0"/>
            </a:endParaRPr>
          </a:p>
          <a:p>
            <a:pPr marL="800100" lvl="1" indent="-342900">
              <a:buFont typeface="Courier New" panose="02070309020205020404" pitchFamily="49" charset="0"/>
              <a:buChar char="o"/>
            </a:pPr>
            <a:r>
              <a:rPr lang="en-US" sz="1600" dirty="0">
                <a:latin typeface="+mj-lt"/>
                <a:ea typeface="Calibri" panose="020F0502020204030204" pitchFamily="34" charset="0"/>
                <a:cs typeface="Times New Roman"/>
              </a:rPr>
              <a:t>Azure – SQL, DW, Blob, Table, HDInsight, Marketplace</a:t>
            </a:r>
          </a:p>
          <a:p>
            <a:pPr marL="800100" lvl="1" indent="-342900">
              <a:buFont typeface="Courier New" panose="02070309020205020404" pitchFamily="49" charset="0"/>
              <a:buChar char="o"/>
            </a:pPr>
            <a:r>
              <a:rPr lang="en-US" sz="1600" dirty="0">
                <a:latin typeface="+mj-lt"/>
                <a:ea typeface="Calibri" panose="020F0502020204030204" pitchFamily="34" charset="0"/>
                <a:cs typeface="Times New Roman"/>
              </a:rPr>
              <a:t>SharePoint, web sources</a:t>
            </a:r>
          </a:p>
          <a:p>
            <a:pPr marL="800100" lvl="1" indent="-342900">
              <a:buFont typeface="Courier New" panose="02070309020205020404" pitchFamily="49" charset="0"/>
              <a:buChar char="o"/>
            </a:pPr>
            <a:r>
              <a:rPr lang="en-US" sz="1600" dirty="0">
                <a:latin typeface="+mj-lt"/>
                <a:ea typeface="Calibri" panose="020F0502020204030204" pitchFamily="34" charset="0"/>
                <a:cs typeface="Times New Roman"/>
              </a:rPr>
              <a:t>OData (SAP HANA)</a:t>
            </a:r>
            <a:endParaRPr lang="en-US" dirty="0"/>
          </a:p>
          <a:p>
            <a:pPr marL="800100" lvl="1" indent="-342900">
              <a:buFont typeface="Courier New" panose="02070309020205020404" pitchFamily="49" charset="0"/>
              <a:buChar char="o"/>
            </a:pPr>
            <a:r>
              <a:rPr lang="en-US" sz="1600" dirty="0">
                <a:latin typeface="+mj-lt"/>
                <a:ea typeface="Calibri" panose="020F0502020204030204" pitchFamily="34" charset="0"/>
                <a:cs typeface="Times New Roman"/>
              </a:rPr>
              <a:t>OneDrive</a:t>
            </a:r>
          </a:p>
          <a:p>
            <a:pPr marL="342900" indent="-342900">
              <a:spcBef>
                <a:spcPts val="600"/>
              </a:spcBef>
              <a:spcAft>
                <a:spcPts val="600"/>
              </a:spcAft>
              <a:buFont typeface="Symbol" panose="05050102010706020507" pitchFamily="18" charset="2"/>
              <a:buChar char=""/>
            </a:pPr>
            <a:r>
              <a:rPr lang="en-US" sz="2000" dirty="0">
                <a:latin typeface="+mj-lt"/>
                <a:ea typeface="Calibri" panose="020F0502020204030204" pitchFamily="34" charset="0"/>
                <a:cs typeface="Times New Roman"/>
              </a:rPr>
              <a:t>On-premise data sources</a:t>
            </a:r>
          </a:p>
          <a:p>
            <a:pPr marL="800100" lvl="1" indent="-342900">
              <a:buFont typeface="Courier New" panose="02070309020205020404" pitchFamily="49" charset="0"/>
              <a:buChar char="o"/>
            </a:pPr>
            <a:r>
              <a:rPr lang="en-US" sz="1600" dirty="0">
                <a:latin typeface="+mj-lt"/>
                <a:ea typeface="Calibri" panose="020F0502020204030204" pitchFamily="34" charset="0"/>
                <a:cs typeface="Times New Roman"/>
              </a:rPr>
              <a:t>SQL Server, Teradata, Oracle, DB2, MySQL, PostgreSQL, Sybase, SAP HANA, Access, Custom SQL, Custom ODBC Drivers</a:t>
            </a:r>
          </a:p>
          <a:p>
            <a:pPr marL="800100" lvl="1" indent="-342900">
              <a:buFont typeface="Courier New" panose="02070309020205020404" pitchFamily="49" charset="0"/>
              <a:buChar char="o"/>
            </a:pPr>
            <a:r>
              <a:rPr lang="en-US" sz="1600" dirty="0">
                <a:latin typeface="+mj-lt"/>
                <a:ea typeface="Calibri" panose="020F0502020204030204" pitchFamily="34" charset="0"/>
                <a:cs typeface="Times New Roman"/>
              </a:rPr>
              <a:t>SQL Server Analysis Services (tabular and multi-dimensional)</a:t>
            </a:r>
          </a:p>
          <a:p>
            <a:pPr marL="800100" lvl="1" indent="-342900">
              <a:buFont typeface="Courier New" panose="02070309020205020404" pitchFamily="49" charset="0"/>
              <a:buChar char="o"/>
            </a:pPr>
            <a:r>
              <a:rPr lang="en-US" sz="1600" dirty="0">
                <a:latin typeface="+mj-lt"/>
                <a:ea typeface="Calibri" panose="020F0502020204030204" pitchFamily="34" charset="0"/>
                <a:cs typeface="Times New Roman"/>
              </a:rPr>
              <a:t>Files/folder, SharePoint on-premises</a:t>
            </a:r>
          </a:p>
        </p:txBody>
      </p:sp>
      <p:sp>
        <p:nvSpPr>
          <p:cNvPr id="37" name="Rectangle 15"/>
          <p:cNvSpPr/>
          <p:nvPr/>
        </p:nvSpPr>
        <p:spPr bwMode="auto">
          <a:xfrm>
            <a:off x="2" y="487"/>
            <a:ext cx="2815441" cy="685702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38" name="TextBox 37"/>
          <p:cNvSpPr txBox="1"/>
          <p:nvPr/>
        </p:nvSpPr>
        <p:spPr>
          <a:xfrm>
            <a:off x="2" y="487"/>
            <a:ext cx="2815441" cy="683264"/>
          </a:xfrm>
          <a:prstGeom prst="rect">
            <a:avLst/>
          </a:prstGeom>
          <a:noFill/>
        </p:spPr>
        <p:txBody>
          <a:bodyPr wrap="square" lIns="182880" tIns="146304" rIns="182880" bIns="146304" rtlCol="0">
            <a:spAutoFit/>
          </a:bodyPr>
          <a:lstStyle>
            <a:defPPr>
              <a:defRPr lang="en-US"/>
            </a:defPPr>
            <a:lvl1pPr>
              <a:lnSpc>
                <a:spcPct val="90000"/>
              </a:lnSpc>
              <a:spcAft>
                <a:spcPts val="600"/>
              </a:spcAft>
              <a:defRPr sz="2800" b="1">
                <a:solidFill>
                  <a:srgbClr val="F2C812"/>
                </a:solidFill>
                <a:latin typeface="Segoe UI Light"/>
              </a:defRPr>
            </a:lvl1pPr>
          </a:lstStyle>
          <a:p>
            <a:r>
              <a:rPr lang="en-US"/>
              <a:t>IT challenges</a:t>
            </a:r>
          </a:p>
        </p:txBody>
      </p:sp>
      <p:grpSp>
        <p:nvGrpSpPr>
          <p:cNvPr id="39" name="Group 38"/>
          <p:cNvGrpSpPr/>
          <p:nvPr/>
        </p:nvGrpSpPr>
        <p:grpSpPr>
          <a:xfrm>
            <a:off x="151322" y="867914"/>
            <a:ext cx="2636411" cy="548640"/>
            <a:chOff x="179032" y="1123407"/>
            <a:chExt cx="2636411" cy="548640"/>
          </a:xfrm>
        </p:grpSpPr>
        <p:sp>
          <p:nvSpPr>
            <p:cNvPr id="40" name="Oval 147"/>
            <p:cNvSpPr/>
            <p:nvPr/>
          </p:nvSpPr>
          <p:spPr bwMode="auto">
            <a:xfrm>
              <a:off x="179032" y="1123407"/>
              <a:ext cx="548640" cy="548640"/>
            </a:xfrm>
            <a:prstGeom prst="ellipse">
              <a:avLst/>
            </a:prstGeom>
            <a:solidFill>
              <a:srgbClr val="FFCC00"/>
            </a:solidFill>
            <a:ln>
              <a:solidFill>
                <a:srgbClr val="F2C81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err="1">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145"/>
            <p:cNvSpPr/>
            <p:nvPr/>
          </p:nvSpPr>
          <p:spPr bwMode="auto">
            <a:xfrm>
              <a:off x="805048" y="1206147"/>
              <a:ext cx="2010395" cy="3831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14367"/>
              <a:r>
                <a:rPr lang="en-US" sz="1400" b="1">
                  <a:solidFill>
                    <a:srgbClr val="F2C812"/>
                  </a:solidFill>
                  <a:cs typeface="Segoe UI Light" panose="020B0502040204020203" pitchFamily="34" charset="0"/>
                </a:rPr>
                <a:t>Management of BI systems</a:t>
              </a:r>
              <a:endParaRPr lang="en-US" sz="1200" b="1" i="1">
                <a:solidFill>
                  <a:srgbClr val="F2C812"/>
                </a:solidFill>
                <a:cs typeface="Segoe UI Light" panose="020B0502040204020203" pitchFamily="34" charset="0"/>
              </a:endParaRPr>
            </a:p>
          </p:txBody>
        </p:sp>
      </p:grpSp>
      <p:grpSp>
        <p:nvGrpSpPr>
          <p:cNvPr id="42" name="Group 41"/>
          <p:cNvGrpSpPr/>
          <p:nvPr/>
        </p:nvGrpSpPr>
        <p:grpSpPr>
          <a:xfrm>
            <a:off x="151322" y="1832204"/>
            <a:ext cx="2636411" cy="548640"/>
            <a:chOff x="212649" y="1959486"/>
            <a:chExt cx="2636411" cy="548640"/>
          </a:xfrm>
        </p:grpSpPr>
        <p:sp>
          <p:nvSpPr>
            <p:cNvPr id="43" name="Oval 147"/>
            <p:cNvSpPr/>
            <p:nvPr/>
          </p:nvSpPr>
          <p:spPr bwMode="auto">
            <a:xfrm>
              <a:off x="212649" y="1959486"/>
              <a:ext cx="548640" cy="548640"/>
            </a:xfrm>
            <a:prstGeom prst="ellipse">
              <a:avLst/>
            </a:prstGeom>
            <a:solidFill>
              <a:srgbClr val="FFCC00"/>
            </a:solidFill>
            <a:ln>
              <a:solidFill>
                <a:srgbClr val="F2C81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err="1">
                <a:gradFill>
                  <a:gsLst>
                    <a:gs pos="0">
                      <a:srgbClr val="FFFFFF"/>
                    </a:gs>
                    <a:gs pos="100000">
                      <a:srgbClr val="FFFFFF"/>
                    </a:gs>
                  </a:gsLst>
                  <a:lin ang="5400000" scaled="0"/>
                </a:gradFill>
                <a:ea typeface="Segoe UI" pitchFamily="34" charset="0"/>
                <a:cs typeface="Segoe UI" pitchFamily="34" charset="0"/>
              </a:endParaRPr>
            </a:p>
          </p:txBody>
        </p:sp>
        <p:sp>
          <p:nvSpPr>
            <p:cNvPr id="44" name="Rectangle 145"/>
            <p:cNvSpPr/>
            <p:nvPr/>
          </p:nvSpPr>
          <p:spPr bwMode="auto">
            <a:xfrm>
              <a:off x="838665" y="2042226"/>
              <a:ext cx="2010395" cy="3831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14367"/>
              <a:r>
                <a:rPr lang="en-US" sz="1400" b="1">
                  <a:solidFill>
                    <a:srgbClr val="F2C812"/>
                  </a:solidFill>
                  <a:cs typeface="Segoe UI Light" panose="020B0502040204020203" pitchFamily="34" charset="0"/>
                </a:rPr>
                <a:t>Variety of data sources</a:t>
              </a:r>
              <a:endParaRPr lang="en-US" sz="1200" b="1" i="1">
                <a:solidFill>
                  <a:srgbClr val="F2C812"/>
                </a:solidFill>
                <a:cs typeface="Segoe UI Light" panose="020B0502040204020203" pitchFamily="34" charset="0"/>
              </a:endParaRPr>
            </a:p>
          </p:txBody>
        </p:sp>
      </p:grpSp>
      <p:grpSp>
        <p:nvGrpSpPr>
          <p:cNvPr id="45" name="Group 44"/>
          <p:cNvGrpSpPr/>
          <p:nvPr/>
        </p:nvGrpSpPr>
        <p:grpSpPr>
          <a:xfrm>
            <a:off x="151322" y="2796494"/>
            <a:ext cx="2636411" cy="548640"/>
            <a:chOff x="179032" y="1123407"/>
            <a:chExt cx="2636411" cy="548640"/>
          </a:xfrm>
        </p:grpSpPr>
        <p:sp>
          <p:nvSpPr>
            <p:cNvPr id="46" name="Oval 147"/>
            <p:cNvSpPr/>
            <p:nvPr/>
          </p:nvSpPr>
          <p:spPr bwMode="auto">
            <a:xfrm>
              <a:off x="179032" y="1123407"/>
              <a:ext cx="548640" cy="548640"/>
            </a:xfrm>
            <a:prstGeom prst="ellipse">
              <a:avLst/>
            </a:prstGeom>
            <a:solidFill>
              <a:srgbClr val="FFCC00"/>
            </a:solidFill>
            <a:ln>
              <a:solidFill>
                <a:srgbClr val="F2C81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err="1">
                <a:gradFill>
                  <a:gsLst>
                    <a:gs pos="0">
                      <a:srgbClr val="FFFFFF"/>
                    </a:gs>
                    <a:gs pos="100000">
                      <a:srgbClr val="FFFFFF"/>
                    </a:gs>
                  </a:gsLst>
                  <a:lin ang="5400000" scaled="0"/>
                </a:gradFill>
                <a:ea typeface="Segoe UI" pitchFamily="34" charset="0"/>
                <a:cs typeface="Segoe UI" pitchFamily="34" charset="0"/>
              </a:endParaRPr>
            </a:p>
          </p:txBody>
        </p:sp>
        <p:sp>
          <p:nvSpPr>
            <p:cNvPr id="47" name="Rectangle 145"/>
            <p:cNvSpPr/>
            <p:nvPr/>
          </p:nvSpPr>
          <p:spPr bwMode="auto">
            <a:xfrm>
              <a:off x="805048" y="1206147"/>
              <a:ext cx="2010395" cy="3831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14367"/>
              <a:r>
                <a:rPr lang="en-US" sz="1400" b="1">
                  <a:solidFill>
                    <a:srgbClr val="F2C812"/>
                  </a:solidFill>
                  <a:cs typeface="Segoe UI Light" panose="020B0502040204020203" pitchFamily="34" charset="0"/>
                </a:rPr>
                <a:t>Managing data in the cloud</a:t>
              </a:r>
              <a:endParaRPr lang="en-US" sz="1200" b="1" i="1">
                <a:solidFill>
                  <a:srgbClr val="F2C812"/>
                </a:solidFill>
                <a:cs typeface="Segoe UI Light" panose="020B0502040204020203" pitchFamily="34" charset="0"/>
              </a:endParaRPr>
            </a:p>
          </p:txBody>
        </p:sp>
      </p:grpSp>
      <p:grpSp>
        <p:nvGrpSpPr>
          <p:cNvPr id="48" name="Group 47"/>
          <p:cNvGrpSpPr/>
          <p:nvPr/>
        </p:nvGrpSpPr>
        <p:grpSpPr>
          <a:xfrm>
            <a:off x="151322" y="3760784"/>
            <a:ext cx="2636411" cy="548640"/>
            <a:chOff x="179032" y="1123407"/>
            <a:chExt cx="2636411" cy="548640"/>
          </a:xfrm>
        </p:grpSpPr>
        <p:sp>
          <p:nvSpPr>
            <p:cNvPr id="50" name="Oval 147"/>
            <p:cNvSpPr/>
            <p:nvPr/>
          </p:nvSpPr>
          <p:spPr bwMode="auto">
            <a:xfrm>
              <a:off x="179032" y="1123407"/>
              <a:ext cx="548640" cy="548640"/>
            </a:xfrm>
            <a:prstGeom prst="ellipse">
              <a:avLst/>
            </a:prstGeom>
            <a:solidFill>
              <a:srgbClr val="FFCC00"/>
            </a:solidFill>
            <a:ln>
              <a:solidFill>
                <a:srgbClr val="F2C81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err="1">
                <a:gradFill>
                  <a:gsLst>
                    <a:gs pos="0">
                      <a:srgbClr val="FFFFFF"/>
                    </a:gs>
                    <a:gs pos="100000">
                      <a:srgbClr val="FFFFFF"/>
                    </a:gs>
                  </a:gsLst>
                  <a:lin ang="5400000" scaled="0"/>
                </a:gradFill>
                <a:ea typeface="Segoe UI" pitchFamily="34" charset="0"/>
                <a:cs typeface="Segoe UI" pitchFamily="34" charset="0"/>
              </a:endParaRPr>
            </a:p>
          </p:txBody>
        </p:sp>
        <p:sp>
          <p:nvSpPr>
            <p:cNvPr id="51" name="Rectangle 145"/>
            <p:cNvSpPr/>
            <p:nvPr/>
          </p:nvSpPr>
          <p:spPr bwMode="auto">
            <a:xfrm>
              <a:off x="805048" y="1206147"/>
              <a:ext cx="2010395" cy="3831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14367"/>
              <a:r>
                <a:rPr lang="en-US" sz="1400" b="1">
                  <a:solidFill>
                    <a:srgbClr val="F2C812"/>
                  </a:solidFill>
                  <a:cs typeface="Segoe UI Light" panose="020B0502040204020203" pitchFamily="34" charset="0"/>
                </a:rPr>
                <a:t>Integration with existing environment</a:t>
              </a:r>
              <a:endParaRPr lang="en-US" sz="1200" b="1" i="1">
                <a:solidFill>
                  <a:srgbClr val="F2C812"/>
                </a:solidFill>
                <a:cs typeface="Segoe UI Light" panose="020B0502040204020203" pitchFamily="34" charset="0"/>
              </a:endParaRPr>
            </a:p>
          </p:txBody>
        </p:sp>
      </p:grpSp>
      <p:grpSp>
        <p:nvGrpSpPr>
          <p:cNvPr id="52" name="Group 51"/>
          <p:cNvGrpSpPr/>
          <p:nvPr/>
        </p:nvGrpSpPr>
        <p:grpSpPr>
          <a:xfrm>
            <a:off x="132176" y="4725074"/>
            <a:ext cx="2655557" cy="548640"/>
            <a:chOff x="159886" y="1123407"/>
            <a:chExt cx="2655557" cy="548640"/>
          </a:xfrm>
        </p:grpSpPr>
        <p:sp>
          <p:nvSpPr>
            <p:cNvPr id="54" name="Oval 147"/>
            <p:cNvSpPr/>
            <p:nvPr/>
          </p:nvSpPr>
          <p:spPr bwMode="auto">
            <a:xfrm>
              <a:off x="159886" y="1123407"/>
              <a:ext cx="548640" cy="548640"/>
            </a:xfrm>
            <a:prstGeom prst="ellipse">
              <a:avLst/>
            </a:prstGeom>
            <a:solidFill>
              <a:srgbClr val="FFCC00"/>
            </a:solidFill>
            <a:ln>
              <a:solidFill>
                <a:srgbClr val="F2C81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err="1">
                <a:gradFill>
                  <a:gsLst>
                    <a:gs pos="0">
                      <a:srgbClr val="FFFFFF"/>
                    </a:gs>
                    <a:gs pos="100000">
                      <a:srgbClr val="FFFFFF"/>
                    </a:gs>
                  </a:gsLst>
                  <a:lin ang="5400000" scaled="0"/>
                </a:gradFill>
                <a:ea typeface="Segoe UI" pitchFamily="34" charset="0"/>
                <a:cs typeface="Segoe UI" pitchFamily="34" charset="0"/>
              </a:endParaRPr>
            </a:p>
          </p:txBody>
        </p:sp>
        <p:sp>
          <p:nvSpPr>
            <p:cNvPr id="55" name="Rectangle 145"/>
            <p:cNvSpPr/>
            <p:nvPr/>
          </p:nvSpPr>
          <p:spPr bwMode="auto">
            <a:xfrm>
              <a:off x="805048" y="1206147"/>
              <a:ext cx="2010395" cy="3831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14367"/>
              <a:r>
                <a:rPr lang="en-US" sz="1400" b="1">
                  <a:solidFill>
                    <a:srgbClr val="F2C812"/>
                  </a:solidFill>
                  <a:cs typeface="Segoe UI Light" panose="020B0502040204020203" pitchFamily="34" charset="0"/>
                </a:rPr>
                <a:t>Keeping data current</a:t>
              </a:r>
              <a:endParaRPr lang="en-US" sz="1200" b="1" i="1">
                <a:solidFill>
                  <a:srgbClr val="F2C812"/>
                </a:solidFill>
                <a:cs typeface="Segoe UI Light" panose="020B0502040204020203" pitchFamily="34" charset="0"/>
              </a:endParaRPr>
            </a:p>
          </p:txBody>
        </p:sp>
      </p:grpSp>
      <p:grpSp>
        <p:nvGrpSpPr>
          <p:cNvPr id="56" name="Group 55"/>
          <p:cNvGrpSpPr/>
          <p:nvPr/>
        </p:nvGrpSpPr>
        <p:grpSpPr>
          <a:xfrm>
            <a:off x="151322" y="5689364"/>
            <a:ext cx="2636411" cy="548640"/>
            <a:chOff x="179032" y="1123407"/>
            <a:chExt cx="2636411" cy="548640"/>
          </a:xfrm>
        </p:grpSpPr>
        <p:sp>
          <p:nvSpPr>
            <p:cNvPr id="57" name="Oval 147"/>
            <p:cNvSpPr/>
            <p:nvPr/>
          </p:nvSpPr>
          <p:spPr bwMode="auto">
            <a:xfrm>
              <a:off x="179032" y="1123407"/>
              <a:ext cx="548640" cy="548640"/>
            </a:xfrm>
            <a:prstGeom prst="ellipse">
              <a:avLst/>
            </a:prstGeom>
            <a:solidFill>
              <a:srgbClr val="FFCC00"/>
            </a:solidFill>
            <a:ln>
              <a:solidFill>
                <a:srgbClr val="F2C81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err="1">
                <a:gradFill>
                  <a:gsLst>
                    <a:gs pos="0">
                      <a:srgbClr val="FFFFFF"/>
                    </a:gs>
                    <a:gs pos="100000">
                      <a:srgbClr val="FFFFFF"/>
                    </a:gs>
                  </a:gsLst>
                  <a:lin ang="5400000" scaled="0"/>
                </a:gradFill>
                <a:ea typeface="Segoe UI" pitchFamily="34" charset="0"/>
                <a:cs typeface="Segoe UI" pitchFamily="34" charset="0"/>
              </a:endParaRPr>
            </a:p>
          </p:txBody>
        </p:sp>
        <p:sp>
          <p:nvSpPr>
            <p:cNvPr id="58" name="Rectangle 145"/>
            <p:cNvSpPr/>
            <p:nvPr/>
          </p:nvSpPr>
          <p:spPr bwMode="auto">
            <a:xfrm>
              <a:off x="805048" y="1206147"/>
              <a:ext cx="2010395" cy="3831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14367"/>
              <a:r>
                <a:rPr lang="en-US" sz="1400" b="1">
                  <a:solidFill>
                    <a:srgbClr val="F2C812"/>
                  </a:solidFill>
                  <a:cs typeface="Segoe UI Light" panose="020B0502040204020203" pitchFamily="34" charset="0"/>
                </a:rPr>
                <a:t>Ease of use and adoption</a:t>
              </a:r>
              <a:endParaRPr lang="en-US" sz="1200" b="1" i="1">
                <a:solidFill>
                  <a:srgbClr val="F2C812"/>
                </a:solidFill>
                <a:cs typeface="Segoe UI Light" panose="020B0502040204020203" pitchFamily="34" charset="0"/>
              </a:endParaRPr>
            </a:p>
          </p:txBody>
        </p:sp>
      </p:grpSp>
      <p:sp>
        <p:nvSpPr>
          <p:cNvPr id="59" name="Freeform 58"/>
          <p:cNvSpPr>
            <a:spLocks noChangeAspect="1"/>
          </p:cNvSpPr>
          <p:nvPr/>
        </p:nvSpPr>
        <p:spPr bwMode="black">
          <a:xfrm>
            <a:off x="242762" y="1024112"/>
            <a:ext cx="365760" cy="236244"/>
          </a:xfrm>
          <a:custGeom>
            <a:avLst/>
            <a:gdLst>
              <a:gd name="connsiteX0" fmla="*/ 93529 w 794079"/>
              <a:gd name="connsiteY0" fmla="*/ 409985 h 512894"/>
              <a:gd name="connsiteX1" fmla="*/ 57350 w 794079"/>
              <a:gd name="connsiteY1" fmla="*/ 446163 h 512894"/>
              <a:gd name="connsiteX2" fmla="*/ 93529 w 794079"/>
              <a:gd name="connsiteY2" fmla="*/ 482342 h 512894"/>
              <a:gd name="connsiteX3" fmla="*/ 129707 w 794079"/>
              <a:gd name="connsiteY3" fmla="*/ 446163 h 512894"/>
              <a:gd name="connsiteX4" fmla="*/ 93529 w 794079"/>
              <a:gd name="connsiteY4" fmla="*/ 409985 h 512894"/>
              <a:gd name="connsiteX5" fmla="*/ 22935 w 794079"/>
              <a:gd name="connsiteY5" fmla="*/ 375286 h 512894"/>
              <a:gd name="connsiteX6" fmla="*/ 771144 w 794079"/>
              <a:gd name="connsiteY6" fmla="*/ 375286 h 512894"/>
              <a:gd name="connsiteX7" fmla="*/ 794079 w 794079"/>
              <a:gd name="connsiteY7" fmla="*/ 398221 h 512894"/>
              <a:gd name="connsiteX8" fmla="*/ 794079 w 794079"/>
              <a:gd name="connsiteY8" fmla="*/ 489959 h 512894"/>
              <a:gd name="connsiteX9" fmla="*/ 771144 w 794079"/>
              <a:gd name="connsiteY9" fmla="*/ 512894 h 512894"/>
              <a:gd name="connsiteX10" fmla="*/ 22935 w 794079"/>
              <a:gd name="connsiteY10" fmla="*/ 512894 h 512894"/>
              <a:gd name="connsiteX11" fmla="*/ 0 w 794079"/>
              <a:gd name="connsiteY11" fmla="*/ 489959 h 512894"/>
              <a:gd name="connsiteX12" fmla="*/ 0 w 794079"/>
              <a:gd name="connsiteY12" fmla="*/ 398221 h 512894"/>
              <a:gd name="connsiteX13" fmla="*/ 22935 w 794079"/>
              <a:gd name="connsiteY13" fmla="*/ 375286 h 512894"/>
              <a:gd name="connsiteX14" fmla="*/ 93529 w 794079"/>
              <a:gd name="connsiteY14" fmla="*/ 222341 h 512894"/>
              <a:gd name="connsiteX15" fmla="*/ 57350 w 794079"/>
              <a:gd name="connsiteY15" fmla="*/ 258520 h 512894"/>
              <a:gd name="connsiteX16" fmla="*/ 93529 w 794079"/>
              <a:gd name="connsiteY16" fmla="*/ 294699 h 512894"/>
              <a:gd name="connsiteX17" fmla="*/ 129707 w 794079"/>
              <a:gd name="connsiteY17" fmla="*/ 258520 h 512894"/>
              <a:gd name="connsiteX18" fmla="*/ 93529 w 794079"/>
              <a:gd name="connsiteY18" fmla="*/ 222341 h 512894"/>
              <a:gd name="connsiteX19" fmla="*/ 22935 w 794079"/>
              <a:gd name="connsiteY19" fmla="*/ 187643 h 512894"/>
              <a:gd name="connsiteX20" fmla="*/ 771144 w 794079"/>
              <a:gd name="connsiteY20" fmla="*/ 187643 h 512894"/>
              <a:gd name="connsiteX21" fmla="*/ 794079 w 794079"/>
              <a:gd name="connsiteY21" fmla="*/ 210578 h 512894"/>
              <a:gd name="connsiteX22" fmla="*/ 794079 w 794079"/>
              <a:gd name="connsiteY22" fmla="*/ 302316 h 512894"/>
              <a:gd name="connsiteX23" fmla="*/ 771144 w 794079"/>
              <a:gd name="connsiteY23" fmla="*/ 325251 h 512894"/>
              <a:gd name="connsiteX24" fmla="*/ 22935 w 794079"/>
              <a:gd name="connsiteY24" fmla="*/ 325251 h 512894"/>
              <a:gd name="connsiteX25" fmla="*/ 0 w 794079"/>
              <a:gd name="connsiteY25" fmla="*/ 302316 h 512894"/>
              <a:gd name="connsiteX26" fmla="*/ 0 w 794079"/>
              <a:gd name="connsiteY26" fmla="*/ 210578 h 512894"/>
              <a:gd name="connsiteX27" fmla="*/ 22935 w 794079"/>
              <a:gd name="connsiteY27" fmla="*/ 187643 h 512894"/>
              <a:gd name="connsiteX28" fmla="*/ 93529 w 794079"/>
              <a:gd name="connsiteY28" fmla="*/ 34698 h 512894"/>
              <a:gd name="connsiteX29" fmla="*/ 57350 w 794079"/>
              <a:gd name="connsiteY29" fmla="*/ 70877 h 512894"/>
              <a:gd name="connsiteX30" fmla="*/ 93529 w 794079"/>
              <a:gd name="connsiteY30" fmla="*/ 107056 h 512894"/>
              <a:gd name="connsiteX31" fmla="*/ 129707 w 794079"/>
              <a:gd name="connsiteY31" fmla="*/ 70877 h 512894"/>
              <a:gd name="connsiteX32" fmla="*/ 93529 w 794079"/>
              <a:gd name="connsiteY32" fmla="*/ 34698 h 512894"/>
              <a:gd name="connsiteX33" fmla="*/ 22935 w 794079"/>
              <a:gd name="connsiteY33" fmla="*/ 0 h 512894"/>
              <a:gd name="connsiteX34" fmla="*/ 771144 w 794079"/>
              <a:gd name="connsiteY34" fmla="*/ 0 h 512894"/>
              <a:gd name="connsiteX35" fmla="*/ 794079 w 794079"/>
              <a:gd name="connsiteY35" fmla="*/ 22935 h 512894"/>
              <a:gd name="connsiteX36" fmla="*/ 794079 w 794079"/>
              <a:gd name="connsiteY36" fmla="*/ 114673 h 512894"/>
              <a:gd name="connsiteX37" fmla="*/ 771144 w 794079"/>
              <a:gd name="connsiteY37" fmla="*/ 137608 h 512894"/>
              <a:gd name="connsiteX38" fmla="*/ 22935 w 794079"/>
              <a:gd name="connsiteY38" fmla="*/ 137608 h 512894"/>
              <a:gd name="connsiteX39" fmla="*/ 0 w 794079"/>
              <a:gd name="connsiteY39" fmla="*/ 114673 h 512894"/>
              <a:gd name="connsiteX40" fmla="*/ 0 w 794079"/>
              <a:gd name="connsiteY40" fmla="*/ 22935 h 512894"/>
              <a:gd name="connsiteX41" fmla="*/ 22935 w 794079"/>
              <a:gd name="connsiteY41" fmla="*/ 0 h 5128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794079" h="512894">
                <a:moveTo>
                  <a:pt x="93529" y="409985"/>
                </a:moveTo>
                <a:cubicBezTo>
                  <a:pt x="73548" y="409985"/>
                  <a:pt x="57350" y="426182"/>
                  <a:pt x="57350" y="446163"/>
                </a:cubicBezTo>
                <a:cubicBezTo>
                  <a:pt x="57350" y="466144"/>
                  <a:pt x="73548" y="482342"/>
                  <a:pt x="93529" y="482342"/>
                </a:cubicBezTo>
                <a:cubicBezTo>
                  <a:pt x="113510" y="482342"/>
                  <a:pt x="129707" y="466144"/>
                  <a:pt x="129707" y="446163"/>
                </a:cubicBezTo>
                <a:cubicBezTo>
                  <a:pt x="129707" y="426182"/>
                  <a:pt x="113510" y="409985"/>
                  <a:pt x="93529" y="409985"/>
                </a:cubicBezTo>
                <a:close/>
                <a:moveTo>
                  <a:pt x="22935" y="375286"/>
                </a:moveTo>
                <a:lnTo>
                  <a:pt x="771144" y="375286"/>
                </a:lnTo>
                <a:cubicBezTo>
                  <a:pt x="783811" y="375286"/>
                  <a:pt x="794079" y="385555"/>
                  <a:pt x="794079" y="398221"/>
                </a:cubicBezTo>
                <a:lnTo>
                  <a:pt x="794079" y="489959"/>
                </a:lnTo>
                <a:cubicBezTo>
                  <a:pt x="794079" y="502626"/>
                  <a:pt x="783811" y="512894"/>
                  <a:pt x="771144" y="512894"/>
                </a:cubicBezTo>
                <a:lnTo>
                  <a:pt x="22935" y="512894"/>
                </a:lnTo>
                <a:cubicBezTo>
                  <a:pt x="10269" y="512894"/>
                  <a:pt x="0" y="502626"/>
                  <a:pt x="0" y="489959"/>
                </a:cubicBezTo>
                <a:lnTo>
                  <a:pt x="0" y="398221"/>
                </a:lnTo>
                <a:cubicBezTo>
                  <a:pt x="0" y="385555"/>
                  <a:pt x="10269" y="375286"/>
                  <a:pt x="22935" y="375286"/>
                </a:cubicBezTo>
                <a:close/>
                <a:moveTo>
                  <a:pt x="93529" y="222341"/>
                </a:moveTo>
                <a:cubicBezTo>
                  <a:pt x="73548" y="222341"/>
                  <a:pt x="57350" y="238539"/>
                  <a:pt x="57350" y="258520"/>
                </a:cubicBezTo>
                <a:cubicBezTo>
                  <a:pt x="57350" y="278501"/>
                  <a:pt x="73548" y="294699"/>
                  <a:pt x="93529" y="294699"/>
                </a:cubicBezTo>
                <a:cubicBezTo>
                  <a:pt x="113510" y="294699"/>
                  <a:pt x="129707" y="278501"/>
                  <a:pt x="129707" y="258520"/>
                </a:cubicBezTo>
                <a:cubicBezTo>
                  <a:pt x="129707" y="238539"/>
                  <a:pt x="113510" y="222341"/>
                  <a:pt x="93529" y="222341"/>
                </a:cubicBezTo>
                <a:close/>
                <a:moveTo>
                  <a:pt x="22935" y="187643"/>
                </a:moveTo>
                <a:lnTo>
                  <a:pt x="771144" y="187643"/>
                </a:lnTo>
                <a:cubicBezTo>
                  <a:pt x="783811" y="187643"/>
                  <a:pt x="794079" y="197911"/>
                  <a:pt x="794079" y="210578"/>
                </a:cubicBezTo>
                <a:lnTo>
                  <a:pt x="794079" y="302316"/>
                </a:lnTo>
                <a:cubicBezTo>
                  <a:pt x="794079" y="314982"/>
                  <a:pt x="783811" y="325251"/>
                  <a:pt x="771144" y="325251"/>
                </a:cubicBezTo>
                <a:lnTo>
                  <a:pt x="22935" y="325251"/>
                </a:lnTo>
                <a:cubicBezTo>
                  <a:pt x="10269" y="325251"/>
                  <a:pt x="0" y="314982"/>
                  <a:pt x="0" y="302316"/>
                </a:cubicBezTo>
                <a:lnTo>
                  <a:pt x="0" y="210578"/>
                </a:lnTo>
                <a:cubicBezTo>
                  <a:pt x="0" y="197911"/>
                  <a:pt x="10269" y="187643"/>
                  <a:pt x="22935" y="187643"/>
                </a:cubicBezTo>
                <a:close/>
                <a:moveTo>
                  <a:pt x="93529" y="34698"/>
                </a:moveTo>
                <a:cubicBezTo>
                  <a:pt x="73548" y="34698"/>
                  <a:pt x="57350" y="50896"/>
                  <a:pt x="57350" y="70877"/>
                </a:cubicBezTo>
                <a:cubicBezTo>
                  <a:pt x="57350" y="90858"/>
                  <a:pt x="73548" y="107056"/>
                  <a:pt x="93529" y="107056"/>
                </a:cubicBezTo>
                <a:cubicBezTo>
                  <a:pt x="113510" y="107056"/>
                  <a:pt x="129707" y="90858"/>
                  <a:pt x="129707" y="70877"/>
                </a:cubicBezTo>
                <a:cubicBezTo>
                  <a:pt x="129707" y="50896"/>
                  <a:pt x="113510" y="34698"/>
                  <a:pt x="93529" y="34698"/>
                </a:cubicBezTo>
                <a:close/>
                <a:moveTo>
                  <a:pt x="22935" y="0"/>
                </a:moveTo>
                <a:lnTo>
                  <a:pt x="771144" y="0"/>
                </a:lnTo>
                <a:cubicBezTo>
                  <a:pt x="783811" y="0"/>
                  <a:pt x="794079" y="10268"/>
                  <a:pt x="794079" y="22935"/>
                </a:cubicBezTo>
                <a:lnTo>
                  <a:pt x="794079" y="114673"/>
                </a:lnTo>
                <a:cubicBezTo>
                  <a:pt x="794079" y="127339"/>
                  <a:pt x="783811" y="137608"/>
                  <a:pt x="771144" y="137608"/>
                </a:cubicBezTo>
                <a:lnTo>
                  <a:pt x="22935" y="137608"/>
                </a:lnTo>
                <a:cubicBezTo>
                  <a:pt x="10269" y="137608"/>
                  <a:pt x="0" y="127339"/>
                  <a:pt x="0" y="114673"/>
                </a:cubicBezTo>
                <a:lnTo>
                  <a:pt x="0" y="22935"/>
                </a:lnTo>
                <a:cubicBezTo>
                  <a:pt x="0" y="10268"/>
                  <a:pt x="10269" y="0"/>
                  <a:pt x="22935"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8" tIns="109719" rIns="137148" bIns="109719" numCol="1" spcCol="0" rtlCol="0" fromWordArt="0" anchor="t" anchorCtr="0" forceAA="0" compatLnSpc="1">
            <a:prstTxWarp prst="textNoShape">
              <a:avLst/>
            </a:prstTxWarp>
            <a:noAutofit/>
          </a:bodyPr>
          <a:lstStyle/>
          <a:p>
            <a:pPr algn="ctr" defTabSz="699261" fontAlgn="base">
              <a:lnSpc>
                <a:spcPct val="90000"/>
              </a:lnSpc>
              <a:spcBef>
                <a:spcPct val="0"/>
              </a:spcBef>
              <a:spcAft>
                <a:spcPct val="0"/>
              </a:spcAft>
            </a:pPr>
            <a:endParaRPr lang="en-US">
              <a:gradFill>
                <a:gsLst>
                  <a:gs pos="0">
                    <a:srgbClr val="FFFFFF"/>
                  </a:gs>
                  <a:gs pos="100000">
                    <a:srgbClr val="FFFFFF"/>
                  </a:gs>
                </a:gsLst>
                <a:lin ang="5400000" scaled="0"/>
              </a:gradFill>
              <a:ea typeface="Segoe UI" pitchFamily="34" charset="0"/>
              <a:cs typeface="Segoe UI" pitchFamily="34" charset="0"/>
            </a:endParaRPr>
          </a:p>
        </p:txBody>
      </p:sp>
      <p:grpSp>
        <p:nvGrpSpPr>
          <p:cNvPr id="60" name="Group 59"/>
          <p:cNvGrpSpPr>
            <a:grpSpLocks noChangeAspect="1"/>
          </p:cNvGrpSpPr>
          <p:nvPr/>
        </p:nvGrpSpPr>
        <p:grpSpPr>
          <a:xfrm>
            <a:off x="284268" y="1947738"/>
            <a:ext cx="314004" cy="320040"/>
            <a:chOff x="810855" y="2271601"/>
            <a:chExt cx="457200" cy="465990"/>
          </a:xfrm>
        </p:grpSpPr>
        <p:sp>
          <p:nvSpPr>
            <p:cNvPr id="61" name="Freeform 5"/>
            <p:cNvSpPr>
              <a:spLocks noEditPoints="1"/>
            </p:cNvSpPr>
            <p:nvPr/>
          </p:nvSpPr>
          <p:spPr bwMode="black">
            <a:xfrm>
              <a:off x="892260" y="2271601"/>
              <a:ext cx="375795" cy="291633"/>
            </a:xfrm>
            <a:custGeom>
              <a:avLst/>
              <a:gdLst>
                <a:gd name="T0" fmla="*/ 22 w 277"/>
                <a:gd name="T1" fmla="*/ 1 h 215"/>
                <a:gd name="T2" fmla="*/ 22 w 277"/>
                <a:gd name="T3" fmla="*/ 10 h 215"/>
                <a:gd name="T4" fmla="*/ 22 w 277"/>
                <a:gd name="T5" fmla="*/ 10 h 215"/>
                <a:gd name="T6" fmla="*/ 66 w 277"/>
                <a:gd name="T7" fmla="*/ 15 h 215"/>
                <a:gd name="T8" fmla="*/ 54 w 277"/>
                <a:gd name="T9" fmla="*/ 20 h 215"/>
                <a:gd name="T10" fmla="*/ 79 w 277"/>
                <a:gd name="T11" fmla="*/ 0 h 215"/>
                <a:gd name="T12" fmla="*/ 118 w 277"/>
                <a:gd name="T13" fmla="*/ 1 h 215"/>
                <a:gd name="T14" fmla="*/ 118 w 277"/>
                <a:gd name="T15" fmla="*/ 10 h 215"/>
                <a:gd name="T16" fmla="*/ 118 w 277"/>
                <a:gd name="T17" fmla="*/ 10 h 215"/>
                <a:gd name="T18" fmla="*/ 163 w 277"/>
                <a:gd name="T19" fmla="*/ 15 h 215"/>
                <a:gd name="T20" fmla="*/ 150 w 277"/>
                <a:gd name="T21" fmla="*/ 20 h 215"/>
                <a:gd name="T22" fmla="*/ 176 w 277"/>
                <a:gd name="T23" fmla="*/ 0 h 215"/>
                <a:gd name="T24" fmla="*/ 215 w 277"/>
                <a:gd name="T25" fmla="*/ 1 h 215"/>
                <a:gd name="T26" fmla="*/ 214 w 277"/>
                <a:gd name="T27" fmla="*/ 10 h 215"/>
                <a:gd name="T28" fmla="*/ 214 w 277"/>
                <a:gd name="T29" fmla="*/ 10 h 215"/>
                <a:gd name="T30" fmla="*/ 259 w 277"/>
                <a:gd name="T31" fmla="*/ 15 h 215"/>
                <a:gd name="T32" fmla="*/ 247 w 277"/>
                <a:gd name="T33" fmla="*/ 20 h 215"/>
                <a:gd name="T34" fmla="*/ 272 w 277"/>
                <a:gd name="T35" fmla="*/ 0 h 215"/>
                <a:gd name="T36" fmla="*/ 12 w 277"/>
                <a:gd name="T37" fmla="*/ 92 h 215"/>
                <a:gd name="T38" fmla="*/ 0 w 277"/>
                <a:gd name="T39" fmla="*/ 97 h 215"/>
                <a:gd name="T40" fmla="*/ 25 w 277"/>
                <a:gd name="T41" fmla="*/ 77 h 215"/>
                <a:gd name="T42" fmla="*/ 64 w 277"/>
                <a:gd name="T43" fmla="*/ 77 h 215"/>
                <a:gd name="T44" fmla="*/ 64 w 277"/>
                <a:gd name="T45" fmla="*/ 87 h 215"/>
                <a:gd name="T46" fmla="*/ 64 w 277"/>
                <a:gd name="T47" fmla="*/ 87 h 215"/>
                <a:gd name="T48" fmla="*/ 109 w 277"/>
                <a:gd name="T49" fmla="*/ 92 h 215"/>
                <a:gd name="T50" fmla="*/ 96 w 277"/>
                <a:gd name="T51" fmla="*/ 97 h 215"/>
                <a:gd name="T52" fmla="*/ 122 w 277"/>
                <a:gd name="T53" fmla="*/ 77 h 215"/>
                <a:gd name="T54" fmla="*/ 161 w 277"/>
                <a:gd name="T55" fmla="*/ 77 h 215"/>
                <a:gd name="T56" fmla="*/ 160 w 277"/>
                <a:gd name="T57" fmla="*/ 87 h 215"/>
                <a:gd name="T58" fmla="*/ 160 w 277"/>
                <a:gd name="T59" fmla="*/ 87 h 215"/>
                <a:gd name="T60" fmla="*/ 205 w 277"/>
                <a:gd name="T61" fmla="*/ 92 h 215"/>
                <a:gd name="T62" fmla="*/ 192 w 277"/>
                <a:gd name="T63" fmla="*/ 97 h 215"/>
                <a:gd name="T64" fmla="*/ 218 w 277"/>
                <a:gd name="T65" fmla="*/ 77 h 215"/>
                <a:gd name="T66" fmla="*/ 257 w 277"/>
                <a:gd name="T67" fmla="*/ 77 h 215"/>
                <a:gd name="T68" fmla="*/ 256 w 277"/>
                <a:gd name="T69" fmla="*/ 87 h 215"/>
                <a:gd name="T70" fmla="*/ 256 w 277"/>
                <a:gd name="T71" fmla="*/ 87 h 215"/>
                <a:gd name="T72" fmla="*/ 22 w 277"/>
                <a:gd name="T73" fmla="*/ 154 h 215"/>
                <a:gd name="T74" fmla="*/ 22 w 277"/>
                <a:gd name="T75" fmla="*/ 164 h 215"/>
                <a:gd name="T76" fmla="*/ 22 w 277"/>
                <a:gd name="T77" fmla="*/ 164 h 215"/>
                <a:gd name="T78" fmla="*/ 66 w 277"/>
                <a:gd name="T79" fmla="*/ 168 h 215"/>
                <a:gd name="T80" fmla="*/ 54 w 277"/>
                <a:gd name="T81" fmla="*/ 173 h 215"/>
                <a:gd name="T82" fmla="*/ 79 w 277"/>
                <a:gd name="T83" fmla="*/ 154 h 215"/>
                <a:gd name="T84" fmla="*/ 118 w 277"/>
                <a:gd name="T85" fmla="*/ 154 h 215"/>
                <a:gd name="T86" fmla="*/ 118 w 277"/>
                <a:gd name="T87" fmla="*/ 164 h 215"/>
                <a:gd name="T88" fmla="*/ 118 w 277"/>
                <a:gd name="T89" fmla="*/ 164 h 215"/>
                <a:gd name="T90" fmla="*/ 163 w 277"/>
                <a:gd name="T91" fmla="*/ 168 h 215"/>
                <a:gd name="T92" fmla="*/ 150 w 277"/>
                <a:gd name="T93" fmla="*/ 173 h 215"/>
                <a:gd name="T94" fmla="*/ 176 w 277"/>
                <a:gd name="T95" fmla="*/ 154 h 215"/>
                <a:gd name="T96" fmla="*/ 215 w 277"/>
                <a:gd name="T97" fmla="*/ 154 h 215"/>
                <a:gd name="T98" fmla="*/ 214 w 277"/>
                <a:gd name="T99" fmla="*/ 164 h 215"/>
                <a:gd name="T100" fmla="*/ 214 w 277"/>
                <a:gd name="T101" fmla="*/ 164 h 215"/>
                <a:gd name="T102" fmla="*/ 259 w 277"/>
                <a:gd name="T103" fmla="*/ 168 h 215"/>
                <a:gd name="T104" fmla="*/ 247 w 277"/>
                <a:gd name="T105" fmla="*/ 173 h 215"/>
                <a:gd name="T106" fmla="*/ 272 w 277"/>
                <a:gd name="T107" fmla="*/ 154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77" h="215">
                  <a:moveTo>
                    <a:pt x="21" y="61"/>
                  </a:moveTo>
                  <a:cubicBezTo>
                    <a:pt x="7" y="61"/>
                    <a:pt x="0" y="51"/>
                    <a:pt x="0" y="32"/>
                  </a:cubicBezTo>
                  <a:cubicBezTo>
                    <a:pt x="0" y="22"/>
                    <a:pt x="2" y="14"/>
                    <a:pt x="6" y="9"/>
                  </a:cubicBezTo>
                  <a:cubicBezTo>
                    <a:pt x="9" y="3"/>
                    <a:pt x="15" y="1"/>
                    <a:pt x="22" y="1"/>
                  </a:cubicBezTo>
                  <a:cubicBezTo>
                    <a:pt x="36" y="1"/>
                    <a:pt x="43" y="11"/>
                    <a:pt x="43" y="30"/>
                  </a:cubicBezTo>
                  <a:cubicBezTo>
                    <a:pt x="43" y="40"/>
                    <a:pt x="41" y="48"/>
                    <a:pt x="37" y="53"/>
                  </a:cubicBezTo>
                  <a:cubicBezTo>
                    <a:pt x="33" y="59"/>
                    <a:pt x="28" y="61"/>
                    <a:pt x="21" y="61"/>
                  </a:cubicBezTo>
                  <a:close/>
                  <a:moveTo>
                    <a:pt x="22" y="10"/>
                  </a:moveTo>
                  <a:cubicBezTo>
                    <a:pt x="16" y="10"/>
                    <a:pt x="13" y="17"/>
                    <a:pt x="13" y="32"/>
                  </a:cubicBezTo>
                  <a:cubicBezTo>
                    <a:pt x="13" y="45"/>
                    <a:pt x="16" y="51"/>
                    <a:pt x="21" y="51"/>
                  </a:cubicBezTo>
                  <a:cubicBezTo>
                    <a:pt x="27" y="51"/>
                    <a:pt x="29" y="45"/>
                    <a:pt x="29" y="31"/>
                  </a:cubicBezTo>
                  <a:cubicBezTo>
                    <a:pt x="29" y="17"/>
                    <a:pt x="27" y="10"/>
                    <a:pt x="22" y="10"/>
                  </a:cubicBezTo>
                  <a:close/>
                  <a:moveTo>
                    <a:pt x="79" y="0"/>
                  </a:moveTo>
                  <a:cubicBezTo>
                    <a:pt x="79" y="60"/>
                    <a:pt x="79" y="60"/>
                    <a:pt x="79" y="60"/>
                  </a:cubicBezTo>
                  <a:cubicBezTo>
                    <a:pt x="66" y="60"/>
                    <a:pt x="66" y="60"/>
                    <a:pt x="66" y="60"/>
                  </a:cubicBezTo>
                  <a:cubicBezTo>
                    <a:pt x="66" y="15"/>
                    <a:pt x="66" y="15"/>
                    <a:pt x="66" y="15"/>
                  </a:cubicBezTo>
                  <a:cubicBezTo>
                    <a:pt x="66" y="15"/>
                    <a:pt x="65" y="16"/>
                    <a:pt x="64" y="17"/>
                  </a:cubicBezTo>
                  <a:cubicBezTo>
                    <a:pt x="63" y="17"/>
                    <a:pt x="62" y="18"/>
                    <a:pt x="61" y="18"/>
                  </a:cubicBezTo>
                  <a:cubicBezTo>
                    <a:pt x="60" y="19"/>
                    <a:pt x="59" y="19"/>
                    <a:pt x="57" y="19"/>
                  </a:cubicBezTo>
                  <a:cubicBezTo>
                    <a:pt x="56" y="20"/>
                    <a:pt x="55" y="20"/>
                    <a:pt x="54" y="20"/>
                  </a:cubicBezTo>
                  <a:cubicBezTo>
                    <a:pt x="54" y="9"/>
                    <a:pt x="54" y="9"/>
                    <a:pt x="54" y="9"/>
                  </a:cubicBezTo>
                  <a:cubicBezTo>
                    <a:pt x="57" y="8"/>
                    <a:pt x="61" y="7"/>
                    <a:pt x="64" y="5"/>
                  </a:cubicBezTo>
                  <a:cubicBezTo>
                    <a:pt x="66" y="4"/>
                    <a:pt x="69" y="2"/>
                    <a:pt x="72" y="0"/>
                  </a:cubicBezTo>
                  <a:lnTo>
                    <a:pt x="79" y="0"/>
                  </a:lnTo>
                  <a:close/>
                  <a:moveTo>
                    <a:pt x="117" y="61"/>
                  </a:moveTo>
                  <a:cubicBezTo>
                    <a:pt x="103" y="61"/>
                    <a:pt x="96" y="51"/>
                    <a:pt x="96" y="32"/>
                  </a:cubicBezTo>
                  <a:cubicBezTo>
                    <a:pt x="96" y="22"/>
                    <a:pt x="98" y="14"/>
                    <a:pt x="102" y="9"/>
                  </a:cubicBezTo>
                  <a:cubicBezTo>
                    <a:pt x="106" y="3"/>
                    <a:pt x="111" y="1"/>
                    <a:pt x="118" y="1"/>
                  </a:cubicBezTo>
                  <a:cubicBezTo>
                    <a:pt x="132" y="1"/>
                    <a:pt x="139" y="11"/>
                    <a:pt x="139" y="30"/>
                  </a:cubicBezTo>
                  <a:cubicBezTo>
                    <a:pt x="139" y="40"/>
                    <a:pt x="137" y="48"/>
                    <a:pt x="133" y="53"/>
                  </a:cubicBezTo>
                  <a:cubicBezTo>
                    <a:pt x="130" y="59"/>
                    <a:pt x="124" y="61"/>
                    <a:pt x="117" y="61"/>
                  </a:cubicBezTo>
                  <a:close/>
                  <a:moveTo>
                    <a:pt x="118" y="10"/>
                  </a:moveTo>
                  <a:cubicBezTo>
                    <a:pt x="112" y="10"/>
                    <a:pt x="109" y="17"/>
                    <a:pt x="109" y="32"/>
                  </a:cubicBezTo>
                  <a:cubicBezTo>
                    <a:pt x="109" y="45"/>
                    <a:pt x="112" y="51"/>
                    <a:pt x="118" y="51"/>
                  </a:cubicBezTo>
                  <a:cubicBezTo>
                    <a:pt x="123" y="51"/>
                    <a:pt x="126" y="45"/>
                    <a:pt x="126" y="31"/>
                  </a:cubicBezTo>
                  <a:cubicBezTo>
                    <a:pt x="126" y="17"/>
                    <a:pt x="123" y="10"/>
                    <a:pt x="118" y="10"/>
                  </a:cubicBezTo>
                  <a:close/>
                  <a:moveTo>
                    <a:pt x="176" y="0"/>
                  </a:moveTo>
                  <a:cubicBezTo>
                    <a:pt x="176" y="60"/>
                    <a:pt x="176" y="60"/>
                    <a:pt x="176" y="60"/>
                  </a:cubicBezTo>
                  <a:cubicBezTo>
                    <a:pt x="163" y="60"/>
                    <a:pt x="163" y="60"/>
                    <a:pt x="163" y="60"/>
                  </a:cubicBezTo>
                  <a:cubicBezTo>
                    <a:pt x="163" y="15"/>
                    <a:pt x="163" y="15"/>
                    <a:pt x="163" y="15"/>
                  </a:cubicBezTo>
                  <a:cubicBezTo>
                    <a:pt x="162" y="15"/>
                    <a:pt x="161" y="16"/>
                    <a:pt x="160" y="17"/>
                  </a:cubicBezTo>
                  <a:cubicBezTo>
                    <a:pt x="159" y="17"/>
                    <a:pt x="158" y="18"/>
                    <a:pt x="157" y="18"/>
                  </a:cubicBezTo>
                  <a:cubicBezTo>
                    <a:pt x="156" y="19"/>
                    <a:pt x="155" y="19"/>
                    <a:pt x="154" y="19"/>
                  </a:cubicBezTo>
                  <a:cubicBezTo>
                    <a:pt x="153" y="20"/>
                    <a:pt x="151" y="20"/>
                    <a:pt x="150" y="20"/>
                  </a:cubicBezTo>
                  <a:cubicBezTo>
                    <a:pt x="150" y="9"/>
                    <a:pt x="150" y="9"/>
                    <a:pt x="150" y="9"/>
                  </a:cubicBezTo>
                  <a:cubicBezTo>
                    <a:pt x="154" y="8"/>
                    <a:pt x="157" y="7"/>
                    <a:pt x="160" y="5"/>
                  </a:cubicBezTo>
                  <a:cubicBezTo>
                    <a:pt x="163" y="4"/>
                    <a:pt x="165" y="2"/>
                    <a:pt x="168" y="0"/>
                  </a:cubicBezTo>
                  <a:lnTo>
                    <a:pt x="176" y="0"/>
                  </a:lnTo>
                  <a:close/>
                  <a:moveTo>
                    <a:pt x="214" y="61"/>
                  </a:moveTo>
                  <a:cubicBezTo>
                    <a:pt x="200" y="61"/>
                    <a:pt x="193" y="51"/>
                    <a:pt x="193" y="32"/>
                  </a:cubicBezTo>
                  <a:cubicBezTo>
                    <a:pt x="193" y="22"/>
                    <a:pt x="195" y="14"/>
                    <a:pt x="198" y="9"/>
                  </a:cubicBezTo>
                  <a:cubicBezTo>
                    <a:pt x="202" y="3"/>
                    <a:pt x="208" y="1"/>
                    <a:pt x="215" y="1"/>
                  </a:cubicBezTo>
                  <a:cubicBezTo>
                    <a:pt x="228" y="1"/>
                    <a:pt x="235" y="11"/>
                    <a:pt x="235" y="30"/>
                  </a:cubicBezTo>
                  <a:cubicBezTo>
                    <a:pt x="235" y="40"/>
                    <a:pt x="233" y="48"/>
                    <a:pt x="230" y="53"/>
                  </a:cubicBezTo>
                  <a:cubicBezTo>
                    <a:pt x="226" y="59"/>
                    <a:pt x="221" y="61"/>
                    <a:pt x="214" y="61"/>
                  </a:cubicBezTo>
                  <a:close/>
                  <a:moveTo>
                    <a:pt x="214" y="10"/>
                  </a:moveTo>
                  <a:cubicBezTo>
                    <a:pt x="209" y="10"/>
                    <a:pt x="206" y="17"/>
                    <a:pt x="206" y="32"/>
                  </a:cubicBezTo>
                  <a:cubicBezTo>
                    <a:pt x="206" y="45"/>
                    <a:pt x="209" y="51"/>
                    <a:pt x="214" y="51"/>
                  </a:cubicBezTo>
                  <a:cubicBezTo>
                    <a:pt x="219" y="51"/>
                    <a:pt x="222" y="45"/>
                    <a:pt x="222" y="31"/>
                  </a:cubicBezTo>
                  <a:cubicBezTo>
                    <a:pt x="222" y="17"/>
                    <a:pt x="219" y="10"/>
                    <a:pt x="214" y="10"/>
                  </a:cubicBezTo>
                  <a:close/>
                  <a:moveTo>
                    <a:pt x="272" y="0"/>
                  </a:moveTo>
                  <a:cubicBezTo>
                    <a:pt x="272" y="60"/>
                    <a:pt x="272" y="60"/>
                    <a:pt x="272" y="60"/>
                  </a:cubicBezTo>
                  <a:cubicBezTo>
                    <a:pt x="259" y="60"/>
                    <a:pt x="259" y="60"/>
                    <a:pt x="259" y="60"/>
                  </a:cubicBezTo>
                  <a:cubicBezTo>
                    <a:pt x="259" y="15"/>
                    <a:pt x="259" y="15"/>
                    <a:pt x="259" y="15"/>
                  </a:cubicBezTo>
                  <a:cubicBezTo>
                    <a:pt x="258" y="15"/>
                    <a:pt x="258" y="16"/>
                    <a:pt x="257" y="17"/>
                  </a:cubicBezTo>
                  <a:cubicBezTo>
                    <a:pt x="256" y="17"/>
                    <a:pt x="255" y="18"/>
                    <a:pt x="254" y="18"/>
                  </a:cubicBezTo>
                  <a:cubicBezTo>
                    <a:pt x="252" y="19"/>
                    <a:pt x="251" y="19"/>
                    <a:pt x="250" y="19"/>
                  </a:cubicBezTo>
                  <a:cubicBezTo>
                    <a:pt x="249" y="20"/>
                    <a:pt x="248" y="20"/>
                    <a:pt x="247" y="20"/>
                  </a:cubicBezTo>
                  <a:cubicBezTo>
                    <a:pt x="247" y="9"/>
                    <a:pt x="247" y="9"/>
                    <a:pt x="247" y="9"/>
                  </a:cubicBezTo>
                  <a:cubicBezTo>
                    <a:pt x="250" y="8"/>
                    <a:pt x="253" y="7"/>
                    <a:pt x="256" y="5"/>
                  </a:cubicBezTo>
                  <a:cubicBezTo>
                    <a:pt x="259" y="4"/>
                    <a:pt x="262" y="2"/>
                    <a:pt x="264" y="0"/>
                  </a:cubicBezTo>
                  <a:lnTo>
                    <a:pt x="272" y="0"/>
                  </a:lnTo>
                  <a:close/>
                  <a:moveTo>
                    <a:pt x="25" y="77"/>
                  </a:moveTo>
                  <a:cubicBezTo>
                    <a:pt x="25" y="137"/>
                    <a:pt x="25" y="137"/>
                    <a:pt x="25" y="137"/>
                  </a:cubicBezTo>
                  <a:cubicBezTo>
                    <a:pt x="12" y="137"/>
                    <a:pt x="12" y="137"/>
                    <a:pt x="12" y="137"/>
                  </a:cubicBezTo>
                  <a:cubicBezTo>
                    <a:pt x="12" y="92"/>
                    <a:pt x="12" y="92"/>
                    <a:pt x="12" y="92"/>
                  </a:cubicBezTo>
                  <a:cubicBezTo>
                    <a:pt x="12" y="92"/>
                    <a:pt x="11" y="93"/>
                    <a:pt x="10" y="93"/>
                  </a:cubicBezTo>
                  <a:cubicBezTo>
                    <a:pt x="9" y="94"/>
                    <a:pt x="8" y="94"/>
                    <a:pt x="7" y="95"/>
                  </a:cubicBezTo>
                  <a:cubicBezTo>
                    <a:pt x="6" y="95"/>
                    <a:pt x="5" y="96"/>
                    <a:pt x="3" y="96"/>
                  </a:cubicBezTo>
                  <a:cubicBezTo>
                    <a:pt x="2" y="96"/>
                    <a:pt x="1" y="97"/>
                    <a:pt x="0" y="97"/>
                  </a:cubicBezTo>
                  <a:cubicBezTo>
                    <a:pt x="0" y="86"/>
                    <a:pt x="0" y="86"/>
                    <a:pt x="0" y="86"/>
                  </a:cubicBezTo>
                  <a:cubicBezTo>
                    <a:pt x="3" y="85"/>
                    <a:pt x="6" y="84"/>
                    <a:pt x="9" y="82"/>
                  </a:cubicBezTo>
                  <a:cubicBezTo>
                    <a:pt x="12" y="81"/>
                    <a:pt x="15" y="79"/>
                    <a:pt x="17" y="77"/>
                  </a:cubicBezTo>
                  <a:lnTo>
                    <a:pt x="25" y="77"/>
                  </a:lnTo>
                  <a:close/>
                  <a:moveTo>
                    <a:pt x="63" y="138"/>
                  </a:moveTo>
                  <a:cubicBezTo>
                    <a:pt x="49" y="138"/>
                    <a:pt x="42" y="128"/>
                    <a:pt x="42" y="109"/>
                  </a:cubicBezTo>
                  <a:cubicBezTo>
                    <a:pt x="42" y="98"/>
                    <a:pt x="44" y="91"/>
                    <a:pt x="48" y="85"/>
                  </a:cubicBezTo>
                  <a:cubicBezTo>
                    <a:pt x="52" y="80"/>
                    <a:pt x="57" y="77"/>
                    <a:pt x="64" y="77"/>
                  </a:cubicBezTo>
                  <a:cubicBezTo>
                    <a:pt x="78" y="77"/>
                    <a:pt x="85" y="87"/>
                    <a:pt x="85" y="107"/>
                  </a:cubicBezTo>
                  <a:cubicBezTo>
                    <a:pt x="85" y="117"/>
                    <a:pt x="83" y="125"/>
                    <a:pt x="79" y="130"/>
                  </a:cubicBezTo>
                  <a:cubicBezTo>
                    <a:pt x="75" y="135"/>
                    <a:pt x="70" y="138"/>
                    <a:pt x="63" y="138"/>
                  </a:cubicBezTo>
                  <a:close/>
                  <a:moveTo>
                    <a:pt x="64" y="87"/>
                  </a:moveTo>
                  <a:cubicBezTo>
                    <a:pt x="58" y="87"/>
                    <a:pt x="55" y="94"/>
                    <a:pt x="55" y="108"/>
                  </a:cubicBezTo>
                  <a:cubicBezTo>
                    <a:pt x="55" y="121"/>
                    <a:pt x="58" y="128"/>
                    <a:pt x="64" y="128"/>
                  </a:cubicBezTo>
                  <a:cubicBezTo>
                    <a:pt x="69" y="128"/>
                    <a:pt x="72" y="121"/>
                    <a:pt x="72" y="108"/>
                  </a:cubicBezTo>
                  <a:cubicBezTo>
                    <a:pt x="72" y="94"/>
                    <a:pt x="69" y="87"/>
                    <a:pt x="64" y="87"/>
                  </a:cubicBezTo>
                  <a:close/>
                  <a:moveTo>
                    <a:pt x="122" y="77"/>
                  </a:moveTo>
                  <a:cubicBezTo>
                    <a:pt x="122" y="137"/>
                    <a:pt x="122" y="137"/>
                    <a:pt x="122" y="137"/>
                  </a:cubicBezTo>
                  <a:cubicBezTo>
                    <a:pt x="109" y="137"/>
                    <a:pt x="109" y="137"/>
                    <a:pt x="109" y="137"/>
                  </a:cubicBezTo>
                  <a:cubicBezTo>
                    <a:pt x="109" y="92"/>
                    <a:pt x="109" y="92"/>
                    <a:pt x="109" y="92"/>
                  </a:cubicBezTo>
                  <a:cubicBezTo>
                    <a:pt x="108" y="92"/>
                    <a:pt x="107" y="93"/>
                    <a:pt x="106" y="93"/>
                  </a:cubicBezTo>
                  <a:cubicBezTo>
                    <a:pt x="105" y="94"/>
                    <a:pt x="104" y="94"/>
                    <a:pt x="103" y="95"/>
                  </a:cubicBezTo>
                  <a:cubicBezTo>
                    <a:pt x="102" y="95"/>
                    <a:pt x="101" y="96"/>
                    <a:pt x="100" y="96"/>
                  </a:cubicBezTo>
                  <a:cubicBezTo>
                    <a:pt x="98" y="96"/>
                    <a:pt x="97" y="97"/>
                    <a:pt x="96" y="97"/>
                  </a:cubicBezTo>
                  <a:cubicBezTo>
                    <a:pt x="96" y="86"/>
                    <a:pt x="96" y="86"/>
                    <a:pt x="96" y="86"/>
                  </a:cubicBezTo>
                  <a:cubicBezTo>
                    <a:pt x="100" y="85"/>
                    <a:pt x="103" y="84"/>
                    <a:pt x="106" y="82"/>
                  </a:cubicBezTo>
                  <a:cubicBezTo>
                    <a:pt x="109" y="81"/>
                    <a:pt x="111" y="79"/>
                    <a:pt x="114" y="77"/>
                  </a:cubicBezTo>
                  <a:lnTo>
                    <a:pt x="122" y="77"/>
                  </a:lnTo>
                  <a:close/>
                  <a:moveTo>
                    <a:pt x="159" y="138"/>
                  </a:moveTo>
                  <a:cubicBezTo>
                    <a:pt x="145" y="138"/>
                    <a:pt x="138" y="128"/>
                    <a:pt x="138" y="109"/>
                  </a:cubicBezTo>
                  <a:cubicBezTo>
                    <a:pt x="138" y="98"/>
                    <a:pt x="140" y="91"/>
                    <a:pt x="144" y="85"/>
                  </a:cubicBezTo>
                  <a:cubicBezTo>
                    <a:pt x="148" y="80"/>
                    <a:pt x="153" y="77"/>
                    <a:pt x="161" y="77"/>
                  </a:cubicBezTo>
                  <a:cubicBezTo>
                    <a:pt x="174" y="77"/>
                    <a:pt x="181" y="87"/>
                    <a:pt x="181" y="107"/>
                  </a:cubicBezTo>
                  <a:cubicBezTo>
                    <a:pt x="181" y="117"/>
                    <a:pt x="179" y="125"/>
                    <a:pt x="175" y="130"/>
                  </a:cubicBezTo>
                  <a:cubicBezTo>
                    <a:pt x="172" y="135"/>
                    <a:pt x="166" y="138"/>
                    <a:pt x="159" y="138"/>
                  </a:cubicBezTo>
                  <a:close/>
                  <a:moveTo>
                    <a:pt x="160" y="87"/>
                  </a:moveTo>
                  <a:cubicBezTo>
                    <a:pt x="154" y="87"/>
                    <a:pt x="152" y="94"/>
                    <a:pt x="152" y="108"/>
                  </a:cubicBezTo>
                  <a:cubicBezTo>
                    <a:pt x="152" y="121"/>
                    <a:pt x="154" y="128"/>
                    <a:pt x="160" y="128"/>
                  </a:cubicBezTo>
                  <a:cubicBezTo>
                    <a:pt x="165" y="128"/>
                    <a:pt x="168" y="121"/>
                    <a:pt x="168" y="108"/>
                  </a:cubicBezTo>
                  <a:cubicBezTo>
                    <a:pt x="168" y="94"/>
                    <a:pt x="165" y="87"/>
                    <a:pt x="160" y="87"/>
                  </a:cubicBezTo>
                  <a:close/>
                  <a:moveTo>
                    <a:pt x="218" y="77"/>
                  </a:moveTo>
                  <a:cubicBezTo>
                    <a:pt x="218" y="137"/>
                    <a:pt x="218" y="137"/>
                    <a:pt x="218" y="137"/>
                  </a:cubicBezTo>
                  <a:cubicBezTo>
                    <a:pt x="205" y="137"/>
                    <a:pt x="205" y="137"/>
                    <a:pt x="205" y="137"/>
                  </a:cubicBezTo>
                  <a:cubicBezTo>
                    <a:pt x="205" y="92"/>
                    <a:pt x="205" y="92"/>
                    <a:pt x="205" y="92"/>
                  </a:cubicBezTo>
                  <a:cubicBezTo>
                    <a:pt x="204" y="92"/>
                    <a:pt x="203" y="93"/>
                    <a:pt x="202" y="93"/>
                  </a:cubicBezTo>
                  <a:cubicBezTo>
                    <a:pt x="201" y="94"/>
                    <a:pt x="200" y="94"/>
                    <a:pt x="199" y="95"/>
                  </a:cubicBezTo>
                  <a:cubicBezTo>
                    <a:pt x="198" y="95"/>
                    <a:pt x="197" y="96"/>
                    <a:pt x="196" y="96"/>
                  </a:cubicBezTo>
                  <a:cubicBezTo>
                    <a:pt x="195" y="96"/>
                    <a:pt x="194" y="97"/>
                    <a:pt x="192" y="97"/>
                  </a:cubicBezTo>
                  <a:cubicBezTo>
                    <a:pt x="192" y="86"/>
                    <a:pt x="192" y="86"/>
                    <a:pt x="192" y="86"/>
                  </a:cubicBezTo>
                  <a:cubicBezTo>
                    <a:pt x="196" y="85"/>
                    <a:pt x="199" y="84"/>
                    <a:pt x="202" y="82"/>
                  </a:cubicBezTo>
                  <a:cubicBezTo>
                    <a:pt x="205" y="81"/>
                    <a:pt x="208" y="79"/>
                    <a:pt x="210" y="77"/>
                  </a:cubicBezTo>
                  <a:lnTo>
                    <a:pt x="218" y="77"/>
                  </a:lnTo>
                  <a:close/>
                  <a:moveTo>
                    <a:pt x="256" y="138"/>
                  </a:moveTo>
                  <a:cubicBezTo>
                    <a:pt x="242" y="138"/>
                    <a:pt x="235" y="128"/>
                    <a:pt x="235" y="109"/>
                  </a:cubicBezTo>
                  <a:cubicBezTo>
                    <a:pt x="235" y="98"/>
                    <a:pt x="237" y="91"/>
                    <a:pt x="240" y="85"/>
                  </a:cubicBezTo>
                  <a:cubicBezTo>
                    <a:pt x="244" y="80"/>
                    <a:pt x="250" y="77"/>
                    <a:pt x="257" y="77"/>
                  </a:cubicBezTo>
                  <a:cubicBezTo>
                    <a:pt x="270" y="77"/>
                    <a:pt x="277" y="87"/>
                    <a:pt x="277" y="107"/>
                  </a:cubicBezTo>
                  <a:cubicBezTo>
                    <a:pt x="277" y="117"/>
                    <a:pt x="275" y="125"/>
                    <a:pt x="272" y="130"/>
                  </a:cubicBezTo>
                  <a:cubicBezTo>
                    <a:pt x="268" y="135"/>
                    <a:pt x="263" y="138"/>
                    <a:pt x="256" y="138"/>
                  </a:cubicBezTo>
                  <a:close/>
                  <a:moveTo>
                    <a:pt x="256" y="87"/>
                  </a:moveTo>
                  <a:cubicBezTo>
                    <a:pt x="251" y="87"/>
                    <a:pt x="248" y="94"/>
                    <a:pt x="248" y="108"/>
                  </a:cubicBezTo>
                  <a:cubicBezTo>
                    <a:pt x="248" y="121"/>
                    <a:pt x="251" y="128"/>
                    <a:pt x="256" y="128"/>
                  </a:cubicBezTo>
                  <a:cubicBezTo>
                    <a:pt x="261" y="128"/>
                    <a:pt x="264" y="121"/>
                    <a:pt x="264" y="108"/>
                  </a:cubicBezTo>
                  <a:cubicBezTo>
                    <a:pt x="264" y="94"/>
                    <a:pt x="262" y="87"/>
                    <a:pt x="256" y="87"/>
                  </a:cubicBezTo>
                  <a:close/>
                  <a:moveTo>
                    <a:pt x="21" y="215"/>
                  </a:moveTo>
                  <a:cubicBezTo>
                    <a:pt x="7" y="215"/>
                    <a:pt x="0" y="205"/>
                    <a:pt x="0" y="185"/>
                  </a:cubicBezTo>
                  <a:cubicBezTo>
                    <a:pt x="0" y="175"/>
                    <a:pt x="2" y="167"/>
                    <a:pt x="6" y="162"/>
                  </a:cubicBezTo>
                  <a:cubicBezTo>
                    <a:pt x="9" y="157"/>
                    <a:pt x="15" y="154"/>
                    <a:pt x="22" y="154"/>
                  </a:cubicBezTo>
                  <a:cubicBezTo>
                    <a:pt x="36" y="154"/>
                    <a:pt x="43" y="164"/>
                    <a:pt x="43" y="184"/>
                  </a:cubicBezTo>
                  <a:cubicBezTo>
                    <a:pt x="43" y="194"/>
                    <a:pt x="41" y="201"/>
                    <a:pt x="37" y="207"/>
                  </a:cubicBezTo>
                  <a:cubicBezTo>
                    <a:pt x="33" y="212"/>
                    <a:pt x="28" y="215"/>
                    <a:pt x="21" y="215"/>
                  </a:cubicBezTo>
                  <a:close/>
                  <a:moveTo>
                    <a:pt x="22" y="164"/>
                  </a:moveTo>
                  <a:cubicBezTo>
                    <a:pt x="16" y="164"/>
                    <a:pt x="13" y="171"/>
                    <a:pt x="13" y="185"/>
                  </a:cubicBezTo>
                  <a:cubicBezTo>
                    <a:pt x="13" y="198"/>
                    <a:pt x="16" y="205"/>
                    <a:pt x="21" y="205"/>
                  </a:cubicBezTo>
                  <a:cubicBezTo>
                    <a:pt x="27" y="205"/>
                    <a:pt x="29" y="198"/>
                    <a:pt x="29" y="184"/>
                  </a:cubicBezTo>
                  <a:cubicBezTo>
                    <a:pt x="29" y="171"/>
                    <a:pt x="27" y="164"/>
                    <a:pt x="22" y="164"/>
                  </a:cubicBezTo>
                  <a:close/>
                  <a:moveTo>
                    <a:pt x="79" y="154"/>
                  </a:moveTo>
                  <a:cubicBezTo>
                    <a:pt x="79" y="214"/>
                    <a:pt x="79" y="214"/>
                    <a:pt x="79" y="214"/>
                  </a:cubicBezTo>
                  <a:cubicBezTo>
                    <a:pt x="66" y="214"/>
                    <a:pt x="66" y="214"/>
                    <a:pt x="66" y="214"/>
                  </a:cubicBezTo>
                  <a:cubicBezTo>
                    <a:pt x="66" y="168"/>
                    <a:pt x="66" y="168"/>
                    <a:pt x="66" y="168"/>
                  </a:cubicBezTo>
                  <a:cubicBezTo>
                    <a:pt x="66" y="169"/>
                    <a:pt x="65" y="170"/>
                    <a:pt x="64" y="170"/>
                  </a:cubicBezTo>
                  <a:cubicBezTo>
                    <a:pt x="63" y="171"/>
                    <a:pt x="62" y="171"/>
                    <a:pt x="61" y="172"/>
                  </a:cubicBezTo>
                  <a:cubicBezTo>
                    <a:pt x="60" y="172"/>
                    <a:pt x="59" y="172"/>
                    <a:pt x="57" y="173"/>
                  </a:cubicBezTo>
                  <a:cubicBezTo>
                    <a:pt x="56" y="173"/>
                    <a:pt x="55" y="173"/>
                    <a:pt x="54" y="173"/>
                  </a:cubicBezTo>
                  <a:cubicBezTo>
                    <a:pt x="54" y="163"/>
                    <a:pt x="54" y="163"/>
                    <a:pt x="54" y="163"/>
                  </a:cubicBezTo>
                  <a:cubicBezTo>
                    <a:pt x="57" y="162"/>
                    <a:pt x="61" y="160"/>
                    <a:pt x="64" y="159"/>
                  </a:cubicBezTo>
                  <a:cubicBezTo>
                    <a:pt x="66" y="157"/>
                    <a:pt x="69" y="156"/>
                    <a:pt x="72" y="154"/>
                  </a:cubicBezTo>
                  <a:lnTo>
                    <a:pt x="79" y="154"/>
                  </a:lnTo>
                  <a:close/>
                  <a:moveTo>
                    <a:pt x="117" y="215"/>
                  </a:moveTo>
                  <a:cubicBezTo>
                    <a:pt x="103" y="215"/>
                    <a:pt x="96" y="205"/>
                    <a:pt x="96" y="185"/>
                  </a:cubicBezTo>
                  <a:cubicBezTo>
                    <a:pt x="96" y="175"/>
                    <a:pt x="98" y="167"/>
                    <a:pt x="102" y="162"/>
                  </a:cubicBezTo>
                  <a:cubicBezTo>
                    <a:pt x="106" y="157"/>
                    <a:pt x="111" y="154"/>
                    <a:pt x="118" y="154"/>
                  </a:cubicBezTo>
                  <a:cubicBezTo>
                    <a:pt x="132" y="154"/>
                    <a:pt x="139" y="164"/>
                    <a:pt x="139" y="184"/>
                  </a:cubicBezTo>
                  <a:cubicBezTo>
                    <a:pt x="139" y="194"/>
                    <a:pt x="137" y="201"/>
                    <a:pt x="133" y="207"/>
                  </a:cubicBezTo>
                  <a:cubicBezTo>
                    <a:pt x="130" y="212"/>
                    <a:pt x="124" y="215"/>
                    <a:pt x="117" y="215"/>
                  </a:cubicBezTo>
                  <a:close/>
                  <a:moveTo>
                    <a:pt x="118" y="164"/>
                  </a:moveTo>
                  <a:cubicBezTo>
                    <a:pt x="112" y="164"/>
                    <a:pt x="109" y="171"/>
                    <a:pt x="109" y="185"/>
                  </a:cubicBezTo>
                  <a:cubicBezTo>
                    <a:pt x="109" y="198"/>
                    <a:pt x="112" y="205"/>
                    <a:pt x="118" y="205"/>
                  </a:cubicBezTo>
                  <a:cubicBezTo>
                    <a:pt x="123" y="205"/>
                    <a:pt x="126" y="198"/>
                    <a:pt x="126" y="184"/>
                  </a:cubicBezTo>
                  <a:cubicBezTo>
                    <a:pt x="126" y="171"/>
                    <a:pt x="123" y="164"/>
                    <a:pt x="118" y="164"/>
                  </a:cubicBezTo>
                  <a:close/>
                  <a:moveTo>
                    <a:pt x="176" y="154"/>
                  </a:moveTo>
                  <a:cubicBezTo>
                    <a:pt x="176" y="214"/>
                    <a:pt x="176" y="214"/>
                    <a:pt x="176" y="214"/>
                  </a:cubicBezTo>
                  <a:cubicBezTo>
                    <a:pt x="163" y="214"/>
                    <a:pt x="163" y="214"/>
                    <a:pt x="163" y="214"/>
                  </a:cubicBezTo>
                  <a:cubicBezTo>
                    <a:pt x="163" y="168"/>
                    <a:pt x="163" y="168"/>
                    <a:pt x="163" y="168"/>
                  </a:cubicBezTo>
                  <a:cubicBezTo>
                    <a:pt x="162" y="169"/>
                    <a:pt x="161" y="170"/>
                    <a:pt x="160" y="170"/>
                  </a:cubicBezTo>
                  <a:cubicBezTo>
                    <a:pt x="159" y="171"/>
                    <a:pt x="158" y="171"/>
                    <a:pt x="157" y="172"/>
                  </a:cubicBezTo>
                  <a:cubicBezTo>
                    <a:pt x="156" y="172"/>
                    <a:pt x="155" y="172"/>
                    <a:pt x="154" y="173"/>
                  </a:cubicBezTo>
                  <a:cubicBezTo>
                    <a:pt x="153" y="173"/>
                    <a:pt x="151" y="173"/>
                    <a:pt x="150" y="173"/>
                  </a:cubicBezTo>
                  <a:cubicBezTo>
                    <a:pt x="150" y="163"/>
                    <a:pt x="150" y="163"/>
                    <a:pt x="150" y="163"/>
                  </a:cubicBezTo>
                  <a:cubicBezTo>
                    <a:pt x="154" y="162"/>
                    <a:pt x="157" y="160"/>
                    <a:pt x="160" y="159"/>
                  </a:cubicBezTo>
                  <a:cubicBezTo>
                    <a:pt x="163" y="157"/>
                    <a:pt x="165" y="156"/>
                    <a:pt x="168" y="154"/>
                  </a:cubicBezTo>
                  <a:lnTo>
                    <a:pt x="176" y="154"/>
                  </a:lnTo>
                  <a:close/>
                  <a:moveTo>
                    <a:pt x="214" y="215"/>
                  </a:moveTo>
                  <a:cubicBezTo>
                    <a:pt x="200" y="215"/>
                    <a:pt x="193" y="205"/>
                    <a:pt x="193" y="185"/>
                  </a:cubicBezTo>
                  <a:cubicBezTo>
                    <a:pt x="193" y="175"/>
                    <a:pt x="195" y="167"/>
                    <a:pt x="198" y="162"/>
                  </a:cubicBezTo>
                  <a:cubicBezTo>
                    <a:pt x="202" y="157"/>
                    <a:pt x="208" y="154"/>
                    <a:pt x="215" y="154"/>
                  </a:cubicBezTo>
                  <a:cubicBezTo>
                    <a:pt x="228" y="154"/>
                    <a:pt x="235" y="164"/>
                    <a:pt x="235" y="184"/>
                  </a:cubicBezTo>
                  <a:cubicBezTo>
                    <a:pt x="235" y="194"/>
                    <a:pt x="233" y="201"/>
                    <a:pt x="230" y="207"/>
                  </a:cubicBezTo>
                  <a:cubicBezTo>
                    <a:pt x="226" y="212"/>
                    <a:pt x="221" y="215"/>
                    <a:pt x="214" y="215"/>
                  </a:cubicBezTo>
                  <a:close/>
                  <a:moveTo>
                    <a:pt x="214" y="164"/>
                  </a:moveTo>
                  <a:cubicBezTo>
                    <a:pt x="209" y="164"/>
                    <a:pt x="206" y="171"/>
                    <a:pt x="206" y="185"/>
                  </a:cubicBezTo>
                  <a:cubicBezTo>
                    <a:pt x="206" y="198"/>
                    <a:pt x="209" y="205"/>
                    <a:pt x="214" y="205"/>
                  </a:cubicBezTo>
                  <a:cubicBezTo>
                    <a:pt x="219" y="205"/>
                    <a:pt x="222" y="198"/>
                    <a:pt x="222" y="184"/>
                  </a:cubicBezTo>
                  <a:cubicBezTo>
                    <a:pt x="222" y="171"/>
                    <a:pt x="219" y="164"/>
                    <a:pt x="214" y="164"/>
                  </a:cubicBezTo>
                  <a:close/>
                  <a:moveTo>
                    <a:pt x="272" y="154"/>
                  </a:moveTo>
                  <a:cubicBezTo>
                    <a:pt x="272" y="214"/>
                    <a:pt x="272" y="214"/>
                    <a:pt x="272" y="214"/>
                  </a:cubicBezTo>
                  <a:cubicBezTo>
                    <a:pt x="259" y="214"/>
                    <a:pt x="259" y="214"/>
                    <a:pt x="259" y="214"/>
                  </a:cubicBezTo>
                  <a:cubicBezTo>
                    <a:pt x="259" y="168"/>
                    <a:pt x="259" y="168"/>
                    <a:pt x="259" y="168"/>
                  </a:cubicBezTo>
                  <a:cubicBezTo>
                    <a:pt x="258" y="169"/>
                    <a:pt x="258" y="170"/>
                    <a:pt x="257" y="170"/>
                  </a:cubicBezTo>
                  <a:cubicBezTo>
                    <a:pt x="256" y="171"/>
                    <a:pt x="255" y="171"/>
                    <a:pt x="254" y="172"/>
                  </a:cubicBezTo>
                  <a:cubicBezTo>
                    <a:pt x="252" y="172"/>
                    <a:pt x="251" y="172"/>
                    <a:pt x="250" y="173"/>
                  </a:cubicBezTo>
                  <a:cubicBezTo>
                    <a:pt x="249" y="173"/>
                    <a:pt x="248" y="173"/>
                    <a:pt x="247" y="173"/>
                  </a:cubicBezTo>
                  <a:cubicBezTo>
                    <a:pt x="247" y="163"/>
                    <a:pt x="247" y="163"/>
                    <a:pt x="247" y="163"/>
                  </a:cubicBezTo>
                  <a:cubicBezTo>
                    <a:pt x="250" y="162"/>
                    <a:pt x="253" y="160"/>
                    <a:pt x="256" y="159"/>
                  </a:cubicBezTo>
                  <a:cubicBezTo>
                    <a:pt x="259" y="157"/>
                    <a:pt x="262" y="156"/>
                    <a:pt x="264" y="154"/>
                  </a:cubicBezTo>
                  <a:lnTo>
                    <a:pt x="272" y="154"/>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62" name="Freeform 61"/>
            <p:cNvSpPr>
              <a:spLocks noChangeAspect="1"/>
            </p:cNvSpPr>
            <p:nvPr/>
          </p:nvSpPr>
          <p:spPr bwMode="black">
            <a:xfrm>
              <a:off x="810855" y="2476645"/>
              <a:ext cx="373866" cy="260946"/>
            </a:xfrm>
            <a:custGeom>
              <a:avLst/>
              <a:gdLst>
                <a:gd name="connsiteX0" fmla="*/ 541228 w 979570"/>
                <a:gd name="connsiteY0" fmla="*/ 531962 h 887227"/>
                <a:gd name="connsiteX1" fmla="*/ 547155 w 979570"/>
                <a:gd name="connsiteY1" fmla="*/ 538150 h 887227"/>
                <a:gd name="connsiteX2" fmla="*/ 760399 w 979570"/>
                <a:gd name="connsiteY2" fmla="*/ 601984 h 887227"/>
                <a:gd name="connsiteX3" fmla="*/ 973643 w 979570"/>
                <a:gd name="connsiteY3" fmla="*/ 538150 h 887227"/>
                <a:gd name="connsiteX4" fmla="*/ 979570 w 979570"/>
                <a:gd name="connsiteY4" fmla="*/ 531962 h 887227"/>
                <a:gd name="connsiteX5" fmla="*/ 979570 w 979570"/>
                <a:gd name="connsiteY5" fmla="*/ 776991 h 887227"/>
                <a:gd name="connsiteX6" fmla="*/ 979570 w 979570"/>
                <a:gd name="connsiteY6" fmla="*/ 776993 h 887227"/>
                <a:gd name="connsiteX7" fmla="*/ 760399 w 979570"/>
                <a:gd name="connsiteY7" fmla="*/ 887227 h 887227"/>
                <a:gd name="connsiteX8" fmla="*/ 541228 w 979570"/>
                <a:gd name="connsiteY8" fmla="*/ 776993 h 887227"/>
                <a:gd name="connsiteX9" fmla="*/ 541228 w 979570"/>
                <a:gd name="connsiteY9" fmla="*/ 776993 h 887227"/>
                <a:gd name="connsiteX10" fmla="*/ 0 w 979570"/>
                <a:gd name="connsiteY10" fmla="*/ 531962 h 887227"/>
                <a:gd name="connsiteX11" fmla="*/ 5927 w 979570"/>
                <a:gd name="connsiteY11" fmla="*/ 538150 h 887227"/>
                <a:gd name="connsiteX12" fmla="*/ 219171 w 979570"/>
                <a:gd name="connsiteY12" fmla="*/ 601984 h 887227"/>
                <a:gd name="connsiteX13" fmla="*/ 432415 w 979570"/>
                <a:gd name="connsiteY13" fmla="*/ 538150 h 887227"/>
                <a:gd name="connsiteX14" fmla="*/ 438342 w 979570"/>
                <a:gd name="connsiteY14" fmla="*/ 531962 h 887227"/>
                <a:gd name="connsiteX15" fmla="*/ 438342 w 979570"/>
                <a:gd name="connsiteY15" fmla="*/ 776991 h 887227"/>
                <a:gd name="connsiteX16" fmla="*/ 438342 w 979570"/>
                <a:gd name="connsiteY16" fmla="*/ 776993 h 887227"/>
                <a:gd name="connsiteX17" fmla="*/ 219171 w 979570"/>
                <a:gd name="connsiteY17" fmla="*/ 887227 h 887227"/>
                <a:gd name="connsiteX18" fmla="*/ 0 w 979570"/>
                <a:gd name="connsiteY18" fmla="*/ 776993 h 887227"/>
                <a:gd name="connsiteX19" fmla="*/ 0 w 979570"/>
                <a:gd name="connsiteY19" fmla="*/ 776993 h 887227"/>
                <a:gd name="connsiteX20" fmla="*/ 760036 w 979570"/>
                <a:gd name="connsiteY20" fmla="*/ 322411 h 887227"/>
                <a:gd name="connsiteX21" fmla="*/ 978844 w 979570"/>
                <a:gd name="connsiteY21" fmla="*/ 444386 h 887227"/>
                <a:gd name="connsiteX22" fmla="*/ 760036 w 979570"/>
                <a:gd name="connsiteY22" fmla="*/ 566361 h 887227"/>
                <a:gd name="connsiteX23" fmla="*/ 541228 w 979570"/>
                <a:gd name="connsiteY23" fmla="*/ 444386 h 887227"/>
                <a:gd name="connsiteX24" fmla="*/ 760036 w 979570"/>
                <a:gd name="connsiteY24" fmla="*/ 322411 h 887227"/>
                <a:gd name="connsiteX25" fmla="*/ 0 w 979570"/>
                <a:gd name="connsiteY25" fmla="*/ 209552 h 887227"/>
                <a:gd name="connsiteX26" fmla="*/ 5927 w 979570"/>
                <a:gd name="connsiteY26" fmla="*/ 215739 h 887227"/>
                <a:gd name="connsiteX27" fmla="*/ 219171 w 979570"/>
                <a:gd name="connsiteY27" fmla="*/ 279574 h 887227"/>
                <a:gd name="connsiteX28" fmla="*/ 432415 w 979570"/>
                <a:gd name="connsiteY28" fmla="*/ 215739 h 887227"/>
                <a:gd name="connsiteX29" fmla="*/ 438342 w 979570"/>
                <a:gd name="connsiteY29" fmla="*/ 209552 h 887227"/>
                <a:gd name="connsiteX30" fmla="*/ 438342 w 979570"/>
                <a:gd name="connsiteY30" fmla="*/ 454580 h 887227"/>
                <a:gd name="connsiteX31" fmla="*/ 438342 w 979570"/>
                <a:gd name="connsiteY31" fmla="*/ 454583 h 887227"/>
                <a:gd name="connsiteX32" fmla="*/ 219171 w 979570"/>
                <a:gd name="connsiteY32" fmla="*/ 564817 h 887227"/>
                <a:gd name="connsiteX33" fmla="*/ 0 w 979570"/>
                <a:gd name="connsiteY33" fmla="*/ 454583 h 887227"/>
                <a:gd name="connsiteX34" fmla="*/ 0 w 979570"/>
                <a:gd name="connsiteY34" fmla="*/ 454582 h 887227"/>
                <a:gd name="connsiteX35" fmla="*/ 218808 w 979570"/>
                <a:gd name="connsiteY35" fmla="*/ 0 h 887227"/>
                <a:gd name="connsiteX36" fmla="*/ 437616 w 979570"/>
                <a:gd name="connsiteY36" fmla="*/ 121975 h 887227"/>
                <a:gd name="connsiteX37" fmla="*/ 218808 w 979570"/>
                <a:gd name="connsiteY37" fmla="*/ 243950 h 887227"/>
                <a:gd name="connsiteX38" fmla="*/ 0 w 979570"/>
                <a:gd name="connsiteY38" fmla="*/ 121975 h 887227"/>
                <a:gd name="connsiteX39" fmla="*/ 218808 w 979570"/>
                <a:gd name="connsiteY39" fmla="*/ 0 h 8872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979570" h="887227">
                  <a:moveTo>
                    <a:pt x="541228" y="531962"/>
                  </a:moveTo>
                  <a:lnTo>
                    <a:pt x="547155" y="538150"/>
                  </a:lnTo>
                  <a:cubicBezTo>
                    <a:pt x="588222" y="576173"/>
                    <a:pt x="668317" y="601984"/>
                    <a:pt x="760399" y="601984"/>
                  </a:cubicBezTo>
                  <a:cubicBezTo>
                    <a:pt x="852481" y="601984"/>
                    <a:pt x="932576" y="576173"/>
                    <a:pt x="973643" y="538150"/>
                  </a:cubicBezTo>
                  <a:lnTo>
                    <a:pt x="979570" y="531962"/>
                  </a:lnTo>
                  <a:lnTo>
                    <a:pt x="979570" y="776991"/>
                  </a:lnTo>
                  <a:lnTo>
                    <a:pt x="979570" y="776993"/>
                  </a:lnTo>
                  <a:cubicBezTo>
                    <a:pt x="979570" y="837874"/>
                    <a:pt x="881444" y="887227"/>
                    <a:pt x="760399" y="887227"/>
                  </a:cubicBezTo>
                  <a:cubicBezTo>
                    <a:pt x="639354" y="887227"/>
                    <a:pt x="541228" y="837874"/>
                    <a:pt x="541228" y="776993"/>
                  </a:cubicBezTo>
                  <a:lnTo>
                    <a:pt x="541228" y="776993"/>
                  </a:lnTo>
                  <a:close/>
                  <a:moveTo>
                    <a:pt x="0" y="531962"/>
                  </a:moveTo>
                  <a:lnTo>
                    <a:pt x="5927" y="538150"/>
                  </a:lnTo>
                  <a:cubicBezTo>
                    <a:pt x="46994" y="576173"/>
                    <a:pt x="127089" y="601984"/>
                    <a:pt x="219171" y="601984"/>
                  </a:cubicBezTo>
                  <a:cubicBezTo>
                    <a:pt x="311253" y="601984"/>
                    <a:pt x="391348" y="576173"/>
                    <a:pt x="432415" y="538150"/>
                  </a:cubicBezTo>
                  <a:lnTo>
                    <a:pt x="438342" y="531962"/>
                  </a:lnTo>
                  <a:lnTo>
                    <a:pt x="438342" y="776991"/>
                  </a:lnTo>
                  <a:lnTo>
                    <a:pt x="438342" y="776993"/>
                  </a:lnTo>
                  <a:cubicBezTo>
                    <a:pt x="438342" y="837874"/>
                    <a:pt x="340216" y="887227"/>
                    <a:pt x="219171" y="887227"/>
                  </a:cubicBezTo>
                  <a:cubicBezTo>
                    <a:pt x="98126" y="887227"/>
                    <a:pt x="0" y="837874"/>
                    <a:pt x="0" y="776993"/>
                  </a:cubicBezTo>
                  <a:lnTo>
                    <a:pt x="0" y="776993"/>
                  </a:lnTo>
                  <a:close/>
                  <a:moveTo>
                    <a:pt x="760036" y="322411"/>
                  </a:moveTo>
                  <a:cubicBezTo>
                    <a:pt x="880880" y="322411"/>
                    <a:pt x="978844" y="377021"/>
                    <a:pt x="978844" y="444386"/>
                  </a:cubicBezTo>
                  <a:cubicBezTo>
                    <a:pt x="978844" y="511751"/>
                    <a:pt x="880880" y="566361"/>
                    <a:pt x="760036" y="566361"/>
                  </a:cubicBezTo>
                  <a:cubicBezTo>
                    <a:pt x="639192" y="566361"/>
                    <a:pt x="541228" y="511751"/>
                    <a:pt x="541228" y="444386"/>
                  </a:cubicBezTo>
                  <a:cubicBezTo>
                    <a:pt x="541228" y="377021"/>
                    <a:pt x="639192" y="322411"/>
                    <a:pt x="760036" y="322411"/>
                  </a:cubicBezTo>
                  <a:close/>
                  <a:moveTo>
                    <a:pt x="0" y="209552"/>
                  </a:moveTo>
                  <a:lnTo>
                    <a:pt x="5927" y="215739"/>
                  </a:lnTo>
                  <a:cubicBezTo>
                    <a:pt x="46994" y="253762"/>
                    <a:pt x="127089" y="279574"/>
                    <a:pt x="219171" y="279574"/>
                  </a:cubicBezTo>
                  <a:cubicBezTo>
                    <a:pt x="311253" y="279574"/>
                    <a:pt x="391348" y="253762"/>
                    <a:pt x="432415" y="215739"/>
                  </a:cubicBezTo>
                  <a:lnTo>
                    <a:pt x="438342" y="209552"/>
                  </a:lnTo>
                  <a:lnTo>
                    <a:pt x="438342" y="454580"/>
                  </a:lnTo>
                  <a:lnTo>
                    <a:pt x="438342" y="454583"/>
                  </a:lnTo>
                  <a:cubicBezTo>
                    <a:pt x="438342" y="515463"/>
                    <a:pt x="340216" y="564817"/>
                    <a:pt x="219171" y="564817"/>
                  </a:cubicBezTo>
                  <a:cubicBezTo>
                    <a:pt x="98126" y="564817"/>
                    <a:pt x="0" y="515463"/>
                    <a:pt x="0" y="454583"/>
                  </a:cubicBezTo>
                  <a:lnTo>
                    <a:pt x="0" y="454582"/>
                  </a:lnTo>
                  <a:close/>
                  <a:moveTo>
                    <a:pt x="218808" y="0"/>
                  </a:moveTo>
                  <a:cubicBezTo>
                    <a:pt x="339652" y="0"/>
                    <a:pt x="437616" y="54610"/>
                    <a:pt x="437616" y="121975"/>
                  </a:cubicBezTo>
                  <a:cubicBezTo>
                    <a:pt x="437616" y="189340"/>
                    <a:pt x="339652" y="243950"/>
                    <a:pt x="218808" y="243950"/>
                  </a:cubicBezTo>
                  <a:cubicBezTo>
                    <a:pt x="97964" y="243950"/>
                    <a:pt x="0" y="189340"/>
                    <a:pt x="0" y="121975"/>
                  </a:cubicBezTo>
                  <a:cubicBezTo>
                    <a:pt x="0" y="54610"/>
                    <a:pt x="97964" y="0"/>
                    <a:pt x="218808"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8" tIns="109719" rIns="137148" bIns="109719" numCol="1" spcCol="0" rtlCol="0" fromWordArt="0" anchor="t" anchorCtr="0" forceAA="0" compatLnSpc="1">
              <a:prstTxWarp prst="textNoShape">
                <a:avLst/>
              </a:prstTxWarp>
              <a:noAutofit/>
            </a:bodyPr>
            <a:lstStyle/>
            <a:p>
              <a:pPr algn="ctr" defTabSz="699261" fontAlgn="base">
                <a:lnSpc>
                  <a:spcPct val="90000"/>
                </a:lnSpc>
                <a:spcBef>
                  <a:spcPct val="0"/>
                </a:spcBef>
                <a:spcAft>
                  <a:spcPct val="0"/>
                </a:spcAft>
              </a:pPr>
              <a:endParaRPr lang="en-US">
                <a:gradFill>
                  <a:gsLst>
                    <a:gs pos="0">
                      <a:srgbClr val="FFFFFF"/>
                    </a:gs>
                    <a:gs pos="100000">
                      <a:srgbClr val="FFFFFF"/>
                    </a:gs>
                  </a:gsLst>
                  <a:lin ang="5400000" scaled="0"/>
                </a:gradFill>
                <a:ea typeface="Segoe UI" pitchFamily="34" charset="0"/>
                <a:cs typeface="Segoe UI" pitchFamily="34" charset="0"/>
              </a:endParaRPr>
            </a:p>
          </p:txBody>
        </p:sp>
      </p:grpSp>
      <p:grpSp>
        <p:nvGrpSpPr>
          <p:cNvPr id="63" name="Group 62"/>
          <p:cNvGrpSpPr>
            <a:grpSpLocks noChangeAspect="1"/>
          </p:cNvGrpSpPr>
          <p:nvPr/>
        </p:nvGrpSpPr>
        <p:grpSpPr>
          <a:xfrm>
            <a:off x="197042" y="2842214"/>
            <a:ext cx="457200" cy="457200"/>
            <a:chOff x="719415" y="3138080"/>
            <a:chExt cx="640080" cy="640080"/>
          </a:xfrm>
        </p:grpSpPr>
        <p:pic>
          <p:nvPicPr>
            <p:cNvPr id="64" name="Picture 6" descr="\\MAGNUM\Projects\Microsoft\Cloud Power FY12\Design\ICONS_PNG\Cloud.png"/>
            <p:cNvPicPr>
              <a:picLocks noChangeAspect="1" noChangeArrowheads="1"/>
            </p:cNvPicPr>
            <p:nvPr/>
          </p:nvPicPr>
          <p:blipFill>
            <a:blip r:embed="rId3" cstate="print">
              <a:biLevel thresh="75000"/>
            </a:blip>
            <a:srcRect/>
            <a:stretch>
              <a:fillRect/>
            </a:stretch>
          </p:blipFill>
          <p:spPr bwMode="auto">
            <a:xfrm>
              <a:off x="719415" y="3138080"/>
              <a:ext cx="640080" cy="640080"/>
            </a:xfrm>
            <a:prstGeom prst="rect">
              <a:avLst/>
            </a:prstGeom>
            <a:noFill/>
          </p:spPr>
        </p:pic>
        <p:pic>
          <p:nvPicPr>
            <p:cNvPr id="68" name="Picture 67"/>
            <p:cNvPicPr>
              <a:picLocks noChangeAspect="1"/>
            </p:cNvPicPr>
            <p:nvPr/>
          </p:nvPicPr>
          <p:blipFill>
            <a:blip r:embed="rId4"/>
            <a:stretch>
              <a:fillRect/>
            </a:stretch>
          </p:blipFill>
          <p:spPr>
            <a:xfrm flipH="1">
              <a:off x="975955" y="3370303"/>
              <a:ext cx="127000" cy="175846"/>
            </a:xfrm>
            <a:prstGeom prst="rect">
              <a:avLst/>
            </a:prstGeom>
          </p:spPr>
        </p:pic>
      </p:grpSp>
      <p:sp>
        <p:nvSpPr>
          <p:cNvPr id="69" name="Freeform 122"/>
          <p:cNvSpPr>
            <a:spLocks noChangeAspect="1"/>
          </p:cNvSpPr>
          <p:nvPr/>
        </p:nvSpPr>
        <p:spPr bwMode="black">
          <a:xfrm>
            <a:off x="266989" y="4843626"/>
            <a:ext cx="317305" cy="320040"/>
          </a:xfrm>
          <a:custGeom>
            <a:avLst/>
            <a:gdLst>
              <a:gd name="T0" fmla="*/ 61 w 70"/>
              <a:gd name="T1" fmla="*/ 11 h 71"/>
              <a:gd name="T2" fmla="*/ 60 w 70"/>
              <a:gd name="T3" fmla="*/ 11 h 71"/>
              <a:gd name="T4" fmla="*/ 53 w 70"/>
              <a:gd name="T5" fmla="*/ 18 h 71"/>
              <a:gd name="T6" fmla="*/ 53 w 70"/>
              <a:gd name="T7" fmla="*/ 19 h 71"/>
              <a:gd name="T8" fmla="*/ 53 w 70"/>
              <a:gd name="T9" fmla="*/ 19 h 71"/>
              <a:gd name="T10" fmla="*/ 60 w 70"/>
              <a:gd name="T11" fmla="*/ 35 h 71"/>
              <a:gd name="T12" fmla="*/ 35 w 70"/>
              <a:gd name="T13" fmla="*/ 60 h 71"/>
              <a:gd name="T14" fmla="*/ 10 w 70"/>
              <a:gd name="T15" fmla="*/ 36 h 71"/>
              <a:gd name="T16" fmla="*/ 16 w 70"/>
              <a:gd name="T17" fmla="*/ 21 h 71"/>
              <a:gd name="T18" fmla="*/ 18 w 70"/>
              <a:gd name="T19" fmla="*/ 18 h 71"/>
              <a:gd name="T20" fmla="*/ 25 w 70"/>
              <a:gd name="T21" fmla="*/ 26 h 71"/>
              <a:gd name="T22" fmla="*/ 30 w 70"/>
              <a:gd name="T23" fmla="*/ 0 h 71"/>
              <a:gd name="T24" fmla="*/ 4 w 70"/>
              <a:gd name="T25" fmla="*/ 2 h 71"/>
              <a:gd name="T26" fmla="*/ 11 w 70"/>
              <a:gd name="T27" fmla="*/ 10 h 71"/>
              <a:gd name="T28" fmla="*/ 9 w 70"/>
              <a:gd name="T29" fmla="*/ 12 h 71"/>
              <a:gd name="T30" fmla="*/ 0 w 70"/>
              <a:gd name="T31" fmla="*/ 36 h 71"/>
              <a:gd name="T32" fmla="*/ 35 w 70"/>
              <a:gd name="T33" fmla="*/ 71 h 71"/>
              <a:gd name="T34" fmla="*/ 35 w 70"/>
              <a:gd name="T35" fmla="*/ 71 h 71"/>
              <a:gd name="T36" fmla="*/ 70 w 70"/>
              <a:gd name="T37" fmla="*/ 35 h 71"/>
              <a:gd name="T38" fmla="*/ 61 w 70"/>
              <a:gd name="T39" fmla="*/ 1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0" h="71">
                <a:moveTo>
                  <a:pt x="61" y="11"/>
                </a:moveTo>
                <a:cubicBezTo>
                  <a:pt x="60" y="11"/>
                  <a:pt x="60" y="11"/>
                  <a:pt x="60" y="11"/>
                </a:cubicBezTo>
                <a:cubicBezTo>
                  <a:pt x="53" y="18"/>
                  <a:pt x="53" y="18"/>
                  <a:pt x="53" y="18"/>
                </a:cubicBezTo>
                <a:cubicBezTo>
                  <a:pt x="53" y="19"/>
                  <a:pt x="53" y="19"/>
                  <a:pt x="53" y="19"/>
                </a:cubicBezTo>
                <a:cubicBezTo>
                  <a:pt x="53" y="19"/>
                  <a:pt x="53" y="19"/>
                  <a:pt x="53" y="19"/>
                </a:cubicBezTo>
                <a:cubicBezTo>
                  <a:pt x="57" y="23"/>
                  <a:pt x="60" y="29"/>
                  <a:pt x="60" y="35"/>
                </a:cubicBezTo>
                <a:cubicBezTo>
                  <a:pt x="60" y="49"/>
                  <a:pt x="49" y="60"/>
                  <a:pt x="35" y="60"/>
                </a:cubicBezTo>
                <a:cubicBezTo>
                  <a:pt x="22" y="60"/>
                  <a:pt x="11" y="49"/>
                  <a:pt x="10" y="36"/>
                </a:cubicBezTo>
                <a:cubicBezTo>
                  <a:pt x="10" y="30"/>
                  <a:pt x="12" y="25"/>
                  <a:pt x="16" y="21"/>
                </a:cubicBezTo>
                <a:cubicBezTo>
                  <a:pt x="18" y="18"/>
                  <a:pt x="18" y="18"/>
                  <a:pt x="18" y="18"/>
                </a:cubicBezTo>
                <a:cubicBezTo>
                  <a:pt x="25" y="26"/>
                  <a:pt x="25" y="26"/>
                  <a:pt x="25" y="26"/>
                </a:cubicBezTo>
                <a:cubicBezTo>
                  <a:pt x="30" y="0"/>
                  <a:pt x="30" y="0"/>
                  <a:pt x="30" y="0"/>
                </a:cubicBezTo>
                <a:cubicBezTo>
                  <a:pt x="4" y="2"/>
                  <a:pt x="4" y="2"/>
                  <a:pt x="4" y="2"/>
                </a:cubicBezTo>
                <a:cubicBezTo>
                  <a:pt x="11" y="10"/>
                  <a:pt x="11" y="10"/>
                  <a:pt x="11" y="10"/>
                </a:cubicBezTo>
                <a:cubicBezTo>
                  <a:pt x="9" y="12"/>
                  <a:pt x="9" y="12"/>
                  <a:pt x="9" y="12"/>
                </a:cubicBezTo>
                <a:cubicBezTo>
                  <a:pt x="3" y="19"/>
                  <a:pt x="0" y="27"/>
                  <a:pt x="0" y="36"/>
                </a:cubicBezTo>
                <a:cubicBezTo>
                  <a:pt x="0" y="55"/>
                  <a:pt x="16" y="71"/>
                  <a:pt x="35" y="71"/>
                </a:cubicBezTo>
                <a:cubicBezTo>
                  <a:pt x="35" y="71"/>
                  <a:pt x="35" y="71"/>
                  <a:pt x="35" y="71"/>
                </a:cubicBezTo>
                <a:cubicBezTo>
                  <a:pt x="55" y="71"/>
                  <a:pt x="70" y="55"/>
                  <a:pt x="70" y="35"/>
                </a:cubicBezTo>
                <a:cubicBezTo>
                  <a:pt x="70" y="26"/>
                  <a:pt x="67" y="18"/>
                  <a:pt x="61" y="11"/>
                </a:cubicBezTo>
              </a:path>
            </a:pathLst>
          </a:custGeom>
          <a:solidFill>
            <a:schemeClr val="tx1"/>
          </a:solidFill>
          <a:ln>
            <a:noFill/>
          </a:ln>
        </p:spPr>
        <p:txBody>
          <a:bodyPr vert="horz" wrap="square" lIns="69953" tIns="34976" rIns="69953" bIns="34976" numCol="1" anchor="t" anchorCtr="0" compatLnSpc="1">
            <a:prstTxWarp prst="textNoShape">
              <a:avLst/>
            </a:prstTxWarp>
          </a:bodyPr>
          <a:lstStyle/>
          <a:p>
            <a:endParaRPr lang="en-US" sz="1350">
              <a:solidFill>
                <a:srgbClr val="000000"/>
              </a:solidFill>
            </a:endParaRPr>
          </a:p>
        </p:txBody>
      </p:sp>
      <p:sp>
        <p:nvSpPr>
          <p:cNvPr id="70" name="Freeform 21"/>
          <p:cNvSpPr>
            <a:spLocks noChangeAspect="1" noEditPoints="1"/>
          </p:cNvSpPr>
          <p:nvPr/>
        </p:nvSpPr>
        <p:spPr bwMode="black">
          <a:xfrm>
            <a:off x="242762" y="3875709"/>
            <a:ext cx="365760" cy="318790"/>
          </a:xfrm>
          <a:custGeom>
            <a:avLst/>
            <a:gdLst>
              <a:gd name="T0" fmla="*/ 1220 w 1220"/>
              <a:gd name="T1" fmla="*/ 204 h 1063"/>
              <a:gd name="T2" fmla="*/ 1096 w 1220"/>
              <a:gd name="T3" fmla="*/ 79 h 1063"/>
              <a:gd name="T4" fmla="*/ 978 w 1220"/>
              <a:gd name="T5" fmla="*/ 164 h 1063"/>
              <a:gd name="T6" fmla="*/ 589 w 1220"/>
              <a:gd name="T7" fmla="*/ 115 h 1063"/>
              <a:gd name="T8" fmla="*/ 465 w 1220"/>
              <a:gd name="T9" fmla="*/ 0 h 1063"/>
              <a:gd name="T10" fmla="*/ 340 w 1220"/>
              <a:gd name="T11" fmla="*/ 124 h 1063"/>
              <a:gd name="T12" fmla="*/ 370 w 1220"/>
              <a:gd name="T13" fmla="*/ 205 h 1063"/>
              <a:gd name="T14" fmla="*/ 180 w 1220"/>
              <a:gd name="T15" fmla="*/ 453 h 1063"/>
              <a:gd name="T16" fmla="*/ 125 w 1220"/>
              <a:gd name="T17" fmla="*/ 440 h 1063"/>
              <a:gd name="T18" fmla="*/ 0 w 1220"/>
              <a:gd name="T19" fmla="*/ 564 h 1063"/>
              <a:gd name="T20" fmla="*/ 125 w 1220"/>
              <a:gd name="T21" fmla="*/ 689 h 1063"/>
              <a:gd name="T22" fmla="*/ 197 w 1220"/>
              <a:gd name="T23" fmla="*/ 666 h 1063"/>
              <a:gd name="T24" fmla="*/ 416 w 1220"/>
              <a:gd name="T25" fmla="*/ 872 h 1063"/>
              <a:gd name="T26" fmla="*/ 397 w 1220"/>
              <a:gd name="T27" fmla="*/ 938 h 1063"/>
              <a:gd name="T28" fmla="*/ 521 w 1220"/>
              <a:gd name="T29" fmla="*/ 1063 h 1063"/>
              <a:gd name="T30" fmla="*/ 646 w 1220"/>
              <a:gd name="T31" fmla="*/ 938 h 1063"/>
              <a:gd name="T32" fmla="*/ 642 w 1220"/>
              <a:gd name="T33" fmla="*/ 908 h 1063"/>
              <a:gd name="T34" fmla="*/ 948 w 1220"/>
              <a:gd name="T35" fmla="*/ 763 h 1063"/>
              <a:gd name="T36" fmla="*/ 1048 w 1220"/>
              <a:gd name="T37" fmla="*/ 814 h 1063"/>
              <a:gd name="T38" fmla="*/ 1173 w 1220"/>
              <a:gd name="T39" fmla="*/ 689 h 1063"/>
              <a:gd name="T40" fmla="*/ 1084 w 1220"/>
              <a:gd name="T41" fmla="*/ 570 h 1063"/>
              <a:gd name="T42" fmla="*/ 1108 w 1220"/>
              <a:gd name="T43" fmla="*/ 327 h 1063"/>
              <a:gd name="T44" fmla="*/ 1220 w 1220"/>
              <a:gd name="T45" fmla="*/ 204 h 1063"/>
              <a:gd name="T46" fmla="*/ 521 w 1220"/>
              <a:gd name="T47" fmla="*/ 594 h 1063"/>
              <a:gd name="T48" fmla="*/ 493 w 1220"/>
              <a:gd name="T49" fmla="*/ 245 h 1063"/>
              <a:gd name="T50" fmla="*/ 535 w 1220"/>
              <a:gd name="T51" fmla="*/ 226 h 1063"/>
              <a:gd name="T52" fmla="*/ 944 w 1220"/>
              <a:gd name="T53" fmla="*/ 621 h 1063"/>
              <a:gd name="T54" fmla="*/ 930 w 1220"/>
              <a:gd name="T55" fmla="*/ 649 h 1063"/>
              <a:gd name="T56" fmla="*/ 521 w 1220"/>
              <a:gd name="T57" fmla="*/ 594 h 1063"/>
              <a:gd name="T58" fmla="*/ 490 w 1220"/>
              <a:gd name="T59" fmla="*/ 818 h 1063"/>
              <a:gd name="T60" fmla="*/ 449 w 1220"/>
              <a:gd name="T61" fmla="*/ 837 h 1063"/>
              <a:gd name="T62" fmla="*/ 230 w 1220"/>
              <a:gd name="T63" fmla="*/ 631 h 1063"/>
              <a:gd name="T64" fmla="*/ 242 w 1220"/>
              <a:gd name="T65" fmla="*/ 605 h 1063"/>
              <a:gd name="T66" fmla="*/ 476 w 1220"/>
              <a:gd name="T67" fmla="*/ 636 h 1063"/>
              <a:gd name="T68" fmla="*/ 490 w 1220"/>
              <a:gd name="T69" fmla="*/ 818 h 1063"/>
              <a:gd name="T70" fmla="*/ 249 w 1220"/>
              <a:gd name="T71" fmla="*/ 558 h 1063"/>
              <a:gd name="T72" fmla="*/ 218 w 1220"/>
              <a:gd name="T73" fmla="*/ 482 h 1063"/>
              <a:gd name="T74" fmla="*/ 408 w 1220"/>
              <a:gd name="T75" fmla="*/ 235 h 1063"/>
              <a:gd name="T76" fmla="*/ 445 w 1220"/>
              <a:gd name="T77" fmla="*/ 247 h 1063"/>
              <a:gd name="T78" fmla="*/ 472 w 1220"/>
              <a:gd name="T79" fmla="*/ 587 h 1063"/>
              <a:gd name="T80" fmla="*/ 249 w 1220"/>
              <a:gd name="T81" fmla="*/ 558 h 1063"/>
              <a:gd name="T82" fmla="*/ 977 w 1220"/>
              <a:gd name="T83" fmla="*/ 587 h 1063"/>
              <a:gd name="T84" fmla="*/ 569 w 1220"/>
              <a:gd name="T85" fmla="*/ 192 h 1063"/>
              <a:gd name="T86" fmla="*/ 583 w 1220"/>
              <a:gd name="T87" fmla="*/ 163 h 1063"/>
              <a:gd name="T88" fmla="*/ 972 w 1220"/>
              <a:gd name="T89" fmla="*/ 212 h 1063"/>
              <a:gd name="T90" fmla="*/ 1060 w 1220"/>
              <a:gd name="T91" fmla="*/ 323 h 1063"/>
              <a:gd name="T92" fmla="*/ 1036 w 1220"/>
              <a:gd name="T93" fmla="*/ 566 h 1063"/>
              <a:gd name="T94" fmla="*/ 977 w 1220"/>
              <a:gd name="T95" fmla="*/ 587 h 1063"/>
              <a:gd name="T96" fmla="*/ 621 w 1220"/>
              <a:gd name="T97" fmla="*/ 864 h 1063"/>
              <a:gd name="T98" fmla="*/ 538 w 1220"/>
              <a:gd name="T99" fmla="*/ 815 h 1063"/>
              <a:gd name="T100" fmla="*/ 524 w 1220"/>
              <a:gd name="T101" fmla="*/ 643 h 1063"/>
              <a:gd name="T102" fmla="*/ 924 w 1220"/>
              <a:gd name="T103" fmla="*/ 696 h 1063"/>
              <a:gd name="T104" fmla="*/ 927 w 1220"/>
              <a:gd name="T105" fmla="*/ 720 h 1063"/>
              <a:gd name="T106" fmla="*/ 621 w 1220"/>
              <a:gd name="T107" fmla="*/ 864 h 10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220" h="1063">
                <a:moveTo>
                  <a:pt x="1220" y="204"/>
                </a:moveTo>
                <a:cubicBezTo>
                  <a:pt x="1220" y="135"/>
                  <a:pt x="1164" y="79"/>
                  <a:pt x="1096" y="79"/>
                </a:cubicBezTo>
                <a:cubicBezTo>
                  <a:pt x="1041" y="79"/>
                  <a:pt x="994" y="115"/>
                  <a:pt x="978" y="164"/>
                </a:cubicBezTo>
                <a:cubicBezTo>
                  <a:pt x="589" y="115"/>
                  <a:pt x="589" y="115"/>
                  <a:pt x="589" y="115"/>
                </a:cubicBezTo>
                <a:cubicBezTo>
                  <a:pt x="584" y="51"/>
                  <a:pt x="530" y="0"/>
                  <a:pt x="465" y="0"/>
                </a:cubicBezTo>
                <a:cubicBezTo>
                  <a:pt x="396" y="0"/>
                  <a:pt x="340" y="55"/>
                  <a:pt x="340" y="124"/>
                </a:cubicBezTo>
                <a:cubicBezTo>
                  <a:pt x="340" y="155"/>
                  <a:pt x="352" y="183"/>
                  <a:pt x="370" y="205"/>
                </a:cubicBezTo>
                <a:cubicBezTo>
                  <a:pt x="180" y="453"/>
                  <a:pt x="180" y="453"/>
                  <a:pt x="180" y="453"/>
                </a:cubicBezTo>
                <a:cubicBezTo>
                  <a:pt x="163" y="445"/>
                  <a:pt x="145" y="440"/>
                  <a:pt x="125" y="440"/>
                </a:cubicBezTo>
                <a:cubicBezTo>
                  <a:pt x="56" y="440"/>
                  <a:pt x="0" y="496"/>
                  <a:pt x="0" y="564"/>
                </a:cubicBezTo>
                <a:cubicBezTo>
                  <a:pt x="0" y="633"/>
                  <a:pt x="56" y="689"/>
                  <a:pt x="125" y="689"/>
                </a:cubicBezTo>
                <a:cubicBezTo>
                  <a:pt x="152" y="689"/>
                  <a:pt x="177" y="680"/>
                  <a:pt x="197" y="666"/>
                </a:cubicBezTo>
                <a:cubicBezTo>
                  <a:pt x="416" y="872"/>
                  <a:pt x="416" y="872"/>
                  <a:pt x="416" y="872"/>
                </a:cubicBezTo>
                <a:cubicBezTo>
                  <a:pt x="404" y="891"/>
                  <a:pt x="397" y="914"/>
                  <a:pt x="397" y="938"/>
                </a:cubicBezTo>
                <a:cubicBezTo>
                  <a:pt x="397" y="1007"/>
                  <a:pt x="453" y="1063"/>
                  <a:pt x="521" y="1063"/>
                </a:cubicBezTo>
                <a:cubicBezTo>
                  <a:pt x="590" y="1063"/>
                  <a:pt x="646" y="1007"/>
                  <a:pt x="646" y="938"/>
                </a:cubicBezTo>
                <a:cubicBezTo>
                  <a:pt x="646" y="928"/>
                  <a:pt x="644" y="918"/>
                  <a:pt x="642" y="908"/>
                </a:cubicBezTo>
                <a:cubicBezTo>
                  <a:pt x="948" y="763"/>
                  <a:pt x="948" y="763"/>
                  <a:pt x="948" y="763"/>
                </a:cubicBezTo>
                <a:cubicBezTo>
                  <a:pt x="970" y="794"/>
                  <a:pt x="1007" y="814"/>
                  <a:pt x="1048" y="814"/>
                </a:cubicBezTo>
                <a:cubicBezTo>
                  <a:pt x="1117" y="814"/>
                  <a:pt x="1173" y="758"/>
                  <a:pt x="1173" y="689"/>
                </a:cubicBezTo>
                <a:cubicBezTo>
                  <a:pt x="1173" y="633"/>
                  <a:pt x="1135" y="586"/>
                  <a:pt x="1084" y="570"/>
                </a:cubicBezTo>
                <a:cubicBezTo>
                  <a:pt x="1108" y="327"/>
                  <a:pt x="1108" y="327"/>
                  <a:pt x="1108" y="327"/>
                </a:cubicBezTo>
                <a:cubicBezTo>
                  <a:pt x="1171" y="321"/>
                  <a:pt x="1220" y="268"/>
                  <a:pt x="1220" y="204"/>
                </a:cubicBezTo>
                <a:close/>
                <a:moveTo>
                  <a:pt x="521" y="594"/>
                </a:moveTo>
                <a:cubicBezTo>
                  <a:pt x="493" y="245"/>
                  <a:pt x="493" y="245"/>
                  <a:pt x="493" y="245"/>
                </a:cubicBezTo>
                <a:cubicBezTo>
                  <a:pt x="509" y="241"/>
                  <a:pt x="523" y="235"/>
                  <a:pt x="535" y="226"/>
                </a:cubicBezTo>
                <a:cubicBezTo>
                  <a:pt x="944" y="621"/>
                  <a:pt x="944" y="621"/>
                  <a:pt x="944" y="621"/>
                </a:cubicBezTo>
                <a:cubicBezTo>
                  <a:pt x="938" y="630"/>
                  <a:pt x="934" y="639"/>
                  <a:pt x="930" y="649"/>
                </a:cubicBezTo>
                <a:lnTo>
                  <a:pt x="521" y="594"/>
                </a:lnTo>
                <a:close/>
                <a:moveTo>
                  <a:pt x="490" y="818"/>
                </a:moveTo>
                <a:cubicBezTo>
                  <a:pt x="475" y="822"/>
                  <a:pt x="461" y="828"/>
                  <a:pt x="449" y="837"/>
                </a:cubicBezTo>
                <a:cubicBezTo>
                  <a:pt x="230" y="631"/>
                  <a:pt x="230" y="631"/>
                  <a:pt x="230" y="631"/>
                </a:cubicBezTo>
                <a:cubicBezTo>
                  <a:pt x="235" y="623"/>
                  <a:pt x="239" y="614"/>
                  <a:pt x="242" y="605"/>
                </a:cubicBezTo>
                <a:cubicBezTo>
                  <a:pt x="476" y="636"/>
                  <a:pt x="476" y="636"/>
                  <a:pt x="476" y="636"/>
                </a:cubicBezTo>
                <a:lnTo>
                  <a:pt x="490" y="818"/>
                </a:lnTo>
                <a:close/>
                <a:moveTo>
                  <a:pt x="249" y="558"/>
                </a:moveTo>
                <a:cubicBezTo>
                  <a:pt x="247" y="529"/>
                  <a:pt x="236" y="502"/>
                  <a:pt x="218" y="482"/>
                </a:cubicBezTo>
                <a:cubicBezTo>
                  <a:pt x="408" y="235"/>
                  <a:pt x="408" y="235"/>
                  <a:pt x="408" y="235"/>
                </a:cubicBezTo>
                <a:cubicBezTo>
                  <a:pt x="420" y="241"/>
                  <a:pt x="432" y="245"/>
                  <a:pt x="445" y="247"/>
                </a:cubicBezTo>
                <a:cubicBezTo>
                  <a:pt x="472" y="587"/>
                  <a:pt x="472" y="587"/>
                  <a:pt x="472" y="587"/>
                </a:cubicBezTo>
                <a:lnTo>
                  <a:pt x="249" y="558"/>
                </a:lnTo>
                <a:close/>
                <a:moveTo>
                  <a:pt x="977" y="587"/>
                </a:moveTo>
                <a:cubicBezTo>
                  <a:pt x="569" y="192"/>
                  <a:pt x="569" y="192"/>
                  <a:pt x="569" y="192"/>
                </a:cubicBezTo>
                <a:cubicBezTo>
                  <a:pt x="575" y="183"/>
                  <a:pt x="579" y="173"/>
                  <a:pt x="583" y="163"/>
                </a:cubicBezTo>
                <a:cubicBezTo>
                  <a:pt x="972" y="212"/>
                  <a:pt x="972" y="212"/>
                  <a:pt x="972" y="212"/>
                </a:cubicBezTo>
                <a:cubicBezTo>
                  <a:pt x="975" y="265"/>
                  <a:pt x="1011" y="308"/>
                  <a:pt x="1060" y="323"/>
                </a:cubicBezTo>
                <a:cubicBezTo>
                  <a:pt x="1036" y="566"/>
                  <a:pt x="1036" y="566"/>
                  <a:pt x="1036" y="566"/>
                </a:cubicBezTo>
                <a:cubicBezTo>
                  <a:pt x="1015" y="568"/>
                  <a:pt x="994" y="575"/>
                  <a:pt x="977" y="587"/>
                </a:cubicBezTo>
                <a:close/>
                <a:moveTo>
                  <a:pt x="621" y="864"/>
                </a:moveTo>
                <a:cubicBezTo>
                  <a:pt x="602" y="838"/>
                  <a:pt x="572" y="819"/>
                  <a:pt x="538" y="815"/>
                </a:cubicBezTo>
                <a:cubicBezTo>
                  <a:pt x="524" y="643"/>
                  <a:pt x="524" y="643"/>
                  <a:pt x="524" y="643"/>
                </a:cubicBezTo>
                <a:cubicBezTo>
                  <a:pt x="924" y="696"/>
                  <a:pt x="924" y="696"/>
                  <a:pt x="924" y="696"/>
                </a:cubicBezTo>
                <a:cubicBezTo>
                  <a:pt x="924" y="704"/>
                  <a:pt x="925" y="712"/>
                  <a:pt x="927" y="720"/>
                </a:cubicBezTo>
                <a:lnTo>
                  <a:pt x="621" y="864"/>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1177" tIns="56942" rIns="71177" bIns="56942" numCol="1" spcCol="0" rtlCol="0" fromWordArt="0" anchor="t" anchorCtr="0" forceAA="0" compatLnSpc="1">
            <a:prstTxWarp prst="textNoShape">
              <a:avLst/>
            </a:prstTxWarp>
            <a:noAutofit/>
          </a:bodyPr>
          <a:lstStyle/>
          <a:p>
            <a:pPr algn="ctr" defTabSz="362895" fontAlgn="base">
              <a:lnSpc>
                <a:spcPct val="90000"/>
              </a:lnSpc>
              <a:spcBef>
                <a:spcPct val="0"/>
              </a:spcBef>
              <a:spcAft>
                <a:spcPct val="0"/>
              </a:spcAft>
            </a:pPr>
            <a:endParaRPr lang="en-US" sz="934">
              <a:gradFill>
                <a:gsLst>
                  <a:gs pos="0">
                    <a:srgbClr val="FFFFFF"/>
                  </a:gs>
                  <a:gs pos="100000">
                    <a:srgbClr val="FFFFFF"/>
                  </a:gs>
                </a:gsLst>
                <a:lin ang="5400000" scaled="0"/>
              </a:gradFill>
              <a:ea typeface="Segoe UI" pitchFamily="34" charset="0"/>
              <a:cs typeface="Segoe UI" pitchFamily="34" charset="0"/>
            </a:endParaRPr>
          </a:p>
        </p:txBody>
      </p:sp>
      <p:sp>
        <p:nvSpPr>
          <p:cNvPr id="71" name="Freeform 70"/>
          <p:cNvSpPr>
            <a:spLocks noChangeAspect="1"/>
          </p:cNvSpPr>
          <p:nvPr/>
        </p:nvSpPr>
        <p:spPr bwMode="black">
          <a:xfrm>
            <a:off x="242762" y="5803220"/>
            <a:ext cx="365760" cy="320928"/>
          </a:xfrm>
          <a:custGeom>
            <a:avLst/>
            <a:gdLst/>
            <a:ahLst/>
            <a:cxnLst/>
            <a:rect l="l" t="t" r="r" b="b"/>
            <a:pathLst>
              <a:path w="4740335" h="4048081">
                <a:moveTo>
                  <a:pt x="3683614" y="1098549"/>
                </a:moveTo>
                <a:cubicBezTo>
                  <a:pt x="3683654" y="1098549"/>
                  <a:pt x="3689354" y="1098549"/>
                  <a:pt x="4502870" y="1098549"/>
                </a:cubicBezTo>
                <a:cubicBezTo>
                  <a:pt x="4633477" y="1098549"/>
                  <a:pt x="4740335" y="1205183"/>
                  <a:pt x="4740335" y="1335514"/>
                </a:cubicBezTo>
                <a:cubicBezTo>
                  <a:pt x="4740335" y="1335569"/>
                  <a:pt x="4740335" y="1343335"/>
                  <a:pt x="4740335" y="2449249"/>
                </a:cubicBezTo>
                <a:cubicBezTo>
                  <a:pt x="4740335" y="2579580"/>
                  <a:pt x="4633477" y="2686214"/>
                  <a:pt x="4502870" y="2686214"/>
                </a:cubicBezTo>
                <a:cubicBezTo>
                  <a:pt x="4502870" y="2686253"/>
                  <a:pt x="4502870" y="2691777"/>
                  <a:pt x="4502870" y="3480046"/>
                </a:cubicBezTo>
                <a:cubicBezTo>
                  <a:pt x="4502870" y="3610377"/>
                  <a:pt x="4396011" y="3717011"/>
                  <a:pt x="4265405" y="3717011"/>
                </a:cubicBezTo>
                <a:cubicBezTo>
                  <a:pt x="4265376" y="3717011"/>
                  <a:pt x="4262133" y="3717011"/>
                  <a:pt x="3909206" y="3717011"/>
                </a:cubicBezTo>
                <a:cubicBezTo>
                  <a:pt x="3790473" y="3717011"/>
                  <a:pt x="3683614" y="3610377"/>
                  <a:pt x="3683614" y="3480046"/>
                </a:cubicBezTo>
                <a:cubicBezTo>
                  <a:pt x="3683614" y="3480010"/>
                  <a:pt x="3683614" y="3474701"/>
                  <a:pt x="3683614" y="2686214"/>
                </a:cubicBezTo>
                <a:cubicBezTo>
                  <a:pt x="3553008" y="2686214"/>
                  <a:pt x="3446148" y="2579580"/>
                  <a:pt x="3446148" y="2449249"/>
                </a:cubicBezTo>
                <a:cubicBezTo>
                  <a:pt x="3446148" y="2449192"/>
                  <a:pt x="3446148" y="2441288"/>
                  <a:pt x="3446148" y="1335514"/>
                </a:cubicBezTo>
                <a:cubicBezTo>
                  <a:pt x="3446148" y="1205183"/>
                  <a:pt x="3553008" y="1098549"/>
                  <a:pt x="3683614" y="1098549"/>
                </a:cubicBezTo>
                <a:close/>
                <a:moveTo>
                  <a:pt x="236546" y="1098549"/>
                </a:moveTo>
                <a:cubicBezTo>
                  <a:pt x="236570" y="1098549"/>
                  <a:pt x="240947" y="1098549"/>
                  <a:pt x="1052628" y="1098549"/>
                </a:cubicBezTo>
                <a:cubicBezTo>
                  <a:pt x="1182728" y="1098549"/>
                  <a:pt x="1289174" y="1205183"/>
                  <a:pt x="1289174" y="1335514"/>
                </a:cubicBezTo>
                <a:cubicBezTo>
                  <a:pt x="1289174" y="1335532"/>
                  <a:pt x="1289174" y="1340039"/>
                  <a:pt x="1289174" y="2449249"/>
                </a:cubicBezTo>
                <a:cubicBezTo>
                  <a:pt x="1289174" y="2579580"/>
                  <a:pt x="1182728" y="2686214"/>
                  <a:pt x="1052628" y="2686214"/>
                </a:cubicBezTo>
                <a:cubicBezTo>
                  <a:pt x="1052628" y="2686235"/>
                  <a:pt x="1052628" y="2690268"/>
                  <a:pt x="1052628" y="3480046"/>
                </a:cubicBezTo>
                <a:cubicBezTo>
                  <a:pt x="1052628" y="3610377"/>
                  <a:pt x="946183" y="3717011"/>
                  <a:pt x="827910" y="3717011"/>
                </a:cubicBezTo>
                <a:cubicBezTo>
                  <a:pt x="827894" y="3717011"/>
                  <a:pt x="825508" y="3717011"/>
                  <a:pt x="473091" y="3717011"/>
                </a:cubicBezTo>
                <a:cubicBezTo>
                  <a:pt x="342991" y="3717011"/>
                  <a:pt x="236546" y="3610377"/>
                  <a:pt x="236546" y="3480046"/>
                </a:cubicBezTo>
                <a:cubicBezTo>
                  <a:pt x="236546" y="3480026"/>
                  <a:pt x="236546" y="3476021"/>
                  <a:pt x="236546" y="2686214"/>
                </a:cubicBezTo>
                <a:cubicBezTo>
                  <a:pt x="106446" y="2686214"/>
                  <a:pt x="0" y="2579580"/>
                  <a:pt x="0" y="2449249"/>
                </a:cubicBezTo>
                <a:cubicBezTo>
                  <a:pt x="0" y="2449230"/>
                  <a:pt x="0" y="2444630"/>
                  <a:pt x="0" y="1335514"/>
                </a:cubicBezTo>
                <a:cubicBezTo>
                  <a:pt x="0" y="1205183"/>
                  <a:pt x="106446" y="1098549"/>
                  <a:pt x="236546" y="1098549"/>
                </a:cubicBezTo>
                <a:close/>
                <a:moveTo>
                  <a:pt x="1895194" y="993211"/>
                </a:moveTo>
                <a:cubicBezTo>
                  <a:pt x="1895245" y="993211"/>
                  <a:pt x="1902161" y="993211"/>
                  <a:pt x="2845141" y="993211"/>
                </a:cubicBezTo>
                <a:cubicBezTo>
                  <a:pt x="2999507" y="993211"/>
                  <a:pt x="3130125" y="1123457"/>
                  <a:pt x="3130125" y="1277385"/>
                </a:cubicBezTo>
                <a:cubicBezTo>
                  <a:pt x="3130125" y="1277420"/>
                  <a:pt x="3130125" y="1284134"/>
                  <a:pt x="3130125" y="2568008"/>
                </a:cubicBezTo>
                <a:cubicBezTo>
                  <a:pt x="3130125" y="2721936"/>
                  <a:pt x="2999507" y="2852182"/>
                  <a:pt x="2845141" y="2852182"/>
                </a:cubicBezTo>
                <a:cubicBezTo>
                  <a:pt x="2845141" y="2852231"/>
                  <a:pt x="2845141" y="2858826"/>
                  <a:pt x="2845141" y="3763907"/>
                </a:cubicBezTo>
                <a:cubicBezTo>
                  <a:pt x="2845141" y="3917835"/>
                  <a:pt x="2726398" y="4048081"/>
                  <a:pt x="2572031" y="4048081"/>
                </a:cubicBezTo>
                <a:cubicBezTo>
                  <a:pt x="2571992" y="4048081"/>
                  <a:pt x="2568051" y="4048081"/>
                  <a:pt x="2168304" y="4048081"/>
                </a:cubicBezTo>
                <a:cubicBezTo>
                  <a:pt x="2013937" y="4048081"/>
                  <a:pt x="1895194" y="3917835"/>
                  <a:pt x="1895194" y="3763907"/>
                </a:cubicBezTo>
                <a:cubicBezTo>
                  <a:pt x="1895194" y="3763858"/>
                  <a:pt x="1895194" y="3757193"/>
                  <a:pt x="1895194" y="2852182"/>
                </a:cubicBezTo>
                <a:cubicBezTo>
                  <a:pt x="1740828" y="2852182"/>
                  <a:pt x="1610210" y="2721936"/>
                  <a:pt x="1610210" y="2568008"/>
                </a:cubicBezTo>
                <a:cubicBezTo>
                  <a:pt x="1610210" y="2567966"/>
                  <a:pt x="1610210" y="2560581"/>
                  <a:pt x="1610210" y="1277385"/>
                </a:cubicBezTo>
                <a:cubicBezTo>
                  <a:pt x="1610210" y="1123457"/>
                  <a:pt x="1740828" y="993211"/>
                  <a:pt x="1895194" y="993211"/>
                </a:cubicBezTo>
                <a:close/>
                <a:moveTo>
                  <a:pt x="4093246" y="245790"/>
                </a:moveTo>
                <a:cubicBezTo>
                  <a:pt x="4306565" y="245790"/>
                  <a:pt x="4479495" y="420965"/>
                  <a:pt x="4479495" y="637055"/>
                </a:cubicBezTo>
                <a:cubicBezTo>
                  <a:pt x="4479495" y="853145"/>
                  <a:pt x="4306565" y="1028320"/>
                  <a:pt x="4093246" y="1028320"/>
                </a:cubicBezTo>
                <a:cubicBezTo>
                  <a:pt x="3879927" y="1028320"/>
                  <a:pt x="3706997" y="853145"/>
                  <a:pt x="3706997" y="637055"/>
                </a:cubicBezTo>
                <a:cubicBezTo>
                  <a:pt x="3706997" y="420965"/>
                  <a:pt x="3879927" y="245790"/>
                  <a:pt x="4093246" y="245790"/>
                </a:cubicBezTo>
                <a:close/>
                <a:moveTo>
                  <a:pt x="644584" y="245790"/>
                </a:moveTo>
                <a:cubicBezTo>
                  <a:pt x="856519" y="245790"/>
                  <a:pt x="1028326" y="420965"/>
                  <a:pt x="1028326" y="637055"/>
                </a:cubicBezTo>
                <a:cubicBezTo>
                  <a:pt x="1028326" y="853145"/>
                  <a:pt x="856519" y="1028320"/>
                  <a:pt x="644584" y="1028320"/>
                </a:cubicBezTo>
                <a:cubicBezTo>
                  <a:pt x="432649" y="1028320"/>
                  <a:pt x="260842" y="853145"/>
                  <a:pt x="260842" y="637055"/>
                </a:cubicBezTo>
                <a:cubicBezTo>
                  <a:pt x="260842" y="420965"/>
                  <a:pt x="432649" y="245790"/>
                  <a:pt x="644584" y="245790"/>
                </a:cubicBezTo>
                <a:close/>
                <a:moveTo>
                  <a:pt x="2367657" y="0"/>
                </a:moveTo>
                <a:cubicBezTo>
                  <a:pt x="2616992" y="0"/>
                  <a:pt x="2819118" y="203249"/>
                  <a:pt x="2819118" y="453969"/>
                </a:cubicBezTo>
                <a:cubicBezTo>
                  <a:pt x="2819118" y="704689"/>
                  <a:pt x="2616992" y="907938"/>
                  <a:pt x="2367657" y="907938"/>
                </a:cubicBezTo>
                <a:cubicBezTo>
                  <a:pt x="2118322" y="907938"/>
                  <a:pt x="1916196" y="704689"/>
                  <a:pt x="1916196" y="453969"/>
                </a:cubicBezTo>
                <a:cubicBezTo>
                  <a:pt x="1916196" y="203249"/>
                  <a:pt x="2118322" y="0"/>
                  <a:pt x="2367657"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37148" tIns="109719" rIns="137148" bIns="109719"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699261" fontAlgn="base">
              <a:lnSpc>
                <a:spcPct val="90000"/>
              </a:lnSpc>
              <a:spcBef>
                <a:spcPct val="0"/>
              </a:spcBef>
              <a:spcAft>
                <a:spcPct val="0"/>
              </a:spcAft>
            </a:pPr>
            <a:endParaRPr lang="en-US">
              <a:gradFill>
                <a:gsLst>
                  <a:gs pos="0">
                    <a:srgbClr val="FFFFFF"/>
                  </a:gs>
                  <a:gs pos="100000">
                    <a:srgbClr val="FFFFFF"/>
                  </a:gs>
                </a:gsLst>
                <a:lin ang="5400000" scaled="0"/>
              </a:gradFill>
              <a:ea typeface="Segoe UI" pitchFamily="34" charset="0"/>
              <a:cs typeface="Segoe UI" pitchFamily="34" charset="0"/>
            </a:endParaRPr>
          </a:p>
        </p:txBody>
      </p:sp>
      <p:sp>
        <p:nvSpPr>
          <p:cNvPr id="73" name="Rectangle 72"/>
          <p:cNvSpPr/>
          <p:nvPr/>
        </p:nvSpPr>
        <p:spPr bwMode="auto">
          <a:xfrm>
            <a:off x="2816164" y="6553101"/>
            <a:ext cx="5504581" cy="275365"/>
          </a:xfrm>
          <a:prstGeom prst="rect">
            <a:avLst/>
          </a:prstGeom>
          <a:solidFill>
            <a:schemeClr val="tx1">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74" name="Rectangle 73"/>
          <p:cNvSpPr/>
          <p:nvPr/>
        </p:nvSpPr>
        <p:spPr bwMode="auto">
          <a:xfrm>
            <a:off x="8352466" y="6552805"/>
            <a:ext cx="3831442" cy="307167"/>
          </a:xfrm>
          <a:prstGeom prst="rect">
            <a:avLst/>
          </a:prstGeom>
          <a:solidFill>
            <a:schemeClr val="tx1">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nvGrpSpPr>
          <p:cNvPr id="67" name="Group 66"/>
          <p:cNvGrpSpPr>
            <a:grpSpLocks noChangeAspect="1"/>
          </p:cNvGrpSpPr>
          <p:nvPr/>
        </p:nvGrpSpPr>
        <p:grpSpPr>
          <a:xfrm>
            <a:off x="6322580" y="1250993"/>
            <a:ext cx="5669289" cy="3855845"/>
            <a:chOff x="6071720" y="1159360"/>
            <a:chExt cx="6017236" cy="4060036"/>
          </a:xfrm>
        </p:grpSpPr>
        <p:sp>
          <p:nvSpPr>
            <p:cNvPr id="72" name="Oval 71"/>
            <p:cNvSpPr/>
            <p:nvPr/>
          </p:nvSpPr>
          <p:spPr bwMode="auto">
            <a:xfrm>
              <a:off x="9441855" y="3602627"/>
              <a:ext cx="270124" cy="270124"/>
            </a:xfrm>
            <a:prstGeom prst="ellipse">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336080" indent="-336080" algn="ctr" defTabSz="913927" fontAlgn="base">
                <a:lnSpc>
                  <a:spcPct val="90000"/>
                </a:lnSpc>
                <a:spcBef>
                  <a:spcPct val="0"/>
                </a:spcBef>
                <a:spcAft>
                  <a:spcPct val="0"/>
                </a:spcAft>
                <a:buFont typeface="Wingdings 3" panose="05040102010807070707" pitchFamily="18" charset="2"/>
                <a:buChar char="Æ"/>
                <a:defRPr/>
              </a:pPr>
              <a:endParaRPr lang="en-US" sz="1961" b="1" kern="0" err="1">
                <a:solidFill>
                  <a:srgbClr val="FFFFFF"/>
                </a:solidFill>
                <a:latin typeface="Segoe UI Light"/>
                <a:ea typeface="Segoe UI" pitchFamily="34" charset="0"/>
                <a:cs typeface="Segoe UI" pitchFamily="34" charset="0"/>
              </a:endParaRPr>
            </a:p>
          </p:txBody>
        </p:sp>
        <p:grpSp>
          <p:nvGrpSpPr>
            <p:cNvPr id="75" name="Group 74"/>
            <p:cNvGrpSpPr>
              <a:grpSpLocks noChangeAspect="1"/>
            </p:cNvGrpSpPr>
            <p:nvPr/>
          </p:nvGrpSpPr>
          <p:grpSpPr>
            <a:xfrm>
              <a:off x="6071720" y="1159360"/>
              <a:ext cx="6017236" cy="4060036"/>
              <a:chOff x="4840804" y="372616"/>
              <a:chExt cx="8179730" cy="5520531"/>
            </a:xfrm>
          </p:grpSpPr>
          <p:cxnSp>
            <p:nvCxnSpPr>
              <p:cNvPr id="78" name="Straight Connector 77"/>
              <p:cNvCxnSpPr/>
              <p:nvPr/>
            </p:nvCxnSpPr>
            <p:spPr>
              <a:xfrm flipV="1">
                <a:off x="6238643" y="3874777"/>
                <a:ext cx="6332694" cy="2370"/>
              </a:xfrm>
              <a:prstGeom prst="line">
                <a:avLst/>
              </a:prstGeom>
              <a:noFill/>
              <a:ln w="15875" cap="flat" cmpd="sng" algn="ctr">
                <a:solidFill>
                  <a:srgbClr val="505050"/>
                </a:solidFill>
                <a:prstDash val="dash"/>
                <a:headEnd type="none"/>
                <a:tailEnd type="none"/>
              </a:ln>
              <a:effectLst/>
            </p:spPr>
          </p:cxnSp>
          <p:sp>
            <p:nvSpPr>
              <p:cNvPr id="79" name="TextBox 78"/>
              <p:cNvSpPr txBox="1"/>
              <p:nvPr/>
            </p:nvSpPr>
            <p:spPr>
              <a:xfrm>
                <a:off x="5933049" y="4844552"/>
                <a:ext cx="1796562" cy="845781"/>
              </a:xfrm>
              <a:prstGeom prst="rect">
                <a:avLst/>
              </a:prstGeom>
              <a:noFill/>
            </p:spPr>
            <p:txBody>
              <a:bodyPr wrap="square" lIns="179208" tIns="143366" rIns="179208" bIns="143366" rtlCol="0" anchor="ctr">
                <a:noAutofit/>
              </a:bodyPr>
              <a:lstStyle/>
              <a:p>
                <a:pPr algn="ctr" defTabSz="912979" fontAlgn="base">
                  <a:lnSpc>
                    <a:spcPct val="90000"/>
                  </a:lnSpc>
                  <a:spcBef>
                    <a:spcPct val="0"/>
                  </a:spcBef>
                  <a:spcAft>
                    <a:spcPts val="588"/>
                  </a:spcAft>
                </a:pPr>
                <a:r>
                  <a:rPr lang="en-US" sz="1176">
                    <a:gradFill>
                      <a:gsLst>
                        <a:gs pos="72566">
                          <a:srgbClr val="505050"/>
                        </a:gs>
                        <a:gs pos="43000">
                          <a:srgbClr val="505050"/>
                        </a:gs>
                      </a:gsLst>
                      <a:lin ang="5400000" scaled="0"/>
                    </a:gradFill>
                    <a:latin typeface="Segoe UI Semibold" panose="020B0702040204020203" pitchFamily="34" charset="0"/>
                    <a:ea typeface="MS PGothic" charset="0"/>
                    <a:cs typeface="Segoe UI Semibold" panose="020B0702040204020203" pitchFamily="34" charset="0"/>
                  </a:rPr>
                  <a:t>SQL Server </a:t>
                </a:r>
                <a:br>
                  <a:rPr lang="en-US" sz="1176">
                    <a:gradFill>
                      <a:gsLst>
                        <a:gs pos="72566">
                          <a:srgbClr val="505050"/>
                        </a:gs>
                        <a:gs pos="43000">
                          <a:srgbClr val="505050"/>
                        </a:gs>
                      </a:gsLst>
                      <a:lin ang="5400000" scaled="0"/>
                    </a:gradFill>
                    <a:latin typeface="Segoe UI Semibold" panose="020B0702040204020203" pitchFamily="34" charset="0"/>
                    <a:ea typeface="MS PGothic" charset="0"/>
                    <a:cs typeface="Segoe UI Semibold" panose="020B0702040204020203" pitchFamily="34" charset="0"/>
                  </a:rPr>
                </a:br>
                <a:r>
                  <a:rPr lang="en-US" sz="1176">
                    <a:gradFill>
                      <a:gsLst>
                        <a:gs pos="72566">
                          <a:srgbClr val="505050"/>
                        </a:gs>
                        <a:gs pos="43000">
                          <a:srgbClr val="505050"/>
                        </a:gs>
                      </a:gsLst>
                      <a:lin ang="5400000" scaled="0"/>
                    </a:gradFill>
                    <a:latin typeface="Segoe UI Semibold" panose="020B0702040204020203" pitchFamily="34" charset="0"/>
                    <a:ea typeface="MS PGothic" charset="0"/>
                    <a:cs typeface="Segoe UI Semibold" panose="020B0702040204020203" pitchFamily="34" charset="0"/>
                  </a:rPr>
                  <a:t>Analysis Services</a:t>
                </a:r>
              </a:p>
            </p:txBody>
          </p:sp>
          <p:grpSp>
            <p:nvGrpSpPr>
              <p:cNvPr id="80" name="Group 79"/>
              <p:cNvGrpSpPr/>
              <p:nvPr/>
            </p:nvGrpSpPr>
            <p:grpSpPr>
              <a:xfrm>
                <a:off x="10869544" y="4603185"/>
                <a:ext cx="1470144" cy="865250"/>
                <a:chOff x="2927465" y="5236638"/>
                <a:chExt cx="1470768" cy="865618"/>
              </a:xfrm>
            </p:grpSpPr>
            <p:sp>
              <p:nvSpPr>
                <p:cNvPr id="93" name="Freeform 92"/>
                <p:cNvSpPr>
                  <a:spLocks noEditPoints="1"/>
                </p:cNvSpPr>
                <p:nvPr/>
              </p:nvSpPr>
              <p:spPr bwMode="auto">
                <a:xfrm>
                  <a:off x="2927465" y="5236638"/>
                  <a:ext cx="360348" cy="865616"/>
                </a:xfrm>
                <a:custGeom>
                  <a:avLst/>
                  <a:gdLst>
                    <a:gd name="T0" fmla="*/ 0 w 184"/>
                    <a:gd name="T1" fmla="*/ 0 h 442"/>
                    <a:gd name="T2" fmla="*/ 0 w 184"/>
                    <a:gd name="T3" fmla="*/ 442 h 442"/>
                    <a:gd name="T4" fmla="*/ 184 w 184"/>
                    <a:gd name="T5" fmla="*/ 442 h 442"/>
                    <a:gd name="T6" fmla="*/ 184 w 184"/>
                    <a:gd name="T7" fmla="*/ 0 h 442"/>
                    <a:gd name="T8" fmla="*/ 0 w 184"/>
                    <a:gd name="T9" fmla="*/ 0 h 442"/>
                    <a:gd name="T10" fmla="*/ 85 w 184"/>
                    <a:gd name="T11" fmla="*/ 370 h 442"/>
                    <a:gd name="T12" fmla="*/ 19 w 184"/>
                    <a:gd name="T13" fmla="*/ 370 h 442"/>
                    <a:gd name="T14" fmla="*/ 19 w 184"/>
                    <a:gd name="T15" fmla="*/ 310 h 442"/>
                    <a:gd name="T16" fmla="*/ 85 w 184"/>
                    <a:gd name="T17" fmla="*/ 310 h 442"/>
                    <a:gd name="T18" fmla="*/ 85 w 184"/>
                    <a:gd name="T19" fmla="*/ 370 h 442"/>
                    <a:gd name="T20" fmla="*/ 85 w 184"/>
                    <a:gd name="T21" fmla="*/ 296 h 442"/>
                    <a:gd name="T22" fmla="*/ 19 w 184"/>
                    <a:gd name="T23" fmla="*/ 296 h 442"/>
                    <a:gd name="T24" fmla="*/ 19 w 184"/>
                    <a:gd name="T25" fmla="*/ 237 h 442"/>
                    <a:gd name="T26" fmla="*/ 85 w 184"/>
                    <a:gd name="T27" fmla="*/ 237 h 442"/>
                    <a:gd name="T28" fmla="*/ 85 w 184"/>
                    <a:gd name="T29" fmla="*/ 296 h 442"/>
                    <a:gd name="T30" fmla="*/ 85 w 184"/>
                    <a:gd name="T31" fmla="*/ 223 h 442"/>
                    <a:gd name="T32" fmla="*/ 19 w 184"/>
                    <a:gd name="T33" fmla="*/ 223 h 442"/>
                    <a:gd name="T34" fmla="*/ 19 w 184"/>
                    <a:gd name="T35" fmla="*/ 164 h 442"/>
                    <a:gd name="T36" fmla="*/ 85 w 184"/>
                    <a:gd name="T37" fmla="*/ 164 h 442"/>
                    <a:gd name="T38" fmla="*/ 85 w 184"/>
                    <a:gd name="T39" fmla="*/ 223 h 442"/>
                    <a:gd name="T40" fmla="*/ 85 w 184"/>
                    <a:gd name="T41" fmla="*/ 151 h 442"/>
                    <a:gd name="T42" fmla="*/ 19 w 184"/>
                    <a:gd name="T43" fmla="*/ 151 h 442"/>
                    <a:gd name="T44" fmla="*/ 19 w 184"/>
                    <a:gd name="T45" fmla="*/ 91 h 442"/>
                    <a:gd name="T46" fmla="*/ 85 w 184"/>
                    <a:gd name="T47" fmla="*/ 91 h 442"/>
                    <a:gd name="T48" fmla="*/ 85 w 184"/>
                    <a:gd name="T49" fmla="*/ 151 h 442"/>
                    <a:gd name="T50" fmla="*/ 85 w 184"/>
                    <a:gd name="T51" fmla="*/ 78 h 442"/>
                    <a:gd name="T52" fmla="*/ 19 w 184"/>
                    <a:gd name="T53" fmla="*/ 78 h 442"/>
                    <a:gd name="T54" fmla="*/ 19 w 184"/>
                    <a:gd name="T55" fmla="*/ 18 h 442"/>
                    <a:gd name="T56" fmla="*/ 85 w 184"/>
                    <a:gd name="T57" fmla="*/ 18 h 442"/>
                    <a:gd name="T58" fmla="*/ 85 w 184"/>
                    <a:gd name="T59" fmla="*/ 78 h 442"/>
                    <a:gd name="T60" fmla="*/ 164 w 184"/>
                    <a:gd name="T61" fmla="*/ 370 h 442"/>
                    <a:gd name="T62" fmla="*/ 99 w 184"/>
                    <a:gd name="T63" fmla="*/ 370 h 442"/>
                    <a:gd name="T64" fmla="*/ 99 w 184"/>
                    <a:gd name="T65" fmla="*/ 310 h 442"/>
                    <a:gd name="T66" fmla="*/ 164 w 184"/>
                    <a:gd name="T67" fmla="*/ 310 h 442"/>
                    <a:gd name="T68" fmla="*/ 164 w 184"/>
                    <a:gd name="T69" fmla="*/ 370 h 442"/>
                    <a:gd name="T70" fmla="*/ 164 w 184"/>
                    <a:gd name="T71" fmla="*/ 296 h 442"/>
                    <a:gd name="T72" fmla="*/ 99 w 184"/>
                    <a:gd name="T73" fmla="*/ 296 h 442"/>
                    <a:gd name="T74" fmla="*/ 99 w 184"/>
                    <a:gd name="T75" fmla="*/ 237 h 442"/>
                    <a:gd name="T76" fmla="*/ 164 w 184"/>
                    <a:gd name="T77" fmla="*/ 237 h 442"/>
                    <a:gd name="T78" fmla="*/ 164 w 184"/>
                    <a:gd name="T79" fmla="*/ 296 h 442"/>
                    <a:gd name="T80" fmla="*/ 164 w 184"/>
                    <a:gd name="T81" fmla="*/ 223 h 442"/>
                    <a:gd name="T82" fmla="*/ 99 w 184"/>
                    <a:gd name="T83" fmla="*/ 223 h 442"/>
                    <a:gd name="T84" fmla="*/ 99 w 184"/>
                    <a:gd name="T85" fmla="*/ 164 h 442"/>
                    <a:gd name="T86" fmla="*/ 164 w 184"/>
                    <a:gd name="T87" fmla="*/ 164 h 442"/>
                    <a:gd name="T88" fmla="*/ 164 w 184"/>
                    <a:gd name="T89" fmla="*/ 223 h 442"/>
                    <a:gd name="T90" fmla="*/ 164 w 184"/>
                    <a:gd name="T91" fmla="*/ 151 h 442"/>
                    <a:gd name="T92" fmla="*/ 99 w 184"/>
                    <a:gd name="T93" fmla="*/ 151 h 442"/>
                    <a:gd name="T94" fmla="*/ 99 w 184"/>
                    <a:gd name="T95" fmla="*/ 91 h 442"/>
                    <a:gd name="T96" fmla="*/ 164 w 184"/>
                    <a:gd name="T97" fmla="*/ 91 h 442"/>
                    <a:gd name="T98" fmla="*/ 164 w 184"/>
                    <a:gd name="T99" fmla="*/ 151 h 442"/>
                    <a:gd name="T100" fmla="*/ 164 w 184"/>
                    <a:gd name="T101" fmla="*/ 78 h 442"/>
                    <a:gd name="T102" fmla="*/ 99 w 184"/>
                    <a:gd name="T103" fmla="*/ 78 h 442"/>
                    <a:gd name="T104" fmla="*/ 99 w 184"/>
                    <a:gd name="T105" fmla="*/ 18 h 442"/>
                    <a:gd name="T106" fmla="*/ 164 w 184"/>
                    <a:gd name="T107" fmla="*/ 18 h 442"/>
                    <a:gd name="T108" fmla="*/ 164 w 184"/>
                    <a:gd name="T109" fmla="*/ 78 h 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4" h="442">
                      <a:moveTo>
                        <a:pt x="0" y="0"/>
                      </a:moveTo>
                      <a:lnTo>
                        <a:pt x="0" y="442"/>
                      </a:lnTo>
                      <a:lnTo>
                        <a:pt x="184" y="442"/>
                      </a:lnTo>
                      <a:lnTo>
                        <a:pt x="184" y="0"/>
                      </a:lnTo>
                      <a:lnTo>
                        <a:pt x="0" y="0"/>
                      </a:lnTo>
                      <a:close/>
                      <a:moveTo>
                        <a:pt x="85" y="370"/>
                      </a:moveTo>
                      <a:lnTo>
                        <a:pt x="19" y="370"/>
                      </a:lnTo>
                      <a:lnTo>
                        <a:pt x="19" y="310"/>
                      </a:lnTo>
                      <a:lnTo>
                        <a:pt x="85" y="310"/>
                      </a:lnTo>
                      <a:lnTo>
                        <a:pt x="85" y="370"/>
                      </a:lnTo>
                      <a:close/>
                      <a:moveTo>
                        <a:pt x="85" y="296"/>
                      </a:moveTo>
                      <a:lnTo>
                        <a:pt x="19" y="296"/>
                      </a:lnTo>
                      <a:lnTo>
                        <a:pt x="19" y="237"/>
                      </a:lnTo>
                      <a:lnTo>
                        <a:pt x="85" y="237"/>
                      </a:lnTo>
                      <a:lnTo>
                        <a:pt x="85" y="296"/>
                      </a:lnTo>
                      <a:close/>
                      <a:moveTo>
                        <a:pt x="85" y="223"/>
                      </a:moveTo>
                      <a:lnTo>
                        <a:pt x="19" y="223"/>
                      </a:lnTo>
                      <a:lnTo>
                        <a:pt x="19" y="164"/>
                      </a:lnTo>
                      <a:lnTo>
                        <a:pt x="85" y="164"/>
                      </a:lnTo>
                      <a:lnTo>
                        <a:pt x="85" y="223"/>
                      </a:lnTo>
                      <a:close/>
                      <a:moveTo>
                        <a:pt x="85" y="151"/>
                      </a:moveTo>
                      <a:lnTo>
                        <a:pt x="19" y="151"/>
                      </a:lnTo>
                      <a:lnTo>
                        <a:pt x="19" y="91"/>
                      </a:lnTo>
                      <a:lnTo>
                        <a:pt x="85" y="91"/>
                      </a:lnTo>
                      <a:lnTo>
                        <a:pt x="85" y="151"/>
                      </a:lnTo>
                      <a:close/>
                      <a:moveTo>
                        <a:pt x="85" y="78"/>
                      </a:moveTo>
                      <a:lnTo>
                        <a:pt x="19" y="78"/>
                      </a:lnTo>
                      <a:lnTo>
                        <a:pt x="19" y="18"/>
                      </a:lnTo>
                      <a:lnTo>
                        <a:pt x="85" y="18"/>
                      </a:lnTo>
                      <a:lnTo>
                        <a:pt x="85" y="78"/>
                      </a:lnTo>
                      <a:close/>
                      <a:moveTo>
                        <a:pt x="164" y="370"/>
                      </a:moveTo>
                      <a:lnTo>
                        <a:pt x="99" y="370"/>
                      </a:lnTo>
                      <a:lnTo>
                        <a:pt x="99" y="310"/>
                      </a:lnTo>
                      <a:lnTo>
                        <a:pt x="164" y="310"/>
                      </a:lnTo>
                      <a:lnTo>
                        <a:pt x="164" y="370"/>
                      </a:lnTo>
                      <a:close/>
                      <a:moveTo>
                        <a:pt x="164" y="296"/>
                      </a:moveTo>
                      <a:lnTo>
                        <a:pt x="99" y="296"/>
                      </a:lnTo>
                      <a:lnTo>
                        <a:pt x="99" y="237"/>
                      </a:lnTo>
                      <a:lnTo>
                        <a:pt x="164" y="237"/>
                      </a:lnTo>
                      <a:lnTo>
                        <a:pt x="164" y="296"/>
                      </a:lnTo>
                      <a:close/>
                      <a:moveTo>
                        <a:pt x="164" y="223"/>
                      </a:moveTo>
                      <a:lnTo>
                        <a:pt x="99" y="223"/>
                      </a:lnTo>
                      <a:lnTo>
                        <a:pt x="99" y="164"/>
                      </a:lnTo>
                      <a:lnTo>
                        <a:pt x="164" y="164"/>
                      </a:lnTo>
                      <a:lnTo>
                        <a:pt x="164" y="223"/>
                      </a:lnTo>
                      <a:close/>
                      <a:moveTo>
                        <a:pt x="164" y="151"/>
                      </a:moveTo>
                      <a:lnTo>
                        <a:pt x="99" y="151"/>
                      </a:lnTo>
                      <a:lnTo>
                        <a:pt x="99" y="91"/>
                      </a:lnTo>
                      <a:lnTo>
                        <a:pt x="164" y="91"/>
                      </a:lnTo>
                      <a:lnTo>
                        <a:pt x="164" y="151"/>
                      </a:lnTo>
                      <a:close/>
                      <a:moveTo>
                        <a:pt x="164" y="78"/>
                      </a:moveTo>
                      <a:lnTo>
                        <a:pt x="99" y="78"/>
                      </a:lnTo>
                      <a:lnTo>
                        <a:pt x="99" y="18"/>
                      </a:lnTo>
                      <a:lnTo>
                        <a:pt x="164" y="18"/>
                      </a:lnTo>
                      <a:lnTo>
                        <a:pt x="164" y="78"/>
                      </a:lnTo>
                      <a:close/>
                    </a:path>
                  </a:pathLst>
                </a:custGeom>
                <a:solidFill>
                  <a:srgbClr val="0070C0"/>
                </a:solidFill>
                <a:ln>
                  <a:noFill/>
                </a:ln>
              </p:spPr>
              <p:txBody>
                <a:bodyPr vert="horz" wrap="square" lIns="89604" tIns="44802" rIns="89604" bIns="44802"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a:defRPr/>
                  </a:pPr>
                  <a:endParaRPr lang="en-US" sz="2353">
                    <a:solidFill>
                      <a:srgbClr val="000000"/>
                    </a:solidFill>
                  </a:endParaRPr>
                </a:p>
              </p:txBody>
            </p:sp>
            <p:sp>
              <p:nvSpPr>
                <p:cNvPr id="94" name="Freeform 93"/>
                <p:cNvSpPr>
                  <a:spLocks noEditPoints="1"/>
                </p:cNvSpPr>
                <p:nvPr/>
              </p:nvSpPr>
              <p:spPr bwMode="auto">
                <a:xfrm>
                  <a:off x="3323066" y="5236638"/>
                  <a:ext cx="321181" cy="865616"/>
                </a:xfrm>
                <a:custGeom>
                  <a:avLst/>
                  <a:gdLst>
                    <a:gd name="T0" fmla="*/ 148 w 164"/>
                    <a:gd name="T1" fmla="*/ 181 h 442"/>
                    <a:gd name="T2" fmla="*/ 148 w 164"/>
                    <a:gd name="T3" fmla="*/ 136 h 442"/>
                    <a:gd name="T4" fmla="*/ 123 w 164"/>
                    <a:gd name="T5" fmla="*/ 136 h 442"/>
                    <a:gd name="T6" fmla="*/ 123 w 164"/>
                    <a:gd name="T7" fmla="*/ 84 h 442"/>
                    <a:gd name="T8" fmla="*/ 101 w 164"/>
                    <a:gd name="T9" fmla="*/ 84 h 442"/>
                    <a:gd name="T10" fmla="*/ 101 w 164"/>
                    <a:gd name="T11" fmla="*/ 45 h 442"/>
                    <a:gd name="T12" fmla="*/ 87 w 164"/>
                    <a:gd name="T13" fmla="*/ 45 h 442"/>
                    <a:gd name="T14" fmla="*/ 87 w 164"/>
                    <a:gd name="T15" fmla="*/ 0 h 442"/>
                    <a:gd name="T16" fmla="*/ 77 w 164"/>
                    <a:gd name="T17" fmla="*/ 0 h 442"/>
                    <a:gd name="T18" fmla="*/ 77 w 164"/>
                    <a:gd name="T19" fmla="*/ 45 h 442"/>
                    <a:gd name="T20" fmla="*/ 63 w 164"/>
                    <a:gd name="T21" fmla="*/ 45 h 442"/>
                    <a:gd name="T22" fmla="*/ 63 w 164"/>
                    <a:gd name="T23" fmla="*/ 84 h 442"/>
                    <a:gd name="T24" fmla="*/ 41 w 164"/>
                    <a:gd name="T25" fmla="*/ 84 h 442"/>
                    <a:gd name="T26" fmla="*/ 41 w 164"/>
                    <a:gd name="T27" fmla="*/ 136 h 442"/>
                    <a:gd name="T28" fmla="*/ 16 w 164"/>
                    <a:gd name="T29" fmla="*/ 136 h 442"/>
                    <a:gd name="T30" fmla="*/ 16 w 164"/>
                    <a:gd name="T31" fmla="*/ 181 h 442"/>
                    <a:gd name="T32" fmla="*/ 0 w 164"/>
                    <a:gd name="T33" fmla="*/ 181 h 442"/>
                    <a:gd name="T34" fmla="*/ 0 w 164"/>
                    <a:gd name="T35" fmla="*/ 442 h 442"/>
                    <a:gd name="T36" fmla="*/ 164 w 164"/>
                    <a:gd name="T37" fmla="*/ 442 h 442"/>
                    <a:gd name="T38" fmla="*/ 164 w 164"/>
                    <a:gd name="T39" fmla="*/ 181 h 442"/>
                    <a:gd name="T40" fmla="*/ 148 w 164"/>
                    <a:gd name="T41" fmla="*/ 181 h 442"/>
                    <a:gd name="T42" fmla="*/ 16 w 164"/>
                    <a:gd name="T43" fmla="*/ 207 h 442"/>
                    <a:gd name="T44" fmla="*/ 82 w 164"/>
                    <a:gd name="T45" fmla="*/ 207 h 442"/>
                    <a:gd name="T46" fmla="*/ 82 w 164"/>
                    <a:gd name="T47" fmla="*/ 266 h 442"/>
                    <a:gd name="T48" fmla="*/ 16 w 164"/>
                    <a:gd name="T49" fmla="*/ 266 h 442"/>
                    <a:gd name="T50" fmla="*/ 16 w 164"/>
                    <a:gd name="T51" fmla="*/ 207 h 442"/>
                    <a:gd name="T52" fmla="*/ 82 w 164"/>
                    <a:gd name="T53" fmla="*/ 411 h 442"/>
                    <a:gd name="T54" fmla="*/ 16 w 164"/>
                    <a:gd name="T55" fmla="*/ 411 h 442"/>
                    <a:gd name="T56" fmla="*/ 16 w 164"/>
                    <a:gd name="T57" fmla="*/ 352 h 442"/>
                    <a:gd name="T58" fmla="*/ 82 w 164"/>
                    <a:gd name="T59" fmla="*/ 352 h 442"/>
                    <a:gd name="T60" fmla="*/ 82 w 164"/>
                    <a:gd name="T61" fmla="*/ 411 h 442"/>
                    <a:gd name="T62" fmla="*/ 148 w 164"/>
                    <a:gd name="T63" fmla="*/ 340 h 442"/>
                    <a:gd name="T64" fmla="*/ 82 w 164"/>
                    <a:gd name="T65" fmla="*/ 340 h 442"/>
                    <a:gd name="T66" fmla="*/ 82 w 164"/>
                    <a:gd name="T67" fmla="*/ 280 h 442"/>
                    <a:gd name="T68" fmla="*/ 148 w 164"/>
                    <a:gd name="T69" fmla="*/ 280 h 442"/>
                    <a:gd name="T70" fmla="*/ 148 w 164"/>
                    <a:gd name="T71" fmla="*/ 340 h 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64" h="442">
                      <a:moveTo>
                        <a:pt x="148" y="181"/>
                      </a:moveTo>
                      <a:lnTo>
                        <a:pt x="148" y="136"/>
                      </a:lnTo>
                      <a:lnTo>
                        <a:pt x="123" y="136"/>
                      </a:lnTo>
                      <a:lnTo>
                        <a:pt x="123" y="84"/>
                      </a:lnTo>
                      <a:lnTo>
                        <a:pt x="101" y="84"/>
                      </a:lnTo>
                      <a:lnTo>
                        <a:pt x="101" y="45"/>
                      </a:lnTo>
                      <a:lnTo>
                        <a:pt x="87" y="45"/>
                      </a:lnTo>
                      <a:lnTo>
                        <a:pt x="87" y="0"/>
                      </a:lnTo>
                      <a:lnTo>
                        <a:pt x="77" y="0"/>
                      </a:lnTo>
                      <a:lnTo>
                        <a:pt x="77" y="45"/>
                      </a:lnTo>
                      <a:lnTo>
                        <a:pt x="63" y="45"/>
                      </a:lnTo>
                      <a:lnTo>
                        <a:pt x="63" y="84"/>
                      </a:lnTo>
                      <a:lnTo>
                        <a:pt x="41" y="84"/>
                      </a:lnTo>
                      <a:lnTo>
                        <a:pt x="41" y="136"/>
                      </a:lnTo>
                      <a:lnTo>
                        <a:pt x="16" y="136"/>
                      </a:lnTo>
                      <a:lnTo>
                        <a:pt x="16" y="181"/>
                      </a:lnTo>
                      <a:lnTo>
                        <a:pt x="0" y="181"/>
                      </a:lnTo>
                      <a:lnTo>
                        <a:pt x="0" y="442"/>
                      </a:lnTo>
                      <a:lnTo>
                        <a:pt x="164" y="442"/>
                      </a:lnTo>
                      <a:lnTo>
                        <a:pt x="164" y="181"/>
                      </a:lnTo>
                      <a:lnTo>
                        <a:pt x="148" y="181"/>
                      </a:lnTo>
                      <a:close/>
                      <a:moveTo>
                        <a:pt x="16" y="207"/>
                      </a:moveTo>
                      <a:lnTo>
                        <a:pt x="82" y="207"/>
                      </a:lnTo>
                      <a:lnTo>
                        <a:pt x="82" y="266"/>
                      </a:lnTo>
                      <a:lnTo>
                        <a:pt x="16" y="266"/>
                      </a:lnTo>
                      <a:lnTo>
                        <a:pt x="16" y="207"/>
                      </a:lnTo>
                      <a:close/>
                      <a:moveTo>
                        <a:pt x="82" y="411"/>
                      </a:moveTo>
                      <a:lnTo>
                        <a:pt x="16" y="411"/>
                      </a:lnTo>
                      <a:lnTo>
                        <a:pt x="16" y="352"/>
                      </a:lnTo>
                      <a:lnTo>
                        <a:pt x="82" y="352"/>
                      </a:lnTo>
                      <a:lnTo>
                        <a:pt x="82" y="411"/>
                      </a:lnTo>
                      <a:close/>
                      <a:moveTo>
                        <a:pt x="148" y="340"/>
                      </a:moveTo>
                      <a:lnTo>
                        <a:pt x="82" y="340"/>
                      </a:lnTo>
                      <a:lnTo>
                        <a:pt x="82" y="280"/>
                      </a:lnTo>
                      <a:lnTo>
                        <a:pt x="148" y="280"/>
                      </a:lnTo>
                      <a:lnTo>
                        <a:pt x="148" y="340"/>
                      </a:lnTo>
                      <a:close/>
                    </a:path>
                  </a:pathLst>
                </a:custGeom>
                <a:solidFill>
                  <a:srgbClr val="0070C0"/>
                </a:solidFill>
                <a:ln>
                  <a:noFill/>
                </a:ln>
              </p:spPr>
              <p:txBody>
                <a:bodyPr vert="horz" wrap="square" lIns="89604" tIns="44802" rIns="89604" bIns="44802"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a:defRPr/>
                  </a:pPr>
                  <a:endParaRPr lang="en-US" sz="2353">
                    <a:solidFill>
                      <a:srgbClr val="000000"/>
                    </a:solidFill>
                  </a:endParaRPr>
                </a:p>
              </p:txBody>
            </p:sp>
            <p:sp>
              <p:nvSpPr>
                <p:cNvPr id="95" name="Freeform 94"/>
                <p:cNvSpPr>
                  <a:spLocks noEditPoints="1"/>
                </p:cNvSpPr>
                <p:nvPr/>
              </p:nvSpPr>
              <p:spPr bwMode="auto">
                <a:xfrm>
                  <a:off x="4077052" y="5424647"/>
                  <a:ext cx="321181" cy="677609"/>
                </a:xfrm>
                <a:custGeom>
                  <a:avLst/>
                  <a:gdLst>
                    <a:gd name="T0" fmla="*/ 148 w 164"/>
                    <a:gd name="T1" fmla="*/ 181 h 346"/>
                    <a:gd name="T2" fmla="*/ 148 w 164"/>
                    <a:gd name="T3" fmla="*/ 136 h 346"/>
                    <a:gd name="T4" fmla="*/ 123 w 164"/>
                    <a:gd name="T5" fmla="*/ 136 h 346"/>
                    <a:gd name="T6" fmla="*/ 123 w 164"/>
                    <a:gd name="T7" fmla="*/ 82 h 346"/>
                    <a:gd name="T8" fmla="*/ 101 w 164"/>
                    <a:gd name="T9" fmla="*/ 82 h 346"/>
                    <a:gd name="T10" fmla="*/ 101 w 164"/>
                    <a:gd name="T11" fmla="*/ 45 h 346"/>
                    <a:gd name="T12" fmla="*/ 87 w 164"/>
                    <a:gd name="T13" fmla="*/ 45 h 346"/>
                    <a:gd name="T14" fmla="*/ 87 w 164"/>
                    <a:gd name="T15" fmla="*/ 0 h 346"/>
                    <a:gd name="T16" fmla="*/ 77 w 164"/>
                    <a:gd name="T17" fmla="*/ 0 h 346"/>
                    <a:gd name="T18" fmla="*/ 77 w 164"/>
                    <a:gd name="T19" fmla="*/ 45 h 346"/>
                    <a:gd name="T20" fmla="*/ 63 w 164"/>
                    <a:gd name="T21" fmla="*/ 45 h 346"/>
                    <a:gd name="T22" fmla="*/ 63 w 164"/>
                    <a:gd name="T23" fmla="*/ 82 h 346"/>
                    <a:gd name="T24" fmla="*/ 42 w 164"/>
                    <a:gd name="T25" fmla="*/ 82 h 346"/>
                    <a:gd name="T26" fmla="*/ 42 w 164"/>
                    <a:gd name="T27" fmla="*/ 136 h 346"/>
                    <a:gd name="T28" fmla="*/ 16 w 164"/>
                    <a:gd name="T29" fmla="*/ 136 h 346"/>
                    <a:gd name="T30" fmla="*/ 16 w 164"/>
                    <a:gd name="T31" fmla="*/ 181 h 346"/>
                    <a:gd name="T32" fmla="*/ 0 w 164"/>
                    <a:gd name="T33" fmla="*/ 181 h 346"/>
                    <a:gd name="T34" fmla="*/ 0 w 164"/>
                    <a:gd name="T35" fmla="*/ 346 h 346"/>
                    <a:gd name="T36" fmla="*/ 164 w 164"/>
                    <a:gd name="T37" fmla="*/ 346 h 346"/>
                    <a:gd name="T38" fmla="*/ 164 w 164"/>
                    <a:gd name="T39" fmla="*/ 181 h 346"/>
                    <a:gd name="T40" fmla="*/ 148 w 164"/>
                    <a:gd name="T41" fmla="*/ 181 h 346"/>
                    <a:gd name="T42" fmla="*/ 35 w 164"/>
                    <a:gd name="T43" fmla="*/ 158 h 346"/>
                    <a:gd name="T44" fmla="*/ 82 w 164"/>
                    <a:gd name="T45" fmla="*/ 158 h 346"/>
                    <a:gd name="T46" fmla="*/ 82 w 164"/>
                    <a:gd name="T47" fmla="*/ 200 h 346"/>
                    <a:gd name="T48" fmla="*/ 35 w 164"/>
                    <a:gd name="T49" fmla="*/ 200 h 346"/>
                    <a:gd name="T50" fmla="*/ 35 w 164"/>
                    <a:gd name="T51" fmla="*/ 158 h 346"/>
                    <a:gd name="T52" fmla="*/ 82 w 164"/>
                    <a:gd name="T53" fmla="*/ 302 h 346"/>
                    <a:gd name="T54" fmla="*/ 35 w 164"/>
                    <a:gd name="T55" fmla="*/ 302 h 346"/>
                    <a:gd name="T56" fmla="*/ 35 w 164"/>
                    <a:gd name="T57" fmla="*/ 260 h 346"/>
                    <a:gd name="T58" fmla="*/ 82 w 164"/>
                    <a:gd name="T59" fmla="*/ 260 h 346"/>
                    <a:gd name="T60" fmla="*/ 82 w 164"/>
                    <a:gd name="T61" fmla="*/ 302 h 346"/>
                    <a:gd name="T62" fmla="*/ 129 w 164"/>
                    <a:gd name="T63" fmla="*/ 251 h 346"/>
                    <a:gd name="T64" fmla="*/ 82 w 164"/>
                    <a:gd name="T65" fmla="*/ 251 h 346"/>
                    <a:gd name="T66" fmla="*/ 82 w 164"/>
                    <a:gd name="T67" fmla="*/ 209 h 346"/>
                    <a:gd name="T68" fmla="*/ 129 w 164"/>
                    <a:gd name="T69" fmla="*/ 209 h 346"/>
                    <a:gd name="T70" fmla="*/ 129 w 164"/>
                    <a:gd name="T71" fmla="*/ 251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64" h="346">
                      <a:moveTo>
                        <a:pt x="148" y="181"/>
                      </a:moveTo>
                      <a:lnTo>
                        <a:pt x="148" y="136"/>
                      </a:lnTo>
                      <a:lnTo>
                        <a:pt x="123" y="136"/>
                      </a:lnTo>
                      <a:lnTo>
                        <a:pt x="123" y="82"/>
                      </a:lnTo>
                      <a:lnTo>
                        <a:pt x="101" y="82"/>
                      </a:lnTo>
                      <a:lnTo>
                        <a:pt x="101" y="45"/>
                      </a:lnTo>
                      <a:lnTo>
                        <a:pt x="87" y="45"/>
                      </a:lnTo>
                      <a:lnTo>
                        <a:pt x="87" y="0"/>
                      </a:lnTo>
                      <a:lnTo>
                        <a:pt x="77" y="0"/>
                      </a:lnTo>
                      <a:lnTo>
                        <a:pt x="77" y="45"/>
                      </a:lnTo>
                      <a:lnTo>
                        <a:pt x="63" y="45"/>
                      </a:lnTo>
                      <a:lnTo>
                        <a:pt x="63" y="82"/>
                      </a:lnTo>
                      <a:lnTo>
                        <a:pt x="42" y="82"/>
                      </a:lnTo>
                      <a:lnTo>
                        <a:pt x="42" y="136"/>
                      </a:lnTo>
                      <a:lnTo>
                        <a:pt x="16" y="136"/>
                      </a:lnTo>
                      <a:lnTo>
                        <a:pt x="16" y="181"/>
                      </a:lnTo>
                      <a:lnTo>
                        <a:pt x="0" y="181"/>
                      </a:lnTo>
                      <a:lnTo>
                        <a:pt x="0" y="346"/>
                      </a:lnTo>
                      <a:lnTo>
                        <a:pt x="164" y="346"/>
                      </a:lnTo>
                      <a:lnTo>
                        <a:pt x="164" y="181"/>
                      </a:lnTo>
                      <a:lnTo>
                        <a:pt x="148" y="181"/>
                      </a:lnTo>
                      <a:close/>
                      <a:moveTo>
                        <a:pt x="35" y="158"/>
                      </a:moveTo>
                      <a:lnTo>
                        <a:pt x="82" y="158"/>
                      </a:lnTo>
                      <a:lnTo>
                        <a:pt x="82" y="200"/>
                      </a:lnTo>
                      <a:lnTo>
                        <a:pt x="35" y="200"/>
                      </a:lnTo>
                      <a:lnTo>
                        <a:pt x="35" y="158"/>
                      </a:lnTo>
                      <a:close/>
                      <a:moveTo>
                        <a:pt x="82" y="302"/>
                      </a:moveTo>
                      <a:lnTo>
                        <a:pt x="35" y="302"/>
                      </a:lnTo>
                      <a:lnTo>
                        <a:pt x="35" y="260"/>
                      </a:lnTo>
                      <a:lnTo>
                        <a:pt x="82" y="260"/>
                      </a:lnTo>
                      <a:lnTo>
                        <a:pt x="82" y="302"/>
                      </a:lnTo>
                      <a:close/>
                      <a:moveTo>
                        <a:pt x="129" y="251"/>
                      </a:moveTo>
                      <a:lnTo>
                        <a:pt x="82" y="251"/>
                      </a:lnTo>
                      <a:lnTo>
                        <a:pt x="82" y="209"/>
                      </a:lnTo>
                      <a:lnTo>
                        <a:pt x="129" y="209"/>
                      </a:lnTo>
                      <a:lnTo>
                        <a:pt x="129" y="251"/>
                      </a:lnTo>
                      <a:close/>
                    </a:path>
                  </a:pathLst>
                </a:custGeom>
                <a:solidFill>
                  <a:srgbClr val="0070C0"/>
                </a:solidFill>
                <a:ln>
                  <a:noFill/>
                </a:ln>
              </p:spPr>
              <p:txBody>
                <a:bodyPr vert="horz" wrap="square" lIns="89604" tIns="44802" rIns="89604" bIns="44802"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a:defRPr/>
                  </a:pPr>
                  <a:endParaRPr lang="en-US" sz="2353">
                    <a:solidFill>
                      <a:srgbClr val="000000"/>
                    </a:solidFill>
                  </a:endParaRPr>
                </a:p>
              </p:txBody>
            </p:sp>
            <p:sp>
              <p:nvSpPr>
                <p:cNvPr id="96" name="Freeform 95"/>
                <p:cNvSpPr>
                  <a:spLocks noEditPoints="1"/>
                </p:cNvSpPr>
                <p:nvPr/>
              </p:nvSpPr>
              <p:spPr bwMode="auto">
                <a:xfrm>
                  <a:off x="3679497" y="5365893"/>
                  <a:ext cx="362307" cy="736363"/>
                </a:xfrm>
                <a:custGeom>
                  <a:avLst/>
                  <a:gdLst>
                    <a:gd name="T0" fmla="*/ 0 w 185"/>
                    <a:gd name="T1" fmla="*/ 0 h 376"/>
                    <a:gd name="T2" fmla="*/ 0 w 185"/>
                    <a:gd name="T3" fmla="*/ 376 h 376"/>
                    <a:gd name="T4" fmla="*/ 185 w 185"/>
                    <a:gd name="T5" fmla="*/ 376 h 376"/>
                    <a:gd name="T6" fmla="*/ 185 w 185"/>
                    <a:gd name="T7" fmla="*/ 0 h 376"/>
                    <a:gd name="T8" fmla="*/ 0 w 185"/>
                    <a:gd name="T9" fmla="*/ 0 h 376"/>
                    <a:gd name="T10" fmla="*/ 86 w 185"/>
                    <a:gd name="T11" fmla="*/ 304 h 376"/>
                    <a:gd name="T12" fmla="*/ 20 w 185"/>
                    <a:gd name="T13" fmla="*/ 304 h 376"/>
                    <a:gd name="T14" fmla="*/ 20 w 185"/>
                    <a:gd name="T15" fmla="*/ 244 h 376"/>
                    <a:gd name="T16" fmla="*/ 86 w 185"/>
                    <a:gd name="T17" fmla="*/ 244 h 376"/>
                    <a:gd name="T18" fmla="*/ 86 w 185"/>
                    <a:gd name="T19" fmla="*/ 304 h 376"/>
                    <a:gd name="T20" fmla="*/ 86 w 185"/>
                    <a:gd name="T21" fmla="*/ 230 h 376"/>
                    <a:gd name="T22" fmla="*/ 20 w 185"/>
                    <a:gd name="T23" fmla="*/ 230 h 376"/>
                    <a:gd name="T24" fmla="*/ 20 w 185"/>
                    <a:gd name="T25" fmla="*/ 171 h 376"/>
                    <a:gd name="T26" fmla="*/ 86 w 185"/>
                    <a:gd name="T27" fmla="*/ 171 h 376"/>
                    <a:gd name="T28" fmla="*/ 86 w 185"/>
                    <a:gd name="T29" fmla="*/ 230 h 376"/>
                    <a:gd name="T30" fmla="*/ 86 w 185"/>
                    <a:gd name="T31" fmla="*/ 157 h 376"/>
                    <a:gd name="T32" fmla="*/ 20 w 185"/>
                    <a:gd name="T33" fmla="*/ 157 h 376"/>
                    <a:gd name="T34" fmla="*/ 20 w 185"/>
                    <a:gd name="T35" fmla="*/ 98 h 376"/>
                    <a:gd name="T36" fmla="*/ 86 w 185"/>
                    <a:gd name="T37" fmla="*/ 98 h 376"/>
                    <a:gd name="T38" fmla="*/ 86 w 185"/>
                    <a:gd name="T39" fmla="*/ 157 h 376"/>
                    <a:gd name="T40" fmla="*/ 86 w 185"/>
                    <a:gd name="T41" fmla="*/ 85 h 376"/>
                    <a:gd name="T42" fmla="*/ 20 w 185"/>
                    <a:gd name="T43" fmla="*/ 85 h 376"/>
                    <a:gd name="T44" fmla="*/ 20 w 185"/>
                    <a:gd name="T45" fmla="*/ 25 h 376"/>
                    <a:gd name="T46" fmla="*/ 86 w 185"/>
                    <a:gd name="T47" fmla="*/ 25 h 376"/>
                    <a:gd name="T48" fmla="*/ 86 w 185"/>
                    <a:gd name="T49" fmla="*/ 85 h 376"/>
                    <a:gd name="T50" fmla="*/ 166 w 185"/>
                    <a:gd name="T51" fmla="*/ 304 h 376"/>
                    <a:gd name="T52" fmla="*/ 99 w 185"/>
                    <a:gd name="T53" fmla="*/ 304 h 376"/>
                    <a:gd name="T54" fmla="*/ 99 w 185"/>
                    <a:gd name="T55" fmla="*/ 244 h 376"/>
                    <a:gd name="T56" fmla="*/ 166 w 185"/>
                    <a:gd name="T57" fmla="*/ 244 h 376"/>
                    <a:gd name="T58" fmla="*/ 166 w 185"/>
                    <a:gd name="T59" fmla="*/ 304 h 376"/>
                    <a:gd name="T60" fmla="*/ 166 w 185"/>
                    <a:gd name="T61" fmla="*/ 230 h 376"/>
                    <a:gd name="T62" fmla="*/ 99 w 185"/>
                    <a:gd name="T63" fmla="*/ 230 h 376"/>
                    <a:gd name="T64" fmla="*/ 99 w 185"/>
                    <a:gd name="T65" fmla="*/ 171 h 376"/>
                    <a:gd name="T66" fmla="*/ 166 w 185"/>
                    <a:gd name="T67" fmla="*/ 171 h 376"/>
                    <a:gd name="T68" fmla="*/ 166 w 185"/>
                    <a:gd name="T69" fmla="*/ 230 h 376"/>
                    <a:gd name="T70" fmla="*/ 166 w 185"/>
                    <a:gd name="T71" fmla="*/ 157 h 376"/>
                    <a:gd name="T72" fmla="*/ 99 w 185"/>
                    <a:gd name="T73" fmla="*/ 157 h 376"/>
                    <a:gd name="T74" fmla="*/ 99 w 185"/>
                    <a:gd name="T75" fmla="*/ 98 h 376"/>
                    <a:gd name="T76" fmla="*/ 166 w 185"/>
                    <a:gd name="T77" fmla="*/ 98 h 376"/>
                    <a:gd name="T78" fmla="*/ 166 w 185"/>
                    <a:gd name="T79" fmla="*/ 157 h 376"/>
                    <a:gd name="T80" fmla="*/ 166 w 185"/>
                    <a:gd name="T81" fmla="*/ 85 h 376"/>
                    <a:gd name="T82" fmla="*/ 99 w 185"/>
                    <a:gd name="T83" fmla="*/ 85 h 376"/>
                    <a:gd name="T84" fmla="*/ 99 w 185"/>
                    <a:gd name="T85" fmla="*/ 25 h 376"/>
                    <a:gd name="T86" fmla="*/ 166 w 185"/>
                    <a:gd name="T87" fmla="*/ 25 h 376"/>
                    <a:gd name="T88" fmla="*/ 166 w 185"/>
                    <a:gd name="T89" fmla="*/ 85 h 3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85" h="376">
                      <a:moveTo>
                        <a:pt x="0" y="0"/>
                      </a:moveTo>
                      <a:lnTo>
                        <a:pt x="0" y="376"/>
                      </a:lnTo>
                      <a:lnTo>
                        <a:pt x="185" y="376"/>
                      </a:lnTo>
                      <a:lnTo>
                        <a:pt x="185" y="0"/>
                      </a:lnTo>
                      <a:lnTo>
                        <a:pt x="0" y="0"/>
                      </a:lnTo>
                      <a:close/>
                      <a:moveTo>
                        <a:pt x="86" y="304"/>
                      </a:moveTo>
                      <a:lnTo>
                        <a:pt x="20" y="304"/>
                      </a:lnTo>
                      <a:lnTo>
                        <a:pt x="20" y="244"/>
                      </a:lnTo>
                      <a:lnTo>
                        <a:pt x="86" y="244"/>
                      </a:lnTo>
                      <a:lnTo>
                        <a:pt x="86" y="304"/>
                      </a:lnTo>
                      <a:close/>
                      <a:moveTo>
                        <a:pt x="86" y="230"/>
                      </a:moveTo>
                      <a:lnTo>
                        <a:pt x="20" y="230"/>
                      </a:lnTo>
                      <a:lnTo>
                        <a:pt x="20" y="171"/>
                      </a:lnTo>
                      <a:lnTo>
                        <a:pt x="86" y="171"/>
                      </a:lnTo>
                      <a:lnTo>
                        <a:pt x="86" y="230"/>
                      </a:lnTo>
                      <a:close/>
                      <a:moveTo>
                        <a:pt x="86" y="157"/>
                      </a:moveTo>
                      <a:lnTo>
                        <a:pt x="20" y="157"/>
                      </a:lnTo>
                      <a:lnTo>
                        <a:pt x="20" y="98"/>
                      </a:lnTo>
                      <a:lnTo>
                        <a:pt x="86" y="98"/>
                      </a:lnTo>
                      <a:lnTo>
                        <a:pt x="86" y="157"/>
                      </a:lnTo>
                      <a:close/>
                      <a:moveTo>
                        <a:pt x="86" y="85"/>
                      </a:moveTo>
                      <a:lnTo>
                        <a:pt x="20" y="85"/>
                      </a:lnTo>
                      <a:lnTo>
                        <a:pt x="20" y="25"/>
                      </a:lnTo>
                      <a:lnTo>
                        <a:pt x="86" y="25"/>
                      </a:lnTo>
                      <a:lnTo>
                        <a:pt x="86" y="85"/>
                      </a:lnTo>
                      <a:close/>
                      <a:moveTo>
                        <a:pt x="166" y="304"/>
                      </a:moveTo>
                      <a:lnTo>
                        <a:pt x="99" y="304"/>
                      </a:lnTo>
                      <a:lnTo>
                        <a:pt x="99" y="244"/>
                      </a:lnTo>
                      <a:lnTo>
                        <a:pt x="166" y="244"/>
                      </a:lnTo>
                      <a:lnTo>
                        <a:pt x="166" y="304"/>
                      </a:lnTo>
                      <a:close/>
                      <a:moveTo>
                        <a:pt x="166" y="230"/>
                      </a:moveTo>
                      <a:lnTo>
                        <a:pt x="99" y="230"/>
                      </a:lnTo>
                      <a:lnTo>
                        <a:pt x="99" y="171"/>
                      </a:lnTo>
                      <a:lnTo>
                        <a:pt x="166" y="171"/>
                      </a:lnTo>
                      <a:lnTo>
                        <a:pt x="166" y="230"/>
                      </a:lnTo>
                      <a:close/>
                      <a:moveTo>
                        <a:pt x="166" y="157"/>
                      </a:moveTo>
                      <a:lnTo>
                        <a:pt x="99" y="157"/>
                      </a:lnTo>
                      <a:lnTo>
                        <a:pt x="99" y="98"/>
                      </a:lnTo>
                      <a:lnTo>
                        <a:pt x="166" y="98"/>
                      </a:lnTo>
                      <a:lnTo>
                        <a:pt x="166" y="157"/>
                      </a:lnTo>
                      <a:close/>
                      <a:moveTo>
                        <a:pt x="166" y="85"/>
                      </a:moveTo>
                      <a:lnTo>
                        <a:pt x="99" y="85"/>
                      </a:lnTo>
                      <a:lnTo>
                        <a:pt x="99" y="25"/>
                      </a:lnTo>
                      <a:lnTo>
                        <a:pt x="166" y="25"/>
                      </a:lnTo>
                      <a:lnTo>
                        <a:pt x="166" y="85"/>
                      </a:lnTo>
                      <a:close/>
                    </a:path>
                  </a:pathLst>
                </a:custGeom>
                <a:solidFill>
                  <a:srgbClr val="0070C0"/>
                </a:solidFill>
                <a:ln>
                  <a:noFill/>
                </a:ln>
              </p:spPr>
              <p:txBody>
                <a:bodyPr vert="horz" wrap="square" lIns="89604" tIns="44802" rIns="89604" bIns="44802"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a:defRPr/>
                  </a:pPr>
                  <a:endParaRPr lang="en-US" sz="2353">
                    <a:solidFill>
                      <a:srgbClr val="000000"/>
                    </a:solidFill>
                  </a:endParaRPr>
                </a:p>
              </p:txBody>
            </p:sp>
          </p:grpSp>
          <p:sp>
            <p:nvSpPr>
              <p:cNvPr id="81" name="Freeform 80"/>
              <p:cNvSpPr>
                <a:spLocks/>
              </p:cNvSpPr>
              <p:nvPr/>
            </p:nvSpPr>
            <p:spPr bwMode="auto">
              <a:xfrm>
                <a:off x="6013890" y="5783312"/>
                <a:ext cx="6857026" cy="109835"/>
              </a:xfrm>
              <a:custGeom>
                <a:avLst/>
                <a:gdLst>
                  <a:gd name="T0" fmla="*/ 2028 w 2087"/>
                  <a:gd name="T1" fmla="*/ 139 h 139"/>
                  <a:gd name="T2" fmla="*/ 59 w 2087"/>
                  <a:gd name="T3" fmla="*/ 139 h 139"/>
                  <a:gd name="T4" fmla="*/ 26 w 2087"/>
                  <a:gd name="T5" fmla="*/ 65 h 139"/>
                  <a:gd name="T6" fmla="*/ 73 w 2087"/>
                  <a:gd name="T7" fmla="*/ 14 h 139"/>
                  <a:gd name="T8" fmla="*/ 106 w 2087"/>
                  <a:gd name="T9" fmla="*/ 0 h 139"/>
                  <a:gd name="T10" fmla="*/ 1981 w 2087"/>
                  <a:gd name="T11" fmla="*/ 0 h 139"/>
                  <a:gd name="T12" fmla="*/ 2014 w 2087"/>
                  <a:gd name="T13" fmla="*/ 14 h 139"/>
                  <a:gd name="T14" fmla="*/ 2061 w 2087"/>
                  <a:gd name="T15" fmla="*/ 65 h 139"/>
                  <a:gd name="T16" fmla="*/ 2028 w 2087"/>
                  <a:gd name="T17" fmla="*/ 139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87" h="139">
                    <a:moveTo>
                      <a:pt x="2028" y="139"/>
                    </a:moveTo>
                    <a:cubicBezTo>
                      <a:pt x="59" y="139"/>
                      <a:pt x="59" y="139"/>
                      <a:pt x="59" y="139"/>
                    </a:cubicBezTo>
                    <a:cubicBezTo>
                      <a:pt x="20" y="139"/>
                      <a:pt x="0" y="94"/>
                      <a:pt x="26" y="65"/>
                    </a:cubicBezTo>
                    <a:cubicBezTo>
                      <a:pt x="73" y="14"/>
                      <a:pt x="73" y="14"/>
                      <a:pt x="73" y="14"/>
                    </a:cubicBezTo>
                    <a:cubicBezTo>
                      <a:pt x="82" y="5"/>
                      <a:pt x="94" y="0"/>
                      <a:pt x="106" y="0"/>
                    </a:cubicBezTo>
                    <a:cubicBezTo>
                      <a:pt x="1981" y="0"/>
                      <a:pt x="1981" y="0"/>
                      <a:pt x="1981" y="0"/>
                    </a:cubicBezTo>
                    <a:cubicBezTo>
                      <a:pt x="1994" y="0"/>
                      <a:pt x="2006" y="5"/>
                      <a:pt x="2014" y="14"/>
                    </a:cubicBezTo>
                    <a:cubicBezTo>
                      <a:pt x="2061" y="65"/>
                      <a:pt x="2061" y="65"/>
                      <a:pt x="2061" y="65"/>
                    </a:cubicBezTo>
                    <a:cubicBezTo>
                      <a:pt x="2087" y="94"/>
                      <a:pt x="2067" y="139"/>
                      <a:pt x="2028" y="139"/>
                    </a:cubicBezTo>
                    <a:close/>
                  </a:path>
                </a:pathLst>
              </a:custGeom>
              <a:solidFill>
                <a:srgbClr val="DDDCD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a:defRPr/>
                </a:pPr>
                <a:endParaRPr lang="en-US" sz="2353">
                  <a:solidFill>
                    <a:srgbClr val="000000"/>
                  </a:solidFill>
                </a:endParaRPr>
              </a:p>
            </p:txBody>
          </p:sp>
          <p:sp>
            <p:nvSpPr>
              <p:cNvPr id="82" name="Freeform 81"/>
              <p:cNvSpPr>
                <a:spLocks noChangeAspect="1"/>
              </p:cNvSpPr>
              <p:nvPr/>
            </p:nvSpPr>
            <p:spPr bwMode="auto">
              <a:xfrm>
                <a:off x="9116346" y="372616"/>
                <a:ext cx="3562140" cy="2188888"/>
              </a:xfrm>
              <a:custGeom>
                <a:avLst/>
                <a:gdLst>
                  <a:gd name="T0" fmla="*/ 860 w 994"/>
                  <a:gd name="T1" fmla="*/ 342 h 610"/>
                  <a:gd name="T2" fmla="*/ 858 w 994"/>
                  <a:gd name="T3" fmla="*/ 342 h 610"/>
                  <a:gd name="T4" fmla="*/ 860 w 994"/>
                  <a:gd name="T5" fmla="*/ 305 h 610"/>
                  <a:gd name="T6" fmla="*/ 555 w 994"/>
                  <a:gd name="T7" fmla="*/ 0 h 610"/>
                  <a:gd name="T8" fmla="*/ 272 w 994"/>
                  <a:gd name="T9" fmla="*/ 193 h 610"/>
                  <a:gd name="T10" fmla="*/ 212 w 994"/>
                  <a:gd name="T11" fmla="*/ 185 h 610"/>
                  <a:gd name="T12" fmla="*/ 0 w 994"/>
                  <a:gd name="T13" fmla="*/ 397 h 610"/>
                  <a:gd name="T14" fmla="*/ 212 w 994"/>
                  <a:gd name="T15" fmla="*/ 610 h 610"/>
                  <a:gd name="T16" fmla="*/ 860 w 994"/>
                  <a:gd name="T17" fmla="*/ 610 h 610"/>
                  <a:gd name="T18" fmla="*/ 994 w 994"/>
                  <a:gd name="T19" fmla="*/ 476 h 610"/>
                  <a:gd name="T20" fmla="*/ 860 w 994"/>
                  <a:gd name="T21" fmla="*/ 342 h 6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94" h="610">
                    <a:moveTo>
                      <a:pt x="860" y="342"/>
                    </a:moveTo>
                    <a:cubicBezTo>
                      <a:pt x="859" y="342"/>
                      <a:pt x="858" y="342"/>
                      <a:pt x="858" y="342"/>
                    </a:cubicBezTo>
                    <a:cubicBezTo>
                      <a:pt x="859" y="330"/>
                      <a:pt x="860" y="318"/>
                      <a:pt x="860" y="305"/>
                    </a:cubicBezTo>
                    <a:cubicBezTo>
                      <a:pt x="860" y="137"/>
                      <a:pt x="723" y="0"/>
                      <a:pt x="555" y="0"/>
                    </a:cubicBezTo>
                    <a:cubicBezTo>
                      <a:pt x="426" y="0"/>
                      <a:pt x="316" y="80"/>
                      <a:pt x="272" y="193"/>
                    </a:cubicBezTo>
                    <a:cubicBezTo>
                      <a:pt x="253" y="188"/>
                      <a:pt x="233" y="185"/>
                      <a:pt x="212" y="185"/>
                    </a:cubicBezTo>
                    <a:cubicBezTo>
                      <a:pt x="95" y="185"/>
                      <a:pt x="0" y="280"/>
                      <a:pt x="0" y="397"/>
                    </a:cubicBezTo>
                    <a:cubicBezTo>
                      <a:pt x="0" y="515"/>
                      <a:pt x="95" y="610"/>
                      <a:pt x="212" y="610"/>
                    </a:cubicBezTo>
                    <a:cubicBezTo>
                      <a:pt x="860" y="610"/>
                      <a:pt x="860" y="610"/>
                      <a:pt x="860" y="610"/>
                    </a:cubicBezTo>
                    <a:cubicBezTo>
                      <a:pt x="934" y="610"/>
                      <a:pt x="994" y="550"/>
                      <a:pt x="994" y="476"/>
                    </a:cubicBezTo>
                    <a:cubicBezTo>
                      <a:pt x="994" y="402"/>
                      <a:pt x="934" y="342"/>
                      <a:pt x="860" y="342"/>
                    </a:cubicBezTo>
                    <a:close/>
                  </a:path>
                </a:pathLst>
              </a:custGeom>
              <a:solidFill>
                <a:schemeClr val="accent3">
                  <a:lumMod val="40000"/>
                  <a:lumOff val="60000"/>
                </a:scheme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defTabSz="913330" fontAlgn="base">
                  <a:spcBef>
                    <a:spcPct val="0"/>
                  </a:spcBef>
                  <a:spcAft>
                    <a:spcPct val="0"/>
                  </a:spcAft>
                </a:pPr>
                <a:endParaRPr lang="en-US" sz="2353">
                  <a:solidFill>
                    <a:srgbClr val="000000"/>
                  </a:solidFill>
                  <a:ea typeface="MS PGothic" charset="0"/>
                  <a:cs typeface="MS PGothic" charset="0"/>
                </a:endParaRPr>
              </a:p>
            </p:txBody>
          </p:sp>
          <p:sp>
            <p:nvSpPr>
              <p:cNvPr id="83" name="Freeform 82"/>
              <p:cNvSpPr>
                <a:spLocks noChangeAspect="1"/>
              </p:cNvSpPr>
              <p:nvPr/>
            </p:nvSpPr>
            <p:spPr bwMode="auto">
              <a:xfrm>
                <a:off x="9465910" y="1294762"/>
                <a:ext cx="3430209" cy="1552333"/>
              </a:xfrm>
              <a:custGeom>
                <a:avLst/>
                <a:gdLst>
                  <a:gd name="T0" fmla="*/ 951 w 1004"/>
                  <a:gd name="T1" fmla="*/ 296 h 454"/>
                  <a:gd name="T2" fmla="*/ 809 w 1004"/>
                  <a:gd name="T3" fmla="*/ 168 h 454"/>
                  <a:gd name="T4" fmla="*/ 730 w 1004"/>
                  <a:gd name="T5" fmla="*/ 191 h 454"/>
                  <a:gd name="T6" fmla="*/ 506 w 1004"/>
                  <a:gd name="T7" fmla="*/ 0 h 454"/>
                  <a:gd name="T8" fmla="*/ 286 w 1004"/>
                  <a:gd name="T9" fmla="*/ 169 h 454"/>
                  <a:gd name="T10" fmla="*/ 266 w 1004"/>
                  <a:gd name="T11" fmla="*/ 168 h 454"/>
                  <a:gd name="T12" fmla="*/ 133 w 1004"/>
                  <a:gd name="T13" fmla="*/ 256 h 454"/>
                  <a:gd name="T14" fmla="*/ 102 w 1004"/>
                  <a:gd name="T15" fmla="*/ 251 h 454"/>
                  <a:gd name="T16" fmla="*/ 0 w 1004"/>
                  <a:gd name="T17" fmla="*/ 353 h 454"/>
                  <a:gd name="T18" fmla="*/ 102 w 1004"/>
                  <a:gd name="T19" fmla="*/ 454 h 454"/>
                  <a:gd name="T20" fmla="*/ 921 w 1004"/>
                  <a:gd name="T21" fmla="*/ 454 h 454"/>
                  <a:gd name="T22" fmla="*/ 1004 w 1004"/>
                  <a:gd name="T23" fmla="*/ 372 h 454"/>
                  <a:gd name="T24" fmla="*/ 951 w 1004"/>
                  <a:gd name="T25" fmla="*/ 296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04" h="454">
                    <a:moveTo>
                      <a:pt x="951" y="296"/>
                    </a:moveTo>
                    <a:cubicBezTo>
                      <a:pt x="944" y="224"/>
                      <a:pt x="883" y="168"/>
                      <a:pt x="809" y="168"/>
                    </a:cubicBezTo>
                    <a:cubicBezTo>
                      <a:pt x="780" y="168"/>
                      <a:pt x="753" y="176"/>
                      <a:pt x="730" y="191"/>
                    </a:cubicBezTo>
                    <a:cubicBezTo>
                      <a:pt x="713" y="83"/>
                      <a:pt x="619" y="0"/>
                      <a:pt x="506" y="0"/>
                    </a:cubicBezTo>
                    <a:cubicBezTo>
                      <a:pt x="401" y="0"/>
                      <a:pt x="312" y="72"/>
                      <a:pt x="286" y="169"/>
                    </a:cubicBezTo>
                    <a:cubicBezTo>
                      <a:pt x="280" y="168"/>
                      <a:pt x="273" y="168"/>
                      <a:pt x="266" y="168"/>
                    </a:cubicBezTo>
                    <a:cubicBezTo>
                      <a:pt x="206" y="168"/>
                      <a:pt x="155" y="204"/>
                      <a:pt x="133" y="256"/>
                    </a:cubicBezTo>
                    <a:cubicBezTo>
                      <a:pt x="123" y="253"/>
                      <a:pt x="113" y="251"/>
                      <a:pt x="102" y="251"/>
                    </a:cubicBezTo>
                    <a:cubicBezTo>
                      <a:pt x="45" y="251"/>
                      <a:pt x="0" y="297"/>
                      <a:pt x="0" y="353"/>
                    </a:cubicBezTo>
                    <a:cubicBezTo>
                      <a:pt x="0" y="409"/>
                      <a:pt x="45" y="454"/>
                      <a:pt x="102" y="454"/>
                    </a:cubicBezTo>
                    <a:cubicBezTo>
                      <a:pt x="921" y="454"/>
                      <a:pt x="921" y="454"/>
                      <a:pt x="921" y="454"/>
                    </a:cubicBezTo>
                    <a:cubicBezTo>
                      <a:pt x="967" y="454"/>
                      <a:pt x="1004" y="417"/>
                      <a:pt x="1004" y="372"/>
                    </a:cubicBezTo>
                    <a:cubicBezTo>
                      <a:pt x="1004" y="337"/>
                      <a:pt x="982" y="308"/>
                      <a:pt x="951" y="296"/>
                    </a:cubicBezTo>
                    <a:close/>
                  </a:path>
                </a:pathLst>
              </a:custGeom>
              <a:solidFill>
                <a:schemeClr val="accent3">
                  <a:lumMod val="20000"/>
                  <a:lumOff val="80000"/>
                </a:scheme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a:defRPr/>
                </a:pPr>
                <a:endParaRPr lang="en-US" sz="2353">
                  <a:solidFill>
                    <a:srgbClr val="000000"/>
                  </a:solidFill>
                </a:endParaRPr>
              </a:p>
            </p:txBody>
          </p:sp>
          <p:pic>
            <p:nvPicPr>
              <p:cNvPr id="84" name="Picture 83"/>
              <p:cNvPicPr>
                <a:picLocks noChangeAspect="1"/>
              </p:cNvPicPr>
              <p:nvPr/>
            </p:nvPicPr>
            <p:blipFill>
              <a:blip r:embed="rId5" cstate="screen">
                <a:extLst>
                  <a:ext uri="{28A0092B-C50C-407E-A947-70E740481C1C}">
                    <a14:useLocalDpi xmlns:a14="http://schemas.microsoft.com/office/drawing/2010/main" val="0"/>
                  </a:ext>
                </a:extLst>
              </a:blip>
              <a:stretch>
                <a:fillRect/>
              </a:stretch>
            </p:blipFill>
            <p:spPr>
              <a:xfrm>
                <a:off x="6620176" y="1332614"/>
                <a:ext cx="3034416" cy="1706858"/>
              </a:xfrm>
              <a:prstGeom prst="rect">
                <a:avLst/>
              </a:prstGeom>
              <a:ln>
                <a:noFill/>
              </a:ln>
              <a:effectLst>
                <a:outerShdw blurRad="50800" dist="38100" dir="2700000" algn="tl" rotWithShape="0">
                  <a:prstClr val="black">
                    <a:alpha val="40000"/>
                  </a:prstClr>
                </a:outerShdw>
              </a:effectLst>
            </p:spPr>
          </p:pic>
          <p:sp>
            <p:nvSpPr>
              <p:cNvPr id="85" name="TextBox 84"/>
              <p:cNvSpPr txBox="1"/>
              <p:nvPr/>
            </p:nvSpPr>
            <p:spPr>
              <a:xfrm>
                <a:off x="4840804" y="1188916"/>
                <a:ext cx="2334211" cy="793195"/>
              </a:xfrm>
              <a:prstGeom prst="rect">
                <a:avLst/>
              </a:prstGeom>
              <a:noFill/>
            </p:spPr>
            <p:txBody>
              <a:bodyPr wrap="square" lIns="179208" tIns="143366" rIns="179208" bIns="143366" rtlCol="0">
                <a:noAutofit/>
              </a:bodyPr>
              <a:lstStyle/>
              <a:p>
                <a:pPr marL="335951" indent="-335951" defTabSz="912979" fontAlgn="base">
                  <a:lnSpc>
                    <a:spcPct val="90000"/>
                  </a:lnSpc>
                  <a:spcBef>
                    <a:spcPct val="0"/>
                  </a:spcBef>
                  <a:spcAft>
                    <a:spcPts val="588"/>
                  </a:spcAft>
                  <a:buFont typeface="Wingdings 3" panose="05040102010807070707" pitchFamily="18" charset="2"/>
                  <a:buChar char="Æ"/>
                </a:pPr>
                <a:endParaRPr lang="en-US" sz="2353" err="1">
                  <a:gradFill>
                    <a:gsLst>
                      <a:gs pos="2917">
                        <a:srgbClr val="000000"/>
                      </a:gs>
                      <a:gs pos="30000">
                        <a:srgbClr val="000000"/>
                      </a:gs>
                    </a:gsLst>
                    <a:lin ang="5400000" scaled="0"/>
                  </a:gradFill>
                  <a:ea typeface="MS PGothic" charset="0"/>
                </a:endParaRPr>
              </a:p>
            </p:txBody>
          </p:sp>
          <p:sp>
            <p:nvSpPr>
              <p:cNvPr id="86" name="Freeform 23"/>
              <p:cNvSpPr>
                <a:spLocks noEditPoints="1"/>
              </p:cNvSpPr>
              <p:nvPr/>
            </p:nvSpPr>
            <p:spPr bwMode="black">
              <a:xfrm>
                <a:off x="6498307" y="4183677"/>
                <a:ext cx="672448" cy="657762"/>
              </a:xfrm>
              <a:custGeom>
                <a:avLst/>
                <a:gdLst>
                  <a:gd name="T0" fmla="*/ 709 w 709"/>
                  <a:gd name="T1" fmla="*/ 570 h 709"/>
                  <a:gd name="T2" fmla="*/ 373 w 709"/>
                  <a:gd name="T3" fmla="*/ 709 h 709"/>
                  <a:gd name="T4" fmla="*/ 373 w 709"/>
                  <a:gd name="T5" fmla="*/ 294 h 709"/>
                  <a:gd name="T6" fmla="*/ 709 w 709"/>
                  <a:gd name="T7" fmla="*/ 154 h 709"/>
                  <a:gd name="T8" fmla="*/ 709 w 709"/>
                  <a:gd name="T9" fmla="*/ 570 h 709"/>
                  <a:gd name="T10" fmla="*/ 335 w 709"/>
                  <a:gd name="T11" fmla="*/ 294 h 709"/>
                  <a:gd name="T12" fmla="*/ 0 w 709"/>
                  <a:gd name="T13" fmla="*/ 154 h 709"/>
                  <a:gd name="T14" fmla="*/ 0 w 709"/>
                  <a:gd name="T15" fmla="*/ 570 h 709"/>
                  <a:gd name="T16" fmla="*/ 335 w 709"/>
                  <a:gd name="T17" fmla="*/ 709 h 709"/>
                  <a:gd name="T18" fmla="*/ 335 w 709"/>
                  <a:gd name="T19" fmla="*/ 294 h 709"/>
                  <a:gd name="T20" fmla="*/ 354 w 709"/>
                  <a:gd name="T21" fmla="*/ 0 h 709"/>
                  <a:gd name="T22" fmla="*/ 0 w 709"/>
                  <a:gd name="T23" fmla="*/ 126 h 709"/>
                  <a:gd name="T24" fmla="*/ 354 w 709"/>
                  <a:gd name="T25" fmla="*/ 268 h 709"/>
                  <a:gd name="T26" fmla="*/ 709 w 709"/>
                  <a:gd name="T27" fmla="*/ 126 h 709"/>
                  <a:gd name="T28" fmla="*/ 354 w 709"/>
                  <a:gd name="T29" fmla="*/ 0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09" h="709">
                    <a:moveTo>
                      <a:pt x="709" y="570"/>
                    </a:moveTo>
                    <a:lnTo>
                      <a:pt x="373" y="709"/>
                    </a:lnTo>
                    <a:lnTo>
                      <a:pt x="373" y="294"/>
                    </a:lnTo>
                    <a:lnTo>
                      <a:pt x="709" y="154"/>
                    </a:lnTo>
                    <a:lnTo>
                      <a:pt x="709" y="570"/>
                    </a:lnTo>
                    <a:close/>
                    <a:moveTo>
                      <a:pt x="335" y="294"/>
                    </a:moveTo>
                    <a:lnTo>
                      <a:pt x="0" y="154"/>
                    </a:lnTo>
                    <a:lnTo>
                      <a:pt x="0" y="570"/>
                    </a:lnTo>
                    <a:lnTo>
                      <a:pt x="335" y="709"/>
                    </a:lnTo>
                    <a:lnTo>
                      <a:pt x="335" y="294"/>
                    </a:lnTo>
                    <a:close/>
                    <a:moveTo>
                      <a:pt x="354" y="0"/>
                    </a:moveTo>
                    <a:lnTo>
                      <a:pt x="0" y="126"/>
                    </a:lnTo>
                    <a:lnTo>
                      <a:pt x="354" y="268"/>
                    </a:lnTo>
                    <a:lnTo>
                      <a:pt x="709" y="126"/>
                    </a:lnTo>
                    <a:lnTo>
                      <a:pt x="354" y="0"/>
                    </a:lnTo>
                    <a:close/>
                  </a:path>
                </a:pathLst>
              </a:custGeom>
              <a:solidFill>
                <a:srgbClr val="0070C0"/>
              </a:solidFill>
              <a:ln>
                <a:noFill/>
              </a:ln>
            </p:spPr>
            <p:txBody>
              <a:bodyPr vert="horz" wrap="square" lIns="80653" tIns="40326" rIns="80653" bIns="40326" numCol="1" anchor="t" anchorCtr="0" compatLnSpc="1">
                <a:prstTxWarp prst="textNoShape">
                  <a:avLst/>
                </a:prstTxWarp>
              </a:bodyPr>
              <a:lstStyle/>
              <a:p>
                <a:pPr defTabSz="913841">
                  <a:defRPr/>
                </a:pPr>
                <a:endParaRPr lang="en-US" sz="1567" kern="0">
                  <a:ln>
                    <a:solidFill>
                      <a:srgbClr val="FFFFFF">
                        <a:alpha val="0"/>
                      </a:srgbClr>
                    </a:solidFill>
                  </a:ln>
                  <a:solidFill>
                    <a:srgbClr val="000000"/>
                  </a:solidFill>
                </a:endParaRPr>
              </a:p>
            </p:txBody>
          </p:sp>
          <p:sp>
            <p:nvSpPr>
              <p:cNvPr id="87" name="Freeform 5"/>
              <p:cNvSpPr>
                <a:spLocks noEditPoints="1"/>
              </p:cNvSpPr>
              <p:nvPr/>
            </p:nvSpPr>
            <p:spPr bwMode="auto">
              <a:xfrm>
                <a:off x="8984817" y="4183675"/>
                <a:ext cx="599757" cy="641371"/>
              </a:xfrm>
              <a:custGeom>
                <a:avLst/>
                <a:gdLst>
                  <a:gd name="T0" fmla="*/ 1460 w 1460"/>
                  <a:gd name="T1" fmla="*/ 384 h 1615"/>
                  <a:gd name="T2" fmla="*/ 1460 w 1460"/>
                  <a:gd name="T3" fmla="*/ 1359 h 1615"/>
                  <a:gd name="T4" fmla="*/ 1460 w 1460"/>
                  <a:gd name="T5" fmla="*/ 1359 h 1615"/>
                  <a:gd name="T6" fmla="*/ 730 w 1460"/>
                  <a:gd name="T7" fmla="*/ 1615 h 1615"/>
                  <a:gd name="T8" fmla="*/ 0 w 1460"/>
                  <a:gd name="T9" fmla="*/ 1359 h 1615"/>
                  <a:gd name="T10" fmla="*/ 0 w 1460"/>
                  <a:gd name="T11" fmla="*/ 1359 h 1615"/>
                  <a:gd name="T12" fmla="*/ 0 w 1460"/>
                  <a:gd name="T13" fmla="*/ 1359 h 1615"/>
                  <a:gd name="T14" fmla="*/ 0 w 1460"/>
                  <a:gd name="T15" fmla="*/ 1339 h 1615"/>
                  <a:gd name="T16" fmla="*/ 0 w 1460"/>
                  <a:gd name="T17" fmla="*/ 1329 h 1615"/>
                  <a:gd name="T18" fmla="*/ 0 w 1460"/>
                  <a:gd name="T19" fmla="*/ 394 h 1615"/>
                  <a:gd name="T20" fmla="*/ 730 w 1460"/>
                  <a:gd name="T21" fmla="*/ 591 h 1615"/>
                  <a:gd name="T22" fmla="*/ 1460 w 1460"/>
                  <a:gd name="T23" fmla="*/ 384 h 1615"/>
                  <a:gd name="T24" fmla="*/ 730 w 1460"/>
                  <a:gd name="T25" fmla="*/ 541 h 1615"/>
                  <a:gd name="T26" fmla="*/ 1460 w 1460"/>
                  <a:gd name="T27" fmla="*/ 275 h 1615"/>
                  <a:gd name="T28" fmla="*/ 730 w 1460"/>
                  <a:gd name="T29" fmla="*/ 0 h 1615"/>
                  <a:gd name="T30" fmla="*/ 0 w 1460"/>
                  <a:gd name="T31" fmla="*/ 275 h 1615"/>
                  <a:gd name="T32" fmla="*/ 730 w 1460"/>
                  <a:gd name="T33" fmla="*/ 541 h 16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60" h="1615">
                    <a:moveTo>
                      <a:pt x="1460" y="384"/>
                    </a:moveTo>
                    <a:cubicBezTo>
                      <a:pt x="1460" y="1359"/>
                      <a:pt x="1460" y="1359"/>
                      <a:pt x="1460" y="1359"/>
                    </a:cubicBezTo>
                    <a:cubicBezTo>
                      <a:pt x="1460" y="1359"/>
                      <a:pt x="1460" y="1359"/>
                      <a:pt x="1460" y="1359"/>
                    </a:cubicBezTo>
                    <a:cubicBezTo>
                      <a:pt x="1431" y="1507"/>
                      <a:pt x="1115" y="1615"/>
                      <a:pt x="730" y="1615"/>
                    </a:cubicBezTo>
                    <a:cubicBezTo>
                      <a:pt x="346" y="1615"/>
                      <a:pt x="30" y="1507"/>
                      <a:pt x="0" y="1359"/>
                    </a:cubicBezTo>
                    <a:cubicBezTo>
                      <a:pt x="0" y="1359"/>
                      <a:pt x="0" y="1359"/>
                      <a:pt x="0" y="1359"/>
                    </a:cubicBezTo>
                    <a:cubicBezTo>
                      <a:pt x="0" y="1359"/>
                      <a:pt x="0" y="1359"/>
                      <a:pt x="0" y="1359"/>
                    </a:cubicBezTo>
                    <a:cubicBezTo>
                      <a:pt x="0" y="1349"/>
                      <a:pt x="0" y="1349"/>
                      <a:pt x="0" y="1339"/>
                    </a:cubicBezTo>
                    <a:cubicBezTo>
                      <a:pt x="0" y="1339"/>
                      <a:pt x="0" y="1339"/>
                      <a:pt x="0" y="1329"/>
                    </a:cubicBezTo>
                    <a:cubicBezTo>
                      <a:pt x="0" y="394"/>
                      <a:pt x="0" y="394"/>
                      <a:pt x="0" y="394"/>
                    </a:cubicBezTo>
                    <a:cubicBezTo>
                      <a:pt x="119" y="522"/>
                      <a:pt x="434" y="591"/>
                      <a:pt x="730" y="591"/>
                    </a:cubicBezTo>
                    <a:cubicBezTo>
                      <a:pt x="1026" y="591"/>
                      <a:pt x="1342" y="522"/>
                      <a:pt x="1460" y="384"/>
                    </a:cubicBezTo>
                    <a:close/>
                    <a:moveTo>
                      <a:pt x="730" y="541"/>
                    </a:moveTo>
                    <a:cubicBezTo>
                      <a:pt x="1135" y="541"/>
                      <a:pt x="1460" y="423"/>
                      <a:pt x="1460" y="275"/>
                    </a:cubicBezTo>
                    <a:cubicBezTo>
                      <a:pt x="1460" y="128"/>
                      <a:pt x="1135" y="0"/>
                      <a:pt x="730" y="0"/>
                    </a:cubicBezTo>
                    <a:cubicBezTo>
                      <a:pt x="326" y="0"/>
                      <a:pt x="0" y="128"/>
                      <a:pt x="0" y="275"/>
                    </a:cubicBezTo>
                    <a:cubicBezTo>
                      <a:pt x="0" y="423"/>
                      <a:pt x="326" y="541"/>
                      <a:pt x="730" y="541"/>
                    </a:cubicBezTo>
                    <a:close/>
                  </a:path>
                </a:pathLst>
              </a:custGeom>
              <a:solidFill>
                <a:srgbClr val="0070C0"/>
              </a:solidFill>
              <a:ln>
                <a:noFill/>
              </a:ln>
            </p:spPr>
            <p:txBody>
              <a:bodyPr vert="horz" wrap="square" lIns="87843" tIns="43920" rIns="87843" bIns="43920" numCol="1" anchor="t" anchorCtr="0" compatLnSpc="1">
                <a:prstTxWarp prst="textNoShape">
                  <a:avLst/>
                </a:prstTxWarp>
              </a:bodyPr>
              <a:lstStyle/>
              <a:p>
                <a:pPr defTabSz="895838">
                  <a:defRPr/>
                </a:pPr>
                <a:endParaRPr lang="en-US" sz="1729" kern="0">
                  <a:solidFill>
                    <a:srgbClr val="505050"/>
                  </a:solidFill>
                </a:endParaRPr>
              </a:p>
            </p:txBody>
          </p:sp>
          <p:sp>
            <p:nvSpPr>
              <p:cNvPr id="88" name="TextBox 87"/>
              <p:cNvSpPr txBox="1"/>
              <p:nvPr/>
            </p:nvSpPr>
            <p:spPr>
              <a:xfrm>
                <a:off x="11259438" y="3524499"/>
                <a:ext cx="1761096" cy="194999"/>
              </a:xfrm>
              <a:prstGeom prst="rect">
                <a:avLst/>
              </a:prstGeom>
              <a:noFill/>
            </p:spPr>
            <p:txBody>
              <a:bodyPr wrap="square" lIns="179259" tIns="143407" rIns="179259" bIns="143407" rtlCol="0" anchor="ctr">
                <a:noAutofit/>
              </a:bodyPr>
              <a:lstStyle/>
              <a:p>
                <a:pPr defTabSz="914192">
                  <a:lnSpc>
                    <a:spcPct val="90000"/>
                  </a:lnSpc>
                  <a:spcAft>
                    <a:spcPts val="588"/>
                  </a:spcAft>
                  <a:defRPr/>
                </a:pPr>
                <a:r>
                  <a:rPr lang="en-US" sz="1175" kern="0">
                    <a:gradFill>
                      <a:gsLst>
                        <a:gs pos="2917">
                          <a:srgbClr val="000000"/>
                        </a:gs>
                        <a:gs pos="30000">
                          <a:srgbClr val="000000"/>
                        </a:gs>
                      </a:gsLst>
                      <a:lin ang="5400000" scaled="0"/>
                    </a:gradFill>
                  </a:rPr>
                  <a:t>Cloud</a:t>
                </a:r>
              </a:p>
            </p:txBody>
          </p:sp>
          <p:sp>
            <p:nvSpPr>
              <p:cNvPr id="89" name="TextBox 88"/>
              <p:cNvSpPr txBox="1"/>
              <p:nvPr/>
            </p:nvSpPr>
            <p:spPr>
              <a:xfrm>
                <a:off x="11174803" y="4068400"/>
                <a:ext cx="1761094" cy="194999"/>
              </a:xfrm>
              <a:prstGeom prst="rect">
                <a:avLst/>
              </a:prstGeom>
              <a:noFill/>
            </p:spPr>
            <p:txBody>
              <a:bodyPr wrap="square" lIns="179259" tIns="143407" rIns="179259" bIns="143407" rtlCol="0" anchor="ctr">
                <a:noAutofit/>
              </a:bodyPr>
              <a:lstStyle/>
              <a:p>
                <a:pPr defTabSz="914192">
                  <a:lnSpc>
                    <a:spcPct val="90000"/>
                  </a:lnSpc>
                  <a:spcAft>
                    <a:spcPts val="588"/>
                  </a:spcAft>
                  <a:defRPr/>
                </a:pPr>
                <a:r>
                  <a:rPr lang="en-US" sz="1175" kern="0">
                    <a:gradFill>
                      <a:gsLst>
                        <a:gs pos="2917">
                          <a:srgbClr val="000000"/>
                        </a:gs>
                        <a:gs pos="30000">
                          <a:srgbClr val="000000"/>
                        </a:gs>
                      </a:gsLst>
                      <a:lin ang="5400000" scaled="0"/>
                    </a:gradFill>
                  </a:rPr>
                  <a:t>On-premises</a:t>
                </a:r>
              </a:p>
            </p:txBody>
          </p:sp>
          <p:sp>
            <p:nvSpPr>
              <p:cNvPr id="90" name="TextBox 89"/>
              <p:cNvSpPr txBox="1"/>
              <p:nvPr/>
            </p:nvSpPr>
            <p:spPr>
              <a:xfrm>
                <a:off x="8629173" y="4851753"/>
                <a:ext cx="1350858" cy="845780"/>
              </a:xfrm>
              <a:prstGeom prst="rect">
                <a:avLst/>
              </a:prstGeom>
              <a:noFill/>
            </p:spPr>
            <p:txBody>
              <a:bodyPr wrap="square" lIns="179208" tIns="143366" rIns="179208" bIns="143366" rtlCol="0" anchor="ctr">
                <a:noAutofit/>
              </a:bodyPr>
              <a:lstStyle/>
              <a:p>
                <a:pPr algn="ctr" defTabSz="912979" fontAlgn="base">
                  <a:lnSpc>
                    <a:spcPct val="90000"/>
                  </a:lnSpc>
                  <a:spcBef>
                    <a:spcPct val="0"/>
                  </a:spcBef>
                  <a:spcAft>
                    <a:spcPts val="588"/>
                  </a:spcAft>
                </a:pPr>
                <a:r>
                  <a:rPr lang="en-US" sz="1176">
                    <a:gradFill>
                      <a:gsLst>
                        <a:gs pos="72566">
                          <a:srgbClr val="505050"/>
                        </a:gs>
                        <a:gs pos="43000">
                          <a:srgbClr val="505050"/>
                        </a:gs>
                      </a:gsLst>
                      <a:lin ang="5400000" scaled="0"/>
                    </a:gradFill>
                    <a:latin typeface="Segoe UI Semibold" panose="020B0702040204020203" pitchFamily="34" charset="0"/>
                    <a:ea typeface="MS PGothic" charset="0"/>
                    <a:cs typeface="Segoe UI Semibold" panose="020B0702040204020203" pitchFamily="34" charset="0"/>
                  </a:rPr>
                  <a:t>Data Source	</a:t>
                </a:r>
              </a:p>
            </p:txBody>
          </p:sp>
          <p:sp>
            <p:nvSpPr>
              <p:cNvPr id="91" name="Oval 90"/>
              <p:cNvSpPr/>
              <p:nvPr/>
            </p:nvSpPr>
            <p:spPr bwMode="auto">
              <a:xfrm>
                <a:off x="6634873" y="3694051"/>
                <a:ext cx="367203" cy="367202"/>
              </a:xfrm>
              <a:prstGeom prst="ellipse">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336080" indent="-336080" algn="ctr" defTabSz="913927" fontAlgn="base">
                  <a:lnSpc>
                    <a:spcPct val="90000"/>
                  </a:lnSpc>
                  <a:spcBef>
                    <a:spcPct val="0"/>
                  </a:spcBef>
                  <a:spcAft>
                    <a:spcPct val="0"/>
                  </a:spcAft>
                  <a:buFont typeface="Wingdings 3" panose="05040102010807070707" pitchFamily="18" charset="2"/>
                  <a:buChar char="Æ"/>
                  <a:defRPr/>
                </a:pPr>
                <a:endParaRPr lang="en-US" sz="1961" b="1" kern="0" err="1">
                  <a:solidFill>
                    <a:srgbClr val="FFFFFF"/>
                  </a:solidFill>
                  <a:latin typeface="Segoe UI Light"/>
                  <a:ea typeface="Segoe UI" pitchFamily="34" charset="0"/>
                  <a:cs typeface="Segoe UI" pitchFamily="34" charset="0"/>
                </a:endParaRPr>
              </a:p>
            </p:txBody>
          </p:sp>
          <p:sp>
            <p:nvSpPr>
              <p:cNvPr id="92" name="Freeform 5"/>
              <p:cNvSpPr>
                <a:spLocks noEditPoints="1"/>
              </p:cNvSpPr>
              <p:nvPr/>
            </p:nvSpPr>
            <p:spPr bwMode="auto">
              <a:xfrm>
                <a:off x="6640787" y="3694051"/>
                <a:ext cx="387489" cy="387637"/>
              </a:xfrm>
              <a:custGeom>
                <a:avLst/>
                <a:gdLst>
                  <a:gd name="T0" fmla="*/ 1131 w 2204"/>
                  <a:gd name="T1" fmla="*/ 1075 h 2204"/>
                  <a:gd name="T2" fmla="*/ 849 w 2204"/>
                  <a:gd name="T3" fmla="*/ 764 h 2204"/>
                  <a:gd name="T4" fmla="*/ 849 w 2204"/>
                  <a:gd name="T5" fmla="*/ 1470 h 2204"/>
                  <a:gd name="T6" fmla="*/ 645 w 2204"/>
                  <a:gd name="T7" fmla="*/ 1470 h 2204"/>
                  <a:gd name="T8" fmla="*/ 645 w 2204"/>
                  <a:gd name="T9" fmla="*/ 764 h 2204"/>
                  <a:gd name="T10" fmla="*/ 344 w 2204"/>
                  <a:gd name="T11" fmla="*/ 1075 h 2204"/>
                  <a:gd name="T12" fmla="*/ 344 w 2204"/>
                  <a:gd name="T13" fmla="*/ 819 h 2204"/>
                  <a:gd name="T14" fmla="*/ 738 w 2204"/>
                  <a:gd name="T15" fmla="*/ 397 h 2204"/>
                  <a:gd name="T16" fmla="*/ 1131 w 2204"/>
                  <a:gd name="T17" fmla="*/ 819 h 2204"/>
                  <a:gd name="T18" fmla="*/ 1131 w 2204"/>
                  <a:gd name="T19" fmla="*/ 1075 h 2204"/>
                  <a:gd name="T20" fmla="*/ 1802 w 2204"/>
                  <a:gd name="T21" fmla="*/ 1194 h 2204"/>
                  <a:gd name="T22" fmla="*/ 1519 w 2204"/>
                  <a:gd name="T23" fmla="*/ 1505 h 2204"/>
                  <a:gd name="T24" fmla="*/ 1519 w 2204"/>
                  <a:gd name="T25" fmla="*/ 799 h 2204"/>
                  <a:gd name="T26" fmla="*/ 1316 w 2204"/>
                  <a:gd name="T27" fmla="*/ 799 h 2204"/>
                  <a:gd name="T28" fmla="*/ 1316 w 2204"/>
                  <a:gd name="T29" fmla="*/ 1505 h 2204"/>
                  <a:gd name="T30" fmla="*/ 1015 w 2204"/>
                  <a:gd name="T31" fmla="*/ 1194 h 2204"/>
                  <a:gd name="T32" fmla="*/ 1015 w 2204"/>
                  <a:gd name="T33" fmla="*/ 1449 h 2204"/>
                  <a:gd name="T34" fmla="*/ 1408 w 2204"/>
                  <a:gd name="T35" fmla="*/ 1872 h 2204"/>
                  <a:gd name="T36" fmla="*/ 1802 w 2204"/>
                  <a:gd name="T37" fmla="*/ 1449 h 2204"/>
                  <a:gd name="T38" fmla="*/ 1802 w 2204"/>
                  <a:gd name="T39" fmla="*/ 1194 h 2204"/>
                  <a:gd name="T40" fmla="*/ 1095 w 2204"/>
                  <a:gd name="T41" fmla="*/ 2204 h 2204"/>
                  <a:gd name="T42" fmla="*/ 2204 w 2204"/>
                  <a:gd name="T43" fmla="*/ 1092 h 2204"/>
                  <a:gd name="T44" fmla="*/ 1095 w 2204"/>
                  <a:gd name="T45" fmla="*/ 0 h 2204"/>
                  <a:gd name="T46" fmla="*/ 0 w 2204"/>
                  <a:gd name="T47" fmla="*/ 1092 h 2204"/>
                  <a:gd name="T48" fmla="*/ 1095 w 2204"/>
                  <a:gd name="T49" fmla="*/ 2204 h 2204"/>
                  <a:gd name="T50" fmla="*/ 1095 w 2204"/>
                  <a:gd name="T51" fmla="*/ 132 h 2204"/>
                  <a:gd name="T52" fmla="*/ 2072 w 2204"/>
                  <a:gd name="T53" fmla="*/ 1092 h 2204"/>
                  <a:gd name="T54" fmla="*/ 1095 w 2204"/>
                  <a:gd name="T55" fmla="*/ 2068 h 2204"/>
                  <a:gd name="T56" fmla="*/ 137 w 2204"/>
                  <a:gd name="T57" fmla="*/ 1092 h 2204"/>
                  <a:gd name="T58" fmla="*/ 1095 w 2204"/>
                  <a:gd name="T59" fmla="*/ 132 h 2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204" h="2204">
                    <a:moveTo>
                      <a:pt x="1131" y="1075"/>
                    </a:moveTo>
                    <a:cubicBezTo>
                      <a:pt x="1131" y="1075"/>
                      <a:pt x="1131" y="1075"/>
                      <a:pt x="849" y="764"/>
                    </a:cubicBezTo>
                    <a:cubicBezTo>
                      <a:pt x="849" y="1470"/>
                      <a:pt x="849" y="1470"/>
                      <a:pt x="849" y="1470"/>
                    </a:cubicBezTo>
                    <a:cubicBezTo>
                      <a:pt x="849" y="1470"/>
                      <a:pt x="849" y="1470"/>
                      <a:pt x="645" y="1470"/>
                    </a:cubicBezTo>
                    <a:cubicBezTo>
                      <a:pt x="645" y="1470"/>
                      <a:pt x="645" y="1470"/>
                      <a:pt x="645" y="764"/>
                    </a:cubicBezTo>
                    <a:cubicBezTo>
                      <a:pt x="645" y="764"/>
                      <a:pt x="645" y="764"/>
                      <a:pt x="344" y="1075"/>
                    </a:cubicBezTo>
                    <a:cubicBezTo>
                      <a:pt x="344" y="1075"/>
                      <a:pt x="344" y="1075"/>
                      <a:pt x="344" y="819"/>
                    </a:cubicBezTo>
                    <a:cubicBezTo>
                      <a:pt x="344" y="819"/>
                      <a:pt x="344" y="819"/>
                      <a:pt x="738" y="397"/>
                    </a:cubicBezTo>
                    <a:cubicBezTo>
                      <a:pt x="738" y="397"/>
                      <a:pt x="738" y="397"/>
                      <a:pt x="1131" y="819"/>
                    </a:cubicBezTo>
                    <a:cubicBezTo>
                      <a:pt x="1131" y="819"/>
                      <a:pt x="1131" y="819"/>
                      <a:pt x="1131" y="1075"/>
                    </a:cubicBezTo>
                    <a:close/>
                    <a:moveTo>
                      <a:pt x="1802" y="1194"/>
                    </a:moveTo>
                    <a:cubicBezTo>
                      <a:pt x="1802" y="1194"/>
                      <a:pt x="1802" y="1194"/>
                      <a:pt x="1519" y="1505"/>
                    </a:cubicBezTo>
                    <a:cubicBezTo>
                      <a:pt x="1519" y="799"/>
                      <a:pt x="1519" y="799"/>
                      <a:pt x="1519" y="799"/>
                    </a:cubicBezTo>
                    <a:cubicBezTo>
                      <a:pt x="1519" y="799"/>
                      <a:pt x="1519" y="799"/>
                      <a:pt x="1316" y="799"/>
                    </a:cubicBezTo>
                    <a:cubicBezTo>
                      <a:pt x="1316" y="799"/>
                      <a:pt x="1316" y="799"/>
                      <a:pt x="1316" y="1505"/>
                    </a:cubicBezTo>
                    <a:cubicBezTo>
                      <a:pt x="1316" y="1505"/>
                      <a:pt x="1316" y="1505"/>
                      <a:pt x="1015" y="1194"/>
                    </a:cubicBezTo>
                    <a:cubicBezTo>
                      <a:pt x="1015" y="1194"/>
                      <a:pt x="1015" y="1194"/>
                      <a:pt x="1015" y="1449"/>
                    </a:cubicBezTo>
                    <a:cubicBezTo>
                      <a:pt x="1015" y="1449"/>
                      <a:pt x="1015" y="1449"/>
                      <a:pt x="1408" y="1872"/>
                    </a:cubicBezTo>
                    <a:cubicBezTo>
                      <a:pt x="1408" y="1872"/>
                      <a:pt x="1408" y="1872"/>
                      <a:pt x="1802" y="1449"/>
                    </a:cubicBezTo>
                    <a:cubicBezTo>
                      <a:pt x="1802" y="1449"/>
                      <a:pt x="1802" y="1449"/>
                      <a:pt x="1802" y="1194"/>
                    </a:cubicBezTo>
                    <a:close/>
                    <a:moveTo>
                      <a:pt x="1095" y="2204"/>
                    </a:moveTo>
                    <a:cubicBezTo>
                      <a:pt x="1718" y="2204"/>
                      <a:pt x="2204" y="1714"/>
                      <a:pt x="2204" y="1092"/>
                    </a:cubicBezTo>
                    <a:cubicBezTo>
                      <a:pt x="2204" y="485"/>
                      <a:pt x="1718" y="0"/>
                      <a:pt x="1095" y="0"/>
                    </a:cubicBezTo>
                    <a:cubicBezTo>
                      <a:pt x="492" y="0"/>
                      <a:pt x="0" y="485"/>
                      <a:pt x="0" y="1092"/>
                    </a:cubicBezTo>
                    <a:cubicBezTo>
                      <a:pt x="0" y="1714"/>
                      <a:pt x="492" y="2204"/>
                      <a:pt x="1095" y="2204"/>
                    </a:cubicBezTo>
                    <a:close/>
                    <a:moveTo>
                      <a:pt x="1095" y="132"/>
                    </a:moveTo>
                    <a:cubicBezTo>
                      <a:pt x="1627" y="132"/>
                      <a:pt x="2072" y="561"/>
                      <a:pt x="2072" y="1092"/>
                    </a:cubicBezTo>
                    <a:cubicBezTo>
                      <a:pt x="2072" y="1628"/>
                      <a:pt x="1627" y="2068"/>
                      <a:pt x="1095" y="2068"/>
                    </a:cubicBezTo>
                    <a:cubicBezTo>
                      <a:pt x="563" y="2068"/>
                      <a:pt x="137" y="1628"/>
                      <a:pt x="137" y="1092"/>
                    </a:cubicBezTo>
                    <a:cubicBezTo>
                      <a:pt x="137" y="561"/>
                      <a:pt x="563" y="132"/>
                      <a:pt x="1095" y="132"/>
                    </a:cubicBezTo>
                    <a:close/>
                  </a:path>
                </a:pathLst>
              </a:custGeom>
              <a:solidFill>
                <a:srgbClr val="00B0F0"/>
              </a:solidFill>
              <a:ln w="9525" cap="flat" cmpd="sng" algn="ctr">
                <a:noFill/>
                <a:prstDash val="solid"/>
                <a:headEnd type="none" w="med" len="med"/>
                <a:tailEnd type="none" w="med" len="med"/>
              </a:ln>
              <a:effectLst/>
            </p:spPr>
            <p:txBody>
              <a:bodyPr rot="0" spcFirstLastPara="0" vertOverflow="overflow" horzOverflow="overflow" vert="horz" wrap="square" lIns="179208" tIns="143366" rIns="179208" bIns="143366" numCol="1" spcCol="0" rtlCol="0" fromWordArt="0" anchor="t" anchorCtr="0" forceAA="0" compatLnSpc="1">
                <a:prstTxWarp prst="textNoShape">
                  <a:avLst/>
                </a:prstTxWarp>
                <a:noAutofit/>
              </a:bodyPr>
              <a:lstStyle/>
              <a:p>
                <a:pPr marL="335951" indent="-335951" algn="ctr" defTabSz="913576">
                  <a:lnSpc>
                    <a:spcPct val="90000"/>
                  </a:lnSpc>
                  <a:buFont typeface="Wingdings 3" panose="05040102010807070707" pitchFamily="18" charset="2"/>
                  <a:buChar char="Æ"/>
                  <a:defRPr/>
                </a:pPr>
                <a:endParaRPr lang="en-US" sz="1961" b="1" kern="0">
                  <a:solidFill>
                    <a:srgbClr val="FFFFFF"/>
                  </a:solidFill>
                  <a:latin typeface="Segoe UI Light"/>
                  <a:ea typeface="Segoe UI" pitchFamily="34" charset="0"/>
                  <a:cs typeface="Segoe UI" pitchFamily="34" charset="0"/>
                </a:endParaRPr>
              </a:p>
            </p:txBody>
          </p:sp>
        </p:grpSp>
        <p:sp>
          <p:nvSpPr>
            <p:cNvPr id="76" name="Oval 75"/>
            <p:cNvSpPr/>
            <p:nvPr/>
          </p:nvSpPr>
          <p:spPr bwMode="auto">
            <a:xfrm>
              <a:off x="9217728" y="3600020"/>
              <a:ext cx="270124" cy="270124"/>
            </a:xfrm>
            <a:prstGeom prst="ellipse">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336080" indent="-336080" algn="ctr" defTabSz="913927" fontAlgn="base">
                <a:lnSpc>
                  <a:spcPct val="90000"/>
                </a:lnSpc>
                <a:spcBef>
                  <a:spcPct val="0"/>
                </a:spcBef>
                <a:spcAft>
                  <a:spcPct val="0"/>
                </a:spcAft>
                <a:buFont typeface="Wingdings 3" panose="05040102010807070707" pitchFamily="18" charset="2"/>
                <a:buChar char="Æ"/>
                <a:defRPr/>
              </a:pPr>
              <a:endParaRPr lang="en-US" sz="1961" b="1" kern="0" err="1">
                <a:solidFill>
                  <a:srgbClr val="FFFFFF"/>
                </a:solidFill>
                <a:latin typeface="Segoe UI Light"/>
                <a:ea typeface="Segoe UI" pitchFamily="34" charset="0"/>
                <a:cs typeface="Segoe UI" pitchFamily="34" charset="0"/>
              </a:endParaRPr>
            </a:p>
          </p:txBody>
        </p:sp>
        <p:sp>
          <p:nvSpPr>
            <p:cNvPr id="77" name="Freeform 5"/>
            <p:cNvSpPr>
              <a:spLocks noEditPoints="1"/>
            </p:cNvSpPr>
            <p:nvPr/>
          </p:nvSpPr>
          <p:spPr bwMode="auto">
            <a:xfrm>
              <a:off x="9199411" y="3607808"/>
              <a:ext cx="285048" cy="285158"/>
            </a:xfrm>
            <a:custGeom>
              <a:avLst/>
              <a:gdLst>
                <a:gd name="T0" fmla="*/ 1131 w 2204"/>
                <a:gd name="T1" fmla="*/ 1075 h 2204"/>
                <a:gd name="T2" fmla="*/ 849 w 2204"/>
                <a:gd name="T3" fmla="*/ 764 h 2204"/>
                <a:gd name="T4" fmla="*/ 849 w 2204"/>
                <a:gd name="T5" fmla="*/ 1470 h 2204"/>
                <a:gd name="T6" fmla="*/ 645 w 2204"/>
                <a:gd name="T7" fmla="*/ 1470 h 2204"/>
                <a:gd name="T8" fmla="*/ 645 w 2204"/>
                <a:gd name="T9" fmla="*/ 764 h 2204"/>
                <a:gd name="T10" fmla="*/ 344 w 2204"/>
                <a:gd name="T11" fmla="*/ 1075 h 2204"/>
                <a:gd name="T12" fmla="*/ 344 w 2204"/>
                <a:gd name="T13" fmla="*/ 819 h 2204"/>
                <a:gd name="T14" fmla="*/ 738 w 2204"/>
                <a:gd name="T15" fmla="*/ 397 h 2204"/>
                <a:gd name="T16" fmla="*/ 1131 w 2204"/>
                <a:gd name="T17" fmla="*/ 819 h 2204"/>
                <a:gd name="T18" fmla="*/ 1131 w 2204"/>
                <a:gd name="T19" fmla="*/ 1075 h 2204"/>
                <a:gd name="T20" fmla="*/ 1802 w 2204"/>
                <a:gd name="T21" fmla="*/ 1194 h 2204"/>
                <a:gd name="T22" fmla="*/ 1519 w 2204"/>
                <a:gd name="T23" fmla="*/ 1505 h 2204"/>
                <a:gd name="T24" fmla="*/ 1519 w 2204"/>
                <a:gd name="T25" fmla="*/ 799 h 2204"/>
                <a:gd name="T26" fmla="*/ 1316 w 2204"/>
                <a:gd name="T27" fmla="*/ 799 h 2204"/>
                <a:gd name="T28" fmla="*/ 1316 w 2204"/>
                <a:gd name="T29" fmla="*/ 1505 h 2204"/>
                <a:gd name="T30" fmla="*/ 1015 w 2204"/>
                <a:gd name="T31" fmla="*/ 1194 h 2204"/>
                <a:gd name="T32" fmla="*/ 1015 w 2204"/>
                <a:gd name="T33" fmla="*/ 1449 h 2204"/>
                <a:gd name="T34" fmla="*/ 1408 w 2204"/>
                <a:gd name="T35" fmla="*/ 1872 h 2204"/>
                <a:gd name="T36" fmla="*/ 1802 w 2204"/>
                <a:gd name="T37" fmla="*/ 1449 h 2204"/>
                <a:gd name="T38" fmla="*/ 1802 w 2204"/>
                <a:gd name="T39" fmla="*/ 1194 h 2204"/>
                <a:gd name="T40" fmla="*/ 1095 w 2204"/>
                <a:gd name="T41" fmla="*/ 2204 h 2204"/>
                <a:gd name="T42" fmla="*/ 2204 w 2204"/>
                <a:gd name="T43" fmla="*/ 1092 h 2204"/>
                <a:gd name="T44" fmla="*/ 1095 w 2204"/>
                <a:gd name="T45" fmla="*/ 0 h 2204"/>
                <a:gd name="T46" fmla="*/ 0 w 2204"/>
                <a:gd name="T47" fmla="*/ 1092 h 2204"/>
                <a:gd name="T48" fmla="*/ 1095 w 2204"/>
                <a:gd name="T49" fmla="*/ 2204 h 2204"/>
                <a:gd name="T50" fmla="*/ 1095 w 2204"/>
                <a:gd name="T51" fmla="*/ 132 h 2204"/>
                <a:gd name="T52" fmla="*/ 2072 w 2204"/>
                <a:gd name="T53" fmla="*/ 1092 h 2204"/>
                <a:gd name="T54" fmla="*/ 1095 w 2204"/>
                <a:gd name="T55" fmla="*/ 2068 h 2204"/>
                <a:gd name="T56" fmla="*/ 137 w 2204"/>
                <a:gd name="T57" fmla="*/ 1092 h 2204"/>
                <a:gd name="T58" fmla="*/ 1095 w 2204"/>
                <a:gd name="T59" fmla="*/ 132 h 2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204" h="2204">
                  <a:moveTo>
                    <a:pt x="1131" y="1075"/>
                  </a:moveTo>
                  <a:cubicBezTo>
                    <a:pt x="1131" y="1075"/>
                    <a:pt x="1131" y="1075"/>
                    <a:pt x="849" y="764"/>
                  </a:cubicBezTo>
                  <a:cubicBezTo>
                    <a:pt x="849" y="1470"/>
                    <a:pt x="849" y="1470"/>
                    <a:pt x="849" y="1470"/>
                  </a:cubicBezTo>
                  <a:cubicBezTo>
                    <a:pt x="849" y="1470"/>
                    <a:pt x="849" y="1470"/>
                    <a:pt x="645" y="1470"/>
                  </a:cubicBezTo>
                  <a:cubicBezTo>
                    <a:pt x="645" y="1470"/>
                    <a:pt x="645" y="1470"/>
                    <a:pt x="645" y="764"/>
                  </a:cubicBezTo>
                  <a:cubicBezTo>
                    <a:pt x="645" y="764"/>
                    <a:pt x="645" y="764"/>
                    <a:pt x="344" y="1075"/>
                  </a:cubicBezTo>
                  <a:cubicBezTo>
                    <a:pt x="344" y="1075"/>
                    <a:pt x="344" y="1075"/>
                    <a:pt x="344" y="819"/>
                  </a:cubicBezTo>
                  <a:cubicBezTo>
                    <a:pt x="344" y="819"/>
                    <a:pt x="344" y="819"/>
                    <a:pt x="738" y="397"/>
                  </a:cubicBezTo>
                  <a:cubicBezTo>
                    <a:pt x="738" y="397"/>
                    <a:pt x="738" y="397"/>
                    <a:pt x="1131" y="819"/>
                  </a:cubicBezTo>
                  <a:cubicBezTo>
                    <a:pt x="1131" y="819"/>
                    <a:pt x="1131" y="819"/>
                    <a:pt x="1131" y="1075"/>
                  </a:cubicBezTo>
                  <a:close/>
                  <a:moveTo>
                    <a:pt x="1802" y="1194"/>
                  </a:moveTo>
                  <a:cubicBezTo>
                    <a:pt x="1802" y="1194"/>
                    <a:pt x="1802" y="1194"/>
                    <a:pt x="1519" y="1505"/>
                  </a:cubicBezTo>
                  <a:cubicBezTo>
                    <a:pt x="1519" y="799"/>
                    <a:pt x="1519" y="799"/>
                    <a:pt x="1519" y="799"/>
                  </a:cubicBezTo>
                  <a:cubicBezTo>
                    <a:pt x="1519" y="799"/>
                    <a:pt x="1519" y="799"/>
                    <a:pt x="1316" y="799"/>
                  </a:cubicBezTo>
                  <a:cubicBezTo>
                    <a:pt x="1316" y="799"/>
                    <a:pt x="1316" y="799"/>
                    <a:pt x="1316" y="1505"/>
                  </a:cubicBezTo>
                  <a:cubicBezTo>
                    <a:pt x="1316" y="1505"/>
                    <a:pt x="1316" y="1505"/>
                    <a:pt x="1015" y="1194"/>
                  </a:cubicBezTo>
                  <a:cubicBezTo>
                    <a:pt x="1015" y="1194"/>
                    <a:pt x="1015" y="1194"/>
                    <a:pt x="1015" y="1449"/>
                  </a:cubicBezTo>
                  <a:cubicBezTo>
                    <a:pt x="1015" y="1449"/>
                    <a:pt x="1015" y="1449"/>
                    <a:pt x="1408" y="1872"/>
                  </a:cubicBezTo>
                  <a:cubicBezTo>
                    <a:pt x="1408" y="1872"/>
                    <a:pt x="1408" y="1872"/>
                    <a:pt x="1802" y="1449"/>
                  </a:cubicBezTo>
                  <a:cubicBezTo>
                    <a:pt x="1802" y="1449"/>
                    <a:pt x="1802" y="1449"/>
                    <a:pt x="1802" y="1194"/>
                  </a:cubicBezTo>
                  <a:close/>
                  <a:moveTo>
                    <a:pt x="1095" y="2204"/>
                  </a:moveTo>
                  <a:cubicBezTo>
                    <a:pt x="1718" y="2204"/>
                    <a:pt x="2204" y="1714"/>
                    <a:pt x="2204" y="1092"/>
                  </a:cubicBezTo>
                  <a:cubicBezTo>
                    <a:pt x="2204" y="485"/>
                    <a:pt x="1718" y="0"/>
                    <a:pt x="1095" y="0"/>
                  </a:cubicBezTo>
                  <a:cubicBezTo>
                    <a:pt x="492" y="0"/>
                    <a:pt x="0" y="485"/>
                    <a:pt x="0" y="1092"/>
                  </a:cubicBezTo>
                  <a:cubicBezTo>
                    <a:pt x="0" y="1714"/>
                    <a:pt x="492" y="2204"/>
                    <a:pt x="1095" y="2204"/>
                  </a:cubicBezTo>
                  <a:close/>
                  <a:moveTo>
                    <a:pt x="1095" y="132"/>
                  </a:moveTo>
                  <a:cubicBezTo>
                    <a:pt x="1627" y="132"/>
                    <a:pt x="2072" y="561"/>
                    <a:pt x="2072" y="1092"/>
                  </a:cubicBezTo>
                  <a:cubicBezTo>
                    <a:pt x="2072" y="1628"/>
                    <a:pt x="1627" y="2068"/>
                    <a:pt x="1095" y="2068"/>
                  </a:cubicBezTo>
                  <a:cubicBezTo>
                    <a:pt x="563" y="2068"/>
                    <a:pt x="137" y="1628"/>
                    <a:pt x="137" y="1092"/>
                  </a:cubicBezTo>
                  <a:cubicBezTo>
                    <a:pt x="137" y="561"/>
                    <a:pt x="563" y="132"/>
                    <a:pt x="1095" y="132"/>
                  </a:cubicBezTo>
                  <a:close/>
                </a:path>
              </a:pathLst>
            </a:custGeom>
            <a:solidFill>
              <a:srgbClr val="00B0F0"/>
            </a:solidFill>
            <a:ln w="9525" cap="flat" cmpd="sng" algn="ctr">
              <a:noFill/>
              <a:prstDash val="solid"/>
              <a:headEnd type="none" w="med" len="med"/>
              <a:tailEnd type="none" w="med" len="med"/>
            </a:ln>
            <a:effectLst/>
          </p:spPr>
          <p:txBody>
            <a:bodyPr rot="0" spcFirstLastPara="0" vertOverflow="overflow" horzOverflow="overflow" vert="horz" wrap="square" lIns="179208" tIns="143366" rIns="179208" bIns="143366" numCol="1" spcCol="0" rtlCol="0" fromWordArt="0" anchor="t" anchorCtr="0" forceAA="0" compatLnSpc="1">
              <a:prstTxWarp prst="textNoShape">
                <a:avLst/>
              </a:prstTxWarp>
              <a:noAutofit/>
            </a:bodyPr>
            <a:lstStyle/>
            <a:p>
              <a:pPr marL="335951" indent="-335951" algn="ctr" defTabSz="913576">
                <a:lnSpc>
                  <a:spcPct val="90000"/>
                </a:lnSpc>
                <a:buFont typeface="Wingdings 3" panose="05040102010807070707" pitchFamily="18" charset="2"/>
                <a:buChar char="Æ"/>
                <a:defRPr/>
              </a:pPr>
              <a:endParaRPr lang="en-US" sz="1961" b="1" kern="0">
                <a:solidFill>
                  <a:srgbClr val="FFFFFF"/>
                </a:solidFill>
                <a:latin typeface="Segoe UI Light"/>
                <a:ea typeface="Segoe UI" pitchFamily="34" charset="0"/>
                <a:cs typeface="Segoe UI" pitchFamily="34" charset="0"/>
              </a:endParaRPr>
            </a:p>
          </p:txBody>
        </p:sp>
      </p:grpSp>
      <p:sp>
        <p:nvSpPr>
          <p:cNvPr id="97" name="Freeform 5"/>
          <p:cNvSpPr>
            <a:spLocks noChangeAspect="1" noEditPoints="1"/>
          </p:cNvSpPr>
          <p:nvPr/>
        </p:nvSpPr>
        <p:spPr bwMode="auto">
          <a:xfrm rot="16200000">
            <a:off x="9780536" y="2579163"/>
            <a:ext cx="274320" cy="270816"/>
          </a:xfrm>
          <a:custGeom>
            <a:avLst/>
            <a:gdLst>
              <a:gd name="T0" fmla="*/ 1131 w 2204"/>
              <a:gd name="T1" fmla="*/ 1075 h 2204"/>
              <a:gd name="T2" fmla="*/ 849 w 2204"/>
              <a:gd name="T3" fmla="*/ 764 h 2204"/>
              <a:gd name="T4" fmla="*/ 849 w 2204"/>
              <a:gd name="T5" fmla="*/ 1470 h 2204"/>
              <a:gd name="T6" fmla="*/ 645 w 2204"/>
              <a:gd name="T7" fmla="*/ 1470 h 2204"/>
              <a:gd name="T8" fmla="*/ 645 w 2204"/>
              <a:gd name="T9" fmla="*/ 764 h 2204"/>
              <a:gd name="T10" fmla="*/ 344 w 2204"/>
              <a:gd name="T11" fmla="*/ 1075 h 2204"/>
              <a:gd name="T12" fmla="*/ 344 w 2204"/>
              <a:gd name="T13" fmla="*/ 819 h 2204"/>
              <a:gd name="T14" fmla="*/ 738 w 2204"/>
              <a:gd name="T15" fmla="*/ 397 h 2204"/>
              <a:gd name="T16" fmla="*/ 1131 w 2204"/>
              <a:gd name="T17" fmla="*/ 819 h 2204"/>
              <a:gd name="T18" fmla="*/ 1131 w 2204"/>
              <a:gd name="T19" fmla="*/ 1075 h 2204"/>
              <a:gd name="T20" fmla="*/ 1802 w 2204"/>
              <a:gd name="T21" fmla="*/ 1194 h 2204"/>
              <a:gd name="T22" fmla="*/ 1519 w 2204"/>
              <a:gd name="T23" fmla="*/ 1505 h 2204"/>
              <a:gd name="T24" fmla="*/ 1519 w 2204"/>
              <a:gd name="T25" fmla="*/ 799 h 2204"/>
              <a:gd name="T26" fmla="*/ 1316 w 2204"/>
              <a:gd name="T27" fmla="*/ 799 h 2204"/>
              <a:gd name="T28" fmla="*/ 1316 w 2204"/>
              <a:gd name="T29" fmla="*/ 1505 h 2204"/>
              <a:gd name="T30" fmla="*/ 1015 w 2204"/>
              <a:gd name="T31" fmla="*/ 1194 h 2204"/>
              <a:gd name="T32" fmla="*/ 1015 w 2204"/>
              <a:gd name="T33" fmla="*/ 1449 h 2204"/>
              <a:gd name="T34" fmla="*/ 1408 w 2204"/>
              <a:gd name="T35" fmla="*/ 1872 h 2204"/>
              <a:gd name="T36" fmla="*/ 1802 w 2204"/>
              <a:gd name="T37" fmla="*/ 1449 h 2204"/>
              <a:gd name="T38" fmla="*/ 1802 w 2204"/>
              <a:gd name="T39" fmla="*/ 1194 h 2204"/>
              <a:gd name="T40" fmla="*/ 1095 w 2204"/>
              <a:gd name="T41" fmla="*/ 2204 h 2204"/>
              <a:gd name="T42" fmla="*/ 2204 w 2204"/>
              <a:gd name="T43" fmla="*/ 1092 h 2204"/>
              <a:gd name="T44" fmla="*/ 1095 w 2204"/>
              <a:gd name="T45" fmla="*/ 0 h 2204"/>
              <a:gd name="T46" fmla="*/ 0 w 2204"/>
              <a:gd name="T47" fmla="*/ 1092 h 2204"/>
              <a:gd name="T48" fmla="*/ 1095 w 2204"/>
              <a:gd name="T49" fmla="*/ 2204 h 2204"/>
              <a:gd name="T50" fmla="*/ 1095 w 2204"/>
              <a:gd name="T51" fmla="*/ 132 h 2204"/>
              <a:gd name="T52" fmla="*/ 2072 w 2204"/>
              <a:gd name="T53" fmla="*/ 1092 h 2204"/>
              <a:gd name="T54" fmla="*/ 1095 w 2204"/>
              <a:gd name="T55" fmla="*/ 2068 h 2204"/>
              <a:gd name="T56" fmla="*/ 137 w 2204"/>
              <a:gd name="T57" fmla="*/ 1092 h 2204"/>
              <a:gd name="T58" fmla="*/ 1095 w 2204"/>
              <a:gd name="T59" fmla="*/ 132 h 2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204" h="2204">
                <a:moveTo>
                  <a:pt x="1131" y="1075"/>
                </a:moveTo>
                <a:cubicBezTo>
                  <a:pt x="1131" y="1075"/>
                  <a:pt x="1131" y="1075"/>
                  <a:pt x="849" y="764"/>
                </a:cubicBezTo>
                <a:cubicBezTo>
                  <a:pt x="849" y="1470"/>
                  <a:pt x="849" y="1470"/>
                  <a:pt x="849" y="1470"/>
                </a:cubicBezTo>
                <a:cubicBezTo>
                  <a:pt x="849" y="1470"/>
                  <a:pt x="849" y="1470"/>
                  <a:pt x="645" y="1470"/>
                </a:cubicBezTo>
                <a:cubicBezTo>
                  <a:pt x="645" y="1470"/>
                  <a:pt x="645" y="1470"/>
                  <a:pt x="645" y="764"/>
                </a:cubicBezTo>
                <a:cubicBezTo>
                  <a:pt x="645" y="764"/>
                  <a:pt x="645" y="764"/>
                  <a:pt x="344" y="1075"/>
                </a:cubicBezTo>
                <a:cubicBezTo>
                  <a:pt x="344" y="1075"/>
                  <a:pt x="344" y="1075"/>
                  <a:pt x="344" y="819"/>
                </a:cubicBezTo>
                <a:cubicBezTo>
                  <a:pt x="344" y="819"/>
                  <a:pt x="344" y="819"/>
                  <a:pt x="738" y="397"/>
                </a:cubicBezTo>
                <a:cubicBezTo>
                  <a:pt x="738" y="397"/>
                  <a:pt x="738" y="397"/>
                  <a:pt x="1131" y="819"/>
                </a:cubicBezTo>
                <a:cubicBezTo>
                  <a:pt x="1131" y="819"/>
                  <a:pt x="1131" y="819"/>
                  <a:pt x="1131" y="1075"/>
                </a:cubicBezTo>
                <a:close/>
                <a:moveTo>
                  <a:pt x="1802" y="1194"/>
                </a:moveTo>
                <a:cubicBezTo>
                  <a:pt x="1802" y="1194"/>
                  <a:pt x="1802" y="1194"/>
                  <a:pt x="1519" y="1505"/>
                </a:cubicBezTo>
                <a:cubicBezTo>
                  <a:pt x="1519" y="799"/>
                  <a:pt x="1519" y="799"/>
                  <a:pt x="1519" y="799"/>
                </a:cubicBezTo>
                <a:cubicBezTo>
                  <a:pt x="1519" y="799"/>
                  <a:pt x="1519" y="799"/>
                  <a:pt x="1316" y="799"/>
                </a:cubicBezTo>
                <a:cubicBezTo>
                  <a:pt x="1316" y="799"/>
                  <a:pt x="1316" y="799"/>
                  <a:pt x="1316" y="1505"/>
                </a:cubicBezTo>
                <a:cubicBezTo>
                  <a:pt x="1316" y="1505"/>
                  <a:pt x="1316" y="1505"/>
                  <a:pt x="1015" y="1194"/>
                </a:cubicBezTo>
                <a:cubicBezTo>
                  <a:pt x="1015" y="1194"/>
                  <a:pt x="1015" y="1194"/>
                  <a:pt x="1015" y="1449"/>
                </a:cubicBezTo>
                <a:cubicBezTo>
                  <a:pt x="1015" y="1449"/>
                  <a:pt x="1015" y="1449"/>
                  <a:pt x="1408" y="1872"/>
                </a:cubicBezTo>
                <a:cubicBezTo>
                  <a:pt x="1408" y="1872"/>
                  <a:pt x="1408" y="1872"/>
                  <a:pt x="1802" y="1449"/>
                </a:cubicBezTo>
                <a:cubicBezTo>
                  <a:pt x="1802" y="1449"/>
                  <a:pt x="1802" y="1449"/>
                  <a:pt x="1802" y="1194"/>
                </a:cubicBezTo>
                <a:close/>
                <a:moveTo>
                  <a:pt x="1095" y="2204"/>
                </a:moveTo>
                <a:cubicBezTo>
                  <a:pt x="1718" y="2204"/>
                  <a:pt x="2204" y="1714"/>
                  <a:pt x="2204" y="1092"/>
                </a:cubicBezTo>
                <a:cubicBezTo>
                  <a:pt x="2204" y="485"/>
                  <a:pt x="1718" y="0"/>
                  <a:pt x="1095" y="0"/>
                </a:cubicBezTo>
                <a:cubicBezTo>
                  <a:pt x="492" y="0"/>
                  <a:pt x="0" y="485"/>
                  <a:pt x="0" y="1092"/>
                </a:cubicBezTo>
                <a:cubicBezTo>
                  <a:pt x="0" y="1714"/>
                  <a:pt x="492" y="2204"/>
                  <a:pt x="1095" y="2204"/>
                </a:cubicBezTo>
                <a:close/>
                <a:moveTo>
                  <a:pt x="1095" y="132"/>
                </a:moveTo>
                <a:cubicBezTo>
                  <a:pt x="1627" y="132"/>
                  <a:pt x="2072" y="561"/>
                  <a:pt x="2072" y="1092"/>
                </a:cubicBezTo>
                <a:cubicBezTo>
                  <a:pt x="2072" y="1628"/>
                  <a:pt x="1627" y="2068"/>
                  <a:pt x="1095" y="2068"/>
                </a:cubicBezTo>
                <a:cubicBezTo>
                  <a:pt x="563" y="2068"/>
                  <a:pt x="137" y="1628"/>
                  <a:pt x="137" y="1092"/>
                </a:cubicBezTo>
                <a:cubicBezTo>
                  <a:pt x="137" y="561"/>
                  <a:pt x="563" y="132"/>
                  <a:pt x="1095" y="132"/>
                </a:cubicBezTo>
                <a:close/>
              </a:path>
            </a:pathLst>
          </a:custGeom>
          <a:solidFill>
            <a:srgbClr val="00B0F0"/>
          </a:solidFill>
          <a:ln w="9525" cap="flat" cmpd="sng" algn="ctr">
            <a:noFill/>
            <a:prstDash val="solid"/>
            <a:headEnd type="none" w="med" len="med"/>
            <a:tailEnd type="none" w="med" len="med"/>
          </a:ln>
          <a:effectLst/>
        </p:spPr>
        <p:txBody>
          <a:bodyPr rot="0" spcFirstLastPara="0" vertOverflow="overflow" horzOverflow="overflow" vert="horz" wrap="square" lIns="179208" tIns="143366" rIns="179208" bIns="143366" numCol="1" spcCol="0" rtlCol="0" fromWordArt="0" anchor="t" anchorCtr="0" forceAA="0" compatLnSpc="1">
            <a:prstTxWarp prst="textNoShape">
              <a:avLst/>
            </a:prstTxWarp>
            <a:noAutofit/>
          </a:bodyPr>
          <a:lstStyle/>
          <a:p>
            <a:pPr marL="335951" indent="-335951" algn="ctr" defTabSz="913576">
              <a:lnSpc>
                <a:spcPct val="90000"/>
              </a:lnSpc>
              <a:buFont typeface="Wingdings 3" panose="05040102010807070707" pitchFamily="18" charset="2"/>
              <a:buChar char="Æ"/>
              <a:defRPr/>
            </a:pPr>
            <a:endParaRPr lang="en-US" sz="1961" b="1" kern="0">
              <a:solidFill>
                <a:srgbClr val="FFFFFF"/>
              </a:solidFill>
              <a:latin typeface="Segoe UI Light"/>
              <a:ea typeface="Segoe UI" pitchFamily="34" charset="0"/>
              <a:cs typeface="Segoe UI" pitchFamily="34" charset="0"/>
            </a:endParaRPr>
          </a:p>
        </p:txBody>
      </p:sp>
      <p:sp>
        <p:nvSpPr>
          <p:cNvPr id="98" name="TextBox 97"/>
          <p:cNvSpPr txBox="1"/>
          <p:nvPr/>
        </p:nvSpPr>
        <p:spPr>
          <a:xfrm>
            <a:off x="9961934" y="2187192"/>
            <a:ext cx="1618644" cy="841749"/>
          </a:xfrm>
          <a:prstGeom prst="rect">
            <a:avLst/>
          </a:prstGeom>
          <a:noFill/>
        </p:spPr>
        <p:txBody>
          <a:bodyPr wrap="square" lIns="179208" tIns="143366" rIns="179208" bIns="143366" rtlCol="0" anchor="ctr">
            <a:noAutofit/>
          </a:bodyPr>
          <a:lstStyle/>
          <a:p>
            <a:pPr algn="ctr" defTabSz="912979" fontAlgn="base">
              <a:lnSpc>
                <a:spcPct val="90000"/>
              </a:lnSpc>
              <a:spcBef>
                <a:spcPct val="0"/>
              </a:spcBef>
              <a:spcAft>
                <a:spcPts val="588"/>
              </a:spcAft>
            </a:pPr>
            <a:r>
              <a:rPr lang="en-US" sz="1176">
                <a:gradFill>
                  <a:gsLst>
                    <a:gs pos="72566">
                      <a:srgbClr val="505050"/>
                    </a:gs>
                    <a:gs pos="43000">
                      <a:srgbClr val="505050"/>
                    </a:gs>
                  </a:gsLst>
                  <a:lin ang="5400000" scaled="0"/>
                </a:gradFill>
                <a:latin typeface="Segoe UI Semibold" panose="020B0702040204020203" pitchFamily="34" charset="0"/>
                <a:ea typeface="MS PGothic" charset="0"/>
                <a:cs typeface="Segoe UI Semibold" panose="020B0702040204020203" pitchFamily="34" charset="0"/>
              </a:rPr>
              <a:t>SaaS, Azure, SharePoint, Web, OneDrive	</a:t>
            </a:r>
          </a:p>
        </p:txBody>
      </p:sp>
      <p:sp>
        <p:nvSpPr>
          <p:cNvPr id="99" name="Freeform 5"/>
          <p:cNvSpPr>
            <a:spLocks noEditPoints="1"/>
          </p:cNvSpPr>
          <p:nvPr/>
        </p:nvSpPr>
        <p:spPr bwMode="auto">
          <a:xfrm>
            <a:off x="8383653" y="3931872"/>
            <a:ext cx="415685" cy="448082"/>
          </a:xfrm>
          <a:custGeom>
            <a:avLst/>
            <a:gdLst>
              <a:gd name="T0" fmla="*/ 1460 w 1460"/>
              <a:gd name="T1" fmla="*/ 384 h 1615"/>
              <a:gd name="T2" fmla="*/ 1460 w 1460"/>
              <a:gd name="T3" fmla="*/ 1359 h 1615"/>
              <a:gd name="T4" fmla="*/ 1460 w 1460"/>
              <a:gd name="T5" fmla="*/ 1359 h 1615"/>
              <a:gd name="T6" fmla="*/ 730 w 1460"/>
              <a:gd name="T7" fmla="*/ 1615 h 1615"/>
              <a:gd name="T8" fmla="*/ 0 w 1460"/>
              <a:gd name="T9" fmla="*/ 1359 h 1615"/>
              <a:gd name="T10" fmla="*/ 0 w 1460"/>
              <a:gd name="T11" fmla="*/ 1359 h 1615"/>
              <a:gd name="T12" fmla="*/ 0 w 1460"/>
              <a:gd name="T13" fmla="*/ 1359 h 1615"/>
              <a:gd name="T14" fmla="*/ 0 w 1460"/>
              <a:gd name="T15" fmla="*/ 1339 h 1615"/>
              <a:gd name="T16" fmla="*/ 0 w 1460"/>
              <a:gd name="T17" fmla="*/ 1329 h 1615"/>
              <a:gd name="T18" fmla="*/ 0 w 1460"/>
              <a:gd name="T19" fmla="*/ 394 h 1615"/>
              <a:gd name="T20" fmla="*/ 730 w 1460"/>
              <a:gd name="T21" fmla="*/ 591 h 1615"/>
              <a:gd name="T22" fmla="*/ 1460 w 1460"/>
              <a:gd name="T23" fmla="*/ 384 h 1615"/>
              <a:gd name="T24" fmla="*/ 730 w 1460"/>
              <a:gd name="T25" fmla="*/ 541 h 1615"/>
              <a:gd name="T26" fmla="*/ 1460 w 1460"/>
              <a:gd name="T27" fmla="*/ 275 h 1615"/>
              <a:gd name="T28" fmla="*/ 730 w 1460"/>
              <a:gd name="T29" fmla="*/ 0 h 1615"/>
              <a:gd name="T30" fmla="*/ 0 w 1460"/>
              <a:gd name="T31" fmla="*/ 275 h 1615"/>
              <a:gd name="T32" fmla="*/ 730 w 1460"/>
              <a:gd name="T33" fmla="*/ 541 h 16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60" h="1615">
                <a:moveTo>
                  <a:pt x="1460" y="384"/>
                </a:moveTo>
                <a:cubicBezTo>
                  <a:pt x="1460" y="1359"/>
                  <a:pt x="1460" y="1359"/>
                  <a:pt x="1460" y="1359"/>
                </a:cubicBezTo>
                <a:cubicBezTo>
                  <a:pt x="1460" y="1359"/>
                  <a:pt x="1460" y="1359"/>
                  <a:pt x="1460" y="1359"/>
                </a:cubicBezTo>
                <a:cubicBezTo>
                  <a:pt x="1431" y="1507"/>
                  <a:pt x="1115" y="1615"/>
                  <a:pt x="730" y="1615"/>
                </a:cubicBezTo>
                <a:cubicBezTo>
                  <a:pt x="346" y="1615"/>
                  <a:pt x="30" y="1507"/>
                  <a:pt x="0" y="1359"/>
                </a:cubicBezTo>
                <a:cubicBezTo>
                  <a:pt x="0" y="1359"/>
                  <a:pt x="0" y="1359"/>
                  <a:pt x="0" y="1359"/>
                </a:cubicBezTo>
                <a:cubicBezTo>
                  <a:pt x="0" y="1359"/>
                  <a:pt x="0" y="1359"/>
                  <a:pt x="0" y="1359"/>
                </a:cubicBezTo>
                <a:cubicBezTo>
                  <a:pt x="0" y="1349"/>
                  <a:pt x="0" y="1349"/>
                  <a:pt x="0" y="1339"/>
                </a:cubicBezTo>
                <a:cubicBezTo>
                  <a:pt x="0" y="1339"/>
                  <a:pt x="0" y="1339"/>
                  <a:pt x="0" y="1329"/>
                </a:cubicBezTo>
                <a:cubicBezTo>
                  <a:pt x="0" y="394"/>
                  <a:pt x="0" y="394"/>
                  <a:pt x="0" y="394"/>
                </a:cubicBezTo>
                <a:cubicBezTo>
                  <a:pt x="119" y="522"/>
                  <a:pt x="434" y="591"/>
                  <a:pt x="730" y="591"/>
                </a:cubicBezTo>
                <a:cubicBezTo>
                  <a:pt x="1026" y="591"/>
                  <a:pt x="1342" y="522"/>
                  <a:pt x="1460" y="384"/>
                </a:cubicBezTo>
                <a:close/>
                <a:moveTo>
                  <a:pt x="730" y="541"/>
                </a:moveTo>
                <a:cubicBezTo>
                  <a:pt x="1135" y="541"/>
                  <a:pt x="1460" y="423"/>
                  <a:pt x="1460" y="275"/>
                </a:cubicBezTo>
                <a:cubicBezTo>
                  <a:pt x="1460" y="128"/>
                  <a:pt x="1135" y="0"/>
                  <a:pt x="730" y="0"/>
                </a:cubicBezTo>
                <a:cubicBezTo>
                  <a:pt x="326" y="0"/>
                  <a:pt x="0" y="128"/>
                  <a:pt x="0" y="275"/>
                </a:cubicBezTo>
                <a:cubicBezTo>
                  <a:pt x="0" y="423"/>
                  <a:pt x="326" y="541"/>
                  <a:pt x="730" y="541"/>
                </a:cubicBezTo>
                <a:close/>
              </a:path>
            </a:pathLst>
          </a:custGeom>
          <a:solidFill>
            <a:srgbClr val="0070C0"/>
          </a:solidFill>
          <a:ln>
            <a:noFill/>
          </a:ln>
        </p:spPr>
        <p:txBody>
          <a:bodyPr vert="horz" wrap="square" lIns="87843" tIns="43920" rIns="87843" bIns="43920" numCol="1" anchor="t" anchorCtr="0" compatLnSpc="1">
            <a:prstTxWarp prst="textNoShape">
              <a:avLst/>
            </a:prstTxWarp>
          </a:bodyPr>
          <a:lstStyle/>
          <a:p>
            <a:pPr defTabSz="895838">
              <a:defRPr/>
            </a:pPr>
            <a:endParaRPr lang="en-US" sz="1729" kern="0">
              <a:solidFill>
                <a:srgbClr val="505050"/>
              </a:solidFill>
            </a:endParaRPr>
          </a:p>
        </p:txBody>
      </p:sp>
      <p:sp>
        <p:nvSpPr>
          <p:cNvPr id="100" name="TextBox 99"/>
          <p:cNvSpPr txBox="1"/>
          <p:nvPr/>
        </p:nvSpPr>
        <p:spPr>
          <a:xfrm>
            <a:off x="8137159" y="4398612"/>
            <a:ext cx="936265" cy="590889"/>
          </a:xfrm>
          <a:prstGeom prst="rect">
            <a:avLst/>
          </a:prstGeom>
          <a:noFill/>
        </p:spPr>
        <p:txBody>
          <a:bodyPr wrap="square" lIns="179208" tIns="143366" rIns="179208" bIns="143366" rtlCol="0" anchor="ctr">
            <a:noAutofit/>
          </a:bodyPr>
          <a:lstStyle/>
          <a:p>
            <a:pPr algn="ctr" defTabSz="912979" fontAlgn="base">
              <a:lnSpc>
                <a:spcPct val="90000"/>
              </a:lnSpc>
              <a:spcBef>
                <a:spcPct val="0"/>
              </a:spcBef>
              <a:spcAft>
                <a:spcPts val="588"/>
              </a:spcAft>
            </a:pPr>
            <a:r>
              <a:rPr lang="en-US" sz="1176">
                <a:gradFill>
                  <a:gsLst>
                    <a:gs pos="72566">
                      <a:srgbClr val="505050"/>
                    </a:gs>
                    <a:gs pos="43000">
                      <a:srgbClr val="505050"/>
                    </a:gs>
                  </a:gsLst>
                  <a:lin ang="5400000" scaled="0"/>
                </a:gradFill>
                <a:latin typeface="Segoe UI Semibold" panose="020B0702040204020203" pitchFamily="34" charset="0"/>
                <a:ea typeface="MS PGothic" charset="0"/>
                <a:cs typeface="Segoe UI Semibold" panose="020B0702040204020203" pitchFamily="34" charset="0"/>
              </a:rPr>
              <a:t>Data Source	</a:t>
            </a:r>
          </a:p>
        </p:txBody>
      </p:sp>
      <p:sp>
        <p:nvSpPr>
          <p:cNvPr id="101" name="Oval 100"/>
          <p:cNvSpPr/>
          <p:nvPr/>
        </p:nvSpPr>
        <p:spPr bwMode="auto">
          <a:xfrm>
            <a:off x="8451506" y="3587194"/>
            <a:ext cx="254504" cy="256539"/>
          </a:xfrm>
          <a:prstGeom prst="ellipse">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336080" indent="-336080" algn="ctr" defTabSz="913927" fontAlgn="base">
              <a:lnSpc>
                <a:spcPct val="90000"/>
              </a:lnSpc>
              <a:spcBef>
                <a:spcPct val="0"/>
              </a:spcBef>
              <a:spcAft>
                <a:spcPct val="0"/>
              </a:spcAft>
              <a:buFont typeface="Wingdings 3" panose="05040102010807070707" pitchFamily="18" charset="2"/>
              <a:buChar char="Æ"/>
              <a:defRPr/>
            </a:pPr>
            <a:endParaRPr lang="en-US" sz="1961" b="1" kern="0" err="1">
              <a:solidFill>
                <a:srgbClr val="FFFFFF"/>
              </a:solidFill>
              <a:latin typeface="Segoe UI Light"/>
              <a:ea typeface="Segoe UI" pitchFamily="34" charset="0"/>
              <a:cs typeface="Segoe UI" pitchFamily="34" charset="0"/>
            </a:endParaRPr>
          </a:p>
        </p:txBody>
      </p:sp>
      <p:sp>
        <p:nvSpPr>
          <p:cNvPr id="102" name="Freeform 5"/>
          <p:cNvSpPr>
            <a:spLocks noEditPoints="1"/>
          </p:cNvSpPr>
          <p:nvPr/>
        </p:nvSpPr>
        <p:spPr bwMode="auto">
          <a:xfrm>
            <a:off x="8452617" y="3564698"/>
            <a:ext cx="268564" cy="270816"/>
          </a:xfrm>
          <a:custGeom>
            <a:avLst/>
            <a:gdLst>
              <a:gd name="T0" fmla="*/ 1131 w 2204"/>
              <a:gd name="T1" fmla="*/ 1075 h 2204"/>
              <a:gd name="T2" fmla="*/ 849 w 2204"/>
              <a:gd name="T3" fmla="*/ 764 h 2204"/>
              <a:gd name="T4" fmla="*/ 849 w 2204"/>
              <a:gd name="T5" fmla="*/ 1470 h 2204"/>
              <a:gd name="T6" fmla="*/ 645 w 2204"/>
              <a:gd name="T7" fmla="*/ 1470 h 2204"/>
              <a:gd name="T8" fmla="*/ 645 w 2204"/>
              <a:gd name="T9" fmla="*/ 764 h 2204"/>
              <a:gd name="T10" fmla="*/ 344 w 2204"/>
              <a:gd name="T11" fmla="*/ 1075 h 2204"/>
              <a:gd name="T12" fmla="*/ 344 w 2204"/>
              <a:gd name="T13" fmla="*/ 819 h 2204"/>
              <a:gd name="T14" fmla="*/ 738 w 2204"/>
              <a:gd name="T15" fmla="*/ 397 h 2204"/>
              <a:gd name="T16" fmla="*/ 1131 w 2204"/>
              <a:gd name="T17" fmla="*/ 819 h 2204"/>
              <a:gd name="T18" fmla="*/ 1131 w 2204"/>
              <a:gd name="T19" fmla="*/ 1075 h 2204"/>
              <a:gd name="T20" fmla="*/ 1802 w 2204"/>
              <a:gd name="T21" fmla="*/ 1194 h 2204"/>
              <a:gd name="T22" fmla="*/ 1519 w 2204"/>
              <a:gd name="T23" fmla="*/ 1505 h 2204"/>
              <a:gd name="T24" fmla="*/ 1519 w 2204"/>
              <a:gd name="T25" fmla="*/ 799 h 2204"/>
              <a:gd name="T26" fmla="*/ 1316 w 2204"/>
              <a:gd name="T27" fmla="*/ 799 h 2204"/>
              <a:gd name="T28" fmla="*/ 1316 w 2204"/>
              <a:gd name="T29" fmla="*/ 1505 h 2204"/>
              <a:gd name="T30" fmla="*/ 1015 w 2204"/>
              <a:gd name="T31" fmla="*/ 1194 h 2204"/>
              <a:gd name="T32" fmla="*/ 1015 w 2204"/>
              <a:gd name="T33" fmla="*/ 1449 h 2204"/>
              <a:gd name="T34" fmla="*/ 1408 w 2204"/>
              <a:gd name="T35" fmla="*/ 1872 h 2204"/>
              <a:gd name="T36" fmla="*/ 1802 w 2204"/>
              <a:gd name="T37" fmla="*/ 1449 h 2204"/>
              <a:gd name="T38" fmla="*/ 1802 w 2204"/>
              <a:gd name="T39" fmla="*/ 1194 h 2204"/>
              <a:gd name="T40" fmla="*/ 1095 w 2204"/>
              <a:gd name="T41" fmla="*/ 2204 h 2204"/>
              <a:gd name="T42" fmla="*/ 2204 w 2204"/>
              <a:gd name="T43" fmla="*/ 1092 h 2204"/>
              <a:gd name="T44" fmla="*/ 1095 w 2204"/>
              <a:gd name="T45" fmla="*/ 0 h 2204"/>
              <a:gd name="T46" fmla="*/ 0 w 2204"/>
              <a:gd name="T47" fmla="*/ 1092 h 2204"/>
              <a:gd name="T48" fmla="*/ 1095 w 2204"/>
              <a:gd name="T49" fmla="*/ 2204 h 2204"/>
              <a:gd name="T50" fmla="*/ 1095 w 2204"/>
              <a:gd name="T51" fmla="*/ 132 h 2204"/>
              <a:gd name="T52" fmla="*/ 2072 w 2204"/>
              <a:gd name="T53" fmla="*/ 1092 h 2204"/>
              <a:gd name="T54" fmla="*/ 1095 w 2204"/>
              <a:gd name="T55" fmla="*/ 2068 h 2204"/>
              <a:gd name="T56" fmla="*/ 137 w 2204"/>
              <a:gd name="T57" fmla="*/ 1092 h 2204"/>
              <a:gd name="T58" fmla="*/ 1095 w 2204"/>
              <a:gd name="T59" fmla="*/ 132 h 2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204" h="2204">
                <a:moveTo>
                  <a:pt x="1131" y="1075"/>
                </a:moveTo>
                <a:cubicBezTo>
                  <a:pt x="1131" y="1075"/>
                  <a:pt x="1131" y="1075"/>
                  <a:pt x="849" y="764"/>
                </a:cubicBezTo>
                <a:cubicBezTo>
                  <a:pt x="849" y="1470"/>
                  <a:pt x="849" y="1470"/>
                  <a:pt x="849" y="1470"/>
                </a:cubicBezTo>
                <a:cubicBezTo>
                  <a:pt x="849" y="1470"/>
                  <a:pt x="849" y="1470"/>
                  <a:pt x="645" y="1470"/>
                </a:cubicBezTo>
                <a:cubicBezTo>
                  <a:pt x="645" y="1470"/>
                  <a:pt x="645" y="1470"/>
                  <a:pt x="645" y="764"/>
                </a:cubicBezTo>
                <a:cubicBezTo>
                  <a:pt x="645" y="764"/>
                  <a:pt x="645" y="764"/>
                  <a:pt x="344" y="1075"/>
                </a:cubicBezTo>
                <a:cubicBezTo>
                  <a:pt x="344" y="1075"/>
                  <a:pt x="344" y="1075"/>
                  <a:pt x="344" y="819"/>
                </a:cubicBezTo>
                <a:cubicBezTo>
                  <a:pt x="344" y="819"/>
                  <a:pt x="344" y="819"/>
                  <a:pt x="738" y="397"/>
                </a:cubicBezTo>
                <a:cubicBezTo>
                  <a:pt x="738" y="397"/>
                  <a:pt x="738" y="397"/>
                  <a:pt x="1131" y="819"/>
                </a:cubicBezTo>
                <a:cubicBezTo>
                  <a:pt x="1131" y="819"/>
                  <a:pt x="1131" y="819"/>
                  <a:pt x="1131" y="1075"/>
                </a:cubicBezTo>
                <a:close/>
                <a:moveTo>
                  <a:pt x="1802" y="1194"/>
                </a:moveTo>
                <a:cubicBezTo>
                  <a:pt x="1802" y="1194"/>
                  <a:pt x="1802" y="1194"/>
                  <a:pt x="1519" y="1505"/>
                </a:cubicBezTo>
                <a:cubicBezTo>
                  <a:pt x="1519" y="799"/>
                  <a:pt x="1519" y="799"/>
                  <a:pt x="1519" y="799"/>
                </a:cubicBezTo>
                <a:cubicBezTo>
                  <a:pt x="1519" y="799"/>
                  <a:pt x="1519" y="799"/>
                  <a:pt x="1316" y="799"/>
                </a:cubicBezTo>
                <a:cubicBezTo>
                  <a:pt x="1316" y="799"/>
                  <a:pt x="1316" y="799"/>
                  <a:pt x="1316" y="1505"/>
                </a:cubicBezTo>
                <a:cubicBezTo>
                  <a:pt x="1316" y="1505"/>
                  <a:pt x="1316" y="1505"/>
                  <a:pt x="1015" y="1194"/>
                </a:cubicBezTo>
                <a:cubicBezTo>
                  <a:pt x="1015" y="1194"/>
                  <a:pt x="1015" y="1194"/>
                  <a:pt x="1015" y="1449"/>
                </a:cubicBezTo>
                <a:cubicBezTo>
                  <a:pt x="1015" y="1449"/>
                  <a:pt x="1015" y="1449"/>
                  <a:pt x="1408" y="1872"/>
                </a:cubicBezTo>
                <a:cubicBezTo>
                  <a:pt x="1408" y="1872"/>
                  <a:pt x="1408" y="1872"/>
                  <a:pt x="1802" y="1449"/>
                </a:cubicBezTo>
                <a:cubicBezTo>
                  <a:pt x="1802" y="1449"/>
                  <a:pt x="1802" y="1449"/>
                  <a:pt x="1802" y="1194"/>
                </a:cubicBezTo>
                <a:close/>
                <a:moveTo>
                  <a:pt x="1095" y="2204"/>
                </a:moveTo>
                <a:cubicBezTo>
                  <a:pt x="1718" y="2204"/>
                  <a:pt x="2204" y="1714"/>
                  <a:pt x="2204" y="1092"/>
                </a:cubicBezTo>
                <a:cubicBezTo>
                  <a:pt x="2204" y="485"/>
                  <a:pt x="1718" y="0"/>
                  <a:pt x="1095" y="0"/>
                </a:cubicBezTo>
                <a:cubicBezTo>
                  <a:pt x="492" y="0"/>
                  <a:pt x="0" y="485"/>
                  <a:pt x="0" y="1092"/>
                </a:cubicBezTo>
                <a:cubicBezTo>
                  <a:pt x="0" y="1714"/>
                  <a:pt x="492" y="2204"/>
                  <a:pt x="1095" y="2204"/>
                </a:cubicBezTo>
                <a:close/>
                <a:moveTo>
                  <a:pt x="1095" y="132"/>
                </a:moveTo>
                <a:cubicBezTo>
                  <a:pt x="1627" y="132"/>
                  <a:pt x="2072" y="561"/>
                  <a:pt x="2072" y="1092"/>
                </a:cubicBezTo>
                <a:cubicBezTo>
                  <a:pt x="2072" y="1628"/>
                  <a:pt x="1627" y="2068"/>
                  <a:pt x="1095" y="2068"/>
                </a:cubicBezTo>
                <a:cubicBezTo>
                  <a:pt x="563" y="2068"/>
                  <a:pt x="137" y="1628"/>
                  <a:pt x="137" y="1092"/>
                </a:cubicBezTo>
                <a:cubicBezTo>
                  <a:pt x="137" y="561"/>
                  <a:pt x="563" y="132"/>
                  <a:pt x="1095" y="132"/>
                </a:cubicBezTo>
                <a:close/>
              </a:path>
            </a:pathLst>
          </a:custGeom>
          <a:solidFill>
            <a:srgbClr val="00B0F0"/>
          </a:solidFill>
          <a:ln w="9525" cap="flat" cmpd="sng" algn="ctr">
            <a:noFill/>
            <a:prstDash val="solid"/>
            <a:headEnd type="none" w="med" len="med"/>
            <a:tailEnd type="none" w="med" len="med"/>
          </a:ln>
          <a:effectLst/>
        </p:spPr>
        <p:txBody>
          <a:bodyPr rot="0" spcFirstLastPara="0" vertOverflow="overflow" horzOverflow="overflow" vert="horz" wrap="square" lIns="179208" tIns="143366" rIns="179208" bIns="143366" numCol="1" spcCol="0" rtlCol="0" fromWordArt="0" anchor="t" anchorCtr="0" forceAA="0" compatLnSpc="1">
            <a:prstTxWarp prst="textNoShape">
              <a:avLst/>
            </a:prstTxWarp>
            <a:noAutofit/>
          </a:bodyPr>
          <a:lstStyle/>
          <a:p>
            <a:pPr marL="335951" indent="-335951" algn="ctr" defTabSz="913576">
              <a:lnSpc>
                <a:spcPct val="90000"/>
              </a:lnSpc>
              <a:buFont typeface="Wingdings 3" panose="05040102010807070707" pitchFamily="18" charset="2"/>
              <a:buChar char="Æ"/>
              <a:defRPr/>
            </a:pPr>
            <a:endParaRPr lang="en-US" sz="1961" b="1" kern="0">
              <a:solidFill>
                <a:srgbClr val="FFFFFF"/>
              </a:solidFill>
              <a:latin typeface="Segoe UI Light"/>
              <a:ea typeface="Segoe UI" pitchFamily="34" charset="0"/>
              <a:cs typeface="Segoe UI" pitchFamily="34" charset="0"/>
            </a:endParaRPr>
          </a:p>
        </p:txBody>
      </p:sp>
      <p:sp>
        <p:nvSpPr>
          <p:cNvPr id="66" name="TextBox 65"/>
          <p:cNvSpPr txBox="1"/>
          <p:nvPr/>
        </p:nvSpPr>
        <p:spPr>
          <a:xfrm>
            <a:off x="7322721" y="1232093"/>
            <a:ext cx="1376225" cy="634358"/>
          </a:xfrm>
          <a:prstGeom prst="rect">
            <a:avLst/>
          </a:prstGeom>
          <a:noFill/>
        </p:spPr>
        <p:txBody>
          <a:bodyPr wrap="square" lIns="179259" tIns="143407" rIns="179259" bIns="143407" rtlCol="0" anchor="ctr">
            <a:noAutofit/>
          </a:bodyPr>
          <a:lstStyle/>
          <a:p>
            <a:pPr algn="ctr" defTabSz="914192">
              <a:lnSpc>
                <a:spcPct val="90000"/>
              </a:lnSpc>
              <a:spcAft>
                <a:spcPts val="588"/>
              </a:spcAft>
              <a:defRPr/>
            </a:pPr>
            <a:r>
              <a:rPr lang="en-US" sz="1175" kern="0">
                <a:gradFill>
                  <a:gsLst>
                    <a:gs pos="2917">
                      <a:srgbClr val="000000"/>
                    </a:gs>
                    <a:gs pos="30000">
                      <a:srgbClr val="000000"/>
                    </a:gs>
                  </a:gsLst>
                  <a:lin ang="5400000" scaled="0"/>
                </a:gradFill>
              </a:rPr>
              <a:t>Live Power BI Dashboards and Reports</a:t>
            </a:r>
          </a:p>
        </p:txBody>
      </p:sp>
    </p:spTree>
    <p:extLst>
      <p:ext uri="{BB962C8B-B14F-4D97-AF65-F5344CB8AC3E}">
        <p14:creationId xmlns:p14="http://schemas.microsoft.com/office/powerpoint/2010/main" val="2999997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 name="Text Placeholder 2"/>
          <p:cNvSpPr txBox="1">
            <a:spLocks/>
          </p:cNvSpPr>
          <p:nvPr/>
        </p:nvSpPr>
        <p:spPr>
          <a:xfrm>
            <a:off x="2846171" y="1340643"/>
            <a:ext cx="9031090" cy="897374"/>
          </a:xfrm>
          <a:prstGeom prst="rect">
            <a:avLst/>
          </a:prstGeom>
        </p:spPr>
        <p:txBody>
          <a:bodyPr vert="horz" wrap="square" lIns="182880" tIns="146304" rIns="182880" bIns="146304" rtlCol="0">
            <a:noAutofit/>
          </a:bodyPr>
          <a:lstStyle>
            <a:lvl1pPr marL="182845" marR="0"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3921" kern="1200" spc="0" baseline="0">
                <a:gradFill>
                  <a:gsLst>
                    <a:gs pos="1250">
                      <a:schemeClr val="tx2"/>
                    </a:gs>
                    <a:gs pos="99000">
                      <a:schemeClr val="tx2"/>
                    </a:gs>
                  </a:gsLst>
                  <a:lin ang="5400000" scaled="0"/>
                </a:gradFill>
                <a:latin typeface="+mj-lt"/>
                <a:ea typeface="+mn-ea"/>
                <a:cs typeface="+mn-cs"/>
              </a:defRPr>
            </a:lvl1pPr>
            <a:lvl2pPr marL="365690" marR="0"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2400" kern="1200" spc="0" baseline="0">
                <a:solidFill>
                  <a:schemeClr val="tx2"/>
                </a:solidFill>
                <a:latin typeface="+mj-lt"/>
                <a:ea typeface="+mn-ea"/>
                <a:cs typeface="+mn-cs"/>
              </a:defRPr>
            </a:lvl2pPr>
            <a:lvl3pPr marL="548535" marR="0"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2000" kern="1200" spc="0" baseline="0">
                <a:solidFill>
                  <a:schemeClr val="tx2"/>
                </a:solidFill>
                <a:latin typeface="+mj-lt"/>
                <a:ea typeface="+mn-ea"/>
                <a:cs typeface="+mn-cs"/>
              </a:defRPr>
            </a:lvl3pPr>
            <a:lvl4pPr marL="733802" marR="0" indent="-28569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1765" kern="1200" spc="0" baseline="0">
                <a:solidFill>
                  <a:schemeClr val="tx2"/>
                </a:solidFill>
                <a:latin typeface="+mn-lt"/>
                <a:ea typeface="+mn-ea"/>
                <a:cs typeface="+mn-cs"/>
              </a:defRPr>
            </a:lvl4pPr>
            <a:lvl5pPr marL="957856" marR="0" indent="-28569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1765" kern="1200" spc="0" baseline="0">
                <a:solidFill>
                  <a:schemeClr val="tx2"/>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r>
              <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rPr>
              <a:t>When a </a:t>
            </a:r>
            <a:r>
              <a:rPr kumimoji="0" lang="en-US" sz="2000" b="1"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rPr>
              <a:t>dataset </a:t>
            </a:r>
            <a:r>
              <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rPr>
              <a:t>is created in Power BI it might have several </a:t>
            </a:r>
            <a:r>
              <a:rPr kumimoji="0" lang="en-US" sz="2000" b="1"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rPr>
              <a:t>data sources</a:t>
            </a: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1"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1"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1"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1"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r>
              <a:rPr kumimoji="0" lang="en-US" sz="2000" b="1"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rPr>
              <a:t>When you refresh data in Power BI, you’re updating data in the dataset with new data coming from data sources</a:t>
            </a: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1"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r>
              <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rPr>
              <a:t>Some data sources might be </a:t>
            </a:r>
            <a:r>
              <a:rPr kumimoji="0" lang="en-US" sz="2000" b="1"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rPr>
              <a:t>live or self-updateable</a:t>
            </a: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1"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r>
              <a:rPr kumimoji="0" lang="en-US" sz="2000" b="1"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rPr>
              <a:t>Refresh Now </a:t>
            </a:r>
            <a:r>
              <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rPr>
              <a:t>performs the operation immediately based on the definition of the data sources</a:t>
            </a:r>
            <a:endParaRPr kumimoji="0" lang="en-US" sz="2000" b="1"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1"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a:p>
            <a:pPr marL="182845" marR="0" lvl="1" indent="0" algn="l" defTabSz="914367" rtl="0" eaLnBrk="1" fontAlgn="auto" latinLnBrk="0" hangingPunct="1">
              <a:lnSpc>
                <a:spcPct val="90000"/>
              </a:lnSpc>
              <a:spcBef>
                <a:spcPct val="20000"/>
              </a:spcBef>
              <a:spcAft>
                <a:spcPts val="0"/>
              </a:spcAft>
              <a:buClrTx/>
              <a:buSzPct val="90000"/>
              <a:buFont typeface="Arial" panose="020B0604020202020204" pitchFamily="34" charset="0"/>
              <a:buNone/>
              <a:tabLst/>
              <a:defRPr/>
            </a:pPr>
            <a:endPar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1"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1"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p:txBody>
      </p:sp>
      <p:sp>
        <p:nvSpPr>
          <p:cNvPr id="53" name="Title 10"/>
          <p:cNvSpPr txBox="1">
            <a:spLocks/>
          </p:cNvSpPr>
          <p:nvPr/>
        </p:nvSpPr>
        <p:spPr>
          <a:xfrm>
            <a:off x="2849060" y="0"/>
            <a:ext cx="9342940" cy="665151"/>
          </a:xfrm>
          <a:prstGeom prst="rect">
            <a:avLst/>
          </a:prstGeom>
          <a:noFill/>
        </p:spPr>
        <p:txBody>
          <a:bodyPr vert="horz" wrap="square" lIns="0" tIns="91440" rIns="0" bIns="91440" rtlCol="0" anchor="t">
            <a:noAutofit/>
          </a:bodyPr>
          <a:lstStyle>
            <a:lvl1pPr defTabSz="914367">
              <a:lnSpc>
                <a:spcPct val="90000"/>
              </a:lnSpc>
              <a:spcBef>
                <a:spcPct val="0"/>
              </a:spcBef>
              <a:buNone/>
              <a:defRPr lang="en-US" sz="5294" b="0" cap="none" spc="-100" baseline="0" dirty="0" smtClean="0">
                <a:ln w="3175">
                  <a:noFill/>
                </a:ln>
                <a:solidFill>
                  <a:schemeClr val="tx2"/>
                </a:solidFill>
                <a:effectLst/>
                <a:latin typeface="+mj-lt"/>
                <a:cs typeface="Segoe UI" pitchFamily="34" charset="0"/>
              </a:defRPr>
            </a:lvl1pPr>
          </a:lstStyle>
          <a:p>
            <a:pPr marL="168275" marR="0" lvl="0" indent="0" algn="l" defTabSz="914367" rtl="0" eaLnBrk="1" fontAlgn="auto" latinLnBrk="0" hangingPunct="1">
              <a:lnSpc>
                <a:spcPct val="90000"/>
              </a:lnSpc>
              <a:spcBef>
                <a:spcPct val="0"/>
              </a:spcBef>
              <a:spcAft>
                <a:spcPts val="0"/>
              </a:spcAft>
              <a:buClrTx/>
              <a:buSzTx/>
              <a:buFontTx/>
              <a:buNone/>
              <a:tabLst/>
              <a:defRPr/>
            </a:pPr>
            <a:r>
              <a:rPr kumimoji="0" lang="en-US" sz="3600" b="0" i="0" u="none" strike="noStrike" kern="1200" cap="none" spc="-100" normalizeH="0" baseline="0" noProof="0">
                <a:ln w="3175">
                  <a:noFill/>
                </a:ln>
                <a:solidFill>
                  <a:prstClr val="black"/>
                </a:solidFill>
                <a:effectLst/>
                <a:uLnTx/>
                <a:uFillTx/>
                <a:latin typeface="Segoe UI Light"/>
                <a:ea typeface="+mn-ea"/>
                <a:cs typeface="Segoe UI" pitchFamily="34" charset="0"/>
              </a:rPr>
              <a:t>Keeping Data Current</a:t>
            </a:r>
            <a:endParaRPr kumimoji="0" lang="en-IN" sz="3600" b="0" i="0" u="none" strike="noStrike" kern="1200" cap="none" spc="-100" normalizeH="0" baseline="0" noProof="0">
              <a:ln w="3175">
                <a:noFill/>
              </a:ln>
              <a:solidFill>
                <a:prstClr val="black"/>
              </a:solidFill>
              <a:effectLst/>
              <a:uLnTx/>
              <a:uFillTx/>
              <a:latin typeface="Segoe UI Light"/>
              <a:ea typeface="+mn-ea"/>
              <a:cs typeface="Segoe UI" pitchFamily="34" charset="0"/>
            </a:endParaRPr>
          </a:p>
        </p:txBody>
      </p:sp>
      <p:sp>
        <p:nvSpPr>
          <p:cNvPr id="41" name="Rectangle 3"/>
          <p:cNvSpPr/>
          <p:nvPr/>
        </p:nvSpPr>
        <p:spPr bwMode="auto">
          <a:xfrm>
            <a:off x="3202216" y="665151"/>
            <a:ext cx="8105312" cy="44435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PT" sz="2000" b="0" i="1" u="none" strike="noStrike" kern="1200" cap="none" spc="0" normalizeH="0" baseline="0" noProof="0">
                <a:ln>
                  <a:noFill/>
                </a:ln>
                <a:solidFill>
                  <a:prstClr val="black"/>
                </a:solidFill>
                <a:effectLst/>
                <a:uLnTx/>
                <a:uFillTx/>
                <a:latin typeface="Segoe UI Light"/>
                <a:ea typeface="+mn-ea"/>
                <a:cs typeface="+mn-cs"/>
              </a:rPr>
              <a:t>Data Refresh</a:t>
            </a:r>
            <a:endParaRPr kumimoji="0" lang="en-US" sz="2000" b="0" i="1" u="none" strike="noStrike" kern="1200" cap="none" spc="0" normalizeH="0" baseline="0" noProof="0">
              <a:ln>
                <a:noFill/>
              </a:ln>
              <a:solidFill>
                <a:prstClr val="black"/>
              </a:solidFill>
              <a:effectLst/>
              <a:uLnTx/>
              <a:uFillTx/>
              <a:latin typeface="Segoe UI Light"/>
              <a:ea typeface="+mn-ea"/>
              <a:cs typeface="+mn-cs"/>
            </a:endParaRPr>
          </a:p>
        </p:txBody>
      </p:sp>
      <p:pic>
        <p:nvPicPr>
          <p:cNvPr id="2" name="Picture 1"/>
          <p:cNvPicPr>
            <a:picLocks noChangeAspect="1"/>
          </p:cNvPicPr>
          <p:nvPr/>
        </p:nvPicPr>
        <p:blipFill>
          <a:blip r:embed="rId3"/>
          <a:stretch>
            <a:fillRect/>
          </a:stretch>
        </p:blipFill>
        <p:spPr>
          <a:xfrm>
            <a:off x="4292597" y="2184703"/>
            <a:ext cx="5924550" cy="1485900"/>
          </a:xfrm>
          <a:prstGeom prst="rect">
            <a:avLst/>
          </a:prstGeom>
          <a:ln>
            <a:noFill/>
          </a:ln>
          <a:effectLst>
            <a:outerShdw blurRad="190500" algn="tl" rotWithShape="0">
              <a:srgbClr val="000000">
                <a:alpha val="70000"/>
              </a:srgbClr>
            </a:outerShdw>
          </a:effectLst>
        </p:spPr>
      </p:pic>
      <p:grpSp>
        <p:nvGrpSpPr>
          <p:cNvPr id="40" name="Group 39"/>
          <p:cNvGrpSpPr/>
          <p:nvPr/>
        </p:nvGrpSpPr>
        <p:grpSpPr>
          <a:xfrm>
            <a:off x="-2887" y="973"/>
            <a:ext cx="2849058" cy="6857027"/>
            <a:chOff x="2" y="487"/>
            <a:chExt cx="2849058" cy="6857027"/>
          </a:xfrm>
        </p:grpSpPr>
        <p:sp>
          <p:nvSpPr>
            <p:cNvPr id="42" name="Rectangle 15"/>
            <p:cNvSpPr/>
            <p:nvPr/>
          </p:nvSpPr>
          <p:spPr bwMode="auto">
            <a:xfrm>
              <a:off x="2" y="487"/>
              <a:ext cx="2849058" cy="685702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3" name="Rectangle 145"/>
            <p:cNvSpPr/>
            <p:nvPr/>
          </p:nvSpPr>
          <p:spPr bwMode="auto">
            <a:xfrm>
              <a:off x="696152" y="956997"/>
              <a:ext cx="1821468" cy="3831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2C812"/>
                  </a:solidFill>
                  <a:effectLst/>
                  <a:uLnTx/>
                  <a:uFillTx/>
                  <a:latin typeface="Segoe UI"/>
                  <a:ea typeface="+mn-ea"/>
                  <a:cs typeface="Segoe UI Light" panose="020B0502040204020203" pitchFamily="34" charset="0"/>
                </a:rPr>
                <a:t>Get Data</a:t>
              </a:r>
              <a:endParaRPr kumimoji="0" lang="en-US" sz="1200" b="1" i="1" u="none" strike="noStrike" kern="1200" cap="none" spc="0" normalizeH="0" baseline="0" noProof="0">
                <a:ln>
                  <a:noFill/>
                </a:ln>
                <a:solidFill>
                  <a:srgbClr val="F2C812"/>
                </a:solidFill>
                <a:effectLst/>
                <a:uLnTx/>
                <a:uFillTx/>
                <a:latin typeface="Segoe UI"/>
                <a:ea typeface="+mn-ea"/>
                <a:cs typeface="Segoe UI Light" panose="020B0502040204020203" pitchFamily="34" charset="0"/>
              </a:endParaRPr>
            </a:p>
          </p:txBody>
        </p:sp>
        <p:grpSp>
          <p:nvGrpSpPr>
            <p:cNvPr id="80" name="Group 79"/>
            <p:cNvGrpSpPr/>
            <p:nvPr/>
          </p:nvGrpSpPr>
          <p:grpSpPr>
            <a:xfrm>
              <a:off x="219373" y="934583"/>
              <a:ext cx="433844" cy="433844"/>
              <a:chOff x="440005" y="997815"/>
              <a:chExt cx="296322" cy="296322"/>
            </a:xfrm>
          </p:grpSpPr>
          <p:sp>
            <p:nvSpPr>
              <p:cNvPr id="99" name="Oval 147"/>
              <p:cNvSpPr/>
              <p:nvPr/>
            </p:nvSpPr>
            <p:spPr bwMode="auto">
              <a:xfrm>
                <a:off x="440005" y="997815"/>
                <a:ext cx="296322" cy="296322"/>
              </a:xfrm>
              <a:prstGeom prst="ellipse">
                <a:avLst/>
              </a:prstGeom>
              <a:solidFill>
                <a:srgbClr val="FFCC00"/>
              </a:solidFill>
              <a:ln>
                <a:solidFill>
                  <a:srgbClr val="F2C81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00" name="Group 332"/>
              <p:cNvGrpSpPr/>
              <p:nvPr/>
            </p:nvGrpSpPr>
            <p:grpSpPr>
              <a:xfrm>
                <a:off x="482167" y="1059311"/>
                <a:ext cx="211997" cy="173292"/>
                <a:chOff x="2123129" y="293070"/>
                <a:chExt cx="2472585" cy="2021178"/>
              </a:xfrm>
            </p:grpSpPr>
            <p:sp>
              <p:nvSpPr>
                <p:cNvPr id="101" name="Freeform 13"/>
                <p:cNvSpPr>
                  <a:spLocks/>
                </p:cNvSpPr>
                <p:nvPr/>
              </p:nvSpPr>
              <p:spPr bwMode="auto">
                <a:xfrm rot="20700000">
                  <a:off x="3155853" y="872796"/>
                  <a:ext cx="1439861" cy="1441452"/>
                </a:xfrm>
                <a:custGeom>
                  <a:avLst/>
                  <a:gdLst>
                    <a:gd name="T0" fmla="*/ 138 w 441"/>
                    <a:gd name="T1" fmla="*/ 341 h 441"/>
                    <a:gd name="T2" fmla="*/ 183 w 441"/>
                    <a:gd name="T3" fmla="*/ 374 h 441"/>
                    <a:gd name="T4" fmla="*/ 220 w 441"/>
                    <a:gd name="T5" fmla="*/ 423 h 441"/>
                    <a:gd name="T6" fmla="*/ 422 w 441"/>
                    <a:gd name="T7" fmla="*/ 220 h 441"/>
                    <a:gd name="T8" fmla="*/ 373 w 441"/>
                    <a:gd name="T9" fmla="*/ 184 h 441"/>
                    <a:gd name="T10" fmla="*/ 341 w 441"/>
                    <a:gd name="T11" fmla="*/ 139 h 441"/>
                    <a:gd name="T12" fmla="*/ 382 w 441"/>
                    <a:gd name="T13" fmla="*/ 58 h 441"/>
                    <a:gd name="T14" fmla="*/ 302 w 441"/>
                    <a:gd name="T15" fmla="*/ 100 h 441"/>
                    <a:gd name="T16" fmla="*/ 257 w 441"/>
                    <a:gd name="T17" fmla="*/ 67 h 441"/>
                    <a:gd name="T18" fmla="*/ 220 w 441"/>
                    <a:gd name="T19" fmla="*/ 18 h 441"/>
                    <a:gd name="T20" fmla="*/ 171 w 441"/>
                    <a:gd name="T21" fmla="*/ 55 h 441"/>
                    <a:gd name="T22" fmla="*/ 138 w 441"/>
                    <a:gd name="T23" fmla="*/ 100 h 441"/>
                    <a:gd name="T24" fmla="*/ 180 w 441"/>
                    <a:gd name="T25" fmla="*/ 181 h 441"/>
                    <a:gd name="T26" fmla="*/ 100 w 441"/>
                    <a:gd name="T27" fmla="*/ 139 h 441"/>
                    <a:gd name="T28" fmla="*/ 55 w 441"/>
                    <a:gd name="T29" fmla="*/ 171 h 441"/>
                    <a:gd name="T30" fmla="*/ 18 w 441"/>
                    <a:gd name="T31" fmla="*/ 220 h 441"/>
                    <a:gd name="T32" fmla="*/ 67 w 441"/>
                    <a:gd name="T33" fmla="*/ 257 h 441"/>
                    <a:gd name="T34" fmla="*/ 100 w 441"/>
                    <a:gd name="T35" fmla="*/ 302 h 441"/>
                    <a:gd name="T36" fmla="*/ 58 w 441"/>
                    <a:gd name="T37" fmla="*/ 383 h 441"/>
                    <a:gd name="T38" fmla="*/ 138 w 441"/>
                    <a:gd name="T39" fmla="*/ 341 h 4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41" h="441">
                      <a:moveTo>
                        <a:pt x="138" y="341"/>
                      </a:moveTo>
                      <a:cubicBezTo>
                        <a:pt x="147" y="337"/>
                        <a:pt x="171" y="361"/>
                        <a:pt x="183" y="374"/>
                      </a:cubicBezTo>
                      <a:cubicBezTo>
                        <a:pt x="196" y="386"/>
                        <a:pt x="220" y="423"/>
                        <a:pt x="220" y="423"/>
                      </a:cubicBezTo>
                      <a:cubicBezTo>
                        <a:pt x="422" y="220"/>
                        <a:pt x="422" y="220"/>
                        <a:pt x="422" y="220"/>
                      </a:cubicBezTo>
                      <a:cubicBezTo>
                        <a:pt x="422" y="220"/>
                        <a:pt x="386" y="196"/>
                        <a:pt x="373" y="184"/>
                      </a:cubicBezTo>
                      <a:cubicBezTo>
                        <a:pt x="361" y="171"/>
                        <a:pt x="338" y="149"/>
                        <a:pt x="341" y="139"/>
                      </a:cubicBezTo>
                      <a:cubicBezTo>
                        <a:pt x="343" y="129"/>
                        <a:pt x="441" y="116"/>
                        <a:pt x="382" y="58"/>
                      </a:cubicBezTo>
                      <a:cubicBezTo>
                        <a:pt x="324" y="0"/>
                        <a:pt x="310" y="96"/>
                        <a:pt x="302" y="100"/>
                      </a:cubicBezTo>
                      <a:cubicBezTo>
                        <a:pt x="294" y="104"/>
                        <a:pt x="269" y="80"/>
                        <a:pt x="257" y="67"/>
                      </a:cubicBezTo>
                      <a:cubicBezTo>
                        <a:pt x="245" y="55"/>
                        <a:pt x="220" y="18"/>
                        <a:pt x="220" y="18"/>
                      </a:cubicBezTo>
                      <a:cubicBezTo>
                        <a:pt x="220" y="18"/>
                        <a:pt x="183" y="43"/>
                        <a:pt x="171" y="55"/>
                      </a:cubicBezTo>
                      <a:cubicBezTo>
                        <a:pt x="159" y="67"/>
                        <a:pt x="134" y="92"/>
                        <a:pt x="138" y="100"/>
                      </a:cubicBezTo>
                      <a:cubicBezTo>
                        <a:pt x="142" y="108"/>
                        <a:pt x="238" y="122"/>
                        <a:pt x="180" y="181"/>
                      </a:cubicBezTo>
                      <a:cubicBezTo>
                        <a:pt x="122" y="239"/>
                        <a:pt x="110" y="141"/>
                        <a:pt x="100" y="139"/>
                      </a:cubicBezTo>
                      <a:cubicBezTo>
                        <a:pt x="89" y="137"/>
                        <a:pt x="67" y="159"/>
                        <a:pt x="55" y="171"/>
                      </a:cubicBezTo>
                      <a:cubicBezTo>
                        <a:pt x="42" y="184"/>
                        <a:pt x="18" y="220"/>
                        <a:pt x="18" y="220"/>
                      </a:cubicBezTo>
                      <a:cubicBezTo>
                        <a:pt x="18" y="220"/>
                        <a:pt x="55" y="245"/>
                        <a:pt x="67" y="257"/>
                      </a:cubicBezTo>
                      <a:cubicBezTo>
                        <a:pt x="79" y="269"/>
                        <a:pt x="102" y="292"/>
                        <a:pt x="100" y="302"/>
                      </a:cubicBezTo>
                      <a:cubicBezTo>
                        <a:pt x="98" y="312"/>
                        <a:pt x="0" y="325"/>
                        <a:pt x="58" y="383"/>
                      </a:cubicBezTo>
                      <a:cubicBezTo>
                        <a:pt x="116" y="441"/>
                        <a:pt x="130" y="345"/>
                        <a:pt x="138" y="341"/>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102" name="Freeform 14"/>
                <p:cNvSpPr>
                  <a:spLocks/>
                </p:cNvSpPr>
                <p:nvPr/>
              </p:nvSpPr>
              <p:spPr bwMode="auto">
                <a:xfrm rot="9900000">
                  <a:off x="2123129" y="293070"/>
                  <a:ext cx="1377948" cy="1377947"/>
                </a:xfrm>
                <a:custGeom>
                  <a:avLst/>
                  <a:gdLst>
                    <a:gd name="T0" fmla="*/ 422 w 422"/>
                    <a:gd name="T1" fmla="*/ 220 h 422"/>
                    <a:gd name="T2" fmla="*/ 386 w 422"/>
                    <a:gd name="T3" fmla="*/ 171 h 422"/>
                    <a:gd name="T4" fmla="*/ 341 w 422"/>
                    <a:gd name="T5" fmla="*/ 138 h 422"/>
                    <a:gd name="T6" fmla="*/ 260 w 422"/>
                    <a:gd name="T7" fmla="*/ 180 h 422"/>
                    <a:gd name="T8" fmla="*/ 302 w 422"/>
                    <a:gd name="T9" fmla="*/ 100 h 422"/>
                    <a:gd name="T10" fmla="*/ 269 w 422"/>
                    <a:gd name="T11" fmla="*/ 55 h 422"/>
                    <a:gd name="T12" fmla="*/ 220 w 422"/>
                    <a:gd name="T13" fmla="*/ 18 h 422"/>
                    <a:gd name="T14" fmla="*/ 183 w 422"/>
                    <a:gd name="T15" fmla="*/ 67 h 422"/>
                    <a:gd name="T16" fmla="*/ 138 w 422"/>
                    <a:gd name="T17" fmla="*/ 100 h 422"/>
                    <a:gd name="T18" fmla="*/ 58 w 422"/>
                    <a:gd name="T19" fmla="*/ 58 h 422"/>
                    <a:gd name="T20" fmla="*/ 100 w 422"/>
                    <a:gd name="T21" fmla="*/ 138 h 422"/>
                    <a:gd name="T22" fmla="*/ 67 w 422"/>
                    <a:gd name="T23" fmla="*/ 183 h 422"/>
                    <a:gd name="T24" fmla="*/ 18 w 422"/>
                    <a:gd name="T25" fmla="*/ 220 h 422"/>
                    <a:gd name="T26" fmla="*/ 55 w 422"/>
                    <a:gd name="T27" fmla="*/ 269 h 422"/>
                    <a:gd name="T28" fmla="*/ 100 w 422"/>
                    <a:gd name="T29" fmla="*/ 302 h 422"/>
                    <a:gd name="T30" fmla="*/ 180 w 422"/>
                    <a:gd name="T31" fmla="*/ 260 h 422"/>
                    <a:gd name="T32" fmla="*/ 138 w 422"/>
                    <a:gd name="T33" fmla="*/ 341 h 422"/>
                    <a:gd name="T34" fmla="*/ 171 w 422"/>
                    <a:gd name="T35" fmla="*/ 386 h 422"/>
                    <a:gd name="T36" fmla="*/ 220 w 422"/>
                    <a:gd name="T37" fmla="*/ 422 h 422"/>
                    <a:gd name="T38" fmla="*/ 422 w 422"/>
                    <a:gd name="T39" fmla="*/ 220 h 4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22" h="422">
                      <a:moveTo>
                        <a:pt x="422" y="220"/>
                      </a:moveTo>
                      <a:cubicBezTo>
                        <a:pt x="422" y="220"/>
                        <a:pt x="398" y="183"/>
                        <a:pt x="386" y="171"/>
                      </a:cubicBezTo>
                      <a:cubicBezTo>
                        <a:pt x="373" y="159"/>
                        <a:pt x="349" y="134"/>
                        <a:pt x="341" y="138"/>
                      </a:cubicBezTo>
                      <a:cubicBezTo>
                        <a:pt x="332" y="142"/>
                        <a:pt x="318" y="239"/>
                        <a:pt x="260" y="180"/>
                      </a:cubicBezTo>
                      <a:cubicBezTo>
                        <a:pt x="202" y="122"/>
                        <a:pt x="300" y="110"/>
                        <a:pt x="302" y="100"/>
                      </a:cubicBezTo>
                      <a:cubicBezTo>
                        <a:pt x="304" y="90"/>
                        <a:pt x="281" y="67"/>
                        <a:pt x="269" y="55"/>
                      </a:cubicBezTo>
                      <a:cubicBezTo>
                        <a:pt x="257" y="42"/>
                        <a:pt x="220" y="18"/>
                        <a:pt x="220" y="18"/>
                      </a:cubicBezTo>
                      <a:cubicBezTo>
                        <a:pt x="220" y="18"/>
                        <a:pt x="196" y="55"/>
                        <a:pt x="183" y="67"/>
                      </a:cubicBezTo>
                      <a:cubicBezTo>
                        <a:pt x="171" y="79"/>
                        <a:pt x="149" y="102"/>
                        <a:pt x="138" y="100"/>
                      </a:cubicBezTo>
                      <a:cubicBezTo>
                        <a:pt x="128" y="98"/>
                        <a:pt x="116" y="0"/>
                        <a:pt x="58" y="58"/>
                      </a:cubicBezTo>
                      <a:cubicBezTo>
                        <a:pt x="0" y="116"/>
                        <a:pt x="96" y="130"/>
                        <a:pt x="100" y="138"/>
                      </a:cubicBezTo>
                      <a:cubicBezTo>
                        <a:pt x="104" y="147"/>
                        <a:pt x="79" y="171"/>
                        <a:pt x="67" y="183"/>
                      </a:cubicBezTo>
                      <a:cubicBezTo>
                        <a:pt x="55" y="196"/>
                        <a:pt x="18" y="220"/>
                        <a:pt x="18" y="220"/>
                      </a:cubicBezTo>
                      <a:cubicBezTo>
                        <a:pt x="18" y="220"/>
                        <a:pt x="42" y="257"/>
                        <a:pt x="55" y="269"/>
                      </a:cubicBezTo>
                      <a:cubicBezTo>
                        <a:pt x="67" y="281"/>
                        <a:pt x="91" y="306"/>
                        <a:pt x="100" y="302"/>
                      </a:cubicBezTo>
                      <a:cubicBezTo>
                        <a:pt x="108" y="298"/>
                        <a:pt x="122" y="202"/>
                        <a:pt x="180" y="260"/>
                      </a:cubicBezTo>
                      <a:cubicBezTo>
                        <a:pt x="238" y="318"/>
                        <a:pt x="140" y="330"/>
                        <a:pt x="138" y="341"/>
                      </a:cubicBezTo>
                      <a:cubicBezTo>
                        <a:pt x="136" y="351"/>
                        <a:pt x="159" y="373"/>
                        <a:pt x="171" y="386"/>
                      </a:cubicBezTo>
                      <a:cubicBezTo>
                        <a:pt x="183" y="398"/>
                        <a:pt x="220" y="422"/>
                        <a:pt x="220" y="422"/>
                      </a:cubicBezTo>
                      <a:lnTo>
                        <a:pt x="422" y="22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grpSp>
        </p:grpSp>
        <p:sp>
          <p:nvSpPr>
            <p:cNvPr id="81" name="Rectangle 152"/>
            <p:cNvSpPr/>
            <p:nvPr/>
          </p:nvSpPr>
          <p:spPr bwMode="auto">
            <a:xfrm>
              <a:off x="669652" y="2738277"/>
              <a:ext cx="1805162" cy="37532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2C812"/>
                  </a:solidFill>
                  <a:effectLst/>
                  <a:uLnTx/>
                  <a:uFillTx/>
                  <a:latin typeface="Segoe UI"/>
                  <a:ea typeface="+mn-ea"/>
                  <a:cs typeface="Segoe UI Light" panose="020B0502040204020203" pitchFamily="34" charset="0"/>
                </a:rPr>
                <a:t>Keeping Data Current</a:t>
              </a:r>
            </a:p>
          </p:txBody>
        </p:sp>
        <p:grpSp>
          <p:nvGrpSpPr>
            <p:cNvPr id="82" name="Group 81"/>
            <p:cNvGrpSpPr/>
            <p:nvPr/>
          </p:nvGrpSpPr>
          <p:grpSpPr>
            <a:xfrm>
              <a:off x="199649" y="2692629"/>
              <a:ext cx="433844" cy="433844"/>
              <a:chOff x="342620" y="2228265"/>
              <a:chExt cx="433844" cy="433844"/>
            </a:xfrm>
            <a:solidFill>
              <a:schemeClr val="bg1"/>
            </a:solidFill>
          </p:grpSpPr>
          <p:sp>
            <p:nvSpPr>
              <p:cNvPr id="97" name="Oval 154"/>
              <p:cNvSpPr/>
              <p:nvPr/>
            </p:nvSpPr>
            <p:spPr bwMode="auto">
              <a:xfrm>
                <a:off x="342620" y="2228265"/>
                <a:ext cx="433844" cy="433844"/>
              </a:xfrm>
              <a:prstGeom prst="ellipse">
                <a:avLst/>
              </a:prstGeom>
              <a:solidFill>
                <a:srgbClr val="FFC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8" name="Freeform 30"/>
              <p:cNvSpPr>
                <a:spLocks noEditPoints="1"/>
              </p:cNvSpPr>
              <p:nvPr/>
            </p:nvSpPr>
            <p:spPr bwMode="auto">
              <a:xfrm>
                <a:off x="444786" y="2340040"/>
                <a:ext cx="238402" cy="210293"/>
              </a:xfrm>
              <a:custGeom>
                <a:avLst/>
                <a:gdLst>
                  <a:gd name="T0" fmla="*/ 883 w 916"/>
                  <a:gd name="T1" fmla="*/ 286 h 808"/>
                  <a:gd name="T2" fmla="*/ 539 w 916"/>
                  <a:gd name="T3" fmla="*/ 723 h 808"/>
                  <a:gd name="T4" fmla="*/ 504 w 916"/>
                  <a:gd name="T5" fmla="*/ 0 h 808"/>
                  <a:gd name="T6" fmla="*/ 35 w 916"/>
                  <a:gd name="T7" fmla="*/ 723 h 808"/>
                  <a:gd name="T8" fmla="*/ 0 w 916"/>
                  <a:gd name="T9" fmla="*/ 808 h 808"/>
                  <a:gd name="T10" fmla="*/ 916 w 916"/>
                  <a:gd name="T11" fmla="*/ 723 h 808"/>
                  <a:gd name="T12" fmla="*/ 229 w 916"/>
                  <a:gd name="T13" fmla="*/ 665 h 808"/>
                  <a:gd name="T14" fmla="*/ 109 w 916"/>
                  <a:gd name="T15" fmla="*/ 596 h 808"/>
                  <a:gd name="T16" fmla="*/ 229 w 916"/>
                  <a:gd name="T17" fmla="*/ 665 h 808"/>
                  <a:gd name="T18" fmla="*/ 109 w 916"/>
                  <a:gd name="T19" fmla="*/ 501 h 808"/>
                  <a:gd name="T20" fmla="*/ 229 w 916"/>
                  <a:gd name="T21" fmla="*/ 432 h 808"/>
                  <a:gd name="T22" fmla="*/ 229 w 916"/>
                  <a:gd name="T23" fmla="*/ 337 h 808"/>
                  <a:gd name="T24" fmla="*/ 109 w 916"/>
                  <a:gd name="T25" fmla="*/ 267 h 808"/>
                  <a:gd name="T26" fmla="*/ 229 w 916"/>
                  <a:gd name="T27" fmla="*/ 337 h 808"/>
                  <a:gd name="T28" fmla="*/ 109 w 916"/>
                  <a:gd name="T29" fmla="*/ 172 h 808"/>
                  <a:gd name="T30" fmla="*/ 229 w 916"/>
                  <a:gd name="T31" fmla="*/ 103 h 808"/>
                  <a:gd name="T32" fmla="*/ 428 w 916"/>
                  <a:gd name="T33" fmla="*/ 665 h 808"/>
                  <a:gd name="T34" fmla="*/ 307 w 916"/>
                  <a:gd name="T35" fmla="*/ 596 h 808"/>
                  <a:gd name="T36" fmla="*/ 428 w 916"/>
                  <a:gd name="T37" fmla="*/ 665 h 808"/>
                  <a:gd name="T38" fmla="*/ 307 w 916"/>
                  <a:gd name="T39" fmla="*/ 501 h 808"/>
                  <a:gd name="T40" fmla="*/ 428 w 916"/>
                  <a:gd name="T41" fmla="*/ 432 h 808"/>
                  <a:gd name="T42" fmla="*/ 428 w 916"/>
                  <a:gd name="T43" fmla="*/ 337 h 808"/>
                  <a:gd name="T44" fmla="*/ 307 w 916"/>
                  <a:gd name="T45" fmla="*/ 267 h 808"/>
                  <a:gd name="T46" fmla="*/ 428 w 916"/>
                  <a:gd name="T47" fmla="*/ 337 h 808"/>
                  <a:gd name="T48" fmla="*/ 307 w 916"/>
                  <a:gd name="T49" fmla="*/ 172 h 808"/>
                  <a:gd name="T50" fmla="*/ 428 w 916"/>
                  <a:gd name="T51" fmla="*/ 103 h 808"/>
                  <a:gd name="T52" fmla="*/ 684 w 916"/>
                  <a:gd name="T53" fmla="*/ 668 h 808"/>
                  <a:gd name="T54" fmla="*/ 606 w 916"/>
                  <a:gd name="T55" fmla="*/ 549 h 808"/>
                  <a:gd name="T56" fmla="*/ 684 w 916"/>
                  <a:gd name="T57" fmla="*/ 668 h 808"/>
                  <a:gd name="T58" fmla="*/ 606 w 916"/>
                  <a:gd name="T59" fmla="*/ 482 h 808"/>
                  <a:gd name="T60" fmla="*/ 684 w 916"/>
                  <a:gd name="T61" fmla="*/ 365 h 808"/>
                  <a:gd name="T62" fmla="*/ 816 w 916"/>
                  <a:gd name="T63" fmla="*/ 668 h 808"/>
                  <a:gd name="T64" fmla="*/ 738 w 916"/>
                  <a:gd name="T65" fmla="*/ 549 h 808"/>
                  <a:gd name="T66" fmla="*/ 816 w 916"/>
                  <a:gd name="T67" fmla="*/ 668 h 808"/>
                  <a:gd name="T68" fmla="*/ 738 w 916"/>
                  <a:gd name="T69" fmla="*/ 482 h 808"/>
                  <a:gd name="T70" fmla="*/ 816 w 916"/>
                  <a:gd name="T71" fmla="*/ 365 h 8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16" h="808">
                    <a:moveTo>
                      <a:pt x="883" y="723"/>
                    </a:moveTo>
                    <a:lnTo>
                      <a:pt x="883" y="286"/>
                    </a:lnTo>
                    <a:lnTo>
                      <a:pt x="539" y="286"/>
                    </a:lnTo>
                    <a:lnTo>
                      <a:pt x="539" y="723"/>
                    </a:lnTo>
                    <a:lnTo>
                      <a:pt x="504" y="723"/>
                    </a:lnTo>
                    <a:lnTo>
                      <a:pt x="504" y="0"/>
                    </a:lnTo>
                    <a:lnTo>
                      <a:pt x="35" y="0"/>
                    </a:lnTo>
                    <a:lnTo>
                      <a:pt x="35" y="723"/>
                    </a:lnTo>
                    <a:lnTo>
                      <a:pt x="0" y="723"/>
                    </a:lnTo>
                    <a:lnTo>
                      <a:pt x="0" y="808"/>
                    </a:lnTo>
                    <a:lnTo>
                      <a:pt x="916" y="808"/>
                    </a:lnTo>
                    <a:lnTo>
                      <a:pt x="916" y="723"/>
                    </a:lnTo>
                    <a:lnTo>
                      <a:pt x="883" y="723"/>
                    </a:lnTo>
                    <a:close/>
                    <a:moveTo>
                      <a:pt x="229" y="665"/>
                    </a:moveTo>
                    <a:lnTo>
                      <a:pt x="109" y="665"/>
                    </a:lnTo>
                    <a:lnTo>
                      <a:pt x="109" y="596"/>
                    </a:lnTo>
                    <a:lnTo>
                      <a:pt x="229" y="596"/>
                    </a:lnTo>
                    <a:lnTo>
                      <a:pt x="229" y="665"/>
                    </a:lnTo>
                    <a:close/>
                    <a:moveTo>
                      <a:pt x="229" y="501"/>
                    </a:moveTo>
                    <a:lnTo>
                      <a:pt x="109" y="501"/>
                    </a:lnTo>
                    <a:lnTo>
                      <a:pt x="109" y="432"/>
                    </a:lnTo>
                    <a:lnTo>
                      <a:pt x="229" y="432"/>
                    </a:lnTo>
                    <a:lnTo>
                      <a:pt x="229" y="501"/>
                    </a:lnTo>
                    <a:close/>
                    <a:moveTo>
                      <a:pt x="229" y="337"/>
                    </a:moveTo>
                    <a:lnTo>
                      <a:pt x="109" y="337"/>
                    </a:lnTo>
                    <a:lnTo>
                      <a:pt x="109" y="267"/>
                    </a:lnTo>
                    <a:lnTo>
                      <a:pt x="229" y="267"/>
                    </a:lnTo>
                    <a:lnTo>
                      <a:pt x="229" y="337"/>
                    </a:lnTo>
                    <a:close/>
                    <a:moveTo>
                      <a:pt x="229" y="172"/>
                    </a:moveTo>
                    <a:lnTo>
                      <a:pt x="109" y="172"/>
                    </a:lnTo>
                    <a:lnTo>
                      <a:pt x="109" y="103"/>
                    </a:lnTo>
                    <a:lnTo>
                      <a:pt x="229" y="103"/>
                    </a:lnTo>
                    <a:lnTo>
                      <a:pt x="229" y="172"/>
                    </a:lnTo>
                    <a:close/>
                    <a:moveTo>
                      <a:pt x="428" y="665"/>
                    </a:moveTo>
                    <a:lnTo>
                      <a:pt x="307" y="665"/>
                    </a:lnTo>
                    <a:lnTo>
                      <a:pt x="307" y="596"/>
                    </a:lnTo>
                    <a:lnTo>
                      <a:pt x="428" y="596"/>
                    </a:lnTo>
                    <a:lnTo>
                      <a:pt x="428" y="665"/>
                    </a:lnTo>
                    <a:close/>
                    <a:moveTo>
                      <a:pt x="428" y="501"/>
                    </a:moveTo>
                    <a:lnTo>
                      <a:pt x="307" y="501"/>
                    </a:lnTo>
                    <a:lnTo>
                      <a:pt x="307" y="432"/>
                    </a:lnTo>
                    <a:lnTo>
                      <a:pt x="428" y="432"/>
                    </a:lnTo>
                    <a:lnTo>
                      <a:pt x="428" y="501"/>
                    </a:lnTo>
                    <a:close/>
                    <a:moveTo>
                      <a:pt x="428" y="337"/>
                    </a:moveTo>
                    <a:lnTo>
                      <a:pt x="307" y="337"/>
                    </a:lnTo>
                    <a:lnTo>
                      <a:pt x="307" y="267"/>
                    </a:lnTo>
                    <a:lnTo>
                      <a:pt x="428" y="267"/>
                    </a:lnTo>
                    <a:lnTo>
                      <a:pt x="428" y="337"/>
                    </a:lnTo>
                    <a:close/>
                    <a:moveTo>
                      <a:pt x="428" y="172"/>
                    </a:moveTo>
                    <a:lnTo>
                      <a:pt x="307" y="172"/>
                    </a:lnTo>
                    <a:lnTo>
                      <a:pt x="307" y="103"/>
                    </a:lnTo>
                    <a:lnTo>
                      <a:pt x="428" y="103"/>
                    </a:lnTo>
                    <a:lnTo>
                      <a:pt x="428" y="172"/>
                    </a:lnTo>
                    <a:close/>
                    <a:moveTo>
                      <a:pt x="684" y="668"/>
                    </a:moveTo>
                    <a:lnTo>
                      <a:pt x="606" y="668"/>
                    </a:lnTo>
                    <a:lnTo>
                      <a:pt x="606" y="549"/>
                    </a:lnTo>
                    <a:lnTo>
                      <a:pt x="684" y="549"/>
                    </a:lnTo>
                    <a:lnTo>
                      <a:pt x="684" y="668"/>
                    </a:lnTo>
                    <a:close/>
                    <a:moveTo>
                      <a:pt x="684" y="482"/>
                    </a:moveTo>
                    <a:lnTo>
                      <a:pt x="606" y="482"/>
                    </a:lnTo>
                    <a:lnTo>
                      <a:pt x="606" y="365"/>
                    </a:lnTo>
                    <a:lnTo>
                      <a:pt x="684" y="365"/>
                    </a:lnTo>
                    <a:lnTo>
                      <a:pt x="684" y="482"/>
                    </a:lnTo>
                    <a:close/>
                    <a:moveTo>
                      <a:pt x="816" y="668"/>
                    </a:moveTo>
                    <a:lnTo>
                      <a:pt x="738" y="668"/>
                    </a:lnTo>
                    <a:lnTo>
                      <a:pt x="738" y="549"/>
                    </a:lnTo>
                    <a:lnTo>
                      <a:pt x="816" y="549"/>
                    </a:lnTo>
                    <a:lnTo>
                      <a:pt x="816" y="668"/>
                    </a:lnTo>
                    <a:close/>
                    <a:moveTo>
                      <a:pt x="816" y="482"/>
                    </a:moveTo>
                    <a:lnTo>
                      <a:pt x="738" y="482"/>
                    </a:lnTo>
                    <a:lnTo>
                      <a:pt x="738" y="365"/>
                    </a:lnTo>
                    <a:lnTo>
                      <a:pt x="816" y="365"/>
                    </a:lnTo>
                    <a:lnTo>
                      <a:pt x="816" y="482"/>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grpSp>
        <p:sp>
          <p:nvSpPr>
            <p:cNvPr id="83" name="TextBox 82"/>
            <p:cNvSpPr txBox="1"/>
            <p:nvPr/>
          </p:nvSpPr>
          <p:spPr>
            <a:xfrm>
              <a:off x="83345" y="113808"/>
              <a:ext cx="2532630" cy="627864"/>
            </a:xfrm>
            <a:prstGeom prst="rect">
              <a:avLst/>
            </a:prstGeom>
            <a:noFill/>
          </p:spPr>
          <p:txBody>
            <a:bodyPr wrap="square" lIns="182880" tIns="146304" rIns="182880" bIns="146304" rtlCol="0">
              <a:spAutoFit/>
            </a:bodyPr>
            <a:lstStyle>
              <a:defPPr>
                <a:defRPr lang="en-US"/>
              </a:defPPr>
              <a:lvl1pPr>
                <a:lnSpc>
                  <a:spcPct val="90000"/>
                </a:lnSpc>
                <a:spcAft>
                  <a:spcPts val="600"/>
                </a:spcAft>
                <a:defRPr sz="2800" b="1">
                  <a:solidFill>
                    <a:srgbClr val="F2C812"/>
                  </a:solidFill>
                  <a:latin typeface="Segoe UI Light"/>
                </a:defRPr>
              </a:lvl1p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400" b="1" i="0" u="none" strike="noStrike" kern="1200" cap="none" spc="0" normalizeH="0" baseline="0" noProof="0">
                  <a:ln>
                    <a:noFill/>
                  </a:ln>
                  <a:solidFill>
                    <a:srgbClr val="F2C812"/>
                  </a:solidFill>
                  <a:effectLst/>
                  <a:uLnTx/>
                  <a:uFillTx/>
                  <a:latin typeface="Segoe UI Light"/>
                  <a:ea typeface="+mn-ea"/>
                  <a:cs typeface="+mn-cs"/>
                </a:rPr>
                <a:t>Power BI Service</a:t>
              </a:r>
              <a:endParaRPr kumimoji="0" lang="en-US" sz="2800" b="1" i="0" u="none" strike="noStrike" kern="1200" cap="none" spc="0" normalizeH="0" baseline="0" noProof="0">
                <a:ln>
                  <a:noFill/>
                </a:ln>
                <a:solidFill>
                  <a:srgbClr val="F2C812"/>
                </a:solidFill>
                <a:effectLst/>
                <a:uLnTx/>
                <a:uFillTx/>
                <a:latin typeface="Segoe UI Light"/>
                <a:ea typeface="+mn-ea"/>
                <a:cs typeface="+mn-cs"/>
              </a:endParaRPr>
            </a:p>
          </p:txBody>
        </p:sp>
        <p:grpSp>
          <p:nvGrpSpPr>
            <p:cNvPr id="84" name="Group 83"/>
            <p:cNvGrpSpPr/>
            <p:nvPr/>
          </p:nvGrpSpPr>
          <p:grpSpPr>
            <a:xfrm>
              <a:off x="219373" y="3621383"/>
              <a:ext cx="433844" cy="645668"/>
              <a:chOff x="280990" y="3358164"/>
              <a:chExt cx="433844" cy="645668"/>
            </a:xfrm>
          </p:grpSpPr>
          <p:sp>
            <p:nvSpPr>
              <p:cNvPr id="90" name="Oval 1083"/>
              <p:cNvSpPr/>
              <p:nvPr/>
            </p:nvSpPr>
            <p:spPr bwMode="auto">
              <a:xfrm>
                <a:off x="280990" y="3358164"/>
                <a:ext cx="433844" cy="433847"/>
              </a:xfrm>
              <a:prstGeom prst="ellipse">
                <a:avLst/>
              </a:prstGeom>
              <a:solidFill>
                <a:srgbClr val="F2C812"/>
              </a:solidFill>
              <a:ln>
                <a:solidFill>
                  <a:srgbClr val="FFCC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91" name="Group 379"/>
              <p:cNvGrpSpPr/>
              <p:nvPr/>
            </p:nvGrpSpPr>
            <p:grpSpPr>
              <a:xfrm>
                <a:off x="453702" y="3910852"/>
                <a:ext cx="175660" cy="92980"/>
                <a:chOff x="3895793" y="7466656"/>
                <a:chExt cx="785810" cy="415941"/>
              </a:xfrm>
              <a:solidFill>
                <a:srgbClr val="00BCF2"/>
              </a:solidFill>
            </p:grpSpPr>
            <p:sp>
              <p:nvSpPr>
                <p:cNvPr id="92" name="Freeform 132"/>
                <p:cNvSpPr>
                  <a:spLocks/>
                </p:cNvSpPr>
                <p:nvPr/>
              </p:nvSpPr>
              <p:spPr bwMode="auto">
                <a:xfrm>
                  <a:off x="4125979" y="7688918"/>
                  <a:ext cx="0" cy="6353"/>
                </a:xfrm>
                <a:custGeom>
                  <a:avLst/>
                  <a:gdLst>
                    <a:gd name="T0" fmla="*/ 1 w 1"/>
                    <a:gd name="T1" fmla="*/ 0 h 8"/>
                    <a:gd name="T2" fmla="*/ 0 w 1"/>
                    <a:gd name="T3" fmla="*/ 0 h 8"/>
                    <a:gd name="T4" fmla="*/ 1 w 1"/>
                    <a:gd name="T5" fmla="*/ 8 h 8"/>
                    <a:gd name="T6" fmla="*/ 1 w 1"/>
                    <a:gd name="T7" fmla="*/ 0 h 8"/>
                  </a:gdLst>
                  <a:ahLst/>
                  <a:cxnLst>
                    <a:cxn ang="0">
                      <a:pos x="T0" y="T1"/>
                    </a:cxn>
                    <a:cxn ang="0">
                      <a:pos x="T2" y="T3"/>
                    </a:cxn>
                    <a:cxn ang="0">
                      <a:pos x="T4" y="T5"/>
                    </a:cxn>
                    <a:cxn ang="0">
                      <a:pos x="T6" y="T7"/>
                    </a:cxn>
                  </a:cxnLst>
                  <a:rect l="0" t="0" r="r" b="b"/>
                  <a:pathLst>
                    <a:path w="1" h="8">
                      <a:moveTo>
                        <a:pt x="1" y="0"/>
                      </a:moveTo>
                      <a:cubicBezTo>
                        <a:pt x="0" y="0"/>
                        <a:pt x="0" y="0"/>
                        <a:pt x="0" y="0"/>
                      </a:cubicBezTo>
                      <a:cubicBezTo>
                        <a:pt x="0" y="3"/>
                        <a:pt x="1" y="5"/>
                        <a:pt x="1" y="8"/>
                      </a:cubicBezTo>
                      <a:lnTo>
                        <a:pt x="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93" name="Freeform 133"/>
                <p:cNvSpPr>
                  <a:spLocks/>
                </p:cNvSpPr>
                <p:nvPr/>
              </p:nvSpPr>
              <p:spPr bwMode="auto">
                <a:xfrm>
                  <a:off x="3895793" y="7812745"/>
                  <a:ext cx="219078" cy="69852"/>
                </a:xfrm>
                <a:custGeom>
                  <a:avLst/>
                  <a:gdLst>
                    <a:gd name="T0" fmla="*/ 186 w 238"/>
                    <a:gd name="T1" fmla="*/ 9 h 76"/>
                    <a:gd name="T2" fmla="*/ 131 w 238"/>
                    <a:gd name="T3" fmla="*/ 22 h 76"/>
                    <a:gd name="T4" fmla="*/ 60 w 238"/>
                    <a:gd name="T5" fmla="*/ 0 h 76"/>
                    <a:gd name="T6" fmla="*/ 0 w 238"/>
                    <a:gd name="T7" fmla="*/ 42 h 76"/>
                    <a:gd name="T8" fmla="*/ 0 w 238"/>
                    <a:gd name="T9" fmla="*/ 76 h 76"/>
                    <a:gd name="T10" fmla="*/ 238 w 238"/>
                    <a:gd name="T11" fmla="*/ 76 h 76"/>
                    <a:gd name="T12" fmla="*/ 236 w 238"/>
                    <a:gd name="T13" fmla="*/ 53 h 76"/>
                    <a:gd name="T14" fmla="*/ 236 w 238"/>
                    <a:gd name="T15" fmla="*/ 49 h 76"/>
                    <a:gd name="T16" fmla="*/ 186 w 238"/>
                    <a:gd name="T17" fmla="*/ 9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8" h="76">
                      <a:moveTo>
                        <a:pt x="186" y="9"/>
                      </a:moveTo>
                      <a:cubicBezTo>
                        <a:pt x="169" y="18"/>
                        <a:pt x="150" y="22"/>
                        <a:pt x="131" y="22"/>
                      </a:cubicBezTo>
                      <a:cubicBezTo>
                        <a:pt x="105" y="22"/>
                        <a:pt x="80" y="14"/>
                        <a:pt x="60" y="0"/>
                      </a:cubicBezTo>
                      <a:cubicBezTo>
                        <a:pt x="0" y="42"/>
                        <a:pt x="0" y="42"/>
                        <a:pt x="0" y="42"/>
                      </a:cubicBezTo>
                      <a:cubicBezTo>
                        <a:pt x="0" y="76"/>
                        <a:pt x="0" y="76"/>
                        <a:pt x="0" y="76"/>
                      </a:cubicBezTo>
                      <a:cubicBezTo>
                        <a:pt x="238" y="76"/>
                        <a:pt x="238" y="76"/>
                        <a:pt x="238" y="76"/>
                      </a:cubicBezTo>
                      <a:cubicBezTo>
                        <a:pt x="237" y="68"/>
                        <a:pt x="236" y="61"/>
                        <a:pt x="236" y="53"/>
                      </a:cubicBezTo>
                      <a:cubicBezTo>
                        <a:pt x="236" y="51"/>
                        <a:pt x="236" y="50"/>
                        <a:pt x="236" y="49"/>
                      </a:cubicBezTo>
                      <a:lnTo>
                        <a:pt x="186" y="9"/>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94" name="Freeform 137"/>
                <p:cNvSpPr>
                  <a:spLocks/>
                </p:cNvSpPr>
                <p:nvPr/>
              </p:nvSpPr>
              <p:spPr bwMode="auto">
                <a:xfrm>
                  <a:off x="4338704" y="7809561"/>
                  <a:ext cx="65090" cy="73028"/>
                </a:xfrm>
                <a:custGeom>
                  <a:avLst/>
                  <a:gdLst>
                    <a:gd name="T0" fmla="*/ 71 w 71"/>
                    <a:gd name="T1" fmla="*/ 79 h 79"/>
                    <a:gd name="T2" fmla="*/ 71 w 71"/>
                    <a:gd name="T3" fmla="*/ 0 h 79"/>
                    <a:gd name="T4" fmla="*/ 2 w 71"/>
                    <a:gd name="T5" fmla="*/ 53 h 79"/>
                    <a:gd name="T6" fmla="*/ 2 w 71"/>
                    <a:gd name="T7" fmla="*/ 56 h 79"/>
                    <a:gd name="T8" fmla="*/ 0 w 71"/>
                    <a:gd name="T9" fmla="*/ 79 h 79"/>
                    <a:gd name="T10" fmla="*/ 71 w 71"/>
                    <a:gd name="T11" fmla="*/ 79 h 79"/>
                  </a:gdLst>
                  <a:ahLst/>
                  <a:cxnLst>
                    <a:cxn ang="0">
                      <a:pos x="T0" y="T1"/>
                    </a:cxn>
                    <a:cxn ang="0">
                      <a:pos x="T2" y="T3"/>
                    </a:cxn>
                    <a:cxn ang="0">
                      <a:pos x="T4" y="T5"/>
                    </a:cxn>
                    <a:cxn ang="0">
                      <a:pos x="T6" y="T7"/>
                    </a:cxn>
                    <a:cxn ang="0">
                      <a:pos x="T8" y="T9"/>
                    </a:cxn>
                    <a:cxn ang="0">
                      <a:pos x="T10" y="T11"/>
                    </a:cxn>
                  </a:cxnLst>
                  <a:rect l="0" t="0" r="r" b="b"/>
                  <a:pathLst>
                    <a:path w="71" h="79">
                      <a:moveTo>
                        <a:pt x="71" y="79"/>
                      </a:moveTo>
                      <a:cubicBezTo>
                        <a:pt x="71" y="0"/>
                        <a:pt x="71" y="0"/>
                        <a:pt x="71" y="0"/>
                      </a:cubicBezTo>
                      <a:cubicBezTo>
                        <a:pt x="2" y="53"/>
                        <a:pt x="2" y="53"/>
                        <a:pt x="2" y="53"/>
                      </a:cubicBezTo>
                      <a:cubicBezTo>
                        <a:pt x="2" y="54"/>
                        <a:pt x="2" y="55"/>
                        <a:pt x="2" y="56"/>
                      </a:cubicBezTo>
                      <a:cubicBezTo>
                        <a:pt x="2" y="64"/>
                        <a:pt x="1" y="71"/>
                        <a:pt x="0" y="79"/>
                      </a:cubicBezTo>
                      <a:lnTo>
                        <a:pt x="71" y="79"/>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95" name="Freeform 140"/>
                <p:cNvSpPr>
                  <a:spLocks/>
                </p:cNvSpPr>
                <p:nvPr/>
              </p:nvSpPr>
              <p:spPr bwMode="auto">
                <a:xfrm>
                  <a:off x="4600643" y="7622229"/>
                  <a:ext cx="80960" cy="38099"/>
                </a:xfrm>
                <a:custGeom>
                  <a:avLst/>
                  <a:gdLst>
                    <a:gd name="T0" fmla="*/ 0 w 51"/>
                    <a:gd name="T1" fmla="*/ 24 h 24"/>
                    <a:gd name="T2" fmla="*/ 51 w 51"/>
                    <a:gd name="T3" fmla="*/ 24 h 24"/>
                    <a:gd name="T4" fmla="*/ 32 w 51"/>
                    <a:gd name="T5" fmla="*/ 0 h 24"/>
                    <a:gd name="T6" fmla="*/ 0 w 51"/>
                    <a:gd name="T7" fmla="*/ 24 h 24"/>
                  </a:gdLst>
                  <a:ahLst/>
                  <a:cxnLst>
                    <a:cxn ang="0">
                      <a:pos x="T0" y="T1"/>
                    </a:cxn>
                    <a:cxn ang="0">
                      <a:pos x="T2" y="T3"/>
                    </a:cxn>
                    <a:cxn ang="0">
                      <a:pos x="T4" y="T5"/>
                    </a:cxn>
                    <a:cxn ang="0">
                      <a:pos x="T6" y="T7"/>
                    </a:cxn>
                  </a:cxnLst>
                  <a:rect l="0" t="0" r="r" b="b"/>
                  <a:pathLst>
                    <a:path w="51" h="24">
                      <a:moveTo>
                        <a:pt x="0" y="24"/>
                      </a:moveTo>
                      <a:lnTo>
                        <a:pt x="51" y="24"/>
                      </a:lnTo>
                      <a:lnTo>
                        <a:pt x="32" y="0"/>
                      </a:lnTo>
                      <a:lnTo>
                        <a:pt x="0" y="24"/>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96" name="Freeform 141"/>
                <p:cNvSpPr>
                  <a:spLocks/>
                </p:cNvSpPr>
                <p:nvPr/>
              </p:nvSpPr>
              <p:spPr bwMode="auto">
                <a:xfrm>
                  <a:off x="4449825" y="7466656"/>
                  <a:ext cx="119065" cy="139703"/>
                </a:xfrm>
                <a:custGeom>
                  <a:avLst/>
                  <a:gdLst>
                    <a:gd name="T0" fmla="*/ 52 w 75"/>
                    <a:gd name="T1" fmla="*/ 0 h 88"/>
                    <a:gd name="T2" fmla="*/ 0 w 75"/>
                    <a:gd name="T3" fmla="*/ 0 h 88"/>
                    <a:gd name="T4" fmla="*/ 0 w 75"/>
                    <a:gd name="T5" fmla="*/ 88 h 88"/>
                    <a:gd name="T6" fmla="*/ 75 w 75"/>
                    <a:gd name="T7" fmla="*/ 30 h 88"/>
                    <a:gd name="T8" fmla="*/ 52 w 75"/>
                    <a:gd name="T9" fmla="*/ 0 h 88"/>
                  </a:gdLst>
                  <a:ahLst/>
                  <a:cxnLst>
                    <a:cxn ang="0">
                      <a:pos x="T0" y="T1"/>
                    </a:cxn>
                    <a:cxn ang="0">
                      <a:pos x="T2" y="T3"/>
                    </a:cxn>
                    <a:cxn ang="0">
                      <a:pos x="T4" y="T5"/>
                    </a:cxn>
                    <a:cxn ang="0">
                      <a:pos x="T6" y="T7"/>
                    </a:cxn>
                    <a:cxn ang="0">
                      <a:pos x="T8" y="T9"/>
                    </a:cxn>
                  </a:cxnLst>
                  <a:rect l="0" t="0" r="r" b="b"/>
                  <a:pathLst>
                    <a:path w="75" h="88">
                      <a:moveTo>
                        <a:pt x="52" y="0"/>
                      </a:moveTo>
                      <a:lnTo>
                        <a:pt x="0" y="0"/>
                      </a:lnTo>
                      <a:lnTo>
                        <a:pt x="0" y="88"/>
                      </a:lnTo>
                      <a:lnTo>
                        <a:pt x="75" y="30"/>
                      </a:lnTo>
                      <a:lnTo>
                        <a:pt x="52"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grpSp>
        </p:grpSp>
        <p:sp>
          <p:nvSpPr>
            <p:cNvPr id="85" name="Rectangle 152"/>
            <p:cNvSpPr/>
            <p:nvPr/>
          </p:nvSpPr>
          <p:spPr bwMode="auto">
            <a:xfrm>
              <a:off x="712458" y="3628917"/>
              <a:ext cx="1805162" cy="37532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2C812"/>
                  </a:solidFill>
                  <a:effectLst/>
                  <a:uLnTx/>
                  <a:uFillTx/>
                  <a:latin typeface="Segoe UI"/>
                  <a:ea typeface="+mn-ea"/>
                  <a:cs typeface="Segoe UI Light" panose="020B0502040204020203" pitchFamily="34" charset="0"/>
                </a:rPr>
                <a:t>Q&amp;A and </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2C812"/>
                  </a:solidFill>
                  <a:effectLst/>
                  <a:uLnTx/>
                  <a:uFillTx/>
                  <a:latin typeface="Segoe UI"/>
                  <a:ea typeface="+mn-ea"/>
                  <a:cs typeface="Segoe UI Light" panose="020B0502040204020203" pitchFamily="34" charset="0"/>
                </a:rPr>
                <a:t>Quick Insights</a:t>
              </a:r>
              <a:endParaRPr kumimoji="0" lang="en-US" sz="1200" b="1" i="0" u="none" strike="noStrike" kern="1200" cap="none" spc="0" normalizeH="0" baseline="0" noProof="0">
                <a:ln>
                  <a:noFill/>
                </a:ln>
                <a:solidFill>
                  <a:srgbClr val="F2C812"/>
                </a:solidFill>
                <a:effectLst/>
                <a:uLnTx/>
                <a:uFillTx/>
                <a:latin typeface="Segoe UI"/>
                <a:ea typeface="+mn-ea"/>
                <a:cs typeface="Segoe UI Light" panose="020B0502040204020203" pitchFamily="34" charset="0"/>
              </a:endParaRPr>
            </a:p>
          </p:txBody>
        </p:sp>
        <p:sp>
          <p:nvSpPr>
            <p:cNvPr id="86" name="Oval 162"/>
            <p:cNvSpPr/>
            <p:nvPr/>
          </p:nvSpPr>
          <p:spPr bwMode="auto">
            <a:xfrm>
              <a:off x="226619" y="4551712"/>
              <a:ext cx="433844" cy="433844"/>
            </a:xfrm>
            <a:prstGeom prst="ellipse">
              <a:avLst/>
            </a:prstGeom>
            <a:solidFill>
              <a:srgbClr val="F2C812"/>
            </a:solidFill>
            <a:ln>
              <a:solidFill>
                <a:srgbClr val="FFCC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7" name="Rectangle 152"/>
            <p:cNvSpPr/>
            <p:nvPr/>
          </p:nvSpPr>
          <p:spPr bwMode="auto">
            <a:xfrm>
              <a:off x="738443" y="4596194"/>
              <a:ext cx="1884825" cy="30233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2C812"/>
                  </a:solidFill>
                  <a:effectLst/>
                  <a:uLnTx/>
                  <a:uFillTx/>
                  <a:latin typeface="Segoe UI"/>
                  <a:ea typeface="+mn-ea"/>
                  <a:cs typeface="Segoe UI Light" panose="020B0502040204020203" pitchFamily="34" charset="0"/>
                </a:rPr>
                <a:t>Sharing</a:t>
              </a:r>
              <a:endParaRPr kumimoji="0" lang="en-US" sz="1200" b="1" i="1" u="none" strike="noStrike" kern="1200" cap="none" spc="0" normalizeH="0" baseline="0" noProof="0">
                <a:ln>
                  <a:noFill/>
                </a:ln>
                <a:solidFill>
                  <a:srgbClr val="F2C812"/>
                </a:solidFill>
                <a:effectLst/>
                <a:uLnTx/>
                <a:uFillTx/>
                <a:latin typeface="Segoe UI"/>
                <a:ea typeface="+mn-ea"/>
                <a:cs typeface="Segoe UI Light" panose="020B0502040204020203" pitchFamily="34" charset="0"/>
              </a:endParaRPr>
            </a:p>
          </p:txBody>
        </p:sp>
        <p:sp>
          <p:nvSpPr>
            <p:cNvPr id="88" name="Rectangle 145"/>
            <p:cNvSpPr/>
            <p:nvPr/>
          </p:nvSpPr>
          <p:spPr bwMode="auto">
            <a:xfrm>
              <a:off x="697198" y="1847637"/>
              <a:ext cx="1821468" cy="3831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2C812"/>
                  </a:solidFill>
                  <a:effectLst/>
                  <a:uLnTx/>
                  <a:uFillTx/>
                  <a:latin typeface="Segoe UI"/>
                  <a:ea typeface="+mn-ea"/>
                  <a:cs typeface="Segoe UI Light" panose="020B0502040204020203" pitchFamily="34" charset="0"/>
                </a:rPr>
                <a:t>Pinning and Navigation</a:t>
              </a:r>
            </a:p>
          </p:txBody>
        </p:sp>
        <p:sp>
          <p:nvSpPr>
            <p:cNvPr id="89" name="Oval 162"/>
            <p:cNvSpPr/>
            <p:nvPr/>
          </p:nvSpPr>
          <p:spPr bwMode="auto">
            <a:xfrm>
              <a:off x="224136" y="1813606"/>
              <a:ext cx="433844" cy="433844"/>
            </a:xfrm>
            <a:prstGeom prst="ellipse">
              <a:avLst/>
            </a:prstGeom>
            <a:solidFill>
              <a:srgbClr val="FFCC00"/>
            </a:solidFill>
            <a:ln>
              <a:solidFill>
                <a:srgbClr val="F2C81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pic>
        <p:nvPicPr>
          <p:cNvPr id="103" name="Picture 102"/>
          <p:cNvPicPr>
            <a:picLocks noChangeAspect="1"/>
          </p:cNvPicPr>
          <p:nvPr/>
        </p:nvPicPr>
        <p:blipFill rotWithShape="1">
          <a:blip r:embed="rId4"/>
          <a:srcRect l="6503" t="21287" r="74698" b="20220"/>
          <a:stretch/>
        </p:blipFill>
        <p:spPr>
          <a:xfrm>
            <a:off x="339111" y="1946110"/>
            <a:ext cx="228600" cy="231962"/>
          </a:xfrm>
          <a:prstGeom prst="rect">
            <a:avLst/>
          </a:prstGeom>
        </p:spPr>
      </p:pic>
      <p:pic>
        <p:nvPicPr>
          <p:cNvPr id="104" name="Picture 103"/>
          <p:cNvPicPr>
            <a:picLocks noChangeAspect="1"/>
          </p:cNvPicPr>
          <p:nvPr/>
        </p:nvPicPr>
        <p:blipFill>
          <a:blip r:embed="rId5"/>
          <a:stretch>
            <a:fillRect/>
          </a:stretch>
        </p:blipFill>
        <p:spPr>
          <a:xfrm>
            <a:off x="284769" y="3673076"/>
            <a:ext cx="311766" cy="303106"/>
          </a:xfrm>
          <a:prstGeom prst="rect">
            <a:avLst/>
          </a:prstGeom>
        </p:spPr>
      </p:pic>
      <p:sp>
        <p:nvSpPr>
          <p:cNvPr id="105" name="Rectangle 145"/>
          <p:cNvSpPr/>
          <p:nvPr/>
        </p:nvSpPr>
        <p:spPr bwMode="auto">
          <a:xfrm>
            <a:off x="718897" y="5436715"/>
            <a:ext cx="1821468" cy="3831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2C812"/>
                </a:solidFill>
                <a:effectLst/>
                <a:uLnTx/>
                <a:uFillTx/>
                <a:latin typeface="Segoe UI"/>
                <a:ea typeface="+mn-ea"/>
                <a:cs typeface="Segoe UI Light" panose="020B0502040204020203" pitchFamily="34" charset="0"/>
              </a:rPr>
              <a:t>Connect from Excel</a:t>
            </a:r>
          </a:p>
        </p:txBody>
      </p:sp>
      <p:sp>
        <p:nvSpPr>
          <p:cNvPr id="106" name="Oval 162"/>
          <p:cNvSpPr/>
          <p:nvPr/>
        </p:nvSpPr>
        <p:spPr bwMode="auto">
          <a:xfrm>
            <a:off x="231441" y="5429649"/>
            <a:ext cx="433844" cy="433844"/>
          </a:xfrm>
          <a:prstGeom prst="ellipse">
            <a:avLst/>
          </a:prstGeom>
          <a:solidFill>
            <a:srgbClr val="FFCC00"/>
          </a:solidFill>
          <a:ln>
            <a:solidFill>
              <a:srgbClr val="F2C81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07" name="Picture 106"/>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flipH="1">
            <a:off x="283763" y="4596680"/>
            <a:ext cx="357484" cy="357484"/>
          </a:xfrm>
          <a:prstGeom prst="rect">
            <a:avLst/>
          </a:prstGeom>
        </p:spPr>
      </p:pic>
      <p:sp>
        <p:nvSpPr>
          <p:cNvPr id="108" name="Oval 162"/>
          <p:cNvSpPr/>
          <p:nvPr/>
        </p:nvSpPr>
        <p:spPr bwMode="auto">
          <a:xfrm>
            <a:off x="233032" y="6267344"/>
            <a:ext cx="433844" cy="433844"/>
          </a:xfrm>
          <a:prstGeom prst="ellipse">
            <a:avLst/>
          </a:prstGeom>
          <a:solidFill>
            <a:srgbClr val="FFCC00"/>
          </a:solidFill>
          <a:ln>
            <a:solidFill>
              <a:srgbClr val="F2C81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9" name="Rectangle 145"/>
          <p:cNvSpPr/>
          <p:nvPr/>
        </p:nvSpPr>
        <p:spPr bwMode="auto">
          <a:xfrm>
            <a:off x="701416" y="6289969"/>
            <a:ext cx="1821468" cy="3831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2C812"/>
                </a:solidFill>
                <a:effectLst/>
                <a:uLnTx/>
                <a:uFillTx/>
                <a:latin typeface="Segoe UI"/>
                <a:ea typeface="+mn-ea"/>
                <a:cs typeface="Segoe UI Light" panose="020B0502040204020203" pitchFamily="34" charset="0"/>
              </a:rPr>
              <a:t>Mobile Reports</a:t>
            </a:r>
          </a:p>
        </p:txBody>
      </p:sp>
      <p:pic>
        <p:nvPicPr>
          <p:cNvPr id="110" name="Picture 109"/>
          <p:cNvPicPr>
            <a:picLocks noChangeAspect="1"/>
          </p:cNvPicPr>
          <p:nvPr/>
        </p:nvPicPr>
        <p:blipFill>
          <a:blip r:embed="rId7" cstate="print">
            <a:extLst>
              <a:ext uri="{BEBA8EAE-BF5A-486C-A8C5-ECC9F3942E4B}">
                <a14:imgProps xmlns:a14="http://schemas.microsoft.com/office/drawing/2010/main">
                  <a14:imgLayer r:embed="rId8">
                    <a14:imgEffect>
                      <a14:saturation sat="0"/>
                    </a14:imgEffect>
                  </a14:imgLayer>
                </a14:imgProps>
              </a:ext>
              <a:ext uri="{28A0092B-C50C-407E-A947-70E740481C1C}">
                <a14:useLocalDpi xmlns:a14="http://schemas.microsoft.com/office/drawing/2010/main" val="0"/>
              </a:ext>
            </a:extLst>
          </a:blip>
          <a:stretch>
            <a:fillRect/>
          </a:stretch>
        </p:blipFill>
        <p:spPr>
          <a:xfrm>
            <a:off x="391946" y="6350039"/>
            <a:ext cx="133350" cy="251587"/>
          </a:xfrm>
          <a:prstGeom prst="rect">
            <a:avLst/>
          </a:prstGeom>
        </p:spPr>
      </p:pic>
      <p:pic>
        <p:nvPicPr>
          <p:cNvPr id="111" name="Picture 110"/>
          <p:cNvPicPr>
            <a:picLocks noChangeAspect="1"/>
          </p:cNvPicPr>
          <p:nvPr/>
        </p:nvPicPr>
        <p:blipFill>
          <a:blip r:embed="rId9" cstate="print">
            <a:biLevel thresh="50000"/>
            <a:extLst>
              <a:ext uri="{28A0092B-C50C-407E-A947-70E740481C1C}">
                <a14:useLocalDpi xmlns:a14="http://schemas.microsoft.com/office/drawing/2010/main" val="0"/>
              </a:ext>
            </a:extLst>
          </a:blip>
          <a:stretch>
            <a:fillRect/>
          </a:stretch>
        </p:blipFill>
        <p:spPr>
          <a:xfrm>
            <a:off x="332658" y="5538489"/>
            <a:ext cx="268940" cy="268940"/>
          </a:xfrm>
          <a:prstGeom prst="rect">
            <a:avLst/>
          </a:prstGeom>
        </p:spPr>
      </p:pic>
      <p:sp>
        <p:nvSpPr>
          <p:cNvPr id="112" name="Rectangle 111"/>
          <p:cNvSpPr/>
          <p:nvPr/>
        </p:nvSpPr>
        <p:spPr bwMode="auto">
          <a:xfrm>
            <a:off x="35912" y="3374935"/>
            <a:ext cx="2464420" cy="3413489"/>
          </a:xfrm>
          <a:prstGeom prst="rect">
            <a:avLst/>
          </a:prstGeom>
          <a:solidFill>
            <a:srgbClr val="000000">
              <a:alpha val="6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3" name="Rectangle 112"/>
          <p:cNvSpPr/>
          <p:nvPr/>
        </p:nvSpPr>
        <p:spPr bwMode="auto">
          <a:xfrm>
            <a:off x="95936" y="731576"/>
            <a:ext cx="2464420" cy="1807921"/>
          </a:xfrm>
          <a:prstGeom prst="rect">
            <a:avLst/>
          </a:prstGeom>
          <a:solidFill>
            <a:srgbClr val="000000">
              <a:alpha val="6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10535355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 name="Title 10"/>
          <p:cNvSpPr txBox="1">
            <a:spLocks/>
          </p:cNvSpPr>
          <p:nvPr/>
        </p:nvSpPr>
        <p:spPr>
          <a:xfrm>
            <a:off x="2982006" y="9056"/>
            <a:ext cx="9092764" cy="665151"/>
          </a:xfrm>
          <a:prstGeom prst="rect">
            <a:avLst/>
          </a:prstGeom>
          <a:noFill/>
        </p:spPr>
        <p:txBody>
          <a:bodyPr vert="horz" wrap="square" lIns="0" tIns="91440" rIns="0" bIns="91440" rtlCol="0" anchor="t">
            <a:noAutofit/>
          </a:bodyPr>
          <a:lstStyle>
            <a:lvl1pPr defTabSz="914367">
              <a:lnSpc>
                <a:spcPct val="90000"/>
              </a:lnSpc>
              <a:spcBef>
                <a:spcPct val="0"/>
              </a:spcBef>
              <a:buNone/>
              <a:defRPr lang="en-US" sz="5294" b="0" cap="none" spc="-100" baseline="0" dirty="0" smtClean="0">
                <a:ln w="3175">
                  <a:noFill/>
                </a:ln>
                <a:solidFill>
                  <a:schemeClr val="tx2"/>
                </a:solidFill>
                <a:effectLst/>
                <a:latin typeface="+mj-lt"/>
                <a:cs typeface="Segoe UI" pitchFamily="34" charset="0"/>
              </a:defRPr>
            </a:lvl1pPr>
          </a:lstStyle>
          <a:p>
            <a:r>
              <a:rPr lang="en-US" sz="3200">
                <a:solidFill>
                  <a:schemeClr val="tx1"/>
                </a:solidFill>
              </a:rPr>
              <a:t>Embed, extend, and integrate with the Power BI Platform</a:t>
            </a:r>
          </a:p>
          <a:p>
            <a:pPr marL="168275"/>
            <a:endParaRPr lang="en-US" sz="3600">
              <a:solidFill>
                <a:schemeClr val="tx1"/>
              </a:solidFill>
            </a:endParaRPr>
          </a:p>
          <a:p>
            <a:pPr marL="168275"/>
            <a:endParaRPr lang="en-US" sz="3600" b="1">
              <a:solidFill>
                <a:schemeClr val="tx1"/>
              </a:solidFill>
            </a:endParaRPr>
          </a:p>
          <a:p>
            <a:pPr marL="168275"/>
            <a:endParaRPr lang="en-IN" sz="3600">
              <a:solidFill>
                <a:schemeClr val="tx1"/>
              </a:solidFill>
            </a:endParaRPr>
          </a:p>
        </p:txBody>
      </p:sp>
      <p:sp>
        <p:nvSpPr>
          <p:cNvPr id="49" name="Rectangle 48"/>
          <p:cNvSpPr/>
          <p:nvPr/>
        </p:nvSpPr>
        <p:spPr>
          <a:xfrm>
            <a:off x="2884255" y="1177268"/>
            <a:ext cx="5896704" cy="5355312"/>
          </a:xfrm>
          <a:prstGeom prst="rect">
            <a:avLst/>
          </a:prstGeom>
        </p:spPr>
        <p:txBody>
          <a:bodyPr wrap="square">
            <a:spAutoFit/>
          </a:bodyPr>
          <a:lstStyle/>
          <a:p>
            <a:pPr marL="342900" indent="-342900">
              <a:spcBef>
                <a:spcPts val="600"/>
              </a:spcBef>
              <a:spcAft>
                <a:spcPts val="600"/>
              </a:spcAft>
              <a:buFont typeface="Symbol" panose="05050102010706020507" pitchFamily="18" charset="2"/>
              <a:buChar char=""/>
            </a:pPr>
            <a:r>
              <a:rPr lang="en-US" sz="2000" dirty="0">
                <a:latin typeface="+mj-lt"/>
                <a:ea typeface="Calibri" panose="020F0502020204030204" pitchFamily="34" charset="0"/>
                <a:cs typeface="Times New Roman" panose="02020603050405020304" pitchFamily="18" charset="0"/>
              </a:rPr>
              <a:t>Application developers can embed Power BI tiles and reports as an </a:t>
            </a:r>
            <a:r>
              <a:rPr lang="en-US" sz="2000" dirty="0" err="1">
                <a:latin typeface="+mj-lt"/>
                <a:ea typeface="Calibri" panose="020F0502020204030204" pitchFamily="34" charset="0"/>
                <a:cs typeface="Times New Roman" panose="02020603050405020304" pitchFamily="18" charset="0"/>
              </a:rPr>
              <a:t>IFrame</a:t>
            </a:r>
            <a:r>
              <a:rPr lang="en-US" sz="2000" dirty="0">
                <a:latin typeface="+mj-lt"/>
                <a:ea typeface="Calibri" panose="020F0502020204030204" pitchFamily="34" charset="0"/>
                <a:cs typeface="Times New Roman" panose="02020603050405020304" pitchFamily="18" charset="0"/>
              </a:rPr>
              <a:t> into an app, such as a mobile app or web app. </a:t>
            </a:r>
          </a:p>
          <a:p>
            <a:pPr marL="342900" indent="-342900">
              <a:spcBef>
                <a:spcPts val="600"/>
              </a:spcBef>
              <a:spcAft>
                <a:spcPts val="600"/>
              </a:spcAft>
              <a:buFont typeface="Symbol" panose="05050102010706020507" pitchFamily="18" charset="2"/>
              <a:buChar char=""/>
            </a:pPr>
            <a:r>
              <a:rPr lang="en-US" sz="2000" dirty="0">
                <a:latin typeface="+mj-lt"/>
                <a:ea typeface="Calibri" panose="020F0502020204030204" pitchFamily="34" charset="0"/>
                <a:cs typeface="Times New Roman" panose="02020603050405020304" pitchFamily="18" charset="0"/>
              </a:rPr>
              <a:t>Use the REST API to push data directly from your application into Power BI</a:t>
            </a:r>
          </a:p>
          <a:p>
            <a:pPr marL="342900" indent="-342900">
              <a:spcBef>
                <a:spcPts val="600"/>
              </a:spcBef>
              <a:spcAft>
                <a:spcPts val="600"/>
              </a:spcAft>
              <a:buFont typeface="Symbol" panose="05050102010706020507" pitchFamily="18" charset="2"/>
              <a:buChar char=""/>
            </a:pPr>
            <a:r>
              <a:rPr lang="en-US" sz="2000" dirty="0">
                <a:latin typeface="+mj-lt"/>
                <a:ea typeface="Calibri" panose="020F0502020204030204" pitchFamily="34" charset="0"/>
                <a:cs typeface="Times New Roman" panose="02020603050405020304" pitchFamily="18" charset="0"/>
              </a:rPr>
              <a:t>Programmatically access Power BI resources (datasets, tables, schemas)</a:t>
            </a:r>
          </a:p>
          <a:p>
            <a:pPr marL="342900" indent="-342900">
              <a:spcBef>
                <a:spcPts val="600"/>
              </a:spcBef>
              <a:spcAft>
                <a:spcPts val="600"/>
              </a:spcAft>
              <a:buFont typeface="Symbol" panose="05050102010706020507" pitchFamily="18" charset="2"/>
              <a:buChar char=""/>
            </a:pPr>
            <a:r>
              <a:rPr lang="en-US" sz="2000" dirty="0">
                <a:latin typeface="+mj-lt"/>
                <a:ea typeface="Calibri" panose="020F0502020204030204" pitchFamily="34" charset="0"/>
                <a:cs typeface="Times New Roman" panose="02020603050405020304" pitchFamily="18" charset="0"/>
              </a:rPr>
              <a:t>Secure access to Power BI service using Azure Active Directory and OAuth 2.0 authentication</a:t>
            </a:r>
          </a:p>
          <a:p>
            <a:pPr marL="342900" indent="-342900">
              <a:spcBef>
                <a:spcPts val="600"/>
              </a:spcBef>
              <a:spcAft>
                <a:spcPts val="600"/>
              </a:spcAft>
              <a:buFont typeface="Symbol" panose="05050102010706020507" pitchFamily="18" charset="2"/>
              <a:buChar char=""/>
            </a:pPr>
            <a:r>
              <a:rPr lang="en-US" sz="2000" dirty="0">
                <a:latin typeface="+mj-lt"/>
                <a:ea typeface="Calibri" panose="020F0502020204030204" pitchFamily="34" charset="0"/>
                <a:cs typeface="Times New Roman" panose="02020603050405020304" pitchFamily="18" charset="0"/>
              </a:rPr>
              <a:t>Create your own custom visuals from the published open source visuals and the provided framework</a:t>
            </a:r>
          </a:p>
          <a:p>
            <a:pPr>
              <a:spcBef>
                <a:spcPts val="600"/>
              </a:spcBef>
              <a:spcAft>
                <a:spcPts val="600"/>
              </a:spcAft>
            </a:pPr>
            <a:endParaRPr lang="en-US" sz="2000" dirty="0">
              <a:latin typeface="+mj-lt"/>
              <a:ea typeface="Calibri" panose="020F0502020204030204" pitchFamily="34" charset="0"/>
              <a:cs typeface="Times New Roman" panose="02020603050405020304" pitchFamily="18" charset="0"/>
            </a:endParaRPr>
          </a:p>
          <a:p>
            <a:pPr>
              <a:lnSpc>
                <a:spcPct val="150000"/>
              </a:lnSpc>
            </a:pPr>
            <a:endParaRPr lang="en-US" dirty="0">
              <a:latin typeface="+mj-lt"/>
              <a:ea typeface="Calibri" panose="020F0502020204030204" pitchFamily="34" charset="0"/>
              <a:cs typeface="Times New Roman" panose="02020603050405020304" pitchFamily="18" charset="0"/>
            </a:endParaRPr>
          </a:p>
        </p:txBody>
      </p:sp>
      <p:sp>
        <p:nvSpPr>
          <p:cNvPr id="37" name="Rectangle 15"/>
          <p:cNvSpPr/>
          <p:nvPr/>
        </p:nvSpPr>
        <p:spPr bwMode="auto">
          <a:xfrm>
            <a:off x="2" y="487"/>
            <a:ext cx="2815441" cy="685702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38" name="TextBox 37"/>
          <p:cNvSpPr txBox="1"/>
          <p:nvPr/>
        </p:nvSpPr>
        <p:spPr>
          <a:xfrm>
            <a:off x="2" y="487"/>
            <a:ext cx="2815441" cy="683264"/>
          </a:xfrm>
          <a:prstGeom prst="rect">
            <a:avLst/>
          </a:prstGeom>
          <a:noFill/>
        </p:spPr>
        <p:txBody>
          <a:bodyPr wrap="square" lIns="182880" tIns="146304" rIns="182880" bIns="146304" rtlCol="0">
            <a:spAutoFit/>
          </a:bodyPr>
          <a:lstStyle>
            <a:defPPr>
              <a:defRPr lang="en-US"/>
            </a:defPPr>
            <a:lvl1pPr>
              <a:lnSpc>
                <a:spcPct val="90000"/>
              </a:lnSpc>
              <a:spcAft>
                <a:spcPts val="600"/>
              </a:spcAft>
              <a:defRPr sz="2800" b="1">
                <a:solidFill>
                  <a:srgbClr val="F2C812"/>
                </a:solidFill>
                <a:latin typeface="Segoe UI Light"/>
              </a:defRPr>
            </a:lvl1pPr>
          </a:lstStyle>
          <a:p>
            <a:r>
              <a:rPr lang="en-US"/>
              <a:t>IT challenges</a:t>
            </a:r>
          </a:p>
        </p:txBody>
      </p:sp>
      <p:grpSp>
        <p:nvGrpSpPr>
          <p:cNvPr id="39" name="Group 38"/>
          <p:cNvGrpSpPr/>
          <p:nvPr/>
        </p:nvGrpSpPr>
        <p:grpSpPr>
          <a:xfrm>
            <a:off x="151322" y="867914"/>
            <a:ext cx="2636411" cy="548640"/>
            <a:chOff x="179032" y="1123407"/>
            <a:chExt cx="2636411" cy="548640"/>
          </a:xfrm>
        </p:grpSpPr>
        <p:sp>
          <p:nvSpPr>
            <p:cNvPr id="40" name="Oval 147"/>
            <p:cNvSpPr/>
            <p:nvPr/>
          </p:nvSpPr>
          <p:spPr bwMode="auto">
            <a:xfrm>
              <a:off x="179032" y="1123407"/>
              <a:ext cx="548640" cy="548640"/>
            </a:xfrm>
            <a:prstGeom prst="ellipse">
              <a:avLst/>
            </a:prstGeom>
            <a:solidFill>
              <a:srgbClr val="FFCC00"/>
            </a:solidFill>
            <a:ln>
              <a:solidFill>
                <a:srgbClr val="F2C81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err="1">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145"/>
            <p:cNvSpPr/>
            <p:nvPr/>
          </p:nvSpPr>
          <p:spPr bwMode="auto">
            <a:xfrm>
              <a:off x="805048" y="1206147"/>
              <a:ext cx="2010395" cy="3831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14367"/>
              <a:r>
                <a:rPr lang="en-US" sz="1400" b="1">
                  <a:solidFill>
                    <a:srgbClr val="F2C812"/>
                  </a:solidFill>
                  <a:cs typeface="Segoe UI Light" panose="020B0502040204020203" pitchFamily="34" charset="0"/>
                </a:rPr>
                <a:t>Management of BI systems</a:t>
              </a:r>
              <a:endParaRPr lang="en-US" sz="1200" b="1" i="1">
                <a:solidFill>
                  <a:srgbClr val="F2C812"/>
                </a:solidFill>
                <a:cs typeface="Segoe UI Light" panose="020B0502040204020203" pitchFamily="34" charset="0"/>
              </a:endParaRPr>
            </a:p>
          </p:txBody>
        </p:sp>
      </p:grpSp>
      <p:grpSp>
        <p:nvGrpSpPr>
          <p:cNvPr id="42" name="Group 41"/>
          <p:cNvGrpSpPr/>
          <p:nvPr/>
        </p:nvGrpSpPr>
        <p:grpSpPr>
          <a:xfrm>
            <a:off x="151322" y="1832204"/>
            <a:ext cx="2636411" cy="548640"/>
            <a:chOff x="212649" y="1959486"/>
            <a:chExt cx="2636411" cy="548640"/>
          </a:xfrm>
        </p:grpSpPr>
        <p:sp>
          <p:nvSpPr>
            <p:cNvPr id="43" name="Oval 147"/>
            <p:cNvSpPr/>
            <p:nvPr/>
          </p:nvSpPr>
          <p:spPr bwMode="auto">
            <a:xfrm>
              <a:off x="212649" y="1959486"/>
              <a:ext cx="548640" cy="548640"/>
            </a:xfrm>
            <a:prstGeom prst="ellipse">
              <a:avLst/>
            </a:prstGeom>
            <a:solidFill>
              <a:srgbClr val="FFCC00"/>
            </a:solidFill>
            <a:ln>
              <a:solidFill>
                <a:srgbClr val="F2C81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err="1">
                <a:gradFill>
                  <a:gsLst>
                    <a:gs pos="0">
                      <a:srgbClr val="FFFFFF"/>
                    </a:gs>
                    <a:gs pos="100000">
                      <a:srgbClr val="FFFFFF"/>
                    </a:gs>
                  </a:gsLst>
                  <a:lin ang="5400000" scaled="0"/>
                </a:gradFill>
                <a:ea typeface="Segoe UI" pitchFamily="34" charset="0"/>
                <a:cs typeface="Segoe UI" pitchFamily="34" charset="0"/>
              </a:endParaRPr>
            </a:p>
          </p:txBody>
        </p:sp>
        <p:sp>
          <p:nvSpPr>
            <p:cNvPr id="44" name="Rectangle 145"/>
            <p:cNvSpPr/>
            <p:nvPr/>
          </p:nvSpPr>
          <p:spPr bwMode="auto">
            <a:xfrm>
              <a:off x="838665" y="2042226"/>
              <a:ext cx="2010395" cy="3831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14367"/>
              <a:r>
                <a:rPr lang="en-US" sz="1400" b="1">
                  <a:solidFill>
                    <a:srgbClr val="F2C812"/>
                  </a:solidFill>
                  <a:cs typeface="Segoe UI Light" panose="020B0502040204020203" pitchFamily="34" charset="0"/>
                </a:rPr>
                <a:t>Variety of data sources</a:t>
              </a:r>
              <a:endParaRPr lang="en-US" sz="1200" b="1" i="1">
                <a:solidFill>
                  <a:srgbClr val="F2C812"/>
                </a:solidFill>
                <a:cs typeface="Segoe UI Light" panose="020B0502040204020203" pitchFamily="34" charset="0"/>
              </a:endParaRPr>
            </a:p>
          </p:txBody>
        </p:sp>
      </p:grpSp>
      <p:grpSp>
        <p:nvGrpSpPr>
          <p:cNvPr id="45" name="Group 44"/>
          <p:cNvGrpSpPr/>
          <p:nvPr/>
        </p:nvGrpSpPr>
        <p:grpSpPr>
          <a:xfrm>
            <a:off x="151322" y="2796494"/>
            <a:ext cx="2636411" cy="548640"/>
            <a:chOff x="179032" y="1123407"/>
            <a:chExt cx="2636411" cy="548640"/>
          </a:xfrm>
        </p:grpSpPr>
        <p:sp>
          <p:nvSpPr>
            <p:cNvPr id="46" name="Oval 147"/>
            <p:cNvSpPr/>
            <p:nvPr/>
          </p:nvSpPr>
          <p:spPr bwMode="auto">
            <a:xfrm>
              <a:off x="179032" y="1123407"/>
              <a:ext cx="548640" cy="548640"/>
            </a:xfrm>
            <a:prstGeom prst="ellipse">
              <a:avLst/>
            </a:prstGeom>
            <a:solidFill>
              <a:srgbClr val="FFCC00"/>
            </a:solidFill>
            <a:ln>
              <a:solidFill>
                <a:srgbClr val="F2C81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err="1">
                <a:gradFill>
                  <a:gsLst>
                    <a:gs pos="0">
                      <a:srgbClr val="FFFFFF"/>
                    </a:gs>
                    <a:gs pos="100000">
                      <a:srgbClr val="FFFFFF"/>
                    </a:gs>
                  </a:gsLst>
                  <a:lin ang="5400000" scaled="0"/>
                </a:gradFill>
                <a:ea typeface="Segoe UI" pitchFamily="34" charset="0"/>
                <a:cs typeface="Segoe UI" pitchFamily="34" charset="0"/>
              </a:endParaRPr>
            </a:p>
          </p:txBody>
        </p:sp>
        <p:sp>
          <p:nvSpPr>
            <p:cNvPr id="47" name="Rectangle 145"/>
            <p:cNvSpPr/>
            <p:nvPr/>
          </p:nvSpPr>
          <p:spPr bwMode="auto">
            <a:xfrm>
              <a:off x="805048" y="1206147"/>
              <a:ext cx="2010395" cy="3831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14367"/>
              <a:r>
                <a:rPr lang="en-US" sz="1400" b="1">
                  <a:solidFill>
                    <a:srgbClr val="F2C812"/>
                  </a:solidFill>
                  <a:cs typeface="Segoe UI Light" panose="020B0502040204020203" pitchFamily="34" charset="0"/>
                </a:rPr>
                <a:t>Managing data in the cloud</a:t>
              </a:r>
              <a:endParaRPr lang="en-US" sz="1200" b="1" i="1">
                <a:solidFill>
                  <a:srgbClr val="F2C812"/>
                </a:solidFill>
                <a:cs typeface="Segoe UI Light" panose="020B0502040204020203" pitchFamily="34" charset="0"/>
              </a:endParaRPr>
            </a:p>
          </p:txBody>
        </p:sp>
      </p:grpSp>
      <p:grpSp>
        <p:nvGrpSpPr>
          <p:cNvPr id="48" name="Group 47"/>
          <p:cNvGrpSpPr/>
          <p:nvPr/>
        </p:nvGrpSpPr>
        <p:grpSpPr>
          <a:xfrm>
            <a:off x="151322" y="3760784"/>
            <a:ext cx="2636411" cy="548640"/>
            <a:chOff x="179032" y="1123407"/>
            <a:chExt cx="2636411" cy="548640"/>
          </a:xfrm>
        </p:grpSpPr>
        <p:sp>
          <p:nvSpPr>
            <p:cNvPr id="50" name="Oval 147"/>
            <p:cNvSpPr/>
            <p:nvPr/>
          </p:nvSpPr>
          <p:spPr bwMode="auto">
            <a:xfrm>
              <a:off x="179032" y="1123407"/>
              <a:ext cx="548640" cy="548640"/>
            </a:xfrm>
            <a:prstGeom prst="ellipse">
              <a:avLst/>
            </a:prstGeom>
            <a:solidFill>
              <a:srgbClr val="FFCC00"/>
            </a:solidFill>
            <a:ln>
              <a:solidFill>
                <a:srgbClr val="F2C81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err="1">
                <a:gradFill>
                  <a:gsLst>
                    <a:gs pos="0">
                      <a:srgbClr val="FFFFFF"/>
                    </a:gs>
                    <a:gs pos="100000">
                      <a:srgbClr val="FFFFFF"/>
                    </a:gs>
                  </a:gsLst>
                  <a:lin ang="5400000" scaled="0"/>
                </a:gradFill>
                <a:ea typeface="Segoe UI" pitchFamily="34" charset="0"/>
                <a:cs typeface="Segoe UI" pitchFamily="34" charset="0"/>
              </a:endParaRPr>
            </a:p>
          </p:txBody>
        </p:sp>
        <p:sp>
          <p:nvSpPr>
            <p:cNvPr id="51" name="Rectangle 145"/>
            <p:cNvSpPr/>
            <p:nvPr/>
          </p:nvSpPr>
          <p:spPr bwMode="auto">
            <a:xfrm>
              <a:off x="805048" y="1206147"/>
              <a:ext cx="2010395" cy="3831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14367"/>
              <a:r>
                <a:rPr lang="en-US" sz="1400" b="1">
                  <a:solidFill>
                    <a:srgbClr val="F2C812"/>
                  </a:solidFill>
                  <a:cs typeface="Segoe UI Light" panose="020B0502040204020203" pitchFamily="34" charset="0"/>
                </a:rPr>
                <a:t>Integration with existing environment</a:t>
              </a:r>
              <a:endParaRPr lang="en-US" sz="1200" b="1" i="1">
                <a:solidFill>
                  <a:srgbClr val="F2C812"/>
                </a:solidFill>
                <a:cs typeface="Segoe UI Light" panose="020B0502040204020203" pitchFamily="34" charset="0"/>
              </a:endParaRPr>
            </a:p>
          </p:txBody>
        </p:sp>
      </p:grpSp>
      <p:grpSp>
        <p:nvGrpSpPr>
          <p:cNvPr id="52" name="Group 51"/>
          <p:cNvGrpSpPr/>
          <p:nvPr/>
        </p:nvGrpSpPr>
        <p:grpSpPr>
          <a:xfrm>
            <a:off x="132176" y="4725074"/>
            <a:ext cx="2655557" cy="548640"/>
            <a:chOff x="159886" y="1123407"/>
            <a:chExt cx="2655557" cy="548640"/>
          </a:xfrm>
        </p:grpSpPr>
        <p:sp>
          <p:nvSpPr>
            <p:cNvPr id="54" name="Oval 147"/>
            <p:cNvSpPr/>
            <p:nvPr/>
          </p:nvSpPr>
          <p:spPr bwMode="auto">
            <a:xfrm>
              <a:off x="159886" y="1123407"/>
              <a:ext cx="548640" cy="548640"/>
            </a:xfrm>
            <a:prstGeom prst="ellipse">
              <a:avLst/>
            </a:prstGeom>
            <a:solidFill>
              <a:srgbClr val="FFCC00"/>
            </a:solidFill>
            <a:ln>
              <a:solidFill>
                <a:srgbClr val="F2C81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err="1">
                <a:gradFill>
                  <a:gsLst>
                    <a:gs pos="0">
                      <a:srgbClr val="FFFFFF"/>
                    </a:gs>
                    <a:gs pos="100000">
                      <a:srgbClr val="FFFFFF"/>
                    </a:gs>
                  </a:gsLst>
                  <a:lin ang="5400000" scaled="0"/>
                </a:gradFill>
                <a:ea typeface="Segoe UI" pitchFamily="34" charset="0"/>
                <a:cs typeface="Segoe UI" pitchFamily="34" charset="0"/>
              </a:endParaRPr>
            </a:p>
          </p:txBody>
        </p:sp>
        <p:sp>
          <p:nvSpPr>
            <p:cNvPr id="55" name="Rectangle 145"/>
            <p:cNvSpPr/>
            <p:nvPr/>
          </p:nvSpPr>
          <p:spPr bwMode="auto">
            <a:xfrm>
              <a:off x="805048" y="1206147"/>
              <a:ext cx="2010395" cy="3831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14367"/>
              <a:r>
                <a:rPr lang="en-US" sz="1400" b="1">
                  <a:solidFill>
                    <a:srgbClr val="F2C812"/>
                  </a:solidFill>
                  <a:cs typeface="Segoe UI Light" panose="020B0502040204020203" pitchFamily="34" charset="0"/>
                </a:rPr>
                <a:t>Keeping data current</a:t>
              </a:r>
              <a:endParaRPr lang="en-US" sz="1200" b="1" i="1">
                <a:solidFill>
                  <a:srgbClr val="F2C812"/>
                </a:solidFill>
                <a:cs typeface="Segoe UI Light" panose="020B0502040204020203" pitchFamily="34" charset="0"/>
              </a:endParaRPr>
            </a:p>
          </p:txBody>
        </p:sp>
      </p:grpSp>
      <p:grpSp>
        <p:nvGrpSpPr>
          <p:cNvPr id="56" name="Group 55"/>
          <p:cNvGrpSpPr/>
          <p:nvPr/>
        </p:nvGrpSpPr>
        <p:grpSpPr>
          <a:xfrm>
            <a:off x="151322" y="5689364"/>
            <a:ext cx="2636411" cy="548640"/>
            <a:chOff x="179032" y="1123407"/>
            <a:chExt cx="2636411" cy="548640"/>
          </a:xfrm>
        </p:grpSpPr>
        <p:sp>
          <p:nvSpPr>
            <p:cNvPr id="57" name="Oval 147"/>
            <p:cNvSpPr/>
            <p:nvPr/>
          </p:nvSpPr>
          <p:spPr bwMode="auto">
            <a:xfrm>
              <a:off x="179032" y="1123407"/>
              <a:ext cx="548640" cy="548640"/>
            </a:xfrm>
            <a:prstGeom prst="ellipse">
              <a:avLst/>
            </a:prstGeom>
            <a:solidFill>
              <a:srgbClr val="FFCC00"/>
            </a:solidFill>
            <a:ln>
              <a:solidFill>
                <a:srgbClr val="F2C81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err="1">
                <a:gradFill>
                  <a:gsLst>
                    <a:gs pos="0">
                      <a:srgbClr val="FFFFFF"/>
                    </a:gs>
                    <a:gs pos="100000">
                      <a:srgbClr val="FFFFFF"/>
                    </a:gs>
                  </a:gsLst>
                  <a:lin ang="5400000" scaled="0"/>
                </a:gradFill>
                <a:ea typeface="Segoe UI" pitchFamily="34" charset="0"/>
                <a:cs typeface="Segoe UI" pitchFamily="34" charset="0"/>
              </a:endParaRPr>
            </a:p>
          </p:txBody>
        </p:sp>
        <p:sp>
          <p:nvSpPr>
            <p:cNvPr id="58" name="Rectangle 145"/>
            <p:cNvSpPr/>
            <p:nvPr/>
          </p:nvSpPr>
          <p:spPr bwMode="auto">
            <a:xfrm>
              <a:off x="805048" y="1206147"/>
              <a:ext cx="2010395" cy="3831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14367"/>
              <a:r>
                <a:rPr lang="en-US" sz="1400" b="1">
                  <a:solidFill>
                    <a:srgbClr val="F2C812"/>
                  </a:solidFill>
                  <a:cs typeface="Segoe UI Light" panose="020B0502040204020203" pitchFamily="34" charset="0"/>
                </a:rPr>
                <a:t>Ease of use and adoption</a:t>
              </a:r>
              <a:endParaRPr lang="en-US" sz="1200" b="1" i="1">
                <a:solidFill>
                  <a:srgbClr val="F2C812"/>
                </a:solidFill>
                <a:cs typeface="Segoe UI Light" panose="020B0502040204020203" pitchFamily="34" charset="0"/>
              </a:endParaRPr>
            </a:p>
          </p:txBody>
        </p:sp>
      </p:grpSp>
      <p:sp>
        <p:nvSpPr>
          <p:cNvPr id="59" name="Freeform 58"/>
          <p:cNvSpPr>
            <a:spLocks noChangeAspect="1"/>
          </p:cNvSpPr>
          <p:nvPr/>
        </p:nvSpPr>
        <p:spPr bwMode="black">
          <a:xfrm>
            <a:off x="242762" y="1024112"/>
            <a:ext cx="365760" cy="236244"/>
          </a:xfrm>
          <a:custGeom>
            <a:avLst/>
            <a:gdLst>
              <a:gd name="connsiteX0" fmla="*/ 93529 w 794079"/>
              <a:gd name="connsiteY0" fmla="*/ 409985 h 512894"/>
              <a:gd name="connsiteX1" fmla="*/ 57350 w 794079"/>
              <a:gd name="connsiteY1" fmla="*/ 446163 h 512894"/>
              <a:gd name="connsiteX2" fmla="*/ 93529 w 794079"/>
              <a:gd name="connsiteY2" fmla="*/ 482342 h 512894"/>
              <a:gd name="connsiteX3" fmla="*/ 129707 w 794079"/>
              <a:gd name="connsiteY3" fmla="*/ 446163 h 512894"/>
              <a:gd name="connsiteX4" fmla="*/ 93529 w 794079"/>
              <a:gd name="connsiteY4" fmla="*/ 409985 h 512894"/>
              <a:gd name="connsiteX5" fmla="*/ 22935 w 794079"/>
              <a:gd name="connsiteY5" fmla="*/ 375286 h 512894"/>
              <a:gd name="connsiteX6" fmla="*/ 771144 w 794079"/>
              <a:gd name="connsiteY6" fmla="*/ 375286 h 512894"/>
              <a:gd name="connsiteX7" fmla="*/ 794079 w 794079"/>
              <a:gd name="connsiteY7" fmla="*/ 398221 h 512894"/>
              <a:gd name="connsiteX8" fmla="*/ 794079 w 794079"/>
              <a:gd name="connsiteY8" fmla="*/ 489959 h 512894"/>
              <a:gd name="connsiteX9" fmla="*/ 771144 w 794079"/>
              <a:gd name="connsiteY9" fmla="*/ 512894 h 512894"/>
              <a:gd name="connsiteX10" fmla="*/ 22935 w 794079"/>
              <a:gd name="connsiteY10" fmla="*/ 512894 h 512894"/>
              <a:gd name="connsiteX11" fmla="*/ 0 w 794079"/>
              <a:gd name="connsiteY11" fmla="*/ 489959 h 512894"/>
              <a:gd name="connsiteX12" fmla="*/ 0 w 794079"/>
              <a:gd name="connsiteY12" fmla="*/ 398221 h 512894"/>
              <a:gd name="connsiteX13" fmla="*/ 22935 w 794079"/>
              <a:gd name="connsiteY13" fmla="*/ 375286 h 512894"/>
              <a:gd name="connsiteX14" fmla="*/ 93529 w 794079"/>
              <a:gd name="connsiteY14" fmla="*/ 222341 h 512894"/>
              <a:gd name="connsiteX15" fmla="*/ 57350 w 794079"/>
              <a:gd name="connsiteY15" fmla="*/ 258520 h 512894"/>
              <a:gd name="connsiteX16" fmla="*/ 93529 w 794079"/>
              <a:gd name="connsiteY16" fmla="*/ 294699 h 512894"/>
              <a:gd name="connsiteX17" fmla="*/ 129707 w 794079"/>
              <a:gd name="connsiteY17" fmla="*/ 258520 h 512894"/>
              <a:gd name="connsiteX18" fmla="*/ 93529 w 794079"/>
              <a:gd name="connsiteY18" fmla="*/ 222341 h 512894"/>
              <a:gd name="connsiteX19" fmla="*/ 22935 w 794079"/>
              <a:gd name="connsiteY19" fmla="*/ 187643 h 512894"/>
              <a:gd name="connsiteX20" fmla="*/ 771144 w 794079"/>
              <a:gd name="connsiteY20" fmla="*/ 187643 h 512894"/>
              <a:gd name="connsiteX21" fmla="*/ 794079 w 794079"/>
              <a:gd name="connsiteY21" fmla="*/ 210578 h 512894"/>
              <a:gd name="connsiteX22" fmla="*/ 794079 w 794079"/>
              <a:gd name="connsiteY22" fmla="*/ 302316 h 512894"/>
              <a:gd name="connsiteX23" fmla="*/ 771144 w 794079"/>
              <a:gd name="connsiteY23" fmla="*/ 325251 h 512894"/>
              <a:gd name="connsiteX24" fmla="*/ 22935 w 794079"/>
              <a:gd name="connsiteY24" fmla="*/ 325251 h 512894"/>
              <a:gd name="connsiteX25" fmla="*/ 0 w 794079"/>
              <a:gd name="connsiteY25" fmla="*/ 302316 h 512894"/>
              <a:gd name="connsiteX26" fmla="*/ 0 w 794079"/>
              <a:gd name="connsiteY26" fmla="*/ 210578 h 512894"/>
              <a:gd name="connsiteX27" fmla="*/ 22935 w 794079"/>
              <a:gd name="connsiteY27" fmla="*/ 187643 h 512894"/>
              <a:gd name="connsiteX28" fmla="*/ 93529 w 794079"/>
              <a:gd name="connsiteY28" fmla="*/ 34698 h 512894"/>
              <a:gd name="connsiteX29" fmla="*/ 57350 w 794079"/>
              <a:gd name="connsiteY29" fmla="*/ 70877 h 512894"/>
              <a:gd name="connsiteX30" fmla="*/ 93529 w 794079"/>
              <a:gd name="connsiteY30" fmla="*/ 107056 h 512894"/>
              <a:gd name="connsiteX31" fmla="*/ 129707 w 794079"/>
              <a:gd name="connsiteY31" fmla="*/ 70877 h 512894"/>
              <a:gd name="connsiteX32" fmla="*/ 93529 w 794079"/>
              <a:gd name="connsiteY32" fmla="*/ 34698 h 512894"/>
              <a:gd name="connsiteX33" fmla="*/ 22935 w 794079"/>
              <a:gd name="connsiteY33" fmla="*/ 0 h 512894"/>
              <a:gd name="connsiteX34" fmla="*/ 771144 w 794079"/>
              <a:gd name="connsiteY34" fmla="*/ 0 h 512894"/>
              <a:gd name="connsiteX35" fmla="*/ 794079 w 794079"/>
              <a:gd name="connsiteY35" fmla="*/ 22935 h 512894"/>
              <a:gd name="connsiteX36" fmla="*/ 794079 w 794079"/>
              <a:gd name="connsiteY36" fmla="*/ 114673 h 512894"/>
              <a:gd name="connsiteX37" fmla="*/ 771144 w 794079"/>
              <a:gd name="connsiteY37" fmla="*/ 137608 h 512894"/>
              <a:gd name="connsiteX38" fmla="*/ 22935 w 794079"/>
              <a:gd name="connsiteY38" fmla="*/ 137608 h 512894"/>
              <a:gd name="connsiteX39" fmla="*/ 0 w 794079"/>
              <a:gd name="connsiteY39" fmla="*/ 114673 h 512894"/>
              <a:gd name="connsiteX40" fmla="*/ 0 w 794079"/>
              <a:gd name="connsiteY40" fmla="*/ 22935 h 512894"/>
              <a:gd name="connsiteX41" fmla="*/ 22935 w 794079"/>
              <a:gd name="connsiteY41" fmla="*/ 0 h 5128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794079" h="512894">
                <a:moveTo>
                  <a:pt x="93529" y="409985"/>
                </a:moveTo>
                <a:cubicBezTo>
                  <a:pt x="73548" y="409985"/>
                  <a:pt x="57350" y="426182"/>
                  <a:pt x="57350" y="446163"/>
                </a:cubicBezTo>
                <a:cubicBezTo>
                  <a:pt x="57350" y="466144"/>
                  <a:pt x="73548" y="482342"/>
                  <a:pt x="93529" y="482342"/>
                </a:cubicBezTo>
                <a:cubicBezTo>
                  <a:pt x="113510" y="482342"/>
                  <a:pt x="129707" y="466144"/>
                  <a:pt x="129707" y="446163"/>
                </a:cubicBezTo>
                <a:cubicBezTo>
                  <a:pt x="129707" y="426182"/>
                  <a:pt x="113510" y="409985"/>
                  <a:pt x="93529" y="409985"/>
                </a:cubicBezTo>
                <a:close/>
                <a:moveTo>
                  <a:pt x="22935" y="375286"/>
                </a:moveTo>
                <a:lnTo>
                  <a:pt x="771144" y="375286"/>
                </a:lnTo>
                <a:cubicBezTo>
                  <a:pt x="783811" y="375286"/>
                  <a:pt x="794079" y="385555"/>
                  <a:pt x="794079" y="398221"/>
                </a:cubicBezTo>
                <a:lnTo>
                  <a:pt x="794079" y="489959"/>
                </a:lnTo>
                <a:cubicBezTo>
                  <a:pt x="794079" y="502626"/>
                  <a:pt x="783811" y="512894"/>
                  <a:pt x="771144" y="512894"/>
                </a:cubicBezTo>
                <a:lnTo>
                  <a:pt x="22935" y="512894"/>
                </a:lnTo>
                <a:cubicBezTo>
                  <a:pt x="10269" y="512894"/>
                  <a:pt x="0" y="502626"/>
                  <a:pt x="0" y="489959"/>
                </a:cubicBezTo>
                <a:lnTo>
                  <a:pt x="0" y="398221"/>
                </a:lnTo>
                <a:cubicBezTo>
                  <a:pt x="0" y="385555"/>
                  <a:pt x="10269" y="375286"/>
                  <a:pt x="22935" y="375286"/>
                </a:cubicBezTo>
                <a:close/>
                <a:moveTo>
                  <a:pt x="93529" y="222341"/>
                </a:moveTo>
                <a:cubicBezTo>
                  <a:pt x="73548" y="222341"/>
                  <a:pt x="57350" y="238539"/>
                  <a:pt x="57350" y="258520"/>
                </a:cubicBezTo>
                <a:cubicBezTo>
                  <a:pt x="57350" y="278501"/>
                  <a:pt x="73548" y="294699"/>
                  <a:pt x="93529" y="294699"/>
                </a:cubicBezTo>
                <a:cubicBezTo>
                  <a:pt x="113510" y="294699"/>
                  <a:pt x="129707" y="278501"/>
                  <a:pt x="129707" y="258520"/>
                </a:cubicBezTo>
                <a:cubicBezTo>
                  <a:pt x="129707" y="238539"/>
                  <a:pt x="113510" y="222341"/>
                  <a:pt x="93529" y="222341"/>
                </a:cubicBezTo>
                <a:close/>
                <a:moveTo>
                  <a:pt x="22935" y="187643"/>
                </a:moveTo>
                <a:lnTo>
                  <a:pt x="771144" y="187643"/>
                </a:lnTo>
                <a:cubicBezTo>
                  <a:pt x="783811" y="187643"/>
                  <a:pt x="794079" y="197911"/>
                  <a:pt x="794079" y="210578"/>
                </a:cubicBezTo>
                <a:lnTo>
                  <a:pt x="794079" y="302316"/>
                </a:lnTo>
                <a:cubicBezTo>
                  <a:pt x="794079" y="314982"/>
                  <a:pt x="783811" y="325251"/>
                  <a:pt x="771144" y="325251"/>
                </a:cubicBezTo>
                <a:lnTo>
                  <a:pt x="22935" y="325251"/>
                </a:lnTo>
                <a:cubicBezTo>
                  <a:pt x="10269" y="325251"/>
                  <a:pt x="0" y="314982"/>
                  <a:pt x="0" y="302316"/>
                </a:cubicBezTo>
                <a:lnTo>
                  <a:pt x="0" y="210578"/>
                </a:lnTo>
                <a:cubicBezTo>
                  <a:pt x="0" y="197911"/>
                  <a:pt x="10269" y="187643"/>
                  <a:pt x="22935" y="187643"/>
                </a:cubicBezTo>
                <a:close/>
                <a:moveTo>
                  <a:pt x="93529" y="34698"/>
                </a:moveTo>
                <a:cubicBezTo>
                  <a:pt x="73548" y="34698"/>
                  <a:pt x="57350" y="50896"/>
                  <a:pt x="57350" y="70877"/>
                </a:cubicBezTo>
                <a:cubicBezTo>
                  <a:pt x="57350" y="90858"/>
                  <a:pt x="73548" y="107056"/>
                  <a:pt x="93529" y="107056"/>
                </a:cubicBezTo>
                <a:cubicBezTo>
                  <a:pt x="113510" y="107056"/>
                  <a:pt x="129707" y="90858"/>
                  <a:pt x="129707" y="70877"/>
                </a:cubicBezTo>
                <a:cubicBezTo>
                  <a:pt x="129707" y="50896"/>
                  <a:pt x="113510" y="34698"/>
                  <a:pt x="93529" y="34698"/>
                </a:cubicBezTo>
                <a:close/>
                <a:moveTo>
                  <a:pt x="22935" y="0"/>
                </a:moveTo>
                <a:lnTo>
                  <a:pt x="771144" y="0"/>
                </a:lnTo>
                <a:cubicBezTo>
                  <a:pt x="783811" y="0"/>
                  <a:pt x="794079" y="10268"/>
                  <a:pt x="794079" y="22935"/>
                </a:cubicBezTo>
                <a:lnTo>
                  <a:pt x="794079" y="114673"/>
                </a:lnTo>
                <a:cubicBezTo>
                  <a:pt x="794079" y="127339"/>
                  <a:pt x="783811" y="137608"/>
                  <a:pt x="771144" y="137608"/>
                </a:cubicBezTo>
                <a:lnTo>
                  <a:pt x="22935" y="137608"/>
                </a:lnTo>
                <a:cubicBezTo>
                  <a:pt x="10269" y="137608"/>
                  <a:pt x="0" y="127339"/>
                  <a:pt x="0" y="114673"/>
                </a:cubicBezTo>
                <a:lnTo>
                  <a:pt x="0" y="22935"/>
                </a:lnTo>
                <a:cubicBezTo>
                  <a:pt x="0" y="10268"/>
                  <a:pt x="10269" y="0"/>
                  <a:pt x="22935"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8" tIns="109719" rIns="137148" bIns="109719" numCol="1" spcCol="0" rtlCol="0" fromWordArt="0" anchor="t" anchorCtr="0" forceAA="0" compatLnSpc="1">
            <a:prstTxWarp prst="textNoShape">
              <a:avLst/>
            </a:prstTxWarp>
            <a:noAutofit/>
          </a:bodyPr>
          <a:lstStyle/>
          <a:p>
            <a:pPr algn="ctr" defTabSz="699261" fontAlgn="base">
              <a:lnSpc>
                <a:spcPct val="90000"/>
              </a:lnSpc>
              <a:spcBef>
                <a:spcPct val="0"/>
              </a:spcBef>
              <a:spcAft>
                <a:spcPct val="0"/>
              </a:spcAft>
            </a:pPr>
            <a:endParaRPr lang="en-US">
              <a:gradFill>
                <a:gsLst>
                  <a:gs pos="0">
                    <a:srgbClr val="FFFFFF"/>
                  </a:gs>
                  <a:gs pos="100000">
                    <a:srgbClr val="FFFFFF"/>
                  </a:gs>
                </a:gsLst>
                <a:lin ang="5400000" scaled="0"/>
              </a:gradFill>
              <a:ea typeface="Segoe UI" pitchFamily="34" charset="0"/>
              <a:cs typeface="Segoe UI" pitchFamily="34" charset="0"/>
            </a:endParaRPr>
          </a:p>
        </p:txBody>
      </p:sp>
      <p:grpSp>
        <p:nvGrpSpPr>
          <p:cNvPr id="60" name="Group 59"/>
          <p:cNvGrpSpPr>
            <a:grpSpLocks noChangeAspect="1"/>
          </p:cNvGrpSpPr>
          <p:nvPr/>
        </p:nvGrpSpPr>
        <p:grpSpPr>
          <a:xfrm>
            <a:off x="284268" y="1947738"/>
            <a:ext cx="314004" cy="320040"/>
            <a:chOff x="810855" y="2271601"/>
            <a:chExt cx="457200" cy="465990"/>
          </a:xfrm>
        </p:grpSpPr>
        <p:sp>
          <p:nvSpPr>
            <p:cNvPr id="61" name="Freeform 5"/>
            <p:cNvSpPr>
              <a:spLocks noEditPoints="1"/>
            </p:cNvSpPr>
            <p:nvPr/>
          </p:nvSpPr>
          <p:spPr bwMode="black">
            <a:xfrm>
              <a:off x="892260" y="2271601"/>
              <a:ext cx="375795" cy="291633"/>
            </a:xfrm>
            <a:custGeom>
              <a:avLst/>
              <a:gdLst>
                <a:gd name="T0" fmla="*/ 22 w 277"/>
                <a:gd name="T1" fmla="*/ 1 h 215"/>
                <a:gd name="T2" fmla="*/ 22 w 277"/>
                <a:gd name="T3" fmla="*/ 10 h 215"/>
                <a:gd name="T4" fmla="*/ 22 w 277"/>
                <a:gd name="T5" fmla="*/ 10 h 215"/>
                <a:gd name="T6" fmla="*/ 66 w 277"/>
                <a:gd name="T7" fmla="*/ 15 h 215"/>
                <a:gd name="T8" fmla="*/ 54 w 277"/>
                <a:gd name="T9" fmla="*/ 20 h 215"/>
                <a:gd name="T10" fmla="*/ 79 w 277"/>
                <a:gd name="T11" fmla="*/ 0 h 215"/>
                <a:gd name="T12" fmla="*/ 118 w 277"/>
                <a:gd name="T13" fmla="*/ 1 h 215"/>
                <a:gd name="T14" fmla="*/ 118 w 277"/>
                <a:gd name="T15" fmla="*/ 10 h 215"/>
                <a:gd name="T16" fmla="*/ 118 w 277"/>
                <a:gd name="T17" fmla="*/ 10 h 215"/>
                <a:gd name="T18" fmla="*/ 163 w 277"/>
                <a:gd name="T19" fmla="*/ 15 h 215"/>
                <a:gd name="T20" fmla="*/ 150 w 277"/>
                <a:gd name="T21" fmla="*/ 20 h 215"/>
                <a:gd name="T22" fmla="*/ 176 w 277"/>
                <a:gd name="T23" fmla="*/ 0 h 215"/>
                <a:gd name="T24" fmla="*/ 215 w 277"/>
                <a:gd name="T25" fmla="*/ 1 h 215"/>
                <a:gd name="T26" fmla="*/ 214 w 277"/>
                <a:gd name="T27" fmla="*/ 10 h 215"/>
                <a:gd name="T28" fmla="*/ 214 w 277"/>
                <a:gd name="T29" fmla="*/ 10 h 215"/>
                <a:gd name="T30" fmla="*/ 259 w 277"/>
                <a:gd name="T31" fmla="*/ 15 h 215"/>
                <a:gd name="T32" fmla="*/ 247 w 277"/>
                <a:gd name="T33" fmla="*/ 20 h 215"/>
                <a:gd name="T34" fmla="*/ 272 w 277"/>
                <a:gd name="T35" fmla="*/ 0 h 215"/>
                <a:gd name="T36" fmla="*/ 12 w 277"/>
                <a:gd name="T37" fmla="*/ 92 h 215"/>
                <a:gd name="T38" fmla="*/ 0 w 277"/>
                <a:gd name="T39" fmla="*/ 97 h 215"/>
                <a:gd name="T40" fmla="*/ 25 w 277"/>
                <a:gd name="T41" fmla="*/ 77 h 215"/>
                <a:gd name="T42" fmla="*/ 64 w 277"/>
                <a:gd name="T43" fmla="*/ 77 h 215"/>
                <a:gd name="T44" fmla="*/ 64 w 277"/>
                <a:gd name="T45" fmla="*/ 87 h 215"/>
                <a:gd name="T46" fmla="*/ 64 w 277"/>
                <a:gd name="T47" fmla="*/ 87 h 215"/>
                <a:gd name="T48" fmla="*/ 109 w 277"/>
                <a:gd name="T49" fmla="*/ 92 h 215"/>
                <a:gd name="T50" fmla="*/ 96 w 277"/>
                <a:gd name="T51" fmla="*/ 97 h 215"/>
                <a:gd name="T52" fmla="*/ 122 w 277"/>
                <a:gd name="T53" fmla="*/ 77 h 215"/>
                <a:gd name="T54" fmla="*/ 161 w 277"/>
                <a:gd name="T55" fmla="*/ 77 h 215"/>
                <a:gd name="T56" fmla="*/ 160 w 277"/>
                <a:gd name="T57" fmla="*/ 87 h 215"/>
                <a:gd name="T58" fmla="*/ 160 w 277"/>
                <a:gd name="T59" fmla="*/ 87 h 215"/>
                <a:gd name="T60" fmla="*/ 205 w 277"/>
                <a:gd name="T61" fmla="*/ 92 h 215"/>
                <a:gd name="T62" fmla="*/ 192 w 277"/>
                <a:gd name="T63" fmla="*/ 97 h 215"/>
                <a:gd name="T64" fmla="*/ 218 w 277"/>
                <a:gd name="T65" fmla="*/ 77 h 215"/>
                <a:gd name="T66" fmla="*/ 257 w 277"/>
                <a:gd name="T67" fmla="*/ 77 h 215"/>
                <a:gd name="T68" fmla="*/ 256 w 277"/>
                <a:gd name="T69" fmla="*/ 87 h 215"/>
                <a:gd name="T70" fmla="*/ 256 w 277"/>
                <a:gd name="T71" fmla="*/ 87 h 215"/>
                <a:gd name="T72" fmla="*/ 22 w 277"/>
                <a:gd name="T73" fmla="*/ 154 h 215"/>
                <a:gd name="T74" fmla="*/ 22 w 277"/>
                <a:gd name="T75" fmla="*/ 164 h 215"/>
                <a:gd name="T76" fmla="*/ 22 w 277"/>
                <a:gd name="T77" fmla="*/ 164 h 215"/>
                <a:gd name="T78" fmla="*/ 66 w 277"/>
                <a:gd name="T79" fmla="*/ 168 h 215"/>
                <a:gd name="T80" fmla="*/ 54 w 277"/>
                <a:gd name="T81" fmla="*/ 173 h 215"/>
                <a:gd name="T82" fmla="*/ 79 w 277"/>
                <a:gd name="T83" fmla="*/ 154 h 215"/>
                <a:gd name="T84" fmla="*/ 118 w 277"/>
                <a:gd name="T85" fmla="*/ 154 h 215"/>
                <a:gd name="T86" fmla="*/ 118 w 277"/>
                <a:gd name="T87" fmla="*/ 164 h 215"/>
                <a:gd name="T88" fmla="*/ 118 w 277"/>
                <a:gd name="T89" fmla="*/ 164 h 215"/>
                <a:gd name="T90" fmla="*/ 163 w 277"/>
                <a:gd name="T91" fmla="*/ 168 h 215"/>
                <a:gd name="T92" fmla="*/ 150 w 277"/>
                <a:gd name="T93" fmla="*/ 173 h 215"/>
                <a:gd name="T94" fmla="*/ 176 w 277"/>
                <a:gd name="T95" fmla="*/ 154 h 215"/>
                <a:gd name="T96" fmla="*/ 215 w 277"/>
                <a:gd name="T97" fmla="*/ 154 h 215"/>
                <a:gd name="T98" fmla="*/ 214 w 277"/>
                <a:gd name="T99" fmla="*/ 164 h 215"/>
                <a:gd name="T100" fmla="*/ 214 w 277"/>
                <a:gd name="T101" fmla="*/ 164 h 215"/>
                <a:gd name="T102" fmla="*/ 259 w 277"/>
                <a:gd name="T103" fmla="*/ 168 h 215"/>
                <a:gd name="T104" fmla="*/ 247 w 277"/>
                <a:gd name="T105" fmla="*/ 173 h 215"/>
                <a:gd name="T106" fmla="*/ 272 w 277"/>
                <a:gd name="T107" fmla="*/ 154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77" h="215">
                  <a:moveTo>
                    <a:pt x="21" y="61"/>
                  </a:moveTo>
                  <a:cubicBezTo>
                    <a:pt x="7" y="61"/>
                    <a:pt x="0" y="51"/>
                    <a:pt x="0" y="32"/>
                  </a:cubicBezTo>
                  <a:cubicBezTo>
                    <a:pt x="0" y="22"/>
                    <a:pt x="2" y="14"/>
                    <a:pt x="6" y="9"/>
                  </a:cubicBezTo>
                  <a:cubicBezTo>
                    <a:pt x="9" y="3"/>
                    <a:pt x="15" y="1"/>
                    <a:pt x="22" y="1"/>
                  </a:cubicBezTo>
                  <a:cubicBezTo>
                    <a:pt x="36" y="1"/>
                    <a:pt x="43" y="11"/>
                    <a:pt x="43" y="30"/>
                  </a:cubicBezTo>
                  <a:cubicBezTo>
                    <a:pt x="43" y="40"/>
                    <a:pt x="41" y="48"/>
                    <a:pt x="37" y="53"/>
                  </a:cubicBezTo>
                  <a:cubicBezTo>
                    <a:pt x="33" y="59"/>
                    <a:pt x="28" y="61"/>
                    <a:pt x="21" y="61"/>
                  </a:cubicBezTo>
                  <a:close/>
                  <a:moveTo>
                    <a:pt x="22" y="10"/>
                  </a:moveTo>
                  <a:cubicBezTo>
                    <a:pt x="16" y="10"/>
                    <a:pt x="13" y="17"/>
                    <a:pt x="13" y="32"/>
                  </a:cubicBezTo>
                  <a:cubicBezTo>
                    <a:pt x="13" y="45"/>
                    <a:pt x="16" y="51"/>
                    <a:pt x="21" y="51"/>
                  </a:cubicBezTo>
                  <a:cubicBezTo>
                    <a:pt x="27" y="51"/>
                    <a:pt x="29" y="45"/>
                    <a:pt x="29" y="31"/>
                  </a:cubicBezTo>
                  <a:cubicBezTo>
                    <a:pt x="29" y="17"/>
                    <a:pt x="27" y="10"/>
                    <a:pt x="22" y="10"/>
                  </a:cubicBezTo>
                  <a:close/>
                  <a:moveTo>
                    <a:pt x="79" y="0"/>
                  </a:moveTo>
                  <a:cubicBezTo>
                    <a:pt x="79" y="60"/>
                    <a:pt x="79" y="60"/>
                    <a:pt x="79" y="60"/>
                  </a:cubicBezTo>
                  <a:cubicBezTo>
                    <a:pt x="66" y="60"/>
                    <a:pt x="66" y="60"/>
                    <a:pt x="66" y="60"/>
                  </a:cubicBezTo>
                  <a:cubicBezTo>
                    <a:pt x="66" y="15"/>
                    <a:pt x="66" y="15"/>
                    <a:pt x="66" y="15"/>
                  </a:cubicBezTo>
                  <a:cubicBezTo>
                    <a:pt x="66" y="15"/>
                    <a:pt x="65" y="16"/>
                    <a:pt x="64" y="17"/>
                  </a:cubicBezTo>
                  <a:cubicBezTo>
                    <a:pt x="63" y="17"/>
                    <a:pt x="62" y="18"/>
                    <a:pt x="61" y="18"/>
                  </a:cubicBezTo>
                  <a:cubicBezTo>
                    <a:pt x="60" y="19"/>
                    <a:pt x="59" y="19"/>
                    <a:pt x="57" y="19"/>
                  </a:cubicBezTo>
                  <a:cubicBezTo>
                    <a:pt x="56" y="20"/>
                    <a:pt x="55" y="20"/>
                    <a:pt x="54" y="20"/>
                  </a:cubicBezTo>
                  <a:cubicBezTo>
                    <a:pt x="54" y="9"/>
                    <a:pt x="54" y="9"/>
                    <a:pt x="54" y="9"/>
                  </a:cubicBezTo>
                  <a:cubicBezTo>
                    <a:pt x="57" y="8"/>
                    <a:pt x="61" y="7"/>
                    <a:pt x="64" y="5"/>
                  </a:cubicBezTo>
                  <a:cubicBezTo>
                    <a:pt x="66" y="4"/>
                    <a:pt x="69" y="2"/>
                    <a:pt x="72" y="0"/>
                  </a:cubicBezTo>
                  <a:lnTo>
                    <a:pt x="79" y="0"/>
                  </a:lnTo>
                  <a:close/>
                  <a:moveTo>
                    <a:pt x="117" y="61"/>
                  </a:moveTo>
                  <a:cubicBezTo>
                    <a:pt x="103" y="61"/>
                    <a:pt x="96" y="51"/>
                    <a:pt x="96" y="32"/>
                  </a:cubicBezTo>
                  <a:cubicBezTo>
                    <a:pt x="96" y="22"/>
                    <a:pt x="98" y="14"/>
                    <a:pt x="102" y="9"/>
                  </a:cubicBezTo>
                  <a:cubicBezTo>
                    <a:pt x="106" y="3"/>
                    <a:pt x="111" y="1"/>
                    <a:pt x="118" y="1"/>
                  </a:cubicBezTo>
                  <a:cubicBezTo>
                    <a:pt x="132" y="1"/>
                    <a:pt x="139" y="11"/>
                    <a:pt x="139" y="30"/>
                  </a:cubicBezTo>
                  <a:cubicBezTo>
                    <a:pt x="139" y="40"/>
                    <a:pt x="137" y="48"/>
                    <a:pt x="133" y="53"/>
                  </a:cubicBezTo>
                  <a:cubicBezTo>
                    <a:pt x="130" y="59"/>
                    <a:pt x="124" y="61"/>
                    <a:pt x="117" y="61"/>
                  </a:cubicBezTo>
                  <a:close/>
                  <a:moveTo>
                    <a:pt x="118" y="10"/>
                  </a:moveTo>
                  <a:cubicBezTo>
                    <a:pt x="112" y="10"/>
                    <a:pt x="109" y="17"/>
                    <a:pt x="109" y="32"/>
                  </a:cubicBezTo>
                  <a:cubicBezTo>
                    <a:pt x="109" y="45"/>
                    <a:pt x="112" y="51"/>
                    <a:pt x="118" y="51"/>
                  </a:cubicBezTo>
                  <a:cubicBezTo>
                    <a:pt x="123" y="51"/>
                    <a:pt x="126" y="45"/>
                    <a:pt x="126" y="31"/>
                  </a:cubicBezTo>
                  <a:cubicBezTo>
                    <a:pt x="126" y="17"/>
                    <a:pt x="123" y="10"/>
                    <a:pt x="118" y="10"/>
                  </a:cubicBezTo>
                  <a:close/>
                  <a:moveTo>
                    <a:pt x="176" y="0"/>
                  </a:moveTo>
                  <a:cubicBezTo>
                    <a:pt x="176" y="60"/>
                    <a:pt x="176" y="60"/>
                    <a:pt x="176" y="60"/>
                  </a:cubicBezTo>
                  <a:cubicBezTo>
                    <a:pt x="163" y="60"/>
                    <a:pt x="163" y="60"/>
                    <a:pt x="163" y="60"/>
                  </a:cubicBezTo>
                  <a:cubicBezTo>
                    <a:pt x="163" y="15"/>
                    <a:pt x="163" y="15"/>
                    <a:pt x="163" y="15"/>
                  </a:cubicBezTo>
                  <a:cubicBezTo>
                    <a:pt x="162" y="15"/>
                    <a:pt x="161" y="16"/>
                    <a:pt x="160" y="17"/>
                  </a:cubicBezTo>
                  <a:cubicBezTo>
                    <a:pt x="159" y="17"/>
                    <a:pt x="158" y="18"/>
                    <a:pt x="157" y="18"/>
                  </a:cubicBezTo>
                  <a:cubicBezTo>
                    <a:pt x="156" y="19"/>
                    <a:pt x="155" y="19"/>
                    <a:pt x="154" y="19"/>
                  </a:cubicBezTo>
                  <a:cubicBezTo>
                    <a:pt x="153" y="20"/>
                    <a:pt x="151" y="20"/>
                    <a:pt x="150" y="20"/>
                  </a:cubicBezTo>
                  <a:cubicBezTo>
                    <a:pt x="150" y="9"/>
                    <a:pt x="150" y="9"/>
                    <a:pt x="150" y="9"/>
                  </a:cubicBezTo>
                  <a:cubicBezTo>
                    <a:pt x="154" y="8"/>
                    <a:pt x="157" y="7"/>
                    <a:pt x="160" y="5"/>
                  </a:cubicBezTo>
                  <a:cubicBezTo>
                    <a:pt x="163" y="4"/>
                    <a:pt x="165" y="2"/>
                    <a:pt x="168" y="0"/>
                  </a:cubicBezTo>
                  <a:lnTo>
                    <a:pt x="176" y="0"/>
                  </a:lnTo>
                  <a:close/>
                  <a:moveTo>
                    <a:pt x="214" y="61"/>
                  </a:moveTo>
                  <a:cubicBezTo>
                    <a:pt x="200" y="61"/>
                    <a:pt x="193" y="51"/>
                    <a:pt x="193" y="32"/>
                  </a:cubicBezTo>
                  <a:cubicBezTo>
                    <a:pt x="193" y="22"/>
                    <a:pt x="195" y="14"/>
                    <a:pt x="198" y="9"/>
                  </a:cubicBezTo>
                  <a:cubicBezTo>
                    <a:pt x="202" y="3"/>
                    <a:pt x="208" y="1"/>
                    <a:pt x="215" y="1"/>
                  </a:cubicBezTo>
                  <a:cubicBezTo>
                    <a:pt x="228" y="1"/>
                    <a:pt x="235" y="11"/>
                    <a:pt x="235" y="30"/>
                  </a:cubicBezTo>
                  <a:cubicBezTo>
                    <a:pt x="235" y="40"/>
                    <a:pt x="233" y="48"/>
                    <a:pt x="230" y="53"/>
                  </a:cubicBezTo>
                  <a:cubicBezTo>
                    <a:pt x="226" y="59"/>
                    <a:pt x="221" y="61"/>
                    <a:pt x="214" y="61"/>
                  </a:cubicBezTo>
                  <a:close/>
                  <a:moveTo>
                    <a:pt x="214" y="10"/>
                  </a:moveTo>
                  <a:cubicBezTo>
                    <a:pt x="209" y="10"/>
                    <a:pt x="206" y="17"/>
                    <a:pt x="206" y="32"/>
                  </a:cubicBezTo>
                  <a:cubicBezTo>
                    <a:pt x="206" y="45"/>
                    <a:pt x="209" y="51"/>
                    <a:pt x="214" y="51"/>
                  </a:cubicBezTo>
                  <a:cubicBezTo>
                    <a:pt x="219" y="51"/>
                    <a:pt x="222" y="45"/>
                    <a:pt x="222" y="31"/>
                  </a:cubicBezTo>
                  <a:cubicBezTo>
                    <a:pt x="222" y="17"/>
                    <a:pt x="219" y="10"/>
                    <a:pt x="214" y="10"/>
                  </a:cubicBezTo>
                  <a:close/>
                  <a:moveTo>
                    <a:pt x="272" y="0"/>
                  </a:moveTo>
                  <a:cubicBezTo>
                    <a:pt x="272" y="60"/>
                    <a:pt x="272" y="60"/>
                    <a:pt x="272" y="60"/>
                  </a:cubicBezTo>
                  <a:cubicBezTo>
                    <a:pt x="259" y="60"/>
                    <a:pt x="259" y="60"/>
                    <a:pt x="259" y="60"/>
                  </a:cubicBezTo>
                  <a:cubicBezTo>
                    <a:pt x="259" y="15"/>
                    <a:pt x="259" y="15"/>
                    <a:pt x="259" y="15"/>
                  </a:cubicBezTo>
                  <a:cubicBezTo>
                    <a:pt x="258" y="15"/>
                    <a:pt x="258" y="16"/>
                    <a:pt x="257" y="17"/>
                  </a:cubicBezTo>
                  <a:cubicBezTo>
                    <a:pt x="256" y="17"/>
                    <a:pt x="255" y="18"/>
                    <a:pt x="254" y="18"/>
                  </a:cubicBezTo>
                  <a:cubicBezTo>
                    <a:pt x="252" y="19"/>
                    <a:pt x="251" y="19"/>
                    <a:pt x="250" y="19"/>
                  </a:cubicBezTo>
                  <a:cubicBezTo>
                    <a:pt x="249" y="20"/>
                    <a:pt x="248" y="20"/>
                    <a:pt x="247" y="20"/>
                  </a:cubicBezTo>
                  <a:cubicBezTo>
                    <a:pt x="247" y="9"/>
                    <a:pt x="247" y="9"/>
                    <a:pt x="247" y="9"/>
                  </a:cubicBezTo>
                  <a:cubicBezTo>
                    <a:pt x="250" y="8"/>
                    <a:pt x="253" y="7"/>
                    <a:pt x="256" y="5"/>
                  </a:cubicBezTo>
                  <a:cubicBezTo>
                    <a:pt x="259" y="4"/>
                    <a:pt x="262" y="2"/>
                    <a:pt x="264" y="0"/>
                  </a:cubicBezTo>
                  <a:lnTo>
                    <a:pt x="272" y="0"/>
                  </a:lnTo>
                  <a:close/>
                  <a:moveTo>
                    <a:pt x="25" y="77"/>
                  </a:moveTo>
                  <a:cubicBezTo>
                    <a:pt x="25" y="137"/>
                    <a:pt x="25" y="137"/>
                    <a:pt x="25" y="137"/>
                  </a:cubicBezTo>
                  <a:cubicBezTo>
                    <a:pt x="12" y="137"/>
                    <a:pt x="12" y="137"/>
                    <a:pt x="12" y="137"/>
                  </a:cubicBezTo>
                  <a:cubicBezTo>
                    <a:pt x="12" y="92"/>
                    <a:pt x="12" y="92"/>
                    <a:pt x="12" y="92"/>
                  </a:cubicBezTo>
                  <a:cubicBezTo>
                    <a:pt x="12" y="92"/>
                    <a:pt x="11" y="93"/>
                    <a:pt x="10" y="93"/>
                  </a:cubicBezTo>
                  <a:cubicBezTo>
                    <a:pt x="9" y="94"/>
                    <a:pt x="8" y="94"/>
                    <a:pt x="7" y="95"/>
                  </a:cubicBezTo>
                  <a:cubicBezTo>
                    <a:pt x="6" y="95"/>
                    <a:pt x="5" y="96"/>
                    <a:pt x="3" y="96"/>
                  </a:cubicBezTo>
                  <a:cubicBezTo>
                    <a:pt x="2" y="96"/>
                    <a:pt x="1" y="97"/>
                    <a:pt x="0" y="97"/>
                  </a:cubicBezTo>
                  <a:cubicBezTo>
                    <a:pt x="0" y="86"/>
                    <a:pt x="0" y="86"/>
                    <a:pt x="0" y="86"/>
                  </a:cubicBezTo>
                  <a:cubicBezTo>
                    <a:pt x="3" y="85"/>
                    <a:pt x="6" y="84"/>
                    <a:pt x="9" y="82"/>
                  </a:cubicBezTo>
                  <a:cubicBezTo>
                    <a:pt x="12" y="81"/>
                    <a:pt x="15" y="79"/>
                    <a:pt x="17" y="77"/>
                  </a:cubicBezTo>
                  <a:lnTo>
                    <a:pt x="25" y="77"/>
                  </a:lnTo>
                  <a:close/>
                  <a:moveTo>
                    <a:pt x="63" y="138"/>
                  </a:moveTo>
                  <a:cubicBezTo>
                    <a:pt x="49" y="138"/>
                    <a:pt x="42" y="128"/>
                    <a:pt x="42" y="109"/>
                  </a:cubicBezTo>
                  <a:cubicBezTo>
                    <a:pt x="42" y="98"/>
                    <a:pt x="44" y="91"/>
                    <a:pt x="48" y="85"/>
                  </a:cubicBezTo>
                  <a:cubicBezTo>
                    <a:pt x="52" y="80"/>
                    <a:pt x="57" y="77"/>
                    <a:pt x="64" y="77"/>
                  </a:cubicBezTo>
                  <a:cubicBezTo>
                    <a:pt x="78" y="77"/>
                    <a:pt x="85" y="87"/>
                    <a:pt x="85" y="107"/>
                  </a:cubicBezTo>
                  <a:cubicBezTo>
                    <a:pt x="85" y="117"/>
                    <a:pt x="83" y="125"/>
                    <a:pt x="79" y="130"/>
                  </a:cubicBezTo>
                  <a:cubicBezTo>
                    <a:pt x="75" y="135"/>
                    <a:pt x="70" y="138"/>
                    <a:pt x="63" y="138"/>
                  </a:cubicBezTo>
                  <a:close/>
                  <a:moveTo>
                    <a:pt x="64" y="87"/>
                  </a:moveTo>
                  <a:cubicBezTo>
                    <a:pt x="58" y="87"/>
                    <a:pt x="55" y="94"/>
                    <a:pt x="55" y="108"/>
                  </a:cubicBezTo>
                  <a:cubicBezTo>
                    <a:pt x="55" y="121"/>
                    <a:pt x="58" y="128"/>
                    <a:pt x="64" y="128"/>
                  </a:cubicBezTo>
                  <a:cubicBezTo>
                    <a:pt x="69" y="128"/>
                    <a:pt x="72" y="121"/>
                    <a:pt x="72" y="108"/>
                  </a:cubicBezTo>
                  <a:cubicBezTo>
                    <a:pt x="72" y="94"/>
                    <a:pt x="69" y="87"/>
                    <a:pt x="64" y="87"/>
                  </a:cubicBezTo>
                  <a:close/>
                  <a:moveTo>
                    <a:pt x="122" y="77"/>
                  </a:moveTo>
                  <a:cubicBezTo>
                    <a:pt x="122" y="137"/>
                    <a:pt x="122" y="137"/>
                    <a:pt x="122" y="137"/>
                  </a:cubicBezTo>
                  <a:cubicBezTo>
                    <a:pt x="109" y="137"/>
                    <a:pt x="109" y="137"/>
                    <a:pt x="109" y="137"/>
                  </a:cubicBezTo>
                  <a:cubicBezTo>
                    <a:pt x="109" y="92"/>
                    <a:pt x="109" y="92"/>
                    <a:pt x="109" y="92"/>
                  </a:cubicBezTo>
                  <a:cubicBezTo>
                    <a:pt x="108" y="92"/>
                    <a:pt x="107" y="93"/>
                    <a:pt x="106" y="93"/>
                  </a:cubicBezTo>
                  <a:cubicBezTo>
                    <a:pt x="105" y="94"/>
                    <a:pt x="104" y="94"/>
                    <a:pt x="103" y="95"/>
                  </a:cubicBezTo>
                  <a:cubicBezTo>
                    <a:pt x="102" y="95"/>
                    <a:pt x="101" y="96"/>
                    <a:pt x="100" y="96"/>
                  </a:cubicBezTo>
                  <a:cubicBezTo>
                    <a:pt x="98" y="96"/>
                    <a:pt x="97" y="97"/>
                    <a:pt x="96" y="97"/>
                  </a:cubicBezTo>
                  <a:cubicBezTo>
                    <a:pt x="96" y="86"/>
                    <a:pt x="96" y="86"/>
                    <a:pt x="96" y="86"/>
                  </a:cubicBezTo>
                  <a:cubicBezTo>
                    <a:pt x="100" y="85"/>
                    <a:pt x="103" y="84"/>
                    <a:pt x="106" y="82"/>
                  </a:cubicBezTo>
                  <a:cubicBezTo>
                    <a:pt x="109" y="81"/>
                    <a:pt x="111" y="79"/>
                    <a:pt x="114" y="77"/>
                  </a:cubicBezTo>
                  <a:lnTo>
                    <a:pt x="122" y="77"/>
                  </a:lnTo>
                  <a:close/>
                  <a:moveTo>
                    <a:pt x="159" y="138"/>
                  </a:moveTo>
                  <a:cubicBezTo>
                    <a:pt x="145" y="138"/>
                    <a:pt x="138" y="128"/>
                    <a:pt x="138" y="109"/>
                  </a:cubicBezTo>
                  <a:cubicBezTo>
                    <a:pt x="138" y="98"/>
                    <a:pt x="140" y="91"/>
                    <a:pt x="144" y="85"/>
                  </a:cubicBezTo>
                  <a:cubicBezTo>
                    <a:pt x="148" y="80"/>
                    <a:pt x="153" y="77"/>
                    <a:pt x="161" y="77"/>
                  </a:cubicBezTo>
                  <a:cubicBezTo>
                    <a:pt x="174" y="77"/>
                    <a:pt x="181" y="87"/>
                    <a:pt x="181" y="107"/>
                  </a:cubicBezTo>
                  <a:cubicBezTo>
                    <a:pt x="181" y="117"/>
                    <a:pt x="179" y="125"/>
                    <a:pt x="175" y="130"/>
                  </a:cubicBezTo>
                  <a:cubicBezTo>
                    <a:pt x="172" y="135"/>
                    <a:pt x="166" y="138"/>
                    <a:pt x="159" y="138"/>
                  </a:cubicBezTo>
                  <a:close/>
                  <a:moveTo>
                    <a:pt x="160" y="87"/>
                  </a:moveTo>
                  <a:cubicBezTo>
                    <a:pt x="154" y="87"/>
                    <a:pt x="152" y="94"/>
                    <a:pt x="152" y="108"/>
                  </a:cubicBezTo>
                  <a:cubicBezTo>
                    <a:pt x="152" y="121"/>
                    <a:pt x="154" y="128"/>
                    <a:pt x="160" y="128"/>
                  </a:cubicBezTo>
                  <a:cubicBezTo>
                    <a:pt x="165" y="128"/>
                    <a:pt x="168" y="121"/>
                    <a:pt x="168" y="108"/>
                  </a:cubicBezTo>
                  <a:cubicBezTo>
                    <a:pt x="168" y="94"/>
                    <a:pt x="165" y="87"/>
                    <a:pt x="160" y="87"/>
                  </a:cubicBezTo>
                  <a:close/>
                  <a:moveTo>
                    <a:pt x="218" y="77"/>
                  </a:moveTo>
                  <a:cubicBezTo>
                    <a:pt x="218" y="137"/>
                    <a:pt x="218" y="137"/>
                    <a:pt x="218" y="137"/>
                  </a:cubicBezTo>
                  <a:cubicBezTo>
                    <a:pt x="205" y="137"/>
                    <a:pt x="205" y="137"/>
                    <a:pt x="205" y="137"/>
                  </a:cubicBezTo>
                  <a:cubicBezTo>
                    <a:pt x="205" y="92"/>
                    <a:pt x="205" y="92"/>
                    <a:pt x="205" y="92"/>
                  </a:cubicBezTo>
                  <a:cubicBezTo>
                    <a:pt x="204" y="92"/>
                    <a:pt x="203" y="93"/>
                    <a:pt x="202" y="93"/>
                  </a:cubicBezTo>
                  <a:cubicBezTo>
                    <a:pt x="201" y="94"/>
                    <a:pt x="200" y="94"/>
                    <a:pt x="199" y="95"/>
                  </a:cubicBezTo>
                  <a:cubicBezTo>
                    <a:pt x="198" y="95"/>
                    <a:pt x="197" y="96"/>
                    <a:pt x="196" y="96"/>
                  </a:cubicBezTo>
                  <a:cubicBezTo>
                    <a:pt x="195" y="96"/>
                    <a:pt x="194" y="97"/>
                    <a:pt x="192" y="97"/>
                  </a:cubicBezTo>
                  <a:cubicBezTo>
                    <a:pt x="192" y="86"/>
                    <a:pt x="192" y="86"/>
                    <a:pt x="192" y="86"/>
                  </a:cubicBezTo>
                  <a:cubicBezTo>
                    <a:pt x="196" y="85"/>
                    <a:pt x="199" y="84"/>
                    <a:pt x="202" y="82"/>
                  </a:cubicBezTo>
                  <a:cubicBezTo>
                    <a:pt x="205" y="81"/>
                    <a:pt x="208" y="79"/>
                    <a:pt x="210" y="77"/>
                  </a:cubicBezTo>
                  <a:lnTo>
                    <a:pt x="218" y="77"/>
                  </a:lnTo>
                  <a:close/>
                  <a:moveTo>
                    <a:pt x="256" y="138"/>
                  </a:moveTo>
                  <a:cubicBezTo>
                    <a:pt x="242" y="138"/>
                    <a:pt x="235" y="128"/>
                    <a:pt x="235" y="109"/>
                  </a:cubicBezTo>
                  <a:cubicBezTo>
                    <a:pt x="235" y="98"/>
                    <a:pt x="237" y="91"/>
                    <a:pt x="240" y="85"/>
                  </a:cubicBezTo>
                  <a:cubicBezTo>
                    <a:pt x="244" y="80"/>
                    <a:pt x="250" y="77"/>
                    <a:pt x="257" y="77"/>
                  </a:cubicBezTo>
                  <a:cubicBezTo>
                    <a:pt x="270" y="77"/>
                    <a:pt x="277" y="87"/>
                    <a:pt x="277" y="107"/>
                  </a:cubicBezTo>
                  <a:cubicBezTo>
                    <a:pt x="277" y="117"/>
                    <a:pt x="275" y="125"/>
                    <a:pt x="272" y="130"/>
                  </a:cubicBezTo>
                  <a:cubicBezTo>
                    <a:pt x="268" y="135"/>
                    <a:pt x="263" y="138"/>
                    <a:pt x="256" y="138"/>
                  </a:cubicBezTo>
                  <a:close/>
                  <a:moveTo>
                    <a:pt x="256" y="87"/>
                  </a:moveTo>
                  <a:cubicBezTo>
                    <a:pt x="251" y="87"/>
                    <a:pt x="248" y="94"/>
                    <a:pt x="248" y="108"/>
                  </a:cubicBezTo>
                  <a:cubicBezTo>
                    <a:pt x="248" y="121"/>
                    <a:pt x="251" y="128"/>
                    <a:pt x="256" y="128"/>
                  </a:cubicBezTo>
                  <a:cubicBezTo>
                    <a:pt x="261" y="128"/>
                    <a:pt x="264" y="121"/>
                    <a:pt x="264" y="108"/>
                  </a:cubicBezTo>
                  <a:cubicBezTo>
                    <a:pt x="264" y="94"/>
                    <a:pt x="262" y="87"/>
                    <a:pt x="256" y="87"/>
                  </a:cubicBezTo>
                  <a:close/>
                  <a:moveTo>
                    <a:pt x="21" y="215"/>
                  </a:moveTo>
                  <a:cubicBezTo>
                    <a:pt x="7" y="215"/>
                    <a:pt x="0" y="205"/>
                    <a:pt x="0" y="185"/>
                  </a:cubicBezTo>
                  <a:cubicBezTo>
                    <a:pt x="0" y="175"/>
                    <a:pt x="2" y="167"/>
                    <a:pt x="6" y="162"/>
                  </a:cubicBezTo>
                  <a:cubicBezTo>
                    <a:pt x="9" y="157"/>
                    <a:pt x="15" y="154"/>
                    <a:pt x="22" y="154"/>
                  </a:cubicBezTo>
                  <a:cubicBezTo>
                    <a:pt x="36" y="154"/>
                    <a:pt x="43" y="164"/>
                    <a:pt x="43" y="184"/>
                  </a:cubicBezTo>
                  <a:cubicBezTo>
                    <a:pt x="43" y="194"/>
                    <a:pt x="41" y="201"/>
                    <a:pt x="37" y="207"/>
                  </a:cubicBezTo>
                  <a:cubicBezTo>
                    <a:pt x="33" y="212"/>
                    <a:pt x="28" y="215"/>
                    <a:pt x="21" y="215"/>
                  </a:cubicBezTo>
                  <a:close/>
                  <a:moveTo>
                    <a:pt x="22" y="164"/>
                  </a:moveTo>
                  <a:cubicBezTo>
                    <a:pt x="16" y="164"/>
                    <a:pt x="13" y="171"/>
                    <a:pt x="13" y="185"/>
                  </a:cubicBezTo>
                  <a:cubicBezTo>
                    <a:pt x="13" y="198"/>
                    <a:pt x="16" y="205"/>
                    <a:pt x="21" y="205"/>
                  </a:cubicBezTo>
                  <a:cubicBezTo>
                    <a:pt x="27" y="205"/>
                    <a:pt x="29" y="198"/>
                    <a:pt x="29" y="184"/>
                  </a:cubicBezTo>
                  <a:cubicBezTo>
                    <a:pt x="29" y="171"/>
                    <a:pt x="27" y="164"/>
                    <a:pt x="22" y="164"/>
                  </a:cubicBezTo>
                  <a:close/>
                  <a:moveTo>
                    <a:pt x="79" y="154"/>
                  </a:moveTo>
                  <a:cubicBezTo>
                    <a:pt x="79" y="214"/>
                    <a:pt x="79" y="214"/>
                    <a:pt x="79" y="214"/>
                  </a:cubicBezTo>
                  <a:cubicBezTo>
                    <a:pt x="66" y="214"/>
                    <a:pt x="66" y="214"/>
                    <a:pt x="66" y="214"/>
                  </a:cubicBezTo>
                  <a:cubicBezTo>
                    <a:pt x="66" y="168"/>
                    <a:pt x="66" y="168"/>
                    <a:pt x="66" y="168"/>
                  </a:cubicBezTo>
                  <a:cubicBezTo>
                    <a:pt x="66" y="169"/>
                    <a:pt x="65" y="170"/>
                    <a:pt x="64" y="170"/>
                  </a:cubicBezTo>
                  <a:cubicBezTo>
                    <a:pt x="63" y="171"/>
                    <a:pt x="62" y="171"/>
                    <a:pt x="61" y="172"/>
                  </a:cubicBezTo>
                  <a:cubicBezTo>
                    <a:pt x="60" y="172"/>
                    <a:pt x="59" y="172"/>
                    <a:pt x="57" y="173"/>
                  </a:cubicBezTo>
                  <a:cubicBezTo>
                    <a:pt x="56" y="173"/>
                    <a:pt x="55" y="173"/>
                    <a:pt x="54" y="173"/>
                  </a:cubicBezTo>
                  <a:cubicBezTo>
                    <a:pt x="54" y="163"/>
                    <a:pt x="54" y="163"/>
                    <a:pt x="54" y="163"/>
                  </a:cubicBezTo>
                  <a:cubicBezTo>
                    <a:pt x="57" y="162"/>
                    <a:pt x="61" y="160"/>
                    <a:pt x="64" y="159"/>
                  </a:cubicBezTo>
                  <a:cubicBezTo>
                    <a:pt x="66" y="157"/>
                    <a:pt x="69" y="156"/>
                    <a:pt x="72" y="154"/>
                  </a:cubicBezTo>
                  <a:lnTo>
                    <a:pt x="79" y="154"/>
                  </a:lnTo>
                  <a:close/>
                  <a:moveTo>
                    <a:pt x="117" y="215"/>
                  </a:moveTo>
                  <a:cubicBezTo>
                    <a:pt x="103" y="215"/>
                    <a:pt x="96" y="205"/>
                    <a:pt x="96" y="185"/>
                  </a:cubicBezTo>
                  <a:cubicBezTo>
                    <a:pt x="96" y="175"/>
                    <a:pt x="98" y="167"/>
                    <a:pt x="102" y="162"/>
                  </a:cubicBezTo>
                  <a:cubicBezTo>
                    <a:pt x="106" y="157"/>
                    <a:pt x="111" y="154"/>
                    <a:pt x="118" y="154"/>
                  </a:cubicBezTo>
                  <a:cubicBezTo>
                    <a:pt x="132" y="154"/>
                    <a:pt x="139" y="164"/>
                    <a:pt x="139" y="184"/>
                  </a:cubicBezTo>
                  <a:cubicBezTo>
                    <a:pt x="139" y="194"/>
                    <a:pt x="137" y="201"/>
                    <a:pt x="133" y="207"/>
                  </a:cubicBezTo>
                  <a:cubicBezTo>
                    <a:pt x="130" y="212"/>
                    <a:pt x="124" y="215"/>
                    <a:pt x="117" y="215"/>
                  </a:cubicBezTo>
                  <a:close/>
                  <a:moveTo>
                    <a:pt x="118" y="164"/>
                  </a:moveTo>
                  <a:cubicBezTo>
                    <a:pt x="112" y="164"/>
                    <a:pt x="109" y="171"/>
                    <a:pt x="109" y="185"/>
                  </a:cubicBezTo>
                  <a:cubicBezTo>
                    <a:pt x="109" y="198"/>
                    <a:pt x="112" y="205"/>
                    <a:pt x="118" y="205"/>
                  </a:cubicBezTo>
                  <a:cubicBezTo>
                    <a:pt x="123" y="205"/>
                    <a:pt x="126" y="198"/>
                    <a:pt x="126" y="184"/>
                  </a:cubicBezTo>
                  <a:cubicBezTo>
                    <a:pt x="126" y="171"/>
                    <a:pt x="123" y="164"/>
                    <a:pt x="118" y="164"/>
                  </a:cubicBezTo>
                  <a:close/>
                  <a:moveTo>
                    <a:pt x="176" y="154"/>
                  </a:moveTo>
                  <a:cubicBezTo>
                    <a:pt x="176" y="214"/>
                    <a:pt x="176" y="214"/>
                    <a:pt x="176" y="214"/>
                  </a:cubicBezTo>
                  <a:cubicBezTo>
                    <a:pt x="163" y="214"/>
                    <a:pt x="163" y="214"/>
                    <a:pt x="163" y="214"/>
                  </a:cubicBezTo>
                  <a:cubicBezTo>
                    <a:pt x="163" y="168"/>
                    <a:pt x="163" y="168"/>
                    <a:pt x="163" y="168"/>
                  </a:cubicBezTo>
                  <a:cubicBezTo>
                    <a:pt x="162" y="169"/>
                    <a:pt x="161" y="170"/>
                    <a:pt x="160" y="170"/>
                  </a:cubicBezTo>
                  <a:cubicBezTo>
                    <a:pt x="159" y="171"/>
                    <a:pt x="158" y="171"/>
                    <a:pt x="157" y="172"/>
                  </a:cubicBezTo>
                  <a:cubicBezTo>
                    <a:pt x="156" y="172"/>
                    <a:pt x="155" y="172"/>
                    <a:pt x="154" y="173"/>
                  </a:cubicBezTo>
                  <a:cubicBezTo>
                    <a:pt x="153" y="173"/>
                    <a:pt x="151" y="173"/>
                    <a:pt x="150" y="173"/>
                  </a:cubicBezTo>
                  <a:cubicBezTo>
                    <a:pt x="150" y="163"/>
                    <a:pt x="150" y="163"/>
                    <a:pt x="150" y="163"/>
                  </a:cubicBezTo>
                  <a:cubicBezTo>
                    <a:pt x="154" y="162"/>
                    <a:pt x="157" y="160"/>
                    <a:pt x="160" y="159"/>
                  </a:cubicBezTo>
                  <a:cubicBezTo>
                    <a:pt x="163" y="157"/>
                    <a:pt x="165" y="156"/>
                    <a:pt x="168" y="154"/>
                  </a:cubicBezTo>
                  <a:lnTo>
                    <a:pt x="176" y="154"/>
                  </a:lnTo>
                  <a:close/>
                  <a:moveTo>
                    <a:pt x="214" y="215"/>
                  </a:moveTo>
                  <a:cubicBezTo>
                    <a:pt x="200" y="215"/>
                    <a:pt x="193" y="205"/>
                    <a:pt x="193" y="185"/>
                  </a:cubicBezTo>
                  <a:cubicBezTo>
                    <a:pt x="193" y="175"/>
                    <a:pt x="195" y="167"/>
                    <a:pt x="198" y="162"/>
                  </a:cubicBezTo>
                  <a:cubicBezTo>
                    <a:pt x="202" y="157"/>
                    <a:pt x="208" y="154"/>
                    <a:pt x="215" y="154"/>
                  </a:cubicBezTo>
                  <a:cubicBezTo>
                    <a:pt x="228" y="154"/>
                    <a:pt x="235" y="164"/>
                    <a:pt x="235" y="184"/>
                  </a:cubicBezTo>
                  <a:cubicBezTo>
                    <a:pt x="235" y="194"/>
                    <a:pt x="233" y="201"/>
                    <a:pt x="230" y="207"/>
                  </a:cubicBezTo>
                  <a:cubicBezTo>
                    <a:pt x="226" y="212"/>
                    <a:pt x="221" y="215"/>
                    <a:pt x="214" y="215"/>
                  </a:cubicBezTo>
                  <a:close/>
                  <a:moveTo>
                    <a:pt x="214" y="164"/>
                  </a:moveTo>
                  <a:cubicBezTo>
                    <a:pt x="209" y="164"/>
                    <a:pt x="206" y="171"/>
                    <a:pt x="206" y="185"/>
                  </a:cubicBezTo>
                  <a:cubicBezTo>
                    <a:pt x="206" y="198"/>
                    <a:pt x="209" y="205"/>
                    <a:pt x="214" y="205"/>
                  </a:cubicBezTo>
                  <a:cubicBezTo>
                    <a:pt x="219" y="205"/>
                    <a:pt x="222" y="198"/>
                    <a:pt x="222" y="184"/>
                  </a:cubicBezTo>
                  <a:cubicBezTo>
                    <a:pt x="222" y="171"/>
                    <a:pt x="219" y="164"/>
                    <a:pt x="214" y="164"/>
                  </a:cubicBezTo>
                  <a:close/>
                  <a:moveTo>
                    <a:pt x="272" y="154"/>
                  </a:moveTo>
                  <a:cubicBezTo>
                    <a:pt x="272" y="214"/>
                    <a:pt x="272" y="214"/>
                    <a:pt x="272" y="214"/>
                  </a:cubicBezTo>
                  <a:cubicBezTo>
                    <a:pt x="259" y="214"/>
                    <a:pt x="259" y="214"/>
                    <a:pt x="259" y="214"/>
                  </a:cubicBezTo>
                  <a:cubicBezTo>
                    <a:pt x="259" y="168"/>
                    <a:pt x="259" y="168"/>
                    <a:pt x="259" y="168"/>
                  </a:cubicBezTo>
                  <a:cubicBezTo>
                    <a:pt x="258" y="169"/>
                    <a:pt x="258" y="170"/>
                    <a:pt x="257" y="170"/>
                  </a:cubicBezTo>
                  <a:cubicBezTo>
                    <a:pt x="256" y="171"/>
                    <a:pt x="255" y="171"/>
                    <a:pt x="254" y="172"/>
                  </a:cubicBezTo>
                  <a:cubicBezTo>
                    <a:pt x="252" y="172"/>
                    <a:pt x="251" y="172"/>
                    <a:pt x="250" y="173"/>
                  </a:cubicBezTo>
                  <a:cubicBezTo>
                    <a:pt x="249" y="173"/>
                    <a:pt x="248" y="173"/>
                    <a:pt x="247" y="173"/>
                  </a:cubicBezTo>
                  <a:cubicBezTo>
                    <a:pt x="247" y="163"/>
                    <a:pt x="247" y="163"/>
                    <a:pt x="247" y="163"/>
                  </a:cubicBezTo>
                  <a:cubicBezTo>
                    <a:pt x="250" y="162"/>
                    <a:pt x="253" y="160"/>
                    <a:pt x="256" y="159"/>
                  </a:cubicBezTo>
                  <a:cubicBezTo>
                    <a:pt x="259" y="157"/>
                    <a:pt x="262" y="156"/>
                    <a:pt x="264" y="154"/>
                  </a:cubicBezTo>
                  <a:lnTo>
                    <a:pt x="272" y="154"/>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62" name="Freeform 61"/>
            <p:cNvSpPr>
              <a:spLocks noChangeAspect="1"/>
            </p:cNvSpPr>
            <p:nvPr/>
          </p:nvSpPr>
          <p:spPr bwMode="black">
            <a:xfrm>
              <a:off x="810855" y="2476645"/>
              <a:ext cx="373866" cy="260946"/>
            </a:xfrm>
            <a:custGeom>
              <a:avLst/>
              <a:gdLst>
                <a:gd name="connsiteX0" fmla="*/ 541228 w 979570"/>
                <a:gd name="connsiteY0" fmla="*/ 531962 h 887227"/>
                <a:gd name="connsiteX1" fmla="*/ 547155 w 979570"/>
                <a:gd name="connsiteY1" fmla="*/ 538150 h 887227"/>
                <a:gd name="connsiteX2" fmla="*/ 760399 w 979570"/>
                <a:gd name="connsiteY2" fmla="*/ 601984 h 887227"/>
                <a:gd name="connsiteX3" fmla="*/ 973643 w 979570"/>
                <a:gd name="connsiteY3" fmla="*/ 538150 h 887227"/>
                <a:gd name="connsiteX4" fmla="*/ 979570 w 979570"/>
                <a:gd name="connsiteY4" fmla="*/ 531962 h 887227"/>
                <a:gd name="connsiteX5" fmla="*/ 979570 w 979570"/>
                <a:gd name="connsiteY5" fmla="*/ 776991 h 887227"/>
                <a:gd name="connsiteX6" fmla="*/ 979570 w 979570"/>
                <a:gd name="connsiteY6" fmla="*/ 776993 h 887227"/>
                <a:gd name="connsiteX7" fmla="*/ 760399 w 979570"/>
                <a:gd name="connsiteY7" fmla="*/ 887227 h 887227"/>
                <a:gd name="connsiteX8" fmla="*/ 541228 w 979570"/>
                <a:gd name="connsiteY8" fmla="*/ 776993 h 887227"/>
                <a:gd name="connsiteX9" fmla="*/ 541228 w 979570"/>
                <a:gd name="connsiteY9" fmla="*/ 776993 h 887227"/>
                <a:gd name="connsiteX10" fmla="*/ 0 w 979570"/>
                <a:gd name="connsiteY10" fmla="*/ 531962 h 887227"/>
                <a:gd name="connsiteX11" fmla="*/ 5927 w 979570"/>
                <a:gd name="connsiteY11" fmla="*/ 538150 h 887227"/>
                <a:gd name="connsiteX12" fmla="*/ 219171 w 979570"/>
                <a:gd name="connsiteY12" fmla="*/ 601984 h 887227"/>
                <a:gd name="connsiteX13" fmla="*/ 432415 w 979570"/>
                <a:gd name="connsiteY13" fmla="*/ 538150 h 887227"/>
                <a:gd name="connsiteX14" fmla="*/ 438342 w 979570"/>
                <a:gd name="connsiteY14" fmla="*/ 531962 h 887227"/>
                <a:gd name="connsiteX15" fmla="*/ 438342 w 979570"/>
                <a:gd name="connsiteY15" fmla="*/ 776991 h 887227"/>
                <a:gd name="connsiteX16" fmla="*/ 438342 w 979570"/>
                <a:gd name="connsiteY16" fmla="*/ 776993 h 887227"/>
                <a:gd name="connsiteX17" fmla="*/ 219171 w 979570"/>
                <a:gd name="connsiteY17" fmla="*/ 887227 h 887227"/>
                <a:gd name="connsiteX18" fmla="*/ 0 w 979570"/>
                <a:gd name="connsiteY18" fmla="*/ 776993 h 887227"/>
                <a:gd name="connsiteX19" fmla="*/ 0 w 979570"/>
                <a:gd name="connsiteY19" fmla="*/ 776993 h 887227"/>
                <a:gd name="connsiteX20" fmla="*/ 760036 w 979570"/>
                <a:gd name="connsiteY20" fmla="*/ 322411 h 887227"/>
                <a:gd name="connsiteX21" fmla="*/ 978844 w 979570"/>
                <a:gd name="connsiteY21" fmla="*/ 444386 h 887227"/>
                <a:gd name="connsiteX22" fmla="*/ 760036 w 979570"/>
                <a:gd name="connsiteY22" fmla="*/ 566361 h 887227"/>
                <a:gd name="connsiteX23" fmla="*/ 541228 w 979570"/>
                <a:gd name="connsiteY23" fmla="*/ 444386 h 887227"/>
                <a:gd name="connsiteX24" fmla="*/ 760036 w 979570"/>
                <a:gd name="connsiteY24" fmla="*/ 322411 h 887227"/>
                <a:gd name="connsiteX25" fmla="*/ 0 w 979570"/>
                <a:gd name="connsiteY25" fmla="*/ 209552 h 887227"/>
                <a:gd name="connsiteX26" fmla="*/ 5927 w 979570"/>
                <a:gd name="connsiteY26" fmla="*/ 215739 h 887227"/>
                <a:gd name="connsiteX27" fmla="*/ 219171 w 979570"/>
                <a:gd name="connsiteY27" fmla="*/ 279574 h 887227"/>
                <a:gd name="connsiteX28" fmla="*/ 432415 w 979570"/>
                <a:gd name="connsiteY28" fmla="*/ 215739 h 887227"/>
                <a:gd name="connsiteX29" fmla="*/ 438342 w 979570"/>
                <a:gd name="connsiteY29" fmla="*/ 209552 h 887227"/>
                <a:gd name="connsiteX30" fmla="*/ 438342 w 979570"/>
                <a:gd name="connsiteY30" fmla="*/ 454580 h 887227"/>
                <a:gd name="connsiteX31" fmla="*/ 438342 w 979570"/>
                <a:gd name="connsiteY31" fmla="*/ 454583 h 887227"/>
                <a:gd name="connsiteX32" fmla="*/ 219171 w 979570"/>
                <a:gd name="connsiteY32" fmla="*/ 564817 h 887227"/>
                <a:gd name="connsiteX33" fmla="*/ 0 w 979570"/>
                <a:gd name="connsiteY33" fmla="*/ 454583 h 887227"/>
                <a:gd name="connsiteX34" fmla="*/ 0 w 979570"/>
                <a:gd name="connsiteY34" fmla="*/ 454582 h 887227"/>
                <a:gd name="connsiteX35" fmla="*/ 218808 w 979570"/>
                <a:gd name="connsiteY35" fmla="*/ 0 h 887227"/>
                <a:gd name="connsiteX36" fmla="*/ 437616 w 979570"/>
                <a:gd name="connsiteY36" fmla="*/ 121975 h 887227"/>
                <a:gd name="connsiteX37" fmla="*/ 218808 w 979570"/>
                <a:gd name="connsiteY37" fmla="*/ 243950 h 887227"/>
                <a:gd name="connsiteX38" fmla="*/ 0 w 979570"/>
                <a:gd name="connsiteY38" fmla="*/ 121975 h 887227"/>
                <a:gd name="connsiteX39" fmla="*/ 218808 w 979570"/>
                <a:gd name="connsiteY39" fmla="*/ 0 h 8872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979570" h="887227">
                  <a:moveTo>
                    <a:pt x="541228" y="531962"/>
                  </a:moveTo>
                  <a:lnTo>
                    <a:pt x="547155" y="538150"/>
                  </a:lnTo>
                  <a:cubicBezTo>
                    <a:pt x="588222" y="576173"/>
                    <a:pt x="668317" y="601984"/>
                    <a:pt x="760399" y="601984"/>
                  </a:cubicBezTo>
                  <a:cubicBezTo>
                    <a:pt x="852481" y="601984"/>
                    <a:pt x="932576" y="576173"/>
                    <a:pt x="973643" y="538150"/>
                  </a:cubicBezTo>
                  <a:lnTo>
                    <a:pt x="979570" y="531962"/>
                  </a:lnTo>
                  <a:lnTo>
                    <a:pt x="979570" y="776991"/>
                  </a:lnTo>
                  <a:lnTo>
                    <a:pt x="979570" y="776993"/>
                  </a:lnTo>
                  <a:cubicBezTo>
                    <a:pt x="979570" y="837874"/>
                    <a:pt x="881444" y="887227"/>
                    <a:pt x="760399" y="887227"/>
                  </a:cubicBezTo>
                  <a:cubicBezTo>
                    <a:pt x="639354" y="887227"/>
                    <a:pt x="541228" y="837874"/>
                    <a:pt x="541228" y="776993"/>
                  </a:cubicBezTo>
                  <a:lnTo>
                    <a:pt x="541228" y="776993"/>
                  </a:lnTo>
                  <a:close/>
                  <a:moveTo>
                    <a:pt x="0" y="531962"/>
                  </a:moveTo>
                  <a:lnTo>
                    <a:pt x="5927" y="538150"/>
                  </a:lnTo>
                  <a:cubicBezTo>
                    <a:pt x="46994" y="576173"/>
                    <a:pt x="127089" y="601984"/>
                    <a:pt x="219171" y="601984"/>
                  </a:cubicBezTo>
                  <a:cubicBezTo>
                    <a:pt x="311253" y="601984"/>
                    <a:pt x="391348" y="576173"/>
                    <a:pt x="432415" y="538150"/>
                  </a:cubicBezTo>
                  <a:lnTo>
                    <a:pt x="438342" y="531962"/>
                  </a:lnTo>
                  <a:lnTo>
                    <a:pt x="438342" y="776991"/>
                  </a:lnTo>
                  <a:lnTo>
                    <a:pt x="438342" y="776993"/>
                  </a:lnTo>
                  <a:cubicBezTo>
                    <a:pt x="438342" y="837874"/>
                    <a:pt x="340216" y="887227"/>
                    <a:pt x="219171" y="887227"/>
                  </a:cubicBezTo>
                  <a:cubicBezTo>
                    <a:pt x="98126" y="887227"/>
                    <a:pt x="0" y="837874"/>
                    <a:pt x="0" y="776993"/>
                  </a:cubicBezTo>
                  <a:lnTo>
                    <a:pt x="0" y="776993"/>
                  </a:lnTo>
                  <a:close/>
                  <a:moveTo>
                    <a:pt x="760036" y="322411"/>
                  </a:moveTo>
                  <a:cubicBezTo>
                    <a:pt x="880880" y="322411"/>
                    <a:pt x="978844" y="377021"/>
                    <a:pt x="978844" y="444386"/>
                  </a:cubicBezTo>
                  <a:cubicBezTo>
                    <a:pt x="978844" y="511751"/>
                    <a:pt x="880880" y="566361"/>
                    <a:pt x="760036" y="566361"/>
                  </a:cubicBezTo>
                  <a:cubicBezTo>
                    <a:pt x="639192" y="566361"/>
                    <a:pt x="541228" y="511751"/>
                    <a:pt x="541228" y="444386"/>
                  </a:cubicBezTo>
                  <a:cubicBezTo>
                    <a:pt x="541228" y="377021"/>
                    <a:pt x="639192" y="322411"/>
                    <a:pt x="760036" y="322411"/>
                  </a:cubicBezTo>
                  <a:close/>
                  <a:moveTo>
                    <a:pt x="0" y="209552"/>
                  </a:moveTo>
                  <a:lnTo>
                    <a:pt x="5927" y="215739"/>
                  </a:lnTo>
                  <a:cubicBezTo>
                    <a:pt x="46994" y="253762"/>
                    <a:pt x="127089" y="279574"/>
                    <a:pt x="219171" y="279574"/>
                  </a:cubicBezTo>
                  <a:cubicBezTo>
                    <a:pt x="311253" y="279574"/>
                    <a:pt x="391348" y="253762"/>
                    <a:pt x="432415" y="215739"/>
                  </a:cubicBezTo>
                  <a:lnTo>
                    <a:pt x="438342" y="209552"/>
                  </a:lnTo>
                  <a:lnTo>
                    <a:pt x="438342" y="454580"/>
                  </a:lnTo>
                  <a:lnTo>
                    <a:pt x="438342" y="454583"/>
                  </a:lnTo>
                  <a:cubicBezTo>
                    <a:pt x="438342" y="515463"/>
                    <a:pt x="340216" y="564817"/>
                    <a:pt x="219171" y="564817"/>
                  </a:cubicBezTo>
                  <a:cubicBezTo>
                    <a:pt x="98126" y="564817"/>
                    <a:pt x="0" y="515463"/>
                    <a:pt x="0" y="454583"/>
                  </a:cubicBezTo>
                  <a:lnTo>
                    <a:pt x="0" y="454582"/>
                  </a:lnTo>
                  <a:close/>
                  <a:moveTo>
                    <a:pt x="218808" y="0"/>
                  </a:moveTo>
                  <a:cubicBezTo>
                    <a:pt x="339652" y="0"/>
                    <a:pt x="437616" y="54610"/>
                    <a:pt x="437616" y="121975"/>
                  </a:cubicBezTo>
                  <a:cubicBezTo>
                    <a:pt x="437616" y="189340"/>
                    <a:pt x="339652" y="243950"/>
                    <a:pt x="218808" y="243950"/>
                  </a:cubicBezTo>
                  <a:cubicBezTo>
                    <a:pt x="97964" y="243950"/>
                    <a:pt x="0" y="189340"/>
                    <a:pt x="0" y="121975"/>
                  </a:cubicBezTo>
                  <a:cubicBezTo>
                    <a:pt x="0" y="54610"/>
                    <a:pt x="97964" y="0"/>
                    <a:pt x="218808"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8" tIns="109719" rIns="137148" bIns="109719" numCol="1" spcCol="0" rtlCol="0" fromWordArt="0" anchor="t" anchorCtr="0" forceAA="0" compatLnSpc="1">
              <a:prstTxWarp prst="textNoShape">
                <a:avLst/>
              </a:prstTxWarp>
              <a:noAutofit/>
            </a:bodyPr>
            <a:lstStyle/>
            <a:p>
              <a:pPr algn="ctr" defTabSz="699261" fontAlgn="base">
                <a:lnSpc>
                  <a:spcPct val="90000"/>
                </a:lnSpc>
                <a:spcBef>
                  <a:spcPct val="0"/>
                </a:spcBef>
                <a:spcAft>
                  <a:spcPct val="0"/>
                </a:spcAft>
              </a:pPr>
              <a:endParaRPr lang="en-US">
                <a:gradFill>
                  <a:gsLst>
                    <a:gs pos="0">
                      <a:srgbClr val="FFFFFF"/>
                    </a:gs>
                    <a:gs pos="100000">
                      <a:srgbClr val="FFFFFF"/>
                    </a:gs>
                  </a:gsLst>
                  <a:lin ang="5400000" scaled="0"/>
                </a:gradFill>
                <a:ea typeface="Segoe UI" pitchFamily="34" charset="0"/>
                <a:cs typeface="Segoe UI" pitchFamily="34" charset="0"/>
              </a:endParaRPr>
            </a:p>
          </p:txBody>
        </p:sp>
      </p:grpSp>
      <p:grpSp>
        <p:nvGrpSpPr>
          <p:cNvPr id="63" name="Group 62"/>
          <p:cNvGrpSpPr>
            <a:grpSpLocks noChangeAspect="1"/>
          </p:cNvGrpSpPr>
          <p:nvPr/>
        </p:nvGrpSpPr>
        <p:grpSpPr>
          <a:xfrm>
            <a:off x="197042" y="2842214"/>
            <a:ext cx="457200" cy="457200"/>
            <a:chOff x="719415" y="3138080"/>
            <a:chExt cx="640080" cy="640080"/>
          </a:xfrm>
        </p:grpSpPr>
        <p:pic>
          <p:nvPicPr>
            <p:cNvPr id="64" name="Picture 6" descr="\\MAGNUM\Projects\Microsoft\Cloud Power FY12\Design\ICONS_PNG\Cloud.png"/>
            <p:cNvPicPr>
              <a:picLocks noChangeAspect="1" noChangeArrowheads="1"/>
            </p:cNvPicPr>
            <p:nvPr/>
          </p:nvPicPr>
          <p:blipFill>
            <a:blip r:embed="rId3" cstate="print">
              <a:biLevel thresh="75000"/>
            </a:blip>
            <a:srcRect/>
            <a:stretch>
              <a:fillRect/>
            </a:stretch>
          </p:blipFill>
          <p:spPr bwMode="auto">
            <a:xfrm>
              <a:off x="719415" y="3138080"/>
              <a:ext cx="640080" cy="640080"/>
            </a:xfrm>
            <a:prstGeom prst="rect">
              <a:avLst/>
            </a:prstGeom>
            <a:noFill/>
          </p:spPr>
        </p:pic>
        <p:pic>
          <p:nvPicPr>
            <p:cNvPr id="68" name="Picture 67"/>
            <p:cNvPicPr>
              <a:picLocks noChangeAspect="1"/>
            </p:cNvPicPr>
            <p:nvPr/>
          </p:nvPicPr>
          <p:blipFill>
            <a:blip r:embed="rId4"/>
            <a:stretch>
              <a:fillRect/>
            </a:stretch>
          </p:blipFill>
          <p:spPr>
            <a:xfrm flipH="1">
              <a:off x="975955" y="3370303"/>
              <a:ext cx="127000" cy="175846"/>
            </a:xfrm>
            <a:prstGeom prst="rect">
              <a:avLst/>
            </a:prstGeom>
          </p:spPr>
        </p:pic>
      </p:grpSp>
      <p:sp>
        <p:nvSpPr>
          <p:cNvPr id="69" name="Freeform 122"/>
          <p:cNvSpPr>
            <a:spLocks noChangeAspect="1"/>
          </p:cNvSpPr>
          <p:nvPr/>
        </p:nvSpPr>
        <p:spPr bwMode="black">
          <a:xfrm>
            <a:off x="266989" y="4843626"/>
            <a:ext cx="317305" cy="320040"/>
          </a:xfrm>
          <a:custGeom>
            <a:avLst/>
            <a:gdLst>
              <a:gd name="T0" fmla="*/ 61 w 70"/>
              <a:gd name="T1" fmla="*/ 11 h 71"/>
              <a:gd name="T2" fmla="*/ 60 w 70"/>
              <a:gd name="T3" fmla="*/ 11 h 71"/>
              <a:gd name="T4" fmla="*/ 53 w 70"/>
              <a:gd name="T5" fmla="*/ 18 h 71"/>
              <a:gd name="T6" fmla="*/ 53 w 70"/>
              <a:gd name="T7" fmla="*/ 19 h 71"/>
              <a:gd name="T8" fmla="*/ 53 w 70"/>
              <a:gd name="T9" fmla="*/ 19 h 71"/>
              <a:gd name="T10" fmla="*/ 60 w 70"/>
              <a:gd name="T11" fmla="*/ 35 h 71"/>
              <a:gd name="T12" fmla="*/ 35 w 70"/>
              <a:gd name="T13" fmla="*/ 60 h 71"/>
              <a:gd name="T14" fmla="*/ 10 w 70"/>
              <a:gd name="T15" fmla="*/ 36 h 71"/>
              <a:gd name="T16" fmla="*/ 16 w 70"/>
              <a:gd name="T17" fmla="*/ 21 h 71"/>
              <a:gd name="T18" fmla="*/ 18 w 70"/>
              <a:gd name="T19" fmla="*/ 18 h 71"/>
              <a:gd name="T20" fmla="*/ 25 w 70"/>
              <a:gd name="T21" fmla="*/ 26 h 71"/>
              <a:gd name="T22" fmla="*/ 30 w 70"/>
              <a:gd name="T23" fmla="*/ 0 h 71"/>
              <a:gd name="T24" fmla="*/ 4 w 70"/>
              <a:gd name="T25" fmla="*/ 2 h 71"/>
              <a:gd name="T26" fmla="*/ 11 w 70"/>
              <a:gd name="T27" fmla="*/ 10 h 71"/>
              <a:gd name="T28" fmla="*/ 9 w 70"/>
              <a:gd name="T29" fmla="*/ 12 h 71"/>
              <a:gd name="T30" fmla="*/ 0 w 70"/>
              <a:gd name="T31" fmla="*/ 36 h 71"/>
              <a:gd name="T32" fmla="*/ 35 w 70"/>
              <a:gd name="T33" fmla="*/ 71 h 71"/>
              <a:gd name="T34" fmla="*/ 35 w 70"/>
              <a:gd name="T35" fmla="*/ 71 h 71"/>
              <a:gd name="T36" fmla="*/ 70 w 70"/>
              <a:gd name="T37" fmla="*/ 35 h 71"/>
              <a:gd name="T38" fmla="*/ 61 w 70"/>
              <a:gd name="T39" fmla="*/ 1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0" h="71">
                <a:moveTo>
                  <a:pt x="61" y="11"/>
                </a:moveTo>
                <a:cubicBezTo>
                  <a:pt x="60" y="11"/>
                  <a:pt x="60" y="11"/>
                  <a:pt x="60" y="11"/>
                </a:cubicBezTo>
                <a:cubicBezTo>
                  <a:pt x="53" y="18"/>
                  <a:pt x="53" y="18"/>
                  <a:pt x="53" y="18"/>
                </a:cubicBezTo>
                <a:cubicBezTo>
                  <a:pt x="53" y="19"/>
                  <a:pt x="53" y="19"/>
                  <a:pt x="53" y="19"/>
                </a:cubicBezTo>
                <a:cubicBezTo>
                  <a:pt x="53" y="19"/>
                  <a:pt x="53" y="19"/>
                  <a:pt x="53" y="19"/>
                </a:cubicBezTo>
                <a:cubicBezTo>
                  <a:pt x="57" y="23"/>
                  <a:pt x="60" y="29"/>
                  <a:pt x="60" y="35"/>
                </a:cubicBezTo>
                <a:cubicBezTo>
                  <a:pt x="60" y="49"/>
                  <a:pt x="49" y="60"/>
                  <a:pt x="35" y="60"/>
                </a:cubicBezTo>
                <a:cubicBezTo>
                  <a:pt x="22" y="60"/>
                  <a:pt x="11" y="49"/>
                  <a:pt x="10" y="36"/>
                </a:cubicBezTo>
                <a:cubicBezTo>
                  <a:pt x="10" y="30"/>
                  <a:pt x="12" y="25"/>
                  <a:pt x="16" y="21"/>
                </a:cubicBezTo>
                <a:cubicBezTo>
                  <a:pt x="18" y="18"/>
                  <a:pt x="18" y="18"/>
                  <a:pt x="18" y="18"/>
                </a:cubicBezTo>
                <a:cubicBezTo>
                  <a:pt x="25" y="26"/>
                  <a:pt x="25" y="26"/>
                  <a:pt x="25" y="26"/>
                </a:cubicBezTo>
                <a:cubicBezTo>
                  <a:pt x="30" y="0"/>
                  <a:pt x="30" y="0"/>
                  <a:pt x="30" y="0"/>
                </a:cubicBezTo>
                <a:cubicBezTo>
                  <a:pt x="4" y="2"/>
                  <a:pt x="4" y="2"/>
                  <a:pt x="4" y="2"/>
                </a:cubicBezTo>
                <a:cubicBezTo>
                  <a:pt x="11" y="10"/>
                  <a:pt x="11" y="10"/>
                  <a:pt x="11" y="10"/>
                </a:cubicBezTo>
                <a:cubicBezTo>
                  <a:pt x="9" y="12"/>
                  <a:pt x="9" y="12"/>
                  <a:pt x="9" y="12"/>
                </a:cubicBezTo>
                <a:cubicBezTo>
                  <a:pt x="3" y="19"/>
                  <a:pt x="0" y="27"/>
                  <a:pt x="0" y="36"/>
                </a:cubicBezTo>
                <a:cubicBezTo>
                  <a:pt x="0" y="55"/>
                  <a:pt x="16" y="71"/>
                  <a:pt x="35" y="71"/>
                </a:cubicBezTo>
                <a:cubicBezTo>
                  <a:pt x="35" y="71"/>
                  <a:pt x="35" y="71"/>
                  <a:pt x="35" y="71"/>
                </a:cubicBezTo>
                <a:cubicBezTo>
                  <a:pt x="55" y="71"/>
                  <a:pt x="70" y="55"/>
                  <a:pt x="70" y="35"/>
                </a:cubicBezTo>
                <a:cubicBezTo>
                  <a:pt x="70" y="26"/>
                  <a:pt x="67" y="18"/>
                  <a:pt x="61" y="11"/>
                </a:cubicBezTo>
              </a:path>
            </a:pathLst>
          </a:custGeom>
          <a:solidFill>
            <a:schemeClr val="tx1"/>
          </a:solidFill>
          <a:ln>
            <a:noFill/>
          </a:ln>
        </p:spPr>
        <p:txBody>
          <a:bodyPr vert="horz" wrap="square" lIns="69953" tIns="34976" rIns="69953" bIns="34976" numCol="1" anchor="t" anchorCtr="0" compatLnSpc="1">
            <a:prstTxWarp prst="textNoShape">
              <a:avLst/>
            </a:prstTxWarp>
          </a:bodyPr>
          <a:lstStyle/>
          <a:p>
            <a:endParaRPr lang="en-US" sz="1350">
              <a:solidFill>
                <a:srgbClr val="000000"/>
              </a:solidFill>
            </a:endParaRPr>
          </a:p>
        </p:txBody>
      </p:sp>
      <p:sp>
        <p:nvSpPr>
          <p:cNvPr id="70" name="Freeform 21"/>
          <p:cNvSpPr>
            <a:spLocks noChangeAspect="1" noEditPoints="1"/>
          </p:cNvSpPr>
          <p:nvPr/>
        </p:nvSpPr>
        <p:spPr bwMode="black">
          <a:xfrm>
            <a:off x="242762" y="3875709"/>
            <a:ext cx="365760" cy="318790"/>
          </a:xfrm>
          <a:custGeom>
            <a:avLst/>
            <a:gdLst>
              <a:gd name="T0" fmla="*/ 1220 w 1220"/>
              <a:gd name="T1" fmla="*/ 204 h 1063"/>
              <a:gd name="T2" fmla="*/ 1096 w 1220"/>
              <a:gd name="T3" fmla="*/ 79 h 1063"/>
              <a:gd name="T4" fmla="*/ 978 w 1220"/>
              <a:gd name="T5" fmla="*/ 164 h 1063"/>
              <a:gd name="T6" fmla="*/ 589 w 1220"/>
              <a:gd name="T7" fmla="*/ 115 h 1063"/>
              <a:gd name="T8" fmla="*/ 465 w 1220"/>
              <a:gd name="T9" fmla="*/ 0 h 1063"/>
              <a:gd name="T10" fmla="*/ 340 w 1220"/>
              <a:gd name="T11" fmla="*/ 124 h 1063"/>
              <a:gd name="T12" fmla="*/ 370 w 1220"/>
              <a:gd name="T13" fmla="*/ 205 h 1063"/>
              <a:gd name="T14" fmla="*/ 180 w 1220"/>
              <a:gd name="T15" fmla="*/ 453 h 1063"/>
              <a:gd name="T16" fmla="*/ 125 w 1220"/>
              <a:gd name="T17" fmla="*/ 440 h 1063"/>
              <a:gd name="T18" fmla="*/ 0 w 1220"/>
              <a:gd name="T19" fmla="*/ 564 h 1063"/>
              <a:gd name="T20" fmla="*/ 125 w 1220"/>
              <a:gd name="T21" fmla="*/ 689 h 1063"/>
              <a:gd name="T22" fmla="*/ 197 w 1220"/>
              <a:gd name="T23" fmla="*/ 666 h 1063"/>
              <a:gd name="T24" fmla="*/ 416 w 1220"/>
              <a:gd name="T25" fmla="*/ 872 h 1063"/>
              <a:gd name="T26" fmla="*/ 397 w 1220"/>
              <a:gd name="T27" fmla="*/ 938 h 1063"/>
              <a:gd name="T28" fmla="*/ 521 w 1220"/>
              <a:gd name="T29" fmla="*/ 1063 h 1063"/>
              <a:gd name="T30" fmla="*/ 646 w 1220"/>
              <a:gd name="T31" fmla="*/ 938 h 1063"/>
              <a:gd name="T32" fmla="*/ 642 w 1220"/>
              <a:gd name="T33" fmla="*/ 908 h 1063"/>
              <a:gd name="T34" fmla="*/ 948 w 1220"/>
              <a:gd name="T35" fmla="*/ 763 h 1063"/>
              <a:gd name="T36" fmla="*/ 1048 w 1220"/>
              <a:gd name="T37" fmla="*/ 814 h 1063"/>
              <a:gd name="T38" fmla="*/ 1173 w 1220"/>
              <a:gd name="T39" fmla="*/ 689 h 1063"/>
              <a:gd name="T40" fmla="*/ 1084 w 1220"/>
              <a:gd name="T41" fmla="*/ 570 h 1063"/>
              <a:gd name="T42" fmla="*/ 1108 w 1220"/>
              <a:gd name="T43" fmla="*/ 327 h 1063"/>
              <a:gd name="T44" fmla="*/ 1220 w 1220"/>
              <a:gd name="T45" fmla="*/ 204 h 1063"/>
              <a:gd name="T46" fmla="*/ 521 w 1220"/>
              <a:gd name="T47" fmla="*/ 594 h 1063"/>
              <a:gd name="T48" fmla="*/ 493 w 1220"/>
              <a:gd name="T49" fmla="*/ 245 h 1063"/>
              <a:gd name="T50" fmla="*/ 535 w 1220"/>
              <a:gd name="T51" fmla="*/ 226 h 1063"/>
              <a:gd name="T52" fmla="*/ 944 w 1220"/>
              <a:gd name="T53" fmla="*/ 621 h 1063"/>
              <a:gd name="T54" fmla="*/ 930 w 1220"/>
              <a:gd name="T55" fmla="*/ 649 h 1063"/>
              <a:gd name="T56" fmla="*/ 521 w 1220"/>
              <a:gd name="T57" fmla="*/ 594 h 1063"/>
              <a:gd name="T58" fmla="*/ 490 w 1220"/>
              <a:gd name="T59" fmla="*/ 818 h 1063"/>
              <a:gd name="T60" fmla="*/ 449 w 1220"/>
              <a:gd name="T61" fmla="*/ 837 h 1063"/>
              <a:gd name="T62" fmla="*/ 230 w 1220"/>
              <a:gd name="T63" fmla="*/ 631 h 1063"/>
              <a:gd name="T64" fmla="*/ 242 w 1220"/>
              <a:gd name="T65" fmla="*/ 605 h 1063"/>
              <a:gd name="T66" fmla="*/ 476 w 1220"/>
              <a:gd name="T67" fmla="*/ 636 h 1063"/>
              <a:gd name="T68" fmla="*/ 490 w 1220"/>
              <a:gd name="T69" fmla="*/ 818 h 1063"/>
              <a:gd name="T70" fmla="*/ 249 w 1220"/>
              <a:gd name="T71" fmla="*/ 558 h 1063"/>
              <a:gd name="T72" fmla="*/ 218 w 1220"/>
              <a:gd name="T73" fmla="*/ 482 h 1063"/>
              <a:gd name="T74" fmla="*/ 408 w 1220"/>
              <a:gd name="T75" fmla="*/ 235 h 1063"/>
              <a:gd name="T76" fmla="*/ 445 w 1220"/>
              <a:gd name="T77" fmla="*/ 247 h 1063"/>
              <a:gd name="T78" fmla="*/ 472 w 1220"/>
              <a:gd name="T79" fmla="*/ 587 h 1063"/>
              <a:gd name="T80" fmla="*/ 249 w 1220"/>
              <a:gd name="T81" fmla="*/ 558 h 1063"/>
              <a:gd name="T82" fmla="*/ 977 w 1220"/>
              <a:gd name="T83" fmla="*/ 587 h 1063"/>
              <a:gd name="T84" fmla="*/ 569 w 1220"/>
              <a:gd name="T85" fmla="*/ 192 h 1063"/>
              <a:gd name="T86" fmla="*/ 583 w 1220"/>
              <a:gd name="T87" fmla="*/ 163 h 1063"/>
              <a:gd name="T88" fmla="*/ 972 w 1220"/>
              <a:gd name="T89" fmla="*/ 212 h 1063"/>
              <a:gd name="T90" fmla="*/ 1060 w 1220"/>
              <a:gd name="T91" fmla="*/ 323 h 1063"/>
              <a:gd name="T92" fmla="*/ 1036 w 1220"/>
              <a:gd name="T93" fmla="*/ 566 h 1063"/>
              <a:gd name="T94" fmla="*/ 977 w 1220"/>
              <a:gd name="T95" fmla="*/ 587 h 1063"/>
              <a:gd name="T96" fmla="*/ 621 w 1220"/>
              <a:gd name="T97" fmla="*/ 864 h 1063"/>
              <a:gd name="T98" fmla="*/ 538 w 1220"/>
              <a:gd name="T99" fmla="*/ 815 h 1063"/>
              <a:gd name="T100" fmla="*/ 524 w 1220"/>
              <a:gd name="T101" fmla="*/ 643 h 1063"/>
              <a:gd name="T102" fmla="*/ 924 w 1220"/>
              <a:gd name="T103" fmla="*/ 696 h 1063"/>
              <a:gd name="T104" fmla="*/ 927 w 1220"/>
              <a:gd name="T105" fmla="*/ 720 h 1063"/>
              <a:gd name="T106" fmla="*/ 621 w 1220"/>
              <a:gd name="T107" fmla="*/ 864 h 10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220" h="1063">
                <a:moveTo>
                  <a:pt x="1220" y="204"/>
                </a:moveTo>
                <a:cubicBezTo>
                  <a:pt x="1220" y="135"/>
                  <a:pt x="1164" y="79"/>
                  <a:pt x="1096" y="79"/>
                </a:cubicBezTo>
                <a:cubicBezTo>
                  <a:pt x="1041" y="79"/>
                  <a:pt x="994" y="115"/>
                  <a:pt x="978" y="164"/>
                </a:cubicBezTo>
                <a:cubicBezTo>
                  <a:pt x="589" y="115"/>
                  <a:pt x="589" y="115"/>
                  <a:pt x="589" y="115"/>
                </a:cubicBezTo>
                <a:cubicBezTo>
                  <a:pt x="584" y="51"/>
                  <a:pt x="530" y="0"/>
                  <a:pt x="465" y="0"/>
                </a:cubicBezTo>
                <a:cubicBezTo>
                  <a:pt x="396" y="0"/>
                  <a:pt x="340" y="55"/>
                  <a:pt x="340" y="124"/>
                </a:cubicBezTo>
                <a:cubicBezTo>
                  <a:pt x="340" y="155"/>
                  <a:pt x="352" y="183"/>
                  <a:pt x="370" y="205"/>
                </a:cubicBezTo>
                <a:cubicBezTo>
                  <a:pt x="180" y="453"/>
                  <a:pt x="180" y="453"/>
                  <a:pt x="180" y="453"/>
                </a:cubicBezTo>
                <a:cubicBezTo>
                  <a:pt x="163" y="445"/>
                  <a:pt x="145" y="440"/>
                  <a:pt x="125" y="440"/>
                </a:cubicBezTo>
                <a:cubicBezTo>
                  <a:pt x="56" y="440"/>
                  <a:pt x="0" y="496"/>
                  <a:pt x="0" y="564"/>
                </a:cubicBezTo>
                <a:cubicBezTo>
                  <a:pt x="0" y="633"/>
                  <a:pt x="56" y="689"/>
                  <a:pt x="125" y="689"/>
                </a:cubicBezTo>
                <a:cubicBezTo>
                  <a:pt x="152" y="689"/>
                  <a:pt x="177" y="680"/>
                  <a:pt x="197" y="666"/>
                </a:cubicBezTo>
                <a:cubicBezTo>
                  <a:pt x="416" y="872"/>
                  <a:pt x="416" y="872"/>
                  <a:pt x="416" y="872"/>
                </a:cubicBezTo>
                <a:cubicBezTo>
                  <a:pt x="404" y="891"/>
                  <a:pt x="397" y="914"/>
                  <a:pt x="397" y="938"/>
                </a:cubicBezTo>
                <a:cubicBezTo>
                  <a:pt x="397" y="1007"/>
                  <a:pt x="453" y="1063"/>
                  <a:pt x="521" y="1063"/>
                </a:cubicBezTo>
                <a:cubicBezTo>
                  <a:pt x="590" y="1063"/>
                  <a:pt x="646" y="1007"/>
                  <a:pt x="646" y="938"/>
                </a:cubicBezTo>
                <a:cubicBezTo>
                  <a:pt x="646" y="928"/>
                  <a:pt x="644" y="918"/>
                  <a:pt x="642" y="908"/>
                </a:cubicBezTo>
                <a:cubicBezTo>
                  <a:pt x="948" y="763"/>
                  <a:pt x="948" y="763"/>
                  <a:pt x="948" y="763"/>
                </a:cubicBezTo>
                <a:cubicBezTo>
                  <a:pt x="970" y="794"/>
                  <a:pt x="1007" y="814"/>
                  <a:pt x="1048" y="814"/>
                </a:cubicBezTo>
                <a:cubicBezTo>
                  <a:pt x="1117" y="814"/>
                  <a:pt x="1173" y="758"/>
                  <a:pt x="1173" y="689"/>
                </a:cubicBezTo>
                <a:cubicBezTo>
                  <a:pt x="1173" y="633"/>
                  <a:pt x="1135" y="586"/>
                  <a:pt x="1084" y="570"/>
                </a:cubicBezTo>
                <a:cubicBezTo>
                  <a:pt x="1108" y="327"/>
                  <a:pt x="1108" y="327"/>
                  <a:pt x="1108" y="327"/>
                </a:cubicBezTo>
                <a:cubicBezTo>
                  <a:pt x="1171" y="321"/>
                  <a:pt x="1220" y="268"/>
                  <a:pt x="1220" y="204"/>
                </a:cubicBezTo>
                <a:close/>
                <a:moveTo>
                  <a:pt x="521" y="594"/>
                </a:moveTo>
                <a:cubicBezTo>
                  <a:pt x="493" y="245"/>
                  <a:pt x="493" y="245"/>
                  <a:pt x="493" y="245"/>
                </a:cubicBezTo>
                <a:cubicBezTo>
                  <a:pt x="509" y="241"/>
                  <a:pt x="523" y="235"/>
                  <a:pt x="535" y="226"/>
                </a:cubicBezTo>
                <a:cubicBezTo>
                  <a:pt x="944" y="621"/>
                  <a:pt x="944" y="621"/>
                  <a:pt x="944" y="621"/>
                </a:cubicBezTo>
                <a:cubicBezTo>
                  <a:pt x="938" y="630"/>
                  <a:pt x="934" y="639"/>
                  <a:pt x="930" y="649"/>
                </a:cubicBezTo>
                <a:lnTo>
                  <a:pt x="521" y="594"/>
                </a:lnTo>
                <a:close/>
                <a:moveTo>
                  <a:pt x="490" y="818"/>
                </a:moveTo>
                <a:cubicBezTo>
                  <a:pt x="475" y="822"/>
                  <a:pt x="461" y="828"/>
                  <a:pt x="449" y="837"/>
                </a:cubicBezTo>
                <a:cubicBezTo>
                  <a:pt x="230" y="631"/>
                  <a:pt x="230" y="631"/>
                  <a:pt x="230" y="631"/>
                </a:cubicBezTo>
                <a:cubicBezTo>
                  <a:pt x="235" y="623"/>
                  <a:pt x="239" y="614"/>
                  <a:pt x="242" y="605"/>
                </a:cubicBezTo>
                <a:cubicBezTo>
                  <a:pt x="476" y="636"/>
                  <a:pt x="476" y="636"/>
                  <a:pt x="476" y="636"/>
                </a:cubicBezTo>
                <a:lnTo>
                  <a:pt x="490" y="818"/>
                </a:lnTo>
                <a:close/>
                <a:moveTo>
                  <a:pt x="249" y="558"/>
                </a:moveTo>
                <a:cubicBezTo>
                  <a:pt x="247" y="529"/>
                  <a:pt x="236" y="502"/>
                  <a:pt x="218" y="482"/>
                </a:cubicBezTo>
                <a:cubicBezTo>
                  <a:pt x="408" y="235"/>
                  <a:pt x="408" y="235"/>
                  <a:pt x="408" y="235"/>
                </a:cubicBezTo>
                <a:cubicBezTo>
                  <a:pt x="420" y="241"/>
                  <a:pt x="432" y="245"/>
                  <a:pt x="445" y="247"/>
                </a:cubicBezTo>
                <a:cubicBezTo>
                  <a:pt x="472" y="587"/>
                  <a:pt x="472" y="587"/>
                  <a:pt x="472" y="587"/>
                </a:cubicBezTo>
                <a:lnTo>
                  <a:pt x="249" y="558"/>
                </a:lnTo>
                <a:close/>
                <a:moveTo>
                  <a:pt x="977" y="587"/>
                </a:moveTo>
                <a:cubicBezTo>
                  <a:pt x="569" y="192"/>
                  <a:pt x="569" y="192"/>
                  <a:pt x="569" y="192"/>
                </a:cubicBezTo>
                <a:cubicBezTo>
                  <a:pt x="575" y="183"/>
                  <a:pt x="579" y="173"/>
                  <a:pt x="583" y="163"/>
                </a:cubicBezTo>
                <a:cubicBezTo>
                  <a:pt x="972" y="212"/>
                  <a:pt x="972" y="212"/>
                  <a:pt x="972" y="212"/>
                </a:cubicBezTo>
                <a:cubicBezTo>
                  <a:pt x="975" y="265"/>
                  <a:pt x="1011" y="308"/>
                  <a:pt x="1060" y="323"/>
                </a:cubicBezTo>
                <a:cubicBezTo>
                  <a:pt x="1036" y="566"/>
                  <a:pt x="1036" y="566"/>
                  <a:pt x="1036" y="566"/>
                </a:cubicBezTo>
                <a:cubicBezTo>
                  <a:pt x="1015" y="568"/>
                  <a:pt x="994" y="575"/>
                  <a:pt x="977" y="587"/>
                </a:cubicBezTo>
                <a:close/>
                <a:moveTo>
                  <a:pt x="621" y="864"/>
                </a:moveTo>
                <a:cubicBezTo>
                  <a:pt x="602" y="838"/>
                  <a:pt x="572" y="819"/>
                  <a:pt x="538" y="815"/>
                </a:cubicBezTo>
                <a:cubicBezTo>
                  <a:pt x="524" y="643"/>
                  <a:pt x="524" y="643"/>
                  <a:pt x="524" y="643"/>
                </a:cubicBezTo>
                <a:cubicBezTo>
                  <a:pt x="924" y="696"/>
                  <a:pt x="924" y="696"/>
                  <a:pt x="924" y="696"/>
                </a:cubicBezTo>
                <a:cubicBezTo>
                  <a:pt x="924" y="704"/>
                  <a:pt x="925" y="712"/>
                  <a:pt x="927" y="720"/>
                </a:cubicBezTo>
                <a:lnTo>
                  <a:pt x="621" y="864"/>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1177" tIns="56942" rIns="71177" bIns="56942" numCol="1" spcCol="0" rtlCol="0" fromWordArt="0" anchor="t" anchorCtr="0" forceAA="0" compatLnSpc="1">
            <a:prstTxWarp prst="textNoShape">
              <a:avLst/>
            </a:prstTxWarp>
            <a:noAutofit/>
          </a:bodyPr>
          <a:lstStyle/>
          <a:p>
            <a:pPr algn="ctr" defTabSz="362895" fontAlgn="base">
              <a:lnSpc>
                <a:spcPct val="90000"/>
              </a:lnSpc>
              <a:spcBef>
                <a:spcPct val="0"/>
              </a:spcBef>
              <a:spcAft>
                <a:spcPct val="0"/>
              </a:spcAft>
            </a:pPr>
            <a:endParaRPr lang="en-US" sz="934">
              <a:gradFill>
                <a:gsLst>
                  <a:gs pos="0">
                    <a:srgbClr val="FFFFFF"/>
                  </a:gs>
                  <a:gs pos="100000">
                    <a:srgbClr val="FFFFFF"/>
                  </a:gs>
                </a:gsLst>
                <a:lin ang="5400000" scaled="0"/>
              </a:gradFill>
              <a:ea typeface="Segoe UI" pitchFamily="34" charset="0"/>
              <a:cs typeface="Segoe UI" pitchFamily="34" charset="0"/>
            </a:endParaRPr>
          </a:p>
        </p:txBody>
      </p:sp>
      <p:sp>
        <p:nvSpPr>
          <p:cNvPr id="71" name="Freeform 70"/>
          <p:cNvSpPr>
            <a:spLocks noChangeAspect="1"/>
          </p:cNvSpPr>
          <p:nvPr/>
        </p:nvSpPr>
        <p:spPr bwMode="black">
          <a:xfrm>
            <a:off x="242762" y="5803220"/>
            <a:ext cx="365760" cy="320928"/>
          </a:xfrm>
          <a:custGeom>
            <a:avLst/>
            <a:gdLst/>
            <a:ahLst/>
            <a:cxnLst/>
            <a:rect l="l" t="t" r="r" b="b"/>
            <a:pathLst>
              <a:path w="4740335" h="4048081">
                <a:moveTo>
                  <a:pt x="3683614" y="1098549"/>
                </a:moveTo>
                <a:cubicBezTo>
                  <a:pt x="3683654" y="1098549"/>
                  <a:pt x="3689354" y="1098549"/>
                  <a:pt x="4502870" y="1098549"/>
                </a:cubicBezTo>
                <a:cubicBezTo>
                  <a:pt x="4633477" y="1098549"/>
                  <a:pt x="4740335" y="1205183"/>
                  <a:pt x="4740335" y="1335514"/>
                </a:cubicBezTo>
                <a:cubicBezTo>
                  <a:pt x="4740335" y="1335569"/>
                  <a:pt x="4740335" y="1343335"/>
                  <a:pt x="4740335" y="2449249"/>
                </a:cubicBezTo>
                <a:cubicBezTo>
                  <a:pt x="4740335" y="2579580"/>
                  <a:pt x="4633477" y="2686214"/>
                  <a:pt x="4502870" y="2686214"/>
                </a:cubicBezTo>
                <a:cubicBezTo>
                  <a:pt x="4502870" y="2686253"/>
                  <a:pt x="4502870" y="2691777"/>
                  <a:pt x="4502870" y="3480046"/>
                </a:cubicBezTo>
                <a:cubicBezTo>
                  <a:pt x="4502870" y="3610377"/>
                  <a:pt x="4396011" y="3717011"/>
                  <a:pt x="4265405" y="3717011"/>
                </a:cubicBezTo>
                <a:cubicBezTo>
                  <a:pt x="4265376" y="3717011"/>
                  <a:pt x="4262133" y="3717011"/>
                  <a:pt x="3909206" y="3717011"/>
                </a:cubicBezTo>
                <a:cubicBezTo>
                  <a:pt x="3790473" y="3717011"/>
                  <a:pt x="3683614" y="3610377"/>
                  <a:pt x="3683614" y="3480046"/>
                </a:cubicBezTo>
                <a:cubicBezTo>
                  <a:pt x="3683614" y="3480010"/>
                  <a:pt x="3683614" y="3474701"/>
                  <a:pt x="3683614" y="2686214"/>
                </a:cubicBezTo>
                <a:cubicBezTo>
                  <a:pt x="3553008" y="2686214"/>
                  <a:pt x="3446148" y="2579580"/>
                  <a:pt x="3446148" y="2449249"/>
                </a:cubicBezTo>
                <a:cubicBezTo>
                  <a:pt x="3446148" y="2449192"/>
                  <a:pt x="3446148" y="2441288"/>
                  <a:pt x="3446148" y="1335514"/>
                </a:cubicBezTo>
                <a:cubicBezTo>
                  <a:pt x="3446148" y="1205183"/>
                  <a:pt x="3553008" y="1098549"/>
                  <a:pt x="3683614" y="1098549"/>
                </a:cubicBezTo>
                <a:close/>
                <a:moveTo>
                  <a:pt x="236546" y="1098549"/>
                </a:moveTo>
                <a:cubicBezTo>
                  <a:pt x="236570" y="1098549"/>
                  <a:pt x="240947" y="1098549"/>
                  <a:pt x="1052628" y="1098549"/>
                </a:cubicBezTo>
                <a:cubicBezTo>
                  <a:pt x="1182728" y="1098549"/>
                  <a:pt x="1289174" y="1205183"/>
                  <a:pt x="1289174" y="1335514"/>
                </a:cubicBezTo>
                <a:cubicBezTo>
                  <a:pt x="1289174" y="1335532"/>
                  <a:pt x="1289174" y="1340039"/>
                  <a:pt x="1289174" y="2449249"/>
                </a:cubicBezTo>
                <a:cubicBezTo>
                  <a:pt x="1289174" y="2579580"/>
                  <a:pt x="1182728" y="2686214"/>
                  <a:pt x="1052628" y="2686214"/>
                </a:cubicBezTo>
                <a:cubicBezTo>
                  <a:pt x="1052628" y="2686235"/>
                  <a:pt x="1052628" y="2690268"/>
                  <a:pt x="1052628" y="3480046"/>
                </a:cubicBezTo>
                <a:cubicBezTo>
                  <a:pt x="1052628" y="3610377"/>
                  <a:pt x="946183" y="3717011"/>
                  <a:pt x="827910" y="3717011"/>
                </a:cubicBezTo>
                <a:cubicBezTo>
                  <a:pt x="827894" y="3717011"/>
                  <a:pt x="825508" y="3717011"/>
                  <a:pt x="473091" y="3717011"/>
                </a:cubicBezTo>
                <a:cubicBezTo>
                  <a:pt x="342991" y="3717011"/>
                  <a:pt x="236546" y="3610377"/>
                  <a:pt x="236546" y="3480046"/>
                </a:cubicBezTo>
                <a:cubicBezTo>
                  <a:pt x="236546" y="3480026"/>
                  <a:pt x="236546" y="3476021"/>
                  <a:pt x="236546" y="2686214"/>
                </a:cubicBezTo>
                <a:cubicBezTo>
                  <a:pt x="106446" y="2686214"/>
                  <a:pt x="0" y="2579580"/>
                  <a:pt x="0" y="2449249"/>
                </a:cubicBezTo>
                <a:cubicBezTo>
                  <a:pt x="0" y="2449230"/>
                  <a:pt x="0" y="2444630"/>
                  <a:pt x="0" y="1335514"/>
                </a:cubicBezTo>
                <a:cubicBezTo>
                  <a:pt x="0" y="1205183"/>
                  <a:pt x="106446" y="1098549"/>
                  <a:pt x="236546" y="1098549"/>
                </a:cubicBezTo>
                <a:close/>
                <a:moveTo>
                  <a:pt x="1895194" y="993211"/>
                </a:moveTo>
                <a:cubicBezTo>
                  <a:pt x="1895245" y="993211"/>
                  <a:pt x="1902161" y="993211"/>
                  <a:pt x="2845141" y="993211"/>
                </a:cubicBezTo>
                <a:cubicBezTo>
                  <a:pt x="2999507" y="993211"/>
                  <a:pt x="3130125" y="1123457"/>
                  <a:pt x="3130125" y="1277385"/>
                </a:cubicBezTo>
                <a:cubicBezTo>
                  <a:pt x="3130125" y="1277420"/>
                  <a:pt x="3130125" y="1284134"/>
                  <a:pt x="3130125" y="2568008"/>
                </a:cubicBezTo>
                <a:cubicBezTo>
                  <a:pt x="3130125" y="2721936"/>
                  <a:pt x="2999507" y="2852182"/>
                  <a:pt x="2845141" y="2852182"/>
                </a:cubicBezTo>
                <a:cubicBezTo>
                  <a:pt x="2845141" y="2852231"/>
                  <a:pt x="2845141" y="2858826"/>
                  <a:pt x="2845141" y="3763907"/>
                </a:cubicBezTo>
                <a:cubicBezTo>
                  <a:pt x="2845141" y="3917835"/>
                  <a:pt x="2726398" y="4048081"/>
                  <a:pt x="2572031" y="4048081"/>
                </a:cubicBezTo>
                <a:cubicBezTo>
                  <a:pt x="2571992" y="4048081"/>
                  <a:pt x="2568051" y="4048081"/>
                  <a:pt x="2168304" y="4048081"/>
                </a:cubicBezTo>
                <a:cubicBezTo>
                  <a:pt x="2013937" y="4048081"/>
                  <a:pt x="1895194" y="3917835"/>
                  <a:pt x="1895194" y="3763907"/>
                </a:cubicBezTo>
                <a:cubicBezTo>
                  <a:pt x="1895194" y="3763858"/>
                  <a:pt x="1895194" y="3757193"/>
                  <a:pt x="1895194" y="2852182"/>
                </a:cubicBezTo>
                <a:cubicBezTo>
                  <a:pt x="1740828" y="2852182"/>
                  <a:pt x="1610210" y="2721936"/>
                  <a:pt x="1610210" y="2568008"/>
                </a:cubicBezTo>
                <a:cubicBezTo>
                  <a:pt x="1610210" y="2567966"/>
                  <a:pt x="1610210" y="2560581"/>
                  <a:pt x="1610210" y="1277385"/>
                </a:cubicBezTo>
                <a:cubicBezTo>
                  <a:pt x="1610210" y="1123457"/>
                  <a:pt x="1740828" y="993211"/>
                  <a:pt x="1895194" y="993211"/>
                </a:cubicBezTo>
                <a:close/>
                <a:moveTo>
                  <a:pt x="4093246" y="245790"/>
                </a:moveTo>
                <a:cubicBezTo>
                  <a:pt x="4306565" y="245790"/>
                  <a:pt x="4479495" y="420965"/>
                  <a:pt x="4479495" y="637055"/>
                </a:cubicBezTo>
                <a:cubicBezTo>
                  <a:pt x="4479495" y="853145"/>
                  <a:pt x="4306565" y="1028320"/>
                  <a:pt x="4093246" y="1028320"/>
                </a:cubicBezTo>
                <a:cubicBezTo>
                  <a:pt x="3879927" y="1028320"/>
                  <a:pt x="3706997" y="853145"/>
                  <a:pt x="3706997" y="637055"/>
                </a:cubicBezTo>
                <a:cubicBezTo>
                  <a:pt x="3706997" y="420965"/>
                  <a:pt x="3879927" y="245790"/>
                  <a:pt x="4093246" y="245790"/>
                </a:cubicBezTo>
                <a:close/>
                <a:moveTo>
                  <a:pt x="644584" y="245790"/>
                </a:moveTo>
                <a:cubicBezTo>
                  <a:pt x="856519" y="245790"/>
                  <a:pt x="1028326" y="420965"/>
                  <a:pt x="1028326" y="637055"/>
                </a:cubicBezTo>
                <a:cubicBezTo>
                  <a:pt x="1028326" y="853145"/>
                  <a:pt x="856519" y="1028320"/>
                  <a:pt x="644584" y="1028320"/>
                </a:cubicBezTo>
                <a:cubicBezTo>
                  <a:pt x="432649" y="1028320"/>
                  <a:pt x="260842" y="853145"/>
                  <a:pt x="260842" y="637055"/>
                </a:cubicBezTo>
                <a:cubicBezTo>
                  <a:pt x="260842" y="420965"/>
                  <a:pt x="432649" y="245790"/>
                  <a:pt x="644584" y="245790"/>
                </a:cubicBezTo>
                <a:close/>
                <a:moveTo>
                  <a:pt x="2367657" y="0"/>
                </a:moveTo>
                <a:cubicBezTo>
                  <a:pt x="2616992" y="0"/>
                  <a:pt x="2819118" y="203249"/>
                  <a:pt x="2819118" y="453969"/>
                </a:cubicBezTo>
                <a:cubicBezTo>
                  <a:pt x="2819118" y="704689"/>
                  <a:pt x="2616992" y="907938"/>
                  <a:pt x="2367657" y="907938"/>
                </a:cubicBezTo>
                <a:cubicBezTo>
                  <a:pt x="2118322" y="907938"/>
                  <a:pt x="1916196" y="704689"/>
                  <a:pt x="1916196" y="453969"/>
                </a:cubicBezTo>
                <a:cubicBezTo>
                  <a:pt x="1916196" y="203249"/>
                  <a:pt x="2118322" y="0"/>
                  <a:pt x="2367657"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37148" tIns="109719" rIns="137148" bIns="109719"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699261" fontAlgn="base">
              <a:lnSpc>
                <a:spcPct val="90000"/>
              </a:lnSpc>
              <a:spcBef>
                <a:spcPct val="0"/>
              </a:spcBef>
              <a:spcAft>
                <a:spcPct val="0"/>
              </a:spcAft>
            </a:pPr>
            <a:endParaRPr lang="en-US">
              <a:gradFill>
                <a:gsLst>
                  <a:gs pos="0">
                    <a:srgbClr val="FFFFFF"/>
                  </a:gs>
                  <a:gs pos="100000">
                    <a:srgbClr val="FFFFFF"/>
                  </a:gs>
                </a:gsLst>
                <a:lin ang="5400000" scaled="0"/>
              </a:gradFill>
              <a:ea typeface="Segoe UI" pitchFamily="34" charset="0"/>
              <a:cs typeface="Segoe UI" pitchFamily="34" charset="0"/>
            </a:endParaRPr>
          </a:p>
        </p:txBody>
      </p:sp>
      <p:sp>
        <p:nvSpPr>
          <p:cNvPr id="73" name="Rectangle 72"/>
          <p:cNvSpPr/>
          <p:nvPr/>
        </p:nvSpPr>
        <p:spPr bwMode="auto">
          <a:xfrm>
            <a:off x="-1464" y="4558352"/>
            <a:ext cx="2816907" cy="2299648"/>
          </a:xfrm>
          <a:prstGeom prst="rect">
            <a:avLst/>
          </a:prstGeom>
          <a:solidFill>
            <a:schemeClr val="tx1">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74" name="Rectangle 73"/>
          <p:cNvSpPr/>
          <p:nvPr/>
        </p:nvSpPr>
        <p:spPr bwMode="auto">
          <a:xfrm>
            <a:off x="1" y="657643"/>
            <a:ext cx="2814282" cy="2802416"/>
          </a:xfrm>
          <a:prstGeom prst="rect">
            <a:avLst/>
          </a:prstGeom>
          <a:solidFill>
            <a:schemeClr val="tx1">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98" name="Rectangle 97"/>
          <p:cNvSpPr/>
          <p:nvPr/>
        </p:nvSpPr>
        <p:spPr bwMode="auto">
          <a:xfrm>
            <a:off x="6206787" y="2137348"/>
            <a:ext cx="1195233" cy="247822"/>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defTabSz="914030" fontAlgn="base">
              <a:spcBef>
                <a:spcPct val="0"/>
              </a:spcBef>
              <a:spcAft>
                <a:spcPct val="0"/>
              </a:spcAft>
            </a:pPr>
            <a:r>
              <a:rPr lang="en-US" sz="1029">
                <a:gradFill>
                  <a:gsLst>
                    <a:gs pos="16814">
                      <a:srgbClr val="FFFFFF"/>
                    </a:gs>
                    <a:gs pos="46000">
                      <a:srgbClr val="FFFFFF"/>
                    </a:gs>
                  </a:gsLst>
                  <a:lin ang="5400000" scaled="0"/>
                </a:gradFill>
              </a:rPr>
              <a:t>AAD User</a:t>
            </a:r>
          </a:p>
        </p:txBody>
      </p:sp>
      <p:sp>
        <p:nvSpPr>
          <p:cNvPr id="100" name="Rectangle 99"/>
          <p:cNvSpPr/>
          <p:nvPr/>
        </p:nvSpPr>
        <p:spPr bwMode="auto">
          <a:xfrm>
            <a:off x="5050171" y="5490170"/>
            <a:ext cx="1195233" cy="247822"/>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defTabSz="914030" fontAlgn="base">
              <a:spcBef>
                <a:spcPct val="0"/>
              </a:spcBef>
              <a:spcAft>
                <a:spcPct val="0"/>
              </a:spcAft>
            </a:pPr>
            <a:r>
              <a:rPr lang="en-US" sz="1029">
                <a:gradFill>
                  <a:gsLst>
                    <a:gs pos="16814">
                      <a:srgbClr val="FFFFFF"/>
                    </a:gs>
                    <a:gs pos="46000">
                      <a:srgbClr val="FFFFFF"/>
                    </a:gs>
                  </a:gsLst>
                  <a:lin ang="5400000" scaled="0"/>
                </a:gradFill>
              </a:rPr>
              <a:t>Anonymous</a:t>
            </a:r>
          </a:p>
        </p:txBody>
      </p:sp>
      <p:pic>
        <p:nvPicPr>
          <p:cNvPr id="65" name="Picture 64"/>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967695" y="1275967"/>
            <a:ext cx="2468880" cy="4334256"/>
          </a:xfrm>
          <a:prstGeom prst="rect">
            <a:avLst/>
          </a:prstGeom>
          <a:ln>
            <a:solidFill>
              <a:schemeClr val="bg2">
                <a:lumMod val="90000"/>
              </a:schemeClr>
            </a:solidFill>
          </a:ln>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8406303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 name="Title 10"/>
          <p:cNvSpPr txBox="1">
            <a:spLocks/>
          </p:cNvSpPr>
          <p:nvPr/>
        </p:nvSpPr>
        <p:spPr>
          <a:xfrm>
            <a:off x="2982006" y="9056"/>
            <a:ext cx="9092764" cy="665151"/>
          </a:xfrm>
          <a:prstGeom prst="rect">
            <a:avLst/>
          </a:prstGeom>
          <a:noFill/>
        </p:spPr>
        <p:txBody>
          <a:bodyPr vert="horz" wrap="square" lIns="0" tIns="91440" rIns="0" bIns="91440" rtlCol="0" anchor="t">
            <a:noAutofit/>
          </a:bodyPr>
          <a:lstStyle>
            <a:lvl1pPr defTabSz="914367">
              <a:lnSpc>
                <a:spcPct val="90000"/>
              </a:lnSpc>
              <a:spcBef>
                <a:spcPct val="0"/>
              </a:spcBef>
              <a:buNone/>
              <a:defRPr lang="en-US" sz="5294" b="0" cap="none" spc="-100" baseline="0" dirty="0" smtClean="0">
                <a:ln w="3175">
                  <a:noFill/>
                </a:ln>
                <a:solidFill>
                  <a:schemeClr val="tx2"/>
                </a:solidFill>
                <a:effectLst/>
                <a:latin typeface="+mj-lt"/>
                <a:cs typeface="Segoe UI" pitchFamily="34" charset="0"/>
              </a:defRPr>
            </a:lvl1pPr>
          </a:lstStyle>
          <a:p>
            <a:pPr marL="168275"/>
            <a:r>
              <a:rPr lang="en-US" sz="3600">
                <a:solidFill>
                  <a:schemeClr val="tx1"/>
                </a:solidFill>
              </a:rPr>
              <a:t>Keep your data current</a:t>
            </a:r>
          </a:p>
          <a:p>
            <a:pPr marL="168275"/>
            <a:endParaRPr lang="en-US" sz="3600" b="1">
              <a:solidFill>
                <a:schemeClr val="tx1"/>
              </a:solidFill>
            </a:endParaRPr>
          </a:p>
          <a:p>
            <a:pPr marL="168275"/>
            <a:endParaRPr lang="en-IN" sz="3600">
              <a:solidFill>
                <a:schemeClr val="tx1"/>
              </a:solidFill>
            </a:endParaRPr>
          </a:p>
        </p:txBody>
      </p:sp>
      <p:sp>
        <p:nvSpPr>
          <p:cNvPr id="49" name="Rectangle 48"/>
          <p:cNvSpPr/>
          <p:nvPr/>
        </p:nvSpPr>
        <p:spPr>
          <a:xfrm>
            <a:off x="2870528" y="1153821"/>
            <a:ext cx="4017102" cy="2908489"/>
          </a:xfrm>
          <a:prstGeom prst="rect">
            <a:avLst/>
          </a:prstGeom>
        </p:spPr>
        <p:txBody>
          <a:bodyPr wrap="square">
            <a:spAutoFit/>
          </a:bodyPr>
          <a:lstStyle/>
          <a:p>
            <a:pPr marL="342900" indent="-342900">
              <a:spcBef>
                <a:spcPts val="600"/>
              </a:spcBef>
              <a:spcAft>
                <a:spcPts val="600"/>
              </a:spcAft>
              <a:buFont typeface="Symbol" panose="05050102010706020507" pitchFamily="18" charset="2"/>
              <a:buChar char=""/>
            </a:pPr>
            <a:r>
              <a:rPr lang="en-US" sz="2000" dirty="0">
                <a:latin typeface="+mj-lt"/>
                <a:ea typeface="Calibri" panose="020F0502020204030204" pitchFamily="34" charset="0"/>
                <a:cs typeface="Times New Roman" panose="02020603050405020304" pitchFamily="18" charset="0"/>
              </a:rPr>
              <a:t>Access and refresh the data via</a:t>
            </a:r>
          </a:p>
          <a:p>
            <a:pPr marL="800100" lvl="1" indent="-342900">
              <a:buFont typeface="Courier New" panose="02070309020205020404" pitchFamily="49" charset="0"/>
              <a:buChar char="o"/>
            </a:pPr>
            <a:r>
              <a:rPr lang="en-US" dirty="0">
                <a:latin typeface="+mj-lt"/>
                <a:ea typeface="Calibri" panose="020F0502020204030204" pitchFamily="34" charset="0"/>
                <a:cs typeface="Times New Roman" panose="02020603050405020304" pitchFamily="18" charset="0"/>
              </a:rPr>
              <a:t>Direct Query (Azure SQL, DW and Spark HDInsight)</a:t>
            </a:r>
          </a:p>
          <a:p>
            <a:pPr marL="800100" lvl="1" indent="-342900">
              <a:buFont typeface="Courier New" panose="02070309020205020404" pitchFamily="49" charset="0"/>
              <a:buChar char="o"/>
            </a:pPr>
            <a:r>
              <a:rPr lang="en-US" dirty="0">
                <a:latin typeface="+mj-lt"/>
                <a:ea typeface="Calibri" panose="020F0502020204030204" pitchFamily="34" charset="0"/>
                <a:cs typeface="Times New Roman" panose="02020603050405020304" pitchFamily="18" charset="0"/>
              </a:rPr>
              <a:t>Import (with scheduled refresh)</a:t>
            </a:r>
          </a:p>
          <a:p>
            <a:pPr marL="800100" lvl="1" indent="-342900">
              <a:buFont typeface="Courier New" panose="02070309020205020404" pitchFamily="49" charset="0"/>
              <a:buChar char="o"/>
            </a:pPr>
            <a:r>
              <a:rPr lang="en-US" dirty="0">
                <a:latin typeface="+mj-lt"/>
                <a:ea typeface="Calibri" panose="020F0502020204030204" pitchFamily="34" charset="0"/>
                <a:cs typeface="Times New Roman" panose="02020603050405020304" pitchFamily="18" charset="0"/>
              </a:rPr>
              <a:t>REST APIs to stream data</a:t>
            </a:r>
          </a:p>
          <a:p>
            <a:pPr lvl="1"/>
            <a:endParaRPr lang="en-US" sz="2000" dirty="0">
              <a:latin typeface="+mj-lt"/>
              <a:ea typeface="Calibri" panose="020F0502020204030204" pitchFamily="34" charset="0"/>
              <a:cs typeface="Times New Roman" panose="02020603050405020304" pitchFamily="18" charset="0"/>
            </a:endParaRPr>
          </a:p>
          <a:p>
            <a:pPr marL="342900" indent="-342900">
              <a:spcBef>
                <a:spcPts val="600"/>
              </a:spcBef>
              <a:spcAft>
                <a:spcPts val="600"/>
              </a:spcAft>
              <a:buFont typeface="Symbol" panose="05050102010706020507" pitchFamily="18" charset="2"/>
              <a:buChar char=""/>
            </a:pPr>
            <a:r>
              <a:rPr lang="en-US" sz="2000" dirty="0">
                <a:latin typeface="+mj-lt"/>
                <a:ea typeface="Calibri" panose="020F0502020204030204" pitchFamily="34" charset="0"/>
                <a:cs typeface="Times New Roman" panose="02020603050405020304" pitchFamily="18" charset="0"/>
              </a:rPr>
              <a:t>Refresh on-premise data with</a:t>
            </a:r>
          </a:p>
          <a:p>
            <a:pPr marL="800100" lvl="1" indent="-342900">
              <a:buFont typeface="Courier New" panose="02070309020205020404" pitchFamily="49" charset="0"/>
              <a:buChar char="o"/>
            </a:pPr>
            <a:r>
              <a:rPr lang="en-US" dirty="0">
                <a:latin typeface="+mj-lt"/>
                <a:ea typeface="Calibri" panose="020F0502020204030204" pitchFamily="34" charset="0"/>
                <a:cs typeface="Times New Roman" panose="02020603050405020304" pitchFamily="18" charset="0"/>
              </a:rPr>
              <a:t>Power BI Personal Gateway </a:t>
            </a:r>
          </a:p>
          <a:p>
            <a:pPr marL="800100" lvl="1" indent="-342900">
              <a:buFont typeface="Courier New" panose="02070309020205020404" pitchFamily="49" charset="0"/>
              <a:buChar char="o"/>
            </a:pPr>
            <a:r>
              <a:rPr lang="en-US" dirty="0">
                <a:latin typeface="+mj-lt"/>
                <a:ea typeface="Calibri" panose="020F0502020204030204" pitchFamily="34" charset="0"/>
                <a:cs typeface="Times New Roman" panose="02020603050405020304" pitchFamily="18" charset="0"/>
              </a:rPr>
              <a:t>On-Premises Data Gateway</a:t>
            </a:r>
          </a:p>
        </p:txBody>
      </p:sp>
      <p:sp>
        <p:nvSpPr>
          <p:cNvPr id="37" name="Rectangle 15"/>
          <p:cNvSpPr/>
          <p:nvPr/>
        </p:nvSpPr>
        <p:spPr bwMode="auto">
          <a:xfrm>
            <a:off x="2" y="487"/>
            <a:ext cx="2815441" cy="685702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38" name="TextBox 37"/>
          <p:cNvSpPr txBox="1"/>
          <p:nvPr/>
        </p:nvSpPr>
        <p:spPr>
          <a:xfrm>
            <a:off x="2" y="487"/>
            <a:ext cx="2815441" cy="683264"/>
          </a:xfrm>
          <a:prstGeom prst="rect">
            <a:avLst/>
          </a:prstGeom>
          <a:noFill/>
        </p:spPr>
        <p:txBody>
          <a:bodyPr wrap="square" lIns="182880" tIns="146304" rIns="182880" bIns="146304" rtlCol="0">
            <a:spAutoFit/>
          </a:bodyPr>
          <a:lstStyle>
            <a:defPPr>
              <a:defRPr lang="en-US"/>
            </a:defPPr>
            <a:lvl1pPr>
              <a:lnSpc>
                <a:spcPct val="90000"/>
              </a:lnSpc>
              <a:spcAft>
                <a:spcPts val="600"/>
              </a:spcAft>
              <a:defRPr sz="2800" b="1">
                <a:solidFill>
                  <a:srgbClr val="F2C812"/>
                </a:solidFill>
                <a:latin typeface="Segoe UI Light"/>
              </a:defRPr>
            </a:lvl1pPr>
          </a:lstStyle>
          <a:p>
            <a:r>
              <a:rPr lang="en-US"/>
              <a:t>IT challenges</a:t>
            </a:r>
          </a:p>
        </p:txBody>
      </p:sp>
      <p:grpSp>
        <p:nvGrpSpPr>
          <p:cNvPr id="39" name="Group 38"/>
          <p:cNvGrpSpPr/>
          <p:nvPr/>
        </p:nvGrpSpPr>
        <p:grpSpPr>
          <a:xfrm>
            <a:off x="151322" y="867914"/>
            <a:ext cx="2636411" cy="548640"/>
            <a:chOff x="179032" y="1123407"/>
            <a:chExt cx="2636411" cy="548640"/>
          </a:xfrm>
        </p:grpSpPr>
        <p:sp>
          <p:nvSpPr>
            <p:cNvPr id="40" name="Oval 147"/>
            <p:cNvSpPr/>
            <p:nvPr/>
          </p:nvSpPr>
          <p:spPr bwMode="auto">
            <a:xfrm>
              <a:off x="179032" y="1123407"/>
              <a:ext cx="548640" cy="548640"/>
            </a:xfrm>
            <a:prstGeom prst="ellipse">
              <a:avLst/>
            </a:prstGeom>
            <a:solidFill>
              <a:srgbClr val="FFCC00"/>
            </a:solidFill>
            <a:ln>
              <a:solidFill>
                <a:srgbClr val="F2C81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err="1">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145"/>
            <p:cNvSpPr/>
            <p:nvPr/>
          </p:nvSpPr>
          <p:spPr bwMode="auto">
            <a:xfrm>
              <a:off x="805048" y="1206147"/>
              <a:ext cx="2010395" cy="3831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14367"/>
              <a:r>
                <a:rPr lang="en-US" sz="1400" b="1">
                  <a:solidFill>
                    <a:srgbClr val="F2C812"/>
                  </a:solidFill>
                  <a:cs typeface="Segoe UI Light" panose="020B0502040204020203" pitchFamily="34" charset="0"/>
                </a:rPr>
                <a:t>Management of BI systems</a:t>
              </a:r>
              <a:endParaRPr lang="en-US" sz="1200" b="1" i="1">
                <a:solidFill>
                  <a:srgbClr val="F2C812"/>
                </a:solidFill>
                <a:cs typeface="Segoe UI Light" panose="020B0502040204020203" pitchFamily="34" charset="0"/>
              </a:endParaRPr>
            </a:p>
          </p:txBody>
        </p:sp>
      </p:grpSp>
      <p:grpSp>
        <p:nvGrpSpPr>
          <p:cNvPr id="42" name="Group 41"/>
          <p:cNvGrpSpPr/>
          <p:nvPr/>
        </p:nvGrpSpPr>
        <p:grpSpPr>
          <a:xfrm>
            <a:off x="151322" y="1832204"/>
            <a:ext cx="2636411" cy="548640"/>
            <a:chOff x="212649" y="1959486"/>
            <a:chExt cx="2636411" cy="548640"/>
          </a:xfrm>
        </p:grpSpPr>
        <p:sp>
          <p:nvSpPr>
            <p:cNvPr id="43" name="Oval 147"/>
            <p:cNvSpPr/>
            <p:nvPr/>
          </p:nvSpPr>
          <p:spPr bwMode="auto">
            <a:xfrm>
              <a:off x="212649" y="1959486"/>
              <a:ext cx="548640" cy="548640"/>
            </a:xfrm>
            <a:prstGeom prst="ellipse">
              <a:avLst/>
            </a:prstGeom>
            <a:solidFill>
              <a:srgbClr val="FFCC00"/>
            </a:solidFill>
            <a:ln>
              <a:solidFill>
                <a:srgbClr val="F2C81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err="1">
                <a:gradFill>
                  <a:gsLst>
                    <a:gs pos="0">
                      <a:srgbClr val="FFFFFF"/>
                    </a:gs>
                    <a:gs pos="100000">
                      <a:srgbClr val="FFFFFF"/>
                    </a:gs>
                  </a:gsLst>
                  <a:lin ang="5400000" scaled="0"/>
                </a:gradFill>
                <a:ea typeface="Segoe UI" pitchFamily="34" charset="0"/>
                <a:cs typeface="Segoe UI" pitchFamily="34" charset="0"/>
              </a:endParaRPr>
            </a:p>
          </p:txBody>
        </p:sp>
        <p:sp>
          <p:nvSpPr>
            <p:cNvPr id="44" name="Rectangle 145"/>
            <p:cNvSpPr/>
            <p:nvPr/>
          </p:nvSpPr>
          <p:spPr bwMode="auto">
            <a:xfrm>
              <a:off x="838665" y="2042226"/>
              <a:ext cx="2010395" cy="3831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14367"/>
              <a:r>
                <a:rPr lang="en-US" sz="1400" b="1">
                  <a:solidFill>
                    <a:srgbClr val="F2C812"/>
                  </a:solidFill>
                  <a:cs typeface="Segoe UI Light" panose="020B0502040204020203" pitchFamily="34" charset="0"/>
                </a:rPr>
                <a:t>Variety of data sources</a:t>
              </a:r>
              <a:endParaRPr lang="en-US" sz="1200" b="1" i="1">
                <a:solidFill>
                  <a:srgbClr val="F2C812"/>
                </a:solidFill>
                <a:cs typeface="Segoe UI Light" panose="020B0502040204020203" pitchFamily="34" charset="0"/>
              </a:endParaRPr>
            </a:p>
          </p:txBody>
        </p:sp>
      </p:grpSp>
      <p:grpSp>
        <p:nvGrpSpPr>
          <p:cNvPr id="45" name="Group 44"/>
          <p:cNvGrpSpPr/>
          <p:nvPr/>
        </p:nvGrpSpPr>
        <p:grpSpPr>
          <a:xfrm>
            <a:off x="151322" y="2796494"/>
            <a:ext cx="2636411" cy="548640"/>
            <a:chOff x="179032" y="1123407"/>
            <a:chExt cx="2636411" cy="548640"/>
          </a:xfrm>
        </p:grpSpPr>
        <p:sp>
          <p:nvSpPr>
            <p:cNvPr id="46" name="Oval 147"/>
            <p:cNvSpPr/>
            <p:nvPr/>
          </p:nvSpPr>
          <p:spPr bwMode="auto">
            <a:xfrm>
              <a:off x="179032" y="1123407"/>
              <a:ext cx="548640" cy="548640"/>
            </a:xfrm>
            <a:prstGeom prst="ellipse">
              <a:avLst/>
            </a:prstGeom>
            <a:solidFill>
              <a:srgbClr val="FFCC00"/>
            </a:solidFill>
            <a:ln>
              <a:solidFill>
                <a:srgbClr val="F2C81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err="1">
                <a:gradFill>
                  <a:gsLst>
                    <a:gs pos="0">
                      <a:srgbClr val="FFFFFF"/>
                    </a:gs>
                    <a:gs pos="100000">
                      <a:srgbClr val="FFFFFF"/>
                    </a:gs>
                  </a:gsLst>
                  <a:lin ang="5400000" scaled="0"/>
                </a:gradFill>
                <a:ea typeface="Segoe UI" pitchFamily="34" charset="0"/>
                <a:cs typeface="Segoe UI" pitchFamily="34" charset="0"/>
              </a:endParaRPr>
            </a:p>
          </p:txBody>
        </p:sp>
        <p:sp>
          <p:nvSpPr>
            <p:cNvPr id="47" name="Rectangle 145"/>
            <p:cNvSpPr/>
            <p:nvPr/>
          </p:nvSpPr>
          <p:spPr bwMode="auto">
            <a:xfrm>
              <a:off x="805048" y="1206147"/>
              <a:ext cx="2010395" cy="3831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14367"/>
              <a:r>
                <a:rPr lang="en-US" sz="1400" b="1">
                  <a:solidFill>
                    <a:srgbClr val="F2C812"/>
                  </a:solidFill>
                  <a:cs typeface="Segoe UI Light" panose="020B0502040204020203" pitchFamily="34" charset="0"/>
                </a:rPr>
                <a:t>Managing data in the cloud</a:t>
              </a:r>
              <a:endParaRPr lang="en-US" sz="1200" b="1" i="1">
                <a:solidFill>
                  <a:srgbClr val="F2C812"/>
                </a:solidFill>
                <a:cs typeface="Segoe UI Light" panose="020B0502040204020203" pitchFamily="34" charset="0"/>
              </a:endParaRPr>
            </a:p>
          </p:txBody>
        </p:sp>
      </p:grpSp>
      <p:grpSp>
        <p:nvGrpSpPr>
          <p:cNvPr id="48" name="Group 47"/>
          <p:cNvGrpSpPr/>
          <p:nvPr/>
        </p:nvGrpSpPr>
        <p:grpSpPr>
          <a:xfrm>
            <a:off x="151322" y="3760784"/>
            <a:ext cx="2636411" cy="548640"/>
            <a:chOff x="179032" y="1123407"/>
            <a:chExt cx="2636411" cy="548640"/>
          </a:xfrm>
        </p:grpSpPr>
        <p:sp>
          <p:nvSpPr>
            <p:cNvPr id="50" name="Oval 147"/>
            <p:cNvSpPr/>
            <p:nvPr/>
          </p:nvSpPr>
          <p:spPr bwMode="auto">
            <a:xfrm>
              <a:off x="179032" y="1123407"/>
              <a:ext cx="548640" cy="548640"/>
            </a:xfrm>
            <a:prstGeom prst="ellipse">
              <a:avLst/>
            </a:prstGeom>
            <a:solidFill>
              <a:srgbClr val="FFCC00"/>
            </a:solidFill>
            <a:ln>
              <a:solidFill>
                <a:srgbClr val="F2C81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err="1">
                <a:gradFill>
                  <a:gsLst>
                    <a:gs pos="0">
                      <a:srgbClr val="FFFFFF"/>
                    </a:gs>
                    <a:gs pos="100000">
                      <a:srgbClr val="FFFFFF"/>
                    </a:gs>
                  </a:gsLst>
                  <a:lin ang="5400000" scaled="0"/>
                </a:gradFill>
                <a:ea typeface="Segoe UI" pitchFamily="34" charset="0"/>
                <a:cs typeface="Segoe UI" pitchFamily="34" charset="0"/>
              </a:endParaRPr>
            </a:p>
          </p:txBody>
        </p:sp>
        <p:sp>
          <p:nvSpPr>
            <p:cNvPr id="51" name="Rectangle 145"/>
            <p:cNvSpPr/>
            <p:nvPr/>
          </p:nvSpPr>
          <p:spPr bwMode="auto">
            <a:xfrm>
              <a:off x="805048" y="1206147"/>
              <a:ext cx="2010395" cy="3831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14367"/>
              <a:r>
                <a:rPr lang="en-US" sz="1400" b="1">
                  <a:solidFill>
                    <a:srgbClr val="F2C812"/>
                  </a:solidFill>
                  <a:cs typeface="Segoe UI Light" panose="020B0502040204020203" pitchFamily="34" charset="0"/>
                </a:rPr>
                <a:t>Integration with existing environment</a:t>
              </a:r>
              <a:endParaRPr lang="en-US" sz="1200" b="1" i="1">
                <a:solidFill>
                  <a:srgbClr val="F2C812"/>
                </a:solidFill>
                <a:cs typeface="Segoe UI Light" panose="020B0502040204020203" pitchFamily="34" charset="0"/>
              </a:endParaRPr>
            </a:p>
          </p:txBody>
        </p:sp>
      </p:grpSp>
      <p:grpSp>
        <p:nvGrpSpPr>
          <p:cNvPr id="52" name="Group 51"/>
          <p:cNvGrpSpPr/>
          <p:nvPr/>
        </p:nvGrpSpPr>
        <p:grpSpPr>
          <a:xfrm>
            <a:off x="132176" y="4725074"/>
            <a:ext cx="2655557" cy="548640"/>
            <a:chOff x="159886" y="1123407"/>
            <a:chExt cx="2655557" cy="548640"/>
          </a:xfrm>
        </p:grpSpPr>
        <p:sp>
          <p:nvSpPr>
            <p:cNvPr id="54" name="Oval 147"/>
            <p:cNvSpPr/>
            <p:nvPr/>
          </p:nvSpPr>
          <p:spPr bwMode="auto">
            <a:xfrm>
              <a:off x="159886" y="1123407"/>
              <a:ext cx="548640" cy="548640"/>
            </a:xfrm>
            <a:prstGeom prst="ellipse">
              <a:avLst/>
            </a:prstGeom>
            <a:solidFill>
              <a:srgbClr val="FFCC00"/>
            </a:solidFill>
            <a:ln>
              <a:solidFill>
                <a:srgbClr val="F2C81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err="1">
                <a:gradFill>
                  <a:gsLst>
                    <a:gs pos="0">
                      <a:srgbClr val="FFFFFF"/>
                    </a:gs>
                    <a:gs pos="100000">
                      <a:srgbClr val="FFFFFF"/>
                    </a:gs>
                  </a:gsLst>
                  <a:lin ang="5400000" scaled="0"/>
                </a:gradFill>
                <a:ea typeface="Segoe UI" pitchFamily="34" charset="0"/>
                <a:cs typeface="Segoe UI" pitchFamily="34" charset="0"/>
              </a:endParaRPr>
            </a:p>
          </p:txBody>
        </p:sp>
        <p:sp>
          <p:nvSpPr>
            <p:cNvPr id="55" name="Rectangle 145"/>
            <p:cNvSpPr/>
            <p:nvPr/>
          </p:nvSpPr>
          <p:spPr bwMode="auto">
            <a:xfrm>
              <a:off x="805048" y="1206147"/>
              <a:ext cx="2010395" cy="3831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14367"/>
              <a:r>
                <a:rPr lang="en-US" sz="1400" b="1">
                  <a:solidFill>
                    <a:srgbClr val="F2C812"/>
                  </a:solidFill>
                  <a:cs typeface="Segoe UI Light" panose="020B0502040204020203" pitchFamily="34" charset="0"/>
                </a:rPr>
                <a:t>Keeping data current</a:t>
              </a:r>
              <a:endParaRPr lang="en-US" sz="1200" b="1" i="1">
                <a:solidFill>
                  <a:srgbClr val="F2C812"/>
                </a:solidFill>
                <a:cs typeface="Segoe UI Light" panose="020B0502040204020203" pitchFamily="34" charset="0"/>
              </a:endParaRPr>
            </a:p>
          </p:txBody>
        </p:sp>
      </p:grpSp>
      <p:grpSp>
        <p:nvGrpSpPr>
          <p:cNvPr id="56" name="Group 55"/>
          <p:cNvGrpSpPr/>
          <p:nvPr/>
        </p:nvGrpSpPr>
        <p:grpSpPr>
          <a:xfrm>
            <a:off x="151322" y="5689364"/>
            <a:ext cx="2636411" cy="548640"/>
            <a:chOff x="179032" y="1123407"/>
            <a:chExt cx="2636411" cy="548640"/>
          </a:xfrm>
        </p:grpSpPr>
        <p:sp>
          <p:nvSpPr>
            <p:cNvPr id="57" name="Oval 147"/>
            <p:cNvSpPr/>
            <p:nvPr/>
          </p:nvSpPr>
          <p:spPr bwMode="auto">
            <a:xfrm>
              <a:off x="179032" y="1123407"/>
              <a:ext cx="548640" cy="548640"/>
            </a:xfrm>
            <a:prstGeom prst="ellipse">
              <a:avLst/>
            </a:prstGeom>
            <a:solidFill>
              <a:srgbClr val="FFCC00"/>
            </a:solidFill>
            <a:ln>
              <a:solidFill>
                <a:srgbClr val="F2C81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err="1">
                <a:gradFill>
                  <a:gsLst>
                    <a:gs pos="0">
                      <a:srgbClr val="FFFFFF"/>
                    </a:gs>
                    <a:gs pos="100000">
                      <a:srgbClr val="FFFFFF"/>
                    </a:gs>
                  </a:gsLst>
                  <a:lin ang="5400000" scaled="0"/>
                </a:gradFill>
                <a:ea typeface="Segoe UI" pitchFamily="34" charset="0"/>
                <a:cs typeface="Segoe UI" pitchFamily="34" charset="0"/>
              </a:endParaRPr>
            </a:p>
          </p:txBody>
        </p:sp>
        <p:sp>
          <p:nvSpPr>
            <p:cNvPr id="58" name="Rectangle 145"/>
            <p:cNvSpPr/>
            <p:nvPr/>
          </p:nvSpPr>
          <p:spPr bwMode="auto">
            <a:xfrm>
              <a:off x="805048" y="1206147"/>
              <a:ext cx="2010395" cy="3831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14367"/>
              <a:r>
                <a:rPr lang="en-US" sz="1400" b="1">
                  <a:solidFill>
                    <a:srgbClr val="F2C812"/>
                  </a:solidFill>
                  <a:cs typeface="Segoe UI Light" panose="020B0502040204020203" pitchFamily="34" charset="0"/>
                </a:rPr>
                <a:t>Ease of use and adoption</a:t>
              </a:r>
              <a:endParaRPr lang="en-US" sz="1200" b="1" i="1">
                <a:solidFill>
                  <a:srgbClr val="F2C812"/>
                </a:solidFill>
                <a:cs typeface="Segoe UI Light" panose="020B0502040204020203" pitchFamily="34" charset="0"/>
              </a:endParaRPr>
            </a:p>
          </p:txBody>
        </p:sp>
      </p:grpSp>
      <p:sp>
        <p:nvSpPr>
          <p:cNvPr id="59" name="Freeform 58"/>
          <p:cNvSpPr>
            <a:spLocks noChangeAspect="1"/>
          </p:cNvSpPr>
          <p:nvPr/>
        </p:nvSpPr>
        <p:spPr bwMode="black">
          <a:xfrm>
            <a:off x="242762" y="1024112"/>
            <a:ext cx="365760" cy="236244"/>
          </a:xfrm>
          <a:custGeom>
            <a:avLst/>
            <a:gdLst>
              <a:gd name="connsiteX0" fmla="*/ 93529 w 794079"/>
              <a:gd name="connsiteY0" fmla="*/ 409985 h 512894"/>
              <a:gd name="connsiteX1" fmla="*/ 57350 w 794079"/>
              <a:gd name="connsiteY1" fmla="*/ 446163 h 512894"/>
              <a:gd name="connsiteX2" fmla="*/ 93529 w 794079"/>
              <a:gd name="connsiteY2" fmla="*/ 482342 h 512894"/>
              <a:gd name="connsiteX3" fmla="*/ 129707 w 794079"/>
              <a:gd name="connsiteY3" fmla="*/ 446163 h 512894"/>
              <a:gd name="connsiteX4" fmla="*/ 93529 w 794079"/>
              <a:gd name="connsiteY4" fmla="*/ 409985 h 512894"/>
              <a:gd name="connsiteX5" fmla="*/ 22935 w 794079"/>
              <a:gd name="connsiteY5" fmla="*/ 375286 h 512894"/>
              <a:gd name="connsiteX6" fmla="*/ 771144 w 794079"/>
              <a:gd name="connsiteY6" fmla="*/ 375286 h 512894"/>
              <a:gd name="connsiteX7" fmla="*/ 794079 w 794079"/>
              <a:gd name="connsiteY7" fmla="*/ 398221 h 512894"/>
              <a:gd name="connsiteX8" fmla="*/ 794079 w 794079"/>
              <a:gd name="connsiteY8" fmla="*/ 489959 h 512894"/>
              <a:gd name="connsiteX9" fmla="*/ 771144 w 794079"/>
              <a:gd name="connsiteY9" fmla="*/ 512894 h 512894"/>
              <a:gd name="connsiteX10" fmla="*/ 22935 w 794079"/>
              <a:gd name="connsiteY10" fmla="*/ 512894 h 512894"/>
              <a:gd name="connsiteX11" fmla="*/ 0 w 794079"/>
              <a:gd name="connsiteY11" fmla="*/ 489959 h 512894"/>
              <a:gd name="connsiteX12" fmla="*/ 0 w 794079"/>
              <a:gd name="connsiteY12" fmla="*/ 398221 h 512894"/>
              <a:gd name="connsiteX13" fmla="*/ 22935 w 794079"/>
              <a:gd name="connsiteY13" fmla="*/ 375286 h 512894"/>
              <a:gd name="connsiteX14" fmla="*/ 93529 w 794079"/>
              <a:gd name="connsiteY14" fmla="*/ 222341 h 512894"/>
              <a:gd name="connsiteX15" fmla="*/ 57350 w 794079"/>
              <a:gd name="connsiteY15" fmla="*/ 258520 h 512894"/>
              <a:gd name="connsiteX16" fmla="*/ 93529 w 794079"/>
              <a:gd name="connsiteY16" fmla="*/ 294699 h 512894"/>
              <a:gd name="connsiteX17" fmla="*/ 129707 w 794079"/>
              <a:gd name="connsiteY17" fmla="*/ 258520 h 512894"/>
              <a:gd name="connsiteX18" fmla="*/ 93529 w 794079"/>
              <a:gd name="connsiteY18" fmla="*/ 222341 h 512894"/>
              <a:gd name="connsiteX19" fmla="*/ 22935 w 794079"/>
              <a:gd name="connsiteY19" fmla="*/ 187643 h 512894"/>
              <a:gd name="connsiteX20" fmla="*/ 771144 w 794079"/>
              <a:gd name="connsiteY20" fmla="*/ 187643 h 512894"/>
              <a:gd name="connsiteX21" fmla="*/ 794079 w 794079"/>
              <a:gd name="connsiteY21" fmla="*/ 210578 h 512894"/>
              <a:gd name="connsiteX22" fmla="*/ 794079 w 794079"/>
              <a:gd name="connsiteY22" fmla="*/ 302316 h 512894"/>
              <a:gd name="connsiteX23" fmla="*/ 771144 w 794079"/>
              <a:gd name="connsiteY23" fmla="*/ 325251 h 512894"/>
              <a:gd name="connsiteX24" fmla="*/ 22935 w 794079"/>
              <a:gd name="connsiteY24" fmla="*/ 325251 h 512894"/>
              <a:gd name="connsiteX25" fmla="*/ 0 w 794079"/>
              <a:gd name="connsiteY25" fmla="*/ 302316 h 512894"/>
              <a:gd name="connsiteX26" fmla="*/ 0 w 794079"/>
              <a:gd name="connsiteY26" fmla="*/ 210578 h 512894"/>
              <a:gd name="connsiteX27" fmla="*/ 22935 w 794079"/>
              <a:gd name="connsiteY27" fmla="*/ 187643 h 512894"/>
              <a:gd name="connsiteX28" fmla="*/ 93529 w 794079"/>
              <a:gd name="connsiteY28" fmla="*/ 34698 h 512894"/>
              <a:gd name="connsiteX29" fmla="*/ 57350 w 794079"/>
              <a:gd name="connsiteY29" fmla="*/ 70877 h 512894"/>
              <a:gd name="connsiteX30" fmla="*/ 93529 w 794079"/>
              <a:gd name="connsiteY30" fmla="*/ 107056 h 512894"/>
              <a:gd name="connsiteX31" fmla="*/ 129707 w 794079"/>
              <a:gd name="connsiteY31" fmla="*/ 70877 h 512894"/>
              <a:gd name="connsiteX32" fmla="*/ 93529 w 794079"/>
              <a:gd name="connsiteY32" fmla="*/ 34698 h 512894"/>
              <a:gd name="connsiteX33" fmla="*/ 22935 w 794079"/>
              <a:gd name="connsiteY33" fmla="*/ 0 h 512894"/>
              <a:gd name="connsiteX34" fmla="*/ 771144 w 794079"/>
              <a:gd name="connsiteY34" fmla="*/ 0 h 512894"/>
              <a:gd name="connsiteX35" fmla="*/ 794079 w 794079"/>
              <a:gd name="connsiteY35" fmla="*/ 22935 h 512894"/>
              <a:gd name="connsiteX36" fmla="*/ 794079 w 794079"/>
              <a:gd name="connsiteY36" fmla="*/ 114673 h 512894"/>
              <a:gd name="connsiteX37" fmla="*/ 771144 w 794079"/>
              <a:gd name="connsiteY37" fmla="*/ 137608 h 512894"/>
              <a:gd name="connsiteX38" fmla="*/ 22935 w 794079"/>
              <a:gd name="connsiteY38" fmla="*/ 137608 h 512894"/>
              <a:gd name="connsiteX39" fmla="*/ 0 w 794079"/>
              <a:gd name="connsiteY39" fmla="*/ 114673 h 512894"/>
              <a:gd name="connsiteX40" fmla="*/ 0 w 794079"/>
              <a:gd name="connsiteY40" fmla="*/ 22935 h 512894"/>
              <a:gd name="connsiteX41" fmla="*/ 22935 w 794079"/>
              <a:gd name="connsiteY41" fmla="*/ 0 h 5128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794079" h="512894">
                <a:moveTo>
                  <a:pt x="93529" y="409985"/>
                </a:moveTo>
                <a:cubicBezTo>
                  <a:pt x="73548" y="409985"/>
                  <a:pt x="57350" y="426182"/>
                  <a:pt x="57350" y="446163"/>
                </a:cubicBezTo>
                <a:cubicBezTo>
                  <a:pt x="57350" y="466144"/>
                  <a:pt x="73548" y="482342"/>
                  <a:pt x="93529" y="482342"/>
                </a:cubicBezTo>
                <a:cubicBezTo>
                  <a:pt x="113510" y="482342"/>
                  <a:pt x="129707" y="466144"/>
                  <a:pt x="129707" y="446163"/>
                </a:cubicBezTo>
                <a:cubicBezTo>
                  <a:pt x="129707" y="426182"/>
                  <a:pt x="113510" y="409985"/>
                  <a:pt x="93529" y="409985"/>
                </a:cubicBezTo>
                <a:close/>
                <a:moveTo>
                  <a:pt x="22935" y="375286"/>
                </a:moveTo>
                <a:lnTo>
                  <a:pt x="771144" y="375286"/>
                </a:lnTo>
                <a:cubicBezTo>
                  <a:pt x="783811" y="375286"/>
                  <a:pt x="794079" y="385555"/>
                  <a:pt x="794079" y="398221"/>
                </a:cubicBezTo>
                <a:lnTo>
                  <a:pt x="794079" y="489959"/>
                </a:lnTo>
                <a:cubicBezTo>
                  <a:pt x="794079" y="502626"/>
                  <a:pt x="783811" y="512894"/>
                  <a:pt x="771144" y="512894"/>
                </a:cubicBezTo>
                <a:lnTo>
                  <a:pt x="22935" y="512894"/>
                </a:lnTo>
                <a:cubicBezTo>
                  <a:pt x="10269" y="512894"/>
                  <a:pt x="0" y="502626"/>
                  <a:pt x="0" y="489959"/>
                </a:cubicBezTo>
                <a:lnTo>
                  <a:pt x="0" y="398221"/>
                </a:lnTo>
                <a:cubicBezTo>
                  <a:pt x="0" y="385555"/>
                  <a:pt x="10269" y="375286"/>
                  <a:pt x="22935" y="375286"/>
                </a:cubicBezTo>
                <a:close/>
                <a:moveTo>
                  <a:pt x="93529" y="222341"/>
                </a:moveTo>
                <a:cubicBezTo>
                  <a:pt x="73548" y="222341"/>
                  <a:pt x="57350" y="238539"/>
                  <a:pt x="57350" y="258520"/>
                </a:cubicBezTo>
                <a:cubicBezTo>
                  <a:pt x="57350" y="278501"/>
                  <a:pt x="73548" y="294699"/>
                  <a:pt x="93529" y="294699"/>
                </a:cubicBezTo>
                <a:cubicBezTo>
                  <a:pt x="113510" y="294699"/>
                  <a:pt x="129707" y="278501"/>
                  <a:pt x="129707" y="258520"/>
                </a:cubicBezTo>
                <a:cubicBezTo>
                  <a:pt x="129707" y="238539"/>
                  <a:pt x="113510" y="222341"/>
                  <a:pt x="93529" y="222341"/>
                </a:cubicBezTo>
                <a:close/>
                <a:moveTo>
                  <a:pt x="22935" y="187643"/>
                </a:moveTo>
                <a:lnTo>
                  <a:pt x="771144" y="187643"/>
                </a:lnTo>
                <a:cubicBezTo>
                  <a:pt x="783811" y="187643"/>
                  <a:pt x="794079" y="197911"/>
                  <a:pt x="794079" y="210578"/>
                </a:cubicBezTo>
                <a:lnTo>
                  <a:pt x="794079" y="302316"/>
                </a:lnTo>
                <a:cubicBezTo>
                  <a:pt x="794079" y="314982"/>
                  <a:pt x="783811" y="325251"/>
                  <a:pt x="771144" y="325251"/>
                </a:cubicBezTo>
                <a:lnTo>
                  <a:pt x="22935" y="325251"/>
                </a:lnTo>
                <a:cubicBezTo>
                  <a:pt x="10269" y="325251"/>
                  <a:pt x="0" y="314982"/>
                  <a:pt x="0" y="302316"/>
                </a:cubicBezTo>
                <a:lnTo>
                  <a:pt x="0" y="210578"/>
                </a:lnTo>
                <a:cubicBezTo>
                  <a:pt x="0" y="197911"/>
                  <a:pt x="10269" y="187643"/>
                  <a:pt x="22935" y="187643"/>
                </a:cubicBezTo>
                <a:close/>
                <a:moveTo>
                  <a:pt x="93529" y="34698"/>
                </a:moveTo>
                <a:cubicBezTo>
                  <a:pt x="73548" y="34698"/>
                  <a:pt x="57350" y="50896"/>
                  <a:pt x="57350" y="70877"/>
                </a:cubicBezTo>
                <a:cubicBezTo>
                  <a:pt x="57350" y="90858"/>
                  <a:pt x="73548" y="107056"/>
                  <a:pt x="93529" y="107056"/>
                </a:cubicBezTo>
                <a:cubicBezTo>
                  <a:pt x="113510" y="107056"/>
                  <a:pt x="129707" y="90858"/>
                  <a:pt x="129707" y="70877"/>
                </a:cubicBezTo>
                <a:cubicBezTo>
                  <a:pt x="129707" y="50896"/>
                  <a:pt x="113510" y="34698"/>
                  <a:pt x="93529" y="34698"/>
                </a:cubicBezTo>
                <a:close/>
                <a:moveTo>
                  <a:pt x="22935" y="0"/>
                </a:moveTo>
                <a:lnTo>
                  <a:pt x="771144" y="0"/>
                </a:lnTo>
                <a:cubicBezTo>
                  <a:pt x="783811" y="0"/>
                  <a:pt x="794079" y="10268"/>
                  <a:pt x="794079" y="22935"/>
                </a:cubicBezTo>
                <a:lnTo>
                  <a:pt x="794079" y="114673"/>
                </a:lnTo>
                <a:cubicBezTo>
                  <a:pt x="794079" y="127339"/>
                  <a:pt x="783811" y="137608"/>
                  <a:pt x="771144" y="137608"/>
                </a:cubicBezTo>
                <a:lnTo>
                  <a:pt x="22935" y="137608"/>
                </a:lnTo>
                <a:cubicBezTo>
                  <a:pt x="10269" y="137608"/>
                  <a:pt x="0" y="127339"/>
                  <a:pt x="0" y="114673"/>
                </a:cubicBezTo>
                <a:lnTo>
                  <a:pt x="0" y="22935"/>
                </a:lnTo>
                <a:cubicBezTo>
                  <a:pt x="0" y="10268"/>
                  <a:pt x="10269" y="0"/>
                  <a:pt x="22935"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8" tIns="109719" rIns="137148" bIns="109719" numCol="1" spcCol="0" rtlCol="0" fromWordArt="0" anchor="t" anchorCtr="0" forceAA="0" compatLnSpc="1">
            <a:prstTxWarp prst="textNoShape">
              <a:avLst/>
            </a:prstTxWarp>
            <a:noAutofit/>
          </a:bodyPr>
          <a:lstStyle/>
          <a:p>
            <a:pPr algn="ctr" defTabSz="699261" fontAlgn="base">
              <a:lnSpc>
                <a:spcPct val="90000"/>
              </a:lnSpc>
              <a:spcBef>
                <a:spcPct val="0"/>
              </a:spcBef>
              <a:spcAft>
                <a:spcPct val="0"/>
              </a:spcAft>
            </a:pPr>
            <a:endParaRPr lang="en-US">
              <a:gradFill>
                <a:gsLst>
                  <a:gs pos="0">
                    <a:srgbClr val="FFFFFF"/>
                  </a:gs>
                  <a:gs pos="100000">
                    <a:srgbClr val="FFFFFF"/>
                  </a:gs>
                </a:gsLst>
                <a:lin ang="5400000" scaled="0"/>
              </a:gradFill>
              <a:ea typeface="Segoe UI" pitchFamily="34" charset="0"/>
              <a:cs typeface="Segoe UI" pitchFamily="34" charset="0"/>
            </a:endParaRPr>
          </a:p>
        </p:txBody>
      </p:sp>
      <p:grpSp>
        <p:nvGrpSpPr>
          <p:cNvPr id="60" name="Group 59"/>
          <p:cNvGrpSpPr>
            <a:grpSpLocks noChangeAspect="1"/>
          </p:cNvGrpSpPr>
          <p:nvPr/>
        </p:nvGrpSpPr>
        <p:grpSpPr>
          <a:xfrm>
            <a:off x="284268" y="1947738"/>
            <a:ext cx="314004" cy="320040"/>
            <a:chOff x="810855" y="2271601"/>
            <a:chExt cx="457200" cy="465990"/>
          </a:xfrm>
        </p:grpSpPr>
        <p:sp>
          <p:nvSpPr>
            <p:cNvPr id="61" name="Freeform 5"/>
            <p:cNvSpPr>
              <a:spLocks noEditPoints="1"/>
            </p:cNvSpPr>
            <p:nvPr/>
          </p:nvSpPr>
          <p:spPr bwMode="black">
            <a:xfrm>
              <a:off x="892260" y="2271601"/>
              <a:ext cx="375795" cy="291633"/>
            </a:xfrm>
            <a:custGeom>
              <a:avLst/>
              <a:gdLst>
                <a:gd name="T0" fmla="*/ 22 w 277"/>
                <a:gd name="T1" fmla="*/ 1 h 215"/>
                <a:gd name="T2" fmla="*/ 22 w 277"/>
                <a:gd name="T3" fmla="*/ 10 h 215"/>
                <a:gd name="T4" fmla="*/ 22 w 277"/>
                <a:gd name="T5" fmla="*/ 10 h 215"/>
                <a:gd name="T6" fmla="*/ 66 w 277"/>
                <a:gd name="T7" fmla="*/ 15 h 215"/>
                <a:gd name="T8" fmla="*/ 54 w 277"/>
                <a:gd name="T9" fmla="*/ 20 h 215"/>
                <a:gd name="T10" fmla="*/ 79 w 277"/>
                <a:gd name="T11" fmla="*/ 0 h 215"/>
                <a:gd name="T12" fmla="*/ 118 w 277"/>
                <a:gd name="T13" fmla="*/ 1 h 215"/>
                <a:gd name="T14" fmla="*/ 118 w 277"/>
                <a:gd name="T15" fmla="*/ 10 h 215"/>
                <a:gd name="T16" fmla="*/ 118 w 277"/>
                <a:gd name="T17" fmla="*/ 10 h 215"/>
                <a:gd name="T18" fmla="*/ 163 w 277"/>
                <a:gd name="T19" fmla="*/ 15 h 215"/>
                <a:gd name="T20" fmla="*/ 150 w 277"/>
                <a:gd name="T21" fmla="*/ 20 h 215"/>
                <a:gd name="T22" fmla="*/ 176 w 277"/>
                <a:gd name="T23" fmla="*/ 0 h 215"/>
                <a:gd name="T24" fmla="*/ 215 w 277"/>
                <a:gd name="T25" fmla="*/ 1 h 215"/>
                <a:gd name="T26" fmla="*/ 214 w 277"/>
                <a:gd name="T27" fmla="*/ 10 h 215"/>
                <a:gd name="T28" fmla="*/ 214 w 277"/>
                <a:gd name="T29" fmla="*/ 10 h 215"/>
                <a:gd name="T30" fmla="*/ 259 w 277"/>
                <a:gd name="T31" fmla="*/ 15 h 215"/>
                <a:gd name="T32" fmla="*/ 247 w 277"/>
                <a:gd name="T33" fmla="*/ 20 h 215"/>
                <a:gd name="T34" fmla="*/ 272 w 277"/>
                <a:gd name="T35" fmla="*/ 0 h 215"/>
                <a:gd name="T36" fmla="*/ 12 w 277"/>
                <a:gd name="T37" fmla="*/ 92 h 215"/>
                <a:gd name="T38" fmla="*/ 0 w 277"/>
                <a:gd name="T39" fmla="*/ 97 h 215"/>
                <a:gd name="T40" fmla="*/ 25 w 277"/>
                <a:gd name="T41" fmla="*/ 77 h 215"/>
                <a:gd name="T42" fmla="*/ 64 w 277"/>
                <a:gd name="T43" fmla="*/ 77 h 215"/>
                <a:gd name="T44" fmla="*/ 64 w 277"/>
                <a:gd name="T45" fmla="*/ 87 h 215"/>
                <a:gd name="T46" fmla="*/ 64 w 277"/>
                <a:gd name="T47" fmla="*/ 87 h 215"/>
                <a:gd name="T48" fmla="*/ 109 w 277"/>
                <a:gd name="T49" fmla="*/ 92 h 215"/>
                <a:gd name="T50" fmla="*/ 96 w 277"/>
                <a:gd name="T51" fmla="*/ 97 h 215"/>
                <a:gd name="T52" fmla="*/ 122 w 277"/>
                <a:gd name="T53" fmla="*/ 77 h 215"/>
                <a:gd name="T54" fmla="*/ 161 w 277"/>
                <a:gd name="T55" fmla="*/ 77 h 215"/>
                <a:gd name="T56" fmla="*/ 160 w 277"/>
                <a:gd name="T57" fmla="*/ 87 h 215"/>
                <a:gd name="T58" fmla="*/ 160 w 277"/>
                <a:gd name="T59" fmla="*/ 87 h 215"/>
                <a:gd name="T60" fmla="*/ 205 w 277"/>
                <a:gd name="T61" fmla="*/ 92 h 215"/>
                <a:gd name="T62" fmla="*/ 192 w 277"/>
                <a:gd name="T63" fmla="*/ 97 h 215"/>
                <a:gd name="T64" fmla="*/ 218 w 277"/>
                <a:gd name="T65" fmla="*/ 77 h 215"/>
                <a:gd name="T66" fmla="*/ 257 w 277"/>
                <a:gd name="T67" fmla="*/ 77 h 215"/>
                <a:gd name="T68" fmla="*/ 256 w 277"/>
                <a:gd name="T69" fmla="*/ 87 h 215"/>
                <a:gd name="T70" fmla="*/ 256 w 277"/>
                <a:gd name="T71" fmla="*/ 87 h 215"/>
                <a:gd name="T72" fmla="*/ 22 w 277"/>
                <a:gd name="T73" fmla="*/ 154 h 215"/>
                <a:gd name="T74" fmla="*/ 22 w 277"/>
                <a:gd name="T75" fmla="*/ 164 h 215"/>
                <a:gd name="T76" fmla="*/ 22 w 277"/>
                <a:gd name="T77" fmla="*/ 164 h 215"/>
                <a:gd name="T78" fmla="*/ 66 w 277"/>
                <a:gd name="T79" fmla="*/ 168 h 215"/>
                <a:gd name="T80" fmla="*/ 54 w 277"/>
                <a:gd name="T81" fmla="*/ 173 h 215"/>
                <a:gd name="T82" fmla="*/ 79 w 277"/>
                <a:gd name="T83" fmla="*/ 154 h 215"/>
                <a:gd name="T84" fmla="*/ 118 w 277"/>
                <a:gd name="T85" fmla="*/ 154 h 215"/>
                <a:gd name="T86" fmla="*/ 118 w 277"/>
                <a:gd name="T87" fmla="*/ 164 h 215"/>
                <a:gd name="T88" fmla="*/ 118 w 277"/>
                <a:gd name="T89" fmla="*/ 164 h 215"/>
                <a:gd name="T90" fmla="*/ 163 w 277"/>
                <a:gd name="T91" fmla="*/ 168 h 215"/>
                <a:gd name="T92" fmla="*/ 150 w 277"/>
                <a:gd name="T93" fmla="*/ 173 h 215"/>
                <a:gd name="T94" fmla="*/ 176 w 277"/>
                <a:gd name="T95" fmla="*/ 154 h 215"/>
                <a:gd name="T96" fmla="*/ 215 w 277"/>
                <a:gd name="T97" fmla="*/ 154 h 215"/>
                <a:gd name="T98" fmla="*/ 214 w 277"/>
                <a:gd name="T99" fmla="*/ 164 h 215"/>
                <a:gd name="T100" fmla="*/ 214 w 277"/>
                <a:gd name="T101" fmla="*/ 164 h 215"/>
                <a:gd name="T102" fmla="*/ 259 w 277"/>
                <a:gd name="T103" fmla="*/ 168 h 215"/>
                <a:gd name="T104" fmla="*/ 247 w 277"/>
                <a:gd name="T105" fmla="*/ 173 h 215"/>
                <a:gd name="T106" fmla="*/ 272 w 277"/>
                <a:gd name="T107" fmla="*/ 154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77" h="215">
                  <a:moveTo>
                    <a:pt x="21" y="61"/>
                  </a:moveTo>
                  <a:cubicBezTo>
                    <a:pt x="7" y="61"/>
                    <a:pt x="0" y="51"/>
                    <a:pt x="0" y="32"/>
                  </a:cubicBezTo>
                  <a:cubicBezTo>
                    <a:pt x="0" y="22"/>
                    <a:pt x="2" y="14"/>
                    <a:pt x="6" y="9"/>
                  </a:cubicBezTo>
                  <a:cubicBezTo>
                    <a:pt x="9" y="3"/>
                    <a:pt x="15" y="1"/>
                    <a:pt x="22" y="1"/>
                  </a:cubicBezTo>
                  <a:cubicBezTo>
                    <a:pt x="36" y="1"/>
                    <a:pt x="43" y="11"/>
                    <a:pt x="43" y="30"/>
                  </a:cubicBezTo>
                  <a:cubicBezTo>
                    <a:pt x="43" y="40"/>
                    <a:pt x="41" y="48"/>
                    <a:pt x="37" y="53"/>
                  </a:cubicBezTo>
                  <a:cubicBezTo>
                    <a:pt x="33" y="59"/>
                    <a:pt x="28" y="61"/>
                    <a:pt x="21" y="61"/>
                  </a:cubicBezTo>
                  <a:close/>
                  <a:moveTo>
                    <a:pt x="22" y="10"/>
                  </a:moveTo>
                  <a:cubicBezTo>
                    <a:pt x="16" y="10"/>
                    <a:pt x="13" y="17"/>
                    <a:pt x="13" y="32"/>
                  </a:cubicBezTo>
                  <a:cubicBezTo>
                    <a:pt x="13" y="45"/>
                    <a:pt x="16" y="51"/>
                    <a:pt x="21" y="51"/>
                  </a:cubicBezTo>
                  <a:cubicBezTo>
                    <a:pt x="27" y="51"/>
                    <a:pt x="29" y="45"/>
                    <a:pt x="29" y="31"/>
                  </a:cubicBezTo>
                  <a:cubicBezTo>
                    <a:pt x="29" y="17"/>
                    <a:pt x="27" y="10"/>
                    <a:pt x="22" y="10"/>
                  </a:cubicBezTo>
                  <a:close/>
                  <a:moveTo>
                    <a:pt x="79" y="0"/>
                  </a:moveTo>
                  <a:cubicBezTo>
                    <a:pt x="79" y="60"/>
                    <a:pt x="79" y="60"/>
                    <a:pt x="79" y="60"/>
                  </a:cubicBezTo>
                  <a:cubicBezTo>
                    <a:pt x="66" y="60"/>
                    <a:pt x="66" y="60"/>
                    <a:pt x="66" y="60"/>
                  </a:cubicBezTo>
                  <a:cubicBezTo>
                    <a:pt x="66" y="15"/>
                    <a:pt x="66" y="15"/>
                    <a:pt x="66" y="15"/>
                  </a:cubicBezTo>
                  <a:cubicBezTo>
                    <a:pt x="66" y="15"/>
                    <a:pt x="65" y="16"/>
                    <a:pt x="64" y="17"/>
                  </a:cubicBezTo>
                  <a:cubicBezTo>
                    <a:pt x="63" y="17"/>
                    <a:pt x="62" y="18"/>
                    <a:pt x="61" y="18"/>
                  </a:cubicBezTo>
                  <a:cubicBezTo>
                    <a:pt x="60" y="19"/>
                    <a:pt x="59" y="19"/>
                    <a:pt x="57" y="19"/>
                  </a:cubicBezTo>
                  <a:cubicBezTo>
                    <a:pt x="56" y="20"/>
                    <a:pt x="55" y="20"/>
                    <a:pt x="54" y="20"/>
                  </a:cubicBezTo>
                  <a:cubicBezTo>
                    <a:pt x="54" y="9"/>
                    <a:pt x="54" y="9"/>
                    <a:pt x="54" y="9"/>
                  </a:cubicBezTo>
                  <a:cubicBezTo>
                    <a:pt x="57" y="8"/>
                    <a:pt x="61" y="7"/>
                    <a:pt x="64" y="5"/>
                  </a:cubicBezTo>
                  <a:cubicBezTo>
                    <a:pt x="66" y="4"/>
                    <a:pt x="69" y="2"/>
                    <a:pt x="72" y="0"/>
                  </a:cubicBezTo>
                  <a:lnTo>
                    <a:pt x="79" y="0"/>
                  </a:lnTo>
                  <a:close/>
                  <a:moveTo>
                    <a:pt x="117" y="61"/>
                  </a:moveTo>
                  <a:cubicBezTo>
                    <a:pt x="103" y="61"/>
                    <a:pt x="96" y="51"/>
                    <a:pt x="96" y="32"/>
                  </a:cubicBezTo>
                  <a:cubicBezTo>
                    <a:pt x="96" y="22"/>
                    <a:pt x="98" y="14"/>
                    <a:pt x="102" y="9"/>
                  </a:cubicBezTo>
                  <a:cubicBezTo>
                    <a:pt x="106" y="3"/>
                    <a:pt x="111" y="1"/>
                    <a:pt x="118" y="1"/>
                  </a:cubicBezTo>
                  <a:cubicBezTo>
                    <a:pt x="132" y="1"/>
                    <a:pt x="139" y="11"/>
                    <a:pt x="139" y="30"/>
                  </a:cubicBezTo>
                  <a:cubicBezTo>
                    <a:pt x="139" y="40"/>
                    <a:pt x="137" y="48"/>
                    <a:pt x="133" y="53"/>
                  </a:cubicBezTo>
                  <a:cubicBezTo>
                    <a:pt x="130" y="59"/>
                    <a:pt x="124" y="61"/>
                    <a:pt x="117" y="61"/>
                  </a:cubicBezTo>
                  <a:close/>
                  <a:moveTo>
                    <a:pt x="118" y="10"/>
                  </a:moveTo>
                  <a:cubicBezTo>
                    <a:pt x="112" y="10"/>
                    <a:pt x="109" y="17"/>
                    <a:pt x="109" y="32"/>
                  </a:cubicBezTo>
                  <a:cubicBezTo>
                    <a:pt x="109" y="45"/>
                    <a:pt x="112" y="51"/>
                    <a:pt x="118" y="51"/>
                  </a:cubicBezTo>
                  <a:cubicBezTo>
                    <a:pt x="123" y="51"/>
                    <a:pt x="126" y="45"/>
                    <a:pt x="126" y="31"/>
                  </a:cubicBezTo>
                  <a:cubicBezTo>
                    <a:pt x="126" y="17"/>
                    <a:pt x="123" y="10"/>
                    <a:pt x="118" y="10"/>
                  </a:cubicBezTo>
                  <a:close/>
                  <a:moveTo>
                    <a:pt x="176" y="0"/>
                  </a:moveTo>
                  <a:cubicBezTo>
                    <a:pt x="176" y="60"/>
                    <a:pt x="176" y="60"/>
                    <a:pt x="176" y="60"/>
                  </a:cubicBezTo>
                  <a:cubicBezTo>
                    <a:pt x="163" y="60"/>
                    <a:pt x="163" y="60"/>
                    <a:pt x="163" y="60"/>
                  </a:cubicBezTo>
                  <a:cubicBezTo>
                    <a:pt x="163" y="15"/>
                    <a:pt x="163" y="15"/>
                    <a:pt x="163" y="15"/>
                  </a:cubicBezTo>
                  <a:cubicBezTo>
                    <a:pt x="162" y="15"/>
                    <a:pt x="161" y="16"/>
                    <a:pt x="160" y="17"/>
                  </a:cubicBezTo>
                  <a:cubicBezTo>
                    <a:pt x="159" y="17"/>
                    <a:pt x="158" y="18"/>
                    <a:pt x="157" y="18"/>
                  </a:cubicBezTo>
                  <a:cubicBezTo>
                    <a:pt x="156" y="19"/>
                    <a:pt x="155" y="19"/>
                    <a:pt x="154" y="19"/>
                  </a:cubicBezTo>
                  <a:cubicBezTo>
                    <a:pt x="153" y="20"/>
                    <a:pt x="151" y="20"/>
                    <a:pt x="150" y="20"/>
                  </a:cubicBezTo>
                  <a:cubicBezTo>
                    <a:pt x="150" y="9"/>
                    <a:pt x="150" y="9"/>
                    <a:pt x="150" y="9"/>
                  </a:cubicBezTo>
                  <a:cubicBezTo>
                    <a:pt x="154" y="8"/>
                    <a:pt x="157" y="7"/>
                    <a:pt x="160" y="5"/>
                  </a:cubicBezTo>
                  <a:cubicBezTo>
                    <a:pt x="163" y="4"/>
                    <a:pt x="165" y="2"/>
                    <a:pt x="168" y="0"/>
                  </a:cubicBezTo>
                  <a:lnTo>
                    <a:pt x="176" y="0"/>
                  </a:lnTo>
                  <a:close/>
                  <a:moveTo>
                    <a:pt x="214" y="61"/>
                  </a:moveTo>
                  <a:cubicBezTo>
                    <a:pt x="200" y="61"/>
                    <a:pt x="193" y="51"/>
                    <a:pt x="193" y="32"/>
                  </a:cubicBezTo>
                  <a:cubicBezTo>
                    <a:pt x="193" y="22"/>
                    <a:pt x="195" y="14"/>
                    <a:pt x="198" y="9"/>
                  </a:cubicBezTo>
                  <a:cubicBezTo>
                    <a:pt x="202" y="3"/>
                    <a:pt x="208" y="1"/>
                    <a:pt x="215" y="1"/>
                  </a:cubicBezTo>
                  <a:cubicBezTo>
                    <a:pt x="228" y="1"/>
                    <a:pt x="235" y="11"/>
                    <a:pt x="235" y="30"/>
                  </a:cubicBezTo>
                  <a:cubicBezTo>
                    <a:pt x="235" y="40"/>
                    <a:pt x="233" y="48"/>
                    <a:pt x="230" y="53"/>
                  </a:cubicBezTo>
                  <a:cubicBezTo>
                    <a:pt x="226" y="59"/>
                    <a:pt x="221" y="61"/>
                    <a:pt x="214" y="61"/>
                  </a:cubicBezTo>
                  <a:close/>
                  <a:moveTo>
                    <a:pt x="214" y="10"/>
                  </a:moveTo>
                  <a:cubicBezTo>
                    <a:pt x="209" y="10"/>
                    <a:pt x="206" y="17"/>
                    <a:pt x="206" y="32"/>
                  </a:cubicBezTo>
                  <a:cubicBezTo>
                    <a:pt x="206" y="45"/>
                    <a:pt x="209" y="51"/>
                    <a:pt x="214" y="51"/>
                  </a:cubicBezTo>
                  <a:cubicBezTo>
                    <a:pt x="219" y="51"/>
                    <a:pt x="222" y="45"/>
                    <a:pt x="222" y="31"/>
                  </a:cubicBezTo>
                  <a:cubicBezTo>
                    <a:pt x="222" y="17"/>
                    <a:pt x="219" y="10"/>
                    <a:pt x="214" y="10"/>
                  </a:cubicBezTo>
                  <a:close/>
                  <a:moveTo>
                    <a:pt x="272" y="0"/>
                  </a:moveTo>
                  <a:cubicBezTo>
                    <a:pt x="272" y="60"/>
                    <a:pt x="272" y="60"/>
                    <a:pt x="272" y="60"/>
                  </a:cubicBezTo>
                  <a:cubicBezTo>
                    <a:pt x="259" y="60"/>
                    <a:pt x="259" y="60"/>
                    <a:pt x="259" y="60"/>
                  </a:cubicBezTo>
                  <a:cubicBezTo>
                    <a:pt x="259" y="15"/>
                    <a:pt x="259" y="15"/>
                    <a:pt x="259" y="15"/>
                  </a:cubicBezTo>
                  <a:cubicBezTo>
                    <a:pt x="258" y="15"/>
                    <a:pt x="258" y="16"/>
                    <a:pt x="257" y="17"/>
                  </a:cubicBezTo>
                  <a:cubicBezTo>
                    <a:pt x="256" y="17"/>
                    <a:pt x="255" y="18"/>
                    <a:pt x="254" y="18"/>
                  </a:cubicBezTo>
                  <a:cubicBezTo>
                    <a:pt x="252" y="19"/>
                    <a:pt x="251" y="19"/>
                    <a:pt x="250" y="19"/>
                  </a:cubicBezTo>
                  <a:cubicBezTo>
                    <a:pt x="249" y="20"/>
                    <a:pt x="248" y="20"/>
                    <a:pt x="247" y="20"/>
                  </a:cubicBezTo>
                  <a:cubicBezTo>
                    <a:pt x="247" y="9"/>
                    <a:pt x="247" y="9"/>
                    <a:pt x="247" y="9"/>
                  </a:cubicBezTo>
                  <a:cubicBezTo>
                    <a:pt x="250" y="8"/>
                    <a:pt x="253" y="7"/>
                    <a:pt x="256" y="5"/>
                  </a:cubicBezTo>
                  <a:cubicBezTo>
                    <a:pt x="259" y="4"/>
                    <a:pt x="262" y="2"/>
                    <a:pt x="264" y="0"/>
                  </a:cubicBezTo>
                  <a:lnTo>
                    <a:pt x="272" y="0"/>
                  </a:lnTo>
                  <a:close/>
                  <a:moveTo>
                    <a:pt x="25" y="77"/>
                  </a:moveTo>
                  <a:cubicBezTo>
                    <a:pt x="25" y="137"/>
                    <a:pt x="25" y="137"/>
                    <a:pt x="25" y="137"/>
                  </a:cubicBezTo>
                  <a:cubicBezTo>
                    <a:pt x="12" y="137"/>
                    <a:pt x="12" y="137"/>
                    <a:pt x="12" y="137"/>
                  </a:cubicBezTo>
                  <a:cubicBezTo>
                    <a:pt x="12" y="92"/>
                    <a:pt x="12" y="92"/>
                    <a:pt x="12" y="92"/>
                  </a:cubicBezTo>
                  <a:cubicBezTo>
                    <a:pt x="12" y="92"/>
                    <a:pt x="11" y="93"/>
                    <a:pt x="10" y="93"/>
                  </a:cubicBezTo>
                  <a:cubicBezTo>
                    <a:pt x="9" y="94"/>
                    <a:pt x="8" y="94"/>
                    <a:pt x="7" y="95"/>
                  </a:cubicBezTo>
                  <a:cubicBezTo>
                    <a:pt x="6" y="95"/>
                    <a:pt x="5" y="96"/>
                    <a:pt x="3" y="96"/>
                  </a:cubicBezTo>
                  <a:cubicBezTo>
                    <a:pt x="2" y="96"/>
                    <a:pt x="1" y="97"/>
                    <a:pt x="0" y="97"/>
                  </a:cubicBezTo>
                  <a:cubicBezTo>
                    <a:pt x="0" y="86"/>
                    <a:pt x="0" y="86"/>
                    <a:pt x="0" y="86"/>
                  </a:cubicBezTo>
                  <a:cubicBezTo>
                    <a:pt x="3" y="85"/>
                    <a:pt x="6" y="84"/>
                    <a:pt x="9" y="82"/>
                  </a:cubicBezTo>
                  <a:cubicBezTo>
                    <a:pt x="12" y="81"/>
                    <a:pt x="15" y="79"/>
                    <a:pt x="17" y="77"/>
                  </a:cubicBezTo>
                  <a:lnTo>
                    <a:pt x="25" y="77"/>
                  </a:lnTo>
                  <a:close/>
                  <a:moveTo>
                    <a:pt x="63" y="138"/>
                  </a:moveTo>
                  <a:cubicBezTo>
                    <a:pt x="49" y="138"/>
                    <a:pt x="42" y="128"/>
                    <a:pt x="42" y="109"/>
                  </a:cubicBezTo>
                  <a:cubicBezTo>
                    <a:pt x="42" y="98"/>
                    <a:pt x="44" y="91"/>
                    <a:pt x="48" y="85"/>
                  </a:cubicBezTo>
                  <a:cubicBezTo>
                    <a:pt x="52" y="80"/>
                    <a:pt x="57" y="77"/>
                    <a:pt x="64" y="77"/>
                  </a:cubicBezTo>
                  <a:cubicBezTo>
                    <a:pt x="78" y="77"/>
                    <a:pt x="85" y="87"/>
                    <a:pt x="85" y="107"/>
                  </a:cubicBezTo>
                  <a:cubicBezTo>
                    <a:pt x="85" y="117"/>
                    <a:pt x="83" y="125"/>
                    <a:pt x="79" y="130"/>
                  </a:cubicBezTo>
                  <a:cubicBezTo>
                    <a:pt x="75" y="135"/>
                    <a:pt x="70" y="138"/>
                    <a:pt x="63" y="138"/>
                  </a:cubicBezTo>
                  <a:close/>
                  <a:moveTo>
                    <a:pt x="64" y="87"/>
                  </a:moveTo>
                  <a:cubicBezTo>
                    <a:pt x="58" y="87"/>
                    <a:pt x="55" y="94"/>
                    <a:pt x="55" y="108"/>
                  </a:cubicBezTo>
                  <a:cubicBezTo>
                    <a:pt x="55" y="121"/>
                    <a:pt x="58" y="128"/>
                    <a:pt x="64" y="128"/>
                  </a:cubicBezTo>
                  <a:cubicBezTo>
                    <a:pt x="69" y="128"/>
                    <a:pt x="72" y="121"/>
                    <a:pt x="72" y="108"/>
                  </a:cubicBezTo>
                  <a:cubicBezTo>
                    <a:pt x="72" y="94"/>
                    <a:pt x="69" y="87"/>
                    <a:pt x="64" y="87"/>
                  </a:cubicBezTo>
                  <a:close/>
                  <a:moveTo>
                    <a:pt x="122" y="77"/>
                  </a:moveTo>
                  <a:cubicBezTo>
                    <a:pt x="122" y="137"/>
                    <a:pt x="122" y="137"/>
                    <a:pt x="122" y="137"/>
                  </a:cubicBezTo>
                  <a:cubicBezTo>
                    <a:pt x="109" y="137"/>
                    <a:pt x="109" y="137"/>
                    <a:pt x="109" y="137"/>
                  </a:cubicBezTo>
                  <a:cubicBezTo>
                    <a:pt x="109" y="92"/>
                    <a:pt x="109" y="92"/>
                    <a:pt x="109" y="92"/>
                  </a:cubicBezTo>
                  <a:cubicBezTo>
                    <a:pt x="108" y="92"/>
                    <a:pt x="107" y="93"/>
                    <a:pt x="106" y="93"/>
                  </a:cubicBezTo>
                  <a:cubicBezTo>
                    <a:pt x="105" y="94"/>
                    <a:pt x="104" y="94"/>
                    <a:pt x="103" y="95"/>
                  </a:cubicBezTo>
                  <a:cubicBezTo>
                    <a:pt x="102" y="95"/>
                    <a:pt x="101" y="96"/>
                    <a:pt x="100" y="96"/>
                  </a:cubicBezTo>
                  <a:cubicBezTo>
                    <a:pt x="98" y="96"/>
                    <a:pt x="97" y="97"/>
                    <a:pt x="96" y="97"/>
                  </a:cubicBezTo>
                  <a:cubicBezTo>
                    <a:pt x="96" y="86"/>
                    <a:pt x="96" y="86"/>
                    <a:pt x="96" y="86"/>
                  </a:cubicBezTo>
                  <a:cubicBezTo>
                    <a:pt x="100" y="85"/>
                    <a:pt x="103" y="84"/>
                    <a:pt x="106" y="82"/>
                  </a:cubicBezTo>
                  <a:cubicBezTo>
                    <a:pt x="109" y="81"/>
                    <a:pt x="111" y="79"/>
                    <a:pt x="114" y="77"/>
                  </a:cubicBezTo>
                  <a:lnTo>
                    <a:pt x="122" y="77"/>
                  </a:lnTo>
                  <a:close/>
                  <a:moveTo>
                    <a:pt x="159" y="138"/>
                  </a:moveTo>
                  <a:cubicBezTo>
                    <a:pt x="145" y="138"/>
                    <a:pt x="138" y="128"/>
                    <a:pt x="138" y="109"/>
                  </a:cubicBezTo>
                  <a:cubicBezTo>
                    <a:pt x="138" y="98"/>
                    <a:pt x="140" y="91"/>
                    <a:pt x="144" y="85"/>
                  </a:cubicBezTo>
                  <a:cubicBezTo>
                    <a:pt x="148" y="80"/>
                    <a:pt x="153" y="77"/>
                    <a:pt x="161" y="77"/>
                  </a:cubicBezTo>
                  <a:cubicBezTo>
                    <a:pt x="174" y="77"/>
                    <a:pt x="181" y="87"/>
                    <a:pt x="181" y="107"/>
                  </a:cubicBezTo>
                  <a:cubicBezTo>
                    <a:pt x="181" y="117"/>
                    <a:pt x="179" y="125"/>
                    <a:pt x="175" y="130"/>
                  </a:cubicBezTo>
                  <a:cubicBezTo>
                    <a:pt x="172" y="135"/>
                    <a:pt x="166" y="138"/>
                    <a:pt x="159" y="138"/>
                  </a:cubicBezTo>
                  <a:close/>
                  <a:moveTo>
                    <a:pt x="160" y="87"/>
                  </a:moveTo>
                  <a:cubicBezTo>
                    <a:pt x="154" y="87"/>
                    <a:pt x="152" y="94"/>
                    <a:pt x="152" y="108"/>
                  </a:cubicBezTo>
                  <a:cubicBezTo>
                    <a:pt x="152" y="121"/>
                    <a:pt x="154" y="128"/>
                    <a:pt x="160" y="128"/>
                  </a:cubicBezTo>
                  <a:cubicBezTo>
                    <a:pt x="165" y="128"/>
                    <a:pt x="168" y="121"/>
                    <a:pt x="168" y="108"/>
                  </a:cubicBezTo>
                  <a:cubicBezTo>
                    <a:pt x="168" y="94"/>
                    <a:pt x="165" y="87"/>
                    <a:pt x="160" y="87"/>
                  </a:cubicBezTo>
                  <a:close/>
                  <a:moveTo>
                    <a:pt x="218" y="77"/>
                  </a:moveTo>
                  <a:cubicBezTo>
                    <a:pt x="218" y="137"/>
                    <a:pt x="218" y="137"/>
                    <a:pt x="218" y="137"/>
                  </a:cubicBezTo>
                  <a:cubicBezTo>
                    <a:pt x="205" y="137"/>
                    <a:pt x="205" y="137"/>
                    <a:pt x="205" y="137"/>
                  </a:cubicBezTo>
                  <a:cubicBezTo>
                    <a:pt x="205" y="92"/>
                    <a:pt x="205" y="92"/>
                    <a:pt x="205" y="92"/>
                  </a:cubicBezTo>
                  <a:cubicBezTo>
                    <a:pt x="204" y="92"/>
                    <a:pt x="203" y="93"/>
                    <a:pt x="202" y="93"/>
                  </a:cubicBezTo>
                  <a:cubicBezTo>
                    <a:pt x="201" y="94"/>
                    <a:pt x="200" y="94"/>
                    <a:pt x="199" y="95"/>
                  </a:cubicBezTo>
                  <a:cubicBezTo>
                    <a:pt x="198" y="95"/>
                    <a:pt x="197" y="96"/>
                    <a:pt x="196" y="96"/>
                  </a:cubicBezTo>
                  <a:cubicBezTo>
                    <a:pt x="195" y="96"/>
                    <a:pt x="194" y="97"/>
                    <a:pt x="192" y="97"/>
                  </a:cubicBezTo>
                  <a:cubicBezTo>
                    <a:pt x="192" y="86"/>
                    <a:pt x="192" y="86"/>
                    <a:pt x="192" y="86"/>
                  </a:cubicBezTo>
                  <a:cubicBezTo>
                    <a:pt x="196" y="85"/>
                    <a:pt x="199" y="84"/>
                    <a:pt x="202" y="82"/>
                  </a:cubicBezTo>
                  <a:cubicBezTo>
                    <a:pt x="205" y="81"/>
                    <a:pt x="208" y="79"/>
                    <a:pt x="210" y="77"/>
                  </a:cubicBezTo>
                  <a:lnTo>
                    <a:pt x="218" y="77"/>
                  </a:lnTo>
                  <a:close/>
                  <a:moveTo>
                    <a:pt x="256" y="138"/>
                  </a:moveTo>
                  <a:cubicBezTo>
                    <a:pt x="242" y="138"/>
                    <a:pt x="235" y="128"/>
                    <a:pt x="235" y="109"/>
                  </a:cubicBezTo>
                  <a:cubicBezTo>
                    <a:pt x="235" y="98"/>
                    <a:pt x="237" y="91"/>
                    <a:pt x="240" y="85"/>
                  </a:cubicBezTo>
                  <a:cubicBezTo>
                    <a:pt x="244" y="80"/>
                    <a:pt x="250" y="77"/>
                    <a:pt x="257" y="77"/>
                  </a:cubicBezTo>
                  <a:cubicBezTo>
                    <a:pt x="270" y="77"/>
                    <a:pt x="277" y="87"/>
                    <a:pt x="277" y="107"/>
                  </a:cubicBezTo>
                  <a:cubicBezTo>
                    <a:pt x="277" y="117"/>
                    <a:pt x="275" y="125"/>
                    <a:pt x="272" y="130"/>
                  </a:cubicBezTo>
                  <a:cubicBezTo>
                    <a:pt x="268" y="135"/>
                    <a:pt x="263" y="138"/>
                    <a:pt x="256" y="138"/>
                  </a:cubicBezTo>
                  <a:close/>
                  <a:moveTo>
                    <a:pt x="256" y="87"/>
                  </a:moveTo>
                  <a:cubicBezTo>
                    <a:pt x="251" y="87"/>
                    <a:pt x="248" y="94"/>
                    <a:pt x="248" y="108"/>
                  </a:cubicBezTo>
                  <a:cubicBezTo>
                    <a:pt x="248" y="121"/>
                    <a:pt x="251" y="128"/>
                    <a:pt x="256" y="128"/>
                  </a:cubicBezTo>
                  <a:cubicBezTo>
                    <a:pt x="261" y="128"/>
                    <a:pt x="264" y="121"/>
                    <a:pt x="264" y="108"/>
                  </a:cubicBezTo>
                  <a:cubicBezTo>
                    <a:pt x="264" y="94"/>
                    <a:pt x="262" y="87"/>
                    <a:pt x="256" y="87"/>
                  </a:cubicBezTo>
                  <a:close/>
                  <a:moveTo>
                    <a:pt x="21" y="215"/>
                  </a:moveTo>
                  <a:cubicBezTo>
                    <a:pt x="7" y="215"/>
                    <a:pt x="0" y="205"/>
                    <a:pt x="0" y="185"/>
                  </a:cubicBezTo>
                  <a:cubicBezTo>
                    <a:pt x="0" y="175"/>
                    <a:pt x="2" y="167"/>
                    <a:pt x="6" y="162"/>
                  </a:cubicBezTo>
                  <a:cubicBezTo>
                    <a:pt x="9" y="157"/>
                    <a:pt x="15" y="154"/>
                    <a:pt x="22" y="154"/>
                  </a:cubicBezTo>
                  <a:cubicBezTo>
                    <a:pt x="36" y="154"/>
                    <a:pt x="43" y="164"/>
                    <a:pt x="43" y="184"/>
                  </a:cubicBezTo>
                  <a:cubicBezTo>
                    <a:pt x="43" y="194"/>
                    <a:pt x="41" y="201"/>
                    <a:pt x="37" y="207"/>
                  </a:cubicBezTo>
                  <a:cubicBezTo>
                    <a:pt x="33" y="212"/>
                    <a:pt x="28" y="215"/>
                    <a:pt x="21" y="215"/>
                  </a:cubicBezTo>
                  <a:close/>
                  <a:moveTo>
                    <a:pt x="22" y="164"/>
                  </a:moveTo>
                  <a:cubicBezTo>
                    <a:pt x="16" y="164"/>
                    <a:pt x="13" y="171"/>
                    <a:pt x="13" y="185"/>
                  </a:cubicBezTo>
                  <a:cubicBezTo>
                    <a:pt x="13" y="198"/>
                    <a:pt x="16" y="205"/>
                    <a:pt x="21" y="205"/>
                  </a:cubicBezTo>
                  <a:cubicBezTo>
                    <a:pt x="27" y="205"/>
                    <a:pt x="29" y="198"/>
                    <a:pt x="29" y="184"/>
                  </a:cubicBezTo>
                  <a:cubicBezTo>
                    <a:pt x="29" y="171"/>
                    <a:pt x="27" y="164"/>
                    <a:pt x="22" y="164"/>
                  </a:cubicBezTo>
                  <a:close/>
                  <a:moveTo>
                    <a:pt x="79" y="154"/>
                  </a:moveTo>
                  <a:cubicBezTo>
                    <a:pt x="79" y="214"/>
                    <a:pt x="79" y="214"/>
                    <a:pt x="79" y="214"/>
                  </a:cubicBezTo>
                  <a:cubicBezTo>
                    <a:pt x="66" y="214"/>
                    <a:pt x="66" y="214"/>
                    <a:pt x="66" y="214"/>
                  </a:cubicBezTo>
                  <a:cubicBezTo>
                    <a:pt x="66" y="168"/>
                    <a:pt x="66" y="168"/>
                    <a:pt x="66" y="168"/>
                  </a:cubicBezTo>
                  <a:cubicBezTo>
                    <a:pt x="66" y="169"/>
                    <a:pt x="65" y="170"/>
                    <a:pt x="64" y="170"/>
                  </a:cubicBezTo>
                  <a:cubicBezTo>
                    <a:pt x="63" y="171"/>
                    <a:pt x="62" y="171"/>
                    <a:pt x="61" y="172"/>
                  </a:cubicBezTo>
                  <a:cubicBezTo>
                    <a:pt x="60" y="172"/>
                    <a:pt x="59" y="172"/>
                    <a:pt x="57" y="173"/>
                  </a:cubicBezTo>
                  <a:cubicBezTo>
                    <a:pt x="56" y="173"/>
                    <a:pt x="55" y="173"/>
                    <a:pt x="54" y="173"/>
                  </a:cubicBezTo>
                  <a:cubicBezTo>
                    <a:pt x="54" y="163"/>
                    <a:pt x="54" y="163"/>
                    <a:pt x="54" y="163"/>
                  </a:cubicBezTo>
                  <a:cubicBezTo>
                    <a:pt x="57" y="162"/>
                    <a:pt x="61" y="160"/>
                    <a:pt x="64" y="159"/>
                  </a:cubicBezTo>
                  <a:cubicBezTo>
                    <a:pt x="66" y="157"/>
                    <a:pt x="69" y="156"/>
                    <a:pt x="72" y="154"/>
                  </a:cubicBezTo>
                  <a:lnTo>
                    <a:pt x="79" y="154"/>
                  </a:lnTo>
                  <a:close/>
                  <a:moveTo>
                    <a:pt x="117" y="215"/>
                  </a:moveTo>
                  <a:cubicBezTo>
                    <a:pt x="103" y="215"/>
                    <a:pt x="96" y="205"/>
                    <a:pt x="96" y="185"/>
                  </a:cubicBezTo>
                  <a:cubicBezTo>
                    <a:pt x="96" y="175"/>
                    <a:pt x="98" y="167"/>
                    <a:pt x="102" y="162"/>
                  </a:cubicBezTo>
                  <a:cubicBezTo>
                    <a:pt x="106" y="157"/>
                    <a:pt x="111" y="154"/>
                    <a:pt x="118" y="154"/>
                  </a:cubicBezTo>
                  <a:cubicBezTo>
                    <a:pt x="132" y="154"/>
                    <a:pt x="139" y="164"/>
                    <a:pt x="139" y="184"/>
                  </a:cubicBezTo>
                  <a:cubicBezTo>
                    <a:pt x="139" y="194"/>
                    <a:pt x="137" y="201"/>
                    <a:pt x="133" y="207"/>
                  </a:cubicBezTo>
                  <a:cubicBezTo>
                    <a:pt x="130" y="212"/>
                    <a:pt x="124" y="215"/>
                    <a:pt x="117" y="215"/>
                  </a:cubicBezTo>
                  <a:close/>
                  <a:moveTo>
                    <a:pt x="118" y="164"/>
                  </a:moveTo>
                  <a:cubicBezTo>
                    <a:pt x="112" y="164"/>
                    <a:pt x="109" y="171"/>
                    <a:pt x="109" y="185"/>
                  </a:cubicBezTo>
                  <a:cubicBezTo>
                    <a:pt x="109" y="198"/>
                    <a:pt x="112" y="205"/>
                    <a:pt x="118" y="205"/>
                  </a:cubicBezTo>
                  <a:cubicBezTo>
                    <a:pt x="123" y="205"/>
                    <a:pt x="126" y="198"/>
                    <a:pt x="126" y="184"/>
                  </a:cubicBezTo>
                  <a:cubicBezTo>
                    <a:pt x="126" y="171"/>
                    <a:pt x="123" y="164"/>
                    <a:pt x="118" y="164"/>
                  </a:cubicBezTo>
                  <a:close/>
                  <a:moveTo>
                    <a:pt x="176" y="154"/>
                  </a:moveTo>
                  <a:cubicBezTo>
                    <a:pt x="176" y="214"/>
                    <a:pt x="176" y="214"/>
                    <a:pt x="176" y="214"/>
                  </a:cubicBezTo>
                  <a:cubicBezTo>
                    <a:pt x="163" y="214"/>
                    <a:pt x="163" y="214"/>
                    <a:pt x="163" y="214"/>
                  </a:cubicBezTo>
                  <a:cubicBezTo>
                    <a:pt x="163" y="168"/>
                    <a:pt x="163" y="168"/>
                    <a:pt x="163" y="168"/>
                  </a:cubicBezTo>
                  <a:cubicBezTo>
                    <a:pt x="162" y="169"/>
                    <a:pt x="161" y="170"/>
                    <a:pt x="160" y="170"/>
                  </a:cubicBezTo>
                  <a:cubicBezTo>
                    <a:pt x="159" y="171"/>
                    <a:pt x="158" y="171"/>
                    <a:pt x="157" y="172"/>
                  </a:cubicBezTo>
                  <a:cubicBezTo>
                    <a:pt x="156" y="172"/>
                    <a:pt x="155" y="172"/>
                    <a:pt x="154" y="173"/>
                  </a:cubicBezTo>
                  <a:cubicBezTo>
                    <a:pt x="153" y="173"/>
                    <a:pt x="151" y="173"/>
                    <a:pt x="150" y="173"/>
                  </a:cubicBezTo>
                  <a:cubicBezTo>
                    <a:pt x="150" y="163"/>
                    <a:pt x="150" y="163"/>
                    <a:pt x="150" y="163"/>
                  </a:cubicBezTo>
                  <a:cubicBezTo>
                    <a:pt x="154" y="162"/>
                    <a:pt x="157" y="160"/>
                    <a:pt x="160" y="159"/>
                  </a:cubicBezTo>
                  <a:cubicBezTo>
                    <a:pt x="163" y="157"/>
                    <a:pt x="165" y="156"/>
                    <a:pt x="168" y="154"/>
                  </a:cubicBezTo>
                  <a:lnTo>
                    <a:pt x="176" y="154"/>
                  </a:lnTo>
                  <a:close/>
                  <a:moveTo>
                    <a:pt x="214" y="215"/>
                  </a:moveTo>
                  <a:cubicBezTo>
                    <a:pt x="200" y="215"/>
                    <a:pt x="193" y="205"/>
                    <a:pt x="193" y="185"/>
                  </a:cubicBezTo>
                  <a:cubicBezTo>
                    <a:pt x="193" y="175"/>
                    <a:pt x="195" y="167"/>
                    <a:pt x="198" y="162"/>
                  </a:cubicBezTo>
                  <a:cubicBezTo>
                    <a:pt x="202" y="157"/>
                    <a:pt x="208" y="154"/>
                    <a:pt x="215" y="154"/>
                  </a:cubicBezTo>
                  <a:cubicBezTo>
                    <a:pt x="228" y="154"/>
                    <a:pt x="235" y="164"/>
                    <a:pt x="235" y="184"/>
                  </a:cubicBezTo>
                  <a:cubicBezTo>
                    <a:pt x="235" y="194"/>
                    <a:pt x="233" y="201"/>
                    <a:pt x="230" y="207"/>
                  </a:cubicBezTo>
                  <a:cubicBezTo>
                    <a:pt x="226" y="212"/>
                    <a:pt x="221" y="215"/>
                    <a:pt x="214" y="215"/>
                  </a:cubicBezTo>
                  <a:close/>
                  <a:moveTo>
                    <a:pt x="214" y="164"/>
                  </a:moveTo>
                  <a:cubicBezTo>
                    <a:pt x="209" y="164"/>
                    <a:pt x="206" y="171"/>
                    <a:pt x="206" y="185"/>
                  </a:cubicBezTo>
                  <a:cubicBezTo>
                    <a:pt x="206" y="198"/>
                    <a:pt x="209" y="205"/>
                    <a:pt x="214" y="205"/>
                  </a:cubicBezTo>
                  <a:cubicBezTo>
                    <a:pt x="219" y="205"/>
                    <a:pt x="222" y="198"/>
                    <a:pt x="222" y="184"/>
                  </a:cubicBezTo>
                  <a:cubicBezTo>
                    <a:pt x="222" y="171"/>
                    <a:pt x="219" y="164"/>
                    <a:pt x="214" y="164"/>
                  </a:cubicBezTo>
                  <a:close/>
                  <a:moveTo>
                    <a:pt x="272" y="154"/>
                  </a:moveTo>
                  <a:cubicBezTo>
                    <a:pt x="272" y="214"/>
                    <a:pt x="272" y="214"/>
                    <a:pt x="272" y="214"/>
                  </a:cubicBezTo>
                  <a:cubicBezTo>
                    <a:pt x="259" y="214"/>
                    <a:pt x="259" y="214"/>
                    <a:pt x="259" y="214"/>
                  </a:cubicBezTo>
                  <a:cubicBezTo>
                    <a:pt x="259" y="168"/>
                    <a:pt x="259" y="168"/>
                    <a:pt x="259" y="168"/>
                  </a:cubicBezTo>
                  <a:cubicBezTo>
                    <a:pt x="258" y="169"/>
                    <a:pt x="258" y="170"/>
                    <a:pt x="257" y="170"/>
                  </a:cubicBezTo>
                  <a:cubicBezTo>
                    <a:pt x="256" y="171"/>
                    <a:pt x="255" y="171"/>
                    <a:pt x="254" y="172"/>
                  </a:cubicBezTo>
                  <a:cubicBezTo>
                    <a:pt x="252" y="172"/>
                    <a:pt x="251" y="172"/>
                    <a:pt x="250" y="173"/>
                  </a:cubicBezTo>
                  <a:cubicBezTo>
                    <a:pt x="249" y="173"/>
                    <a:pt x="248" y="173"/>
                    <a:pt x="247" y="173"/>
                  </a:cubicBezTo>
                  <a:cubicBezTo>
                    <a:pt x="247" y="163"/>
                    <a:pt x="247" y="163"/>
                    <a:pt x="247" y="163"/>
                  </a:cubicBezTo>
                  <a:cubicBezTo>
                    <a:pt x="250" y="162"/>
                    <a:pt x="253" y="160"/>
                    <a:pt x="256" y="159"/>
                  </a:cubicBezTo>
                  <a:cubicBezTo>
                    <a:pt x="259" y="157"/>
                    <a:pt x="262" y="156"/>
                    <a:pt x="264" y="154"/>
                  </a:cubicBezTo>
                  <a:lnTo>
                    <a:pt x="272" y="154"/>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62" name="Freeform 61"/>
            <p:cNvSpPr>
              <a:spLocks noChangeAspect="1"/>
            </p:cNvSpPr>
            <p:nvPr/>
          </p:nvSpPr>
          <p:spPr bwMode="black">
            <a:xfrm>
              <a:off x="810855" y="2476645"/>
              <a:ext cx="373866" cy="260946"/>
            </a:xfrm>
            <a:custGeom>
              <a:avLst/>
              <a:gdLst>
                <a:gd name="connsiteX0" fmla="*/ 541228 w 979570"/>
                <a:gd name="connsiteY0" fmla="*/ 531962 h 887227"/>
                <a:gd name="connsiteX1" fmla="*/ 547155 w 979570"/>
                <a:gd name="connsiteY1" fmla="*/ 538150 h 887227"/>
                <a:gd name="connsiteX2" fmla="*/ 760399 w 979570"/>
                <a:gd name="connsiteY2" fmla="*/ 601984 h 887227"/>
                <a:gd name="connsiteX3" fmla="*/ 973643 w 979570"/>
                <a:gd name="connsiteY3" fmla="*/ 538150 h 887227"/>
                <a:gd name="connsiteX4" fmla="*/ 979570 w 979570"/>
                <a:gd name="connsiteY4" fmla="*/ 531962 h 887227"/>
                <a:gd name="connsiteX5" fmla="*/ 979570 w 979570"/>
                <a:gd name="connsiteY5" fmla="*/ 776991 h 887227"/>
                <a:gd name="connsiteX6" fmla="*/ 979570 w 979570"/>
                <a:gd name="connsiteY6" fmla="*/ 776993 h 887227"/>
                <a:gd name="connsiteX7" fmla="*/ 760399 w 979570"/>
                <a:gd name="connsiteY7" fmla="*/ 887227 h 887227"/>
                <a:gd name="connsiteX8" fmla="*/ 541228 w 979570"/>
                <a:gd name="connsiteY8" fmla="*/ 776993 h 887227"/>
                <a:gd name="connsiteX9" fmla="*/ 541228 w 979570"/>
                <a:gd name="connsiteY9" fmla="*/ 776993 h 887227"/>
                <a:gd name="connsiteX10" fmla="*/ 0 w 979570"/>
                <a:gd name="connsiteY10" fmla="*/ 531962 h 887227"/>
                <a:gd name="connsiteX11" fmla="*/ 5927 w 979570"/>
                <a:gd name="connsiteY11" fmla="*/ 538150 h 887227"/>
                <a:gd name="connsiteX12" fmla="*/ 219171 w 979570"/>
                <a:gd name="connsiteY12" fmla="*/ 601984 h 887227"/>
                <a:gd name="connsiteX13" fmla="*/ 432415 w 979570"/>
                <a:gd name="connsiteY13" fmla="*/ 538150 h 887227"/>
                <a:gd name="connsiteX14" fmla="*/ 438342 w 979570"/>
                <a:gd name="connsiteY14" fmla="*/ 531962 h 887227"/>
                <a:gd name="connsiteX15" fmla="*/ 438342 w 979570"/>
                <a:gd name="connsiteY15" fmla="*/ 776991 h 887227"/>
                <a:gd name="connsiteX16" fmla="*/ 438342 w 979570"/>
                <a:gd name="connsiteY16" fmla="*/ 776993 h 887227"/>
                <a:gd name="connsiteX17" fmla="*/ 219171 w 979570"/>
                <a:gd name="connsiteY17" fmla="*/ 887227 h 887227"/>
                <a:gd name="connsiteX18" fmla="*/ 0 w 979570"/>
                <a:gd name="connsiteY18" fmla="*/ 776993 h 887227"/>
                <a:gd name="connsiteX19" fmla="*/ 0 w 979570"/>
                <a:gd name="connsiteY19" fmla="*/ 776993 h 887227"/>
                <a:gd name="connsiteX20" fmla="*/ 760036 w 979570"/>
                <a:gd name="connsiteY20" fmla="*/ 322411 h 887227"/>
                <a:gd name="connsiteX21" fmla="*/ 978844 w 979570"/>
                <a:gd name="connsiteY21" fmla="*/ 444386 h 887227"/>
                <a:gd name="connsiteX22" fmla="*/ 760036 w 979570"/>
                <a:gd name="connsiteY22" fmla="*/ 566361 h 887227"/>
                <a:gd name="connsiteX23" fmla="*/ 541228 w 979570"/>
                <a:gd name="connsiteY23" fmla="*/ 444386 h 887227"/>
                <a:gd name="connsiteX24" fmla="*/ 760036 w 979570"/>
                <a:gd name="connsiteY24" fmla="*/ 322411 h 887227"/>
                <a:gd name="connsiteX25" fmla="*/ 0 w 979570"/>
                <a:gd name="connsiteY25" fmla="*/ 209552 h 887227"/>
                <a:gd name="connsiteX26" fmla="*/ 5927 w 979570"/>
                <a:gd name="connsiteY26" fmla="*/ 215739 h 887227"/>
                <a:gd name="connsiteX27" fmla="*/ 219171 w 979570"/>
                <a:gd name="connsiteY27" fmla="*/ 279574 h 887227"/>
                <a:gd name="connsiteX28" fmla="*/ 432415 w 979570"/>
                <a:gd name="connsiteY28" fmla="*/ 215739 h 887227"/>
                <a:gd name="connsiteX29" fmla="*/ 438342 w 979570"/>
                <a:gd name="connsiteY29" fmla="*/ 209552 h 887227"/>
                <a:gd name="connsiteX30" fmla="*/ 438342 w 979570"/>
                <a:gd name="connsiteY30" fmla="*/ 454580 h 887227"/>
                <a:gd name="connsiteX31" fmla="*/ 438342 w 979570"/>
                <a:gd name="connsiteY31" fmla="*/ 454583 h 887227"/>
                <a:gd name="connsiteX32" fmla="*/ 219171 w 979570"/>
                <a:gd name="connsiteY32" fmla="*/ 564817 h 887227"/>
                <a:gd name="connsiteX33" fmla="*/ 0 w 979570"/>
                <a:gd name="connsiteY33" fmla="*/ 454583 h 887227"/>
                <a:gd name="connsiteX34" fmla="*/ 0 w 979570"/>
                <a:gd name="connsiteY34" fmla="*/ 454582 h 887227"/>
                <a:gd name="connsiteX35" fmla="*/ 218808 w 979570"/>
                <a:gd name="connsiteY35" fmla="*/ 0 h 887227"/>
                <a:gd name="connsiteX36" fmla="*/ 437616 w 979570"/>
                <a:gd name="connsiteY36" fmla="*/ 121975 h 887227"/>
                <a:gd name="connsiteX37" fmla="*/ 218808 w 979570"/>
                <a:gd name="connsiteY37" fmla="*/ 243950 h 887227"/>
                <a:gd name="connsiteX38" fmla="*/ 0 w 979570"/>
                <a:gd name="connsiteY38" fmla="*/ 121975 h 887227"/>
                <a:gd name="connsiteX39" fmla="*/ 218808 w 979570"/>
                <a:gd name="connsiteY39" fmla="*/ 0 h 8872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979570" h="887227">
                  <a:moveTo>
                    <a:pt x="541228" y="531962"/>
                  </a:moveTo>
                  <a:lnTo>
                    <a:pt x="547155" y="538150"/>
                  </a:lnTo>
                  <a:cubicBezTo>
                    <a:pt x="588222" y="576173"/>
                    <a:pt x="668317" y="601984"/>
                    <a:pt x="760399" y="601984"/>
                  </a:cubicBezTo>
                  <a:cubicBezTo>
                    <a:pt x="852481" y="601984"/>
                    <a:pt x="932576" y="576173"/>
                    <a:pt x="973643" y="538150"/>
                  </a:cubicBezTo>
                  <a:lnTo>
                    <a:pt x="979570" y="531962"/>
                  </a:lnTo>
                  <a:lnTo>
                    <a:pt x="979570" y="776991"/>
                  </a:lnTo>
                  <a:lnTo>
                    <a:pt x="979570" y="776993"/>
                  </a:lnTo>
                  <a:cubicBezTo>
                    <a:pt x="979570" y="837874"/>
                    <a:pt x="881444" y="887227"/>
                    <a:pt x="760399" y="887227"/>
                  </a:cubicBezTo>
                  <a:cubicBezTo>
                    <a:pt x="639354" y="887227"/>
                    <a:pt x="541228" y="837874"/>
                    <a:pt x="541228" y="776993"/>
                  </a:cubicBezTo>
                  <a:lnTo>
                    <a:pt x="541228" y="776993"/>
                  </a:lnTo>
                  <a:close/>
                  <a:moveTo>
                    <a:pt x="0" y="531962"/>
                  </a:moveTo>
                  <a:lnTo>
                    <a:pt x="5927" y="538150"/>
                  </a:lnTo>
                  <a:cubicBezTo>
                    <a:pt x="46994" y="576173"/>
                    <a:pt x="127089" y="601984"/>
                    <a:pt x="219171" y="601984"/>
                  </a:cubicBezTo>
                  <a:cubicBezTo>
                    <a:pt x="311253" y="601984"/>
                    <a:pt x="391348" y="576173"/>
                    <a:pt x="432415" y="538150"/>
                  </a:cubicBezTo>
                  <a:lnTo>
                    <a:pt x="438342" y="531962"/>
                  </a:lnTo>
                  <a:lnTo>
                    <a:pt x="438342" y="776991"/>
                  </a:lnTo>
                  <a:lnTo>
                    <a:pt x="438342" y="776993"/>
                  </a:lnTo>
                  <a:cubicBezTo>
                    <a:pt x="438342" y="837874"/>
                    <a:pt x="340216" y="887227"/>
                    <a:pt x="219171" y="887227"/>
                  </a:cubicBezTo>
                  <a:cubicBezTo>
                    <a:pt x="98126" y="887227"/>
                    <a:pt x="0" y="837874"/>
                    <a:pt x="0" y="776993"/>
                  </a:cubicBezTo>
                  <a:lnTo>
                    <a:pt x="0" y="776993"/>
                  </a:lnTo>
                  <a:close/>
                  <a:moveTo>
                    <a:pt x="760036" y="322411"/>
                  </a:moveTo>
                  <a:cubicBezTo>
                    <a:pt x="880880" y="322411"/>
                    <a:pt x="978844" y="377021"/>
                    <a:pt x="978844" y="444386"/>
                  </a:cubicBezTo>
                  <a:cubicBezTo>
                    <a:pt x="978844" y="511751"/>
                    <a:pt x="880880" y="566361"/>
                    <a:pt x="760036" y="566361"/>
                  </a:cubicBezTo>
                  <a:cubicBezTo>
                    <a:pt x="639192" y="566361"/>
                    <a:pt x="541228" y="511751"/>
                    <a:pt x="541228" y="444386"/>
                  </a:cubicBezTo>
                  <a:cubicBezTo>
                    <a:pt x="541228" y="377021"/>
                    <a:pt x="639192" y="322411"/>
                    <a:pt x="760036" y="322411"/>
                  </a:cubicBezTo>
                  <a:close/>
                  <a:moveTo>
                    <a:pt x="0" y="209552"/>
                  </a:moveTo>
                  <a:lnTo>
                    <a:pt x="5927" y="215739"/>
                  </a:lnTo>
                  <a:cubicBezTo>
                    <a:pt x="46994" y="253762"/>
                    <a:pt x="127089" y="279574"/>
                    <a:pt x="219171" y="279574"/>
                  </a:cubicBezTo>
                  <a:cubicBezTo>
                    <a:pt x="311253" y="279574"/>
                    <a:pt x="391348" y="253762"/>
                    <a:pt x="432415" y="215739"/>
                  </a:cubicBezTo>
                  <a:lnTo>
                    <a:pt x="438342" y="209552"/>
                  </a:lnTo>
                  <a:lnTo>
                    <a:pt x="438342" y="454580"/>
                  </a:lnTo>
                  <a:lnTo>
                    <a:pt x="438342" y="454583"/>
                  </a:lnTo>
                  <a:cubicBezTo>
                    <a:pt x="438342" y="515463"/>
                    <a:pt x="340216" y="564817"/>
                    <a:pt x="219171" y="564817"/>
                  </a:cubicBezTo>
                  <a:cubicBezTo>
                    <a:pt x="98126" y="564817"/>
                    <a:pt x="0" y="515463"/>
                    <a:pt x="0" y="454583"/>
                  </a:cubicBezTo>
                  <a:lnTo>
                    <a:pt x="0" y="454582"/>
                  </a:lnTo>
                  <a:close/>
                  <a:moveTo>
                    <a:pt x="218808" y="0"/>
                  </a:moveTo>
                  <a:cubicBezTo>
                    <a:pt x="339652" y="0"/>
                    <a:pt x="437616" y="54610"/>
                    <a:pt x="437616" y="121975"/>
                  </a:cubicBezTo>
                  <a:cubicBezTo>
                    <a:pt x="437616" y="189340"/>
                    <a:pt x="339652" y="243950"/>
                    <a:pt x="218808" y="243950"/>
                  </a:cubicBezTo>
                  <a:cubicBezTo>
                    <a:pt x="97964" y="243950"/>
                    <a:pt x="0" y="189340"/>
                    <a:pt x="0" y="121975"/>
                  </a:cubicBezTo>
                  <a:cubicBezTo>
                    <a:pt x="0" y="54610"/>
                    <a:pt x="97964" y="0"/>
                    <a:pt x="218808"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8" tIns="109719" rIns="137148" bIns="109719" numCol="1" spcCol="0" rtlCol="0" fromWordArt="0" anchor="t" anchorCtr="0" forceAA="0" compatLnSpc="1">
              <a:prstTxWarp prst="textNoShape">
                <a:avLst/>
              </a:prstTxWarp>
              <a:noAutofit/>
            </a:bodyPr>
            <a:lstStyle/>
            <a:p>
              <a:pPr algn="ctr" defTabSz="699261" fontAlgn="base">
                <a:lnSpc>
                  <a:spcPct val="90000"/>
                </a:lnSpc>
                <a:spcBef>
                  <a:spcPct val="0"/>
                </a:spcBef>
                <a:spcAft>
                  <a:spcPct val="0"/>
                </a:spcAft>
              </a:pPr>
              <a:endParaRPr lang="en-US">
                <a:gradFill>
                  <a:gsLst>
                    <a:gs pos="0">
                      <a:srgbClr val="FFFFFF"/>
                    </a:gs>
                    <a:gs pos="100000">
                      <a:srgbClr val="FFFFFF"/>
                    </a:gs>
                  </a:gsLst>
                  <a:lin ang="5400000" scaled="0"/>
                </a:gradFill>
                <a:ea typeface="Segoe UI" pitchFamily="34" charset="0"/>
                <a:cs typeface="Segoe UI" pitchFamily="34" charset="0"/>
              </a:endParaRPr>
            </a:p>
          </p:txBody>
        </p:sp>
      </p:grpSp>
      <p:grpSp>
        <p:nvGrpSpPr>
          <p:cNvPr id="63" name="Group 62"/>
          <p:cNvGrpSpPr>
            <a:grpSpLocks noChangeAspect="1"/>
          </p:cNvGrpSpPr>
          <p:nvPr/>
        </p:nvGrpSpPr>
        <p:grpSpPr>
          <a:xfrm>
            <a:off x="197042" y="2842214"/>
            <a:ext cx="457200" cy="457200"/>
            <a:chOff x="719415" y="3138080"/>
            <a:chExt cx="640080" cy="640080"/>
          </a:xfrm>
        </p:grpSpPr>
        <p:pic>
          <p:nvPicPr>
            <p:cNvPr id="64" name="Picture 6" descr="\\MAGNUM\Projects\Microsoft\Cloud Power FY12\Design\ICONS_PNG\Cloud.png"/>
            <p:cNvPicPr>
              <a:picLocks noChangeAspect="1" noChangeArrowheads="1"/>
            </p:cNvPicPr>
            <p:nvPr/>
          </p:nvPicPr>
          <p:blipFill>
            <a:blip r:embed="rId3" cstate="print">
              <a:biLevel thresh="75000"/>
            </a:blip>
            <a:srcRect/>
            <a:stretch>
              <a:fillRect/>
            </a:stretch>
          </p:blipFill>
          <p:spPr bwMode="auto">
            <a:xfrm>
              <a:off x="719415" y="3138080"/>
              <a:ext cx="640080" cy="640080"/>
            </a:xfrm>
            <a:prstGeom prst="rect">
              <a:avLst/>
            </a:prstGeom>
            <a:noFill/>
          </p:spPr>
        </p:pic>
        <p:pic>
          <p:nvPicPr>
            <p:cNvPr id="68" name="Picture 67"/>
            <p:cNvPicPr>
              <a:picLocks noChangeAspect="1"/>
            </p:cNvPicPr>
            <p:nvPr/>
          </p:nvPicPr>
          <p:blipFill>
            <a:blip r:embed="rId4"/>
            <a:stretch>
              <a:fillRect/>
            </a:stretch>
          </p:blipFill>
          <p:spPr>
            <a:xfrm flipH="1">
              <a:off x="975955" y="3370303"/>
              <a:ext cx="127000" cy="175846"/>
            </a:xfrm>
            <a:prstGeom prst="rect">
              <a:avLst/>
            </a:prstGeom>
          </p:spPr>
        </p:pic>
      </p:grpSp>
      <p:sp>
        <p:nvSpPr>
          <p:cNvPr id="69" name="Freeform 122"/>
          <p:cNvSpPr>
            <a:spLocks noChangeAspect="1"/>
          </p:cNvSpPr>
          <p:nvPr/>
        </p:nvSpPr>
        <p:spPr bwMode="black">
          <a:xfrm>
            <a:off x="266989" y="4843626"/>
            <a:ext cx="317305" cy="320040"/>
          </a:xfrm>
          <a:custGeom>
            <a:avLst/>
            <a:gdLst>
              <a:gd name="T0" fmla="*/ 61 w 70"/>
              <a:gd name="T1" fmla="*/ 11 h 71"/>
              <a:gd name="T2" fmla="*/ 60 w 70"/>
              <a:gd name="T3" fmla="*/ 11 h 71"/>
              <a:gd name="T4" fmla="*/ 53 w 70"/>
              <a:gd name="T5" fmla="*/ 18 h 71"/>
              <a:gd name="T6" fmla="*/ 53 w 70"/>
              <a:gd name="T7" fmla="*/ 19 h 71"/>
              <a:gd name="T8" fmla="*/ 53 w 70"/>
              <a:gd name="T9" fmla="*/ 19 h 71"/>
              <a:gd name="T10" fmla="*/ 60 w 70"/>
              <a:gd name="T11" fmla="*/ 35 h 71"/>
              <a:gd name="T12" fmla="*/ 35 w 70"/>
              <a:gd name="T13" fmla="*/ 60 h 71"/>
              <a:gd name="T14" fmla="*/ 10 w 70"/>
              <a:gd name="T15" fmla="*/ 36 h 71"/>
              <a:gd name="T16" fmla="*/ 16 w 70"/>
              <a:gd name="T17" fmla="*/ 21 h 71"/>
              <a:gd name="T18" fmla="*/ 18 w 70"/>
              <a:gd name="T19" fmla="*/ 18 h 71"/>
              <a:gd name="T20" fmla="*/ 25 w 70"/>
              <a:gd name="T21" fmla="*/ 26 h 71"/>
              <a:gd name="T22" fmla="*/ 30 w 70"/>
              <a:gd name="T23" fmla="*/ 0 h 71"/>
              <a:gd name="T24" fmla="*/ 4 w 70"/>
              <a:gd name="T25" fmla="*/ 2 h 71"/>
              <a:gd name="T26" fmla="*/ 11 w 70"/>
              <a:gd name="T27" fmla="*/ 10 h 71"/>
              <a:gd name="T28" fmla="*/ 9 w 70"/>
              <a:gd name="T29" fmla="*/ 12 h 71"/>
              <a:gd name="T30" fmla="*/ 0 w 70"/>
              <a:gd name="T31" fmla="*/ 36 h 71"/>
              <a:gd name="T32" fmla="*/ 35 w 70"/>
              <a:gd name="T33" fmla="*/ 71 h 71"/>
              <a:gd name="T34" fmla="*/ 35 w 70"/>
              <a:gd name="T35" fmla="*/ 71 h 71"/>
              <a:gd name="T36" fmla="*/ 70 w 70"/>
              <a:gd name="T37" fmla="*/ 35 h 71"/>
              <a:gd name="T38" fmla="*/ 61 w 70"/>
              <a:gd name="T39" fmla="*/ 1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0" h="71">
                <a:moveTo>
                  <a:pt x="61" y="11"/>
                </a:moveTo>
                <a:cubicBezTo>
                  <a:pt x="60" y="11"/>
                  <a:pt x="60" y="11"/>
                  <a:pt x="60" y="11"/>
                </a:cubicBezTo>
                <a:cubicBezTo>
                  <a:pt x="53" y="18"/>
                  <a:pt x="53" y="18"/>
                  <a:pt x="53" y="18"/>
                </a:cubicBezTo>
                <a:cubicBezTo>
                  <a:pt x="53" y="19"/>
                  <a:pt x="53" y="19"/>
                  <a:pt x="53" y="19"/>
                </a:cubicBezTo>
                <a:cubicBezTo>
                  <a:pt x="53" y="19"/>
                  <a:pt x="53" y="19"/>
                  <a:pt x="53" y="19"/>
                </a:cubicBezTo>
                <a:cubicBezTo>
                  <a:pt x="57" y="23"/>
                  <a:pt x="60" y="29"/>
                  <a:pt x="60" y="35"/>
                </a:cubicBezTo>
                <a:cubicBezTo>
                  <a:pt x="60" y="49"/>
                  <a:pt x="49" y="60"/>
                  <a:pt x="35" y="60"/>
                </a:cubicBezTo>
                <a:cubicBezTo>
                  <a:pt x="22" y="60"/>
                  <a:pt x="11" y="49"/>
                  <a:pt x="10" y="36"/>
                </a:cubicBezTo>
                <a:cubicBezTo>
                  <a:pt x="10" y="30"/>
                  <a:pt x="12" y="25"/>
                  <a:pt x="16" y="21"/>
                </a:cubicBezTo>
                <a:cubicBezTo>
                  <a:pt x="18" y="18"/>
                  <a:pt x="18" y="18"/>
                  <a:pt x="18" y="18"/>
                </a:cubicBezTo>
                <a:cubicBezTo>
                  <a:pt x="25" y="26"/>
                  <a:pt x="25" y="26"/>
                  <a:pt x="25" y="26"/>
                </a:cubicBezTo>
                <a:cubicBezTo>
                  <a:pt x="30" y="0"/>
                  <a:pt x="30" y="0"/>
                  <a:pt x="30" y="0"/>
                </a:cubicBezTo>
                <a:cubicBezTo>
                  <a:pt x="4" y="2"/>
                  <a:pt x="4" y="2"/>
                  <a:pt x="4" y="2"/>
                </a:cubicBezTo>
                <a:cubicBezTo>
                  <a:pt x="11" y="10"/>
                  <a:pt x="11" y="10"/>
                  <a:pt x="11" y="10"/>
                </a:cubicBezTo>
                <a:cubicBezTo>
                  <a:pt x="9" y="12"/>
                  <a:pt x="9" y="12"/>
                  <a:pt x="9" y="12"/>
                </a:cubicBezTo>
                <a:cubicBezTo>
                  <a:pt x="3" y="19"/>
                  <a:pt x="0" y="27"/>
                  <a:pt x="0" y="36"/>
                </a:cubicBezTo>
                <a:cubicBezTo>
                  <a:pt x="0" y="55"/>
                  <a:pt x="16" y="71"/>
                  <a:pt x="35" y="71"/>
                </a:cubicBezTo>
                <a:cubicBezTo>
                  <a:pt x="35" y="71"/>
                  <a:pt x="35" y="71"/>
                  <a:pt x="35" y="71"/>
                </a:cubicBezTo>
                <a:cubicBezTo>
                  <a:pt x="55" y="71"/>
                  <a:pt x="70" y="55"/>
                  <a:pt x="70" y="35"/>
                </a:cubicBezTo>
                <a:cubicBezTo>
                  <a:pt x="70" y="26"/>
                  <a:pt x="67" y="18"/>
                  <a:pt x="61" y="11"/>
                </a:cubicBezTo>
              </a:path>
            </a:pathLst>
          </a:custGeom>
          <a:solidFill>
            <a:schemeClr val="tx1"/>
          </a:solidFill>
          <a:ln>
            <a:noFill/>
          </a:ln>
        </p:spPr>
        <p:txBody>
          <a:bodyPr vert="horz" wrap="square" lIns="69953" tIns="34976" rIns="69953" bIns="34976" numCol="1" anchor="t" anchorCtr="0" compatLnSpc="1">
            <a:prstTxWarp prst="textNoShape">
              <a:avLst/>
            </a:prstTxWarp>
          </a:bodyPr>
          <a:lstStyle/>
          <a:p>
            <a:endParaRPr lang="en-US" sz="1350">
              <a:solidFill>
                <a:srgbClr val="000000"/>
              </a:solidFill>
            </a:endParaRPr>
          </a:p>
        </p:txBody>
      </p:sp>
      <p:sp>
        <p:nvSpPr>
          <p:cNvPr id="70" name="Freeform 21"/>
          <p:cNvSpPr>
            <a:spLocks noChangeAspect="1" noEditPoints="1"/>
          </p:cNvSpPr>
          <p:nvPr/>
        </p:nvSpPr>
        <p:spPr bwMode="black">
          <a:xfrm>
            <a:off x="242762" y="3875709"/>
            <a:ext cx="365760" cy="318790"/>
          </a:xfrm>
          <a:custGeom>
            <a:avLst/>
            <a:gdLst>
              <a:gd name="T0" fmla="*/ 1220 w 1220"/>
              <a:gd name="T1" fmla="*/ 204 h 1063"/>
              <a:gd name="T2" fmla="*/ 1096 w 1220"/>
              <a:gd name="T3" fmla="*/ 79 h 1063"/>
              <a:gd name="T4" fmla="*/ 978 w 1220"/>
              <a:gd name="T5" fmla="*/ 164 h 1063"/>
              <a:gd name="T6" fmla="*/ 589 w 1220"/>
              <a:gd name="T7" fmla="*/ 115 h 1063"/>
              <a:gd name="T8" fmla="*/ 465 w 1220"/>
              <a:gd name="T9" fmla="*/ 0 h 1063"/>
              <a:gd name="T10" fmla="*/ 340 w 1220"/>
              <a:gd name="T11" fmla="*/ 124 h 1063"/>
              <a:gd name="T12" fmla="*/ 370 w 1220"/>
              <a:gd name="T13" fmla="*/ 205 h 1063"/>
              <a:gd name="T14" fmla="*/ 180 w 1220"/>
              <a:gd name="T15" fmla="*/ 453 h 1063"/>
              <a:gd name="T16" fmla="*/ 125 w 1220"/>
              <a:gd name="T17" fmla="*/ 440 h 1063"/>
              <a:gd name="T18" fmla="*/ 0 w 1220"/>
              <a:gd name="T19" fmla="*/ 564 h 1063"/>
              <a:gd name="T20" fmla="*/ 125 w 1220"/>
              <a:gd name="T21" fmla="*/ 689 h 1063"/>
              <a:gd name="T22" fmla="*/ 197 w 1220"/>
              <a:gd name="T23" fmla="*/ 666 h 1063"/>
              <a:gd name="T24" fmla="*/ 416 w 1220"/>
              <a:gd name="T25" fmla="*/ 872 h 1063"/>
              <a:gd name="T26" fmla="*/ 397 w 1220"/>
              <a:gd name="T27" fmla="*/ 938 h 1063"/>
              <a:gd name="T28" fmla="*/ 521 w 1220"/>
              <a:gd name="T29" fmla="*/ 1063 h 1063"/>
              <a:gd name="T30" fmla="*/ 646 w 1220"/>
              <a:gd name="T31" fmla="*/ 938 h 1063"/>
              <a:gd name="T32" fmla="*/ 642 w 1220"/>
              <a:gd name="T33" fmla="*/ 908 h 1063"/>
              <a:gd name="T34" fmla="*/ 948 w 1220"/>
              <a:gd name="T35" fmla="*/ 763 h 1063"/>
              <a:gd name="T36" fmla="*/ 1048 w 1220"/>
              <a:gd name="T37" fmla="*/ 814 h 1063"/>
              <a:gd name="T38" fmla="*/ 1173 w 1220"/>
              <a:gd name="T39" fmla="*/ 689 h 1063"/>
              <a:gd name="T40" fmla="*/ 1084 w 1220"/>
              <a:gd name="T41" fmla="*/ 570 h 1063"/>
              <a:gd name="T42" fmla="*/ 1108 w 1220"/>
              <a:gd name="T43" fmla="*/ 327 h 1063"/>
              <a:gd name="T44" fmla="*/ 1220 w 1220"/>
              <a:gd name="T45" fmla="*/ 204 h 1063"/>
              <a:gd name="T46" fmla="*/ 521 w 1220"/>
              <a:gd name="T47" fmla="*/ 594 h 1063"/>
              <a:gd name="T48" fmla="*/ 493 w 1220"/>
              <a:gd name="T49" fmla="*/ 245 h 1063"/>
              <a:gd name="T50" fmla="*/ 535 w 1220"/>
              <a:gd name="T51" fmla="*/ 226 h 1063"/>
              <a:gd name="T52" fmla="*/ 944 w 1220"/>
              <a:gd name="T53" fmla="*/ 621 h 1063"/>
              <a:gd name="T54" fmla="*/ 930 w 1220"/>
              <a:gd name="T55" fmla="*/ 649 h 1063"/>
              <a:gd name="T56" fmla="*/ 521 w 1220"/>
              <a:gd name="T57" fmla="*/ 594 h 1063"/>
              <a:gd name="T58" fmla="*/ 490 w 1220"/>
              <a:gd name="T59" fmla="*/ 818 h 1063"/>
              <a:gd name="T60" fmla="*/ 449 w 1220"/>
              <a:gd name="T61" fmla="*/ 837 h 1063"/>
              <a:gd name="T62" fmla="*/ 230 w 1220"/>
              <a:gd name="T63" fmla="*/ 631 h 1063"/>
              <a:gd name="T64" fmla="*/ 242 w 1220"/>
              <a:gd name="T65" fmla="*/ 605 h 1063"/>
              <a:gd name="T66" fmla="*/ 476 w 1220"/>
              <a:gd name="T67" fmla="*/ 636 h 1063"/>
              <a:gd name="T68" fmla="*/ 490 w 1220"/>
              <a:gd name="T69" fmla="*/ 818 h 1063"/>
              <a:gd name="T70" fmla="*/ 249 w 1220"/>
              <a:gd name="T71" fmla="*/ 558 h 1063"/>
              <a:gd name="T72" fmla="*/ 218 w 1220"/>
              <a:gd name="T73" fmla="*/ 482 h 1063"/>
              <a:gd name="T74" fmla="*/ 408 w 1220"/>
              <a:gd name="T75" fmla="*/ 235 h 1063"/>
              <a:gd name="T76" fmla="*/ 445 w 1220"/>
              <a:gd name="T77" fmla="*/ 247 h 1063"/>
              <a:gd name="T78" fmla="*/ 472 w 1220"/>
              <a:gd name="T79" fmla="*/ 587 h 1063"/>
              <a:gd name="T80" fmla="*/ 249 w 1220"/>
              <a:gd name="T81" fmla="*/ 558 h 1063"/>
              <a:gd name="T82" fmla="*/ 977 w 1220"/>
              <a:gd name="T83" fmla="*/ 587 h 1063"/>
              <a:gd name="T84" fmla="*/ 569 w 1220"/>
              <a:gd name="T85" fmla="*/ 192 h 1063"/>
              <a:gd name="T86" fmla="*/ 583 w 1220"/>
              <a:gd name="T87" fmla="*/ 163 h 1063"/>
              <a:gd name="T88" fmla="*/ 972 w 1220"/>
              <a:gd name="T89" fmla="*/ 212 h 1063"/>
              <a:gd name="T90" fmla="*/ 1060 w 1220"/>
              <a:gd name="T91" fmla="*/ 323 h 1063"/>
              <a:gd name="T92" fmla="*/ 1036 w 1220"/>
              <a:gd name="T93" fmla="*/ 566 h 1063"/>
              <a:gd name="T94" fmla="*/ 977 w 1220"/>
              <a:gd name="T95" fmla="*/ 587 h 1063"/>
              <a:gd name="T96" fmla="*/ 621 w 1220"/>
              <a:gd name="T97" fmla="*/ 864 h 1063"/>
              <a:gd name="T98" fmla="*/ 538 w 1220"/>
              <a:gd name="T99" fmla="*/ 815 h 1063"/>
              <a:gd name="T100" fmla="*/ 524 w 1220"/>
              <a:gd name="T101" fmla="*/ 643 h 1063"/>
              <a:gd name="T102" fmla="*/ 924 w 1220"/>
              <a:gd name="T103" fmla="*/ 696 h 1063"/>
              <a:gd name="T104" fmla="*/ 927 w 1220"/>
              <a:gd name="T105" fmla="*/ 720 h 1063"/>
              <a:gd name="T106" fmla="*/ 621 w 1220"/>
              <a:gd name="T107" fmla="*/ 864 h 10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220" h="1063">
                <a:moveTo>
                  <a:pt x="1220" y="204"/>
                </a:moveTo>
                <a:cubicBezTo>
                  <a:pt x="1220" y="135"/>
                  <a:pt x="1164" y="79"/>
                  <a:pt x="1096" y="79"/>
                </a:cubicBezTo>
                <a:cubicBezTo>
                  <a:pt x="1041" y="79"/>
                  <a:pt x="994" y="115"/>
                  <a:pt x="978" y="164"/>
                </a:cubicBezTo>
                <a:cubicBezTo>
                  <a:pt x="589" y="115"/>
                  <a:pt x="589" y="115"/>
                  <a:pt x="589" y="115"/>
                </a:cubicBezTo>
                <a:cubicBezTo>
                  <a:pt x="584" y="51"/>
                  <a:pt x="530" y="0"/>
                  <a:pt x="465" y="0"/>
                </a:cubicBezTo>
                <a:cubicBezTo>
                  <a:pt x="396" y="0"/>
                  <a:pt x="340" y="55"/>
                  <a:pt x="340" y="124"/>
                </a:cubicBezTo>
                <a:cubicBezTo>
                  <a:pt x="340" y="155"/>
                  <a:pt x="352" y="183"/>
                  <a:pt x="370" y="205"/>
                </a:cubicBezTo>
                <a:cubicBezTo>
                  <a:pt x="180" y="453"/>
                  <a:pt x="180" y="453"/>
                  <a:pt x="180" y="453"/>
                </a:cubicBezTo>
                <a:cubicBezTo>
                  <a:pt x="163" y="445"/>
                  <a:pt x="145" y="440"/>
                  <a:pt x="125" y="440"/>
                </a:cubicBezTo>
                <a:cubicBezTo>
                  <a:pt x="56" y="440"/>
                  <a:pt x="0" y="496"/>
                  <a:pt x="0" y="564"/>
                </a:cubicBezTo>
                <a:cubicBezTo>
                  <a:pt x="0" y="633"/>
                  <a:pt x="56" y="689"/>
                  <a:pt x="125" y="689"/>
                </a:cubicBezTo>
                <a:cubicBezTo>
                  <a:pt x="152" y="689"/>
                  <a:pt x="177" y="680"/>
                  <a:pt x="197" y="666"/>
                </a:cubicBezTo>
                <a:cubicBezTo>
                  <a:pt x="416" y="872"/>
                  <a:pt x="416" y="872"/>
                  <a:pt x="416" y="872"/>
                </a:cubicBezTo>
                <a:cubicBezTo>
                  <a:pt x="404" y="891"/>
                  <a:pt x="397" y="914"/>
                  <a:pt x="397" y="938"/>
                </a:cubicBezTo>
                <a:cubicBezTo>
                  <a:pt x="397" y="1007"/>
                  <a:pt x="453" y="1063"/>
                  <a:pt x="521" y="1063"/>
                </a:cubicBezTo>
                <a:cubicBezTo>
                  <a:pt x="590" y="1063"/>
                  <a:pt x="646" y="1007"/>
                  <a:pt x="646" y="938"/>
                </a:cubicBezTo>
                <a:cubicBezTo>
                  <a:pt x="646" y="928"/>
                  <a:pt x="644" y="918"/>
                  <a:pt x="642" y="908"/>
                </a:cubicBezTo>
                <a:cubicBezTo>
                  <a:pt x="948" y="763"/>
                  <a:pt x="948" y="763"/>
                  <a:pt x="948" y="763"/>
                </a:cubicBezTo>
                <a:cubicBezTo>
                  <a:pt x="970" y="794"/>
                  <a:pt x="1007" y="814"/>
                  <a:pt x="1048" y="814"/>
                </a:cubicBezTo>
                <a:cubicBezTo>
                  <a:pt x="1117" y="814"/>
                  <a:pt x="1173" y="758"/>
                  <a:pt x="1173" y="689"/>
                </a:cubicBezTo>
                <a:cubicBezTo>
                  <a:pt x="1173" y="633"/>
                  <a:pt x="1135" y="586"/>
                  <a:pt x="1084" y="570"/>
                </a:cubicBezTo>
                <a:cubicBezTo>
                  <a:pt x="1108" y="327"/>
                  <a:pt x="1108" y="327"/>
                  <a:pt x="1108" y="327"/>
                </a:cubicBezTo>
                <a:cubicBezTo>
                  <a:pt x="1171" y="321"/>
                  <a:pt x="1220" y="268"/>
                  <a:pt x="1220" y="204"/>
                </a:cubicBezTo>
                <a:close/>
                <a:moveTo>
                  <a:pt x="521" y="594"/>
                </a:moveTo>
                <a:cubicBezTo>
                  <a:pt x="493" y="245"/>
                  <a:pt x="493" y="245"/>
                  <a:pt x="493" y="245"/>
                </a:cubicBezTo>
                <a:cubicBezTo>
                  <a:pt x="509" y="241"/>
                  <a:pt x="523" y="235"/>
                  <a:pt x="535" y="226"/>
                </a:cubicBezTo>
                <a:cubicBezTo>
                  <a:pt x="944" y="621"/>
                  <a:pt x="944" y="621"/>
                  <a:pt x="944" y="621"/>
                </a:cubicBezTo>
                <a:cubicBezTo>
                  <a:pt x="938" y="630"/>
                  <a:pt x="934" y="639"/>
                  <a:pt x="930" y="649"/>
                </a:cubicBezTo>
                <a:lnTo>
                  <a:pt x="521" y="594"/>
                </a:lnTo>
                <a:close/>
                <a:moveTo>
                  <a:pt x="490" y="818"/>
                </a:moveTo>
                <a:cubicBezTo>
                  <a:pt x="475" y="822"/>
                  <a:pt x="461" y="828"/>
                  <a:pt x="449" y="837"/>
                </a:cubicBezTo>
                <a:cubicBezTo>
                  <a:pt x="230" y="631"/>
                  <a:pt x="230" y="631"/>
                  <a:pt x="230" y="631"/>
                </a:cubicBezTo>
                <a:cubicBezTo>
                  <a:pt x="235" y="623"/>
                  <a:pt x="239" y="614"/>
                  <a:pt x="242" y="605"/>
                </a:cubicBezTo>
                <a:cubicBezTo>
                  <a:pt x="476" y="636"/>
                  <a:pt x="476" y="636"/>
                  <a:pt x="476" y="636"/>
                </a:cubicBezTo>
                <a:lnTo>
                  <a:pt x="490" y="818"/>
                </a:lnTo>
                <a:close/>
                <a:moveTo>
                  <a:pt x="249" y="558"/>
                </a:moveTo>
                <a:cubicBezTo>
                  <a:pt x="247" y="529"/>
                  <a:pt x="236" y="502"/>
                  <a:pt x="218" y="482"/>
                </a:cubicBezTo>
                <a:cubicBezTo>
                  <a:pt x="408" y="235"/>
                  <a:pt x="408" y="235"/>
                  <a:pt x="408" y="235"/>
                </a:cubicBezTo>
                <a:cubicBezTo>
                  <a:pt x="420" y="241"/>
                  <a:pt x="432" y="245"/>
                  <a:pt x="445" y="247"/>
                </a:cubicBezTo>
                <a:cubicBezTo>
                  <a:pt x="472" y="587"/>
                  <a:pt x="472" y="587"/>
                  <a:pt x="472" y="587"/>
                </a:cubicBezTo>
                <a:lnTo>
                  <a:pt x="249" y="558"/>
                </a:lnTo>
                <a:close/>
                <a:moveTo>
                  <a:pt x="977" y="587"/>
                </a:moveTo>
                <a:cubicBezTo>
                  <a:pt x="569" y="192"/>
                  <a:pt x="569" y="192"/>
                  <a:pt x="569" y="192"/>
                </a:cubicBezTo>
                <a:cubicBezTo>
                  <a:pt x="575" y="183"/>
                  <a:pt x="579" y="173"/>
                  <a:pt x="583" y="163"/>
                </a:cubicBezTo>
                <a:cubicBezTo>
                  <a:pt x="972" y="212"/>
                  <a:pt x="972" y="212"/>
                  <a:pt x="972" y="212"/>
                </a:cubicBezTo>
                <a:cubicBezTo>
                  <a:pt x="975" y="265"/>
                  <a:pt x="1011" y="308"/>
                  <a:pt x="1060" y="323"/>
                </a:cubicBezTo>
                <a:cubicBezTo>
                  <a:pt x="1036" y="566"/>
                  <a:pt x="1036" y="566"/>
                  <a:pt x="1036" y="566"/>
                </a:cubicBezTo>
                <a:cubicBezTo>
                  <a:pt x="1015" y="568"/>
                  <a:pt x="994" y="575"/>
                  <a:pt x="977" y="587"/>
                </a:cubicBezTo>
                <a:close/>
                <a:moveTo>
                  <a:pt x="621" y="864"/>
                </a:moveTo>
                <a:cubicBezTo>
                  <a:pt x="602" y="838"/>
                  <a:pt x="572" y="819"/>
                  <a:pt x="538" y="815"/>
                </a:cubicBezTo>
                <a:cubicBezTo>
                  <a:pt x="524" y="643"/>
                  <a:pt x="524" y="643"/>
                  <a:pt x="524" y="643"/>
                </a:cubicBezTo>
                <a:cubicBezTo>
                  <a:pt x="924" y="696"/>
                  <a:pt x="924" y="696"/>
                  <a:pt x="924" y="696"/>
                </a:cubicBezTo>
                <a:cubicBezTo>
                  <a:pt x="924" y="704"/>
                  <a:pt x="925" y="712"/>
                  <a:pt x="927" y="720"/>
                </a:cubicBezTo>
                <a:lnTo>
                  <a:pt x="621" y="864"/>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1177" tIns="56942" rIns="71177" bIns="56942" numCol="1" spcCol="0" rtlCol="0" fromWordArt="0" anchor="t" anchorCtr="0" forceAA="0" compatLnSpc="1">
            <a:prstTxWarp prst="textNoShape">
              <a:avLst/>
            </a:prstTxWarp>
            <a:noAutofit/>
          </a:bodyPr>
          <a:lstStyle/>
          <a:p>
            <a:pPr algn="ctr" defTabSz="362895" fontAlgn="base">
              <a:lnSpc>
                <a:spcPct val="90000"/>
              </a:lnSpc>
              <a:spcBef>
                <a:spcPct val="0"/>
              </a:spcBef>
              <a:spcAft>
                <a:spcPct val="0"/>
              </a:spcAft>
            </a:pPr>
            <a:endParaRPr lang="en-US" sz="934">
              <a:gradFill>
                <a:gsLst>
                  <a:gs pos="0">
                    <a:srgbClr val="FFFFFF"/>
                  </a:gs>
                  <a:gs pos="100000">
                    <a:srgbClr val="FFFFFF"/>
                  </a:gs>
                </a:gsLst>
                <a:lin ang="5400000" scaled="0"/>
              </a:gradFill>
              <a:ea typeface="Segoe UI" pitchFamily="34" charset="0"/>
              <a:cs typeface="Segoe UI" pitchFamily="34" charset="0"/>
            </a:endParaRPr>
          </a:p>
        </p:txBody>
      </p:sp>
      <p:sp>
        <p:nvSpPr>
          <p:cNvPr id="71" name="Freeform 70"/>
          <p:cNvSpPr>
            <a:spLocks noChangeAspect="1"/>
          </p:cNvSpPr>
          <p:nvPr/>
        </p:nvSpPr>
        <p:spPr bwMode="black">
          <a:xfrm>
            <a:off x="242762" y="5803220"/>
            <a:ext cx="365760" cy="320928"/>
          </a:xfrm>
          <a:custGeom>
            <a:avLst/>
            <a:gdLst/>
            <a:ahLst/>
            <a:cxnLst/>
            <a:rect l="l" t="t" r="r" b="b"/>
            <a:pathLst>
              <a:path w="4740335" h="4048081">
                <a:moveTo>
                  <a:pt x="3683614" y="1098549"/>
                </a:moveTo>
                <a:cubicBezTo>
                  <a:pt x="3683654" y="1098549"/>
                  <a:pt x="3689354" y="1098549"/>
                  <a:pt x="4502870" y="1098549"/>
                </a:cubicBezTo>
                <a:cubicBezTo>
                  <a:pt x="4633477" y="1098549"/>
                  <a:pt x="4740335" y="1205183"/>
                  <a:pt x="4740335" y="1335514"/>
                </a:cubicBezTo>
                <a:cubicBezTo>
                  <a:pt x="4740335" y="1335569"/>
                  <a:pt x="4740335" y="1343335"/>
                  <a:pt x="4740335" y="2449249"/>
                </a:cubicBezTo>
                <a:cubicBezTo>
                  <a:pt x="4740335" y="2579580"/>
                  <a:pt x="4633477" y="2686214"/>
                  <a:pt x="4502870" y="2686214"/>
                </a:cubicBezTo>
                <a:cubicBezTo>
                  <a:pt x="4502870" y="2686253"/>
                  <a:pt x="4502870" y="2691777"/>
                  <a:pt x="4502870" y="3480046"/>
                </a:cubicBezTo>
                <a:cubicBezTo>
                  <a:pt x="4502870" y="3610377"/>
                  <a:pt x="4396011" y="3717011"/>
                  <a:pt x="4265405" y="3717011"/>
                </a:cubicBezTo>
                <a:cubicBezTo>
                  <a:pt x="4265376" y="3717011"/>
                  <a:pt x="4262133" y="3717011"/>
                  <a:pt x="3909206" y="3717011"/>
                </a:cubicBezTo>
                <a:cubicBezTo>
                  <a:pt x="3790473" y="3717011"/>
                  <a:pt x="3683614" y="3610377"/>
                  <a:pt x="3683614" y="3480046"/>
                </a:cubicBezTo>
                <a:cubicBezTo>
                  <a:pt x="3683614" y="3480010"/>
                  <a:pt x="3683614" y="3474701"/>
                  <a:pt x="3683614" y="2686214"/>
                </a:cubicBezTo>
                <a:cubicBezTo>
                  <a:pt x="3553008" y="2686214"/>
                  <a:pt x="3446148" y="2579580"/>
                  <a:pt x="3446148" y="2449249"/>
                </a:cubicBezTo>
                <a:cubicBezTo>
                  <a:pt x="3446148" y="2449192"/>
                  <a:pt x="3446148" y="2441288"/>
                  <a:pt x="3446148" y="1335514"/>
                </a:cubicBezTo>
                <a:cubicBezTo>
                  <a:pt x="3446148" y="1205183"/>
                  <a:pt x="3553008" y="1098549"/>
                  <a:pt x="3683614" y="1098549"/>
                </a:cubicBezTo>
                <a:close/>
                <a:moveTo>
                  <a:pt x="236546" y="1098549"/>
                </a:moveTo>
                <a:cubicBezTo>
                  <a:pt x="236570" y="1098549"/>
                  <a:pt x="240947" y="1098549"/>
                  <a:pt x="1052628" y="1098549"/>
                </a:cubicBezTo>
                <a:cubicBezTo>
                  <a:pt x="1182728" y="1098549"/>
                  <a:pt x="1289174" y="1205183"/>
                  <a:pt x="1289174" y="1335514"/>
                </a:cubicBezTo>
                <a:cubicBezTo>
                  <a:pt x="1289174" y="1335532"/>
                  <a:pt x="1289174" y="1340039"/>
                  <a:pt x="1289174" y="2449249"/>
                </a:cubicBezTo>
                <a:cubicBezTo>
                  <a:pt x="1289174" y="2579580"/>
                  <a:pt x="1182728" y="2686214"/>
                  <a:pt x="1052628" y="2686214"/>
                </a:cubicBezTo>
                <a:cubicBezTo>
                  <a:pt x="1052628" y="2686235"/>
                  <a:pt x="1052628" y="2690268"/>
                  <a:pt x="1052628" y="3480046"/>
                </a:cubicBezTo>
                <a:cubicBezTo>
                  <a:pt x="1052628" y="3610377"/>
                  <a:pt x="946183" y="3717011"/>
                  <a:pt x="827910" y="3717011"/>
                </a:cubicBezTo>
                <a:cubicBezTo>
                  <a:pt x="827894" y="3717011"/>
                  <a:pt x="825508" y="3717011"/>
                  <a:pt x="473091" y="3717011"/>
                </a:cubicBezTo>
                <a:cubicBezTo>
                  <a:pt x="342991" y="3717011"/>
                  <a:pt x="236546" y="3610377"/>
                  <a:pt x="236546" y="3480046"/>
                </a:cubicBezTo>
                <a:cubicBezTo>
                  <a:pt x="236546" y="3480026"/>
                  <a:pt x="236546" y="3476021"/>
                  <a:pt x="236546" y="2686214"/>
                </a:cubicBezTo>
                <a:cubicBezTo>
                  <a:pt x="106446" y="2686214"/>
                  <a:pt x="0" y="2579580"/>
                  <a:pt x="0" y="2449249"/>
                </a:cubicBezTo>
                <a:cubicBezTo>
                  <a:pt x="0" y="2449230"/>
                  <a:pt x="0" y="2444630"/>
                  <a:pt x="0" y="1335514"/>
                </a:cubicBezTo>
                <a:cubicBezTo>
                  <a:pt x="0" y="1205183"/>
                  <a:pt x="106446" y="1098549"/>
                  <a:pt x="236546" y="1098549"/>
                </a:cubicBezTo>
                <a:close/>
                <a:moveTo>
                  <a:pt x="1895194" y="993211"/>
                </a:moveTo>
                <a:cubicBezTo>
                  <a:pt x="1895245" y="993211"/>
                  <a:pt x="1902161" y="993211"/>
                  <a:pt x="2845141" y="993211"/>
                </a:cubicBezTo>
                <a:cubicBezTo>
                  <a:pt x="2999507" y="993211"/>
                  <a:pt x="3130125" y="1123457"/>
                  <a:pt x="3130125" y="1277385"/>
                </a:cubicBezTo>
                <a:cubicBezTo>
                  <a:pt x="3130125" y="1277420"/>
                  <a:pt x="3130125" y="1284134"/>
                  <a:pt x="3130125" y="2568008"/>
                </a:cubicBezTo>
                <a:cubicBezTo>
                  <a:pt x="3130125" y="2721936"/>
                  <a:pt x="2999507" y="2852182"/>
                  <a:pt x="2845141" y="2852182"/>
                </a:cubicBezTo>
                <a:cubicBezTo>
                  <a:pt x="2845141" y="2852231"/>
                  <a:pt x="2845141" y="2858826"/>
                  <a:pt x="2845141" y="3763907"/>
                </a:cubicBezTo>
                <a:cubicBezTo>
                  <a:pt x="2845141" y="3917835"/>
                  <a:pt x="2726398" y="4048081"/>
                  <a:pt x="2572031" y="4048081"/>
                </a:cubicBezTo>
                <a:cubicBezTo>
                  <a:pt x="2571992" y="4048081"/>
                  <a:pt x="2568051" y="4048081"/>
                  <a:pt x="2168304" y="4048081"/>
                </a:cubicBezTo>
                <a:cubicBezTo>
                  <a:pt x="2013937" y="4048081"/>
                  <a:pt x="1895194" y="3917835"/>
                  <a:pt x="1895194" y="3763907"/>
                </a:cubicBezTo>
                <a:cubicBezTo>
                  <a:pt x="1895194" y="3763858"/>
                  <a:pt x="1895194" y="3757193"/>
                  <a:pt x="1895194" y="2852182"/>
                </a:cubicBezTo>
                <a:cubicBezTo>
                  <a:pt x="1740828" y="2852182"/>
                  <a:pt x="1610210" y="2721936"/>
                  <a:pt x="1610210" y="2568008"/>
                </a:cubicBezTo>
                <a:cubicBezTo>
                  <a:pt x="1610210" y="2567966"/>
                  <a:pt x="1610210" y="2560581"/>
                  <a:pt x="1610210" y="1277385"/>
                </a:cubicBezTo>
                <a:cubicBezTo>
                  <a:pt x="1610210" y="1123457"/>
                  <a:pt x="1740828" y="993211"/>
                  <a:pt x="1895194" y="993211"/>
                </a:cubicBezTo>
                <a:close/>
                <a:moveTo>
                  <a:pt x="4093246" y="245790"/>
                </a:moveTo>
                <a:cubicBezTo>
                  <a:pt x="4306565" y="245790"/>
                  <a:pt x="4479495" y="420965"/>
                  <a:pt x="4479495" y="637055"/>
                </a:cubicBezTo>
                <a:cubicBezTo>
                  <a:pt x="4479495" y="853145"/>
                  <a:pt x="4306565" y="1028320"/>
                  <a:pt x="4093246" y="1028320"/>
                </a:cubicBezTo>
                <a:cubicBezTo>
                  <a:pt x="3879927" y="1028320"/>
                  <a:pt x="3706997" y="853145"/>
                  <a:pt x="3706997" y="637055"/>
                </a:cubicBezTo>
                <a:cubicBezTo>
                  <a:pt x="3706997" y="420965"/>
                  <a:pt x="3879927" y="245790"/>
                  <a:pt x="4093246" y="245790"/>
                </a:cubicBezTo>
                <a:close/>
                <a:moveTo>
                  <a:pt x="644584" y="245790"/>
                </a:moveTo>
                <a:cubicBezTo>
                  <a:pt x="856519" y="245790"/>
                  <a:pt x="1028326" y="420965"/>
                  <a:pt x="1028326" y="637055"/>
                </a:cubicBezTo>
                <a:cubicBezTo>
                  <a:pt x="1028326" y="853145"/>
                  <a:pt x="856519" y="1028320"/>
                  <a:pt x="644584" y="1028320"/>
                </a:cubicBezTo>
                <a:cubicBezTo>
                  <a:pt x="432649" y="1028320"/>
                  <a:pt x="260842" y="853145"/>
                  <a:pt x="260842" y="637055"/>
                </a:cubicBezTo>
                <a:cubicBezTo>
                  <a:pt x="260842" y="420965"/>
                  <a:pt x="432649" y="245790"/>
                  <a:pt x="644584" y="245790"/>
                </a:cubicBezTo>
                <a:close/>
                <a:moveTo>
                  <a:pt x="2367657" y="0"/>
                </a:moveTo>
                <a:cubicBezTo>
                  <a:pt x="2616992" y="0"/>
                  <a:pt x="2819118" y="203249"/>
                  <a:pt x="2819118" y="453969"/>
                </a:cubicBezTo>
                <a:cubicBezTo>
                  <a:pt x="2819118" y="704689"/>
                  <a:pt x="2616992" y="907938"/>
                  <a:pt x="2367657" y="907938"/>
                </a:cubicBezTo>
                <a:cubicBezTo>
                  <a:pt x="2118322" y="907938"/>
                  <a:pt x="1916196" y="704689"/>
                  <a:pt x="1916196" y="453969"/>
                </a:cubicBezTo>
                <a:cubicBezTo>
                  <a:pt x="1916196" y="203249"/>
                  <a:pt x="2118322" y="0"/>
                  <a:pt x="2367657"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37148" tIns="109719" rIns="137148" bIns="109719"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699261" fontAlgn="base">
              <a:lnSpc>
                <a:spcPct val="90000"/>
              </a:lnSpc>
              <a:spcBef>
                <a:spcPct val="0"/>
              </a:spcBef>
              <a:spcAft>
                <a:spcPct val="0"/>
              </a:spcAft>
            </a:pPr>
            <a:endParaRPr lang="en-US">
              <a:gradFill>
                <a:gsLst>
                  <a:gs pos="0">
                    <a:srgbClr val="FFFFFF"/>
                  </a:gs>
                  <a:gs pos="100000">
                    <a:srgbClr val="FFFFFF"/>
                  </a:gs>
                </a:gsLst>
                <a:lin ang="5400000" scaled="0"/>
              </a:gradFill>
              <a:ea typeface="Segoe UI" pitchFamily="34" charset="0"/>
              <a:cs typeface="Segoe UI" pitchFamily="34" charset="0"/>
            </a:endParaRPr>
          </a:p>
        </p:txBody>
      </p:sp>
      <p:sp>
        <p:nvSpPr>
          <p:cNvPr id="73" name="Rectangle 72"/>
          <p:cNvSpPr/>
          <p:nvPr/>
        </p:nvSpPr>
        <p:spPr bwMode="auto">
          <a:xfrm>
            <a:off x="-1464" y="5522328"/>
            <a:ext cx="2816907" cy="1335672"/>
          </a:xfrm>
          <a:prstGeom prst="rect">
            <a:avLst/>
          </a:prstGeom>
          <a:solidFill>
            <a:schemeClr val="tx1">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74" name="Rectangle 73"/>
          <p:cNvSpPr/>
          <p:nvPr/>
        </p:nvSpPr>
        <p:spPr bwMode="auto">
          <a:xfrm>
            <a:off x="1" y="657643"/>
            <a:ext cx="2785036" cy="3872536"/>
          </a:xfrm>
          <a:prstGeom prst="rect">
            <a:avLst/>
          </a:prstGeom>
          <a:solidFill>
            <a:schemeClr val="tx1">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75" name="Oval 74"/>
          <p:cNvSpPr/>
          <p:nvPr/>
        </p:nvSpPr>
        <p:spPr bwMode="auto">
          <a:xfrm>
            <a:off x="9666639" y="3571379"/>
            <a:ext cx="254504" cy="256539"/>
          </a:xfrm>
          <a:prstGeom prst="ellipse">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336080" indent="-336080" algn="ctr" defTabSz="913927" fontAlgn="base">
              <a:lnSpc>
                <a:spcPct val="90000"/>
              </a:lnSpc>
              <a:spcBef>
                <a:spcPct val="0"/>
              </a:spcBef>
              <a:spcAft>
                <a:spcPct val="0"/>
              </a:spcAft>
              <a:buFont typeface="Wingdings 3" panose="05040102010807070707" pitchFamily="18" charset="2"/>
              <a:buChar char="Æ"/>
              <a:defRPr/>
            </a:pPr>
            <a:endParaRPr lang="en-US" sz="1961" b="1" kern="0" err="1">
              <a:solidFill>
                <a:srgbClr val="FFFFFF"/>
              </a:solidFill>
              <a:latin typeface="Segoe UI Light"/>
              <a:ea typeface="Segoe UI" pitchFamily="34" charset="0"/>
              <a:cs typeface="Segoe UI" pitchFamily="34" charset="0"/>
            </a:endParaRPr>
          </a:p>
        </p:txBody>
      </p:sp>
      <p:cxnSp>
        <p:nvCxnSpPr>
          <p:cNvPr id="79" name="Straight Connector 78"/>
          <p:cNvCxnSpPr/>
          <p:nvPr/>
        </p:nvCxnSpPr>
        <p:spPr>
          <a:xfrm flipV="1">
            <a:off x="7460214" y="3697775"/>
            <a:ext cx="4389121" cy="1656"/>
          </a:xfrm>
          <a:prstGeom prst="line">
            <a:avLst/>
          </a:prstGeom>
          <a:noFill/>
          <a:ln w="15875" cap="flat" cmpd="sng" algn="ctr">
            <a:solidFill>
              <a:srgbClr val="505050"/>
            </a:solidFill>
            <a:prstDash val="dash"/>
            <a:headEnd type="none"/>
            <a:tailEnd type="none"/>
          </a:ln>
          <a:effectLst/>
        </p:spPr>
      </p:cxnSp>
      <p:sp>
        <p:nvSpPr>
          <p:cNvPr id="80" name="TextBox 79"/>
          <p:cNvSpPr txBox="1"/>
          <p:nvPr/>
        </p:nvSpPr>
        <p:spPr>
          <a:xfrm>
            <a:off x="7248410" y="4375290"/>
            <a:ext cx="1245177" cy="590889"/>
          </a:xfrm>
          <a:prstGeom prst="rect">
            <a:avLst/>
          </a:prstGeom>
          <a:noFill/>
        </p:spPr>
        <p:txBody>
          <a:bodyPr wrap="square" lIns="179208" tIns="143366" rIns="179208" bIns="143366" rtlCol="0" anchor="ctr">
            <a:noAutofit/>
          </a:bodyPr>
          <a:lstStyle/>
          <a:p>
            <a:pPr algn="ctr" defTabSz="912979" fontAlgn="base">
              <a:lnSpc>
                <a:spcPct val="90000"/>
              </a:lnSpc>
              <a:spcBef>
                <a:spcPct val="0"/>
              </a:spcBef>
              <a:spcAft>
                <a:spcPts val="588"/>
              </a:spcAft>
            </a:pPr>
            <a:r>
              <a:rPr lang="en-US" sz="1176">
                <a:gradFill>
                  <a:gsLst>
                    <a:gs pos="72566">
                      <a:srgbClr val="505050"/>
                    </a:gs>
                    <a:gs pos="43000">
                      <a:srgbClr val="505050"/>
                    </a:gs>
                  </a:gsLst>
                  <a:lin ang="5400000" scaled="0"/>
                </a:gradFill>
                <a:latin typeface="Segoe UI Semibold" panose="020B0702040204020203" pitchFamily="34" charset="0"/>
                <a:ea typeface="MS PGothic" charset="0"/>
                <a:cs typeface="Segoe UI Semibold" panose="020B0702040204020203" pitchFamily="34" charset="0"/>
              </a:rPr>
              <a:t>SQL Server </a:t>
            </a:r>
            <a:br>
              <a:rPr lang="en-US" sz="1176">
                <a:gradFill>
                  <a:gsLst>
                    <a:gs pos="72566">
                      <a:srgbClr val="505050"/>
                    </a:gs>
                    <a:gs pos="43000">
                      <a:srgbClr val="505050"/>
                    </a:gs>
                  </a:gsLst>
                  <a:lin ang="5400000" scaled="0"/>
                </a:gradFill>
                <a:latin typeface="Segoe UI Semibold" panose="020B0702040204020203" pitchFamily="34" charset="0"/>
                <a:ea typeface="MS PGothic" charset="0"/>
                <a:cs typeface="Segoe UI Semibold" panose="020B0702040204020203" pitchFamily="34" charset="0"/>
              </a:rPr>
            </a:br>
            <a:r>
              <a:rPr lang="en-US" sz="1176">
                <a:gradFill>
                  <a:gsLst>
                    <a:gs pos="72566">
                      <a:srgbClr val="505050"/>
                    </a:gs>
                    <a:gs pos="43000">
                      <a:srgbClr val="505050"/>
                    </a:gs>
                  </a:gsLst>
                  <a:lin ang="5400000" scaled="0"/>
                </a:gradFill>
                <a:latin typeface="Segoe UI Semibold" panose="020B0702040204020203" pitchFamily="34" charset="0"/>
                <a:ea typeface="MS PGothic" charset="0"/>
                <a:cs typeface="Segoe UI Semibold" panose="020B0702040204020203" pitchFamily="34" charset="0"/>
              </a:rPr>
              <a:t>Analysis Services</a:t>
            </a:r>
          </a:p>
        </p:txBody>
      </p:sp>
      <p:sp>
        <p:nvSpPr>
          <p:cNvPr id="95" name="Freeform 94"/>
          <p:cNvSpPr>
            <a:spLocks noEditPoints="1"/>
          </p:cNvSpPr>
          <p:nvPr/>
        </p:nvSpPr>
        <p:spPr bwMode="auto">
          <a:xfrm>
            <a:off x="10669839" y="4206664"/>
            <a:ext cx="249647" cy="604489"/>
          </a:xfrm>
          <a:custGeom>
            <a:avLst/>
            <a:gdLst>
              <a:gd name="T0" fmla="*/ 0 w 184"/>
              <a:gd name="T1" fmla="*/ 0 h 442"/>
              <a:gd name="T2" fmla="*/ 0 w 184"/>
              <a:gd name="T3" fmla="*/ 442 h 442"/>
              <a:gd name="T4" fmla="*/ 184 w 184"/>
              <a:gd name="T5" fmla="*/ 442 h 442"/>
              <a:gd name="T6" fmla="*/ 184 w 184"/>
              <a:gd name="T7" fmla="*/ 0 h 442"/>
              <a:gd name="T8" fmla="*/ 0 w 184"/>
              <a:gd name="T9" fmla="*/ 0 h 442"/>
              <a:gd name="T10" fmla="*/ 85 w 184"/>
              <a:gd name="T11" fmla="*/ 370 h 442"/>
              <a:gd name="T12" fmla="*/ 19 w 184"/>
              <a:gd name="T13" fmla="*/ 370 h 442"/>
              <a:gd name="T14" fmla="*/ 19 w 184"/>
              <a:gd name="T15" fmla="*/ 310 h 442"/>
              <a:gd name="T16" fmla="*/ 85 w 184"/>
              <a:gd name="T17" fmla="*/ 310 h 442"/>
              <a:gd name="T18" fmla="*/ 85 w 184"/>
              <a:gd name="T19" fmla="*/ 370 h 442"/>
              <a:gd name="T20" fmla="*/ 85 w 184"/>
              <a:gd name="T21" fmla="*/ 296 h 442"/>
              <a:gd name="T22" fmla="*/ 19 w 184"/>
              <a:gd name="T23" fmla="*/ 296 h 442"/>
              <a:gd name="T24" fmla="*/ 19 w 184"/>
              <a:gd name="T25" fmla="*/ 237 h 442"/>
              <a:gd name="T26" fmla="*/ 85 w 184"/>
              <a:gd name="T27" fmla="*/ 237 h 442"/>
              <a:gd name="T28" fmla="*/ 85 w 184"/>
              <a:gd name="T29" fmla="*/ 296 h 442"/>
              <a:gd name="T30" fmla="*/ 85 w 184"/>
              <a:gd name="T31" fmla="*/ 223 h 442"/>
              <a:gd name="T32" fmla="*/ 19 w 184"/>
              <a:gd name="T33" fmla="*/ 223 h 442"/>
              <a:gd name="T34" fmla="*/ 19 w 184"/>
              <a:gd name="T35" fmla="*/ 164 h 442"/>
              <a:gd name="T36" fmla="*/ 85 w 184"/>
              <a:gd name="T37" fmla="*/ 164 h 442"/>
              <a:gd name="T38" fmla="*/ 85 w 184"/>
              <a:gd name="T39" fmla="*/ 223 h 442"/>
              <a:gd name="T40" fmla="*/ 85 w 184"/>
              <a:gd name="T41" fmla="*/ 151 h 442"/>
              <a:gd name="T42" fmla="*/ 19 w 184"/>
              <a:gd name="T43" fmla="*/ 151 h 442"/>
              <a:gd name="T44" fmla="*/ 19 w 184"/>
              <a:gd name="T45" fmla="*/ 91 h 442"/>
              <a:gd name="T46" fmla="*/ 85 w 184"/>
              <a:gd name="T47" fmla="*/ 91 h 442"/>
              <a:gd name="T48" fmla="*/ 85 w 184"/>
              <a:gd name="T49" fmla="*/ 151 h 442"/>
              <a:gd name="T50" fmla="*/ 85 w 184"/>
              <a:gd name="T51" fmla="*/ 78 h 442"/>
              <a:gd name="T52" fmla="*/ 19 w 184"/>
              <a:gd name="T53" fmla="*/ 78 h 442"/>
              <a:gd name="T54" fmla="*/ 19 w 184"/>
              <a:gd name="T55" fmla="*/ 18 h 442"/>
              <a:gd name="T56" fmla="*/ 85 w 184"/>
              <a:gd name="T57" fmla="*/ 18 h 442"/>
              <a:gd name="T58" fmla="*/ 85 w 184"/>
              <a:gd name="T59" fmla="*/ 78 h 442"/>
              <a:gd name="T60" fmla="*/ 164 w 184"/>
              <a:gd name="T61" fmla="*/ 370 h 442"/>
              <a:gd name="T62" fmla="*/ 99 w 184"/>
              <a:gd name="T63" fmla="*/ 370 h 442"/>
              <a:gd name="T64" fmla="*/ 99 w 184"/>
              <a:gd name="T65" fmla="*/ 310 h 442"/>
              <a:gd name="T66" fmla="*/ 164 w 184"/>
              <a:gd name="T67" fmla="*/ 310 h 442"/>
              <a:gd name="T68" fmla="*/ 164 w 184"/>
              <a:gd name="T69" fmla="*/ 370 h 442"/>
              <a:gd name="T70" fmla="*/ 164 w 184"/>
              <a:gd name="T71" fmla="*/ 296 h 442"/>
              <a:gd name="T72" fmla="*/ 99 w 184"/>
              <a:gd name="T73" fmla="*/ 296 h 442"/>
              <a:gd name="T74" fmla="*/ 99 w 184"/>
              <a:gd name="T75" fmla="*/ 237 h 442"/>
              <a:gd name="T76" fmla="*/ 164 w 184"/>
              <a:gd name="T77" fmla="*/ 237 h 442"/>
              <a:gd name="T78" fmla="*/ 164 w 184"/>
              <a:gd name="T79" fmla="*/ 296 h 442"/>
              <a:gd name="T80" fmla="*/ 164 w 184"/>
              <a:gd name="T81" fmla="*/ 223 h 442"/>
              <a:gd name="T82" fmla="*/ 99 w 184"/>
              <a:gd name="T83" fmla="*/ 223 h 442"/>
              <a:gd name="T84" fmla="*/ 99 w 184"/>
              <a:gd name="T85" fmla="*/ 164 h 442"/>
              <a:gd name="T86" fmla="*/ 164 w 184"/>
              <a:gd name="T87" fmla="*/ 164 h 442"/>
              <a:gd name="T88" fmla="*/ 164 w 184"/>
              <a:gd name="T89" fmla="*/ 223 h 442"/>
              <a:gd name="T90" fmla="*/ 164 w 184"/>
              <a:gd name="T91" fmla="*/ 151 h 442"/>
              <a:gd name="T92" fmla="*/ 99 w 184"/>
              <a:gd name="T93" fmla="*/ 151 h 442"/>
              <a:gd name="T94" fmla="*/ 99 w 184"/>
              <a:gd name="T95" fmla="*/ 91 h 442"/>
              <a:gd name="T96" fmla="*/ 164 w 184"/>
              <a:gd name="T97" fmla="*/ 91 h 442"/>
              <a:gd name="T98" fmla="*/ 164 w 184"/>
              <a:gd name="T99" fmla="*/ 151 h 442"/>
              <a:gd name="T100" fmla="*/ 164 w 184"/>
              <a:gd name="T101" fmla="*/ 78 h 442"/>
              <a:gd name="T102" fmla="*/ 99 w 184"/>
              <a:gd name="T103" fmla="*/ 78 h 442"/>
              <a:gd name="T104" fmla="*/ 99 w 184"/>
              <a:gd name="T105" fmla="*/ 18 h 442"/>
              <a:gd name="T106" fmla="*/ 164 w 184"/>
              <a:gd name="T107" fmla="*/ 18 h 442"/>
              <a:gd name="T108" fmla="*/ 164 w 184"/>
              <a:gd name="T109" fmla="*/ 78 h 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4" h="442">
                <a:moveTo>
                  <a:pt x="0" y="0"/>
                </a:moveTo>
                <a:lnTo>
                  <a:pt x="0" y="442"/>
                </a:lnTo>
                <a:lnTo>
                  <a:pt x="184" y="442"/>
                </a:lnTo>
                <a:lnTo>
                  <a:pt x="184" y="0"/>
                </a:lnTo>
                <a:lnTo>
                  <a:pt x="0" y="0"/>
                </a:lnTo>
                <a:close/>
                <a:moveTo>
                  <a:pt x="85" y="370"/>
                </a:moveTo>
                <a:lnTo>
                  <a:pt x="19" y="370"/>
                </a:lnTo>
                <a:lnTo>
                  <a:pt x="19" y="310"/>
                </a:lnTo>
                <a:lnTo>
                  <a:pt x="85" y="310"/>
                </a:lnTo>
                <a:lnTo>
                  <a:pt x="85" y="370"/>
                </a:lnTo>
                <a:close/>
                <a:moveTo>
                  <a:pt x="85" y="296"/>
                </a:moveTo>
                <a:lnTo>
                  <a:pt x="19" y="296"/>
                </a:lnTo>
                <a:lnTo>
                  <a:pt x="19" y="237"/>
                </a:lnTo>
                <a:lnTo>
                  <a:pt x="85" y="237"/>
                </a:lnTo>
                <a:lnTo>
                  <a:pt x="85" y="296"/>
                </a:lnTo>
                <a:close/>
                <a:moveTo>
                  <a:pt x="85" y="223"/>
                </a:moveTo>
                <a:lnTo>
                  <a:pt x="19" y="223"/>
                </a:lnTo>
                <a:lnTo>
                  <a:pt x="19" y="164"/>
                </a:lnTo>
                <a:lnTo>
                  <a:pt x="85" y="164"/>
                </a:lnTo>
                <a:lnTo>
                  <a:pt x="85" y="223"/>
                </a:lnTo>
                <a:close/>
                <a:moveTo>
                  <a:pt x="85" y="151"/>
                </a:moveTo>
                <a:lnTo>
                  <a:pt x="19" y="151"/>
                </a:lnTo>
                <a:lnTo>
                  <a:pt x="19" y="91"/>
                </a:lnTo>
                <a:lnTo>
                  <a:pt x="85" y="91"/>
                </a:lnTo>
                <a:lnTo>
                  <a:pt x="85" y="151"/>
                </a:lnTo>
                <a:close/>
                <a:moveTo>
                  <a:pt x="85" y="78"/>
                </a:moveTo>
                <a:lnTo>
                  <a:pt x="19" y="78"/>
                </a:lnTo>
                <a:lnTo>
                  <a:pt x="19" y="18"/>
                </a:lnTo>
                <a:lnTo>
                  <a:pt x="85" y="18"/>
                </a:lnTo>
                <a:lnTo>
                  <a:pt x="85" y="78"/>
                </a:lnTo>
                <a:close/>
                <a:moveTo>
                  <a:pt x="164" y="370"/>
                </a:moveTo>
                <a:lnTo>
                  <a:pt x="99" y="370"/>
                </a:lnTo>
                <a:lnTo>
                  <a:pt x="99" y="310"/>
                </a:lnTo>
                <a:lnTo>
                  <a:pt x="164" y="310"/>
                </a:lnTo>
                <a:lnTo>
                  <a:pt x="164" y="370"/>
                </a:lnTo>
                <a:close/>
                <a:moveTo>
                  <a:pt x="164" y="296"/>
                </a:moveTo>
                <a:lnTo>
                  <a:pt x="99" y="296"/>
                </a:lnTo>
                <a:lnTo>
                  <a:pt x="99" y="237"/>
                </a:lnTo>
                <a:lnTo>
                  <a:pt x="164" y="237"/>
                </a:lnTo>
                <a:lnTo>
                  <a:pt x="164" y="296"/>
                </a:lnTo>
                <a:close/>
                <a:moveTo>
                  <a:pt x="164" y="223"/>
                </a:moveTo>
                <a:lnTo>
                  <a:pt x="99" y="223"/>
                </a:lnTo>
                <a:lnTo>
                  <a:pt x="99" y="164"/>
                </a:lnTo>
                <a:lnTo>
                  <a:pt x="164" y="164"/>
                </a:lnTo>
                <a:lnTo>
                  <a:pt x="164" y="223"/>
                </a:lnTo>
                <a:close/>
                <a:moveTo>
                  <a:pt x="164" y="151"/>
                </a:moveTo>
                <a:lnTo>
                  <a:pt x="99" y="151"/>
                </a:lnTo>
                <a:lnTo>
                  <a:pt x="99" y="91"/>
                </a:lnTo>
                <a:lnTo>
                  <a:pt x="164" y="91"/>
                </a:lnTo>
                <a:lnTo>
                  <a:pt x="164" y="151"/>
                </a:lnTo>
                <a:close/>
                <a:moveTo>
                  <a:pt x="164" y="78"/>
                </a:moveTo>
                <a:lnTo>
                  <a:pt x="99" y="78"/>
                </a:lnTo>
                <a:lnTo>
                  <a:pt x="99" y="18"/>
                </a:lnTo>
                <a:lnTo>
                  <a:pt x="164" y="18"/>
                </a:lnTo>
                <a:lnTo>
                  <a:pt x="164" y="78"/>
                </a:lnTo>
                <a:close/>
              </a:path>
            </a:pathLst>
          </a:custGeom>
          <a:solidFill>
            <a:srgbClr val="0070C0"/>
          </a:solidFill>
          <a:ln>
            <a:noFill/>
          </a:ln>
        </p:spPr>
        <p:txBody>
          <a:bodyPr vert="horz" wrap="square" lIns="89604" tIns="44802" rIns="89604" bIns="44802"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a:defRPr/>
            </a:pPr>
            <a:endParaRPr lang="en-US" sz="2353">
              <a:solidFill>
                <a:srgbClr val="000000"/>
              </a:solidFill>
            </a:endParaRPr>
          </a:p>
        </p:txBody>
      </p:sp>
      <p:sp>
        <p:nvSpPr>
          <p:cNvPr id="96" name="Freeform 95"/>
          <p:cNvSpPr>
            <a:spLocks noEditPoints="1"/>
          </p:cNvSpPr>
          <p:nvPr/>
        </p:nvSpPr>
        <p:spPr bwMode="auto">
          <a:xfrm>
            <a:off x="10943909" y="4206664"/>
            <a:ext cx="222512" cy="604489"/>
          </a:xfrm>
          <a:custGeom>
            <a:avLst/>
            <a:gdLst>
              <a:gd name="T0" fmla="*/ 148 w 164"/>
              <a:gd name="T1" fmla="*/ 181 h 442"/>
              <a:gd name="T2" fmla="*/ 148 w 164"/>
              <a:gd name="T3" fmla="*/ 136 h 442"/>
              <a:gd name="T4" fmla="*/ 123 w 164"/>
              <a:gd name="T5" fmla="*/ 136 h 442"/>
              <a:gd name="T6" fmla="*/ 123 w 164"/>
              <a:gd name="T7" fmla="*/ 84 h 442"/>
              <a:gd name="T8" fmla="*/ 101 w 164"/>
              <a:gd name="T9" fmla="*/ 84 h 442"/>
              <a:gd name="T10" fmla="*/ 101 w 164"/>
              <a:gd name="T11" fmla="*/ 45 h 442"/>
              <a:gd name="T12" fmla="*/ 87 w 164"/>
              <a:gd name="T13" fmla="*/ 45 h 442"/>
              <a:gd name="T14" fmla="*/ 87 w 164"/>
              <a:gd name="T15" fmla="*/ 0 h 442"/>
              <a:gd name="T16" fmla="*/ 77 w 164"/>
              <a:gd name="T17" fmla="*/ 0 h 442"/>
              <a:gd name="T18" fmla="*/ 77 w 164"/>
              <a:gd name="T19" fmla="*/ 45 h 442"/>
              <a:gd name="T20" fmla="*/ 63 w 164"/>
              <a:gd name="T21" fmla="*/ 45 h 442"/>
              <a:gd name="T22" fmla="*/ 63 w 164"/>
              <a:gd name="T23" fmla="*/ 84 h 442"/>
              <a:gd name="T24" fmla="*/ 41 w 164"/>
              <a:gd name="T25" fmla="*/ 84 h 442"/>
              <a:gd name="T26" fmla="*/ 41 w 164"/>
              <a:gd name="T27" fmla="*/ 136 h 442"/>
              <a:gd name="T28" fmla="*/ 16 w 164"/>
              <a:gd name="T29" fmla="*/ 136 h 442"/>
              <a:gd name="T30" fmla="*/ 16 w 164"/>
              <a:gd name="T31" fmla="*/ 181 h 442"/>
              <a:gd name="T32" fmla="*/ 0 w 164"/>
              <a:gd name="T33" fmla="*/ 181 h 442"/>
              <a:gd name="T34" fmla="*/ 0 w 164"/>
              <a:gd name="T35" fmla="*/ 442 h 442"/>
              <a:gd name="T36" fmla="*/ 164 w 164"/>
              <a:gd name="T37" fmla="*/ 442 h 442"/>
              <a:gd name="T38" fmla="*/ 164 w 164"/>
              <a:gd name="T39" fmla="*/ 181 h 442"/>
              <a:gd name="T40" fmla="*/ 148 w 164"/>
              <a:gd name="T41" fmla="*/ 181 h 442"/>
              <a:gd name="T42" fmla="*/ 16 w 164"/>
              <a:gd name="T43" fmla="*/ 207 h 442"/>
              <a:gd name="T44" fmla="*/ 82 w 164"/>
              <a:gd name="T45" fmla="*/ 207 h 442"/>
              <a:gd name="T46" fmla="*/ 82 w 164"/>
              <a:gd name="T47" fmla="*/ 266 h 442"/>
              <a:gd name="T48" fmla="*/ 16 w 164"/>
              <a:gd name="T49" fmla="*/ 266 h 442"/>
              <a:gd name="T50" fmla="*/ 16 w 164"/>
              <a:gd name="T51" fmla="*/ 207 h 442"/>
              <a:gd name="T52" fmla="*/ 82 w 164"/>
              <a:gd name="T53" fmla="*/ 411 h 442"/>
              <a:gd name="T54" fmla="*/ 16 w 164"/>
              <a:gd name="T55" fmla="*/ 411 h 442"/>
              <a:gd name="T56" fmla="*/ 16 w 164"/>
              <a:gd name="T57" fmla="*/ 352 h 442"/>
              <a:gd name="T58" fmla="*/ 82 w 164"/>
              <a:gd name="T59" fmla="*/ 352 h 442"/>
              <a:gd name="T60" fmla="*/ 82 w 164"/>
              <a:gd name="T61" fmla="*/ 411 h 442"/>
              <a:gd name="T62" fmla="*/ 148 w 164"/>
              <a:gd name="T63" fmla="*/ 340 h 442"/>
              <a:gd name="T64" fmla="*/ 82 w 164"/>
              <a:gd name="T65" fmla="*/ 340 h 442"/>
              <a:gd name="T66" fmla="*/ 82 w 164"/>
              <a:gd name="T67" fmla="*/ 280 h 442"/>
              <a:gd name="T68" fmla="*/ 148 w 164"/>
              <a:gd name="T69" fmla="*/ 280 h 442"/>
              <a:gd name="T70" fmla="*/ 148 w 164"/>
              <a:gd name="T71" fmla="*/ 340 h 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64" h="442">
                <a:moveTo>
                  <a:pt x="148" y="181"/>
                </a:moveTo>
                <a:lnTo>
                  <a:pt x="148" y="136"/>
                </a:lnTo>
                <a:lnTo>
                  <a:pt x="123" y="136"/>
                </a:lnTo>
                <a:lnTo>
                  <a:pt x="123" y="84"/>
                </a:lnTo>
                <a:lnTo>
                  <a:pt x="101" y="84"/>
                </a:lnTo>
                <a:lnTo>
                  <a:pt x="101" y="45"/>
                </a:lnTo>
                <a:lnTo>
                  <a:pt x="87" y="45"/>
                </a:lnTo>
                <a:lnTo>
                  <a:pt x="87" y="0"/>
                </a:lnTo>
                <a:lnTo>
                  <a:pt x="77" y="0"/>
                </a:lnTo>
                <a:lnTo>
                  <a:pt x="77" y="45"/>
                </a:lnTo>
                <a:lnTo>
                  <a:pt x="63" y="45"/>
                </a:lnTo>
                <a:lnTo>
                  <a:pt x="63" y="84"/>
                </a:lnTo>
                <a:lnTo>
                  <a:pt x="41" y="84"/>
                </a:lnTo>
                <a:lnTo>
                  <a:pt x="41" y="136"/>
                </a:lnTo>
                <a:lnTo>
                  <a:pt x="16" y="136"/>
                </a:lnTo>
                <a:lnTo>
                  <a:pt x="16" y="181"/>
                </a:lnTo>
                <a:lnTo>
                  <a:pt x="0" y="181"/>
                </a:lnTo>
                <a:lnTo>
                  <a:pt x="0" y="442"/>
                </a:lnTo>
                <a:lnTo>
                  <a:pt x="164" y="442"/>
                </a:lnTo>
                <a:lnTo>
                  <a:pt x="164" y="181"/>
                </a:lnTo>
                <a:lnTo>
                  <a:pt x="148" y="181"/>
                </a:lnTo>
                <a:close/>
                <a:moveTo>
                  <a:pt x="16" y="207"/>
                </a:moveTo>
                <a:lnTo>
                  <a:pt x="82" y="207"/>
                </a:lnTo>
                <a:lnTo>
                  <a:pt x="82" y="266"/>
                </a:lnTo>
                <a:lnTo>
                  <a:pt x="16" y="266"/>
                </a:lnTo>
                <a:lnTo>
                  <a:pt x="16" y="207"/>
                </a:lnTo>
                <a:close/>
                <a:moveTo>
                  <a:pt x="82" y="411"/>
                </a:moveTo>
                <a:lnTo>
                  <a:pt x="16" y="411"/>
                </a:lnTo>
                <a:lnTo>
                  <a:pt x="16" y="352"/>
                </a:lnTo>
                <a:lnTo>
                  <a:pt x="82" y="352"/>
                </a:lnTo>
                <a:lnTo>
                  <a:pt x="82" y="411"/>
                </a:lnTo>
                <a:close/>
                <a:moveTo>
                  <a:pt x="148" y="340"/>
                </a:moveTo>
                <a:lnTo>
                  <a:pt x="82" y="340"/>
                </a:lnTo>
                <a:lnTo>
                  <a:pt x="82" y="280"/>
                </a:lnTo>
                <a:lnTo>
                  <a:pt x="148" y="280"/>
                </a:lnTo>
                <a:lnTo>
                  <a:pt x="148" y="340"/>
                </a:lnTo>
                <a:close/>
              </a:path>
            </a:pathLst>
          </a:custGeom>
          <a:solidFill>
            <a:srgbClr val="0070C0"/>
          </a:solidFill>
          <a:ln>
            <a:noFill/>
          </a:ln>
        </p:spPr>
        <p:txBody>
          <a:bodyPr vert="horz" wrap="square" lIns="89604" tIns="44802" rIns="89604" bIns="44802"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a:defRPr/>
            </a:pPr>
            <a:endParaRPr lang="en-US" sz="2353">
              <a:solidFill>
                <a:srgbClr val="000000"/>
              </a:solidFill>
            </a:endParaRPr>
          </a:p>
        </p:txBody>
      </p:sp>
      <p:sp>
        <p:nvSpPr>
          <p:cNvPr id="97" name="Freeform 96"/>
          <p:cNvSpPr>
            <a:spLocks noEditPoints="1"/>
          </p:cNvSpPr>
          <p:nvPr/>
        </p:nvSpPr>
        <p:spPr bwMode="auto">
          <a:xfrm>
            <a:off x="11466267" y="4337957"/>
            <a:ext cx="222512" cy="473197"/>
          </a:xfrm>
          <a:custGeom>
            <a:avLst/>
            <a:gdLst>
              <a:gd name="T0" fmla="*/ 148 w 164"/>
              <a:gd name="T1" fmla="*/ 181 h 346"/>
              <a:gd name="T2" fmla="*/ 148 w 164"/>
              <a:gd name="T3" fmla="*/ 136 h 346"/>
              <a:gd name="T4" fmla="*/ 123 w 164"/>
              <a:gd name="T5" fmla="*/ 136 h 346"/>
              <a:gd name="T6" fmla="*/ 123 w 164"/>
              <a:gd name="T7" fmla="*/ 82 h 346"/>
              <a:gd name="T8" fmla="*/ 101 w 164"/>
              <a:gd name="T9" fmla="*/ 82 h 346"/>
              <a:gd name="T10" fmla="*/ 101 w 164"/>
              <a:gd name="T11" fmla="*/ 45 h 346"/>
              <a:gd name="T12" fmla="*/ 87 w 164"/>
              <a:gd name="T13" fmla="*/ 45 h 346"/>
              <a:gd name="T14" fmla="*/ 87 w 164"/>
              <a:gd name="T15" fmla="*/ 0 h 346"/>
              <a:gd name="T16" fmla="*/ 77 w 164"/>
              <a:gd name="T17" fmla="*/ 0 h 346"/>
              <a:gd name="T18" fmla="*/ 77 w 164"/>
              <a:gd name="T19" fmla="*/ 45 h 346"/>
              <a:gd name="T20" fmla="*/ 63 w 164"/>
              <a:gd name="T21" fmla="*/ 45 h 346"/>
              <a:gd name="T22" fmla="*/ 63 w 164"/>
              <a:gd name="T23" fmla="*/ 82 h 346"/>
              <a:gd name="T24" fmla="*/ 42 w 164"/>
              <a:gd name="T25" fmla="*/ 82 h 346"/>
              <a:gd name="T26" fmla="*/ 42 w 164"/>
              <a:gd name="T27" fmla="*/ 136 h 346"/>
              <a:gd name="T28" fmla="*/ 16 w 164"/>
              <a:gd name="T29" fmla="*/ 136 h 346"/>
              <a:gd name="T30" fmla="*/ 16 w 164"/>
              <a:gd name="T31" fmla="*/ 181 h 346"/>
              <a:gd name="T32" fmla="*/ 0 w 164"/>
              <a:gd name="T33" fmla="*/ 181 h 346"/>
              <a:gd name="T34" fmla="*/ 0 w 164"/>
              <a:gd name="T35" fmla="*/ 346 h 346"/>
              <a:gd name="T36" fmla="*/ 164 w 164"/>
              <a:gd name="T37" fmla="*/ 346 h 346"/>
              <a:gd name="T38" fmla="*/ 164 w 164"/>
              <a:gd name="T39" fmla="*/ 181 h 346"/>
              <a:gd name="T40" fmla="*/ 148 w 164"/>
              <a:gd name="T41" fmla="*/ 181 h 346"/>
              <a:gd name="T42" fmla="*/ 35 w 164"/>
              <a:gd name="T43" fmla="*/ 158 h 346"/>
              <a:gd name="T44" fmla="*/ 82 w 164"/>
              <a:gd name="T45" fmla="*/ 158 h 346"/>
              <a:gd name="T46" fmla="*/ 82 w 164"/>
              <a:gd name="T47" fmla="*/ 200 h 346"/>
              <a:gd name="T48" fmla="*/ 35 w 164"/>
              <a:gd name="T49" fmla="*/ 200 h 346"/>
              <a:gd name="T50" fmla="*/ 35 w 164"/>
              <a:gd name="T51" fmla="*/ 158 h 346"/>
              <a:gd name="T52" fmla="*/ 82 w 164"/>
              <a:gd name="T53" fmla="*/ 302 h 346"/>
              <a:gd name="T54" fmla="*/ 35 w 164"/>
              <a:gd name="T55" fmla="*/ 302 h 346"/>
              <a:gd name="T56" fmla="*/ 35 w 164"/>
              <a:gd name="T57" fmla="*/ 260 h 346"/>
              <a:gd name="T58" fmla="*/ 82 w 164"/>
              <a:gd name="T59" fmla="*/ 260 h 346"/>
              <a:gd name="T60" fmla="*/ 82 w 164"/>
              <a:gd name="T61" fmla="*/ 302 h 346"/>
              <a:gd name="T62" fmla="*/ 129 w 164"/>
              <a:gd name="T63" fmla="*/ 251 h 346"/>
              <a:gd name="T64" fmla="*/ 82 w 164"/>
              <a:gd name="T65" fmla="*/ 251 h 346"/>
              <a:gd name="T66" fmla="*/ 82 w 164"/>
              <a:gd name="T67" fmla="*/ 209 h 346"/>
              <a:gd name="T68" fmla="*/ 129 w 164"/>
              <a:gd name="T69" fmla="*/ 209 h 346"/>
              <a:gd name="T70" fmla="*/ 129 w 164"/>
              <a:gd name="T71" fmla="*/ 251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64" h="346">
                <a:moveTo>
                  <a:pt x="148" y="181"/>
                </a:moveTo>
                <a:lnTo>
                  <a:pt x="148" y="136"/>
                </a:lnTo>
                <a:lnTo>
                  <a:pt x="123" y="136"/>
                </a:lnTo>
                <a:lnTo>
                  <a:pt x="123" y="82"/>
                </a:lnTo>
                <a:lnTo>
                  <a:pt x="101" y="82"/>
                </a:lnTo>
                <a:lnTo>
                  <a:pt x="101" y="45"/>
                </a:lnTo>
                <a:lnTo>
                  <a:pt x="87" y="45"/>
                </a:lnTo>
                <a:lnTo>
                  <a:pt x="87" y="0"/>
                </a:lnTo>
                <a:lnTo>
                  <a:pt x="77" y="0"/>
                </a:lnTo>
                <a:lnTo>
                  <a:pt x="77" y="45"/>
                </a:lnTo>
                <a:lnTo>
                  <a:pt x="63" y="45"/>
                </a:lnTo>
                <a:lnTo>
                  <a:pt x="63" y="82"/>
                </a:lnTo>
                <a:lnTo>
                  <a:pt x="42" y="82"/>
                </a:lnTo>
                <a:lnTo>
                  <a:pt x="42" y="136"/>
                </a:lnTo>
                <a:lnTo>
                  <a:pt x="16" y="136"/>
                </a:lnTo>
                <a:lnTo>
                  <a:pt x="16" y="181"/>
                </a:lnTo>
                <a:lnTo>
                  <a:pt x="0" y="181"/>
                </a:lnTo>
                <a:lnTo>
                  <a:pt x="0" y="346"/>
                </a:lnTo>
                <a:lnTo>
                  <a:pt x="164" y="346"/>
                </a:lnTo>
                <a:lnTo>
                  <a:pt x="164" y="181"/>
                </a:lnTo>
                <a:lnTo>
                  <a:pt x="148" y="181"/>
                </a:lnTo>
                <a:close/>
                <a:moveTo>
                  <a:pt x="35" y="158"/>
                </a:moveTo>
                <a:lnTo>
                  <a:pt x="82" y="158"/>
                </a:lnTo>
                <a:lnTo>
                  <a:pt x="82" y="200"/>
                </a:lnTo>
                <a:lnTo>
                  <a:pt x="35" y="200"/>
                </a:lnTo>
                <a:lnTo>
                  <a:pt x="35" y="158"/>
                </a:lnTo>
                <a:close/>
                <a:moveTo>
                  <a:pt x="82" y="302"/>
                </a:moveTo>
                <a:lnTo>
                  <a:pt x="35" y="302"/>
                </a:lnTo>
                <a:lnTo>
                  <a:pt x="35" y="260"/>
                </a:lnTo>
                <a:lnTo>
                  <a:pt x="82" y="260"/>
                </a:lnTo>
                <a:lnTo>
                  <a:pt x="82" y="302"/>
                </a:lnTo>
                <a:close/>
                <a:moveTo>
                  <a:pt x="129" y="251"/>
                </a:moveTo>
                <a:lnTo>
                  <a:pt x="82" y="251"/>
                </a:lnTo>
                <a:lnTo>
                  <a:pt x="82" y="209"/>
                </a:lnTo>
                <a:lnTo>
                  <a:pt x="129" y="209"/>
                </a:lnTo>
                <a:lnTo>
                  <a:pt x="129" y="251"/>
                </a:lnTo>
                <a:close/>
              </a:path>
            </a:pathLst>
          </a:custGeom>
          <a:solidFill>
            <a:srgbClr val="0070C0"/>
          </a:solidFill>
          <a:ln>
            <a:noFill/>
          </a:ln>
        </p:spPr>
        <p:txBody>
          <a:bodyPr vert="horz" wrap="square" lIns="89604" tIns="44802" rIns="89604" bIns="44802"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a:defRPr/>
            </a:pPr>
            <a:endParaRPr lang="en-US" sz="2353">
              <a:solidFill>
                <a:srgbClr val="000000"/>
              </a:solidFill>
            </a:endParaRPr>
          </a:p>
        </p:txBody>
      </p:sp>
      <p:sp>
        <p:nvSpPr>
          <p:cNvPr id="131" name="Freeform 130"/>
          <p:cNvSpPr>
            <a:spLocks noEditPoints="1"/>
          </p:cNvSpPr>
          <p:nvPr/>
        </p:nvSpPr>
        <p:spPr bwMode="auto">
          <a:xfrm>
            <a:off x="11190843" y="4296927"/>
            <a:ext cx="251004" cy="514227"/>
          </a:xfrm>
          <a:custGeom>
            <a:avLst/>
            <a:gdLst>
              <a:gd name="T0" fmla="*/ 0 w 185"/>
              <a:gd name="T1" fmla="*/ 0 h 376"/>
              <a:gd name="T2" fmla="*/ 0 w 185"/>
              <a:gd name="T3" fmla="*/ 376 h 376"/>
              <a:gd name="T4" fmla="*/ 185 w 185"/>
              <a:gd name="T5" fmla="*/ 376 h 376"/>
              <a:gd name="T6" fmla="*/ 185 w 185"/>
              <a:gd name="T7" fmla="*/ 0 h 376"/>
              <a:gd name="T8" fmla="*/ 0 w 185"/>
              <a:gd name="T9" fmla="*/ 0 h 376"/>
              <a:gd name="T10" fmla="*/ 86 w 185"/>
              <a:gd name="T11" fmla="*/ 304 h 376"/>
              <a:gd name="T12" fmla="*/ 20 w 185"/>
              <a:gd name="T13" fmla="*/ 304 h 376"/>
              <a:gd name="T14" fmla="*/ 20 w 185"/>
              <a:gd name="T15" fmla="*/ 244 h 376"/>
              <a:gd name="T16" fmla="*/ 86 w 185"/>
              <a:gd name="T17" fmla="*/ 244 h 376"/>
              <a:gd name="T18" fmla="*/ 86 w 185"/>
              <a:gd name="T19" fmla="*/ 304 h 376"/>
              <a:gd name="T20" fmla="*/ 86 w 185"/>
              <a:gd name="T21" fmla="*/ 230 h 376"/>
              <a:gd name="T22" fmla="*/ 20 w 185"/>
              <a:gd name="T23" fmla="*/ 230 h 376"/>
              <a:gd name="T24" fmla="*/ 20 w 185"/>
              <a:gd name="T25" fmla="*/ 171 h 376"/>
              <a:gd name="T26" fmla="*/ 86 w 185"/>
              <a:gd name="T27" fmla="*/ 171 h 376"/>
              <a:gd name="T28" fmla="*/ 86 w 185"/>
              <a:gd name="T29" fmla="*/ 230 h 376"/>
              <a:gd name="T30" fmla="*/ 86 w 185"/>
              <a:gd name="T31" fmla="*/ 157 h 376"/>
              <a:gd name="T32" fmla="*/ 20 w 185"/>
              <a:gd name="T33" fmla="*/ 157 h 376"/>
              <a:gd name="T34" fmla="*/ 20 w 185"/>
              <a:gd name="T35" fmla="*/ 98 h 376"/>
              <a:gd name="T36" fmla="*/ 86 w 185"/>
              <a:gd name="T37" fmla="*/ 98 h 376"/>
              <a:gd name="T38" fmla="*/ 86 w 185"/>
              <a:gd name="T39" fmla="*/ 157 h 376"/>
              <a:gd name="T40" fmla="*/ 86 w 185"/>
              <a:gd name="T41" fmla="*/ 85 h 376"/>
              <a:gd name="T42" fmla="*/ 20 w 185"/>
              <a:gd name="T43" fmla="*/ 85 h 376"/>
              <a:gd name="T44" fmla="*/ 20 w 185"/>
              <a:gd name="T45" fmla="*/ 25 h 376"/>
              <a:gd name="T46" fmla="*/ 86 w 185"/>
              <a:gd name="T47" fmla="*/ 25 h 376"/>
              <a:gd name="T48" fmla="*/ 86 w 185"/>
              <a:gd name="T49" fmla="*/ 85 h 376"/>
              <a:gd name="T50" fmla="*/ 166 w 185"/>
              <a:gd name="T51" fmla="*/ 304 h 376"/>
              <a:gd name="T52" fmla="*/ 99 w 185"/>
              <a:gd name="T53" fmla="*/ 304 h 376"/>
              <a:gd name="T54" fmla="*/ 99 w 185"/>
              <a:gd name="T55" fmla="*/ 244 h 376"/>
              <a:gd name="T56" fmla="*/ 166 w 185"/>
              <a:gd name="T57" fmla="*/ 244 h 376"/>
              <a:gd name="T58" fmla="*/ 166 w 185"/>
              <a:gd name="T59" fmla="*/ 304 h 376"/>
              <a:gd name="T60" fmla="*/ 166 w 185"/>
              <a:gd name="T61" fmla="*/ 230 h 376"/>
              <a:gd name="T62" fmla="*/ 99 w 185"/>
              <a:gd name="T63" fmla="*/ 230 h 376"/>
              <a:gd name="T64" fmla="*/ 99 w 185"/>
              <a:gd name="T65" fmla="*/ 171 h 376"/>
              <a:gd name="T66" fmla="*/ 166 w 185"/>
              <a:gd name="T67" fmla="*/ 171 h 376"/>
              <a:gd name="T68" fmla="*/ 166 w 185"/>
              <a:gd name="T69" fmla="*/ 230 h 376"/>
              <a:gd name="T70" fmla="*/ 166 w 185"/>
              <a:gd name="T71" fmla="*/ 157 h 376"/>
              <a:gd name="T72" fmla="*/ 99 w 185"/>
              <a:gd name="T73" fmla="*/ 157 h 376"/>
              <a:gd name="T74" fmla="*/ 99 w 185"/>
              <a:gd name="T75" fmla="*/ 98 h 376"/>
              <a:gd name="T76" fmla="*/ 166 w 185"/>
              <a:gd name="T77" fmla="*/ 98 h 376"/>
              <a:gd name="T78" fmla="*/ 166 w 185"/>
              <a:gd name="T79" fmla="*/ 157 h 376"/>
              <a:gd name="T80" fmla="*/ 166 w 185"/>
              <a:gd name="T81" fmla="*/ 85 h 376"/>
              <a:gd name="T82" fmla="*/ 99 w 185"/>
              <a:gd name="T83" fmla="*/ 85 h 376"/>
              <a:gd name="T84" fmla="*/ 99 w 185"/>
              <a:gd name="T85" fmla="*/ 25 h 376"/>
              <a:gd name="T86" fmla="*/ 166 w 185"/>
              <a:gd name="T87" fmla="*/ 25 h 376"/>
              <a:gd name="T88" fmla="*/ 166 w 185"/>
              <a:gd name="T89" fmla="*/ 85 h 3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85" h="376">
                <a:moveTo>
                  <a:pt x="0" y="0"/>
                </a:moveTo>
                <a:lnTo>
                  <a:pt x="0" y="376"/>
                </a:lnTo>
                <a:lnTo>
                  <a:pt x="185" y="376"/>
                </a:lnTo>
                <a:lnTo>
                  <a:pt x="185" y="0"/>
                </a:lnTo>
                <a:lnTo>
                  <a:pt x="0" y="0"/>
                </a:lnTo>
                <a:close/>
                <a:moveTo>
                  <a:pt x="86" y="304"/>
                </a:moveTo>
                <a:lnTo>
                  <a:pt x="20" y="304"/>
                </a:lnTo>
                <a:lnTo>
                  <a:pt x="20" y="244"/>
                </a:lnTo>
                <a:lnTo>
                  <a:pt x="86" y="244"/>
                </a:lnTo>
                <a:lnTo>
                  <a:pt x="86" y="304"/>
                </a:lnTo>
                <a:close/>
                <a:moveTo>
                  <a:pt x="86" y="230"/>
                </a:moveTo>
                <a:lnTo>
                  <a:pt x="20" y="230"/>
                </a:lnTo>
                <a:lnTo>
                  <a:pt x="20" y="171"/>
                </a:lnTo>
                <a:lnTo>
                  <a:pt x="86" y="171"/>
                </a:lnTo>
                <a:lnTo>
                  <a:pt x="86" y="230"/>
                </a:lnTo>
                <a:close/>
                <a:moveTo>
                  <a:pt x="86" y="157"/>
                </a:moveTo>
                <a:lnTo>
                  <a:pt x="20" y="157"/>
                </a:lnTo>
                <a:lnTo>
                  <a:pt x="20" y="98"/>
                </a:lnTo>
                <a:lnTo>
                  <a:pt x="86" y="98"/>
                </a:lnTo>
                <a:lnTo>
                  <a:pt x="86" y="157"/>
                </a:lnTo>
                <a:close/>
                <a:moveTo>
                  <a:pt x="86" y="85"/>
                </a:moveTo>
                <a:lnTo>
                  <a:pt x="20" y="85"/>
                </a:lnTo>
                <a:lnTo>
                  <a:pt x="20" y="25"/>
                </a:lnTo>
                <a:lnTo>
                  <a:pt x="86" y="25"/>
                </a:lnTo>
                <a:lnTo>
                  <a:pt x="86" y="85"/>
                </a:lnTo>
                <a:close/>
                <a:moveTo>
                  <a:pt x="166" y="304"/>
                </a:moveTo>
                <a:lnTo>
                  <a:pt x="99" y="304"/>
                </a:lnTo>
                <a:lnTo>
                  <a:pt x="99" y="244"/>
                </a:lnTo>
                <a:lnTo>
                  <a:pt x="166" y="244"/>
                </a:lnTo>
                <a:lnTo>
                  <a:pt x="166" y="304"/>
                </a:lnTo>
                <a:close/>
                <a:moveTo>
                  <a:pt x="166" y="230"/>
                </a:moveTo>
                <a:lnTo>
                  <a:pt x="99" y="230"/>
                </a:lnTo>
                <a:lnTo>
                  <a:pt x="99" y="171"/>
                </a:lnTo>
                <a:lnTo>
                  <a:pt x="166" y="171"/>
                </a:lnTo>
                <a:lnTo>
                  <a:pt x="166" y="230"/>
                </a:lnTo>
                <a:close/>
                <a:moveTo>
                  <a:pt x="166" y="157"/>
                </a:moveTo>
                <a:lnTo>
                  <a:pt x="99" y="157"/>
                </a:lnTo>
                <a:lnTo>
                  <a:pt x="99" y="98"/>
                </a:lnTo>
                <a:lnTo>
                  <a:pt x="166" y="98"/>
                </a:lnTo>
                <a:lnTo>
                  <a:pt x="166" y="157"/>
                </a:lnTo>
                <a:close/>
                <a:moveTo>
                  <a:pt x="166" y="85"/>
                </a:moveTo>
                <a:lnTo>
                  <a:pt x="99" y="85"/>
                </a:lnTo>
                <a:lnTo>
                  <a:pt x="99" y="25"/>
                </a:lnTo>
                <a:lnTo>
                  <a:pt x="166" y="25"/>
                </a:lnTo>
                <a:lnTo>
                  <a:pt x="166" y="85"/>
                </a:lnTo>
                <a:close/>
              </a:path>
            </a:pathLst>
          </a:custGeom>
          <a:solidFill>
            <a:srgbClr val="0070C0"/>
          </a:solidFill>
          <a:ln>
            <a:noFill/>
          </a:ln>
        </p:spPr>
        <p:txBody>
          <a:bodyPr vert="horz" wrap="square" lIns="89604" tIns="44802" rIns="89604" bIns="44802"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a:defRPr/>
            </a:pPr>
            <a:endParaRPr lang="en-US" sz="2353">
              <a:solidFill>
                <a:srgbClr val="000000"/>
              </a:solidFill>
            </a:endParaRPr>
          </a:p>
        </p:txBody>
      </p:sp>
      <p:sp>
        <p:nvSpPr>
          <p:cNvPr id="83" name="Freeform 82"/>
          <p:cNvSpPr>
            <a:spLocks/>
          </p:cNvSpPr>
          <p:nvPr/>
        </p:nvSpPr>
        <p:spPr bwMode="auto">
          <a:xfrm>
            <a:off x="7304440" y="5031137"/>
            <a:ext cx="4752529" cy="76734"/>
          </a:xfrm>
          <a:custGeom>
            <a:avLst/>
            <a:gdLst>
              <a:gd name="T0" fmla="*/ 2028 w 2087"/>
              <a:gd name="T1" fmla="*/ 139 h 139"/>
              <a:gd name="T2" fmla="*/ 59 w 2087"/>
              <a:gd name="T3" fmla="*/ 139 h 139"/>
              <a:gd name="T4" fmla="*/ 26 w 2087"/>
              <a:gd name="T5" fmla="*/ 65 h 139"/>
              <a:gd name="T6" fmla="*/ 73 w 2087"/>
              <a:gd name="T7" fmla="*/ 14 h 139"/>
              <a:gd name="T8" fmla="*/ 106 w 2087"/>
              <a:gd name="T9" fmla="*/ 0 h 139"/>
              <a:gd name="T10" fmla="*/ 1981 w 2087"/>
              <a:gd name="T11" fmla="*/ 0 h 139"/>
              <a:gd name="T12" fmla="*/ 2014 w 2087"/>
              <a:gd name="T13" fmla="*/ 14 h 139"/>
              <a:gd name="T14" fmla="*/ 2061 w 2087"/>
              <a:gd name="T15" fmla="*/ 65 h 139"/>
              <a:gd name="T16" fmla="*/ 2028 w 2087"/>
              <a:gd name="T17" fmla="*/ 139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87" h="139">
                <a:moveTo>
                  <a:pt x="2028" y="139"/>
                </a:moveTo>
                <a:cubicBezTo>
                  <a:pt x="59" y="139"/>
                  <a:pt x="59" y="139"/>
                  <a:pt x="59" y="139"/>
                </a:cubicBezTo>
                <a:cubicBezTo>
                  <a:pt x="20" y="139"/>
                  <a:pt x="0" y="94"/>
                  <a:pt x="26" y="65"/>
                </a:cubicBezTo>
                <a:cubicBezTo>
                  <a:pt x="73" y="14"/>
                  <a:pt x="73" y="14"/>
                  <a:pt x="73" y="14"/>
                </a:cubicBezTo>
                <a:cubicBezTo>
                  <a:pt x="82" y="5"/>
                  <a:pt x="94" y="0"/>
                  <a:pt x="106" y="0"/>
                </a:cubicBezTo>
                <a:cubicBezTo>
                  <a:pt x="1981" y="0"/>
                  <a:pt x="1981" y="0"/>
                  <a:pt x="1981" y="0"/>
                </a:cubicBezTo>
                <a:cubicBezTo>
                  <a:pt x="1994" y="0"/>
                  <a:pt x="2006" y="5"/>
                  <a:pt x="2014" y="14"/>
                </a:cubicBezTo>
                <a:cubicBezTo>
                  <a:pt x="2061" y="65"/>
                  <a:pt x="2061" y="65"/>
                  <a:pt x="2061" y="65"/>
                </a:cubicBezTo>
                <a:cubicBezTo>
                  <a:pt x="2087" y="94"/>
                  <a:pt x="2067" y="139"/>
                  <a:pt x="2028" y="139"/>
                </a:cubicBezTo>
                <a:close/>
              </a:path>
            </a:pathLst>
          </a:custGeom>
          <a:solidFill>
            <a:srgbClr val="DDDCD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a:defRPr/>
            </a:pPr>
            <a:endParaRPr lang="en-US" sz="2353">
              <a:solidFill>
                <a:srgbClr val="000000"/>
              </a:solidFill>
            </a:endParaRPr>
          </a:p>
        </p:txBody>
      </p:sp>
      <p:sp>
        <p:nvSpPr>
          <p:cNvPr id="84" name="Freeform 83"/>
          <p:cNvSpPr>
            <a:spLocks noChangeAspect="1"/>
          </p:cNvSpPr>
          <p:nvPr/>
        </p:nvSpPr>
        <p:spPr bwMode="auto">
          <a:xfrm>
            <a:off x="9454718" y="1251057"/>
            <a:ext cx="2468880" cy="1529225"/>
          </a:xfrm>
          <a:custGeom>
            <a:avLst/>
            <a:gdLst>
              <a:gd name="T0" fmla="*/ 860 w 994"/>
              <a:gd name="T1" fmla="*/ 342 h 610"/>
              <a:gd name="T2" fmla="*/ 858 w 994"/>
              <a:gd name="T3" fmla="*/ 342 h 610"/>
              <a:gd name="T4" fmla="*/ 860 w 994"/>
              <a:gd name="T5" fmla="*/ 305 h 610"/>
              <a:gd name="T6" fmla="*/ 555 w 994"/>
              <a:gd name="T7" fmla="*/ 0 h 610"/>
              <a:gd name="T8" fmla="*/ 272 w 994"/>
              <a:gd name="T9" fmla="*/ 193 h 610"/>
              <a:gd name="T10" fmla="*/ 212 w 994"/>
              <a:gd name="T11" fmla="*/ 185 h 610"/>
              <a:gd name="T12" fmla="*/ 0 w 994"/>
              <a:gd name="T13" fmla="*/ 397 h 610"/>
              <a:gd name="T14" fmla="*/ 212 w 994"/>
              <a:gd name="T15" fmla="*/ 610 h 610"/>
              <a:gd name="T16" fmla="*/ 860 w 994"/>
              <a:gd name="T17" fmla="*/ 610 h 610"/>
              <a:gd name="T18" fmla="*/ 994 w 994"/>
              <a:gd name="T19" fmla="*/ 476 h 610"/>
              <a:gd name="T20" fmla="*/ 860 w 994"/>
              <a:gd name="T21" fmla="*/ 342 h 6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94" h="610">
                <a:moveTo>
                  <a:pt x="860" y="342"/>
                </a:moveTo>
                <a:cubicBezTo>
                  <a:pt x="859" y="342"/>
                  <a:pt x="858" y="342"/>
                  <a:pt x="858" y="342"/>
                </a:cubicBezTo>
                <a:cubicBezTo>
                  <a:pt x="859" y="330"/>
                  <a:pt x="860" y="318"/>
                  <a:pt x="860" y="305"/>
                </a:cubicBezTo>
                <a:cubicBezTo>
                  <a:pt x="860" y="137"/>
                  <a:pt x="723" y="0"/>
                  <a:pt x="555" y="0"/>
                </a:cubicBezTo>
                <a:cubicBezTo>
                  <a:pt x="426" y="0"/>
                  <a:pt x="316" y="80"/>
                  <a:pt x="272" y="193"/>
                </a:cubicBezTo>
                <a:cubicBezTo>
                  <a:pt x="253" y="188"/>
                  <a:pt x="233" y="185"/>
                  <a:pt x="212" y="185"/>
                </a:cubicBezTo>
                <a:cubicBezTo>
                  <a:pt x="95" y="185"/>
                  <a:pt x="0" y="280"/>
                  <a:pt x="0" y="397"/>
                </a:cubicBezTo>
                <a:cubicBezTo>
                  <a:pt x="0" y="515"/>
                  <a:pt x="95" y="610"/>
                  <a:pt x="212" y="610"/>
                </a:cubicBezTo>
                <a:cubicBezTo>
                  <a:pt x="860" y="610"/>
                  <a:pt x="860" y="610"/>
                  <a:pt x="860" y="610"/>
                </a:cubicBezTo>
                <a:cubicBezTo>
                  <a:pt x="934" y="610"/>
                  <a:pt x="994" y="550"/>
                  <a:pt x="994" y="476"/>
                </a:cubicBezTo>
                <a:cubicBezTo>
                  <a:pt x="994" y="402"/>
                  <a:pt x="934" y="342"/>
                  <a:pt x="860" y="342"/>
                </a:cubicBezTo>
                <a:close/>
              </a:path>
            </a:pathLst>
          </a:custGeom>
          <a:solidFill>
            <a:schemeClr val="accent3">
              <a:lumMod val="40000"/>
              <a:lumOff val="60000"/>
            </a:scheme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defTabSz="913330" fontAlgn="base">
              <a:spcBef>
                <a:spcPct val="0"/>
              </a:spcBef>
              <a:spcAft>
                <a:spcPct val="0"/>
              </a:spcAft>
            </a:pPr>
            <a:endParaRPr lang="en-US" sz="2353">
              <a:solidFill>
                <a:srgbClr val="000000"/>
              </a:solidFill>
              <a:ea typeface="MS PGothic" charset="0"/>
              <a:cs typeface="MS PGothic" charset="0"/>
            </a:endParaRPr>
          </a:p>
        </p:txBody>
      </p:sp>
      <p:sp>
        <p:nvSpPr>
          <p:cNvPr id="85" name="Freeform 84"/>
          <p:cNvSpPr>
            <a:spLocks noChangeAspect="1"/>
          </p:cNvSpPr>
          <p:nvPr/>
        </p:nvSpPr>
        <p:spPr bwMode="auto">
          <a:xfrm>
            <a:off x="9696997" y="1895297"/>
            <a:ext cx="2377440" cy="1084508"/>
          </a:xfrm>
          <a:custGeom>
            <a:avLst/>
            <a:gdLst>
              <a:gd name="T0" fmla="*/ 951 w 1004"/>
              <a:gd name="T1" fmla="*/ 296 h 454"/>
              <a:gd name="T2" fmla="*/ 809 w 1004"/>
              <a:gd name="T3" fmla="*/ 168 h 454"/>
              <a:gd name="T4" fmla="*/ 730 w 1004"/>
              <a:gd name="T5" fmla="*/ 191 h 454"/>
              <a:gd name="T6" fmla="*/ 506 w 1004"/>
              <a:gd name="T7" fmla="*/ 0 h 454"/>
              <a:gd name="T8" fmla="*/ 286 w 1004"/>
              <a:gd name="T9" fmla="*/ 169 h 454"/>
              <a:gd name="T10" fmla="*/ 266 w 1004"/>
              <a:gd name="T11" fmla="*/ 168 h 454"/>
              <a:gd name="T12" fmla="*/ 133 w 1004"/>
              <a:gd name="T13" fmla="*/ 256 h 454"/>
              <a:gd name="T14" fmla="*/ 102 w 1004"/>
              <a:gd name="T15" fmla="*/ 251 h 454"/>
              <a:gd name="T16" fmla="*/ 0 w 1004"/>
              <a:gd name="T17" fmla="*/ 353 h 454"/>
              <a:gd name="T18" fmla="*/ 102 w 1004"/>
              <a:gd name="T19" fmla="*/ 454 h 454"/>
              <a:gd name="T20" fmla="*/ 921 w 1004"/>
              <a:gd name="T21" fmla="*/ 454 h 454"/>
              <a:gd name="T22" fmla="*/ 1004 w 1004"/>
              <a:gd name="T23" fmla="*/ 372 h 454"/>
              <a:gd name="T24" fmla="*/ 951 w 1004"/>
              <a:gd name="T25" fmla="*/ 296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04" h="454">
                <a:moveTo>
                  <a:pt x="951" y="296"/>
                </a:moveTo>
                <a:cubicBezTo>
                  <a:pt x="944" y="224"/>
                  <a:pt x="883" y="168"/>
                  <a:pt x="809" y="168"/>
                </a:cubicBezTo>
                <a:cubicBezTo>
                  <a:pt x="780" y="168"/>
                  <a:pt x="753" y="176"/>
                  <a:pt x="730" y="191"/>
                </a:cubicBezTo>
                <a:cubicBezTo>
                  <a:pt x="713" y="83"/>
                  <a:pt x="619" y="0"/>
                  <a:pt x="506" y="0"/>
                </a:cubicBezTo>
                <a:cubicBezTo>
                  <a:pt x="401" y="0"/>
                  <a:pt x="312" y="72"/>
                  <a:pt x="286" y="169"/>
                </a:cubicBezTo>
                <a:cubicBezTo>
                  <a:pt x="280" y="168"/>
                  <a:pt x="273" y="168"/>
                  <a:pt x="266" y="168"/>
                </a:cubicBezTo>
                <a:cubicBezTo>
                  <a:pt x="206" y="168"/>
                  <a:pt x="155" y="204"/>
                  <a:pt x="133" y="256"/>
                </a:cubicBezTo>
                <a:cubicBezTo>
                  <a:pt x="123" y="253"/>
                  <a:pt x="113" y="251"/>
                  <a:pt x="102" y="251"/>
                </a:cubicBezTo>
                <a:cubicBezTo>
                  <a:pt x="45" y="251"/>
                  <a:pt x="0" y="297"/>
                  <a:pt x="0" y="353"/>
                </a:cubicBezTo>
                <a:cubicBezTo>
                  <a:pt x="0" y="409"/>
                  <a:pt x="45" y="454"/>
                  <a:pt x="102" y="454"/>
                </a:cubicBezTo>
                <a:cubicBezTo>
                  <a:pt x="921" y="454"/>
                  <a:pt x="921" y="454"/>
                  <a:pt x="921" y="454"/>
                </a:cubicBezTo>
                <a:cubicBezTo>
                  <a:pt x="967" y="454"/>
                  <a:pt x="1004" y="417"/>
                  <a:pt x="1004" y="372"/>
                </a:cubicBezTo>
                <a:cubicBezTo>
                  <a:pt x="1004" y="337"/>
                  <a:pt x="982" y="308"/>
                  <a:pt x="951" y="296"/>
                </a:cubicBezTo>
                <a:close/>
              </a:path>
            </a:pathLst>
          </a:custGeom>
          <a:solidFill>
            <a:schemeClr val="accent3">
              <a:lumMod val="20000"/>
              <a:lumOff val="80000"/>
            </a:scheme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a:defRPr/>
            </a:pPr>
            <a:endParaRPr lang="en-US" sz="2353">
              <a:solidFill>
                <a:srgbClr val="000000"/>
              </a:solidFill>
            </a:endParaRPr>
          </a:p>
        </p:txBody>
      </p:sp>
      <p:pic>
        <p:nvPicPr>
          <p:cNvPr id="86" name="Picture 85"/>
          <p:cNvPicPr>
            <a:picLocks noChangeAspect="1"/>
          </p:cNvPicPr>
          <p:nvPr/>
        </p:nvPicPr>
        <p:blipFill>
          <a:blip r:embed="rId5" cstate="screen">
            <a:extLst>
              <a:ext uri="{28A0092B-C50C-407E-A947-70E740481C1C}">
                <a14:useLocalDpi xmlns:a14="http://schemas.microsoft.com/office/drawing/2010/main" val="0"/>
              </a:ext>
            </a:extLst>
          </a:blip>
          <a:stretch>
            <a:fillRect/>
          </a:stretch>
        </p:blipFill>
        <p:spPr>
          <a:xfrm>
            <a:off x="7724650" y="1921741"/>
            <a:ext cx="2103120" cy="1192464"/>
          </a:xfrm>
          <a:prstGeom prst="rect">
            <a:avLst/>
          </a:prstGeom>
          <a:ln>
            <a:noFill/>
          </a:ln>
          <a:effectLst>
            <a:outerShdw blurRad="50800" dist="38100" dir="2700000" algn="tl" rotWithShape="0">
              <a:prstClr val="black">
                <a:alpha val="40000"/>
              </a:prstClr>
            </a:outerShdw>
          </a:effectLst>
        </p:spPr>
      </p:pic>
      <p:sp>
        <p:nvSpPr>
          <p:cNvPr id="87" name="TextBox 86"/>
          <p:cNvSpPr txBox="1"/>
          <p:nvPr/>
        </p:nvSpPr>
        <p:spPr>
          <a:xfrm>
            <a:off x="6491387" y="1821349"/>
            <a:ext cx="1617816" cy="554151"/>
          </a:xfrm>
          <a:prstGeom prst="rect">
            <a:avLst/>
          </a:prstGeom>
          <a:noFill/>
        </p:spPr>
        <p:txBody>
          <a:bodyPr wrap="square" lIns="179208" tIns="143366" rIns="179208" bIns="143366" rtlCol="0">
            <a:noAutofit/>
          </a:bodyPr>
          <a:lstStyle/>
          <a:p>
            <a:pPr marL="335951" indent="-335951" defTabSz="912979" fontAlgn="base">
              <a:lnSpc>
                <a:spcPct val="90000"/>
              </a:lnSpc>
              <a:spcBef>
                <a:spcPct val="0"/>
              </a:spcBef>
              <a:spcAft>
                <a:spcPts val="588"/>
              </a:spcAft>
              <a:buFont typeface="Wingdings 3" panose="05040102010807070707" pitchFamily="18" charset="2"/>
              <a:buChar char="Æ"/>
            </a:pPr>
            <a:endParaRPr lang="en-US" sz="2353" err="1">
              <a:gradFill>
                <a:gsLst>
                  <a:gs pos="2917">
                    <a:srgbClr val="000000"/>
                  </a:gs>
                  <a:gs pos="30000">
                    <a:srgbClr val="000000"/>
                  </a:gs>
                </a:gsLst>
                <a:lin ang="5400000" scaled="0"/>
              </a:gradFill>
              <a:ea typeface="MS PGothic" charset="0"/>
            </a:endParaRPr>
          </a:p>
        </p:txBody>
      </p:sp>
      <p:sp>
        <p:nvSpPr>
          <p:cNvPr id="88" name="Freeform 23"/>
          <p:cNvSpPr>
            <a:spLocks noEditPoints="1"/>
          </p:cNvSpPr>
          <p:nvPr/>
        </p:nvSpPr>
        <p:spPr bwMode="black">
          <a:xfrm>
            <a:off x="7640184" y="3913582"/>
            <a:ext cx="466066" cy="459533"/>
          </a:xfrm>
          <a:custGeom>
            <a:avLst/>
            <a:gdLst>
              <a:gd name="T0" fmla="*/ 709 w 709"/>
              <a:gd name="T1" fmla="*/ 570 h 709"/>
              <a:gd name="T2" fmla="*/ 373 w 709"/>
              <a:gd name="T3" fmla="*/ 709 h 709"/>
              <a:gd name="T4" fmla="*/ 373 w 709"/>
              <a:gd name="T5" fmla="*/ 294 h 709"/>
              <a:gd name="T6" fmla="*/ 709 w 709"/>
              <a:gd name="T7" fmla="*/ 154 h 709"/>
              <a:gd name="T8" fmla="*/ 709 w 709"/>
              <a:gd name="T9" fmla="*/ 570 h 709"/>
              <a:gd name="T10" fmla="*/ 335 w 709"/>
              <a:gd name="T11" fmla="*/ 294 h 709"/>
              <a:gd name="T12" fmla="*/ 0 w 709"/>
              <a:gd name="T13" fmla="*/ 154 h 709"/>
              <a:gd name="T14" fmla="*/ 0 w 709"/>
              <a:gd name="T15" fmla="*/ 570 h 709"/>
              <a:gd name="T16" fmla="*/ 335 w 709"/>
              <a:gd name="T17" fmla="*/ 709 h 709"/>
              <a:gd name="T18" fmla="*/ 335 w 709"/>
              <a:gd name="T19" fmla="*/ 294 h 709"/>
              <a:gd name="T20" fmla="*/ 354 w 709"/>
              <a:gd name="T21" fmla="*/ 0 h 709"/>
              <a:gd name="T22" fmla="*/ 0 w 709"/>
              <a:gd name="T23" fmla="*/ 126 h 709"/>
              <a:gd name="T24" fmla="*/ 354 w 709"/>
              <a:gd name="T25" fmla="*/ 268 h 709"/>
              <a:gd name="T26" fmla="*/ 709 w 709"/>
              <a:gd name="T27" fmla="*/ 126 h 709"/>
              <a:gd name="T28" fmla="*/ 354 w 709"/>
              <a:gd name="T29" fmla="*/ 0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09" h="709">
                <a:moveTo>
                  <a:pt x="709" y="570"/>
                </a:moveTo>
                <a:lnTo>
                  <a:pt x="373" y="709"/>
                </a:lnTo>
                <a:lnTo>
                  <a:pt x="373" y="294"/>
                </a:lnTo>
                <a:lnTo>
                  <a:pt x="709" y="154"/>
                </a:lnTo>
                <a:lnTo>
                  <a:pt x="709" y="570"/>
                </a:lnTo>
                <a:close/>
                <a:moveTo>
                  <a:pt x="335" y="294"/>
                </a:moveTo>
                <a:lnTo>
                  <a:pt x="0" y="154"/>
                </a:lnTo>
                <a:lnTo>
                  <a:pt x="0" y="570"/>
                </a:lnTo>
                <a:lnTo>
                  <a:pt x="335" y="709"/>
                </a:lnTo>
                <a:lnTo>
                  <a:pt x="335" y="294"/>
                </a:lnTo>
                <a:close/>
                <a:moveTo>
                  <a:pt x="354" y="0"/>
                </a:moveTo>
                <a:lnTo>
                  <a:pt x="0" y="126"/>
                </a:lnTo>
                <a:lnTo>
                  <a:pt x="354" y="268"/>
                </a:lnTo>
                <a:lnTo>
                  <a:pt x="709" y="126"/>
                </a:lnTo>
                <a:lnTo>
                  <a:pt x="354" y="0"/>
                </a:lnTo>
                <a:close/>
              </a:path>
            </a:pathLst>
          </a:custGeom>
          <a:solidFill>
            <a:srgbClr val="0070C0"/>
          </a:solidFill>
          <a:ln>
            <a:noFill/>
          </a:ln>
        </p:spPr>
        <p:txBody>
          <a:bodyPr vert="horz" wrap="square" lIns="80653" tIns="40326" rIns="80653" bIns="40326" numCol="1" anchor="t" anchorCtr="0" compatLnSpc="1">
            <a:prstTxWarp prst="textNoShape">
              <a:avLst/>
            </a:prstTxWarp>
          </a:bodyPr>
          <a:lstStyle/>
          <a:p>
            <a:pPr defTabSz="913841">
              <a:defRPr/>
            </a:pPr>
            <a:endParaRPr lang="en-US" sz="1567" kern="0">
              <a:ln>
                <a:solidFill>
                  <a:srgbClr val="FFFFFF">
                    <a:alpha val="0"/>
                  </a:srgbClr>
                </a:solidFill>
              </a:ln>
              <a:solidFill>
                <a:srgbClr val="000000"/>
              </a:solidFill>
            </a:endParaRPr>
          </a:p>
        </p:txBody>
      </p:sp>
      <p:sp>
        <p:nvSpPr>
          <p:cNvPr id="89" name="Freeform 5"/>
          <p:cNvSpPr>
            <a:spLocks noEditPoints="1"/>
          </p:cNvSpPr>
          <p:nvPr/>
        </p:nvSpPr>
        <p:spPr bwMode="auto">
          <a:xfrm>
            <a:off x="9363237" y="3913581"/>
            <a:ext cx="415685" cy="448082"/>
          </a:xfrm>
          <a:custGeom>
            <a:avLst/>
            <a:gdLst>
              <a:gd name="T0" fmla="*/ 1460 w 1460"/>
              <a:gd name="T1" fmla="*/ 384 h 1615"/>
              <a:gd name="T2" fmla="*/ 1460 w 1460"/>
              <a:gd name="T3" fmla="*/ 1359 h 1615"/>
              <a:gd name="T4" fmla="*/ 1460 w 1460"/>
              <a:gd name="T5" fmla="*/ 1359 h 1615"/>
              <a:gd name="T6" fmla="*/ 730 w 1460"/>
              <a:gd name="T7" fmla="*/ 1615 h 1615"/>
              <a:gd name="T8" fmla="*/ 0 w 1460"/>
              <a:gd name="T9" fmla="*/ 1359 h 1615"/>
              <a:gd name="T10" fmla="*/ 0 w 1460"/>
              <a:gd name="T11" fmla="*/ 1359 h 1615"/>
              <a:gd name="T12" fmla="*/ 0 w 1460"/>
              <a:gd name="T13" fmla="*/ 1359 h 1615"/>
              <a:gd name="T14" fmla="*/ 0 w 1460"/>
              <a:gd name="T15" fmla="*/ 1339 h 1615"/>
              <a:gd name="T16" fmla="*/ 0 w 1460"/>
              <a:gd name="T17" fmla="*/ 1329 h 1615"/>
              <a:gd name="T18" fmla="*/ 0 w 1460"/>
              <a:gd name="T19" fmla="*/ 394 h 1615"/>
              <a:gd name="T20" fmla="*/ 730 w 1460"/>
              <a:gd name="T21" fmla="*/ 591 h 1615"/>
              <a:gd name="T22" fmla="*/ 1460 w 1460"/>
              <a:gd name="T23" fmla="*/ 384 h 1615"/>
              <a:gd name="T24" fmla="*/ 730 w 1460"/>
              <a:gd name="T25" fmla="*/ 541 h 1615"/>
              <a:gd name="T26" fmla="*/ 1460 w 1460"/>
              <a:gd name="T27" fmla="*/ 275 h 1615"/>
              <a:gd name="T28" fmla="*/ 730 w 1460"/>
              <a:gd name="T29" fmla="*/ 0 h 1615"/>
              <a:gd name="T30" fmla="*/ 0 w 1460"/>
              <a:gd name="T31" fmla="*/ 275 h 1615"/>
              <a:gd name="T32" fmla="*/ 730 w 1460"/>
              <a:gd name="T33" fmla="*/ 541 h 16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60" h="1615">
                <a:moveTo>
                  <a:pt x="1460" y="384"/>
                </a:moveTo>
                <a:cubicBezTo>
                  <a:pt x="1460" y="1359"/>
                  <a:pt x="1460" y="1359"/>
                  <a:pt x="1460" y="1359"/>
                </a:cubicBezTo>
                <a:cubicBezTo>
                  <a:pt x="1460" y="1359"/>
                  <a:pt x="1460" y="1359"/>
                  <a:pt x="1460" y="1359"/>
                </a:cubicBezTo>
                <a:cubicBezTo>
                  <a:pt x="1431" y="1507"/>
                  <a:pt x="1115" y="1615"/>
                  <a:pt x="730" y="1615"/>
                </a:cubicBezTo>
                <a:cubicBezTo>
                  <a:pt x="346" y="1615"/>
                  <a:pt x="30" y="1507"/>
                  <a:pt x="0" y="1359"/>
                </a:cubicBezTo>
                <a:cubicBezTo>
                  <a:pt x="0" y="1359"/>
                  <a:pt x="0" y="1359"/>
                  <a:pt x="0" y="1359"/>
                </a:cubicBezTo>
                <a:cubicBezTo>
                  <a:pt x="0" y="1359"/>
                  <a:pt x="0" y="1359"/>
                  <a:pt x="0" y="1359"/>
                </a:cubicBezTo>
                <a:cubicBezTo>
                  <a:pt x="0" y="1349"/>
                  <a:pt x="0" y="1349"/>
                  <a:pt x="0" y="1339"/>
                </a:cubicBezTo>
                <a:cubicBezTo>
                  <a:pt x="0" y="1339"/>
                  <a:pt x="0" y="1339"/>
                  <a:pt x="0" y="1329"/>
                </a:cubicBezTo>
                <a:cubicBezTo>
                  <a:pt x="0" y="394"/>
                  <a:pt x="0" y="394"/>
                  <a:pt x="0" y="394"/>
                </a:cubicBezTo>
                <a:cubicBezTo>
                  <a:pt x="119" y="522"/>
                  <a:pt x="434" y="591"/>
                  <a:pt x="730" y="591"/>
                </a:cubicBezTo>
                <a:cubicBezTo>
                  <a:pt x="1026" y="591"/>
                  <a:pt x="1342" y="522"/>
                  <a:pt x="1460" y="384"/>
                </a:cubicBezTo>
                <a:close/>
                <a:moveTo>
                  <a:pt x="730" y="541"/>
                </a:moveTo>
                <a:cubicBezTo>
                  <a:pt x="1135" y="541"/>
                  <a:pt x="1460" y="423"/>
                  <a:pt x="1460" y="275"/>
                </a:cubicBezTo>
                <a:cubicBezTo>
                  <a:pt x="1460" y="128"/>
                  <a:pt x="1135" y="0"/>
                  <a:pt x="730" y="0"/>
                </a:cubicBezTo>
                <a:cubicBezTo>
                  <a:pt x="326" y="0"/>
                  <a:pt x="0" y="128"/>
                  <a:pt x="0" y="275"/>
                </a:cubicBezTo>
                <a:cubicBezTo>
                  <a:pt x="0" y="423"/>
                  <a:pt x="326" y="541"/>
                  <a:pt x="730" y="541"/>
                </a:cubicBezTo>
                <a:close/>
              </a:path>
            </a:pathLst>
          </a:custGeom>
          <a:solidFill>
            <a:srgbClr val="0070C0"/>
          </a:solidFill>
          <a:ln>
            <a:noFill/>
          </a:ln>
        </p:spPr>
        <p:txBody>
          <a:bodyPr vert="horz" wrap="square" lIns="87843" tIns="43920" rIns="87843" bIns="43920" numCol="1" anchor="t" anchorCtr="0" compatLnSpc="1">
            <a:prstTxWarp prst="textNoShape">
              <a:avLst/>
            </a:prstTxWarp>
          </a:bodyPr>
          <a:lstStyle/>
          <a:p>
            <a:pPr defTabSz="895838">
              <a:defRPr/>
            </a:pPr>
            <a:endParaRPr lang="en-US" sz="1729" kern="0">
              <a:solidFill>
                <a:srgbClr val="505050"/>
              </a:solidFill>
            </a:endParaRPr>
          </a:p>
        </p:txBody>
      </p:sp>
      <p:sp>
        <p:nvSpPr>
          <p:cNvPr id="90" name="TextBox 89"/>
          <p:cNvSpPr txBox="1"/>
          <p:nvPr/>
        </p:nvSpPr>
        <p:spPr>
          <a:xfrm>
            <a:off x="10940072" y="3453060"/>
            <a:ext cx="1220596" cy="136232"/>
          </a:xfrm>
          <a:prstGeom prst="rect">
            <a:avLst/>
          </a:prstGeom>
          <a:noFill/>
        </p:spPr>
        <p:txBody>
          <a:bodyPr wrap="square" lIns="179259" tIns="143407" rIns="179259" bIns="143407" rtlCol="0" anchor="ctr">
            <a:noAutofit/>
          </a:bodyPr>
          <a:lstStyle/>
          <a:p>
            <a:pPr defTabSz="914192">
              <a:lnSpc>
                <a:spcPct val="90000"/>
              </a:lnSpc>
              <a:spcAft>
                <a:spcPts val="588"/>
              </a:spcAft>
              <a:defRPr/>
            </a:pPr>
            <a:r>
              <a:rPr lang="en-US" sz="1175" kern="0">
                <a:gradFill>
                  <a:gsLst>
                    <a:gs pos="2917">
                      <a:srgbClr val="000000"/>
                    </a:gs>
                    <a:gs pos="30000">
                      <a:srgbClr val="000000"/>
                    </a:gs>
                  </a:gsLst>
                  <a:lin ang="5400000" scaled="0"/>
                </a:gradFill>
              </a:rPr>
              <a:t>Cloud</a:t>
            </a:r>
          </a:p>
        </p:txBody>
      </p:sp>
      <p:sp>
        <p:nvSpPr>
          <p:cNvPr id="91" name="TextBox 90"/>
          <p:cNvSpPr txBox="1"/>
          <p:nvPr/>
        </p:nvSpPr>
        <p:spPr>
          <a:xfrm>
            <a:off x="10881412" y="3833046"/>
            <a:ext cx="1220595" cy="136232"/>
          </a:xfrm>
          <a:prstGeom prst="rect">
            <a:avLst/>
          </a:prstGeom>
          <a:noFill/>
        </p:spPr>
        <p:txBody>
          <a:bodyPr wrap="square" lIns="179259" tIns="143407" rIns="179259" bIns="143407" rtlCol="0" anchor="ctr">
            <a:noAutofit/>
          </a:bodyPr>
          <a:lstStyle/>
          <a:p>
            <a:pPr defTabSz="914192">
              <a:lnSpc>
                <a:spcPct val="90000"/>
              </a:lnSpc>
              <a:spcAft>
                <a:spcPts val="588"/>
              </a:spcAft>
              <a:defRPr/>
            </a:pPr>
            <a:r>
              <a:rPr lang="en-US" sz="1175" kern="0">
                <a:gradFill>
                  <a:gsLst>
                    <a:gs pos="2917">
                      <a:srgbClr val="000000"/>
                    </a:gs>
                    <a:gs pos="30000">
                      <a:srgbClr val="000000"/>
                    </a:gs>
                  </a:gsLst>
                  <a:lin ang="5400000" scaled="0"/>
                </a:gradFill>
              </a:rPr>
              <a:t>On-premises</a:t>
            </a:r>
          </a:p>
        </p:txBody>
      </p:sp>
      <p:sp>
        <p:nvSpPr>
          <p:cNvPr id="92" name="TextBox 91"/>
          <p:cNvSpPr txBox="1"/>
          <p:nvPr/>
        </p:nvSpPr>
        <p:spPr>
          <a:xfrm>
            <a:off x="9116744" y="4380321"/>
            <a:ext cx="936265" cy="590888"/>
          </a:xfrm>
          <a:prstGeom prst="rect">
            <a:avLst/>
          </a:prstGeom>
          <a:noFill/>
        </p:spPr>
        <p:txBody>
          <a:bodyPr wrap="square" lIns="179208" tIns="143366" rIns="179208" bIns="143366" rtlCol="0" anchor="ctr">
            <a:noAutofit/>
          </a:bodyPr>
          <a:lstStyle/>
          <a:p>
            <a:pPr algn="ctr" defTabSz="912979" fontAlgn="base">
              <a:lnSpc>
                <a:spcPct val="90000"/>
              </a:lnSpc>
              <a:spcBef>
                <a:spcPct val="0"/>
              </a:spcBef>
              <a:spcAft>
                <a:spcPts val="588"/>
              </a:spcAft>
            </a:pPr>
            <a:r>
              <a:rPr lang="en-US" sz="1176">
                <a:gradFill>
                  <a:gsLst>
                    <a:gs pos="72566">
                      <a:srgbClr val="505050"/>
                    </a:gs>
                    <a:gs pos="43000">
                      <a:srgbClr val="505050"/>
                    </a:gs>
                  </a:gsLst>
                  <a:lin ang="5400000" scaled="0"/>
                </a:gradFill>
                <a:latin typeface="Segoe UI Semibold" panose="020B0702040204020203" pitchFamily="34" charset="0"/>
                <a:ea typeface="MS PGothic" charset="0"/>
                <a:cs typeface="Segoe UI Semibold" panose="020B0702040204020203" pitchFamily="34" charset="0"/>
              </a:rPr>
              <a:t>Data Source	</a:t>
            </a:r>
          </a:p>
        </p:txBody>
      </p:sp>
      <p:sp>
        <p:nvSpPr>
          <p:cNvPr id="93" name="Oval 92"/>
          <p:cNvSpPr/>
          <p:nvPr/>
        </p:nvSpPr>
        <p:spPr bwMode="auto">
          <a:xfrm>
            <a:off x="7734837" y="3571514"/>
            <a:ext cx="254504" cy="256539"/>
          </a:xfrm>
          <a:prstGeom prst="ellipse">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336080" indent="-336080" algn="ctr" defTabSz="913927" fontAlgn="base">
              <a:lnSpc>
                <a:spcPct val="90000"/>
              </a:lnSpc>
              <a:spcBef>
                <a:spcPct val="0"/>
              </a:spcBef>
              <a:spcAft>
                <a:spcPct val="0"/>
              </a:spcAft>
              <a:buFont typeface="Wingdings 3" panose="05040102010807070707" pitchFamily="18" charset="2"/>
              <a:buChar char="Æ"/>
              <a:defRPr/>
            </a:pPr>
            <a:endParaRPr lang="en-US" sz="1961" b="1" kern="0" err="1">
              <a:solidFill>
                <a:srgbClr val="FFFFFF"/>
              </a:solidFill>
              <a:latin typeface="Segoe UI Light"/>
              <a:ea typeface="Segoe UI" pitchFamily="34" charset="0"/>
              <a:cs typeface="Segoe UI" pitchFamily="34" charset="0"/>
            </a:endParaRPr>
          </a:p>
        </p:txBody>
      </p:sp>
      <p:sp>
        <p:nvSpPr>
          <p:cNvPr id="94" name="Freeform 5"/>
          <p:cNvSpPr>
            <a:spLocks noEditPoints="1"/>
          </p:cNvSpPr>
          <p:nvPr/>
        </p:nvSpPr>
        <p:spPr bwMode="auto">
          <a:xfrm>
            <a:off x="7738935" y="3571514"/>
            <a:ext cx="268564" cy="270815"/>
          </a:xfrm>
          <a:custGeom>
            <a:avLst/>
            <a:gdLst>
              <a:gd name="T0" fmla="*/ 1131 w 2204"/>
              <a:gd name="T1" fmla="*/ 1075 h 2204"/>
              <a:gd name="T2" fmla="*/ 849 w 2204"/>
              <a:gd name="T3" fmla="*/ 764 h 2204"/>
              <a:gd name="T4" fmla="*/ 849 w 2204"/>
              <a:gd name="T5" fmla="*/ 1470 h 2204"/>
              <a:gd name="T6" fmla="*/ 645 w 2204"/>
              <a:gd name="T7" fmla="*/ 1470 h 2204"/>
              <a:gd name="T8" fmla="*/ 645 w 2204"/>
              <a:gd name="T9" fmla="*/ 764 h 2204"/>
              <a:gd name="T10" fmla="*/ 344 w 2204"/>
              <a:gd name="T11" fmla="*/ 1075 h 2204"/>
              <a:gd name="T12" fmla="*/ 344 w 2204"/>
              <a:gd name="T13" fmla="*/ 819 h 2204"/>
              <a:gd name="T14" fmla="*/ 738 w 2204"/>
              <a:gd name="T15" fmla="*/ 397 h 2204"/>
              <a:gd name="T16" fmla="*/ 1131 w 2204"/>
              <a:gd name="T17" fmla="*/ 819 h 2204"/>
              <a:gd name="T18" fmla="*/ 1131 w 2204"/>
              <a:gd name="T19" fmla="*/ 1075 h 2204"/>
              <a:gd name="T20" fmla="*/ 1802 w 2204"/>
              <a:gd name="T21" fmla="*/ 1194 h 2204"/>
              <a:gd name="T22" fmla="*/ 1519 w 2204"/>
              <a:gd name="T23" fmla="*/ 1505 h 2204"/>
              <a:gd name="T24" fmla="*/ 1519 w 2204"/>
              <a:gd name="T25" fmla="*/ 799 h 2204"/>
              <a:gd name="T26" fmla="*/ 1316 w 2204"/>
              <a:gd name="T27" fmla="*/ 799 h 2204"/>
              <a:gd name="T28" fmla="*/ 1316 w 2204"/>
              <a:gd name="T29" fmla="*/ 1505 h 2204"/>
              <a:gd name="T30" fmla="*/ 1015 w 2204"/>
              <a:gd name="T31" fmla="*/ 1194 h 2204"/>
              <a:gd name="T32" fmla="*/ 1015 w 2204"/>
              <a:gd name="T33" fmla="*/ 1449 h 2204"/>
              <a:gd name="T34" fmla="*/ 1408 w 2204"/>
              <a:gd name="T35" fmla="*/ 1872 h 2204"/>
              <a:gd name="T36" fmla="*/ 1802 w 2204"/>
              <a:gd name="T37" fmla="*/ 1449 h 2204"/>
              <a:gd name="T38" fmla="*/ 1802 w 2204"/>
              <a:gd name="T39" fmla="*/ 1194 h 2204"/>
              <a:gd name="T40" fmla="*/ 1095 w 2204"/>
              <a:gd name="T41" fmla="*/ 2204 h 2204"/>
              <a:gd name="T42" fmla="*/ 2204 w 2204"/>
              <a:gd name="T43" fmla="*/ 1092 h 2204"/>
              <a:gd name="T44" fmla="*/ 1095 w 2204"/>
              <a:gd name="T45" fmla="*/ 0 h 2204"/>
              <a:gd name="T46" fmla="*/ 0 w 2204"/>
              <a:gd name="T47" fmla="*/ 1092 h 2204"/>
              <a:gd name="T48" fmla="*/ 1095 w 2204"/>
              <a:gd name="T49" fmla="*/ 2204 h 2204"/>
              <a:gd name="T50" fmla="*/ 1095 w 2204"/>
              <a:gd name="T51" fmla="*/ 132 h 2204"/>
              <a:gd name="T52" fmla="*/ 2072 w 2204"/>
              <a:gd name="T53" fmla="*/ 1092 h 2204"/>
              <a:gd name="T54" fmla="*/ 1095 w 2204"/>
              <a:gd name="T55" fmla="*/ 2068 h 2204"/>
              <a:gd name="T56" fmla="*/ 137 w 2204"/>
              <a:gd name="T57" fmla="*/ 1092 h 2204"/>
              <a:gd name="T58" fmla="*/ 1095 w 2204"/>
              <a:gd name="T59" fmla="*/ 132 h 2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204" h="2204">
                <a:moveTo>
                  <a:pt x="1131" y="1075"/>
                </a:moveTo>
                <a:cubicBezTo>
                  <a:pt x="1131" y="1075"/>
                  <a:pt x="1131" y="1075"/>
                  <a:pt x="849" y="764"/>
                </a:cubicBezTo>
                <a:cubicBezTo>
                  <a:pt x="849" y="1470"/>
                  <a:pt x="849" y="1470"/>
                  <a:pt x="849" y="1470"/>
                </a:cubicBezTo>
                <a:cubicBezTo>
                  <a:pt x="849" y="1470"/>
                  <a:pt x="849" y="1470"/>
                  <a:pt x="645" y="1470"/>
                </a:cubicBezTo>
                <a:cubicBezTo>
                  <a:pt x="645" y="1470"/>
                  <a:pt x="645" y="1470"/>
                  <a:pt x="645" y="764"/>
                </a:cubicBezTo>
                <a:cubicBezTo>
                  <a:pt x="645" y="764"/>
                  <a:pt x="645" y="764"/>
                  <a:pt x="344" y="1075"/>
                </a:cubicBezTo>
                <a:cubicBezTo>
                  <a:pt x="344" y="1075"/>
                  <a:pt x="344" y="1075"/>
                  <a:pt x="344" y="819"/>
                </a:cubicBezTo>
                <a:cubicBezTo>
                  <a:pt x="344" y="819"/>
                  <a:pt x="344" y="819"/>
                  <a:pt x="738" y="397"/>
                </a:cubicBezTo>
                <a:cubicBezTo>
                  <a:pt x="738" y="397"/>
                  <a:pt x="738" y="397"/>
                  <a:pt x="1131" y="819"/>
                </a:cubicBezTo>
                <a:cubicBezTo>
                  <a:pt x="1131" y="819"/>
                  <a:pt x="1131" y="819"/>
                  <a:pt x="1131" y="1075"/>
                </a:cubicBezTo>
                <a:close/>
                <a:moveTo>
                  <a:pt x="1802" y="1194"/>
                </a:moveTo>
                <a:cubicBezTo>
                  <a:pt x="1802" y="1194"/>
                  <a:pt x="1802" y="1194"/>
                  <a:pt x="1519" y="1505"/>
                </a:cubicBezTo>
                <a:cubicBezTo>
                  <a:pt x="1519" y="799"/>
                  <a:pt x="1519" y="799"/>
                  <a:pt x="1519" y="799"/>
                </a:cubicBezTo>
                <a:cubicBezTo>
                  <a:pt x="1519" y="799"/>
                  <a:pt x="1519" y="799"/>
                  <a:pt x="1316" y="799"/>
                </a:cubicBezTo>
                <a:cubicBezTo>
                  <a:pt x="1316" y="799"/>
                  <a:pt x="1316" y="799"/>
                  <a:pt x="1316" y="1505"/>
                </a:cubicBezTo>
                <a:cubicBezTo>
                  <a:pt x="1316" y="1505"/>
                  <a:pt x="1316" y="1505"/>
                  <a:pt x="1015" y="1194"/>
                </a:cubicBezTo>
                <a:cubicBezTo>
                  <a:pt x="1015" y="1194"/>
                  <a:pt x="1015" y="1194"/>
                  <a:pt x="1015" y="1449"/>
                </a:cubicBezTo>
                <a:cubicBezTo>
                  <a:pt x="1015" y="1449"/>
                  <a:pt x="1015" y="1449"/>
                  <a:pt x="1408" y="1872"/>
                </a:cubicBezTo>
                <a:cubicBezTo>
                  <a:pt x="1408" y="1872"/>
                  <a:pt x="1408" y="1872"/>
                  <a:pt x="1802" y="1449"/>
                </a:cubicBezTo>
                <a:cubicBezTo>
                  <a:pt x="1802" y="1449"/>
                  <a:pt x="1802" y="1449"/>
                  <a:pt x="1802" y="1194"/>
                </a:cubicBezTo>
                <a:close/>
                <a:moveTo>
                  <a:pt x="1095" y="2204"/>
                </a:moveTo>
                <a:cubicBezTo>
                  <a:pt x="1718" y="2204"/>
                  <a:pt x="2204" y="1714"/>
                  <a:pt x="2204" y="1092"/>
                </a:cubicBezTo>
                <a:cubicBezTo>
                  <a:pt x="2204" y="485"/>
                  <a:pt x="1718" y="0"/>
                  <a:pt x="1095" y="0"/>
                </a:cubicBezTo>
                <a:cubicBezTo>
                  <a:pt x="492" y="0"/>
                  <a:pt x="0" y="485"/>
                  <a:pt x="0" y="1092"/>
                </a:cubicBezTo>
                <a:cubicBezTo>
                  <a:pt x="0" y="1714"/>
                  <a:pt x="492" y="2204"/>
                  <a:pt x="1095" y="2204"/>
                </a:cubicBezTo>
                <a:close/>
                <a:moveTo>
                  <a:pt x="1095" y="132"/>
                </a:moveTo>
                <a:cubicBezTo>
                  <a:pt x="1627" y="132"/>
                  <a:pt x="2072" y="561"/>
                  <a:pt x="2072" y="1092"/>
                </a:cubicBezTo>
                <a:cubicBezTo>
                  <a:pt x="2072" y="1628"/>
                  <a:pt x="1627" y="2068"/>
                  <a:pt x="1095" y="2068"/>
                </a:cubicBezTo>
                <a:cubicBezTo>
                  <a:pt x="563" y="2068"/>
                  <a:pt x="137" y="1628"/>
                  <a:pt x="137" y="1092"/>
                </a:cubicBezTo>
                <a:cubicBezTo>
                  <a:pt x="137" y="561"/>
                  <a:pt x="563" y="132"/>
                  <a:pt x="1095" y="132"/>
                </a:cubicBezTo>
                <a:close/>
              </a:path>
            </a:pathLst>
          </a:custGeom>
          <a:solidFill>
            <a:srgbClr val="00B0F0"/>
          </a:solidFill>
          <a:ln w="9525" cap="flat" cmpd="sng" algn="ctr">
            <a:noFill/>
            <a:prstDash val="solid"/>
            <a:headEnd type="none" w="med" len="med"/>
            <a:tailEnd type="none" w="med" len="med"/>
          </a:ln>
          <a:effectLst/>
        </p:spPr>
        <p:txBody>
          <a:bodyPr rot="0" spcFirstLastPara="0" vertOverflow="overflow" horzOverflow="overflow" vert="horz" wrap="square" lIns="179208" tIns="143366" rIns="179208" bIns="143366" numCol="1" spcCol="0" rtlCol="0" fromWordArt="0" anchor="t" anchorCtr="0" forceAA="0" compatLnSpc="1">
            <a:prstTxWarp prst="textNoShape">
              <a:avLst/>
            </a:prstTxWarp>
            <a:noAutofit/>
          </a:bodyPr>
          <a:lstStyle/>
          <a:p>
            <a:pPr marL="335951" indent="-335951" algn="ctr" defTabSz="913576">
              <a:lnSpc>
                <a:spcPct val="90000"/>
              </a:lnSpc>
              <a:buFont typeface="Wingdings 3" panose="05040102010807070707" pitchFamily="18" charset="2"/>
              <a:buChar char="Æ"/>
              <a:defRPr/>
            </a:pPr>
            <a:endParaRPr lang="en-US" sz="1961" b="1" kern="0">
              <a:solidFill>
                <a:srgbClr val="FFFFFF"/>
              </a:solidFill>
              <a:latin typeface="Segoe UI Light"/>
              <a:ea typeface="Segoe UI" pitchFamily="34" charset="0"/>
              <a:cs typeface="Segoe UI" pitchFamily="34" charset="0"/>
            </a:endParaRPr>
          </a:p>
        </p:txBody>
      </p:sp>
      <p:sp>
        <p:nvSpPr>
          <p:cNvPr id="77" name="Oval 76"/>
          <p:cNvSpPr/>
          <p:nvPr/>
        </p:nvSpPr>
        <p:spPr bwMode="auto">
          <a:xfrm>
            <a:off x="9431089" y="3568903"/>
            <a:ext cx="254504" cy="256539"/>
          </a:xfrm>
          <a:prstGeom prst="ellipse">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336080" indent="-336080" algn="ctr" defTabSz="913927" fontAlgn="base">
              <a:lnSpc>
                <a:spcPct val="90000"/>
              </a:lnSpc>
              <a:spcBef>
                <a:spcPct val="0"/>
              </a:spcBef>
              <a:spcAft>
                <a:spcPct val="0"/>
              </a:spcAft>
              <a:buFont typeface="Wingdings 3" panose="05040102010807070707" pitchFamily="18" charset="2"/>
              <a:buChar char="Æ"/>
              <a:defRPr/>
            </a:pPr>
            <a:endParaRPr lang="en-US" sz="1961" b="1" kern="0" err="1">
              <a:solidFill>
                <a:srgbClr val="FFFFFF"/>
              </a:solidFill>
              <a:latin typeface="Segoe UI Light"/>
              <a:ea typeface="Segoe UI" pitchFamily="34" charset="0"/>
              <a:cs typeface="Segoe UI" pitchFamily="34" charset="0"/>
            </a:endParaRPr>
          </a:p>
        </p:txBody>
      </p:sp>
      <p:sp>
        <p:nvSpPr>
          <p:cNvPr id="78" name="Freeform 5"/>
          <p:cNvSpPr>
            <a:spLocks noEditPoints="1"/>
          </p:cNvSpPr>
          <p:nvPr/>
        </p:nvSpPr>
        <p:spPr bwMode="auto">
          <a:xfrm>
            <a:off x="9437895" y="3576299"/>
            <a:ext cx="268565" cy="270816"/>
          </a:xfrm>
          <a:custGeom>
            <a:avLst/>
            <a:gdLst>
              <a:gd name="T0" fmla="*/ 1131 w 2204"/>
              <a:gd name="T1" fmla="*/ 1075 h 2204"/>
              <a:gd name="T2" fmla="*/ 849 w 2204"/>
              <a:gd name="T3" fmla="*/ 764 h 2204"/>
              <a:gd name="T4" fmla="*/ 849 w 2204"/>
              <a:gd name="T5" fmla="*/ 1470 h 2204"/>
              <a:gd name="T6" fmla="*/ 645 w 2204"/>
              <a:gd name="T7" fmla="*/ 1470 h 2204"/>
              <a:gd name="T8" fmla="*/ 645 w 2204"/>
              <a:gd name="T9" fmla="*/ 764 h 2204"/>
              <a:gd name="T10" fmla="*/ 344 w 2204"/>
              <a:gd name="T11" fmla="*/ 1075 h 2204"/>
              <a:gd name="T12" fmla="*/ 344 w 2204"/>
              <a:gd name="T13" fmla="*/ 819 h 2204"/>
              <a:gd name="T14" fmla="*/ 738 w 2204"/>
              <a:gd name="T15" fmla="*/ 397 h 2204"/>
              <a:gd name="T16" fmla="*/ 1131 w 2204"/>
              <a:gd name="T17" fmla="*/ 819 h 2204"/>
              <a:gd name="T18" fmla="*/ 1131 w 2204"/>
              <a:gd name="T19" fmla="*/ 1075 h 2204"/>
              <a:gd name="T20" fmla="*/ 1802 w 2204"/>
              <a:gd name="T21" fmla="*/ 1194 h 2204"/>
              <a:gd name="T22" fmla="*/ 1519 w 2204"/>
              <a:gd name="T23" fmla="*/ 1505 h 2204"/>
              <a:gd name="T24" fmla="*/ 1519 w 2204"/>
              <a:gd name="T25" fmla="*/ 799 h 2204"/>
              <a:gd name="T26" fmla="*/ 1316 w 2204"/>
              <a:gd name="T27" fmla="*/ 799 h 2204"/>
              <a:gd name="T28" fmla="*/ 1316 w 2204"/>
              <a:gd name="T29" fmla="*/ 1505 h 2204"/>
              <a:gd name="T30" fmla="*/ 1015 w 2204"/>
              <a:gd name="T31" fmla="*/ 1194 h 2204"/>
              <a:gd name="T32" fmla="*/ 1015 w 2204"/>
              <a:gd name="T33" fmla="*/ 1449 h 2204"/>
              <a:gd name="T34" fmla="*/ 1408 w 2204"/>
              <a:gd name="T35" fmla="*/ 1872 h 2204"/>
              <a:gd name="T36" fmla="*/ 1802 w 2204"/>
              <a:gd name="T37" fmla="*/ 1449 h 2204"/>
              <a:gd name="T38" fmla="*/ 1802 w 2204"/>
              <a:gd name="T39" fmla="*/ 1194 h 2204"/>
              <a:gd name="T40" fmla="*/ 1095 w 2204"/>
              <a:gd name="T41" fmla="*/ 2204 h 2204"/>
              <a:gd name="T42" fmla="*/ 2204 w 2204"/>
              <a:gd name="T43" fmla="*/ 1092 h 2204"/>
              <a:gd name="T44" fmla="*/ 1095 w 2204"/>
              <a:gd name="T45" fmla="*/ 0 h 2204"/>
              <a:gd name="T46" fmla="*/ 0 w 2204"/>
              <a:gd name="T47" fmla="*/ 1092 h 2204"/>
              <a:gd name="T48" fmla="*/ 1095 w 2204"/>
              <a:gd name="T49" fmla="*/ 2204 h 2204"/>
              <a:gd name="T50" fmla="*/ 1095 w 2204"/>
              <a:gd name="T51" fmla="*/ 132 h 2204"/>
              <a:gd name="T52" fmla="*/ 2072 w 2204"/>
              <a:gd name="T53" fmla="*/ 1092 h 2204"/>
              <a:gd name="T54" fmla="*/ 1095 w 2204"/>
              <a:gd name="T55" fmla="*/ 2068 h 2204"/>
              <a:gd name="T56" fmla="*/ 137 w 2204"/>
              <a:gd name="T57" fmla="*/ 1092 h 2204"/>
              <a:gd name="T58" fmla="*/ 1095 w 2204"/>
              <a:gd name="T59" fmla="*/ 132 h 2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204" h="2204">
                <a:moveTo>
                  <a:pt x="1131" y="1075"/>
                </a:moveTo>
                <a:cubicBezTo>
                  <a:pt x="1131" y="1075"/>
                  <a:pt x="1131" y="1075"/>
                  <a:pt x="849" y="764"/>
                </a:cubicBezTo>
                <a:cubicBezTo>
                  <a:pt x="849" y="1470"/>
                  <a:pt x="849" y="1470"/>
                  <a:pt x="849" y="1470"/>
                </a:cubicBezTo>
                <a:cubicBezTo>
                  <a:pt x="849" y="1470"/>
                  <a:pt x="849" y="1470"/>
                  <a:pt x="645" y="1470"/>
                </a:cubicBezTo>
                <a:cubicBezTo>
                  <a:pt x="645" y="1470"/>
                  <a:pt x="645" y="1470"/>
                  <a:pt x="645" y="764"/>
                </a:cubicBezTo>
                <a:cubicBezTo>
                  <a:pt x="645" y="764"/>
                  <a:pt x="645" y="764"/>
                  <a:pt x="344" y="1075"/>
                </a:cubicBezTo>
                <a:cubicBezTo>
                  <a:pt x="344" y="1075"/>
                  <a:pt x="344" y="1075"/>
                  <a:pt x="344" y="819"/>
                </a:cubicBezTo>
                <a:cubicBezTo>
                  <a:pt x="344" y="819"/>
                  <a:pt x="344" y="819"/>
                  <a:pt x="738" y="397"/>
                </a:cubicBezTo>
                <a:cubicBezTo>
                  <a:pt x="738" y="397"/>
                  <a:pt x="738" y="397"/>
                  <a:pt x="1131" y="819"/>
                </a:cubicBezTo>
                <a:cubicBezTo>
                  <a:pt x="1131" y="819"/>
                  <a:pt x="1131" y="819"/>
                  <a:pt x="1131" y="1075"/>
                </a:cubicBezTo>
                <a:close/>
                <a:moveTo>
                  <a:pt x="1802" y="1194"/>
                </a:moveTo>
                <a:cubicBezTo>
                  <a:pt x="1802" y="1194"/>
                  <a:pt x="1802" y="1194"/>
                  <a:pt x="1519" y="1505"/>
                </a:cubicBezTo>
                <a:cubicBezTo>
                  <a:pt x="1519" y="799"/>
                  <a:pt x="1519" y="799"/>
                  <a:pt x="1519" y="799"/>
                </a:cubicBezTo>
                <a:cubicBezTo>
                  <a:pt x="1519" y="799"/>
                  <a:pt x="1519" y="799"/>
                  <a:pt x="1316" y="799"/>
                </a:cubicBezTo>
                <a:cubicBezTo>
                  <a:pt x="1316" y="799"/>
                  <a:pt x="1316" y="799"/>
                  <a:pt x="1316" y="1505"/>
                </a:cubicBezTo>
                <a:cubicBezTo>
                  <a:pt x="1316" y="1505"/>
                  <a:pt x="1316" y="1505"/>
                  <a:pt x="1015" y="1194"/>
                </a:cubicBezTo>
                <a:cubicBezTo>
                  <a:pt x="1015" y="1194"/>
                  <a:pt x="1015" y="1194"/>
                  <a:pt x="1015" y="1449"/>
                </a:cubicBezTo>
                <a:cubicBezTo>
                  <a:pt x="1015" y="1449"/>
                  <a:pt x="1015" y="1449"/>
                  <a:pt x="1408" y="1872"/>
                </a:cubicBezTo>
                <a:cubicBezTo>
                  <a:pt x="1408" y="1872"/>
                  <a:pt x="1408" y="1872"/>
                  <a:pt x="1802" y="1449"/>
                </a:cubicBezTo>
                <a:cubicBezTo>
                  <a:pt x="1802" y="1449"/>
                  <a:pt x="1802" y="1449"/>
                  <a:pt x="1802" y="1194"/>
                </a:cubicBezTo>
                <a:close/>
                <a:moveTo>
                  <a:pt x="1095" y="2204"/>
                </a:moveTo>
                <a:cubicBezTo>
                  <a:pt x="1718" y="2204"/>
                  <a:pt x="2204" y="1714"/>
                  <a:pt x="2204" y="1092"/>
                </a:cubicBezTo>
                <a:cubicBezTo>
                  <a:pt x="2204" y="485"/>
                  <a:pt x="1718" y="0"/>
                  <a:pt x="1095" y="0"/>
                </a:cubicBezTo>
                <a:cubicBezTo>
                  <a:pt x="492" y="0"/>
                  <a:pt x="0" y="485"/>
                  <a:pt x="0" y="1092"/>
                </a:cubicBezTo>
                <a:cubicBezTo>
                  <a:pt x="0" y="1714"/>
                  <a:pt x="492" y="2204"/>
                  <a:pt x="1095" y="2204"/>
                </a:cubicBezTo>
                <a:close/>
                <a:moveTo>
                  <a:pt x="1095" y="132"/>
                </a:moveTo>
                <a:cubicBezTo>
                  <a:pt x="1627" y="132"/>
                  <a:pt x="2072" y="561"/>
                  <a:pt x="2072" y="1092"/>
                </a:cubicBezTo>
                <a:cubicBezTo>
                  <a:pt x="2072" y="1628"/>
                  <a:pt x="1627" y="2068"/>
                  <a:pt x="1095" y="2068"/>
                </a:cubicBezTo>
                <a:cubicBezTo>
                  <a:pt x="563" y="2068"/>
                  <a:pt x="137" y="1628"/>
                  <a:pt x="137" y="1092"/>
                </a:cubicBezTo>
                <a:cubicBezTo>
                  <a:pt x="137" y="561"/>
                  <a:pt x="563" y="132"/>
                  <a:pt x="1095" y="132"/>
                </a:cubicBezTo>
                <a:close/>
              </a:path>
            </a:pathLst>
          </a:custGeom>
          <a:solidFill>
            <a:srgbClr val="00B0F0"/>
          </a:solidFill>
          <a:ln w="9525" cap="flat" cmpd="sng" algn="ctr">
            <a:noFill/>
            <a:prstDash val="solid"/>
            <a:headEnd type="none" w="med" len="med"/>
            <a:tailEnd type="none" w="med" len="med"/>
          </a:ln>
          <a:effectLst/>
        </p:spPr>
        <p:txBody>
          <a:bodyPr rot="0" spcFirstLastPara="0" vertOverflow="overflow" horzOverflow="overflow" vert="horz" wrap="square" lIns="179208" tIns="143366" rIns="179208" bIns="143366" numCol="1" spcCol="0" rtlCol="0" fromWordArt="0" anchor="t" anchorCtr="0" forceAA="0" compatLnSpc="1">
            <a:prstTxWarp prst="textNoShape">
              <a:avLst/>
            </a:prstTxWarp>
            <a:noAutofit/>
          </a:bodyPr>
          <a:lstStyle/>
          <a:p>
            <a:pPr marL="335951" indent="-335951" algn="ctr" defTabSz="913576">
              <a:lnSpc>
                <a:spcPct val="90000"/>
              </a:lnSpc>
              <a:buFont typeface="Wingdings 3" panose="05040102010807070707" pitchFamily="18" charset="2"/>
              <a:buChar char="Æ"/>
              <a:defRPr/>
            </a:pPr>
            <a:endParaRPr lang="en-US" sz="1961" b="1" kern="0">
              <a:solidFill>
                <a:srgbClr val="FFFFFF"/>
              </a:solidFill>
              <a:latin typeface="Segoe UI Light"/>
              <a:ea typeface="Segoe UI" pitchFamily="34" charset="0"/>
              <a:cs typeface="Segoe UI" pitchFamily="34" charset="0"/>
            </a:endParaRPr>
          </a:p>
        </p:txBody>
      </p:sp>
      <p:sp>
        <p:nvSpPr>
          <p:cNvPr id="132" name="Freeform 5"/>
          <p:cNvSpPr>
            <a:spLocks noChangeAspect="1" noEditPoints="1"/>
          </p:cNvSpPr>
          <p:nvPr/>
        </p:nvSpPr>
        <p:spPr bwMode="auto">
          <a:xfrm rot="16200000">
            <a:off x="9949352" y="2579163"/>
            <a:ext cx="274320" cy="270816"/>
          </a:xfrm>
          <a:custGeom>
            <a:avLst/>
            <a:gdLst>
              <a:gd name="T0" fmla="*/ 1131 w 2204"/>
              <a:gd name="T1" fmla="*/ 1075 h 2204"/>
              <a:gd name="T2" fmla="*/ 849 w 2204"/>
              <a:gd name="T3" fmla="*/ 764 h 2204"/>
              <a:gd name="T4" fmla="*/ 849 w 2204"/>
              <a:gd name="T5" fmla="*/ 1470 h 2204"/>
              <a:gd name="T6" fmla="*/ 645 w 2204"/>
              <a:gd name="T7" fmla="*/ 1470 h 2204"/>
              <a:gd name="T8" fmla="*/ 645 w 2204"/>
              <a:gd name="T9" fmla="*/ 764 h 2204"/>
              <a:gd name="T10" fmla="*/ 344 w 2204"/>
              <a:gd name="T11" fmla="*/ 1075 h 2204"/>
              <a:gd name="T12" fmla="*/ 344 w 2204"/>
              <a:gd name="T13" fmla="*/ 819 h 2204"/>
              <a:gd name="T14" fmla="*/ 738 w 2204"/>
              <a:gd name="T15" fmla="*/ 397 h 2204"/>
              <a:gd name="T16" fmla="*/ 1131 w 2204"/>
              <a:gd name="T17" fmla="*/ 819 h 2204"/>
              <a:gd name="T18" fmla="*/ 1131 w 2204"/>
              <a:gd name="T19" fmla="*/ 1075 h 2204"/>
              <a:gd name="T20" fmla="*/ 1802 w 2204"/>
              <a:gd name="T21" fmla="*/ 1194 h 2204"/>
              <a:gd name="T22" fmla="*/ 1519 w 2204"/>
              <a:gd name="T23" fmla="*/ 1505 h 2204"/>
              <a:gd name="T24" fmla="*/ 1519 w 2204"/>
              <a:gd name="T25" fmla="*/ 799 h 2204"/>
              <a:gd name="T26" fmla="*/ 1316 w 2204"/>
              <a:gd name="T27" fmla="*/ 799 h 2204"/>
              <a:gd name="T28" fmla="*/ 1316 w 2204"/>
              <a:gd name="T29" fmla="*/ 1505 h 2204"/>
              <a:gd name="T30" fmla="*/ 1015 w 2204"/>
              <a:gd name="T31" fmla="*/ 1194 h 2204"/>
              <a:gd name="T32" fmla="*/ 1015 w 2204"/>
              <a:gd name="T33" fmla="*/ 1449 h 2204"/>
              <a:gd name="T34" fmla="*/ 1408 w 2204"/>
              <a:gd name="T35" fmla="*/ 1872 h 2204"/>
              <a:gd name="T36" fmla="*/ 1802 w 2204"/>
              <a:gd name="T37" fmla="*/ 1449 h 2204"/>
              <a:gd name="T38" fmla="*/ 1802 w 2204"/>
              <a:gd name="T39" fmla="*/ 1194 h 2204"/>
              <a:gd name="T40" fmla="*/ 1095 w 2204"/>
              <a:gd name="T41" fmla="*/ 2204 h 2204"/>
              <a:gd name="T42" fmla="*/ 2204 w 2204"/>
              <a:gd name="T43" fmla="*/ 1092 h 2204"/>
              <a:gd name="T44" fmla="*/ 1095 w 2204"/>
              <a:gd name="T45" fmla="*/ 0 h 2204"/>
              <a:gd name="T46" fmla="*/ 0 w 2204"/>
              <a:gd name="T47" fmla="*/ 1092 h 2204"/>
              <a:gd name="T48" fmla="*/ 1095 w 2204"/>
              <a:gd name="T49" fmla="*/ 2204 h 2204"/>
              <a:gd name="T50" fmla="*/ 1095 w 2204"/>
              <a:gd name="T51" fmla="*/ 132 h 2204"/>
              <a:gd name="T52" fmla="*/ 2072 w 2204"/>
              <a:gd name="T53" fmla="*/ 1092 h 2204"/>
              <a:gd name="T54" fmla="*/ 1095 w 2204"/>
              <a:gd name="T55" fmla="*/ 2068 h 2204"/>
              <a:gd name="T56" fmla="*/ 137 w 2204"/>
              <a:gd name="T57" fmla="*/ 1092 h 2204"/>
              <a:gd name="T58" fmla="*/ 1095 w 2204"/>
              <a:gd name="T59" fmla="*/ 132 h 2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204" h="2204">
                <a:moveTo>
                  <a:pt x="1131" y="1075"/>
                </a:moveTo>
                <a:cubicBezTo>
                  <a:pt x="1131" y="1075"/>
                  <a:pt x="1131" y="1075"/>
                  <a:pt x="849" y="764"/>
                </a:cubicBezTo>
                <a:cubicBezTo>
                  <a:pt x="849" y="1470"/>
                  <a:pt x="849" y="1470"/>
                  <a:pt x="849" y="1470"/>
                </a:cubicBezTo>
                <a:cubicBezTo>
                  <a:pt x="849" y="1470"/>
                  <a:pt x="849" y="1470"/>
                  <a:pt x="645" y="1470"/>
                </a:cubicBezTo>
                <a:cubicBezTo>
                  <a:pt x="645" y="1470"/>
                  <a:pt x="645" y="1470"/>
                  <a:pt x="645" y="764"/>
                </a:cubicBezTo>
                <a:cubicBezTo>
                  <a:pt x="645" y="764"/>
                  <a:pt x="645" y="764"/>
                  <a:pt x="344" y="1075"/>
                </a:cubicBezTo>
                <a:cubicBezTo>
                  <a:pt x="344" y="1075"/>
                  <a:pt x="344" y="1075"/>
                  <a:pt x="344" y="819"/>
                </a:cubicBezTo>
                <a:cubicBezTo>
                  <a:pt x="344" y="819"/>
                  <a:pt x="344" y="819"/>
                  <a:pt x="738" y="397"/>
                </a:cubicBezTo>
                <a:cubicBezTo>
                  <a:pt x="738" y="397"/>
                  <a:pt x="738" y="397"/>
                  <a:pt x="1131" y="819"/>
                </a:cubicBezTo>
                <a:cubicBezTo>
                  <a:pt x="1131" y="819"/>
                  <a:pt x="1131" y="819"/>
                  <a:pt x="1131" y="1075"/>
                </a:cubicBezTo>
                <a:close/>
                <a:moveTo>
                  <a:pt x="1802" y="1194"/>
                </a:moveTo>
                <a:cubicBezTo>
                  <a:pt x="1802" y="1194"/>
                  <a:pt x="1802" y="1194"/>
                  <a:pt x="1519" y="1505"/>
                </a:cubicBezTo>
                <a:cubicBezTo>
                  <a:pt x="1519" y="799"/>
                  <a:pt x="1519" y="799"/>
                  <a:pt x="1519" y="799"/>
                </a:cubicBezTo>
                <a:cubicBezTo>
                  <a:pt x="1519" y="799"/>
                  <a:pt x="1519" y="799"/>
                  <a:pt x="1316" y="799"/>
                </a:cubicBezTo>
                <a:cubicBezTo>
                  <a:pt x="1316" y="799"/>
                  <a:pt x="1316" y="799"/>
                  <a:pt x="1316" y="1505"/>
                </a:cubicBezTo>
                <a:cubicBezTo>
                  <a:pt x="1316" y="1505"/>
                  <a:pt x="1316" y="1505"/>
                  <a:pt x="1015" y="1194"/>
                </a:cubicBezTo>
                <a:cubicBezTo>
                  <a:pt x="1015" y="1194"/>
                  <a:pt x="1015" y="1194"/>
                  <a:pt x="1015" y="1449"/>
                </a:cubicBezTo>
                <a:cubicBezTo>
                  <a:pt x="1015" y="1449"/>
                  <a:pt x="1015" y="1449"/>
                  <a:pt x="1408" y="1872"/>
                </a:cubicBezTo>
                <a:cubicBezTo>
                  <a:pt x="1408" y="1872"/>
                  <a:pt x="1408" y="1872"/>
                  <a:pt x="1802" y="1449"/>
                </a:cubicBezTo>
                <a:cubicBezTo>
                  <a:pt x="1802" y="1449"/>
                  <a:pt x="1802" y="1449"/>
                  <a:pt x="1802" y="1194"/>
                </a:cubicBezTo>
                <a:close/>
                <a:moveTo>
                  <a:pt x="1095" y="2204"/>
                </a:moveTo>
                <a:cubicBezTo>
                  <a:pt x="1718" y="2204"/>
                  <a:pt x="2204" y="1714"/>
                  <a:pt x="2204" y="1092"/>
                </a:cubicBezTo>
                <a:cubicBezTo>
                  <a:pt x="2204" y="485"/>
                  <a:pt x="1718" y="0"/>
                  <a:pt x="1095" y="0"/>
                </a:cubicBezTo>
                <a:cubicBezTo>
                  <a:pt x="492" y="0"/>
                  <a:pt x="0" y="485"/>
                  <a:pt x="0" y="1092"/>
                </a:cubicBezTo>
                <a:cubicBezTo>
                  <a:pt x="0" y="1714"/>
                  <a:pt x="492" y="2204"/>
                  <a:pt x="1095" y="2204"/>
                </a:cubicBezTo>
                <a:close/>
                <a:moveTo>
                  <a:pt x="1095" y="132"/>
                </a:moveTo>
                <a:cubicBezTo>
                  <a:pt x="1627" y="132"/>
                  <a:pt x="2072" y="561"/>
                  <a:pt x="2072" y="1092"/>
                </a:cubicBezTo>
                <a:cubicBezTo>
                  <a:pt x="2072" y="1628"/>
                  <a:pt x="1627" y="2068"/>
                  <a:pt x="1095" y="2068"/>
                </a:cubicBezTo>
                <a:cubicBezTo>
                  <a:pt x="563" y="2068"/>
                  <a:pt x="137" y="1628"/>
                  <a:pt x="137" y="1092"/>
                </a:cubicBezTo>
                <a:cubicBezTo>
                  <a:pt x="137" y="561"/>
                  <a:pt x="563" y="132"/>
                  <a:pt x="1095" y="132"/>
                </a:cubicBezTo>
                <a:close/>
              </a:path>
            </a:pathLst>
          </a:custGeom>
          <a:solidFill>
            <a:srgbClr val="00B0F0"/>
          </a:solidFill>
          <a:ln w="9525" cap="flat" cmpd="sng" algn="ctr">
            <a:noFill/>
            <a:prstDash val="solid"/>
            <a:headEnd type="none" w="med" len="med"/>
            <a:tailEnd type="none" w="med" len="med"/>
          </a:ln>
          <a:effectLst/>
        </p:spPr>
        <p:txBody>
          <a:bodyPr rot="0" spcFirstLastPara="0" vertOverflow="overflow" horzOverflow="overflow" vert="horz" wrap="square" lIns="179208" tIns="143366" rIns="179208" bIns="143366" numCol="1" spcCol="0" rtlCol="0" fromWordArt="0" anchor="t" anchorCtr="0" forceAA="0" compatLnSpc="1">
            <a:prstTxWarp prst="textNoShape">
              <a:avLst/>
            </a:prstTxWarp>
            <a:noAutofit/>
          </a:bodyPr>
          <a:lstStyle/>
          <a:p>
            <a:pPr marL="335951" indent="-335951" algn="ctr" defTabSz="913576">
              <a:lnSpc>
                <a:spcPct val="90000"/>
              </a:lnSpc>
              <a:buFont typeface="Wingdings 3" panose="05040102010807070707" pitchFamily="18" charset="2"/>
              <a:buChar char="Æ"/>
              <a:defRPr/>
            </a:pPr>
            <a:endParaRPr lang="en-US" sz="1961" b="1" kern="0">
              <a:solidFill>
                <a:srgbClr val="FFFFFF"/>
              </a:solidFill>
              <a:latin typeface="Segoe UI Light"/>
              <a:ea typeface="Segoe UI" pitchFamily="34" charset="0"/>
              <a:cs typeface="Segoe UI" pitchFamily="34" charset="0"/>
            </a:endParaRPr>
          </a:p>
        </p:txBody>
      </p:sp>
      <p:sp>
        <p:nvSpPr>
          <p:cNvPr id="133" name="TextBox 132"/>
          <p:cNvSpPr txBox="1"/>
          <p:nvPr/>
        </p:nvSpPr>
        <p:spPr>
          <a:xfrm>
            <a:off x="10130750" y="2187192"/>
            <a:ext cx="1618644" cy="841749"/>
          </a:xfrm>
          <a:prstGeom prst="rect">
            <a:avLst/>
          </a:prstGeom>
          <a:noFill/>
        </p:spPr>
        <p:txBody>
          <a:bodyPr wrap="square" lIns="179208" tIns="143366" rIns="179208" bIns="143366" rtlCol="0" anchor="ctr">
            <a:noAutofit/>
          </a:bodyPr>
          <a:lstStyle/>
          <a:p>
            <a:pPr algn="ctr" defTabSz="912979" fontAlgn="base">
              <a:lnSpc>
                <a:spcPct val="90000"/>
              </a:lnSpc>
              <a:spcBef>
                <a:spcPct val="0"/>
              </a:spcBef>
              <a:spcAft>
                <a:spcPts val="588"/>
              </a:spcAft>
            </a:pPr>
            <a:r>
              <a:rPr lang="en-US" sz="1150">
                <a:gradFill>
                  <a:gsLst>
                    <a:gs pos="72566">
                      <a:srgbClr val="505050"/>
                    </a:gs>
                    <a:gs pos="43000">
                      <a:srgbClr val="505050"/>
                    </a:gs>
                  </a:gsLst>
                  <a:lin ang="5400000" scaled="0"/>
                </a:gradFill>
                <a:latin typeface="Segoe UI Semibold"/>
                <a:ea typeface="MS PGothic"/>
                <a:cs typeface="Segoe UI Semibold"/>
              </a:rPr>
              <a:t>SaaS, Azure, SAP, Web, Oracle, Salesforce.com	</a:t>
            </a:r>
          </a:p>
        </p:txBody>
      </p:sp>
      <p:sp>
        <p:nvSpPr>
          <p:cNvPr id="134" name="Freeform 5"/>
          <p:cNvSpPr>
            <a:spLocks noEditPoints="1"/>
          </p:cNvSpPr>
          <p:nvPr/>
        </p:nvSpPr>
        <p:spPr bwMode="auto">
          <a:xfrm>
            <a:off x="8552469" y="3931872"/>
            <a:ext cx="415685" cy="448082"/>
          </a:xfrm>
          <a:custGeom>
            <a:avLst/>
            <a:gdLst>
              <a:gd name="T0" fmla="*/ 1460 w 1460"/>
              <a:gd name="T1" fmla="*/ 384 h 1615"/>
              <a:gd name="T2" fmla="*/ 1460 w 1460"/>
              <a:gd name="T3" fmla="*/ 1359 h 1615"/>
              <a:gd name="T4" fmla="*/ 1460 w 1460"/>
              <a:gd name="T5" fmla="*/ 1359 h 1615"/>
              <a:gd name="T6" fmla="*/ 730 w 1460"/>
              <a:gd name="T7" fmla="*/ 1615 h 1615"/>
              <a:gd name="T8" fmla="*/ 0 w 1460"/>
              <a:gd name="T9" fmla="*/ 1359 h 1615"/>
              <a:gd name="T10" fmla="*/ 0 w 1460"/>
              <a:gd name="T11" fmla="*/ 1359 h 1615"/>
              <a:gd name="T12" fmla="*/ 0 w 1460"/>
              <a:gd name="T13" fmla="*/ 1359 h 1615"/>
              <a:gd name="T14" fmla="*/ 0 w 1460"/>
              <a:gd name="T15" fmla="*/ 1339 h 1615"/>
              <a:gd name="T16" fmla="*/ 0 w 1460"/>
              <a:gd name="T17" fmla="*/ 1329 h 1615"/>
              <a:gd name="T18" fmla="*/ 0 w 1460"/>
              <a:gd name="T19" fmla="*/ 394 h 1615"/>
              <a:gd name="T20" fmla="*/ 730 w 1460"/>
              <a:gd name="T21" fmla="*/ 591 h 1615"/>
              <a:gd name="T22" fmla="*/ 1460 w 1460"/>
              <a:gd name="T23" fmla="*/ 384 h 1615"/>
              <a:gd name="T24" fmla="*/ 730 w 1460"/>
              <a:gd name="T25" fmla="*/ 541 h 1615"/>
              <a:gd name="T26" fmla="*/ 1460 w 1460"/>
              <a:gd name="T27" fmla="*/ 275 h 1615"/>
              <a:gd name="T28" fmla="*/ 730 w 1460"/>
              <a:gd name="T29" fmla="*/ 0 h 1615"/>
              <a:gd name="T30" fmla="*/ 0 w 1460"/>
              <a:gd name="T31" fmla="*/ 275 h 1615"/>
              <a:gd name="T32" fmla="*/ 730 w 1460"/>
              <a:gd name="T33" fmla="*/ 541 h 16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60" h="1615">
                <a:moveTo>
                  <a:pt x="1460" y="384"/>
                </a:moveTo>
                <a:cubicBezTo>
                  <a:pt x="1460" y="1359"/>
                  <a:pt x="1460" y="1359"/>
                  <a:pt x="1460" y="1359"/>
                </a:cubicBezTo>
                <a:cubicBezTo>
                  <a:pt x="1460" y="1359"/>
                  <a:pt x="1460" y="1359"/>
                  <a:pt x="1460" y="1359"/>
                </a:cubicBezTo>
                <a:cubicBezTo>
                  <a:pt x="1431" y="1507"/>
                  <a:pt x="1115" y="1615"/>
                  <a:pt x="730" y="1615"/>
                </a:cubicBezTo>
                <a:cubicBezTo>
                  <a:pt x="346" y="1615"/>
                  <a:pt x="30" y="1507"/>
                  <a:pt x="0" y="1359"/>
                </a:cubicBezTo>
                <a:cubicBezTo>
                  <a:pt x="0" y="1359"/>
                  <a:pt x="0" y="1359"/>
                  <a:pt x="0" y="1359"/>
                </a:cubicBezTo>
                <a:cubicBezTo>
                  <a:pt x="0" y="1359"/>
                  <a:pt x="0" y="1359"/>
                  <a:pt x="0" y="1359"/>
                </a:cubicBezTo>
                <a:cubicBezTo>
                  <a:pt x="0" y="1349"/>
                  <a:pt x="0" y="1349"/>
                  <a:pt x="0" y="1339"/>
                </a:cubicBezTo>
                <a:cubicBezTo>
                  <a:pt x="0" y="1339"/>
                  <a:pt x="0" y="1339"/>
                  <a:pt x="0" y="1329"/>
                </a:cubicBezTo>
                <a:cubicBezTo>
                  <a:pt x="0" y="394"/>
                  <a:pt x="0" y="394"/>
                  <a:pt x="0" y="394"/>
                </a:cubicBezTo>
                <a:cubicBezTo>
                  <a:pt x="119" y="522"/>
                  <a:pt x="434" y="591"/>
                  <a:pt x="730" y="591"/>
                </a:cubicBezTo>
                <a:cubicBezTo>
                  <a:pt x="1026" y="591"/>
                  <a:pt x="1342" y="522"/>
                  <a:pt x="1460" y="384"/>
                </a:cubicBezTo>
                <a:close/>
                <a:moveTo>
                  <a:pt x="730" y="541"/>
                </a:moveTo>
                <a:cubicBezTo>
                  <a:pt x="1135" y="541"/>
                  <a:pt x="1460" y="423"/>
                  <a:pt x="1460" y="275"/>
                </a:cubicBezTo>
                <a:cubicBezTo>
                  <a:pt x="1460" y="128"/>
                  <a:pt x="1135" y="0"/>
                  <a:pt x="730" y="0"/>
                </a:cubicBezTo>
                <a:cubicBezTo>
                  <a:pt x="326" y="0"/>
                  <a:pt x="0" y="128"/>
                  <a:pt x="0" y="275"/>
                </a:cubicBezTo>
                <a:cubicBezTo>
                  <a:pt x="0" y="423"/>
                  <a:pt x="326" y="541"/>
                  <a:pt x="730" y="541"/>
                </a:cubicBezTo>
                <a:close/>
              </a:path>
            </a:pathLst>
          </a:custGeom>
          <a:solidFill>
            <a:srgbClr val="0070C0"/>
          </a:solidFill>
          <a:ln>
            <a:noFill/>
          </a:ln>
        </p:spPr>
        <p:txBody>
          <a:bodyPr vert="horz" wrap="square" lIns="87843" tIns="43920" rIns="87843" bIns="43920" numCol="1" anchor="t" anchorCtr="0" compatLnSpc="1">
            <a:prstTxWarp prst="textNoShape">
              <a:avLst/>
            </a:prstTxWarp>
          </a:bodyPr>
          <a:lstStyle/>
          <a:p>
            <a:pPr defTabSz="895838">
              <a:defRPr/>
            </a:pPr>
            <a:endParaRPr lang="en-US" sz="1729" kern="0">
              <a:solidFill>
                <a:srgbClr val="505050"/>
              </a:solidFill>
            </a:endParaRPr>
          </a:p>
        </p:txBody>
      </p:sp>
      <p:sp>
        <p:nvSpPr>
          <p:cNvPr id="135" name="TextBox 134"/>
          <p:cNvSpPr txBox="1"/>
          <p:nvPr/>
        </p:nvSpPr>
        <p:spPr>
          <a:xfrm>
            <a:off x="8305975" y="4398612"/>
            <a:ext cx="936265" cy="590889"/>
          </a:xfrm>
          <a:prstGeom prst="rect">
            <a:avLst/>
          </a:prstGeom>
          <a:noFill/>
        </p:spPr>
        <p:txBody>
          <a:bodyPr wrap="square" lIns="179208" tIns="143366" rIns="179208" bIns="143366" rtlCol="0" anchor="ctr">
            <a:noAutofit/>
          </a:bodyPr>
          <a:lstStyle/>
          <a:p>
            <a:pPr algn="ctr" defTabSz="912979" fontAlgn="base">
              <a:lnSpc>
                <a:spcPct val="90000"/>
              </a:lnSpc>
              <a:spcBef>
                <a:spcPct val="0"/>
              </a:spcBef>
              <a:spcAft>
                <a:spcPts val="588"/>
              </a:spcAft>
            </a:pPr>
            <a:r>
              <a:rPr lang="en-US" sz="1176">
                <a:gradFill>
                  <a:gsLst>
                    <a:gs pos="72566">
                      <a:srgbClr val="505050"/>
                    </a:gs>
                    <a:gs pos="43000">
                      <a:srgbClr val="505050"/>
                    </a:gs>
                  </a:gsLst>
                  <a:lin ang="5400000" scaled="0"/>
                </a:gradFill>
                <a:latin typeface="Segoe UI Semibold" panose="020B0702040204020203" pitchFamily="34" charset="0"/>
                <a:ea typeface="MS PGothic" charset="0"/>
                <a:cs typeface="Segoe UI Semibold" panose="020B0702040204020203" pitchFamily="34" charset="0"/>
              </a:rPr>
              <a:t>Data Source	</a:t>
            </a:r>
          </a:p>
        </p:txBody>
      </p:sp>
      <p:sp>
        <p:nvSpPr>
          <p:cNvPr id="136" name="Oval 135"/>
          <p:cNvSpPr/>
          <p:nvPr/>
        </p:nvSpPr>
        <p:spPr bwMode="auto">
          <a:xfrm>
            <a:off x="8620322" y="3587194"/>
            <a:ext cx="254504" cy="256539"/>
          </a:xfrm>
          <a:prstGeom prst="ellipse">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336080" indent="-336080" algn="ctr" defTabSz="913927" fontAlgn="base">
              <a:lnSpc>
                <a:spcPct val="90000"/>
              </a:lnSpc>
              <a:spcBef>
                <a:spcPct val="0"/>
              </a:spcBef>
              <a:spcAft>
                <a:spcPct val="0"/>
              </a:spcAft>
              <a:buFont typeface="Wingdings 3" panose="05040102010807070707" pitchFamily="18" charset="2"/>
              <a:buChar char="Æ"/>
              <a:defRPr/>
            </a:pPr>
            <a:endParaRPr lang="en-US" sz="1961" b="1" kern="0" err="1">
              <a:solidFill>
                <a:srgbClr val="FFFFFF"/>
              </a:solidFill>
              <a:latin typeface="Segoe UI Light"/>
              <a:ea typeface="Segoe UI" pitchFamily="34" charset="0"/>
              <a:cs typeface="Segoe UI" pitchFamily="34" charset="0"/>
            </a:endParaRPr>
          </a:p>
        </p:txBody>
      </p:sp>
      <p:sp>
        <p:nvSpPr>
          <p:cNvPr id="137" name="Freeform 5"/>
          <p:cNvSpPr>
            <a:spLocks noEditPoints="1"/>
          </p:cNvSpPr>
          <p:nvPr/>
        </p:nvSpPr>
        <p:spPr bwMode="auto">
          <a:xfrm>
            <a:off x="8621433" y="3564698"/>
            <a:ext cx="268564" cy="270816"/>
          </a:xfrm>
          <a:custGeom>
            <a:avLst/>
            <a:gdLst>
              <a:gd name="T0" fmla="*/ 1131 w 2204"/>
              <a:gd name="T1" fmla="*/ 1075 h 2204"/>
              <a:gd name="T2" fmla="*/ 849 w 2204"/>
              <a:gd name="T3" fmla="*/ 764 h 2204"/>
              <a:gd name="T4" fmla="*/ 849 w 2204"/>
              <a:gd name="T5" fmla="*/ 1470 h 2204"/>
              <a:gd name="T6" fmla="*/ 645 w 2204"/>
              <a:gd name="T7" fmla="*/ 1470 h 2204"/>
              <a:gd name="T8" fmla="*/ 645 w 2204"/>
              <a:gd name="T9" fmla="*/ 764 h 2204"/>
              <a:gd name="T10" fmla="*/ 344 w 2204"/>
              <a:gd name="T11" fmla="*/ 1075 h 2204"/>
              <a:gd name="T12" fmla="*/ 344 w 2204"/>
              <a:gd name="T13" fmla="*/ 819 h 2204"/>
              <a:gd name="T14" fmla="*/ 738 w 2204"/>
              <a:gd name="T15" fmla="*/ 397 h 2204"/>
              <a:gd name="T16" fmla="*/ 1131 w 2204"/>
              <a:gd name="T17" fmla="*/ 819 h 2204"/>
              <a:gd name="T18" fmla="*/ 1131 w 2204"/>
              <a:gd name="T19" fmla="*/ 1075 h 2204"/>
              <a:gd name="T20" fmla="*/ 1802 w 2204"/>
              <a:gd name="T21" fmla="*/ 1194 h 2204"/>
              <a:gd name="T22" fmla="*/ 1519 w 2204"/>
              <a:gd name="T23" fmla="*/ 1505 h 2204"/>
              <a:gd name="T24" fmla="*/ 1519 w 2204"/>
              <a:gd name="T25" fmla="*/ 799 h 2204"/>
              <a:gd name="T26" fmla="*/ 1316 w 2204"/>
              <a:gd name="T27" fmla="*/ 799 h 2204"/>
              <a:gd name="T28" fmla="*/ 1316 w 2204"/>
              <a:gd name="T29" fmla="*/ 1505 h 2204"/>
              <a:gd name="T30" fmla="*/ 1015 w 2204"/>
              <a:gd name="T31" fmla="*/ 1194 h 2204"/>
              <a:gd name="T32" fmla="*/ 1015 w 2204"/>
              <a:gd name="T33" fmla="*/ 1449 h 2204"/>
              <a:gd name="T34" fmla="*/ 1408 w 2204"/>
              <a:gd name="T35" fmla="*/ 1872 h 2204"/>
              <a:gd name="T36" fmla="*/ 1802 w 2204"/>
              <a:gd name="T37" fmla="*/ 1449 h 2204"/>
              <a:gd name="T38" fmla="*/ 1802 w 2204"/>
              <a:gd name="T39" fmla="*/ 1194 h 2204"/>
              <a:gd name="T40" fmla="*/ 1095 w 2204"/>
              <a:gd name="T41" fmla="*/ 2204 h 2204"/>
              <a:gd name="T42" fmla="*/ 2204 w 2204"/>
              <a:gd name="T43" fmla="*/ 1092 h 2204"/>
              <a:gd name="T44" fmla="*/ 1095 w 2204"/>
              <a:gd name="T45" fmla="*/ 0 h 2204"/>
              <a:gd name="T46" fmla="*/ 0 w 2204"/>
              <a:gd name="T47" fmla="*/ 1092 h 2204"/>
              <a:gd name="T48" fmla="*/ 1095 w 2204"/>
              <a:gd name="T49" fmla="*/ 2204 h 2204"/>
              <a:gd name="T50" fmla="*/ 1095 w 2204"/>
              <a:gd name="T51" fmla="*/ 132 h 2204"/>
              <a:gd name="T52" fmla="*/ 2072 w 2204"/>
              <a:gd name="T53" fmla="*/ 1092 h 2204"/>
              <a:gd name="T54" fmla="*/ 1095 w 2204"/>
              <a:gd name="T55" fmla="*/ 2068 h 2204"/>
              <a:gd name="T56" fmla="*/ 137 w 2204"/>
              <a:gd name="T57" fmla="*/ 1092 h 2204"/>
              <a:gd name="T58" fmla="*/ 1095 w 2204"/>
              <a:gd name="T59" fmla="*/ 132 h 2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204" h="2204">
                <a:moveTo>
                  <a:pt x="1131" y="1075"/>
                </a:moveTo>
                <a:cubicBezTo>
                  <a:pt x="1131" y="1075"/>
                  <a:pt x="1131" y="1075"/>
                  <a:pt x="849" y="764"/>
                </a:cubicBezTo>
                <a:cubicBezTo>
                  <a:pt x="849" y="1470"/>
                  <a:pt x="849" y="1470"/>
                  <a:pt x="849" y="1470"/>
                </a:cubicBezTo>
                <a:cubicBezTo>
                  <a:pt x="849" y="1470"/>
                  <a:pt x="849" y="1470"/>
                  <a:pt x="645" y="1470"/>
                </a:cubicBezTo>
                <a:cubicBezTo>
                  <a:pt x="645" y="1470"/>
                  <a:pt x="645" y="1470"/>
                  <a:pt x="645" y="764"/>
                </a:cubicBezTo>
                <a:cubicBezTo>
                  <a:pt x="645" y="764"/>
                  <a:pt x="645" y="764"/>
                  <a:pt x="344" y="1075"/>
                </a:cubicBezTo>
                <a:cubicBezTo>
                  <a:pt x="344" y="1075"/>
                  <a:pt x="344" y="1075"/>
                  <a:pt x="344" y="819"/>
                </a:cubicBezTo>
                <a:cubicBezTo>
                  <a:pt x="344" y="819"/>
                  <a:pt x="344" y="819"/>
                  <a:pt x="738" y="397"/>
                </a:cubicBezTo>
                <a:cubicBezTo>
                  <a:pt x="738" y="397"/>
                  <a:pt x="738" y="397"/>
                  <a:pt x="1131" y="819"/>
                </a:cubicBezTo>
                <a:cubicBezTo>
                  <a:pt x="1131" y="819"/>
                  <a:pt x="1131" y="819"/>
                  <a:pt x="1131" y="1075"/>
                </a:cubicBezTo>
                <a:close/>
                <a:moveTo>
                  <a:pt x="1802" y="1194"/>
                </a:moveTo>
                <a:cubicBezTo>
                  <a:pt x="1802" y="1194"/>
                  <a:pt x="1802" y="1194"/>
                  <a:pt x="1519" y="1505"/>
                </a:cubicBezTo>
                <a:cubicBezTo>
                  <a:pt x="1519" y="799"/>
                  <a:pt x="1519" y="799"/>
                  <a:pt x="1519" y="799"/>
                </a:cubicBezTo>
                <a:cubicBezTo>
                  <a:pt x="1519" y="799"/>
                  <a:pt x="1519" y="799"/>
                  <a:pt x="1316" y="799"/>
                </a:cubicBezTo>
                <a:cubicBezTo>
                  <a:pt x="1316" y="799"/>
                  <a:pt x="1316" y="799"/>
                  <a:pt x="1316" y="1505"/>
                </a:cubicBezTo>
                <a:cubicBezTo>
                  <a:pt x="1316" y="1505"/>
                  <a:pt x="1316" y="1505"/>
                  <a:pt x="1015" y="1194"/>
                </a:cubicBezTo>
                <a:cubicBezTo>
                  <a:pt x="1015" y="1194"/>
                  <a:pt x="1015" y="1194"/>
                  <a:pt x="1015" y="1449"/>
                </a:cubicBezTo>
                <a:cubicBezTo>
                  <a:pt x="1015" y="1449"/>
                  <a:pt x="1015" y="1449"/>
                  <a:pt x="1408" y="1872"/>
                </a:cubicBezTo>
                <a:cubicBezTo>
                  <a:pt x="1408" y="1872"/>
                  <a:pt x="1408" y="1872"/>
                  <a:pt x="1802" y="1449"/>
                </a:cubicBezTo>
                <a:cubicBezTo>
                  <a:pt x="1802" y="1449"/>
                  <a:pt x="1802" y="1449"/>
                  <a:pt x="1802" y="1194"/>
                </a:cubicBezTo>
                <a:close/>
                <a:moveTo>
                  <a:pt x="1095" y="2204"/>
                </a:moveTo>
                <a:cubicBezTo>
                  <a:pt x="1718" y="2204"/>
                  <a:pt x="2204" y="1714"/>
                  <a:pt x="2204" y="1092"/>
                </a:cubicBezTo>
                <a:cubicBezTo>
                  <a:pt x="2204" y="485"/>
                  <a:pt x="1718" y="0"/>
                  <a:pt x="1095" y="0"/>
                </a:cubicBezTo>
                <a:cubicBezTo>
                  <a:pt x="492" y="0"/>
                  <a:pt x="0" y="485"/>
                  <a:pt x="0" y="1092"/>
                </a:cubicBezTo>
                <a:cubicBezTo>
                  <a:pt x="0" y="1714"/>
                  <a:pt x="492" y="2204"/>
                  <a:pt x="1095" y="2204"/>
                </a:cubicBezTo>
                <a:close/>
                <a:moveTo>
                  <a:pt x="1095" y="132"/>
                </a:moveTo>
                <a:cubicBezTo>
                  <a:pt x="1627" y="132"/>
                  <a:pt x="2072" y="561"/>
                  <a:pt x="2072" y="1092"/>
                </a:cubicBezTo>
                <a:cubicBezTo>
                  <a:pt x="2072" y="1628"/>
                  <a:pt x="1627" y="2068"/>
                  <a:pt x="1095" y="2068"/>
                </a:cubicBezTo>
                <a:cubicBezTo>
                  <a:pt x="563" y="2068"/>
                  <a:pt x="137" y="1628"/>
                  <a:pt x="137" y="1092"/>
                </a:cubicBezTo>
                <a:cubicBezTo>
                  <a:pt x="137" y="561"/>
                  <a:pt x="563" y="132"/>
                  <a:pt x="1095" y="132"/>
                </a:cubicBezTo>
                <a:close/>
              </a:path>
            </a:pathLst>
          </a:custGeom>
          <a:solidFill>
            <a:srgbClr val="00B0F0"/>
          </a:solidFill>
          <a:ln w="9525" cap="flat" cmpd="sng" algn="ctr">
            <a:noFill/>
            <a:prstDash val="solid"/>
            <a:headEnd type="none" w="med" len="med"/>
            <a:tailEnd type="none" w="med" len="med"/>
          </a:ln>
          <a:effectLst/>
        </p:spPr>
        <p:txBody>
          <a:bodyPr rot="0" spcFirstLastPara="0" vertOverflow="overflow" horzOverflow="overflow" vert="horz" wrap="square" lIns="179208" tIns="143366" rIns="179208" bIns="143366" numCol="1" spcCol="0" rtlCol="0" fromWordArt="0" anchor="t" anchorCtr="0" forceAA="0" compatLnSpc="1">
            <a:prstTxWarp prst="textNoShape">
              <a:avLst/>
            </a:prstTxWarp>
            <a:noAutofit/>
          </a:bodyPr>
          <a:lstStyle/>
          <a:p>
            <a:pPr marL="335951" indent="-335951" algn="ctr" defTabSz="913576">
              <a:lnSpc>
                <a:spcPct val="90000"/>
              </a:lnSpc>
              <a:buFont typeface="Wingdings 3" panose="05040102010807070707" pitchFamily="18" charset="2"/>
              <a:buChar char="Æ"/>
              <a:defRPr/>
            </a:pPr>
            <a:endParaRPr lang="en-US" sz="1961" b="1" kern="0">
              <a:solidFill>
                <a:srgbClr val="FFFFFF"/>
              </a:solidFill>
              <a:latin typeface="Segoe UI Light"/>
              <a:ea typeface="Segoe UI" pitchFamily="34" charset="0"/>
              <a:cs typeface="Segoe UI" pitchFamily="34" charset="0"/>
            </a:endParaRPr>
          </a:p>
        </p:txBody>
      </p:sp>
      <p:sp>
        <p:nvSpPr>
          <p:cNvPr id="138" name="TextBox 137"/>
          <p:cNvSpPr txBox="1"/>
          <p:nvPr/>
        </p:nvSpPr>
        <p:spPr>
          <a:xfrm>
            <a:off x="7338464" y="3135846"/>
            <a:ext cx="1072943" cy="386728"/>
          </a:xfrm>
          <a:prstGeom prst="rect">
            <a:avLst/>
          </a:prstGeom>
          <a:noFill/>
        </p:spPr>
        <p:txBody>
          <a:bodyPr wrap="square" lIns="179208" tIns="143366" rIns="179208" bIns="143366" rtlCol="0" anchor="ctr">
            <a:noAutofit/>
          </a:bodyPr>
          <a:lstStyle/>
          <a:p>
            <a:pPr algn="ctr" defTabSz="912979" fontAlgn="base">
              <a:lnSpc>
                <a:spcPct val="90000"/>
              </a:lnSpc>
              <a:spcBef>
                <a:spcPct val="0"/>
              </a:spcBef>
              <a:spcAft>
                <a:spcPts val="588"/>
              </a:spcAft>
            </a:pPr>
            <a:r>
              <a:rPr lang="en-US" sz="1176">
                <a:gradFill>
                  <a:gsLst>
                    <a:gs pos="87611">
                      <a:srgbClr val="00BCF2"/>
                    </a:gs>
                    <a:gs pos="72000">
                      <a:srgbClr val="00BCF2"/>
                    </a:gs>
                  </a:gsLst>
                  <a:lin ang="5400000" scaled="0"/>
                </a:gradFill>
                <a:latin typeface="Segoe UI Semibold" panose="020B0702040204020203" pitchFamily="34" charset="0"/>
                <a:ea typeface="MS PGothic" charset="0"/>
                <a:cs typeface="Segoe UI Semibold" panose="020B0702040204020203" pitchFamily="34" charset="0"/>
              </a:rPr>
              <a:t>Live Query</a:t>
            </a:r>
          </a:p>
        </p:txBody>
      </p:sp>
      <p:sp>
        <p:nvSpPr>
          <p:cNvPr id="139" name="TextBox 138"/>
          <p:cNvSpPr txBox="1"/>
          <p:nvPr/>
        </p:nvSpPr>
        <p:spPr>
          <a:xfrm>
            <a:off x="8177542" y="3181808"/>
            <a:ext cx="1089420" cy="386728"/>
          </a:xfrm>
          <a:prstGeom prst="rect">
            <a:avLst/>
          </a:prstGeom>
          <a:noFill/>
        </p:spPr>
        <p:txBody>
          <a:bodyPr wrap="square" lIns="179208" tIns="143366" rIns="179208" bIns="143366" rtlCol="0" anchor="ctr">
            <a:noAutofit/>
          </a:bodyPr>
          <a:lstStyle/>
          <a:p>
            <a:pPr algn="ctr" defTabSz="912979" fontAlgn="base">
              <a:lnSpc>
                <a:spcPct val="90000"/>
              </a:lnSpc>
              <a:spcBef>
                <a:spcPct val="0"/>
              </a:spcBef>
              <a:spcAft>
                <a:spcPts val="588"/>
              </a:spcAft>
            </a:pPr>
            <a:r>
              <a:rPr lang="en-US" sz="1176">
                <a:gradFill>
                  <a:gsLst>
                    <a:gs pos="87611">
                      <a:srgbClr val="00BCF2"/>
                    </a:gs>
                    <a:gs pos="72000">
                      <a:srgbClr val="00BCF2"/>
                    </a:gs>
                  </a:gsLst>
                  <a:lin ang="5400000" scaled="0"/>
                </a:gradFill>
                <a:latin typeface="Segoe UI Semibold" panose="020B0702040204020203" pitchFamily="34" charset="0"/>
                <a:ea typeface="MS PGothic" charset="0"/>
                <a:cs typeface="Segoe UI Semibold" panose="020B0702040204020203" pitchFamily="34" charset="0"/>
              </a:rPr>
              <a:t>Direct Query</a:t>
            </a:r>
          </a:p>
        </p:txBody>
      </p:sp>
      <p:sp>
        <p:nvSpPr>
          <p:cNvPr id="140" name="TextBox 139"/>
          <p:cNvSpPr txBox="1"/>
          <p:nvPr/>
        </p:nvSpPr>
        <p:spPr>
          <a:xfrm>
            <a:off x="9013631" y="3175322"/>
            <a:ext cx="1089420" cy="386728"/>
          </a:xfrm>
          <a:prstGeom prst="rect">
            <a:avLst/>
          </a:prstGeom>
          <a:noFill/>
        </p:spPr>
        <p:txBody>
          <a:bodyPr wrap="square" lIns="179208" tIns="143366" rIns="179208" bIns="143366" rtlCol="0" anchor="ctr">
            <a:noAutofit/>
          </a:bodyPr>
          <a:lstStyle/>
          <a:p>
            <a:pPr algn="ctr" defTabSz="912979" fontAlgn="base">
              <a:lnSpc>
                <a:spcPct val="90000"/>
              </a:lnSpc>
              <a:spcBef>
                <a:spcPct val="0"/>
              </a:spcBef>
              <a:spcAft>
                <a:spcPts val="588"/>
              </a:spcAft>
            </a:pPr>
            <a:r>
              <a:rPr lang="en-US" sz="1176">
                <a:gradFill>
                  <a:gsLst>
                    <a:gs pos="87611">
                      <a:srgbClr val="00BCF2"/>
                    </a:gs>
                    <a:gs pos="72000">
                      <a:srgbClr val="00BCF2"/>
                    </a:gs>
                  </a:gsLst>
                  <a:lin ang="5400000" scaled="0"/>
                </a:gradFill>
                <a:latin typeface="Segoe UI Semibold" panose="020B0702040204020203" pitchFamily="34" charset="0"/>
                <a:ea typeface="MS PGothic" charset="0"/>
                <a:cs typeface="Segoe UI Semibold" panose="020B0702040204020203" pitchFamily="34" charset="0"/>
              </a:rPr>
              <a:t>Scheduled Refresh</a:t>
            </a:r>
          </a:p>
        </p:txBody>
      </p:sp>
      <p:sp>
        <p:nvSpPr>
          <p:cNvPr id="81" name="TextBox 80"/>
          <p:cNvSpPr txBox="1"/>
          <p:nvPr/>
        </p:nvSpPr>
        <p:spPr>
          <a:xfrm>
            <a:off x="7600329" y="1271729"/>
            <a:ext cx="1376225" cy="634358"/>
          </a:xfrm>
          <a:prstGeom prst="rect">
            <a:avLst/>
          </a:prstGeom>
          <a:noFill/>
        </p:spPr>
        <p:txBody>
          <a:bodyPr wrap="square" lIns="179259" tIns="143407" rIns="179259" bIns="143407" rtlCol="0" anchor="ctr">
            <a:noAutofit/>
          </a:bodyPr>
          <a:lstStyle/>
          <a:p>
            <a:pPr algn="ctr" defTabSz="914192">
              <a:lnSpc>
                <a:spcPct val="90000"/>
              </a:lnSpc>
              <a:spcAft>
                <a:spcPts val="588"/>
              </a:spcAft>
              <a:defRPr/>
            </a:pPr>
            <a:r>
              <a:rPr lang="en-US" sz="1175" kern="0">
                <a:gradFill>
                  <a:gsLst>
                    <a:gs pos="2917">
                      <a:srgbClr val="000000"/>
                    </a:gs>
                    <a:gs pos="30000">
                      <a:srgbClr val="000000"/>
                    </a:gs>
                  </a:gsLst>
                  <a:lin ang="5400000" scaled="0"/>
                </a:gradFill>
              </a:rPr>
              <a:t>Live Power BI Dashboards and Reports</a:t>
            </a:r>
          </a:p>
        </p:txBody>
      </p:sp>
    </p:spTree>
    <p:extLst>
      <p:ext uri="{BB962C8B-B14F-4D97-AF65-F5344CB8AC3E}">
        <p14:creationId xmlns:p14="http://schemas.microsoft.com/office/powerpoint/2010/main" val="9249772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 name="Title 10"/>
          <p:cNvSpPr txBox="1">
            <a:spLocks/>
          </p:cNvSpPr>
          <p:nvPr/>
        </p:nvSpPr>
        <p:spPr>
          <a:xfrm>
            <a:off x="2815443" y="9056"/>
            <a:ext cx="9376557" cy="665151"/>
          </a:xfrm>
          <a:prstGeom prst="rect">
            <a:avLst/>
          </a:prstGeom>
          <a:noFill/>
        </p:spPr>
        <p:txBody>
          <a:bodyPr vert="horz" wrap="square" lIns="0" tIns="91440" rIns="0" bIns="91440" rtlCol="0" anchor="t">
            <a:noAutofit/>
          </a:bodyPr>
          <a:lstStyle>
            <a:lvl1pPr defTabSz="914367">
              <a:lnSpc>
                <a:spcPct val="90000"/>
              </a:lnSpc>
              <a:spcBef>
                <a:spcPct val="0"/>
              </a:spcBef>
              <a:buNone/>
              <a:defRPr lang="en-US" sz="5294" b="0" cap="none" spc="-100" baseline="0" dirty="0" smtClean="0">
                <a:ln w="3175">
                  <a:noFill/>
                </a:ln>
                <a:solidFill>
                  <a:schemeClr val="tx2"/>
                </a:solidFill>
                <a:effectLst/>
                <a:latin typeface="+mj-lt"/>
                <a:cs typeface="Segoe UI" pitchFamily="34" charset="0"/>
              </a:defRPr>
            </a:lvl1pPr>
          </a:lstStyle>
          <a:p>
            <a:pPr marL="168275"/>
            <a:r>
              <a:rPr lang="en-US" sz="3600">
                <a:solidFill>
                  <a:schemeClr val="tx1"/>
                </a:solidFill>
              </a:rPr>
              <a:t>Scheduled refresh with Power BI Personal Gateway</a:t>
            </a:r>
          </a:p>
          <a:p>
            <a:pPr marL="168275"/>
            <a:endParaRPr lang="en-US" sz="3600" b="1">
              <a:solidFill>
                <a:schemeClr val="tx1"/>
              </a:solidFill>
            </a:endParaRPr>
          </a:p>
          <a:p>
            <a:pPr marL="168275"/>
            <a:endParaRPr lang="en-IN" sz="3600">
              <a:solidFill>
                <a:schemeClr val="tx1"/>
              </a:solidFill>
            </a:endParaRPr>
          </a:p>
        </p:txBody>
      </p:sp>
      <p:sp>
        <p:nvSpPr>
          <p:cNvPr id="49" name="Rectangle 48"/>
          <p:cNvSpPr/>
          <p:nvPr/>
        </p:nvSpPr>
        <p:spPr>
          <a:xfrm>
            <a:off x="2871352" y="1154905"/>
            <a:ext cx="4127064" cy="4247317"/>
          </a:xfrm>
          <a:prstGeom prst="rect">
            <a:avLst/>
          </a:prstGeom>
        </p:spPr>
        <p:txBody>
          <a:bodyPr wrap="square">
            <a:spAutoFit/>
          </a:bodyPr>
          <a:lstStyle/>
          <a:p>
            <a:pPr marL="342900" indent="-342900">
              <a:spcBef>
                <a:spcPts val="600"/>
              </a:spcBef>
              <a:spcAft>
                <a:spcPts val="600"/>
              </a:spcAft>
              <a:buFont typeface="Symbol" panose="05050102010706020507" pitchFamily="18" charset="2"/>
              <a:buChar char=""/>
            </a:pPr>
            <a:r>
              <a:rPr lang="en-US" sz="2000">
                <a:latin typeface="+mj-lt"/>
                <a:ea typeface="Calibri" panose="020F0502020204030204" pitchFamily="34" charset="0"/>
                <a:cs typeface="Times New Roman" panose="02020603050405020304" pitchFamily="18" charset="0"/>
              </a:rPr>
              <a:t>Personal Gateway empowers the business analyst to securely and easily refresh </a:t>
            </a:r>
            <a:r>
              <a:rPr lang="en-US" sz="2000" err="1">
                <a:latin typeface="+mj-lt"/>
                <a:ea typeface="Calibri" panose="020F0502020204030204" pitchFamily="34" charset="0"/>
                <a:cs typeface="Times New Roman" panose="02020603050405020304" pitchFamily="18" charset="0"/>
              </a:rPr>
              <a:t>on-premise</a:t>
            </a:r>
            <a:r>
              <a:rPr lang="en-US" sz="2000">
                <a:latin typeface="+mj-lt"/>
                <a:ea typeface="Calibri" panose="020F0502020204030204" pitchFamily="34" charset="0"/>
                <a:cs typeface="Times New Roman" panose="02020603050405020304" pitchFamily="18" charset="0"/>
              </a:rPr>
              <a:t> data </a:t>
            </a:r>
          </a:p>
          <a:p>
            <a:pPr marL="342900" indent="-342900">
              <a:spcBef>
                <a:spcPts val="600"/>
              </a:spcBef>
              <a:spcAft>
                <a:spcPts val="600"/>
              </a:spcAft>
              <a:buFont typeface="Symbol" panose="05050102010706020507" pitchFamily="18" charset="2"/>
              <a:buChar char=""/>
            </a:pPr>
            <a:r>
              <a:rPr lang="en-US" sz="2000">
                <a:latin typeface="+mj-lt"/>
                <a:ea typeface="Calibri" panose="020F0502020204030204" pitchFamily="34" charset="0"/>
                <a:cs typeface="Times New Roman" panose="02020603050405020304" pitchFamily="18" charset="0"/>
              </a:rPr>
              <a:t>Self-service data refresh - no help from IT required</a:t>
            </a:r>
          </a:p>
          <a:p>
            <a:pPr marL="342900" indent="-342900">
              <a:spcBef>
                <a:spcPts val="600"/>
              </a:spcBef>
              <a:spcAft>
                <a:spcPts val="600"/>
              </a:spcAft>
              <a:buFont typeface="Symbol" panose="05050102010706020507" pitchFamily="18" charset="2"/>
              <a:buChar char=""/>
            </a:pPr>
            <a:r>
              <a:rPr lang="en-US" sz="2000">
                <a:latin typeface="+mj-lt"/>
                <a:ea typeface="Calibri" panose="020F0502020204030204" pitchFamily="34" charset="0"/>
                <a:cs typeface="Times New Roman" panose="02020603050405020304" pitchFamily="18" charset="0"/>
              </a:rPr>
              <a:t>Easy &amp; simple to use - lightweight one-click installer </a:t>
            </a:r>
          </a:p>
          <a:p>
            <a:pPr marL="342900" indent="-342900">
              <a:spcBef>
                <a:spcPts val="600"/>
              </a:spcBef>
              <a:spcAft>
                <a:spcPts val="600"/>
              </a:spcAft>
              <a:buFont typeface="Symbol" panose="05050102010706020507" pitchFamily="18" charset="2"/>
              <a:buChar char=""/>
            </a:pPr>
            <a:r>
              <a:rPr lang="en-US" sz="2000">
                <a:latin typeface="+mj-lt"/>
                <a:ea typeface="Calibri" panose="020F0502020204030204" pitchFamily="34" charset="0"/>
                <a:cs typeface="Times New Roman" panose="02020603050405020304" pitchFamily="18" charset="0"/>
              </a:rPr>
              <a:t>One Personal Gateway per user</a:t>
            </a:r>
          </a:p>
          <a:p>
            <a:pPr marL="342900" indent="-342900">
              <a:spcBef>
                <a:spcPts val="600"/>
              </a:spcBef>
              <a:spcAft>
                <a:spcPts val="600"/>
              </a:spcAft>
              <a:buFont typeface="Symbol" panose="05050102010706020507" pitchFamily="18" charset="2"/>
              <a:buChar char=""/>
            </a:pPr>
            <a:r>
              <a:rPr lang="en-US" sz="2000">
                <a:latin typeface="+mj-lt"/>
                <a:ea typeface="Calibri" panose="020F0502020204030204" pitchFamily="34" charset="0"/>
                <a:cs typeface="Times New Roman" panose="02020603050405020304" pitchFamily="18" charset="0"/>
              </a:rPr>
              <a:t>Runs either as a service or an app</a:t>
            </a:r>
          </a:p>
          <a:p>
            <a:pPr marL="342900" indent="-342900">
              <a:spcBef>
                <a:spcPts val="600"/>
              </a:spcBef>
              <a:spcAft>
                <a:spcPts val="600"/>
              </a:spcAft>
              <a:buFont typeface="Symbol" panose="05050102010706020507" pitchFamily="18" charset="2"/>
              <a:buChar char=""/>
            </a:pPr>
            <a:r>
              <a:rPr lang="en-US" sz="2000">
                <a:latin typeface="+mj-lt"/>
                <a:ea typeface="Calibri" panose="020F0502020204030204" pitchFamily="34" charset="0"/>
                <a:cs typeface="Times New Roman" panose="02020603050405020304" pitchFamily="18" charset="0"/>
              </a:rPr>
              <a:t>Import of data with scheduled refresh</a:t>
            </a:r>
          </a:p>
        </p:txBody>
      </p:sp>
      <p:sp>
        <p:nvSpPr>
          <p:cNvPr id="37" name="Rectangle 15"/>
          <p:cNvSpPr/>
          <p:nvPr/>
        </p:nvSpPr>
        <p:spPr bwMode="auto">
          <a:xfrm>
            <a:off x="2" y="487"/>
            <a:ext cx="2815441" cy="685702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38" name="TextBox 37"/>
          <p:cNvSpPr txBox="1"/>
          <p:nvPr/>
        </p:nvSpPr>
        <p:spPr>
          <a:xfrm>
            <a:off x="2" y="487"/>
            <a:ext cx="2815441" cy="683264"/>
          </a:xfrm>
          <a:prstGeom prst="rect">
            <a:avLst/>
          </a:prstGeom>
          <a:noFill/>
        </p:spPr>
        <p:txBody>
          <a:bodyPr wrap="square" lIns="182880" tIns="146304" rIns="182880" bIns="146304" rtlCol="0">
            <a:spAutoFit/>
          </a:bodyPr>
          <a:lstStyle>
            <a:defPPr>
              <a:defRPr lang="en-US"/>
            </a:defPPr>
            <a:lvl1pPr>
              <a:lnSpc>
                <a:spcPct val="90000"/>
              </a:lnSpc>
              <a:spcAft>
                <a:spcPts val="600"/>
              </a:spcAft>
              <a:defRPr sz="2800" b="1">
                <a:solidFill>
                  <a:srgbClr val="F2C812"/>
                </a:solidFill>
                <a:latin typeface="Segoe UI Light"/>
              </a:defRPr>
            </a:lvl1pPr>
          </a:lstStyle>
          <a:p>
            <a:r>
              <a:rPr lang="en-US"/>
              <a:t>IT challenges</a:t>
            </a:r>
          </a:p>
        </p:txBody>
      </p:sp>
      <p:grpSp>
        <p:nvGrpSpPr>
          <p:cNvPr id="39" name="Group 38"/>
          <p:cNvGrpSpPr/>
          <p:nvPr/>
        </p:nvGrpSpPr>
        <p:grpSpPr>
          <a:xfrm>
            <a:off x="151322" y="867914"/>
            <a:ext cx="2636411" cy="548640"/>
            <a:chOff x="179032" y="1123407"/>
            <a:chExt cx="2636411" cy="548640"/>
          </a:xfrm>
        </p:grpSpPr>
        <p:sp>
          <p:nvSpPr>
            <p:cNvPr id="40" name="Oval 147"/>
            <p:cNvSpPr/>
            <p:nvPr/>
          </p:nvSpPr>
          <p:spPr bwMode="auto">
            <a:xfrm>
              <a:off x="179032" y="1123407"/>
              <a:ext cx="548640" cy="548640"/>
            </a:xfrm>
            <a:prstGeom prst="ellipse">
              <a:avLst/>
            </a:prstGeom>
            <a:solidFill>
              <a:srgbClr val="FFCC00"/>
            </a:solidFill>
            <a:ln>
              <a:solidFill>
                <a:srgbClr val="F2C81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err="1">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145"/>
            <p:cNvSpPr/>
            <p:nvPr/>
          </p:nvSpPr>
          <p:spPr bwMode="auto">
            <a:xfrm>
              <a:off x="805048" y="1206147"/>
              <a:ext cx="2010395" cy="3831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14367"/>
              <a:r>
                <a:rPr lang="en-US" sz="1400" b="1">
                  <a:solidFill>
                    <a:srgbClr val="F2C812"/>
                  </a:solidFill>
                  <a:cs typeface="Segoe UI Light" panose="020B0502040204020203" pitchFamily="34" charset="0"/>
                </a:rPr>
                <a:t>Management of BI systems</a:t>
              </a:r>
              <a:endParaRPr lang="en-US" sz="1200" b="1" i="1">
                <a:solidFill>
                  <a:srgbClr val="F2C812"/>
                </a:solidFill>
                <a:cs typeface="Segoe UI Light" panose="020B0502040204020203" pitchFamily="34" charset="0"/>
              </a:endParaRPr>
            </a:p>
          </p:txBody>
        </p:sp>
      </p:grpSp>
      <p:grpSp>
        <p:nvGrpSpPr>
          <p:cNvPr id="42" name="Group 41"/>
          <p:cNvGrpSpPr/>
          <p:nvPr/>
        </p:nvGrpSpPr>
        <p:grpSpPr>
          <a:xfrm>
            <a:off x="151322" y="1832204"/>
            <a:ext cx="2636411" cy="548640"/>
            <a:chOff x="212649" y="1959486"/>
            <a:chExt cx="2636411" cy="548640"/>
          </a:xfrm>
        </p:grpSpPr>
        <p:sp>
          <p:nvSpPr>
            <p:cNvPr id="43" name="Oval 147"/>
            <p:cNvSpPr/>
            <p:nvPr/>
          </p:nvSpPr>
          <p:spPr bwMode="auto">
            <a:xfrm>
              <a:off x="212649" y="1959486"/>
              <a:ext cx="548640" cy="548640"/>
            </a:xfrm>
            <a:prstGeom prst="ellipse">
              <a:avLst/>
            </a:prstGeom>
            <a:solidFill>
              <a:srgbClr val="FFCC00"/>
            </a:solidFill>
            <a:ln>
              <a:solidFill>
                <a:srgbClr val="F2C81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err="1">
                <a:gradFill>
                  <a:gsLst>
                    <a:gs pos="0">
                      <a:srgbClr val="FFFFFF"/>
                    </a:gs>
                    <a:gs pos="100000">
                      <a:srgbClr val="FFFFFF"/>
                    </a:gs>
                  </a:gsLst>
                  <a:lin ang="5400000" scaled="0"/>
                </a:gradFill>
                <a:ea typeface="Segoe UI" pitchFamily="34" charset="0"/>
                <a:cs typeface="Segoe UI" pitchFamily="34" charset="0"/>
              </a:endParaRPr>
            </a:p>
          </p:txBody>
        </p:sp>
        <p:sp>
          <p:nvSpPr>
            <p:cNvPr id="44" name="Rectangle 145"/>
            <p:cNvSpPr/>
            <p:nvPr/>
          </p:nvSpPr>
          <p:spPr bwMode="auto">
            <a:xfrm>
              <a:off x="838665" y="2042226"/>
              <a:ext cx="2010395" cy="3831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14367"/>
              <a:r>
                <a:rPr lang="en-US" sz="1400" b="1">
                  <a:solidFill>
                    <a:srgbClr val="F2C812"/>
                  </a:solidFill>
                  <a:cs typeface="Segoe UI Light" panose="020B0502040204020203" pitchFamily="34" charset="0"/>
                </a:rPr>
                <a:t>Variety of data sources</a:t>
              </a:r>
              <a:endParaRPr lang="en-US" sz="1200" b="1" i="1">
                <a:solidFill>
                  <a:srgbClr val="F2C812"/>
                </a:solidFill>
                <a:cs typeface="Segoe UI Light" panose="020B0502040204020203" pitchFamily="34" charset="0"/>
              </a:endParaRPr>
            </a:p>
          </p:txBody>
        </p:sp>
      </p:grpSp>
      <p:grpSp>
        <p:nvGrpSpPr>
          <p:cNvPr id="45" name="Group 44"/>
          <p:cNvGrpSpPr/>
          <p:nvPr/>
        </p:nvGrpSpPr>
        <p:grpSpPr>
          <a:xfrm>
            <a:off x="151322" y="2796494"/>
            <a:ext cx="2636411" cy="548640"/>
            <a:chOff x="179032" y="1123407"/>
            <a:chExt cx="2636411" cy="548640"/>
          </a:xfrm>
        </p:grpSpPr>
        <p:sp>
          <p:nvSpPr>
            <p:cNvPr id="46" name="Oval 147"/>
            <p:cNvSpPr/>
            <p:nvPr/>
          </p:nvSpPr>
          <p:spPr bwMode="auto">
            <a:xfrm>
              <a:off x="179032" y="1123407"/>
              <a:ext cx="548640" cy="548640"/>
            </a:xfrm>
            <a:prstGeom prst="ellipse">
              <a:avLst/>
            </a:prstGeom>
            <a:solidFill>
              <a:srgbClr val="FFCC00"/>
            </a:solidFill>
            <a:ln>
              <a:solidFill>
                <a:srgbClr val="F2C81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err="1">
                <a:gradFill>
                  <a:gsLst>
                    <a:gs pos="0">
                      <a:srgbClr val="FFFFFF"/>
                    </a:gs>
                    <a:gs pos="100000">
                      <a:srgbClr val="FFFFFF"/>
                    </a:gs>
                  </a:gsLst>
                  <a:lin ang="5400000" scaled="0"/>
                </a:gradFill>
                <a:ea typeface="Segoe UI" pitchFamily="34" charset="0"/>
                <a:cs typeface="Segoe UI" pitchFamily="34" charset="0"/>
              </a:endParaRPr>
            </a:p>
          </p:txBody>
        </p:sp>
        <p:sp>
          <p:nvSpPr>
            <p:cNvPr id="47" name="Rectangle 145"/>
            <p:cNvSpPr/>
            <p:nvPr/>
          </p:nvSpPr>
          <p:spPr bwMode="auto">
            <a:xfrm>
              <a:off x="805048" y="1206147"/>
              <a:ext cx="2010395" cy="3831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14367"/>
              <a:r>
                <a:rPr lang="en-US" sz="1400" b="1">
                  <a:solidFill>
                    <a:srgbClr val="F2C812"/>
                  </a:solidFill>
                  <a:cs typeface="Segoe UI Light" panose="020B0502040204020203" pitchFamily="34" charset="0"/>
                </a:rPr>
                <a:t>Managing data in the cloud</a:t>
              </a:r>
              <a:endParaRPr lang="en-US" sz="1200" b="1" i="1">
                <a:solidFill>
                  <a:srgbClr val="F2C812"/>
                </a:solidFill>
                <a:cs typeface="Segoe UI Light" panose="020B0502040204020203" pitchFamily="34" charset="0"/>
              </a:endParaRPr>
            </a:p>
          </p:txBody>
        </p:sp>
      </p:grpSp>
      <p:grpSp>
        <p:nvGrpSpPr>
          <p:cNvPr id="48" name="Group 47"/>
          <p:cNvGrpSpPr/>
          <p:nvPr/>
        </p:nvGrpSpPr>
        <p:grpSpPr>
          <a:xfrm>
            <a:off x="151322" y="3760784"/>
            <a:ext cx="2636411" cy="548640"/>
            <a:chOff x="179032" y="1123407"/>
            <a:chExt cx="2636411" cy="548640"/>
          </a:xfrm>
        </p:grpSpPr>
        <p:sp>
          <p:nvSpPr>
            <p:cNvPr id="50" name="Oval 147"/>
            <p:cNvSpPr/>
            <p:nvPr/>
          </p:nvSpPr>
          <p:spPr bwMode="auto">
            <a:xfrm>
              <a:off x="179032" y="1123407"/>
              <a:ext cx="548640" cy="548640"/>
            </a:xfrm>
            <a:prstGeom prst="ellipse">
              <a:avLst/>
            </a:prstGeom>
            <a:solidFill>
              <a:srgbClr val="FFCC00"/>
            </a:solidFill>
            <a:ln>
              <a:solidFill>
                <a:srgbClr val="F2C81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err="1">
                <a:gradFill>
                  <a:gsLst>
                    <a:gs pos="0">
                      <a:srgbClr val="FFFFFF"/>
                    </a:gs>
                    <a:gs pos="100000">
                      <a:srgbClr val="FFFFFF"/>
                    </a:gs>
                  </a:gsLst>
                  <a:lin ang="5400000" scaled="0"/>
                </a:gradFill>
                <a:ea typeface="Segoe UI" pitchFamily="34" charset="0"/>
                <a:cs typeface="Segoe UI" pitchFamily="34" charset="0"/>
              </a:endParaRPr>
            </a:p>
          </p:txBody>
        </p:sp>
        <p:sp>
          <p:nvSpPr>
            <p:cNvPr id="51" name="Rectangle 145"/>
            <p:cNvSpPr/>
            <p:nvPr/>
          </p:nvSpPr>
          <p:spPr bwMode="auto">
            <a:xfrm>
              <a:off x="805048" y="1206147"/>
              <a:ext cx="2010395" cy="3831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14367"/>
              <a:r>
                <a:rPr lang="en-US" sz="1400" b="1">
                  <a:solidFill>
                    <a:srgbClr val="F2C812"/>
                  </a:solidFill>
                  <a:cs typeface="Segoe UI Light" panose="020B0502040204020203" pitchFamily="34" charset="0"/>
                </a:rPr>
                <a:t>Integration with existing environment</a:t>
              </a:r>
              <a:endParaRPr lang="en-US" sz="1200" b="1" i="1">
                <a:solidFill>
                  <a:srgbClr val="F2C812"/>
                </a:solidFill>
                <a:cs typeface="Segoe UI Light" panose="020B0502040204020203" pitchFamily="34" charset="0"/>
              </a:endParaRPr>
            </a:p>
          </p:txBody>
        </p:sp>
      </p:grpSp>
      <p:grpSp>
        <p:nvGrpSpPr>
          <p:cNvPr id="52" name="Group 51"/>
          <p:cNvGrpSpPr/>
          <p:nvPr/>
        </p:nvGrpSpPr>
        <p:grpSpPr>
          <a:xfrm>
            <a:off x="132176" y="4725074"/>
            <a:ext cx="2655557" cy="548640"/>
            <a:chOff x="159886" y="1123407"/>
            <a:chExt cx="2655557" cy="548640"/>
          </a:xfrm>
        </p:grpSpPr>
        <p:sp>
          <p:nvSpPr>
            <p:cNvPr id="54" name="Oval 147"/>
            <p:cNvSpPr/>
            <p:nvPr/>
          </p:nvSpPr>
          <p:spPr bwMode="auto">
            <a:xfrm>
              <a:off x="159886" y="1123407"/>
              <a:ext cx="548640" cy="548640"/>
            </a:xfrm>
            <a:prstGeom prst="ellipse">
              <a:avLst/>
            </a:prstGeom>
            <a:solidFill>
              <a:srgbClr val="FFCC00"/>
            </a:solidFill>
            <a:ln>
              <a:solidFill>
                <a:srgbClr val="F2C81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err="1">
                <a:gradFill>
                  <a:gsLst>
                    <a:gs pos="0">
                      <a:srgbClr val="FFFFFF"/>
                    </a:gs>
                    <a:gs pos="100000">
                      <a:srgbClr val="FFFFFF"/>
                    </a:gs>
                  </a:gsLst>
                  <a:lin ang="5400000" scaled="0"/>
                </a:gradFill>
                <a:ea typeface="Segoe UI" pitchFamily="34" charset="0"/>
                <a:cs typeface="Segoe UI" pitchFamily="34" charset="0"/>
              </a:endParaRPr>
            </a:p>
          </p:txBody>
        </p:sp>
        <p:sp>
          <p:nvSpPr>
            <p:cNvPr id="55" name="Rectangle 145"/>
            <p:cNvSpPr/>
            <p:nvPr/>
          </p:nvSpPr>
          <p:spPr bwMode="auto">
            <a:xfrm>
              <a:off x="805048" y="1206147"/>
              <a:ext cx="2010395" cy="3831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14367"/>
              <a:r>
                <a:rPr lang="en-US" sz="1400" b="1">
                  <a:solidFill>
                    <a:srgbClr val="F2C812"/>
                  </a:solidFill>
                  <a:cs typeface="Segoe UI Light" panose="020B0502040204020203" pitchFamily="34" charset="0"/>
                </a:rPr>
                <a:t>Keeping data current</a:t>
              </a:r>
              <a:endParaRPr lang="en-US" sz="1200" b="1" i="1">
                <a:solidFill>
                  <a:srgbClr val="F2C812"/>
                </a:solidFill>
                <a:cs typeface="Segoe UI Light" panose="020B0502040204020203" pitchFamily="34" charset="0"/>
              </a:endParaRPr>
            </a:p>
          </p:txBody>
        </p:sp>
      </p:grpSp>
      <p:grpSp>
        <p:nvGrpSpPr>
          <p:cNvPr id="56" name="Group 55"/>
          <p:cNvGrpSpPr/>
          <p:nvPr/>
        </p:nvGrpSpPr>
        <p:grpSpPr>
          <a:xfrm>
            <a:off x="151322" y="5689364"/>
            <a:ext cx="2636411" cy="548640"/>
            <a:chOff x="179032" y="1123407"/>
            <a:chExt cx="2636411" cy="548640"/>
          </a:xfrm>
        </p:grpSpPr>
        <p:sp>
          <p:nvSpPr>
            <p:cNvPr id="57" name="Oval 147"/>
            <p:cNvSpPr/>
            <p:nvPr/>
          </p:nvSpPr>
          <p:spPr bwMode="auto">
            <a:xfrm>
              <a:off x="179032" y="1123407"/>
              <a:ext cx="548640" cy="548640"/>
            </a:xfrm>
            <a:prstGeom prst="ellipse">
              <a:avLst/>
            </a:prstGeom>
            <a:solidFill>
              <a:srgbClr val="FFCC00"/>
            </a:solidFill>
            <a:ln>
              <a:solidFill>
                <a:srgbClr val="F2C81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err="1">
                <a:gradFill>
                  <a:gsLst>
                    <a:gs pos="0">
                      <a:srgbClr val="FFFFFF"/>
                    </a:gs>
                    <a:gs pos="100000">
                      <a:srgbClr val="FFFFFF"/>
                    </a:gs>
                  </a:gsLst>
                  <a:lin ang="5400000" scaled="0"/>
                </a:gradFill>
                <a:ea typeface="Segoe UI" pitchFamily="34" charset="0"/>
                <a:cs typeface="Segoe UI" pitchFamily="34" charset="0"/>
              </a:endParaRPr>
            </a:p>
          </p:txBody>
        </p:sp>
        <p:sp>
          <p:nvSpPr>
            <p:cNvPr id="58" name="Rectangle 145"/>
            <p:cNvSpPr/>
            <p:nvPr/>
          </p:nvSpPr>
          <p:spPr bwMode="auto">
            <a:xfrm>
              <a:off x="805048" y="1206147"/>
              <a:ext cx="2010395" cy="3831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14367"/>
              <a:r>
                <a:rPr lang="en-US" sz="1400" b="1">
                  <a:solidFill>
                    <a:srgbClr val="F2C812"/>
                  </a:solidFill>
                  <a:cs typeface="Segoe UI Light" panose="020B0502040204020203" pitchFamily="34" charset="0"/>
                </a:rPr>
                <a:t>Ease of use and adoption</a:t>
              </a:r>
              <a:endParaRPr lang="en-US" sz="1200" b="1" i="1">
                <a:solidFill>
                  <a:srgbClr val="F2C812"/>
                </a:solidFill>
                <a:cs typeface="Segoe UI Light" panose="020B0502040204020203" pitchFamily="34" charset="0"/>
              </a:endParaRPr>
            </a:p>
          </p:txBody>
        </p:sp>
      </p:grpSp>
      <p:sp>
        <p:nvSpPr>
          <p:cNvPr id="59" name="Freeform 58"/>
          <p:cNvSpPr>
            <a:spLocks noChangeAspect="1"/>
          </p:cNvSpPr>
          <p:nvPr/>
        </p:nvSpPr>
        <p:spPr bwMode="black">
          <a:xfrm>
            <a:off x="242762" y="1024112"/>
            <a:ext cx="365760" cy="236244"/>
          </a:xfrm>
          <a:custGeom>
            <a:avLst/>
            <a:gdLst>
              <a:gd name="connsiteX0" fmla="*/ 93529 w 794079"/>
              <a:gd name="connsiteY0" fmla="*/ 409985 h 512894"/>
              <a:gd name="connsiteX1" fmla="*/ 57350 w 794079"/>
              <a:gd name="connsiteY1" fmla="*/ 446163 h 512894"/>
              <a:gd name="connsiteX2" fmla="*/ 93529 w 794079"/>
              <a:gd name="connsiteY2" fmla="*/ 482342 h 512894"/>
              <a:gd name="connsiteX3" fmla="*/ 129707 w 794079"/>
              <a:gd name="connsiteY3" fmla="*/ 446163 h 512894"/>
              <a:gd name="connsiteX4" fmla="*/ 93529 w 794079"/>
              <a:gd name="connsiteY4" fmla="*/ 409985 h 512894"/>
              <a:gd name="connsiteX5" fmla="*/ 22935 w 794079"/>
              <a:gd name="connsiteY5" fmla="*/ 375286 h 512894"/>
              <a:gd name="connsiteX6" fmla="*/ 771144 w 794079"/>
              <a:gd name="connsiteY6" fmla="*/ 375286 h 512894"/>
              <a:gd name="connsiteX7" fmla="*/ 794079 w 794079"/>
              <a:gd name="connsiteY7" fmla="*/ 398221 h 512894"/>
              <a:gd name="connsiteX8" fmla="*/ 794079 w 794079"/>
              <a:gd name="connsiteY8" fmla="*/ 489959 h 512894"/>
              <a:gd name="connsiteX9" fmla="*/ 771144 w 794079"/>
              <a:gd name="connsiteY9" fmla="*/ 512894 h 512894"/>
              <a:gd name="connsiteX10" fmla="*/ 22935 w 794079"/>
              <a:gd name="connsiteY10" fmla="*/ 512894 h 512894"/>
              <a:gd name="connsiteX11" fmla="*/ 0 w 794079"/>
              <a:gd name="connsiteY11" fmla="*/ 489959 h 512894"/>
              <a:gd name="connsiteX12" fmla="*/ 0 w 794079"/>
              <a:gd name="connsiteY12" fmla="*/ 398221 h 512894"/>
              <a:gd name="connsiteX13" fmla="*/ 22935 w 794079"/>
              <a:gd name="connsiteY13" fmla="*/ 375286 h 512894"/>
              <a:gd name="connsiteX14" fmla="*/ 93529 w 794079"/>
              <a:gd name="connsiteY14" fmla="*/ 222341 h 512894"/>
              <a:gd name="connsiteX15" fmla="*/ 57350 w 794079"/>
              <a:gd name="connsiteY15" fmla="*/ 258520 h 512894"/>
              <a:gd name="connsiteX16" fmla="*/ 93529 w 794079"/>
              <a:gd name="connsiteY16" fmla="*/ 294699 h 512894"/>
              <a:gd name="connsiteX17" fmla="*/ 129707 w 794079"/>
              <a:gd name="connsiteY17" fmla="*/ 258520 h 512894"/>
              <a:gd name="connsiteX18" fmla="*/ 93529 w 794079"/>
              <a:gd name="connsiteY18" fmla="*/ 222341 h 512894"/>
              <a:gd name="connsiteX19" fmla="*/ 22935 w 794079"/>
              <a:gd name="connsiteY19" fmla="*/ 187643 h 512894"/>
              <a:gd name="connsiteX20" fmla="*/ 771144 w 794079"/>
              <a:gd name="connsiteY20" fmla="*/ 187643 h 512894"/>
              <a:gd name="connsiteX21" fmla="*/ 794079 w 794079"/>
              <a:gd name="connsiteY21" fmla="*/ 210578 h 512894"/>
              <a:gd name="connsiteX22" fmla="*/ 794079 w 794079"/>
              <a:gd name="connsiteY22" fmla="*/ 302316 h 512894"/>
              <a:gd name="connsiteX23" fmla="*/ 771144 w 794079"/>
              <a:gd name="connsiteY23" fmla="*/ 325251 h 512894"/>
              <a:gd name="connsiteX24" fmla="*/ 22935 w 794079"/>
              <a:gd name="connsiteY24" fmla="*/ 325251 h 512894"/>
              <a:gd name="connsiteX25" fmla="*/ 0 w 794079"/>
              <a:gd name="connsiteY25" fmla="*/ 302316 h 512894"/>
              <a:gd name="connsiteX26" fmla="*/ 0 w 794079"/>
              <a:gd name="connsiteY26" fmla="*/ 210578 h 512894"/>
              <a:gd name="connsiteX27" fmla="*/ 22935 w 794079"/>
              <a:gd name="connsiteY27" fmla="*/ 187643 h 512894"/>
              <a:gd name="connsiteX28" fmla="*/ 93529 w 794079"/>
              <a:gd name="connsiteY28" fmla="*/ 34698 h 512894"/>
              <a:gd name="connsiteX29" fmla="*/ 57350 w 794079"/>
              <a:gd name="connsiteY29" fmla="*/ 70877 h 512894"/>
              <a:gd name="connsiteX30" fmla="*/ 93529 w 794079"/>
              <a:gd name="connsiteY30" fmla="*/ 107056 h 512894"/>
              <a:gd name="connsiteX31" fmla="*/ 129707 w 794079"/>
              <a:gd name="connsiteY31" fmla="*/ 70877 h 512894"/>
              <a:gd name="connsiteX32" fmla="*/ 93529 w 794079"/>
              <a:gd name="connsiteY32" fmla="*/ 34698 h 512894"/>
              <a:gd name="connsiteX33" fmla="*/ 22935 w 794079"/>
              <a:gd name="connsiteY33" fmla="*/ 0 h 512894"/>
              <a:gd name="connsiteX34" fmla="*/ 771144 w 794079"/>
              <a:gd name="connsiteY34" fmla="*/ 0 h 512894"/>
              <a:gd name="connsiteX35" fmla="*/ 794079 w 794079"/>
              <a:gd name="connsiteY35" fmla="*/ 22935 h 512894"/>
              <a:gd name="connsiteX36" fmla="*/ 794079 w 794079"/>
              <a:gd name="connsiteY36" fmla="*/ 114673 h 512894"/>
              <a:gd name="connsiteX37" fmla="*/ 771144 w 794079"/>
              <a:gd name="connsiteY37" fmla="*/ 137608 h 512894"/>
              <a:gd name="connsiteX38" fmla="*/ 22935 w 794079"/>
              <a:gd name="connsiteY38" fmla="*/ 137608 h 512894"/>
              <a:gd name="connsiteX39" fmla="*/ 0 w 794079"/>
              <a:gd name="connsiteY39" fmla="*/ 114673 h 512894"/>
              <a:gd name="connsiteX40" fmla="*/ 0 w 794079"/>
              <a:gd name="connsiteY40" fmla="*/ 22935 h 512894"/>
              <a:gd name="connsiteX41" fmla="*/ 22935 w 794079"/>
              <a:gd name="connsiteY41" fmla="*/ 0 h 5128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794079" h="512894">
                <a:moveTo>
                  <a:pt x="93529" y="409985"/>
                </a:moveTo>
                <a:cubicBezTo>
                  <a:pt x="73548" y="409985"/>
                  <a:pt x="57350" y="426182"/>
                  <a:pt x="57350" y="446163"/>
                </a:cubicBezTo>
                <a:cubicBezTo>
                  <a:pt x="57350" y="466144"/>
                  <a:pt x="73548" y="482342"/>
                  <a:pt x="93529" y="482342"/>
                </a:cubicBezTo>
                <a:cubicBezTo>
                  <a:pt x="113510" y="482342"/>
                  <a:pt x="129707" y="466144"/>
                  <a:pt x="129707" y="446163"/>
                </a:cubicBezTo>
                <a:cubicBezTo>
                  <a:pt x="129707" y="426182"/>
                  <a:pt x="113510" y="409985"/>
                  <a:pt x="93529" y="409985"/>
                </a:cubicBezTo>
                <a:close/>
                <a:moveTo>
                  <a:pt x="22935" y="375286"/>
                </a:moveTo>
                <a:lnTo>
                  <a:pt x="771144" y="375286"/>
                </a:lnTo>
                <a:cubicBezTo>
                  <a:pt x="783811" y="375286"/>
                  <a:pt x="794079" y="385555"/>
                  <a:pt x="794079" y="398221"/>
                </a:cubicBezTo>
                <a:lnTo>
                  <a:pt x="794079" y="489959"/>
                </a:lnTo>
                <a:cubicBezTo>
                  <a:pt x="794079" y="502626"/>
                  <a:pt x="783811" y="512894"/>
                  <a:pt x="771144" y="512894"/>
                </a:cubicBezTo>
                <a:lnTo>
                  <a:pt x="22935" y="512894"/>
                </a:lnTo>
                <a:cubicBezTo>
                  <a:pt x="10269" y="512894"/>
                  <a:pt x="0" y="502626"/>
                  <a:pt x="0" y="489959"/>
                </a:cubicBezTo>
                <a:lnTo>
                  <a:pt x="0" y="398221"/>
                </a:lnTo>
                <a:cubicBezTo>
                  <a:pt x="0" y="385555"/>
                  <a:pt x="10269" y="375286"/>
                  <a:pt x="22935" y="375286"/>
                </a:cubicBezTo>
                <a:close/>
                <a:moveTo>
                  <a:pt x="93529" y="222341"/>
                </a:moveTo>
                <a:cubicBezTo>
                  <a:pt x="73548" y="222341"/>
                  <a:pt x="57350" y="238539"/>
                  <a:pt x="57350" y="258520"/>
                </a:cubicBezTo>
                <a:cubicBezTo>
                  <a:pt x="57350" y="278501"/>
                  <a:pt x="73548" y="294699"/>
                  <a:pt x="93529" y="294699"/>
                </a:cubicBezTo>
                <a:cubicBezTo>
                  <a:pt x="113510" y="294699"/>
                  <a:pt x="129707" y="278501"/>
                  <a:pt x="129707" y="258520"/>
                </a:cubicBezTo>
                <a:cubicBezTo>
                  <a:pt x="129707" y="238539"/>
                  <a:pt x="113510" y="222341"/>
                  <a:pt x="93529" y="222341"/>
                </a:cubicBezTo>
                <a:close/>
                <a:moveTo>
                  <a:pt x="22935" y="187643"/>
                </a:moveTo>
                <a:lnTo>
                  <a:pt x="771144" y="187643"/>
                </a:lnTo>
                <a:cubicBezTo>
                  <a:pt x="783811" y="187643"/>
                  <a:pt x="794079" y="197911"/>
                  <a:pt x="794079" y="210578"/>
                </a:cubicBezTo>
                <a:lnTo>
                  <a:pt x="794079" y="302316"/>
                </a:lnTo>
                <a:cubicBezTo>
                  <a:pt x="794079" y="314982"/>
                  <a:pt x="783811" y="325251"/>
                  <a:pt x="771144" y="325251"/>
                </a:cubicBezTo>
                <a:lnTo>
                  <a:pt x="22935" y="325251"/>
                </a:lnTo>
                <a:cubicBezTo>
                  <a:pt x="10269" y="325251"/>
                  <a:pt x="0" y="314982"/>
                  <a:pt x="0" y="302316"/>
                </a:cubicBezTo>
                <a:lnTo>
                  <a:pt x="0" y="210578"/>
                </a:lnTo>
                <a:cubicBezTo>
                  <a:pt x="0" y="197911"/>
                  <a:pt x="10269" y="187643"/>
                  <a:pt x="22935" y="187643"/>
                </a:cubicBezTo>
                <a:close/>
                <a:moveTo>
                  <a:pt x="93529" y="34698"/>
                </a:moveTo>
                <a:cubicBezTo>
                  <a:pt x="73548" y="34698"/>
                  <a:pt x="57350" y="50896"/>
                  <a:pt x="57350" y="70877"/>
                </a:cubicBezTo>
                <a:cubicBezTo>
                  <a:pt x="57350" y="90858"/>
                  <a:pt x="73548" y="107056"/>
                  <a:pt x="93529" y="107056"/>
                </a:cubicBezTo>
                <a:cubicBezTo>
                  <a:pt x="113510" y="107056"/>
                  <a:pt x="129707" y="90858"/>
                  <a:pt x="129707" y="70877"/>
                </a:cubicBezTo>
                <a:cubicBezTo>
                  <a:pt x="129707" y="50896"/>
                  <a:pt x="113510" y="34698"/>
                  <a:pt x="93529" y="34698"/>
                </a:cubicBezTo>
                <a:close/>
                <a:moveTo>
                  <a:pt x="22935" y="0"/>
                </a:moveTo>
                <a:lnTo>
                  <a:pt x="771144" y="0"/>
                </a:lnTo>
                <a:cubicBezTo>
                  <a:pt x="783811" y="0"/>
                  <a:pt x="794079" y="10268"/>
                  <a:pt x="794079" y="22935"/>
                </a:cubicBezTo>
                <a:lnTo>
                  <a:pt x="794079" y="114673"/>
                </a:lnTo>
                <a:cubicBezTo>
                  <a:pt x="794079" y="127339"/>
                  <a:pt x="783811" y="137608"/>
                  <a:pt x="771144" y="137608"/>
                </a:cubicBezTo>
                <a:lnTo>
                  <a:pt x="22935" y="137608"/>
                </a:lnTo>
                <a:cubicBezTo>
                  <a:pt x="10269" y="137608"/>
                  <a:pt x="0" y="127339"/>
                  <a:pt x="0" y="114673"/>
                </a:cubicBezTo>
                <a:lnTo>
                  <a:pt x="0" y="22935"/>
                </a:lnTo>
                <a:cubicBezTo>
                  <a:pt x="0" y="10268"/>
                  <a:pt x="10269" y="0"/>
                  <a:pt x="22935"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8" tIns="109719" rIns="137148" bIns="109719" numCol="1" spcCol="0" rtlCol="0" fromWordArt="0" anchor="t" anchorCtr="0" forceAA="0" compatLnSpc="1">
            <a:prstTxWarp prst="textNoShape">
              <a:avLst/>
            </a:prstTxWarp>
            <a:noAutofit/>
          </a:bodyPr>
          <a:lstStyle/>
          <a:p>
            <a:pPr algn="ctr" defTabSz="699261" fontAlgn="base">
              <a:lnSpc>
                <a:spcPct val="90000"/>
              </a:lnSpc>
              <a:spcBef>
                <a:spcPct val="0"/>
              </a:spcBef>
              <a:spcAft>
                <a:spcPct val="0"/>
              </a:spcAft>
            </a:pPr>
            <a:endParaRPr lang="en-US">
              <a:gradFill>
                <a:gsLst>
                  <a:gs pos="0">
                    <a:srgbClr val="FFFFFF"/>
                  </a:gs>
                  <a:gs pos="100000">
                    <a:srgbClr val="FFFFFF"/>
                  </a:gs>
                </a:gsLst>
                <a:lin ang="5400000" scaled="0"/>
              </a:gradFill>
              <a:ea typeface="Segoe UI" pitchFamily="34" charset="0"/>
              <a:cs typeface="Segoe UI" pitchFamily="34" charset="0"/>
            </a:endParaRPr>
          </a:p>
        </p:txBody>
      </p:sp>
      <p:grpSp>
        <p:nvGrpSpPr>
          <p:cNvPr id="60" name="Group 59"/>
          <p:cNvGrpSpPr>
            <a:grpSpLocks noChangeAspect="1"/>
          </p:cNvGrpSpPr>
          <p:nvPr/>
        </p:nvGrpSpPr>
        <p:grpSpPr>
          <a:xfrm>
            <a:off x="284268" y="1947738"/>
            <a:ext cx="314004" cy="320040"/>
            <a:chOff x="810855" y="2271601"/>
            <a:chExt cx="457200" cy="465990"/>
          </a:xfrm>
        </p:grpSpPr>
        <p:sp>
          <p:nvSpPr>
            <p:cNvPr id="61" name="Freeform 5"/>
            <p:cNvSpPr>
              <a:spLocks noEditPoints="1"/>
            </p:cNvSpPr>
            <p:nvPr/>
          </p:nvSpPr>
          <p:spPr bwMode="black">
            <a:xfrm>
              <a:off x="892260" y="2271601"/>
              <a:ext cx="375795" cy="291633"/>
            </a:xfrm>
            <a:custGeom>
              <a:avLst/>
              <a:gdLst>
                <a:gd name="T0" fmla="*/ 22 w 277"/>
                <a:gd name="T1" fmla="*/ 1 h 215"/>
                <a:gd name="T2" fmla="*/ 22 w 277"/>
                <a:gd name="T3" fmla="*/ 10 h 215"/>
                <a:gd name="T4" fmla="*/ 22 w 277"/>
                <a:gd name="T5" fmla="*/ 10 h 215"/>
                <a:gd name="T6" fmla="*/ 66 w 277"/>
                <a:gd name="T7" fmla="*/ 15 h 215"/>
                <a:gd name="T8" fmla="*/ 54 w 277"/>
                <a:gd name="T9" fmla="*/ 20 h 215"/>
                <a:gd name="T10" fmla="*/ 79 w 277"/>
                <a:gd name="T11" fmla="*/ 0 h 215"/>
                <a:gd name="T12" fmla="*/ 118 w 277"/>
                <a:gd name="T13" fmla="*/ 1 h 215"/>
                <a:gd name="T14" fmla="*/ 118 w 277"/>
                <a:gd name="T15" fmla="*/ 10 h 215"/>
                <a:gd name="T16" fmla="*/ 118 w 277"/>
                <a:gd name="T17" fmla="*/ 10 h 215"/>
                <a:gd name="T18" fmla="*/ 163 w 277"/>
                <a:gd name="T19" fmla="*/ 15 h 215"/>
                <a:gd name="T20" fmla="*/ 150 w 277"/>
                <a:gd name="T21" fmla="*/ 20 h 215"/>
                <a:gd name="T22" fmla="*/ 176 w 277"/>
                <a:gd name="T23" fmla="*/ 0 h 215"/>
                <a:gd name="T24" fmla="*/ 215 w 277"/>
                <a:gd name="T25" fmla="*/ 1 h 215"/>
                <a:gd name="T26" fmla="*/ 214 w 277"/>
                <a:gd name="T27" fmla="*/ 10 h 215"/>
                <a:gd name="T28" fmla="*/ 214 w 277"/>
                <a:gd name="T29" fmla="*/ 10 h 215"/>
                <a:gd name="T30" fmla="*/ 259 w 277"/>
                <a:gd name="T31" fmla="*/ 15 h 215"/>
                <a:gd name="T32" fmla="*/ 247 w 277"/>
                <a:gd name="T33" fmla="*/ 20 h 215"/>
                <a:gd name="T34" fmla="*/ 272 w 277"/>
                <a:gd name="T35" fmla="*/ 0 h 215"/>
                <a:gd name="T36" fmla="*/ 12 w 277"/>
                <a:gd name="T37" fmla="*/ 92 h 215"/>
                <a:gd name="T38" fmla="*/ 0 w 277"/>
                <a:gd name="T39" fmla="*/ 97 h 215"/>
                <a:gd name="T40" fmla="*/ 25 w 277"/>
                <a:gd name="T41" fmla="*/ 77 h 215"/>
                <a:gd name="T42" fmla="*/ 64 w 277"/>
                <a:gd name="T43" fmla="*/ 77 h 215"/>
                <a:gd name="T44" fmla="*/ 64 w 277"/>
                <a:gd name="T45" fmla="*/ 87 h 215"/>
                <a:gd name="T46" fmla="*/ 64 w 277"/>
                <a:gd name="T47" fmla="*/ 87 h 215"/>
                <a:gd name="T48" fmla="*/ 109 w 277"/>
                <a:gd name="T49" fmla="*/ 92 h 215"/>
                <a:gd name="T50" fmla="*/ 96 w 277"/>
                <a:gd name="T51" fmla="*/ 97 h 215"/>
                <a:gd name="T52" fmla="*/ 122 w 277"/>
                <a:gd name="T53" fmla="*/ 77 h 215"/>
                <a:gd name="T54" fmla="*/ 161 w 277"/>
                <a:gd name="T55" fmla="*/ 77 h 215"/>
                <a:gd name="T56" fmla="*/ 160 w 277"/>
                <a:gd name="T57" fmla="*/ 87 h 215"/>
                <a:gd name="T58" fmla="*/ 160 w 277"/>
                <a:gd name="T59" fmla="*/ 87 h 215"/>
                <a:gd name="T60" fmla="*/ 205 w 277"/>
                <a:gd name="T61" fmla="*/ 92 h 215"/>
                <a:gd name="T62" fmla="*/ 192 w 277"/>
                <a:gd name="T63" fmla="*/ 97 h 215"/>
                <a:gd name="T64" fmla="*/ 218 w 277"/>
                <a:gd name="T65" fmla="*/ 77 h 215"/>
                <a:gd name="T66" fmla="*/ 257 w 277"/>
                <a:gd name="T67" fmla="*/ 77 h 215"/>
                <a:gd name="T68" fmla="*/ 256 w 277"/>
                <a:gd name="T69" fmla="*/ 87 h 215"/>
                <a:gd name="T70" fmla="*/ 256 w 277"/>
                <a:gd name="T71" fmla="*/ 87 h 215"/>
                <a:gd name="T72" fmla="*/ 22 w 277"/>
                <a:gd name="T73" fmla="*/ 154 h 215"/>
                <a:gd name="T74" fmla="*/ 22 w 277"/>
                <a:gd name="T75" fmla="*/ 164 h 215"/>
                <a:gd name="T76" fmla="*/ 22 w 277"/>
                <a:gd name="T77" fmla="*/ 164 h 215"/>
                <a:gd name="T78" fmla="*/ 66 w 277"/>
                <a:gd name="T79" fmla="*/ 168 h 215"/>
                <a:gd name="T80" fmla="*/ 54 w 277"/>
                <a:gd name="T81" fmla="*/ 173 h 215"/>
                <a:gd name="T82" fmla="*/ 79 w 277"/>
                <a:gd name="T83" fmla="*/ 154 h 215"/>
                <a:gd name="T84" fmla="*/ 118 w 277"/>
                <a:gd name="T85" fmla="*/ 154 h 215"/>
                <a:gd name="T86" fmla="*/ 118 w 277"/>
                <a:gd name="T87" fmla="*/ 164 h 215"/>
                <a:gd name="T88" fmla="*/ 118 w 277"/>
                <a:gd name="T89" fmla="*/ 164 h 215"/>
                <a:gd name="T90" fmla="*/ 163 w 277"/>
                <a:gd name="T91" fmla="*/ 168 h 215"/>
                <a:gd name="T92" fmla="*/ 150 w 277"/>
                <a:gd name="T93" fmla="*/ 173 h 215"/>
                <a:gd name="T94" fmla="*/ 176 w 277"/>
                <a:gd name="T95" fmla="*/ 154 h 215"/>
                <a:gd name="T96" fmla="*/ 215 w 277"/>
                <a:gd name="T97" fmla="*/ 154 h 215"/>
                <a:gd name="T98" fmla="*/ 214 w 277"/>
                <a:gd name="T99" fmla="*/ 164 h 215"/>
                <a:gd name="T100" fmla="*/ 214 w 277"/>
                <a:gd name="T101" fmla="*/ 164 h 215"/>
                <a:gd name="T102" fmla="*/ 259 w 277"/>
                <a:gd name="T103" fmla="*/ 168 h 215"/>
                <a:gd name="T104" fmla="*/ 247 w 277"/>
                <a:gd name="T105" fmla="*/ 173 h 215"/>
                <a:gd name="T106" fmla="*/ 272 w 277"/>
                <a:gd name="T107" fmla="*/ 154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77" h="215">
                  <a:moveTo>
                    <a:pt x="21" y="61"/>
                  </a:moveTo>
                  <a:cubicBezTo>
                    <a:pt x="7" y="61"/>
                    <a:pt x="0" y="51"/>
                    <a:pt x="0" y="32"/>
                  </a:cubicBezTo>
                  <a:cubicBezTo>
                    <a:pt x="0" y="22"/>
                    <a:pt x="2" y="14"/>
                    <a:pt x="6" y="9"/>
                  </a:cubicBezTo>
                  <a:cubicBezTo>
                    <a:pt x="9" y="3"/>
                    <a:pt x="15" y="1"/>
                    <a:pt x="22" y="1"/>
                  </a:cubicBezTo>
                  <a:cubicBezTo>
                    <a:pt x="36" y="1"/>
                    <a:pt x="43" y="11"/>
                    <a:pt x="43" y="30"/>
                  </a:cubicBezTo>
                  <a:cubicBezTo>
                    <a:pt x="43" y="40"/>
                    <a:pt x="41" y="48"/>
                    <a:pt x="37" y="53"/>
                  </a:cubicBezTo>
                  <a:cubicBezTo>
                    <a:pt x="33" y="59"/>
                    <a:pt x="28" y="61"/>
                    <a:pt x="21" y="61"/>
                  </a:cubicBezTo>
                  <a:close/>
                  <a:moveTo>
                    <a:pt x="22" y="10"/>
                  </a:moveTo>
                  <a:cubicBezTo>
                    <a:pt x="16" y="10"/>
                    <a:pt x="13" y="17"/>
                    <a:pt x="13" y="32"/>
                  </a:cubicBezTo>
                  <a:cubicBezTo>
                    <a:pt x="13" y="45"/>
                    <a:pt x="16" y="51"/>
                    <a:pt x="21" y="51"/>
                  </a:cubicBezTo>
                  <a:cubicBezTo>
                    <a:pt x="27" y="51"/>
                    <a:pt x="29" y="45"/>
                    <a:pt x="29" y="31"/>
                  </a:cubicBezTo>
                  <a:cubicBezTo>
                    <a:pt x="29" y="17"/>
                    <a:pt x="27" y="10"/>
                    <a:pt x="22" y="10"/>
                  </a:cubicBezTo>
                  <a:close/>
                  <a:moveTo>
                    <a:pt x="79" y="0"/>
                  </a:moveTo>
                  <a:cubicBezTo>
                    <a:pt x="79" y="60"/>
                    <a:pt x="79" y="60"/>
                    <a:pt x="79" y="60"/>
                  </a:cubicBezTo>
                  <a:cubicBezTo>
                    <a:pt x="66" y="60"/>
                    <a:pt x="66" y="60"/>
                    <a:pt x="66" y="60"/>
                  </a:cubicBezTo>
                  <a:cubicBezTo>
                    <a:pt x="66" y="15"/>
                    <a:pt x="66" y="15"/>
                    <a:pt x="66" y="15"/>
                  </a:cubicBezTo>
                  <a:cubicBezTo>
                    <a:pt x="66" y="15"/>
                    <a:pt x="65" y="16"/>
                    <a:pt x="64" y="17"/>
                  </a:cubicBezTo>
                  <a:cubicBezTo>
                    <a:pt x="63" y="17"/>
                    <a:pt x="62" y="18"/>
                    <a:pt x="61" y="18"/>
                  </a:cubicBezTo>
                  <a:cubicBezTo>
                    <a:pt x="60" y="19"/>
                    <a:pt x="59" y="19"/>
                    <a:pt x="57" y="19"/>
                  </a:cubicBezTo>
                  <a:cubicBezTo>
                    <a:pt x="56" y="20"/>
                    <a:pt x="55" y="20"/>
                    <a:pt x="54" y="20"/>
                  </a:cubicBezTo>
                  <a:cubicBezTo>
                    <a:pt x="54" y="9"/>
                    <a:pt x="54" y="9"/>
                    <a:pt x="54" y="9"/>
                  </a:cubicBezTo>
                  <a:cubicBezTo>
                    <a:pt x="57" y="8"/>
                    <a:pt x="61" y="7"/>
                    <a:pt x="64" y="5"/>
                  </a:cubicBezTo>
                  <a:cubicBezTo>
                    <a:pt x="66" y="4"/>
                    <a:pt x="69" y="2"/>
                    <a:pt x="72" y="0"/>
                  </a:cubicBezTo>
                  <a:lnTo>
                    <a:pt x="79" y="0"/>
                  </a:lnTo>
                  <a:close/>
                  <a:moveTo>
                    <a:pt x="117" y="61"/>
                  </a:moveTo>
                  <a:cubicBezTo>
                    <a:pt x="103" y="61"/>
                    <a:pt x="96" y="51"/>
                    <a:pt x="96" y="32"/>
                  </a:cubicBezTo>
                  <a:cubicBezTo>
                    <a:pt x="96" y="22"/>
                    <a:pt x="98" y="14"/>
                    <a:pt x="102" y="9"/>
                  </a:cubicBezTo>
                  <a:cubicBezTo>
                    <a:pt x="106" y="3"/>
                    <a:pt x="111" y="1"/>
                    <a:pt x="118" y="1"/>
                  </a:cubicBezTo>
                  <a:cubicBezTo>
                    <a:pt x="132" y="1"/>
                    <a:pt x="139" y="11"/>
                    <a:pt x="139" y="30"/>
                  </a:cubicBezTo>
                  <a:cubicBezTo>
                    <a:pt x="139" y="40"/>
                    <a:pt x="137" y="48"/>
                    <a:pt x="133" y="53"/>
                  </a:cubicBezTo>
                  <a:cubicBezTo>
                    <a:pt x="130" y="59"/>
                    <a:pt x="124" y="61"/>
                    <a:pt x="117" y="61"/>
                  </a:cubicBezTo>
                  <a:close/>
                  <a:moveTo>
                    <a:pt x="118" y="10"/>
                  </a:moveTo>
                  <a:cubicBezTo>
                    <a:pt x="112" y="10"/>
                    <a:pt x="109" y="17"/>
                    <a:pt x="109" y="32"/>
                  </a:cubicBezTo>
                  <a:cubicBezTo>
                    <a:pt x="109" y="45"/>
                    <a:pt x="112" y="51"/>
                    <a:pt x="118" y="51"/>
                  </a:cubicBezTo>
                  <a:cubicBezTo>
                    <a:pt x="123" y="51"/>
                    <a:pt x="126" y="45"/>
                    <a:pt x="126" y="31"/>
                  </a:cubicBezTo>
                  <a:cubicBezTo>
                    <a:pt x="126" y="17"/>
                    <a:pt x="123" y="10"/>
                    <a:pt x="118" y="10"/>
                  </a:cubicBezTo>
                  <a:close/>
                  <a:moveTo>
                    <a:pt x="176" y="0"/>
                  </a:moveTo>
                  <a:cubicBezTo>
                    <a:pt x="176" y="60"/>
                    <a:pt x="176" y="60"/>
                    <a:pt x="176" y="60"/>
                  </a:cubicBezTo>
                  <a:cubicBezTo>
                    <a:pt x="163" y="60"/>
                    <a:pt x="163" y="60"/>
                    <a:pt x="163" y="60"/>
                  </a:cubicBezTo>
                  <a:cubicBezTo>
                    <a:pt x="163" y="15"/>
                    <a:pt x="163" y="15"/>
                    <a:pt x="163" y="15"/>
                  </a:cubicBezTo>
                  <a:cubicBezTo>
                    <a:pt x="162" y="15"/>
                    <a:pt x="161" y="16"/>
                    <a:pt x="160" y="17"/>
                  </a:cubicBezTo>
                  <a:cubicBezTo>
                    <a:pt x="159" y="17"/>
                    <a:pt x="158" y="18"/>
                    <a:pt x="157" y="18"/>
                  </a:cubicBezTo>
                  <a:cubicBezTo>
                    <a:pt x="156" y="19"/>
                    <a:pt x="155" y="19"/>
                    <a:pt x="154" y="19"/>
                  </a:cubicBezTo>
                  <a:cubicBezTo>
                    <a:pt x="153" y="20"/>
                    <a:pt x="151" y="20"/>
                    <a:pt x="150" y="20"/>
                  </a:cubicBezTo>
                  <a:cubicBezTo>
                    <a:pt x="150" y="9"/>
                    <a:pt x="150" y="9"/>
                    <a:pt x="150" y="9"/>
                  </a:cubicBezTo>
                  <a:cubicBezTo>
                    <a:pt x="154" y="8"/>
                    <a:pt x="157" y="7"/>
                    <a:pt x="160" y="5"/>
                  </a:cubicBezTo>
                  <a:cubicBezTo>
                    <a:pt x="163" y="4"/>
                    <a:pt x="165" y="2"/>
                    <a:pt x="168" y="0"/>
                  </a:cubicBezTo>
                  <a:lnTo>
                    <a:pt x="176" y="0"/>
                  </a:lnTo>
                  <a:close/>
                  <a:moveTo>
                    <a:pt x="214" y="61"/>
                  </a:moveTo>
                  <a:cubicBezTo>
                    <a:pt x="200" y="61"/>
                    <a:pt x="193" y="51"/>
                    <a:pt x="193" y="32"/>
                  </a:cubicBezTo>
                  <a:cubicBezTo>
                    <a:pt x="193" y="22"/>
                    <a:pt x="195" y="14"/>
                    <a:pt x="198" y="9"/>
                  </a:cubicBezTo>
                  <a:cubicBezTo>
                    <a:pt x="202" y="3"/>
                    <a:pt x="208" y="1"/>
                    <a:pt x="215" y="1"/>
                  </a:cubicBezTo>
                  <a:cubicBezTo>
                    <a:pt x="228" y="1"/>
                    <a:pt x="235" y="11"/>
                    <a:pt x="235" y="30"/>
                  </a:cubicBezTo>
                  <a:cubicBezTo>
                    <a:pt x="235" y="40"/>
                    <a:pt x="233" y="48"/>
                    <a:pt x="230" y="53"/>
                  </a:cubicBezTo>
                  <a:cubicBezTo>
                    <a:pt x="226" y="59"/>
                    <a:pt x="221" y="61"/>
                    <a:pt x="214" y="61"/>
                  </a:cubicBezTo>
                  <a:close/>
                  <a:moveTo>
                    <a:pt x="214" y="10"/>
                  </a:moveTo>
                  <a:cubicBezTo>
                    <a:pt x="209" y="10"/>
                    <a:pt x="206" y="17"/>
                    <a:pt x="206" y="32"/>
                  </a:cubicBezTo>
                  <a:cubicBezTo>
                    <a:pt x="206" y="45"/>
                    <a:pt x="209" y="51"/>
                    <a:pt x="214" y="51"/>
                  </a:cubicBezTo>
                  <a:cubicBezTo>
                    <a:pt x="219" y="51"/>
                    <a:pt x="222" y="45"/>
                    <a:pt x="222" y="31"/>
                  </a:cubicBezTo>
                  <a:cubicBezTo>
                    <a:pt x="222" y="17"/>
                    <a:pt x="219" y="10"/>
                    <a:pt x="214" y="10"/>
                  </a:cubicBezTo>
                  <a:close/>
                  <a:moveTo>
                    <a:pt x="272" y="0"/>
                  </a:moveTo>
                  <a:cubicBezTo>
                    <a:pt x="272" y="60"/>
                    <a:pt x="272" y="60"/>
                    <a:pt x="272" y="60"/>
                  </a:cubicBezTo>
                  <a:cubicBezTo>
                    <a:pt x="259" y="60"/>
                    <a:pt x="259" y="60"/>
                    <a:pt x="259" y="60"/>
                  </a:cubicBezTo>
                  <a:cubicBezTo>
                    <a:pt x="259" y="15"/>
                    <a:pt x="259" y="15"/>
                    <a:pt x="259" y="15"/>
                  </a:cubicBezTo>
                  <a:cubicBezTo>
                    <a:pt x="258" y="15"/>
                    <a:pt x="258" y="16"/>
                    <a:pt x="257" y="17"/>
                  </a:cubicBezTo>
                  <a:cubicBezTo>
                    <a:pt x="256" y="17"/>
                    <a:pt x="255" y="18"/>
                    <a:pt x="254" y="18"/>
                  </a:cubicBezTo>
                  <a:cubicBezTo>
                    <a:pt x="252" y="19"/>
                    <a:pt x="251" y="19"/>
                    <a:pt x="250" y="19"/>
                  </a:cubicBezTo>
                  <a:cubicBezTo>
                    <a:pt x="249" y="20"/>
                    <a:pt x="248" y="20"/>
                    <a:pt x="247" y="20"/>
                  </a:cubicBezTo>
                  <a:cubicBezTo>
                    <a:pt x="247" y="9"/>
                    <a:pt x="247" y="9"/>
                    <a:pt x="247" y="9"/>
                  </a:cubicBezTo>
                  <a:cubicBezTo>
                    <a:pt x="250" y="8"/>
                    <a:pt x="253" y="7"/>
                    <a:pt x="256" y="5"/>
                  </a:cubicBezTo>
                  <a:cubicBezTo>
                    <a:pt x="259" y="4"/>
                    <a:pt x="262" y="2"/>
                    <a:pt x="264" y="0"/>
                  </a:cubicBezTo>
                  <a:lnTo>
                    <a:pt x="272" y="0"/>
                  </a:lnTo>
                  <a:close/>
                  <a:moveTo>
                    <a:pt x="25" y="77"/>
                  </a:moveTo>
                  <a:cubicBezTo>
                    <a:pt x="25" y="137"/>
                    <a:pt x="25" y="137"/>
                    <a:pt x="25" y="137"/>
                  </a:cubicBezTo>
                  <a:cubicBezTo>
                    <a:pt x="12" y="137"/>
                    <a:pt x="12" y="137"/>
                    <a:pt x="12" y="137"/>
                  </a:cubicBezTo>
                  <a:cubicBezTo>
                    <a:pt x="12" y="92"/>
                    <a:pt x="12" y="92"/>
                    <a:pt x="12" y="92"/>
                  </a:cubicBezTo>
                  <a:cubicBezTo>
                    <a:pt x="12" y="92"/>
                    <a:pt x="11" y="93"/>
                    <a:pt x="10" y="93"/>
                  </a:cubicBezTo>
                  <a:cubicBezTo>
                    <a:pt x="9" y="94"/>
                    <a:pt x="8" y="94"/>
                    <a:pt x="7" y="95"/>
                  </a:cubicBezTo>
                  <a:cubicBezTo>
                    <a:pt x="6" y="95"/>
                    <a:pt x="5" y="96"/>
                    <a:pt x="3" y="96"/>
                  </a:cubicBezTo>
                  <a:cubicBezTo>
                    <a:pt x="2" y="96"/>
                    <a:pt x="1" y="97"/>
                    <a:pt x="0" y="97"/>
                  </a:cubicBezTo>
                  <a:cubicBezTo>
                    <a:pt x="0" y="86"/>
                    <a:pt x="0" y="86"/>
                    <a:pt x="0" y="86"/>
                  </a:cubicBezTo>
                  <a:cubicBezTo>
                    <a:pt x="3" y="85"/>
                    <a:pt x="6" y="84"/>
                    <a:pt x="9" y="82"/>
                  </a:cubicBezTo>
                  <a:cubicBezTo>
                    <a:pt x="12" y="81"/>
                    <a:pt x="15" y="79"/>
                    <a:pt x="17" y="77"/>
                  </a:cubicBezTo>
                  <a:lnTo>
                    <a:pt x="25" y="77"/>
                  </a:lnTo>
                  <a:close/>
                  <a:moveTo>
                    <a:pt x="63" y="138"/>
                  </a:moveTo>
                  <a:cubicBezTo>
                    <a:pt x="49" y="138"/>
                    <a:pt x="42" y="128"/>
                    <a:pt x="42" y="109"/>
                  </a:cubicBezTo>
                  <a:cubicBezTo>
                    <a:pt x="42" y="98"/>
                    <a:pt x="44" y="91"/>
                    <a:pt x="48" y="85"/>
                  </a:cubicBezTo>
                  <a:cubicBezTo>
                    <a:pt x="52" y="80"/>
                    <a:pt x="57" y="77"/>
                    <a:pt x="64" y="77"/>
                  </a:cubicBezTo>
                  <a:cubicBezTo>
                    <a:pt x="78" y="77"/>
                    <a:pt x="85" y="87"/>
                    <a:pt x="85" y="107"/>
                  </a:cubicBezTo>
                  <a:cubicBezTo>
                    <a:pt x="85" y="117"/>
                    <a:pt x="83" y="125"/>
                    <a:pt x="79" y="130"/>
                  </a:cubicBezTo>
                  <a:cubicBezTo>
                    <a:pt x="75" y="135"/>
                    <a:pt x="70" y="138"/>
                    <a:pt x="63" y="138"/>
                  </a:cubicBezTo>
                  <a:close/>
                  <a:moveTo>
                    <a:pt x="64" y="87"/>
                  </a:moveTo>
                  <a:cubicBezTo>
                    <a:pt x="58" y="87"/>
                    <a:pt x="55" y="94"/>
                    <a:pt x="55" y="108"/>
                  </a:cubicBezTo>
                  <a:cubicBezTo>
                    <a:pt x="55" y="121"/>
                    <a:pt x="58" y="128"/>
                    <a:pt x="64" y="128"/>
                  </a:cubicBezTo>
                  <a:cubicBezTo>
                    <a:pt x="69" y="128"/>
                    <a:pt x="72" y="121"/>
                    <a:pt x="72" y="108"/>
                  </a:cubicBezTo>
                  <a:cubicBezTo>
                    <a:pt x="72" y="94"/>
                    <a:pt x="69" y="87"/>
                    <a:pt x="64" y="87"/>
                  </a:cubicBezTo>
                  <a:close/>
                  <a:moveTo>
                    <a:pt x="122" y="77"/>
                  </a:moveTo>
                  <a:cubicBezTo>
                    <a:pt x="122" y="137"/>
                    <a:pt x="122" y="137"/>
                    <a:pt x="122" y="137"/>
                  </a:cubicBezTo>
                  <a:cubicBezTo>
                    <a:pt x="109" y="137"/>
                    <a:pt x="109" y="137"/>
                    <a:pt x="109" y="137"/>
                  </a:cubicBezTo>
                  <a:cubicBezTo>
                    <a:pt x="109" y="92"/>
                    <a:pt x="109" y="92"/>
                    <a:pt x="109" y="92"/>
                  </a:cubicBezTo>
                  <a:cubicBezTo>
                    <a:pt x="108" y="92"/>
                    <a:pt x="107" y="93"/>
                    <a:pt x="106" y="93"/>
                  </a:cubicBezTo>
                  <a:cubicBezTo>
                    <a:pt x="105" y="94"/>
                    <a:pt x="104" y="94"/>
                    <a:pt x="103" y="95"/>
                  </a:cubicBezTo>
                  <a:cubicBezTo>
                    <a:pt x="102" y="95"/>
                    <a:pt x="101" y="96"/>
                    <a:pt x="100" y="96"/>
                  </a:cubicBezTo>
                  <a:cubicBezTo>
                    <a:pt x="98" y="96"/>
                    <a:pt x="97" y="97"/>
                    <a:pt x="96" y="97"/>
                  </a:cubicBezTo>
                  <a:cubicBezTo>
                    <a:pt x="96" y="86"/>
                    <a:pt x="96" y="86"/>
                    <a:pt x="96" y="86"/>
                  </a:cubicBezTo>
                  <a:cubicBezTo>
                    <a:pt x="100" y="85"/>
                    <a:pt x="103" y="84"/>
                    <a:pt x="106" y="82"/>
                  </a:cubicBezTo>
                  <a:cubicBezTo>
                    <a:pt x="109" y="81"/>
                    <a:pt x="111" y="79"/>
                    <a:pt x="114" y="77"/>
                  </a:cubicBezTo>
                  <a:lnTo>
                    <a:pt x="122" y="77"/>
                  </a:lnTo>
                  <a:close/>
                  <a:moveTo>
                    <a:pt x="159" y="138"/>
                  </a:moveTo>
                  <a:cubicBezTo>
                    <a:pt x="145" y="138"/>
                    <a:pt x="138" y="128"/>
                    <a:pt x="138" y="109"/>
                  </a:cubicBezTo>
                  <a:cubicBezTo>
                    <a:pt x="138" y="98"/>
                    <a:pt x="140" y="91"/>
                    <a:pt x="144" y="85"/>
                  </a:cubicBezTo>
                  <a:cubicBezTo>
                    <a:pt x="148" y="80"/>
                    <a:pt x="153" y="77"/>
                    <a:pt x="161" y="77"/>
                  </a:cubicBezTo>
                  <a:cubicBezTo>
                    <a:pt x="174" y="77"/>
                    <a:pt x="181" y="87"/>
                    <a:pt x="181" y="107"/>
                  </a:cubicBezTo>
                  <a:cubicBezTo>
                    <a:pt x="181" y="117"/>
                    <a:pt x="179" y="125"/>
                    <a:pt x="175" y="130"/>
                  </a:cubicBezTo>
                  <a:cubicBezTo>
                    <a:pt x="172" y="135"/>
                    <a:pt x="166" y="138"/>
                    <a:pt x="159" y="138"/>
                  </a:cubicBezTo>
                  <a:close/>
                  <a:moveTo>
                    <a:pt x="160" y="87"/>
                  </a:moveTo>
                  <a:cubicBezTo>
                    <a:pt x="154" y="87"/>
                    <a:pt x="152" y="94"/>
                    <a:pt x="152" y="108"/>
                  </a:cubicBezTo>
                  <a:cubicBezTo>
                    <a:pt x="152" y="121"/>
                    <a:pt x="154" y="128"/>
                    <a:pt x="160" y="128"/>
                  </a:cubicBezTo>
                  <a:cubicBezTo>
                    <a:pt x="165" y="128"/>
                    <a:pt x="168" y="121"/>
                    <a:pt x="168" y="108"/>
                  </a:cubicBezTo>
                  <a:cubicBezTo>
                    <a:pt x="168" y="94"/>
                    <a:pt x="165" y="87"/>
                    <a:pt x="160" y="87"/>
                  </a:cubicBezTo>
                  <a:close/>
                  <a:moveTo>
                    <a:pt x="218" y="77"/>
                  </a:moveTo>
                  <a:cubicBezTo>
                    <a:pt x="218" y="137"/>
                    <a:pt x="218" y="137"/>
                    <a:pt x="218" y="137"/>
                  </a:cubicBezTo>
                  <a:cubicBezTo>
                    <a:pt x="205" y="137"/>
                    <a:pt x="205" y="137"/>
                    <a:pt x="205" y="137"/>
                  </a:cubicBezTo>
                  <a:cubicBezTo>
                    <a:pt x="205" y="92"/>
                    <a:pt x="205" y="92"/>
                    <a:pt x="205" y="92"/>
                  </a:cubicBezTo>
                  <a:cubicBezTo>
                    <a:pt x="204" y="92"/>
                    <a:pt x="203" y="93"/>
                    <a:pt x="202" y="93"/>
                  </a:cubicBezTo>
                  <a:cubicBezTo>
                    <a:pt x="201" y="94"/>
                    <a:pt x="200" y="94"/>
                    <a:pt x="199" y="95"/>
                  </a:cubicBezTo>
                  <a:cubicBezTo>
                    <a:pt x="198" y="95"/>
                    <a:pt x="197" y="96"/>
                    <a:pt x="196" y="96"/>
                  </a:cubicBezTo>
                  <a:cubicBezTo>
                    <a:pt x="195" y="96"/>
                    <a:pt x="194" y="97"/>
                    <a:pt x="192" y="97"/>
                  </a:cubicBezTo>
                  <a:cubicBezTo>
                    <a:pt x="192" y="86"/>
                    <a:pt x="192" y="86"/>
                    <a:pt x="192" y="86"/>
                  </a:cubicBezTo>
                  <a:cubicBezTo>
                    <a:pt x="196" y="85"/>
                    <a:pt x="199" y="84"/>
                    <a:pt x="202" y="82"/>
                  </a:cubicBezTo>
                  <a:cubicBezTo>
                    <a:pt x="205" y="81"/>
                    <a:pt x="208" y="79"/>
                    <a:pt x="210" y="77"/>
                  </a:cubicBezTo>
                  <a:lnTo>
                    <a:pt x="218" y="77"/>
                  </a:lnTo>
                  <a:close/>
                  <a:moveTo>
                    <a:pt x="256" y="138"/>
                  </a:moveTo>
                  <a:cubicBezTo>
                    <a:pt x="242" y="138"/>
                    <a:pt x="235" y="128"/>
                    <a:pt x="235" y="109"/>
                  </a:cubicBezTo>
                  <a:cubicBezTo>
                    <a:pt x="235" y="98"/>
                    <a:pt x="237" y="91"/>
                    <a:pt x="240" y="85"/>
                  </a:cubicBezTo>
                  <a:cubicBezTo>
                    <a:pt x="244" y="80"/>
                    <a:pt x="250" y="77"/>
                    <a:pt x="257" y="77"/>
                  </a:cubicBezTo>
                  <a:cubicBezTo>
                    <a:pt x="270" y="77"/>
                    <a:pt x="277" y="87"/>
                    <a:pt x="277" y="107"/>
                  </a:cubicBezTo>
                  <a:cubicBezTo>
                    <a:pt x="277" y="117"/>
                    <a:pt x="275" y="125"/>
                    <a:pt x="272" y="130"/>
                  </a:cubicBezTo>
                  <a:cubicBezTo>
                    <a:pt x="268" y="135"/>
                    <a:pt x="263" y="138"/>
                    <a:pt x="256" y="138"/>
                  </a:cubicBezTo>
                  <a:close/>
                  <a:moveTo>
                    <a:pt x="256" y="87"/>
                  </a:moveTo>
                  <a:cubicBezTo>
                    <a:pt x="251" y="87"/>
                    <a:pt x="248" y="94"/>
                    <a:pt x="248" y="108"/>
                  </a:cubicBezTo>
                  <a:cubicBezTo>
                    <a:pt x="248" y="121"/>
                    <a:pt x="251" y="128"/>
                    <a:pt x="256" y="128"/>
                  </a:cubicBezTo>
                  <a:cubicBezTo>
                    <a:pt x="261" y="128"/>
                    <a:pt x="264" y="121"/>
                    <a:pt x="264" y="108"/>
                  </a:cubicBezTo>
                  <a:cubicBezTo>
                    <a:pt x="264" y="94"/>
                    <a:pt x="262" y="87"/>
                    <a:pt x="256" y="87"/>
                  </a:cubicBezTo>
                  <a:close/>
                  <a:moveTo>
                    <a:pt x="21" y="215"/>
                  </a:moveTo>
                  <a:cubicBezTo>
                    <a:pt x="7" y="215"/>
                    <a:pt x="0" y="205"/>
                    <a:pt x="0" y="185"/>
                  </a:cubicBezTo>
                  <a:cubicBezTo>
                    <a:pt x="0" y="175"/>
                    <a:pt x="2" y="167"/>
                    <a:pt x="6" y="162"/>
                  </a:cubicBezTo>
                  <a:cubicBezTo>
                    <a:pt x="9" y="157"/>
                    <a:pt x="15" y="154"/>
                    <a:pt x="22" y="154"/>
                  </a:cubicBezTo>
                  <a:cubicBezTo>
                    <a:pt x="36" y="154"/>
                    <a:pt x="43" y="164"/>
                    <a:pt x="43" y="184"/>
                  </a:cubicBezTo>
                  <a:cubicBezTo>
                    <a:pt x="43" y="194"/>
                    <a:pt x="41" y="201"/>
                    <a:pt x="37" y="207"/>
                  </a:cubicBezTo>
                  <a:cubicBezTo>
                    <a:pt x="33" y="212"/>
                    <a:pt x="28" y="215"/>
                    <a:pt x="21" y="215"/>
                  </a:cubicBezTo>
                  <a:close/>
                  <a:moveTo>
                    <a:pt x="22" y="164"/>
                  </a:moveTo>
                  <a:cubicBezTo>
                    <a:pt x="16" y="164"/>
                    <a:pt x="13" y="171"/>
                    <a:pt x="13" y="185"/>
                  </a:cubicBezTo>
                  <a:cubicBezTo>
                    <a:pt x="13" y="198"/>
                    <a:pt x="16" y="205"/>
                    <a:pt x="21" y="205"/>
                  </a:cubicBezTo>
                  <a:cubicBezTo>
                    <a:pt x="27" y="205"/>
                    <a:pt x="29" y="198"/>
                    <a:pt x="29" y="184"/>
                  </a:cubicBezTo>
                  <a:cubicBezTo>
                    <a:pt x="29" y="171"/>
                    <a:pt x="27" y="164"/>
                    <a:pt x="22" y="164"/>
                  </a:cubicBezTo>
                  <a:close/>
                  <a:moveTo>
                    <a:pt x="79" y="154"/>
                  </a:moveTo>
                  <a:cubicBezTo>
                    <a:pt x="79" y="214"/>
                    <a:pt x="79" y="214"/>
                    <a:pt x="79" y="214"/>
                  </a:cubicBezTo>
                  <a:cubicBezTo>
                    <a:pt x="66" y="214"/>
                    <a:pt x="66" y="214"/>
                    <a:pt x="66" y="214"/>
                  </a:cubicBezTo>
                  <a:cubicBezTo>
                    <a:pt x="66" y="168"/>
                    <a:pt x="66" y="168"/>
                    <a:pt x="66" y="168"/>
                  </a:cubicBezTo>
                  <a:cubicBezTo>
                    <a:pt x="66" y="169"/>
                    <a:pt x="65" y="170"/>
                    <a:pt x="64" y="170"/>
                  </a:cubicBezTo>
                  <a:cubicBezTo>
                    <a:pt x="63" y="171"/>
                    <a:pt x="62" y="171"/>
                    <a:pt x="61" y="172"/>
                  </a:cubicBezTo>
                  <a:cubicBezTo>
                    <a:pt x="60" y="172"/>
                    <a:pt x="59" y="172"/>
                    <a:pt x="57" y="173"/>
                  </a:cubicBezTo>
                  <a:cubicBezTo>
                    <a:pt x="56" y="173"/>
                    <a:pt x="55" y="173"/>
                    <a:pt x="54" y="173"/>
                  </a:cubicBezTo>
                  <a:cubicBezTo>
                    <a:pt x="54" y="163"/>
                    <a:pt x="54" y="163"/>
                    <a:pt x="54" y="163"/>
                  </a:cubicBezTo>
                  <a:cubicBezTo>
                    <a:pt x="57" y="162"/>
                    <a:pt x="61" y="160"/>
                    <a:pt x="64" y="159"/>
                  </a:cubicBezTo>
                  <a:cubicBezTo>
                    <a:pt x="66" y="157"/>
                    <a:pt x="69" y="156"/>
                    <a:pt x="72" y="154"/>
                  </a:cubicBezTo>
                  <a:lnTo>
                    <a:pt x="79" y="154"/>
                  </a:lnTo>
                  <a:close/>
                  <a:moveTo>
                    <a:pt x="117" y="215"/>
                  </a:moveTo>
                  <a:cubicBezTo>
                    <a:pt x="103" y="215"/>
                    <a:pt x="96" y="205"/>
                    <a:pt x="96" y="185"/>
                  </a:cubicBezTo>
                  <a:cubicBezTo>
                    <a:pt x="96" y="175"/>
                    <a:pt x="98" y="167"/>
                    <a:pt x="102" y="162"/>
                  </a:cubicBezTo>
                  <a:cubicBezTo>
                    <a:pt x="106" y="157"/>
                    <a:pt x="111" y="154"/>
                    <a:pt x="118" y="154"/>
                  </a:cubicBezTo>
                  <a:cubicBezTo>
                    <a:pt x="132" y="154"/>
                    <a:pt x="139" y="164"/>
                    <a:pt x="139" y="184"/>
                  </a:cubicBezTo>
                  <a:cubicBezTo>
                    <a:pt x="139" y="194"/>
                    <a:pt x="137" y="201"/>
                    <a:pt x="133" y="207"/>
                  </a:cubicBezTo>
                  <a:cubicBezTo>
                    <a:pt x="130" y="212"/>
                    <a:pt x="124" y="215"/>
                    <a:pt x="117" y="215"/>
                  </a:cubicBezTo>
                  <a:close/>
                  <a:moveTo>
                    <a:pt x="118" y="164"/>
                  </a:moveTo>
                  <a:cubicBezTo>
                    <a:pt x="112" y="164"/>
                    <a:pt x="109" y="171"/>
                    <a:pt x="109" y="185"/>
                  </a:cubicBezTo>
                  <a:cubicBezTo>
                    <a:pt x="109" y="198"/>
                    <a:pt x="112" y="205"/>
                    <a:pt x="118" y="205"/>
                  </a:cubicBezTo>
                  <a:cubicBezTo>
                    <a:pt x="123" y="205"/>
                    <a:pt x="126" y="198"/>
                    <a:pt x="126" y="184"/>
                  </a:cubicBezTo>
                  <a:cubicBezTo>
                    <a:pt x="126" y="171"/>
                    <a:pt x="123" y="164"/>
                    <a:pt x="118" y="164"/>
                  </a:cubicBezTo>
                  <a:close/>
                  <a:moveTo>
                    <a:pt x="176" y="154"/>
                  </a:moveTo>
                  <a:cubicBezTo>
                    <a:pt x="176" y="214"/>
                    <a:pt x="176" y="214"/>
                    <a:pt x="176" y="214"/>
                  </a:cubicBezTo>
                  <a:cubicBezTo>
                    <a:pt x="163" y="214"/>
                    <a:pt x="163" y="214"/>
                    <a:pt x="163" y="214"/>
                  </a:cubicBezTo>
                  <a:cubicBezTo>
                    <a:pt x="163" y="168"/>
                    <a:pt x="163" y="168"/>
                    <a:pt x="163" y="168"/>
                  </a:cubicBezTo>
                  <a:cubicBezTo>
                    <a:pt x="162" y="169"/>
                    <a:pt x="161" y="170"/>
                    <a:pt x="160" y="170"/>
                  </a:cubicBezTo>
                  <a:cubicBezTo>
                    <a:pt x="159" y="171"/>
                    <a:pt x="158" y="171"/>
                    <a:pt x="157" y="172"/>
                  </a:cubicBezTo>
                  <a:cubicBezTo>
                    <a:pt x="156" y="172"/>
                    <a:pt x="155" y="172"/>
                    <a:pt x="154" y="173"/>
                  </a:cubicBezTo>
                  <a:cubicBezTo>
                    <a:pt x="153" y="173"/>
                    <a:pt x="151" y="173"/>
                    <a:pt x="150" y="173"/>
                  </a:cubicBezTo>
                  <a:cubicBezTo>
                    <a:pt x="150" y="163"/>
                    <a:pt x="150" y="163"/>
                    <a:pt x="150" y="163"/>
                  </a:cubicBezTo>
                  <a:cubicBezTo>
                    <a:pt x="154" y="162"/>
                    <a:pt x="157" y="160"/>
                    <a:pt x="160" y="159"/>
                  </a:cubicBezTo>
                  <a:cubicBezTo>
                    <a:pt x="163" y="157"/>
                    <a:pt x="165" y="156"/>
                    <a:pt x="168" y="154"/>
                  </a:cubicBezTo>
                  <a:lnTo>
                    <a:pt x="176" y="154"/>
                  </a:lnTo>
                  <a:close/>
                  <a:moveTo>
                    <a:pt x="214" y="215"/>
                  </a:moveTo>
                  <a:cubicBezTo>
                    <a:pt x="200" y="215"/>
                    <a:pt x="193" y="205"/>
                    <a:pt x="193" y="185"/>
                  </a:cubicBezTo>
                  <a:cubicBezTo>
                    <a:pt x="193" y="175"/>
                    <a:pt x="195" y="167"/>
                    <a:pt x="198" y="162"/>
                  </a:cubicBezTo>
                  <a:cubicBezTo>
                    <a:pt x="202" y="157"/>
                    <a:pt x="208" y="154"/>
                    <a:pt x="215" y="154"/>
                  </a:cubicBezTo>
                  <a:cubicBezTo>
                    <a:pt x="228" y="154"/>
                    <a:pt x="235" y="164"/>
                    <a:pt x="235" y="184"/>
                  </a:cubicBezTo>
                  <a:cubicBezTo>
                    <a:pt x="235" y="194"/>
                    <a:pt x="233" y="201"/>
                    <a:pt x="230" y="207"/>
                  </a:cubicBezTo>
                  <a:cubicBezTo>
                    <a:pt x="226" y="212"/>
                    <a:pt x="221" y="215"/>
                    <a:pt x="214" y="215"/>
                  </a:cubicBezTo>
                  <a:close/>
                  <a:moveTo>
                    <a:pt x="214" y="164"/>
                  </a:moveTo>
                  <a:cubicBezTo>
                    <a:pt x="209" y="164"/>
                    <a:pt x="206" y="171"/>
                    <a:pt x="206" y="185"/>
                  </a:cubicBezTo>
                  <a:cubicBezTo>
                    <a:pt x="206" y="198"/>
                    <a:pt x="209" y="205"/>
                    <a:pt x="214" y="205"/>
                  </a:cubicBezTo>
                  <a:cubicBezTo>
                    <a:pt x="219" y="205"/>
                    <a:pt x="222" y="198"/>
                    <a:pt x="222" y="184"/>
                  </a:cubicBezTo>
                  <a:cubicBezTo>
                    <a:pt x="222" y="171"/>
                    <a:pt x="219" y="164"/>
                    <a:pt x="214" y="164"/>
                  </a:cubicBezTo>
                  <a:close/>
                  <a:moveTo>
                    <a:pt x="272" y="154"/>
                  </a:moveTo>
                  <a:cubicBezTo>
                    <a:pt x="272" y="214"/>
                    <a:pt x="272" y="214"/>
                    <a:pt x="272" y="214"/>
                  </a:cubicBezTo>
                  <a:cubicBezTo>
                    <a:pt x="259" y="214"/>
                    <a:pt x="259" y="214"/>
                    <a:pt x="259" y="214"/>
                  </a:cubicBezTo>
                  <a:cubicBezTo>
                    <a:pt x="259" y="168"/>
                    <a:pt x="259" y="168"/>
                    <a:pt x="259" y="168"/>
                  </a:cubicBezTo>
                  <a:cubicBezTo>
                    <a:pt x="258" y="169"/>
                    <a:pt x="258" y="170"/>
                    <a:pt x="257" y="170"/>
                  </a:cubicBezTo>
                  <a:cubicBezTo>
                    <a:pt x="256" y="171"/>
                    <a:pt x="255" y="171"/>
                    <a:pt x="254" y="172"/>
                  </a:cubicBezTo>
                  <a:cubicBezTo>
                    <a:pt x="252" y="172"/>
                    <a:pt x="251" y="172"/>
                    <a:pt x="250" y="173"/>
                  </a:cubicBezTo>
                  <a:cubicBezTo>
                    <a:pt x="249" y="173"/>
                    <a:pt x="248" y="173"/>
                    <a:pt x="247" y="173"/>
                  </a:cubicBezTo>
                  <a:cubicBezTo>
                    <a:pt x="247" y="163"/>
                    <a:pt x="247" y="163"/>
                    <a:pt x="247" y="163"/>
                  </a:cubicBezTo>
                  <a:cubicBezTo>
                    <a:pt x="250" y="162"/>
                    <a:pt x="253" y="160"/>
                    <a:pt x="256" y="159"/>
                  </a:cubicBezTo>
                  <a:cubicBezTo>
                    <a:pt x="259" y="157"/>
                    <a:pt x="262" y="156"/>
                    <a:pt x="264" y="154"/>
                  </a:cubicBezTo>
                  <a:lnTo>
                    <a:pt x="272" y="154"/>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62" name="Freeform 61"/>
            <p:cNvSpPr>
              <a:spLocks noChangeAspect="1"/>
            </p:cNvSpPr>
            <p:nvPr/>
          </p:nvSpPr>
          <p:spPr bwMode="black">
            <a:xfrm>
              <a:off x="810855" y="2476645"/>
              <a:ext cx="373866" cy="260946"/>
            </a:xfrm>
            <a:custGeom>
              <a:avLst/>
              <a:gdLst>
                <a:gd name="connsiteX0" fmla="*/ 541228 w 979570"/>
                <a:gd name="connsiteY0" fmla="*/ 531962 h 887227"/>
                <a:gd name="connsiteX1" fmla="*/ 547155 w 979570"/>
                <a:gd name="connsiteY1" fmla="*/ 538150 h 887227"/>
                <a:gd name="connsiteX2" fmla="*/ 760399 w 979570"/>
                <a:gd name="connsiteY2" fmla="*/ 601984 h 887227"/>
                <a:gd name="connsiteX3" fmla="*/ 973643 w 979570"/>
                <a:gd name="connsiteY3" fmla="*/ 538150 h 887227"/>
                <a:gd name="connsiteX4" fmla="*/ 979570 w 979570"/>
                <a:gd name="connsiteY4" fmla="*/ 531962 h 887227"/>
                <a:gd name="connsiteX5" fmla="*/ 979570 w 979570"/>
                <a:gd name="connsiteY5" fmla="*/ 776991 h 887227"/>
                <a:gd name="connsiteX6" fmla="*/ 979570 w 979570"/>
                <a:gd name="connsiteY6" fmla="*/ 776993 h 887227"/>
                <a:gd name="connsiteX7" fmla="*/ 760399 w 979570"/>
                <a:gd name="connsiteY7" fmla="*/ 887227 h 887227"/>
                <a:gd name="connsiteX8" fmla="*/ 541228 w 979570"/>
                <a:gd name="connsiteY8" fmla="*/ 776993 h 887227"/>
                <a:gd name="connsiteX9" fmla="*/ 541228 w 979570"/>
                <a:gd name="connsiteY9" fmla="*/ 776993 h 887227"/>
                <a:gd name="connsiteX10" fmla="*/ 0 w 979570"/>
                <a:gd name="connsiteY10" fmla="*/ 531962 h 887227"/>
                <a:gd name="connsiteX11" fmla="*/ 5927 w 979570"/>
                <a:gd name="connsiteY11" fmla="*/ 538150 h 887227"/>
                <a:gd name="connsiteX12" fmla="*/ 219171 w 979570"/>
                <a:gd name="connsiteY12" fmla="*/ 601984 h 887227"/>
                <a:gd name="connsiteX13" fmla="*/ 432415 w 979570"/>
                <a:gd name="connsiteY13" fmla="*/ 538150 h 887227"/>
                <a:gd name="connsiteX14" fmla="*/ 438342 w 979570"/>
                <a:gd name="connsiteY14" fmla="*/ 531962 h 887227"/>
                <a:gd name="connsiteX15" fmla="*/ 438342 w 979570"/>
                <a:gd name="connsiteY15" fmla="*/ 776991 h 887227"/>
                <a:gd name="connsiteX16" fmla="*/ 438342 w 979570"/>
                <a:gd name="connsiteY16" fmla="*/ 776993 h 887227"/>
                <a:gd name="connsiteX17" fmla="*/ 219171 w 979570"/>
                <a:gd name="connsiteY17" fmla="*/ 887227 h 887227"/>
                <a:gd name="connsiteX18" fmla="*/ 0 w 979570"/>
                <a:gd name="connsiteY18" fmla="*/ 776993 h 887227"/>
                <a:gd name="connsiteX19" fmla="*/ 0 w 979570"/>
                <a:gd name="connsiteY19" fmla="*/ 776993 h 887227"/>
                <a:gd name="connsiteX20" fmla="*/ 760036 w 979570"/>
                <a:gd name="connsiteY20" fmla="*/ 322411 h 887227"/>
                <a:gd name="connsiteX21" fmla="*/ 978844 w 979570"/>
                <a:gd name="connsiteY21" fmla="*/ 444386 h 887227"/>
                <a:gd name="connsiteX22" fmla="*/ 760036 w 979570"/>
                <a:gd name="connsiteY22" fmla="*/ 566361 h 887227"/>
                <a:gd name="connsiteX23" fmla="*/ 541228 w 979570"/>
                <a:gd name="connsiteY23" fmla="*/ 444386 h 887227"/>
                <a:gd name="connsiteX24" fmla="*/ 760036 w 979570"/>
                <a:gd name="connsiteY24" fmla="*/ 322411 h 887227"/>
                <a:gd name="connsiteX25" fmla="*/ 0 w 979570"/>
                <a:gd name="connsiteY25" fmla="*/ 209552 h 887227"/>
                <a:gd name="connsiteX26" fmla="*/ 5927 w 979570"/>
                <a:gd name="connsiteY26" fmla="*/ 215739 h 887227"/>
                <a:gd name="connsiteX27" fmla="*/ 219171 w 979570"/>
                <a:gd name="connsiteY27" fmla="*/ 279574 h 887227"/>
                <a:gd name="connsiteX28" fmla="*/ 432415 w 979570"/>
                <a:gd name="connsiteY28" fmla="*/ 215739 h 887227"/>
                <a:gd name="connsiteX29" fmla="*/ 438342 w 979570"/>
                <a:gd name="connsiteY29" fmla="*/ 209552 h 887227"/>
                <a:gd name="connsiteX30" fmla="*/ 438342 w 979570"/>
                <a:gd name="connsiteY30" fmla="*/ 454580 h 887227"/>
                <a:gd name="connsiteX31" fmla="*/ 438342 w 979570"/>
                <a:gd name="connsiteY31" fmla="*/ 454583 h 887227"/>
                <a:gd name="connsiteX32" fmla="*/ 219171 w 979570"/>
                <a:gd name="connsiteY32" fmla="*/ 564817 h 887227"/>
                <a:gd name="connsiteX33" fmla="*/ 0 w 979570"/>
                <a:gd name="connsiteY33" fmla="*/ 454583 h 887227"/>
                <a:gd name="connsiteX34" fmla="*/ 0 w 979570"/>
                <a:gd name="connsiteY34" fmla="*/ 454582 h 887227"/>
                <a:gd name="connsiteX35" fmla="*/ 218808 w 979570"/>
                <a:gd name="connsiteY35" fmla="*/ 0 h 887227"/>
                <a:gd name="connsiteX36" fmla="*/ 437616 w 979570"/>
                <a:gd name="connsiteY36" fmla="*/ 121975 h 887227"/>
                <a:gd name="connsiteX37" fmla="*/ 218808 w 979570"/>
                <a:gd name="connsiteY37" fmla="*/ 243950 h 887227"/>
                <a:gd name="connsiteX38" fmla="*/ 0 w 979570"/>
                <a:gd name="connsiteY38" fmla="*/ 121975 h 887227"/>
                <a:gd name="connsiteX39" fmla="*/ 218808 w 979570"/>
                <a:gd name="connsiteY39" fmla="*/ 0 h 8872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979570" h="887227">
                  <a:moveTo>
                    <a:pt x="541228" y="531962"/>
                  </a:moveTo>
                  <a:lnTo>
                    <a:pt x="547155" y="538150"/>
                  </a:lnTo>
                  <a:cubicBezTo>
                    <a:pt x="588222" y="576173"/>
                    <a:pt x="668317" y="601984"/>
                    <a:pt x="760399" y="601984"/>
                  </a:cubicBezTo>
                  <a:cubicBezTo>
                    <a:pt x="852481" y="601984"/>
                    <a:pt x="932576" y="576173"/>
                    <a:pt x="973643" y="538150"/>
                  </a:cubicBezTo>
                  <a:lnTo>
                    <a:pt x="979570" y="531962"/>
                  </a:lnTo>
                  <a:lnTo>
                    <a:pt x="979570" y="776991"/>
                  </a:lnTo>
                  <a:lnTo>
                    <a:pt x="979570" y="776993"/>
                  </a:lnTo>
                  <a:cubicBezTo>
                    <a:pt x="979570" y="837874"/>
                    <a:pt x="881444" y="887227"/>
                    <a:pt x="760399" y="887227"/>
                  </a:cubicBezTo>
                  <a:cubicBezTo>
                    <a:pt x="639354" y="887227"/>
                    <a:pt x="541228" y="837874"/>
                    <a:pt x="541228" y="776993"/>
                  </a:cubicBezTo>
                  <a:lnTo>
                    <a:pt x="541228" y="776993"/>
                  </a:lnTo>
                  <a:close/>
                  <a:moveTo>
                    <a:pt x="0" y="531962"/>
                  </a:moveTo>
                  <a:lnTo>
                    <a:pt x="5927" y="538150"/>
                  </a:lnTo>
                  <a:cubicBezTo>
                    <a:pt x="46994" y="576173"/>
                    <a:pt x="127089" y="601984"/>
                    <a:pt x="219171" y="601984"/>
                  </a:cubicBezTo>
                  <a:cubicBezTo>
                    <a:pt x="311253" y="601984"/>
                    <a:pt x="391348" y="576173"/>
                    <a:pt x="432415" y="538150"/>
                  </a:cubicBezTo>
                  <a:lnTo>
                    <a:pt x="438342" y="531962"/>
                  </a:lnTo>
                  <a:lnTo>
                    <a:pt x="438342" y="776991"/>
                  </a:lnTo>
                  <a:lnTo>
                    <a:pt x="438342" y="776993"/>
                  </a:lnTo>
                  <a:cubicBezTo>
                    <a:pt x="438342" y="837874"/>
                    <a:pt x="340216" y="887227"/>
                    <a:pt x="219171" y="887227"/>
                  </a:cubicBezTo>
                  <a:cubicBezTo>
                    <a:pt x="98126" y="887227"/>
                    <a:pt x="0" y="837874"/>
                    <a:pt x="0" y="776993"/>
                  </a:cubicBezTo>
                  <a:lnTo>
                    <a:pt x="0" y="776993"/>
                  </a:lnTo>
                  <a:close/>
                  <a:moveTo>
                    <a:pt x="760036" y="322411"/>
                  </a:moveTo>
                  <a:cubicBezTo>
                    <a:pt x="880880" y="322411"/>
                    <a:pt x="978844" y="377021"/>
                    <a:pt x="978844" y="444386"/>
                  </a:cubicBezTo>
                  <a:cubicBezTo>
                    <a:pt x="978844" y="511751"/>
                    <a:pt x="880880" y="566361"/>
                    <a:pt x="760036" y="566361"/>
                  </a:cubicBezTo>
                  <a:cubicBezTo>
                    <a:pt x="639192" y="566361"/>
                    <a:pt x="541228" y="511751"/>
                    <a:pt x="541228" y="444386"/>
                  </a:cubicBezTo>
                  <a:cubicBezTo>
                    <a:pt x="541228" y="377021"/>
                    <a:pt x="639192" y="322411"/>
                    <a:pt x="760036" y="322411"/>
                  </a:cubicBezTo>
                  <a:close/>
                  <a:moveTo>
                    <a:pt x="0" y="209552"/>
                  </a:moveTo>
                  <a:lnTo>
                    <a:pt x="5927" y="215739"/>
                  </a:lnTo>
                  <a:cubicBezTo>
                    <a:pt x="46994" y="253762"/>
                    <a:pt x="127089" y="279574"/>
                    <a:pt x="219171" y="279574"/>
                  </a:cubicBezTo>
                  <a:cubicBezTo>
                    <a:pt x="311253" y="279574"/>
                    <a:pt x="391348" y="253762"/>
                    <a:pt x="432415" y="215739"/>
                  </a:cubicBezTo>
                  <a:lnTo>
                    <a:pt x="438342" y="209552"/>
                  </a:lnTo>
                  <a:lnTo>
                    <a:pt x="438342" y="454580"/>
                  </a:lnTo>
                  <a:lnTo>
                    <a:pt x="438342" y="454583"/>
                  </a:lnTo>
                  <a:cubicBezTo>
                    <a:pt x="438342" y="515463"/>
                    <a:pt x="340216" y="564817"/>
                    <a:pt x="219171" y="564817"/>
                  </a:cubicBezTo>
                  <a:cubicBezTo>
                    <a:pt x="98126" y="564817"/>
                    <a:pt x="0" y="515463"/>
                    <a:pt x="0" y="454583"/>
                  </a:cubicBezTo>
                  <a:lnTo>
                    <a:pt x="0" y="454582"/>
                  </a:lnTo>
                  <a:close/>
                  <a:moveTo>
                    <a:pt x="218808" y="0"/>
                  </a:moveTo>
                  <a:cubicBezTo>
                    <a:pt x="339652" y="0"/>
                    <a:pt x="437616" y="54610"/>
                    <a:pt x="437616" y="121975"/>
                  </a:cubicBezTo>
                  <a:cubicBezTo>
                    <a:pt x="437616" y="189340"/>
                    <a:pt x="339652" y="243950"/>
                    <a:pt x="218808" y="243950"/>
                  </a:cubicBezTo>
                  <a:cubicBezTo>
                    <a:pt x="97964" y="243950"/>
                    <a:pt x="0" y="189340"/>
                    <a:pt x="0" y="121975"/>
                  </a:cubicBezTo>
                  <a:cubicBezTo>
                    <a:pt x="0" y="54610"/>
                    <a:pt x="97964" y="0"/>
                    <a:pt x="218808"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8" tIns="109719" rIns="137148" bIns="109719" numCol="1" spcCol="0" rtlCol="0" fromWordArt="0" anchor="t" anchorCtr="0" forceAA="0" compatLnSpc="1">
              <a:prstTxWarp prst="textNoShape">
                <a:avLst/>
              </a:prstTxWarp>
              <a:noAutofit/>
            </a:bodyPr>
            <a:lstStyle/>
            <a:p>
              <a:pPr algn="ctr" defTabSz="699261" fontAlgn="base">
                <a:lnSpc>
                  <a:spcPct val="90000"/>
                </a:lnSpc>
                <a:spcBef>
                  <a:spcPct val="0"/>
                </a:spcBef>
                <a:spcAft>
                  <a:spcPct val="0"/>
                </a:spcAft>
              </a:pPr>
              <a:endParaRPr lang="en-US">
                <a:gradFill>
                  <a:gsLst>
                    <a:gs pos="0">
                      <a:srgbClr val="FFFFFF"/>
                    </a:gs>
                    <a:gs pos="100000">
                      <a:srgbClr val="FFFFFF"/>
                    </a:gs>
                  </a:gsLst>
                  <a:lin ang="5400000" scaled="0"/>
                </a:gradFill>
                <a:ea typeface="Segoe UI" pitchFamily="34" charset="0"/>
                <a:cs typeface="Segoe UI" pitchFamily="34" charset="0"/>
              </a:endParaRPr>
            </a:p>
          </p:txBody>
        </p:sp>
      </p:grpSp>
      <p:grpSp>
        <p:nvGrpSpPr>
          <p:cNvPr id="63" name="Group 62"/>
          <p:cNvGrpSpPr>
            <a:grpSpLocks noChangeAspect="1"/>
          </p:cNvGrpSpPr>
          <p:nvPr/>
        </p:nvGrpSpPr>
        <p:grpSpPr>
          <a:xfrm>
            <a:off x="197042" y="2842214"/>
            <a:ext cx="457200" cy="457200"/>
            <a:chOff x="719415" y="3138080"/>
            <a:chExt cx="640080" cy="640080"/>
          </a:xfrm>
        </p:grpSpPr>
        <p:pic>
          <p:nvPicPr>
            <p:cNvPr id="64" name="Picture 6" descr="\\MAGNUM\Projects\Microsoft\Cloud Power FY12\Design\ICONS_PNG\Cloud.png"/>
            <p:cNvPicPr>
              <a:picLocks noChangeAspect="1" noChangeArrowheads="1"/>
            </p:cNvPicPr>
            <p:nvPr/>
          </p:nvPicPr>
          <p:blipFill>
            <a:blip r:embed="rId3" cstate="print">
              <a:biLevel thresh="75000"/>
            </a:blip>
            <a:srcRect/>
            <a:stretch>
              <a:fillRect/>
            </a:stretch>
          </p:blipFill>
          <p:spPr bwMode="auto">
            <a:xfrm>
              <a:off x="719415" y="3138080"/>
              <a:ext cx="640080" cy="640080"/>
            </a:xfrm>
            <a:prstGeom prst="rect">
              <a:avLst/>
            </a:prstGeom>
            <a:noFill/>
          </p:spPr>
        </p:pic>
        <p:pic>
          <p:nvPicPr>
            <p:cNvPr id="68" name="Picture 67"/>
            <p:cNvPicPr>
              <a:picLocks noChangeAspect="1"/>
            </p:cNvPicPr>
            <p:nvPr/>
          </p:nvPicPr>
          <p:blipFill>
            <a:blip r:embed="rId4"/>
            <a:stretch>
              <a:fillRect/>
            </a:stretch>
          </p:blipFill>
          <p:spPr>
            <a:xfrm flipH="1">
              <a:off x="975955" y="3370303"/>
              <a:ext cx="127000" cy="175846"/>
            </a:xfrm>
            <a:prstGeom prst="rect">
              <a:avLst/>
            </a:prstGeom>
          </p:spPr>
        </p:pic>
      </p:grpSp>
      <p:sp>
        <p:nvSpPr>
          <p:cNvPr id="69" name="Freeform 122"/>
          <p:cNvSpPr>
            <a:spLocks noChangeAspect="1"/>
          </p:cNvSpPr>
          <p:nvPr/>
        </p:nvSpPr>
        <p:spPr bwMode="black">
          <a:xfrm>
            <a:off x="266989" y="4843626"/>
            <a:ext cx="317305" cy="320040"/>
          </a:xfrm>
          <a:custGeom>
            <a:avLst/>
            <a:gdLst>
              <a:gd name="T0" fmla="*/ 61 w 70"/>
              <a:gd name="T1" fmla="*/ 11 h 71"/>
              <a:gd name="T2" fmla="*/ 60 w 70"/>
              <a:gd name="T3" fmla="*/ 11 h 71"/>
              <a:gd name="T4" fmla="*/ 53 w 70"/>
              <a:gd name="T5" fmla="*/ 18 h 71"/>
              <a:gd name="T6" fmla="*/ 53 w 70"/>
              <a:gd name="T7" fmla="*/ 19 h 71"/>
              <a:gd name="T8" fmla="*/ 53 w 70"/>
              <a:gd name="T9" fmla="*/ 19 h 71"/>
              <a:gd name="T10" fmla="*/ 60 w 70"/>
              <a:gd name="T11" fmla="*/ 35 h 71"/>
              <a:gd name="T12" fmla="*/ 35 w 70"/>
              <a:gd name="T13" fmla="*/ 60 h 71"/>
              <a:gd name="T14" fmla="*/ 10 w 70"/>
              <a:gd name="T15" fmla="*/ 36 h 71"/>
              <a:gd name="T16" fmla="*/ 16 w 70"/>
              <a:gd name="T17" fmla="*/ 21 h 71"/>
              <a:gd name="T18" fmla="*/ 18 w 70"/>
              <a:gd name="T19" fmla="*/ 18 h 71"/>
              <a:gd name="T20" fmla="*/ 25 w 70"/>
              <a:gd name="T21" fmla="*/ 26 h 71"/>
              <a:gd name="T22" fmla="*/ 30 w 70"/>
              <a:gd name="T23" fmla="*/ 0 h 71"/>
              <a:gd name="T24" fmla="*/ 4 w 70"/>
              <a:gd name="T25" fmla="*/ 2 h 71"/>
              <a:gd name="T26" fmla="*/ 11 w 70"/>
              <a:gd name="T27" fmla="*/ 10 h 71"/>
              <a:gd name="T28" fmla="*/ 9 w 70"/>
              <a:gd name="T29" fmla="*/ 12 h 71"/>
              <a:gd name="T30" fmla="*/ 0 w 70"/>
              <a:gd name="T31" fmla="*/ 36 h 71"/>
              <a:gd name="T32" fmla="*/ 35 w 70"/>
              <a:gd name="T33" fmla="*/ 71 h 71"/>
              <a:gd name="T34" fmla="*/ 35 w 70"/>
              <a:gd name="T35" fmla="*/ 71 h 71"/>
              <a:gd name="T36" fmla="*/ 70 w 70"/>
              <a:gd name="T37" fmla="*/ 35 h 71"/>
              <a:gd name="T38" fmla="*/ 61 w 70"/>
              <a:gd name="T39" fmla="*/ 1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0" h="71">
                <a:moveTo>
                  <a:pt x="61" y="11"/>
                </a:moveTo>
                <a:cubicBezTo>
                  <a:pt x="60" y="11"/>
                  <a:pt x="60" y="11"/>
                  <a:pt x="60" y="11"/>
                </a:cubicBezTo>
                <a:cubicBezTo>
                  <a:pt x="53" y="18"/>
                  <a:pt x="53" y="18"/>
                  <a:pt x="53" y="18"/>
                </a:cubicBezTo>
                <a:cubicBezTo>
                  <a:pt x="53" y="19"/>
                  <a:pt x="53" y="19"/>
                  <a:pt x="53" y="19"/>
                </a:cubicBezTo>
                <a:cubicBezTo>
                  <a:pt x="53" y="19"/>
                  <a:pt x="53" y="19"/>
                  <a:pt x="53" y="19"/>
                </a:cubicBezTo>
                <a:cubicBezTo>
                  <a:pt x="57" y="23"/>
                  <a:pt x="60" y="29"/>
                  <a:pt x="60" y="35"/>
                </a:cubicBezTo>
                <a:cubicBezTo>
                  <a:pt x="60" y="49"/>
                  <a:pt x="49" y="60"/>
                  <a:pt x="35" y="60"/>
                </a:cubicBezTo>
                <a:cubicBezTo>
                  <a:pt x="22" y="60"/>
                  <a:pt x="11" y="49"/>
                  <a:pt x="10" y="36"/>
                </a:cubicBezTo>
                <a:cubicBezTo>
                  <a:pt x="10" y="30"/>
                  <a:pt x="12" y="25"/>
                  <a:pt x="16" y="21"/>
                </a:cubicBezTo>
                <a:cubicBezTo>
                  <a:pt x="18" y="18"/>
                  <a:pt x="18" y="18"/>
                  <a:pt x="18" y="18"/>
                </a:cubicBezTo>
                <a:cubicBezTo>
                  <a:pt x="25" y="26"/>
                  <a:pt x="25" y="26"/>
                  <a:pt x="25" y="26"/>
                </a:cubicBezTo>
                <a:cubicBezTo>
                  <a:pt x="30" y="0"/>
                  <a:pt x="30" y="0"/>
                  <a:pt x="30" y="0"/>
                </a:cubicBezTo>
                <a:cubicBezTo>
                  <a:pt x="4" y="2"/>
                  <a:pt x="4" y="2"/>
                  <a:pt x="4" y="2"/>
                </a:cubicBezTo>
                <a:cubicBezTo>
                  <a:pt x="11" y="10"/>
                  <a:pt x="11" y="10"/>
                  <a:pt x="11" y="10"/>
                </a:cubicBezTo>
                <a:cubicBezTo>
                  <a:pt x="9" y="12"/>
                  <a:pt x="9" y="12"/>
                  <a:pt x="9" y="12"/>
                </a:cubicBezTo>
                <a:cubicBezTo>
                  <a:pt x="3" y="19"/>
                  <a:pt x="0" y="27"/>
                  <a:pt x="0" y="36"/>
                </a:cubicBezTo>
                <a:cubicBezTo>
                  <a:pt x="0" y="55"/>
                  <a:pt x="16" y="71"/>
                  <a:pt x="35" y="71"/>
                </a:cubicBezTo>
                <a:cubicBezTo>
                  <a:pt x="35" y="71"/>
                  <a:pt x="35" y="71"/>
                  <a:pt x="35" y="71"/>
                </a:cubicBezTo>
                <a:cubicBezTo>
                  <a:pt x="55" y="71"/>
                  <a:pt x="70" y="55"/>
                  <a:pt x="70" y="35"/>
                </a:cubicBezTo>
                <a:cubicBezTo>
                  <a:pt x="70" y="26"/>
                  <a:pt x="67" y="18"/>
                  <a:pt x="61" y="11"/>
                </a:cubicBezTo>
              </a:path>
            </a:pathLst>
          </a:custGeom>
          <a:solidFill>
            <a:schemeClr val="tx1"/>
          </a:solidFill>
          <a:ln>
            <a:noFill/>
          </a:ln>
        </p:spPr>
        <p:txBody>
          <a:bodyPr vert="horz" wrap="square" lIns="69953" tIns="34976" rIns="69953" bIns="34976" numCol="1" anchor="t" anchorCtr="0" compatLnSpc="1">
            <a:prstTxWarp prst="textNoShape">
              <a:avLst/>
            </a:prstTxWarp>
          </a:bodyPr>
          <a:lstStyle/>
          <a:p>
            <a:endParaRPr lang="en-US" sz="1350">
              <a:solidFill>
                <a:srgbClr val="000000"/>
              </a:solidFill>
            </a:endParaRPr>
          </a:p>
        </p:txBody>
      </p:sp>
      <p:sp>
        <p:nvSpPr>
          <p:cNvPr id="70" name="Freeform 21"/>
          <p:cNvSpPr>
            <a:spLocks noChangeAspect="1" noEditPoints="1"/>
          </p:cNvSpPr>
          <p:nvPr/>
        </p:nvSpPr>
        <p:spPr bwMode="black">
          <a:xfrm>
            <a:off x="242762" y="3875709"/>
            <a:ext cx="365760" cy="318790"/>
          </a:xfrm>
          <a:custGeom>
            <a:avLst/>
            <a:gdLst>
              <a:gd name="T0" fmla="*/ 1220 w 1220"/>
              <a:gd name="T1" fmla="*/ 204 h 1063"/>
              <a:gd name="T2" fmla="*/ 1096 w 1220"/>
              <a:gd name="T3" fmla="*/ 79 h 1063"/>
              <a:gd name="T4" fmla="*/ 978 w 1220"/>
              <a:gd name="T5" fmla="*/ 164 h 1063"/>
              <a:gd name="T6" fmla="*/ 589 w 1220"/>
              <a:gd name="T7" fmla="*/ 115 h 1063"/>
              <a:gd name="T8" fmla="*/ 465 w 1220"/>
              <a:gd name="T9" fmla="*/ 0 h 1063"/>
              <a:gd name="T10" fmla="*/ 340 w 1220"/>
              <a:gd name="T11" fmla="*/ 124 h 1063"/>
              <a:gd name="T12" fmla="*/ 370 w 1220"/>
              <a:gd name="T13" fmla="*/ 205 h 1063"/>
              <a:gd name="T14" fmla="*/ 180 w 1220"/>
              <a:gd name="T15" fmla="*/ 453 h 1063"/>
              <a:gd name="T16" fmla="*/ 125 w 1220"/>
              <a:gd name="T17" fmla="*/ 440 h 1063"/>
              <a:gd name="T18" fmla="*/ 0 w 1220"/>
              <a:gd name="T19" fmla="*/ 564 h 1063"/>
              <a:gd name="T20" fmla="*/ 125 w 1220"/>
              <a:gd name="T21" fmla="*/ 689 h 1063"/>
              <a:gd name="T22" fmla="*/ 197 w 1220"/>
              <a:gd name="T23" fmla="*/ 666 h 1063"/>
              <a:gd name="T24" fmla="*/ 416 w 1220"/>
              <a:gd name="T25" fmla="*/ 872 h 1063"/>
              <a:gd name="T26" fmla="*/ 397 w 1220"/>
              <a:gd name="T27" fmla="*/ 938 h 1063"/>
              <a:gd name="T28" fmla="*/ 521 w 1220"/>
              <a:gd name="T29" fmla="*/ 1063 h 1063"/>
              <a:gd name="T30" fmla="*/ 646 w 1220"/>
              <a:gd name="T31" fmla="*/ 938 h 1063"/>
              <a:gd name="T32" fmla="*/ 642 w 1220"/>
              <a:gd name="T33" fmla="*/ 908 h 1063"/>
              <a:gd name="T34" fmla="*/ 948 w 1220"/>
              <a:gd name="T35" fmla="*/ 763 h 1063"/>
              <a:gd name="T36" fmla="*/ 1048 w 1220"/>
              <a:gd name="T37" fmla="*/ 814 h 1063"/>
              <a:gd name="T38" fmla="*/ 1173 w 1220"/>
              <a:gd name="T39" fmla="*/ 689 h 1063"/>
              <a:gd name="T40" fmla="*/ 1084 w 1220"/>
              <a:gd name="T41" fmla="*/ 570 h 1063"/>
              <a:gd name="T42" fmla="*/ 1108 w 1220"/>
              <a:gd name="T43" fmla="*/ 327 h 1063"/>
              <a:gd name="T44" fmla="*/ 1220 w 1220"/>
              <a:gd name="T45" fmla="*/ 204 h 1063"/>
              <a:gd name="T46" fmla="*/ 521 w 1220"/>
              <a:gd name="T47" fmla="*/ 594 h 1063"/>
              <a:gd name="T48" fmla="*/ 493 w 1220"/>
              <a:gd name="T49" fmla="*/ 245 h 1063"/>
              <a:gd name="T50" fmla="*/ 535 w 1220"/>
              <a:gd name="T51" fmla="*/ 226 h 1063"/>
              <a:gd name="T52" fmla="*/ 944 w 1220"/>
              <a:gd name="T53" fmla="*/ 621 h 1063"/>
              <a:gd name="T54" fmla="*/ 930 w 1220"/>
              <a:gd name="T55" fmla="*/ 649 h 1063"/>
              <a:gd name="T56" fmla="*/ 521 w 1220"/>
              <a:gd name="T57" fmla="*/ 594 h 1063"/>
              <a:gd name="T58" fmla="*/ 490 w 1220"/>
              <a:gd name="T59" fmla="*/ 818 h 1063"/>
              <a:gd name="T60" fmla="*/ 449 w 1220"/>
              <a:gd name="T61" fmla="*/ 837 h 1063"/>
              <a:gd name="T62" fmla="*/ 230 w 1220"/>
              <a:gd name="T63" fmla="*/ 631 h 1063"/>
              <a:gd name="T64" fmla="*/ 242 w 1220"/>
              <a:gd name="T65" fmla="*/ 605 h 1063"/>
              <a:gd name="T66" fmla="*/ 476 w 1220"/>
              <a:gd name="T67" fmla="*/ 636 h 1063"/>
              <a:gd name="T68" fmla="*/ 490 w 1220"/>
              <a:gd name="T69" fmla="*/ 818 h 1063"/>
              <a:gd name="T70" fmla="*/ 249 w 1220"/>
              <a:gd name="T71" fmla="*/ 558 h 1063"/>
              <a:gd name="T72" fmla="*/ 218 w 1220"/>
              <a:gd name="T73" fmla="*/ 482 h 1063"/>
              <a:gd name="T74" fmla="*/ 408 w 1220"/>
              <a:gd name="T75" fmla="*/ 235 h 1063"/>
              <a:gd name="T76" fmla="*/ 445 w 1220"/>
              <a:gd name="T77" fmla="*/ 247 h 1063"/>
              <a:gd name="T78" fmla="*/ 472 w 1220"/>
              <a:gd name="T79" fmla="*/ 587 h 1063"/>
              <a:gd name="T80" fmla="*/ 249 w 1220"/>
              <a:gd name="T81" fmla="*/ 558 h 1063"/>
              <a:gd name="T82" fmla="*/ 977 w 1220"/>
              <a:gd name="T83" fmla="*/ 587 h 1063"/>
              <a:gd name="T84" fmla="*/ 569 w 1220"/>
              <a:gd name="T85" fmla="*/ 192 h 1063"/>
              <a:gd name="T86" fmla="*/ 583 w 1220"/>
              <a:gd name="T87" fmla="*/ 163 h 1063"/>
              <a:gd name="T88" fmla="*/ 972 w 1220"/>
              <a:gd name="T89" fmla="*/ 212 h 1063"/>
              <a:gd name="T90" fmla="*/ 1060 w 1220"/>
              <a:gd name="T91" fmla="*/ 323 h 1063"/>
              <a:gd name="T92" fmla="*/ 1036 w 1220"/>
              <a:gd name="T93" fmla="*/ 566 h 1063"/>
              <a:gd name="T94" fmla="*/ 977 w 1220"/>
              <a:gd name="T95" fmla="*/ 587 h 1063"/>
              <a:gd name="T96" fmla="*/ 621 w 1220"/>
              <a:gd name="T97" fmla="*/ 864 h 1063"/>
              <a:gd name="T98" fmla="*/ 538 w 1220"/>
              <a:gd name="T99" fmla="*/ 815 h 1063"/>
              <a:gd name="T100" fmla="*/ 524 w 1220"/>
              <a:gd name="T101" fmla="*/ 643 h 1063"/>
              <a:gd name="T102" fmla="*/ 924 w 1220"/>
              <a:gd name="T103" fmla="*/ 696 h 1063"/>
              <a:gd name="T104" fmla="*/ 927 w 1220"/>
              <a:gd name="T105" fmla="*/ 720 h 1063"/>
              <a:gd name="T106" fmla="*/ 621 w 1220"/>
              <a:gd name="T107" fmla="*/ 864 h 10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220" h="1063">
                <a:moveTo>
                  <a:pt x="1220" y="204"/>
                </a:moveTo>
                <a:cubicBezTo>
                  <a:pt x="1220" y="135"/>
                  <a:pt x="1164" y="79"/>
                  <a:pt x="1096" y="79"/>
                </a:cubicBezTo>
                <a:cubicBezTo>
                  <a:pt x="1041" y="79"/>
                  <a:pt x="994" y="115"/>
                  <a:pt x="978" y="164"/>
                </a:cubicBezTo>
                <a:cubicBezTo>
                  <a:pt x="589" y="115"/>
                  <a:pt x="589" y="115"/>
                  <a:pt x="589" y="115"/>
                </a:cubicBezTo>
                <a:cubicBezTo>
                  <a:pt x="584" y="51"/>
                  <a:pt x="530" y="0"/>
                  <a:pt x="465" y="0"/>
                </a:cubicBezTo>
                <a:cubicBezTo>
                  <a:pt x="396" y="0"/>
                  <a:pt x="340" y="55"/>
                  <a:pt x="340" y="124"/>
                </a:cubicBezTo>
                <a:cubicBezTo>
                  <a:pt x="340" y="155"/>
                  <a:pt x="352" y="183"/>
                  <a:pt x="370" y="205"/>
                </a:cubicBezTo>
                <a:cubicBezTo>
                  <a:pt x="180" y="453"/>
                  <a:pt x="180" y="453"/>
                  <a:pt x="180" y="453"/>
                </a:cubicBezTo>
                <a:cubicBezTo>
                  <a:pt x="163" y="445"/>
                  <a:pt x="145" y="440"/>
                  <a:pt x="125" y="440"/>
                </a:cubicBezTo>
                <a:cubicBezTo>
                  <a:pt x="56" y="440"/>
                  <a:pt x="0" y="496"/>
                  <a:pt x="0" y="564"/>
                </a:cubicBezTo>
                <a:cubicBezTo>
                  <a:pt x="0" y="633"/>
                  <a:pt x="56" y="689"/>
                  <a:pt x="125" y="689"/>
                </a:cubicBezTo>
                <a:cubicBezTo>
                  <a:pt x="152" y="689"/>
                  <a:pt x="177" y="680"/>
                  <a:pt x="197" y="666"/>
                </a:cubicBezTo>
                <a:cubicBezTo>
                  <a:pt x="416" y="872"/>
                  <a:pt x="416" y="872"/>
                  <a:pt x="416" y="872"/>
                </a:cubicBezTo>
                <a:cubicBezTo>
                  <a:pt x="404" y="891"/>
                  <a:pt x="397" y="914"/>
                  <a:pt x="397" y="938"/>
                </a:cubicBezTo>
                <a:cubicBezTo>
                  <a:pt x="397" y="1007"/>
                  <a:pt x="453" y="1063"/>
                  <a:pt x="521" y="1063"/>
                </a:cubicBezTo>
                <a:cubicBezTo>
                  <a:pt x="590" y="1063"/>
                  <a:pt x="646" y="1007"/>
                  <a:pt x="646" y="938"/>
                </a:cubicBezTo>
                <a:cubicBezTo>
                  <a:pt x="646" y="928"/>
                  <a:pt x="644" y="918"/>
                  <a:pt x="642" y="908"/>
                </a:cubicBezTo>
                <a:cubicBezTo>
                  <a:pt x="948" y="763"/>
                  <a:pt x="948" y="763"/>
                  <a:pt x="948" y="763"/>
                </a:cubicBezTo>
                <a:cubicBezTo>
                  <a:pt x="970" y="794"/>
                  <a:pt x="1007" y="814"/>
                  <a:pt x="1048" y="814"/>
                </a:cubicBezTo>
                <a:cubicBezTo>
                  <a:pt x="1117" y="814"/>
                  <a:pt x="1173" y="758"/>
                  <a:pt x="1173" y="689"/>
                </a:cubicBezTo>
                <a:cubicBezTo>
                  <a:pt x="1173" y="633"/>
                  <a:pt x="1135" y="586"/>
                  <a:pt x="1084" y="570"/>
                </a:cubicBezTo>
                <a:cubicBezTo>
                  <a:pt x="1108" y="327"/>
                  <a:pt x="1108" y="327"/>
                  <a:pt x="1108" y="327"/>
                </a:cubicBezTo>
                <a:cubicBezTo>
                  <a:pt x="1171" y="321"/>
                  <a:pt x="1220" y="268"/>
                  <a:pt x="1220" y="204"/>
                </a:cubicBezTo>
                <a:close/>
                <a:moveTo>
                  <a:pt x="521" y="594"/>
                </a:moveTo>
                <a:cubicBezTo>
                  <a:pt x="493" y="245"/>
                  <a:pt x="493" y="245"/>
                  <a:pt x="493" y="245"/>
                </a:cubicBezTo>
                <a:cubicBezTo>
                  <a:pt x="509" y="241"/>
                  <a:pt x="523" y="235"/>
                  <a:pt x="535" y="226"/>
                </a:cubicBezTo>
                <a:cubicBezTo>
                  <a:pt x="944" y="621"/>
                  <a:pt x="944" y="621"/>
                  <a:pt x="944" y="621"/>
                </a:cubicBezTo>
                <a:cubicBezTo>
                  <a:pt x="938" y="630"/>
                  <a:pt x="934" y="639"/>
                  <a:pt x="930" y="649"/>
                </a:cubicBezTo>
                <a:lnTo>
                  <a:pt x="521" y="594"/>
                </a:lnTo>
                <a:close/>
                <a:moveTo>
                  <a:pt x="490" y="818"/>
                </a:moveTo>
                <a:cubicBezTo>
                  <a:pt x="475" y="822"/>
                  <a:pt x="461" y="828"/>
                  <a:pt x="449" y="837"/>
                </a:cubicBezTo>
                <a:cubicBezTo>
                  <a:pt x="230" y="631"/>
                  <a:pt x="230" y="631"/>
                  <a:pt x="230" y="631"/>
                </a:cubicBezTo>
                <a:cubicBezTo>
                  <a:pt x="235" y="623"/>
                  <a:pt x="239" y="614"/>
                  <a:pt x="242" y="605"/>
                </a:cubicBezTo>
                <a:cubicBezTo>
                  <a:pt x="476" y="636"/>
                  <a:pt x="476" y="636"/>
                  <a:pt x="476" y="636"/>
                </a:cubicBezTo>
                <a:lnTo>
                  <a:pt x="490" y="818"/>
                </a:lnTo>
                <a:close/>
                <a:moveTo>
                  <a:pt x="249" y="558"/>
                </a:moveTo>
                <a:cubicBezTo>
                  <a:pt x="247" y="529"/>
                  <a:pt x="236" y="502"/>
                  <a:pt x="218" y="482"/>
                </a:cubicBezTo>
                <a:cubicBezTo>
                  <a:pt x="408" y="235"/>
                  <a:pt x="408" y="235"/>
                  <a:pt x="408" y="235"/>
                </a:cubicBezTo>
                <a:cubicBezTo>
                  <a:pt x="420" y="241"/>
                  <a:pt x="432" y="245"/>
                  <a:pt x="445" y="247"/>
                </a:cubicBezTo>
                <a:cubicBezTo>
                  <a:pt x="472" y="587"/>
                  <a:pt x="472" y="587"/>
                  <a:pt x="472" y="587"/>
                </a:cubicBezTo>
                <a:lnTo>
                  <a:pt x="249" y="558"/>
                </a:lnTo>
                <a:close/>
                <a:moveTo>
                  <a:pt x="977" y="587"/>
                </a:moveTo>
                <a:cubicBezTo>
                  <a:pt x="569" y="192"/>
                  <a:pt x="569" y="192"/>
                  <a:pt x="569" y="192"/>
                </a:cubicBezTo>
                <a:cubicBezTo>
                  <a:pt x="575" y="183"/>
                  <a:pt x="579" y="173"/>
                  <a:pt x="583" y="163"/>
                </a:cubicBezTo>
                <a:cubicBezTo>
                  <a:pt x="972" y="212"/>
                  <a:pt x="972" y="212"/>
                  <a:pt x="972" y="212"/>
                </a:cubicBezTo>
                <a:cubicBezTo>
                  <a:pt x="975" y="265"/>
                  <a:pt x="1011" y="308"/>
                  <a:pt x="1060" y="323"/>
                </a:cubicBezTo>
                <a:cubicBezTo>
                  <a:pt x="1036" y="566"/>
                  <a:pt x="1036" y="566"/>
                  <a:pt x="1036" y="566"/>
                </a:cubicBezTo>
                <a:cubicBezTo>
                  <a:pt x="1015" y="568"/>
                  <a:pt x="994" y="575"/>
                  <a:pt x="977" y="587"/>
                </a:cubicBezTo>
                <a:close/>
                <a:moveTo>
                  <a:pt x="621" y="864"/>
                </a:moveTo>
                <a:cubicBezTo>
                  <a:pt x="602" y="838"/>
                  <a:pt x="572" y="819"/>
                  <a:pt x="538" y="815"/>
                </a:cubicBezTo>
                <a:cubicBezTo>
                  <a:pt x="524" y="643"/>
                  <a:pt x="524" y="643"/>
                  <a:pt x="524" y="643"/>
                </a:cubicBezTo>
                <a:cubicBezTo>
                  <a:pt x="924" y="696"/>
                  <a:pt x="924" y="696"/>
                  <a:pt x="924" y="696"/>
                </a:cubicBezTo>
                <a:cubicBezTo>
                  <a:pt x="924" y="704"/>
                  <a:pt x="925" y="712"/>
                  <a:pt x="927" y="720"/>
                </a:cubicBezTo>
                <a:lnTo>
                  <a:pt x="621" y="864"/>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1177" tIns="56942" rIns="71177" bIns="56942" numCol="1" spcCol="0" rtlCol="0" fromWordArt="0" anchor="t" anchorCtr="0" forceAA="0" compatLnSpc="1">
            <a:prstTxWarp prst="textNoShape">
              <a:avLst/>
            </a:prstTxWarp>
            <a:noAutofit/>
          </a:bodyPr>
          <a:lstStyle/>
          <a:p>
            <a:pPr algn="ctr" defTabSz="362895" fontAlgn="base">
              <a:lnSpc>
                <a:spcPct val="90000"/>
              </a:lnSpc>
              <a:spcBef>
                <a:spcPct val="0"/>
              </a:spcBef>
              <a:spcAft>
                <a:spcPct val="0"/>
              </a:spcAft>
            </a:pPr>
            <a:endParaRPr lang="en-US" sz="934">
              <a:gradFill>
                <a:gsLst>
                  <a:gs pos="0">
                    <a:srgbClr val="FFFFFF"/>
                  </a:gs>
                  <a:gs pos="100000">
                    <a:srgbClr val="FFFFFF"/>
                  </a:gs>
                </a:gsLst>
                <a:lin ang="5400000" scaled="0"/>
              </a:gradFill>
              <a:ea typeface="Segoe UI" pitchFamily="34" charset="0"/>
              <a:cs typeface="Segoe UI" pitchFamily="34" charset="0"/>
            </a:endParaRPr>
          </a:p>
        </p:txBody>
      </p:sp>
      <p:sp>
        <p:nvSpPr>
          <p:cNvPr id="71" name="Freeform 70"/>
          <p:cNvSpPr>
            <a:spLocks noChangeAspect="1"/>
          </p:cNvSpPr>
          <p:nvPr/>
        </p:nvSpPr>
        <p:spPr bwMode="black">
          <a:xfrm>
            <a:off x="242762" y="5803220"/>
            <a:ext cx="365760" cy="320928"/>
          </a:xfrm>
          <a:custGeom>
            <a:avLst/>
            <a:gdLst/>
            <a:ahLst/>
            <a:cxnLst/>
            <a:rect l="l" t="t" r="r" b="b"/>
            <a:pathLst>
              <a:path w="4740335" h="4048081">
                <a:moveTo>
                  <a:pt x="3683614" y="1098549"/>
                </a:moveTo>
                <a:cubicBezTo>
                  <a:pt x="3683654" y="1098549"/>
                  <a:pt x="3689354" y="1098549"/>
                  <a:pt x="4502870" y="1098549"/>
                </a:cubicBezTo>
                <a:cubicBezTo>
                  <a:pt x="4633477" y="1098549"/>
                  <a:pt x="4740335" y="1205183"/>
                  <a:pt x="4740335" y="1335514"/>
                </a:cubicBezTo>
                <a:cubicBezTo>
                  <a:pt x="4740335" y="1335569"/>
                  <a:pt x="4740335" y="1343335"/>
                  <a:pt x="4740335" y="2449249"/>
                </a:cubicBezTo>
                <a:cubicBezTo>
                  <a:pt x="4740335" y="2579580"/>
                  <a:pt x="4633477" y="2686214"/>
                  <a:pt x="4502870" y="2686214"/>
                </a:cubicBezTo>
                <a:cubicBezTo>
                  <a:pt x="4502870" y="2686253"/>
                  <a:pt x="4502870" y="2691777"/>
                  <a:pt x="4502870" y="3480046"/>
                </a:cubicBezTo>
                <a:cubicBezTo>
                  <a:pt x="4502870" y="3610377"/>
                  <a:pt x="4396011" y="3717011"/>
                  <a:pt x="4265405" y="3717011"/>
                </a:cubicBezTo>
                <a:cubicBezTo>
                  <a:pt x="4265376" y="3717011"/>
                  <a:pt x="4262133" y="3717011"/>
                  <a:pt x="3909206" y="3717011"/>
                </a:cubicBezTo>
                <a:cubicBezTo>
                  <a:pt x="3790473" y="3717011"/>
                  <a:pt x="3683614" y="3610377"/>
                  <a:pt x="3683614" y="3480046"/>
                </a:cubicBezTo>
                <a:cubicBezTo>
                  <a:pt x="3683614" y="3480010"/>
                  <a:pt x="3683614" y="3474701"/>
                  <a:pt x="3683614" y="2686214"/>
                </a:cubicBezTo>
                <a:cubicBezTo>
                  <a:pt x="3553008" y="2686214"/>
                  <a:pt x="3446148" y="2579580"/>
                  <a:pt x="3446148" y="2449249"/>
                </a:cubicBezTo>
                <a:cubicBezTo>
                  <a:pt x="3446148" y="2449192"/>
                  <a:pt x="3446148" y="2441288"/>
                  <a:pt x="3446148" y="1335514"/>
                </a:cubicBezTo>
                <a:cubicBezTo>
                  <a:pt x="3446148" y="1205183"/>
                  <a:pt x="3553008" y="1098549"/>
                  <a:pt x="3683614" y="1098549"/>
                </a:cubicBezTo>
                <a:close/>
                <a:moveTo>
                  <a:pt x="236546" y="1098549"/>
                </a:moveTo>
                <a:cubicBezTo>
                  <a:pt x="236570" y="1098549"/>
                  <a:pt x="240947" y="1098549"/>
                  <a:pt x="1052628" y="1098549"/>
                </a:cubicBezTo>
                <a:cubicBezTo>
                  <a:pt x="1182728" y="1098549"/>
                  <a:pt x="1289174" y="1205183"/>
                  <a:pt x="1289174" y="1335514"/>
                </a:cubicBezTo>
                <a:cubicBezTo>
                  <a:pt x="1289174" y="1335532"/>
                  <a:pt x="1289174" y="1340039"/>
                  <a:pt x="1289174" y="2449249"/>
                </a:cubicBezTo>
                <a:cubicBezTo>
                  <a:pt x="1289174" y="2579580"/>
                  <a:pt x="1182728" y="2686214"/>
                  <a:pt x="1052628" y="2686214"/>
                </a:cubicBezTo>
                <a:cubicBezTo>
                  <a:pt x="1052628" y="2686235"/>
                  <a:pt x="1052628" y="2690268"/>
                  <a:pt x="1052628" y="3480046"/>
                </a:cubicBezTo>
                <a:cubicBezTo>
                  <a:pt x="1052628" y="3610377"/>
                  <a:pt x="946183" y="3717011"/>
                  <a:pt x="827910" y="3717011"/>
                </a:cubicBezTo>
                <a:cubicBezTo>
                  <a:pt x="827894" y="3717011"/>
                  <a:pt x="825508" y="3717011"/>
                  <a:pt x="473091" y="3717011"/>
                </a:cubicBezTo>
                <a:cubicBezTo>
                  <a:pt x="342991" y="3717011"/>
                  <a:pt x="236546" y="3610377"/>
                  <a:pt x="236546" y="3480046"/>
                </a:cubicBezTo>
                <a:cubicBezTo>
                  <a:pt x="236546" y="3480026"/>
                  <a:pt x="236546" y="3476021"/>
                  <a:pt x="236546" y="2686214"/>
                </a:cubicBezTo>
                <a:cubicBezTo>
                  <a:pt x="106446" y="2686214"/>
                  <a:pt x="0" y="2579580"/>
                  <a:pt x="0" y="2449249"/>
                </a:cubicBezTo>
                <a:cubicBezTo>
                  <a:pt x="0" y="2449230"/>
                  <a:pt x="0" y="2444630"/>
                  <a:pt x="0" y="1335514"/>
                </a:cubicBezTo>
                <a:cubicBezTo>
                  <a:pt x="0" y="1205183"/>
                  <a:pt x="106446" y="1098549"/>
                  <a:pt x="236546" y="1098549"/>
                </a:cubicBezTo>
                <a:close/>
                <a:moveTo>
                  <a:pt x="1895194" y="993211"/>
                </a:moveTo>
                <a:cubicBezTo>
                  <a:pt x="1895245" y="993211"/>
                  <a:pt x="1902161" y="993211"/>
                  <a:pt x="2845141" y="993211"/>
                </a:cubicBezTo>
                <a:cubicBezTo>
                  <a:pt x="2999507" y="993211"/>
                  <a:pt x="3130125" y="1123457"/>
                  <a:pt x="3130125" y="1277385"/>
                </a:cubicBezTo>
                <a:cubicBezTo>
                  <a:pt x="3130125" y="1277420"/>
                  <a:pt x="3130125" y="1284134"/>
                  <a:pt x="3130125" y="2568008"/>
                </a:cubicBezTo>
                <a:cubicBezTo>
                  <a:pt x="3130125" y="2721936"/>
                  <a:pt x="2999507" y="2852182"/>
                  <a:pt x="2845141" y="2852182"/>
                </a:cubicBezTo>
                <a:cubicBezTo>
                  <a:pt x="2845141" y="2852231"/>
                  <a:pt x="2845141" y="2858826"/>
                  <a:pt x="2845141" y="3763907"/>
                </a:cubicBezTo>
                <a:cubicBezTo>
                  <a:pt x="2845141" y="3917835"/>
                  <a:pt x="2726398" y="4048081"/>
                  <a:pt x="2572031" y="4048081"/>
                </a:cubicBezTo>
                <a:cubicBezTo>
                  <a:pt x="2571992" y="4048081"/>
                  <a:pt x="2568051" y="4048081"/>
                  <a:pt x="2168304" y="4048081"/>
                </a:cubicBezTo>
                <a:cubicBezTo>
                  <a:pt x="2013937" y="4048081"/>
                  <a:pt x="1895194" y="3917835"/>
                  <a:pt x="1895194" y="3763907"/>
                </a:cubicBezTo>
                <a:cubicBezTo>
                  <a:pt x="1895194" y="3763858"/>
                  <a:pt x="1895194" y="3757193"/>
                  <a:pt x="1895194" y="2852182"/>
                </a:cubicBezTo>
                <a:cubicBezTo>
                  <a:pt x="1740828" y="2852182"/>
                  <a:pt x="1610210" y="2721936"/>
                  <a:pt x="1610210" y="2568008"/>
                </a:cubicBezTo>
                <a:cubicBezTo>
                  <a:pt x="1610210" y="2567966"/>
                  <a:pt x="1610210" y="2560581"/>
                  <a:pt x="1610210" y="1277385"/>
                </a:cubicBezTo>
                <a:cubicBezTo>
                  <a:pt x="1610210" y="1123457"/>
                  <a:pt x="1740828" y="993211"/>
                  <a:pt x="1895194" y="993211"/>
                </a:cubicBezTo>
                <a:close/>
                <a:moveTo>
                  <a:pt x="4093246" y="245790"/>
                </a:moveTo>
                <a:cubicBezTo>
                  <a:pt x="4306565" y="245790"/>
                  <a:pt x="4479495" y="420965"/>
                  <a:pt x="4479495" y="637055"/>
                </a:cubicBezTo>
                <a:cubicBezTo>
                  <a:pt x="4479495" y="853145"/>
                  <a:pt x="4306565" y="1028320"/>
                  <a:pt x="4093246" y="1028320"/>
                </a:cubicBezTo>
                <a:cubicBezTo>
                  <a:pt x="3879927" y="1028320"/>
                  <a:pt x="3706997" y="853145"/>
                  <a:pt x="3706997" y="637055"/>
                </a:cubicBezTo>
                <a:cubicBezTo>
                  <a:pt x="3706997" y="420965"/>
                  <a:pt x="3879927" y="245790"/>
                  <a:pt x="4093246" y="245790"/>
                </a:cubicBezTo>
                <a:close/>
                <a:moveTo>
                  <a:pt x="644584" y="245790"/>
                </a:moveTo>
                <a:cubicBezTo>
                  <a:pt x="856519" y="245790"/>
                  <a:pt x="1028326" y="420965"/>
                  <a:pt x="1028326" y="637055"/>
                </a:cubicBezTo>
                <a:cubicBezTo>
                  <a:pt x="1028326" y="853145"/>
                  <a:pt x="856519" y="1028320"/>
                  <a:pt x="644584" y="1028320"/>
                </a:cubicBezTo>
                <a:cubicBezTo>
                  <a:pt x="432649" y="1028320"/>
                  <a:pt x="260842" y="853145"/>
                  <a:pt x="260842" y="637055"/>
                </a:cubicBezTo>
                <a:cubicBezTo>
                  <a:pt x="260842" y="420965"/>
                  <a:pt x="432649" y="245790"/>
                  <a:pt x="644584" y="245790"/>
                </a:cubicBezTo>
                <a:close/>
                <a:moveTo>
                  <a:pt x="2367657" y="0"/>
                </a:moveTo>
                <a:cubicBezTo>
                  <a:pt x="2616992" y="0"/>
                  <a:pt x="2819118" y="203249"/>
                  <a:pt x="2819118" y="453969"/>
                </a:cubicBezTo>
                <a:cubicBezTo>
                  <a:pt x="2819118" y="704689"/>
                  <a:pt x="2616992" y="907938"/>
                  <a:pt x="2367657" y="907938"/>
                </a:cubicBezTo>
                <a:cubicBezTo>
                  <a:pt x="2118322" y="907938"/>
                  <a:pt x="1916196" y="704689"/>
                  <a:pt x="1916196" y="453969"/>
                </a:cubicBezTo>
                <a:cubicBezTo>
                  <a:pt x="1916196" y="203249"/>
                  <a:pt x="2118322" y="0"/>
                  <a:pt x="2367657"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37148" tIns="109719" rIns="137148" bIns="109719"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699261" fontAlgn="base">
              <a:lnSpc>
                <a:spcPct val="90000"/>
              </a:lnSpc>
              <a:spcBef>
                <a:spcPct val="0"/>
              </a:spcBef>
              <a:spcAft>
                <a:spcPct val="0"/>
              </a:spcAft>
            </a:pPr>
            <a:endParaRPr lang="en-US">
              <a:gradFill>
                <a:gsLst>
                  <a:gs pos="0">
                    <a:srgbClr val="FFFFFF"/>
                  </a:gs>
                  <a:gs pos="100000">
                    <a:srgbClr val="FFFFFF"/>
                  </a:gs>
                </a:gsLst>
                <a:lin ang="5400000" scaled="0"/>
              </a:gradFill>
              <a:ea typeface="Segoe UI" pitchFamily="34" charset="0"/>
              <a:cs typeface="Segoe UI" pitchFamily="34" charset="0"/>
            </a:endParaRPr>
          </a:p>
        </p:txBody>
      </p:sp>
      <p:sp>
        <p:nvSpPr>
          <p:cNvPr id="73" name="Rectangle 72"/>
          <p:cNvSpPr/>
          <p:nvPr/>
        </p:nvSpPr>
        <p:spPr bwMode="auto">
          <a:xfrm>
            <a:off x="-1464" y="5522328"/>
            <a:ext cx="2816907" cy="1335672"/>
          </a:xfrm>
          <a:prstGeom prst="rect">
            <a:avLst/>
          </a:prstGeom>
          <a:solidFill>
            <a:schemeClr val="tx1">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74" name="Rectangle 73"/>
          <p:cNvSpPr/>
          <p:nvPr/>
        </p:nvSpPr>
        <p:spPr bwMode="auto">
          <a:xfrm>
            <a:off x="0" y="657643"/>
            <a:ext cx="2787733" cy="3872536"/>
          </a:xfrm>
          <a:prstGeom prst="rect">
            <a:avLst/>
          </a:prstGeom>
          <a:solidFill>
            <a:schemeClr val="tx1">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nvGrpSpPr>
          <p:cNvPr id="96" name="Group 95"/>
          <p:cNvGrpSpPr>
            <a:grpSpLocks noChangeAspect="1"/>
          </p:cNvGrpSpPr>
          <p:nvPr/>
        </p:nvGrpSpPr>
        <p:grpSpPr>
          <a:xfrm>
            <a:off x="6378844" y="1287559"/>
            <a:ext cx="5766056" cy="3819280"/>
            <a:chOff x="6071720" y="1197864"/>
            <a:chExt cx="6119944" cy="4021531"/>
          </a:xfrm>
        </p:grpSpPr>
        <p:sp>
          <p:nvSpPr>
            <p:cNvPr id="97" name="Oval 96"/>
            <p:cNvSpPr/>
            <p:nvPr/>
          </p:nvSpPr>
          <p:spPr bwMode="auto">
            <a:xfrm>
              <a:off x="9441855" y="3602627"/>
              <a:ext cx="270124" cy="270124"/>
            </a:xfrm>
            <a:prstGeom prst="ellipse">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336080" indent="-336080" algn="ctr" defTabSz="913927" fontAlgn="base">
                <a:lnSpc>
                  <a:spcPct val="90000"/>
                </a:lnSpc>
                <a:spcBef>
                  <a:spcPct val="0"/>
                </a:spcBef>
                <a:spcAft>
                  <a:spcPct val="0"/>
                </a:spcAft>
                <a:buFont typeface="Wingdings 3" panose="05040102010807070707" pitchFamily="18" charset="2"/>
                <a:buChar char="Æ"/>
                <a:defRPr/>
              </a:pPr>
              <a:endParaRPr lang="en-US" sz="1961" b="1" kern="0" err="1">
                <a:solidFill>
                  <a:srgbClr val="FFFFFF"/>
                </a:solidFill>
                <a:latin typeface="Segoe UI Light"/>
                <a:ea typeface="Segoe UI" pitchFamily="34" charset="0"/>
                <a:cs typeface="Segoe UI" pitchFamily="34" charset="0"/>
              </a:endParaRPr>
            </a:p>
          </p:txBody>
        </p:sp>
        <p:grpSp>
          <p:nvGrpSpPr>
            <p:cNvPr id="98" name="Group 97"/>
            <p:cNvGrpSpPr>
              <a:grpSpLocks noChangeAspect="1"/>
            </p:cNvGrpSpPr>
            <p:nvPr/>
          </p:nvGrpSpPr>
          <p:grpSpPr>
            <a:xfrm>
              <a:off x="6071720" y="1197864"/>
              <a:ext cx="6119944" cy="4021531"/>
              <a:chOff x="4840804" y="424970"/>
              <a:chExt cx="8319355" cy="5468177"/>
            </a:xfrm>
          </p:grpSpPr>
          <p:cxnSp>
            <p:nvCxnSpPr>
              <p:cNvPr id="101" name="Straight Connector 100"/>
              <p:cNvCxnSpPr/>
              <p:nvPr/>
            </p:nvCxnSpPr>
            <p:spPr>
              <a:xfrm flipV="1">
                <a:off x="5853844" y="3755734"/>
                <a:ext cx="7256212" cy="2370"/>
              </a:xfrm>
              <a:prstGeom prst="line">
                <a:avLst/>
              </a:prstGeom>
              <a:noFill/>
              <a:ln w="15875" cap="flat" cmpd="sng" algn="ctr">
                <a:solidFill>
                  <a:srgbClr val="505050"/>
                </a:solidFill>
                <a:prstDash val="dash"/>
                <a:headEnd type="none"/>
                <a:tailEnd type="none"/>
              </a:ln>
              <a:effectLst/>
            </p:spPr>
          </p:cxnSp>
          <p:grpSp>
            <p:nvGrpSpPr>
              <p:cNvPr id="102" name="Group 101"/>
              <p:cNvGrpSpPr/>
              <p:nvPr/>
            </p:nvGrpSpPr>
            <p:grpSpPr>
              <a:xfrm>
                <a:off x="10869544" y="4603185"/>
                <a:ext cx="1470144" cy="865250"/>
                <a:chOff x="2927465" y="5236638"/>
                <a:chExt cx="1470768" cy="865618"/>
              </a:xfrm>
            </p:grpSpPr>
            <p:sp>
              <p:nvSpPr>
                <p:cNvPr id="110" name="Freeform 109"/>
                <p:cNvSpPr>
                  <a:spLocks noEditPoints="1"/>
                </p:cNvSpPr>
                <p:nvPr/>
              </p:nvSpPr>
              <p:spPr bwMode="auto">
                <a:xfrm>
                  <a:off x="2927465" y="5236638"/>
                  <a:ext cx="360348" cy="865616"/>
                </a:xfrm>
                <a:custGeom>
                  <a:avLst/>
                  <a:gdLst>
                    <a:gd name="T0" fmla="*/ 0 w 184"/>
                    <a:gd name="T1" fmla="*/ 0 h 442"/>
                    <a:gd name="T2" fmla="*/ 0 w 184"/>
                    <a:gd name="T3" fmla="*/ 442 h 442"/>
                    <a:gd name="T4" fmla="*/ 184 w 184"/>
                    <a:gd name="T5" fmla="*/ 442 h 442"/>
                    <a:gd name="T6" fmla="*/ 184 w 184"/>
                    <a:gd name="T7" fmla="*/ 0 h 442"/>
                    <a:gd name="T8" fmla="*/ 0 w 184"/>
                    <a:gd name="T9" fmla="*/ 0 h 442"/>
                    <a:gd name="T10" fmla="*/ 85 w 184"/>
                    <a:gd name="T11" fmla="*/ 370 h 442"/>
                    <a:gd name="T12" fmla="*/ 19 w 184"/>
                    <a:gd name="T13" fmla="*/ 370 h 442"/>
                    <a:gd name="T14" fmla="*/ 19 w 184"/>
                    <a:gd name="T15" fmla="*/ 310 h 442"/>
                    <a:gd name="T16" fmla="*/ 85 w 184"/>
                    <a:gd name="T17" fmla="*/ 310 h 442"/>
                    <a:gd name="T18" fmla="*/ 85 w 184"/>
                    <a:gd name="T19" fmla="*/ 370 h 442"/>
                    <a:gd name="T20" fmla="*/ 85 w 184"/>
                    <a:gd name="T21" fmla="*/ 296 h 442"/>
                    <a:gd name="T22" fmla="*/ 19 w 184"/>
                    <a:gd name="T23" fmla="*/ 296 h 442"/>
                    <a:gd name="T24" fmla="*/ 19 w 184"/>
                    <a:gd name="T25" fmla="*/ 237 h 442"/>
                    <a:gd name="T26" fmla="*/ 85 w 184"/>
                    <a:gd name="T27" fmla="*/ 237 h 442"/>
                    <a:gd name="T28" fmla="*/ 85 w 184"/>
                    <a:gd name="T29" fmla="*/ 296 h 442"/>
                    <a:gd name="T30" fmla="*/ 85 w 184"/>
                    <a:gd name="T31" fmla="*/ 223 h 442"/>
                    <a:gd name="T32" fmla="*/ 19 w 184"/>
                    <a:gd name="T33" fmla="*/ 223 h 442"/>
                    <a:gd name="T34" fmla="*/ 19 w 184"/>
                    <a:gd name="T35" fmla="*/ 164 h 442"/>
                    <a:gd name="T36" fmla="*/ 85 w 184"/>
                    <a:gd name="T37" fmla="*/ 164 h 442"/>
                    <a:gd name="T38" fmla="*/ 85 w 184"/>
                    <a:gd name="T39" fmla="*/ 223 h 442"/>
                    <a:gd name="T40" fmla="*/ 85 w 184"/>
                    <a:gd name="T41" fmla="*/ 151 h 442"/>
                    <a:gd name="T42" fmla="*/ 19 w 184"/>
                    <a:gd name="T43" fmla="*/ 151 h 442"/>
                    <a:gd name="T44" fmla="*/ 19 w 184"/>
                    <a:gd name="T45" fmla="*/ 91 h 442"/>
                    <a:gd name="T46" fmla="*/ 85 w 184"/>
                    <a:gd name="T47" fmla="*/ 91 h 442"/>
                    <a:gd name="T48" fmla="*/ 85 w 184"/>
                    <a:gd name="T49" fmla="*/ 151 h 442"/>
                    <a:gd name="T50" fmla="*/ 85 w 184"/>
                    <a:gd name="T51" fmla="*/ 78 h 442"/>
                    <a:gd name="T52" fmla="*/ 19 w 184"/>
                    <a:gd name="T53" fmla="*/ 78 h 442"/>
                    <a:gd name="T54" fmla="*/ 19 w 184"/>
                    <a:gd name="T55" fmla="*/ 18 h 442"/>
                    <a:gd name="T56" fmla="*/ 85 w 184"/>
                    <a:gd name="T57" fmla="*/ 18 h 442"/>
                    <a:gd name="T58" fmla="*/ 85 w 184"/>
                    <a:gd name="T59" fmla="*/ 78 h 442"/>
                    <a:gd name="T60" fmla="*/ 164 w 184"/>
                    <a:gd name="T61" fmla="*/ 370 h 442"/>
                    <a:gd name="T62" fmla="*/ 99 w 184"/>
                    <a:gd name="T63" fmla="*/ 370 h 442"/>
                    <a:gd name="T64" fmla="*/ 99 w 184"/>
                    <a:gd name="T65" fmla="*/ 310 h 442"/>
                    <a:gd name="T66" fmla="*/ 164 w 184"/>
                    <a:gd name="T67" fmla="*/ 310 h 442"/>
                    <a:gd name="T68" fmla="*/ 164 w 184"/>
                    <a:gd name="T69" fmla="*/ 370 h 442"/>
                    <a:gd name="T70" fmla="*/ 164 w 184"/>
                    <a:gd name="T71" fmla="*/ 296 h 442"/>
                    <a:gd name="T72" fmla="*/ 99 w 184"/>
                    <a:gd name="T73" fmla="*/ 296 h 442"/>
                    <a:gd name="T74" fmla="*/ 99 w 184"/>
                    <a:gd name="T75" fmla="*/ 237 h 442"/>
                    <a:gd name="T76" fmla="*/ 164 w 184"/>
                    <a:gd name="T77" fmla="*/ 237 h 442"/>
                    <a:gd name="T78" fmla="*/ 164 w 184"/>
                    <a:gd name="T79" fmla="*/ 296 h 442"/>
                    <a:gd name="T80" fmla="*/ 164 w 184"/>
                    <a:gd name="T81" fmla="*/ 223 h 442"/>
                    <a:gd name="T82" fmla="*/ 99 w 184"/>
                    <a:gd name="T83" fmla="*/ 223 h 442"/>
                    <a:gd name="T84" fmla="*/ 99 w 184"/>
                    <a:gd name="T85" fmla="*/ 164 h 442"/>
                    <a:gd name="T86" fmla="*/ 164 w 184"/>
                    <a:gd name="T87" fmla="*/ 164 h 442"/>
                    <a:gd name="T88" fmla="*/ 164 w 184"/>
                    <a:gd name="T89" fmla="*/ 223 h 442"/>
                    <a:gd name="T90" fmla="*/ 164 w 184"/>
                    <a:gd name="T91" fmla="*/ 151 h 442"/>
                    <a:gd name="T92" fmla="*/ 99 w 184"/>
                    <a:gd name="T93" fmla="*/ 151 h 442"/>
                    <a:gd name="T94" fmla="*/ 99 w 184"/>
                    <a:gd name="T95" fmla="*/ 91 h 442"/>
                    <a:gd name="T96" fmla="*/ 164 w 184"/>
                    <a:gd name="T97" fmla="*/ 91 h 442"/>
                    <a:gd name="T98" fmla="*/ 164 w 184"/>
                    <a:gd name="T99" fmla="*/ 151 h 442"/>
                    <a:gd name="T100" fmla="*/ 164 w 184"/>
                    <a:gd name="T101" fmla="*/ 78 h 442"/>
                    <a:gd name="T102" fmla="*/ 99 w 184"/>
                    <a:gd name="T103" fmla="*/ 78 h 442"/>
                    <a:gd name="T104" fmla="*/ 99 w 184"/>
                    <a:gd name="T105" fmla="*/ 18 h 442"/>
                    <a:gd name="T106" fmla="*/ 164 w 184"/>
                    <a:gd name="T107" fmla="*/ 18 h 442"/>
                    <a:gd name="T108" fmla="*/ 164 w 184"/>
                    <a:gd name="T109" fmla="*/ 78 h 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4" h="442">
                      <a:moveTo>
                        <a:pt x="0" y="0"/>
                      </a:moveTo>
                      <a:lnTo>
                        <a:pt x="0" y="442"/>
                      </a:lnTo>
                      <a:lnTo>
                        <a:pt x="184" y="442"/>
                      </a:lnTo>
                      <a:lnTo>
                        <a:pt x="184" y="0"/>
                      </a:lnTo>
                      <a:lnTo>
                        <a:pt x="0" y="0"/>
                      </a:lnTo>
                      <a:close/>
                      <a:moveTo>
                        <a:pt x="85" y="370"/>
                      </a:moveTo>
                      <a:lnTo>
                        <a:pt x="19" y="370"/>
                      </a:lnTo>
                      <a:lnTo>
                        <a:pt x="19" y="310"/>
                      </a:lnTo>
                      <a:lnTo>
                        <a:pt x="85" y="310"/>
                      </a:lnTo>
                      <a:lnTo>
                        <a:pt x="85" y="370"/>
                      </a:lnTo>
                      <a:close/>
                      <a:moveTo>
                        <a:pt x="85" y="296"/>
                      </a:moveTo>
                      <a:lnTo>
                        <a:pt x="19" y="296"/>
                      </a:lnTo>
                      <a:lnTo>
                        <a:pt x="19" y="237"/>
                      </a:lnTo>
                      <a:lnTo>
                        <a:pt x="85" y="237"/>
                      </a:lnTo>
                      <a:lnTo>
                        <a:pt x="85" y="296"/>
                      </a:lnTo>
                      <a:close/>
                      <a:moveTo>
                        <a:pt x="85" y="223"/>
                      </a:moveTo>
                      <a:lnTo>
                        <a:pt x="19" y="223"/>
                      </a:lnTo>
                      <a:lnTo>
                        <a:pt x="19" y="164"/>
                      </a:lnTo>
                      <a:lnTo>
                        <a:pt x="85" y="164"/>
                      </a:lnTo>
                      <a:lnTo>
                        <a:pt x="85" y="223"/>
                      </a:lnTo>
                      <a:close/>
                      <a:moveTo>
                        <a:pt x="85" y="151"/>
                      </a:moveTo>
                      <a:lnTo>
                        <a:pt x="19" y="151"/>
                      </a:lnTo>
                      <a:lnTo>
                        <a:pt x="19" y="91"/>
                      </a:lnTo>
                      <a:lnTo>
                        <a:pt x="85" y="91"/>
                      </a:lnTo>
                      <a:lnTo>
                        <a:pt x="85" y="151"/>
                      </a:lnTo>
                      <a:close/>
                      <a:moveTo>
                        <a:pt x="85" y="78"/>
                      </a:moveTo>
                      <a:lnTo>
                        <a:pt x="19" y="78"/>
                      </a:lnTo>
                      <a:lnTo>
                        <a:pt x="19" y="18"/>
                      </a:lnTo>
                      <a:lnTo>
                        <a:pt x="85" y="18"/>
                      </a:lnTo>
                      <a:lnTo>
                        <a:pt x="85" y="78"/>
                      </a:lnTo>
                      <a:close/>
                      <a:moveTo>
                        <a:pt x="164" y="370"/>
                      </a:moveTo>
                      <a:lnTo>
                        <a:pt x="99" y="370"/>
                      </a:lnTo>
                      <a:lnTo>
                        <a:pt x="99" y="310"/>
                      </a:lnTo>
                      <a:lnTo>
                        <a:pt x="164" y="310"/>
                      </a:lnTo>
                      <a:lnTo>
                        <a:pt x="164" y="370"/>
                      </a:lnTo>
                      <a:close/>
                      <a:moveTo>
                        <a:pt x="164" y="296"/>
                      </a:moveTo>
                      <a:lnTo>
                        <a:pt x="99" y="296"/>
                      </a:lnTo>
                      <a:lnTo>
                        <a:pt x="99" y="237"/>
                      </a:lnTo>
                      <a:lnTo>
                        <a:pt x="164" y="237"/>
                      </a:lnTo>
                      <a:lnTo>
                        <a:pt x="164" y="296"/>
                      </a:lnTo>
                      <a:close/>
                      <a:moveTo>
                        <a:pt x="164" y="223"/>
                      </a:moveTo>
                      <a:lnTo>
                        <a:pt x="99" y="223"/>
                      </a:lnTo>
                      <a:lnTo>
                        <a:pt x="99" y="164"/>
                      </a:lnTo>
                      <a:lnTo>
                        <a:pt x="164" y="164"/>
                      </a:lnTo>
                      <a:lnTo>
                        <a:pt x="164" y="223"/>
                      </a:lnTo>
                      <a:close/>
                      <a:moveTo>
                        <a:pt x="164" y="151"/>
                      </a:moveTo>
                      <a:lnTo>
                        <a:pt x="99" y="151"/>
                      </a:lnTo>
                      <a:lnTo>
                        <a:pt x="99" y="91"/>
                      </a:lnTo>
                      <a:lnTo>
                        <a:pt x="164" y="91"/>
                      </a:lnTo>
                      <a:lnTo>
                        <a:pt x="164" y="151"/>
                      </a:lnTo>
                      <a:close/>
                      <a:moveTo>
                        <a:pt x="164" y="78"/>
                      </a:moveTo>
                      <a:lnTo>
                        <a:pt x="99" y="78"/>
                      </a:lnTo>
                      <a:lnTo>
                        <a:pt x="99" y="18"/>
                      </a:lnTo>
                      <a:lnTo>
                        <a:pt x="164" y="18"/>
                      </a:lnTo>
                      <a:lnTo>
                        <a:pt x="164" y="78"/>
                      </a:lnTo>
                      <a:close/>
                    </a:path>
                  </a:pathLst>
                </a:custGeom>
                <a:solidFill>
                  <a:srgbClr val="0070C0"/>
                </a:solidFill>
                <a:ln>
                  <a:noFill/>
                </a:ln>
              </p:spPr>
              <p:txBody>
                <a:bodyPr vert="horz" wrap="square" lIns="89604" tIns="44802" rIns="89604" bIns="44802"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a:defRPr/>
                  </a:pPr>
                  <a:endParaRPr lang="en-US" sz="2353">
                    <a:solidFill>
                      <a:srgbClr val="000000"/>
                    </a:solidFill>
                  </a:endParaRPr>
                </a:p>
              </p:txBody>
            </p:sp>
            <p:sp>
              <p:nvSpPr>
                <p:cNvPr id="111" name="Freeform 110"/>
                <p:cNvSpPr>
                  <a:spLocks noEditPoints="1"/>
                </p:cNvSpPr>
                <p:nvPr/>
              </p:nvSpPr>
              <p:spPr bwMode="auto">
                <a:xfrm>
                  <a:off x="3323066" y="5236638"/>
                  <a:ext cx="321181" cy="865616"/>
                </a:xfrm>
                <a:custGeom>
                  <a:avLst/>
                  <a:gdLst>
                    <a:gd name="T0" fmla="*/ 148 w 164"/>
                    <a:gd name="T1" fmla="*/ 181 h 442"/>
                    <a:gd name="T2" fmla="*/ 148 w 164"/>
                    <a:gd name="T3" fmla="*/ 136 h 442"/>
                    <a:gd name="T4" fmla="*/ 123 w 164"/>
                    <a:gd name="T5" fmla="*/ 136 h 442"/>
                    <a:gd name="T6" fmla="*/ 123 w 164"/>
                    <a:gd name="T7" fmla="*/ 84 h 442"/>
                    <a:gd name="T8" fmla="*/ 101 w 164"/>
                    <a:gd name="T9" fmla="*/ 84 h 442"/>
                    <a:gd name="T10" fmla="*/ 101 w 164"/>
                    <a:gd name="T11" fmla="*/ 45 h 442"/>
                    <a:gd name="T12" fmla="*/ 87 w 164"/>
                    <a:gd name="T13" fmla="*/ 45 h 442"/>
                    <a:gd name="T14" fmla="*/ 87 w 164"/>
                    <a:gd name="T15" fmla="*/ 0 h 442"/>
                    <a:gd name="T16" fmla="*/ 77 w 164"/>
                    <a:gd name="T17" fmla="*/ 0 h 442"/>
                    <a:gd name="T18" fmla="*/ 77 w 164"/>
                    <a:gd name="T19" fmla="*/ 45 h 442"/>
                    <a:gd name="T20" fmla="*/ 63 w 164"/>
                    <a:gd name="T21" fmla="*/ 45 h 442"/>
                    <a:gd name="T22" fmla="*/ 63 w 164"/>
                    <a:gd name="T23" fmla="*/ 84 h 442"/>
                    <a:gd name="T24" fmla="*/ 41 w 164"/>
                    <a:gd name="T25" fmla="*/ 84 h 442"/>
                    <a:gd name="T26" fmla="*/ 41 w 164"/>
                    <a:gd name="T27" fmla="*/ 136 h 442"/>
                    <a:gd name="T28" fmla="*/ 16 w 164"/>
                    <a:gd name="T29" fmla="*/ 136 h 442"/>
                    <a:gd name="T30" fmla="*/ 16 w 164"/>
                    <a:gd name="T31" fmla="*/ 181 h 442"/>
                    <a:gd name="T32" fmla="*/ 0 w 164"/>
                    <a:gd name="T33" fmla="*/ 181 h 442"/>
                    <a:gd name="T34" fmla="*/ 0 w 164"/>
                    <a:gd name="T35" fmla="*/ 442 h 442"/>
                    <a:gd name="T36" fmla="*/ 164 w 164"/>
                    <a:gd name="T37" fmla="*/ 442 h 442"/>
                    <a:gd name="T38" fmla="*/ 164 w 164"/>
                    <a:gd name="T39" fmla="*/ 181 h 442"/>
                    <a:gd name="T40" fmla="*/ 148 w 164"/>
                    <a:gd name="T41" fmla="*/ 181 h 442"/>
                    <a:gd name="T42" fmla="*/ 16 w 164"/>
                    <a:gd name="T43" fmla="*/ 207 h 442"/>
                    <a:gd name="T44" fmla="*/ 82 w 164"/>
                    <a:gd name="T45" fmla="*/ 207 h 442"/>
                    <a:gd name="T46" fmla="*/ 82 w 164"/>
                    <a:gd name="T47" fmla="*/ 266 h 442"/>
                    <a:gd name="T48" fmla="*/ 16 w 164"/>
                    <a:gd name="T49" fmla="*/ 266 h 442"/>
                    <a:gd name="T50" fmla="*/ 16 w 164"/>
                    <a:gd name="T51" fmla="*/ 207 h 442"/>
                    <a:gd name="T52" fmla="*/ 82 w 164"/>
                    <a:gd name="T53" fmla="*/ 411 h 442"/>
                    <a:gd name="T54" fmla="*/ 16 w 164"/>
                    <a:gd name="T55" fmla="*/ 411 h 442"/>
                    <a:gd name="T56" fmla="*/ 16 w 164"/>
                    <a:gd name="T57" fmla="*/ 352 h 442"/>
                    <a:gd name="T58" fmla="*/ 82 w 164"/>
                    <a:gd name="T59" fmla="*/ 352 h 442"/>
                    <a:gd name="T60" fmla="*/ 82 w 164"/>
                    <a:gd name="T61" fmla="*/ 411 h 442"/>
                    <a:gd name="T62" fmla="*/ 148 w 164"/>
                    <a:gd name="T63" fmla="*/ 340 h 442"/>
                    <a:gd name="T64" fmla="*/ 82 w 164"/>
                    <a:gd name="T65" fmla="*/ 340 h 442"/>
                    <a:gd name="T66" fmla="*/ 82 w 164"/>
                    <a:gd name="T67" fmla="*/ 280 h 442"/>
                    <a:gd name="T68" fmla="*/ 148 w 164"/>
                    <a:gd name="T69" fmla="*/ 280 h 442"/>
                    <a:gd name="T70" fmla="*/ 148 w 164"/>
                    <a:gd name="T71" fmla="*/ 340 h 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64" h="442">
                      <a:moveTo>
                        <a:pt x="148" y="181"/>
                      </a:moveTo>
                      <a:lnTo>
                        <a:pt x="148" y="136"/>
                      </a:lnTo>
                      <a:lnTo>
                        <a:pt x="123" y="136"/>
                      </a:lnTo>
                      <a:lnTo>
                        <a:pt x="123" y="84"/>
                      </a:lnTo>
                      <a:lnTo>
                        <a:pt x="101" y="84"/>
                      </a:lnTo>
                      <a:lnTo>
                        <a:pt x="101" y="45"/>
                      </a:lnTo>
                      <a:lnTo>
                        <a:pt x="87" y="45"/>
                      </a:lnTo>
                      <a:lnTo>
                        <a:pt x="87" y="0"/>
                      </a:lnTo>
                      <a:lnTo>
                        <a:pt x="77" y="0"/>
                      </a:lnTo>
                      <a:lnTo>
                        <a:pt x="77" y="45"/>
                      </a:lnTo>
                      <a:lnTo>
                        <a:pt x="63" y="45"/>
                      </a:lnTo>
                      <a:lnTo>
                        <a:pt x="63" y="84"/>
                      </a:lnTo>
                      <a:lnTo>
                        <a:pt x="41" y="84"/>
                      </a:lnTo>
                      <a:lnTo>
                        <a:pt x="41" y="136"/>
                      </a:lnTo>
                      <a:lnTo>
                        <a:pt x="16" y="136"/>
                      </a:lnTo>
                      <a:lnTo>
                        <a:pt x="16" y="181"/>
                      </a:lnTo>
                      <a:lnTo>
                        <a:pt x="0" y="181"/>
                      </a:lnTo>
                      <a:lnTo>
                        <a:pt x="0" y="442"/>
                      </a:lnTo>
                      <a:lnTo>
                        <a:pt x="164" y="442"/>
                      </a:lnTo>
                      <a:lnTo>
                        <a:pt x="164" y="181"/>
                      </a:lnTo>
                      <a:lnTo>
                        <a:pt x="148" y="181"/>
                      </a:lnTo>
                      <a:close/>
                      <a:moveTo>
                        <a:pt x="16" y="207"/>
                      </a:moveTo>
                      <a:lnTo>
                        <a:pt x="82" y="207"/>
                      </a:lnTo>
                      <a:lnTo>
                        <a:pt x="82" y="266"/>
                      </a:lnTo>
                      <a:lnTo>
                        <a:pt x="16" y="266"/>
                      </a:lnTo>
                      <a:lnTo>
                        <a:pt x="16" y="207"/>
                      </a:lnTo>
                      <a:close/>
                      <a:moveTo>
                        <a:pt x="82" y="411"/>
                      </a:moveTo>
                      <a:lnTo>
                        <a:pt x="16" y="411"/>
                      </a:lnTo>
                      <a:lnTo>
                        <a:pt x="16" y="352"/>
                      </a:lnTo>
                      <a:lnTo>
                        <a:pt x="82" y="352"/>
                      </a:lnTo>
                      <a:lnTo>
                        <a:pt x="82" y="411"/>
                      </a:lnTo>
                      <a:close/>
                      <a:moveTo>
                        <a:pt x="148" y="340"/>
                      </a:moveTo>
                      <a:lnTo>
                        <a:pt x="82" y="340"/>
                      </a:lnTo>
                      <a:lnTo>
                        <a:pt x="82" y="280"/>
                      </a:lnTo>
                      <a:lnTo>
                        <a:pt x="148" y="280"/>
                      </a:lnTo>
                      <a:lnTo>
                        <a:pt x="148" y="340"/>
                      </a:lnTo>
                      <a:close/>
                    </a:path>
                  </a:pathLst>
                </a:custGeom>
                <a:solidFill>
                  <a:srgbClr val="0070C0"/>
                </a:solidFill>
                <a:ln>
                  <a:noFill/>
                </a:ln>
              </p:spPr>
              <p:txBody>
                <a:bodyPr vert="horz" wrap="square" lIns="89604" tIns="44802" rIns="89604" bIns="44802"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a:defRPr/>
                  </a:pPr>
                  <a:endParaRPr lang="en-US" sz="2353">
                    <a:solidFill>
                      <a:srgbClr val="000000"/>
                    </a:solidFill>
                  </a:endParaRPr>
                </a:p>
              </p:txBody>
            </p:sp>
            <p:sp>
              <p:nvSpPr>
                <p:cNvPr id="112" name="Freeform 111"/>
                <p:cNvSpPr>
                  <a:spLocks noEditPoints="1"/>
                </p:cNvSpPr>
                <p:nvPr/>
              </p:nvSpPr>
              <p:spPr bwMode="auto">
                <a:xfrm>
                  <a:off x="4077052" y="5424647"/>
                  <a:ext cx="321181" cy="677609"/>
                </a:xfrm>
                <a:custGeom>
                  <a:avLst/>
                  <a:gdLst>
                    <a:gd name="T0" fmla="*/ 148 w 164"/>
                    <a:gd name="T1" fmla="*/ 181 h 346"/>
                    <a:gd name="T2" fmla="*/ 148 w 164"/>
                    <a:gd name="T3" fmla="*/ 136 h 346"/>
                    <a:gd name="T4" fmla="*/ 123 w 164"/>
                    <a:gd name="T5" fmla="*/ 136 h 346"/>
                    <a:gd name="T6" fmla="*/ 123 w 164"/>
                    <a:gd name="T7" fmla="*/ 82 h 346"/>
                    <a:gd name="T8" fmla="*/ 101 w 164"/>
                    <a:gd name="T9" fmla="*/ 82 h 346"/>
                    <a:gd name="T10" fmla="*/ 101 w 164"/>
                    <a:gd name="T11" fmla="*/ 45 h 346"/>
                    <a:gd name="T12" fmla="*/ 87 w 164"/>
                    <a:gd name="T13" fmla="*/ 45 h 346"/>
                    <a:gd name="T14" fmla="*/ 87 w 164"/>
                    <a:gd name="T15" fmla="*/ 0 h 346"/>
                    <a:gd name="T16" fmla="*/ 77 w 164"/>
                    <a:gd name="T17" fmla="*/ 0 h 346"/>
                    <a:gd name="T18" fmla="*/ 77 w 164"/>
                    <a:gd name="T19" fmla="*/ 45 h 346"/>
                    <a:gd name="T20" fmla="*/ 63 w 164"/>
                    <a:gd name="T21" fmla="*/ 45 h 346"/>
                    <a:gd name="T22" fmla="*/ 63 w 164"/>
                    <a:gd name="T23" fmla="*/ 82 h 346"/>
                    <a:gd name="T24" fmla="*/ 42 w 164"/>
                    <a:gd name="T25" fmla="*/ 82 h 346"/>
                    <a:gd name="T26" fmla="*/ 42 w 164"/>
                    <a:gd name="T27" fmla="*/ 136 h 346"/>
                    <a:gd name="T28" fmla="*/ 16 w 164"/>
                    <a:gd name="T29" fmla="*/ 136 h 346"/>
                    <a:gd name="T30" fmla="*/ 16 w 164"/>
                    <a:gd name="T31" fmla="*/ 181 h 346"/>
                    <a:gd name="T32" fmla="*/ 0 w 164"/>
                    <a:gd name="T33" fmla="*/ 181 h 346"/>
                    <a:gd name="T34" fmla="*/ 0 w 164"/>
                    <a:gd name="T35" fmla="*/ 346 h 346"/>
                    <a:gd name="T36" fmla="*/ 164 w 164"/>
                    <a:gd name="T37" fmla="*/ 346 h 346"/>
                    <a:gd name="T38" fmla="*/ 164 w 164"/>
                    <a:gd name="T39" fmla="*/ 181 h 346"/>
                    <a:gd name="T40" fmla="*/ 148 w 164"/>
                    <a:gd name="T41" fmla="*/ 181 h 346"/>
                    <a:gd name="T42" fmla="*/ 35 w 164"/>
                    <a:gd name="T43" fmla="*/ 158 h 346"/>
                    <a:gd name="T44" fmla="*/ 82 w 164"/>
                    <a:gd name="T45" fmla="*/ 158 h 346"/>
                    <a:gd name="T46" fmla="*/ 82 w 164"/>
                    <a:gd name="T47" fmla="*/ 200 h 346"/>
                    <a:gd name="T48" fmla="*/ 35 w 164"/>
                    <a:gd name="T49" fmla="*/ 200 h 346"/>
                    <a:gd name="T50" fmla="*/ 35 w 164"/>
                    <a:gd name="T51" fmla="*/ 158 h 346"/>
                    <a:gd name="T52" fmla="*/ 82 w 164"/>
                    <a:gd name="T53" fmla="*/ 302 h 346"/>
                    <a:gd name="T54" fmla="*/ 35 w 164"/>
                    <a:gd name="T55" fmla="*/ 302 h 346"/>
                    <a:gd name="T56" fmla="*/ 35 w 164"/>
                    <a:gd name="T57" fmla="*/ 260 h 346"/>
                    <a:gd name="T58" fmla="*/ 82 w 164"/>
                    <a:gd name="T59" fmla="*/ 260 h 346"/>
                    <a:gd name="T60" fmla="*/ 82 w 164"/>
                    <a:gd name="T61" fmla="*/ 302 h 346"/>
                    <a:gd name="T62" fmla="*/ 129 w 164"/>
                    <a:gd name="T63" fmla="*/ 251 h 346"/>
                    <a:gd name="T64" fmla="*/ 82 w 164"/>
                    <a:gd name="T65" fmla="*/ 251 h 346"/>
                    <a:gd name="T66" fmla="*/ 82 w 164"/>
                    <a:gd name="T67" fmla="*/ 209 h 346"/>
                    <a:gd name="T68" fmla="*/ 129 w 164"/>
                    <a:gd name="T69" fmla="*/ 209 h 346"/>
                    <a:gd name="T70" fmla="*/ 129 w 164"/>
                    <a:gd name="T71" fmla="*/ 251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64" h="346">
                      <a:moveTo>
                        <a:pt x="148" y="181"/>
                      </a:moveTo>
                      <a:lnTo>
                        <a:pt x="148" y="136"/>
                      </a:lnTo>
                      <a:lnTo>
                        <a:pt x="123" y="136"/>
                      </a:lnTo>
                      <a:lnTo>
                        <a:pt x="123" y="82"/>
                      </a:lnTo>
                      <a:lnTo>
                        <a:pt x="101" y="82"/>
                      </a:lnTo>
                      <a:lnTo>
                        <a:pt x="101" y="45"/>
                      </a:lnTo>
                      <a:lnTo>
                        <a:pt x="87" y="45"/>
                      </a:lnTo>
                      <a:lnTo>
                        <a:pt x="87" y="0"/>
                      </a:lnTo>
                      <a:lnTo>
                        <a:pt x="77" y="0"/>
                      </a:lnTo>
                      <a:lnTo>
                        <a:pt x="77" y="45"/>
                      </a:lnTo>
                      <a:lnTo>
                        <a:pt x="63" y="45"/>
                      </a:lnTo>
                      <a:lnTo>
                        <a:pt x="63" y="82"/>
                      </a:lnTo>
                      <a:lnTo>
                        <a:pt x="42" y="82"/>
                      </a:lnTo>
                      <a:lnTo>
                        <a:pt x="42" y="136"/>
                      </a:lnTo>
                      <a:lnTo>
                        <a:pt x="16" y="136"/>
                      </a:lnTo>
                      <a:lnTo>
                        <a:pt x="16" y="181"/>
                      </a:lnTo>
                      <a:lnTo>
                        <a:pt x="0" y="181"/>
                      </a:lnTo>
                      <a:lnTo>
                        <a:pt x="0" y="346"/>
                      </a:lnTo>
                      <a:lnTo>
                        <a:pt x="164" y="346"/>
                      </a:lnTo>
                      <a:lnTo>
                        <a:pt x="164" y="181"/>
                      </a:lnTo>
                      <a:lnTo>
                        <a:pt x="148" y="181"/>
                      </a:lnTo>
                      <a:close/>
                      <a:moveTo>
                        <a:pt x="35" y="158"/>
                      </a:moveTo>
                      <a:lnTo>
                        <a:pt x="82" y="158"/>
                      </a:lnTo>
                      <a:lnTo>
                        <a:pt x="82" y="200"/>
                      </a:lnTo>
                      <a:lnTo>
                        <a:pt x="35" y="200"/>
                      </a:lnTo>
                      <a:lnTo>
                        <a:pt x="35" y="158"/>
                      </a:lnTo>
                      <a:close/>
                      <a:moveTo>
                        <a:pt x="82" y="302"/>
                      </a:moveTo>
                      <a:lnTo>
                        <a:pt x="35" y="302"/>
                      </a:lnTo>
                      <a:lnTo>
                        <a:pt x="35" y="260"/>
                      </a:lnTo>
                      <a:lnTo>
                        <a:pt x="82" y="260"/>
                      </a:lnTo>
                      <a:lnTo>
                        <a:pt x="82" y="302"/>
                      </a:lnTo>
                      <a:close/>
                      <a:moveTo>
                        <a:pt x="129" y="251"/>
                      </a:moveTo>
                      <a:lnTo>
                        <a:pt x="82" y="251"/>
                      </a:lnTo>
                      <a:lnTo>
                        <a:pt x="82" y="209"/>
                      </a:lnTo>
                      <a:lnTo>
                        <a:pt x="129" y="209"/>
                      </a:lnTo>
                      <a:lnTo>
                        <a:pt x="129" y="251"/>
                      </a:lnTo>
                      <a:close/>
                    </a:path>
                  </a:pathLst>
                </a:custGeom>
                <a:solidFill>
                  <a:srgbClr val="0070C0"/>
                </a:solidFill>
                <a:ln>
                  <a:noFill/>
                </a:ln>
              </p:spPr>
              <p:txBody>
                <a:bodyPr vert="horz" wrap="square" lIns="89604" tIns="44802" rIns="89604" bIns="44802"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a:defRPr/>
                  </a:pPr>
                  <a:endParaRPr lang="en-US" sz="2353">
                    <a:solidFill>
                      <a:srgbClr val="000000"/>
                    </a:solidFill>
                  </a:endParaRPr>
                </a:p>
              </p:txBody>
            </p:sp>
            <p:sp>
              <p:nvSpPr>
                <p:cNvPr id="113" name="Freeform 112"/>
                <p:cNvSpPr>
                  <a:spLocks noEditPoints="1"/>
                </p:cNvSpPr>
                <p:nvPr/>
              </p:nvSpPr>
              <p:spPr bwMode="auto">
                <a:xfrm>
                  <a:off x="3679497" y="5365893"/>
                  <a:ext cx="362307" cy="736363"/>
                </a:xfrm>
                <a:custGeom>
                  <a:avLst/>
                  <a:gdLst>
                    <a:gd name="T0" fmla="*/ 0 w 185"/>
                    <a:gd name="T1" fmla="*/ 0 h 376"/>
                    <a:gd name="T2" fmla="*/ 0 w 185"/>
                    <a:gd name="T3" fmla="*/ 376 h 376"/>
                    <a:gd name="T4" fmla="*/ 185 w 185"/>
                    <a:gd name="T5" fmla="*/ 376 h 376"/>
                    <a:gd name="T6" fmla="*/ 185 w 185"/>
                    <a:gd name="T7" fmla="*/ 0 h 376"/>
                    <a:gd name="T8" fmla="*/ 0 w 185"/>
                    <a:gd name="T9" fmla="*/ 0 h 376"/>
                    <a:gd name="T10" fmla="*/ 86 w 185"/>
                    <a:gd name="T11" fmla="*/ 304 h 376"/>
                    <a:gd name="T12" fmla="*/ 20 w 185"/>
                    <a:gd name="T13" fmla="*/ 304 h 376"/>
                    <a:gd name="T14" fmla="*/ 20 w 185"/>
                    <a:gd name="T15" fmla="*/ 244 h 376"/>
                    <a:gd name="T16" fmla="*/ 86 w 185"/>
                    <a:gd name="T17" fmla="*/ 244 h 376"/>
                    <a:gd name="T18" fmla="*/ 86 w 185"/>
                    <a:gd name="T19" fmla="*/ 304 h 376"/>
                    <a:gd name="T20" fmla="*/ 86 w 185"/>
                    <a:gd name="T21" fmla="*/ 230 h 376"/>
                    <a:gd name="T22" fmla="*/ 20 w 185"/>
                    <a:gd name="T23" fmla="*/ 230 h 376"/>
                    <a:gd name="T24" fmla="*/ 20 w 185"/>
                    <a:gd name="T25" fmla="*/ 171 h 376"/>
                    <a:gd name="T26" fmla="*/ 86 w 185"/>
                    <a:gd name="T27" fmla="*/ 171 h 376"/>
                    <a:gd name="T28" fmla="*/ 86 w 185"/>
                    <a:gd name="T29" fmla="*/ 230 h 376"/>
                    <a:gd name="T30" fmla="*/ 86 w 185"/>
                    <a:gd name="T31" fmla="*/ 157 h 376"/>
                    <a:gd name="T32" fmla="*/ 20 w 185"/>
                    <a:gd name="T33" fmla="*/ 157 h 376"/>
                    <a:gd name="T34" fmla="*/ 20 w 185"/>
                    <a:gd name="T35" fmla="*/ 98 h 376"/>
                    <a:gd name="T36" fmla="*/ 86 w 185"/>
                    <a:gd name="T37" fmla="*/ 98 h 376"/>
                    <a:gd name="T38" fmla="*/ 86 w 185"/>
                    <a:gd name="T39" fmla="*/ 157 h 376"/>
                    <a:gd name="T40" fmla="*/ 86 w 185"/>
                    <a:gd name="T41" fmla="*/ 85 h 376"/>
                    <a:gd name="T42" fmla="*/ 20 w 185"/>
                    <a:gd name="T43" fmla="*/ 85 h 376"/>
                    <a:gd name="T44" fmla="*/ 20 w 185"/>
                    <a:gd name="T45" fmla="*/ 25 h 376"/>
                    <a:gd name="T46" fmla="*/ 86 w 185"/>
                    <a:gd name="T47" fmla="*/ 25 h 376"/>
                    <a:gd name="T48" fmla="*/ 86 w 185"/>
                    <a:gd name="T49" fmla="*/ 85 h 376"/>
                    <a:gd name="T50" fmla="*/ 166 w 185"/>
                    <a:gd name="T51" fmla="*/ 304 h 376"/>
                    <a:gd name="T52" fmla="*/ 99 w 185"/>
                    <a:gd name="T53" fmla="*/ 304 h 376"/>
                    <a:gd name="T54" fmla="*/ 99 w 185"/>
                    <a:gd name="T55" fmla="*/ 244 h 376"/>
                    <a:gd name="T56" fmla="*/ 166 w 185"/>
                    <a:gd name="T57" fmla="*/ 244 h 376"/>
                    <a:gd name="T58" fmla="*/ 166 w 185"/>
                    <a:gd name="T59" fmla="*/ 304 h 376"/>
                    <a:gd name="T60" fmla="*/ 166 w 185"/>
                    <a:gd name="T61" fmla="*/ 230 h 376"/>
                    <a:gd name="T62" fmla="*/ 99 w 185"/>
                    <a:gd name="T63" fmla="*/ 230 h 376"/>
                    <a:gd name="T64" fmla="*/ 99 w 185"/>
                    <a:gd name="T65" fmla="*/ 171 h 376"/>
                    <a:gd name="T66" fmla="*/ 166 w 185"/>
                    <a:gd name="T67" fmla="*/ 171 h 376"/>
                    <a:gd name="T68" fmla="*/ 166 w 185"/>
                    <a:gd name="T69" fmla="*/ 230 h 376"/>
                    <a:gd name="T70" fmla="*/ 166 w 185"/>
                    <a:gd name="T71" fmla="*/ 157 h 376"/>
                    <a:gd name="T72" fmla="*/ 99 w 185"/>
                    <a:gd name="T73" fmla="*/ 157 h 376"/>
                    <a:gd name="T74" fmla="*/ 99 w 185"/>
                    <a:gd name="T75" fmla="*/ 98 h 376"/>
                    <a:gd name="T76" fmla="*/ 166 w 185"/>
                    <a:gd name="T77" fmla="*/ 98 h 376"/>
                    <a:gd name="T78" fmla="*/ 166 w 185"/>
                    <a:gd name="T79" fmla="*/ 157 h 376"/>
                    <a:gd name="T80" fmla="*/ 166 w 185"/>
                    <a:gd name="T81" fmla="*/ 85 h 376"/>
                    <a:gd name="T82" fmla="*/ 99 w 185"/>
                    <a:gd name="T83" fmla="*/ 85 h 376"/>
                    <a:gd name="T84" fmla="*/ 99 w 185"/>
                    <a:gd name="T85" fmla="*/ 25 h 376"/>
                    <a:gd name="T86" fmla="*/ 166 w 185"/>
                    <a:gd name="T87" fmla="*/ 25 h 376"/>
                    <a:gd name="T88" fmla="*/ 166 w 185"/>
                    <a:gd name="T89" fmla="*/ 85 h 3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85" h="376">
                      <a:moveTo>
                        <a:pt x="0" y="0"/>
                      </a:moveTo>
                      <a:lnTo>
                        <a:pt x="0" y="376"/>
                      </a:lnTo>
                      <a:lnTo>
                        <a:pt x="185" y="376"/>
                      </a:lnTo>
                      <a:lnTo>
                        <a:pt x="185" y="0"/>
                      </a:lnTo>
                      <a:lnTo>
                        <a:pt x="0" y="0"/>
                      </a:lnTo>
                      <a:close/>
                      <a:moveTo>
                        <a:pt x="86" y="304"/>
                      </a:moveTo>
                      <a:lnTo>
                        <a:pt x="20" y="304"/>
                      </a:lnTo>
                      <a:lnTo>
                        <a:pt x="20" y="244"/>
                      </a:lnTo>
                      <a:lnTo>
                        <a:pt x="86" y="244"/>
                      </a:lnTo>
                      <a:lnTo>
                        <a:pt x="86" y="304"/>
                      </a:lnTo>
                      <a:close/>
                      <a:moveTo>
                        <a:pt x="86" y="230"/>
                      </a:moveTo>
                      <a:lnTo>
                        <a:pt x="20" y="230"/>
                      </a:lnTo>
                      <a:lnTo>
                        <a:pt x="20" y="171"/>
                      </a:lnTo>
                      <a:lnTo>
                        <a:pt x="86" y="171"/>
                      </a:lnTo>
                      <a:lnTo>
                        <a:pt x="86" y="230"/>
                      </a:lnTo>
                      <a:close/>
                      <a:moveTo>
                        <a:pt x="86" y="157"/>
                      </a:moveTo>
                      <a:lnTo>
                        <a:pt x="20" y="157"/>
                      </a:lnTo>
                      <a:lnTo>
                        <a:pt x="20" y="98"/>
                      </a:lnTo>
                      <a:lnTo>
                        <a:pt x="86" y="98"/>
                      </a:lnTo>
                      <a:lnTo>
                        <a:pt x="86" y="157"/>
                      </a:lnTo>
                      <a:close/>
                      <a:moveTo>
                        <a:pt x="86" y="85"/>
                      </a:moveTo>
                      <a:lnTo>
                        <a:pt x="20" y="85"/>
                      </a:lnTo>
                      <a:lnTo>
                        <a:pt x="20" y="25"/>
                      </a:lnTo>
                      <a:lnTo>
                        <a:pt x="86" y="25"/>
                      </a:lnTo>
                      <a:lnTo>
                        <a:pt x="86" y="85"/>
                      </a:lnTo>
                      <a:close/>
                      <a:moveTo>
                        <a:pt x="166" y="304"/>
                      </a:moveTo>
                      <a:lnTo>
                        <a:pt x="99" y="304"/>
                      </a:lnTo>
                      <a:lnTo>
                        <a:pt x="99" y="244"/>
                      </a:lnTo>
                      <a:lnTo>
                        <a:pt x="166" y="244"/>
                      </a:lnTo>
                      <a:lnTo>
                        <a:pt x="166" y="304"/>
                      </a:lnTo>
                      <a:close/>
                      <a:moveTo>
                        <a:pt x="166" y="230"/>
                      </a:moveTo>
                      <a:lnTo>
                        <a:pt x="99" y="230"/>
                      </a:lnTo>
                      <a:lnTo>
                        <a:pt x="99" y="171"/>
                      </a:lnTo>
                      <a:lnTo>
                        <a:pt x="166" y="171"/>
                      </a:lnTo>
                      <a:lnTo>
                        <a:pt x="166" y="230"/>
                      </a:lnTo>
                      <a:close/>
                      <a:moveTo>
                        <a:pt x="166" y="157"/>
                      </a:moveTo>
                      <a:lnTo>
                        <a:pt x="99" y="157"/>
                      </a:lnTo>
                      <a:lnTo>
                        <a:pt x="99" y="98"/>
                      </a:lnTo>
                      <a:lnTo>
                        <a:pt x="166" y="98"/>
                      </a:lnTo>
                      <a:lnTo>
                        <a:pt x="166" y="157"/>
                      </a:lnTo>
                      <a:close/>
                      <a:moveTo>
                        <a:pt x="166" y="85"/>
                      </a:moveTo>
                      <a:lnTo>
                        <a:pt x="99" y="85"/>
                      </a:lnTo>
                      <a:lnTo>
                        <a:pt x="99" y="25"/>
                      </a:lnTo>
                      <a:lnTo>
                        <a:pt x="166" y="25"/>
                      </a:lnTo>
                      <a:lnTo>
                        <a:pt x="166" y="85"/>
                      </a:lnTo>
                      <a:close/>
                    </a:path>
                  </a:pathLst>
                </a:custGeom>
                <a:solidFill>
                  <a:srgbClr val="0070C0"/>
                </a:solidFill>
                <a:ln>
                  <a:noFill/>
                </a:ln>
              </p:spPr>
              <p:txBody>
                <a:bodyPr vert="horz" wrap="square" lIns="89604" tIns="44802" rIns="89604" bIns="44802"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a:defRPr/>
                  </a:pPr>
                  <a:endParaRPr lang="en-US" sz="2353">
                    <a:solidFill>
                      <a:srgbClr val="000000"/>
                    </a:solidFill>
                  </a:endParaRPr>
                </a:p>
              </p:txBody>
            </p:sp>
          </p:grpSp>
          <p:sp>
            <p:nvSpPr>
              <p:cNvPr id="103" name="Freeform 102"/>
              <p:cNvSpPr>
                <a:spLocks/>
              </p:cNvSpPr>
              <p:nvPr/>
            </p:nvSpPr>
            <p:spPr bwMode="auto">
              <a:xfrm>
                <a:off x="5903946" y="5783312"/>
                <a:ext cx="7256213" cy="109835"/>
              </a:xfrm>
              <a:custGeom>
                <a:avLst/>
                <a:gdLst>
                  <a:gd name="T0" fmla="*/ 2028 w 2087"/>
                  <a:gd name="T1" fmla="*/ 139 h 139"/>
                  <a:gd name="T2" fmla="*/ 59 w 2087"/>
                  <a:gd name="T3" fmla="*/ 139 h 139"/>
                  <a:gd name="T4" fmla="*/ 26 w 2087"/>
                  <a:gd name="T5" fmla="*/ 65 h 139"/>
                  <a:gd name="T6" fmla="*/ 73 w 2087"/>
                  <a:gd name="T7" fmla="*/ 14 h 139"/>
                  <a:gd name="T8" fmla="*/ 106 w 2087"/>
                  <a:gd name="T9" fmla="*/ 0 h 139"/>
                  <a:gd name="T10" fmla="*/ 1981 w 2087"/>
                  <a:gd name="T11" fmla="*/ 0 h 139"/>
                  <a:gd name="T12" fmla="*/ 2014 w 2087"/>
                  <a:gd name="T13" fmla="*/ 14 h 139"/>
                  <a:gd name="T14" fmla="*/ 2061 w 2087"/>
                  <a:gd name="T15" fmla="*/ 65 h 139"/>
                  <a:gd name="T16" fmla="*/ 2028 w 2087"/>
                  <a:gd name="T17" fmla="*/ 139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87" h="139">
                    <a:moveTo>
                      <a:pt x="2028" y="139"/>
                    </a:moveTo>
                    <a:cubicBezTo>
                      <a:pt x="59" y="139"/>
                      <a:pt x="59" y="139"/>
                      <a:pt x="59" y="139"/>
                    </a:cubicBezTo>
                    <a:cubicBezTo>
                      <a:pt x="20" y="139"/>
                      <a:pt x="0" y="94"/>
                      <a:pt x="26" y="65"/>
                    </a:cubicBezTo>
                    <a:cubicBezTo>
                      <a:pt x="73" y="14"/>
                      <a:pt x="73" y="14"/>
                      <a:pt x="73" y="14"/>
                    </a:cubicBezTo>
                    <a:cubicBezTo>
                      <a:pt x="82" y="5"/>
                      <a:pt x="94" y="0"/>
                      <a:pt x="106" y="0"/>
                    </a:cubicBezTo>
                    <a:cubicBezTo>
                      <a:pt x="1981" y="0"/>
                      <a:pt x="1981" y="0"/>
                      <a:pt x="1981" y="0"/>
                    </a:cubicBezTo>
                    <a:cubicBezTo>
                      <a:pt x="1994" y="0"/>
                      <a:pt x="2006" y="5"/>
                      <a:pt x="2014" y="14"/>
                    </a:cubicBezTo>
                    <a:cubicBezTo>
                      <a:pt x="2061" y="65"/>
                      <a:pt x="2061" y="65"/>
                      <a:pt x="2061" y="65"/>
                    </a:cubicBezTo>
                    <a:cubicBezTo>
                      <a:pt x="2087" y="94"/>
                      <a:pt x="2067" y="139"/>
                      <a:pt x="2028" y="139"/>
                    </a:cubicBezTo>
                    <a:close/>
                  </a:path>
                </a:pathLst>
              </a:custGeom>
              <a:solidFill>
                <a:srgbClr val="DDDCD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a:defRPr/>
                </a:pPr>
                <a:endParaRPr lang="en-US" sz="2353">
                  <a:solidFill>
                    <a:srgbClr val="000000"/>
                  </a:solidFill>
                </a:endParaRPr>
              </a:p>
            </p:txBody>
          </p:sp>
          <p:sp>
            <p:nvSpPr>
              <p:cNvPr id="104" name="Freeform 103"/>
              <p:cNvSpPr>
                <a:spLocks noChangeAspect="1"/>
              </p:cNvSpPr>
              <p:nvPr/>
            </p:nvSpPr>
            <p:spPr bwMode="auto">
              <a:xfrm>
                <a:off x="9223542" y="424970"/>
                <a:ext cx="3562140" cy="2188888"/>
              </a:xfrm>
              <a:custGeom>
                <a:avLst/>
                <a:gdLst>
                  <a:gd name="T0" fmla="*/ 860 w 994"/>
                  <a:gd name="T1" fmla="*/ 342 h 610"/>
                  <a:gd name="T2" fmla="*/ 858 w 994"/>
                  <a:gd name="T3" fmla="*/ 342 h 610"/>
                  <a:gd name="T4" fmla="*/ 860 w 994"/>
                  <a:gd name="T5" fmla="*/ 305 h 610"/>
                  <a:gd name="T6" fmla="*/ 555 w 994"/>
                  <a:gd name="T7" fmla="*/ 0 h 610"/>
                  <a:gd name="T8" fmla="*/ 272 w 994"/>
                  <a:gd name="T9" fmla="*/ 193 h 610"/>
                  <a:gd name="T10" fmla="*/ 212 w 994"/>
                  <a:gd name="T11" fmla="*/ 185 h 610"/>
                  <a:gd name="T12" fmla="*/ 0 w 994"/>
                  <a:gd name="T13" fmla="*/ 397 h 610"/>
                  <a:gd name="T14" fmla="*/ 212 w 994"/>
                  <a:gd name="T15" fmla="*/ 610 h 610"/>
                  <a:gd name="T16" fmla="*/ 860 w 994"/>
                  <a:gd name="T17" fmla="*/ 610 h 610"/>
                  <a:gd name="T18" fmla="*/ 994 w 994"/>
                  <a:gd name="T19" fmla="*/ 476 h 610"/>
                  <a:gd name="T20" fmla="*/ 860 w 994"/>
                  <a:gd name="T21" fmla="*/ 342 h 6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94" h="610">
                    <a:moveTo>
                      <a:pt x="860" y="342"/>
                    </a:moveTo>
                    <a:cubicBezTo>
                      <a:pt x="859" y="342"/>
                      <a:pt x="858" y="342"/>
                      <a:pt x="858" y="342"/>
                    </a:cubicBezTo>
                    <a:cubicBezTo>
                      <a:pt x="859" y="330"/>
                      <a:pt x="860" y="318"/>
                      <a:pt x="860" y="305"/>
                    </a:cubicBezTo>
                    <a:cubicBezTo>
                      <a:pt x="860" y="137"/>
                      <a:pt x="723" y="0"/>
                      <a:pt x="555" y="0"/>
                    </a:cubicBezTo>
                    <a:cubicBezTo>
                      <a:pt x="426" y="0"/>
                      <a:pt x="316" y="80"/>
                      <a:pt x="272" y="193"/>
                    </a:cubicBezTo>
                    <a:cubicBezTo>
                      <a:pt x="253" y="188"/>
                      <a:pt x="233" y="185"/>
                      <a:pt x="212" y="185"/>
                    </a:cubicBezTo>
                    <a:cubicBezTo>
                      <a:pt x="95" y="185"/>
                      <a:pt x="0" y="280"/>
                      <a:pt x="0" y="397"/>
                    </a:cubicBezTo>
                    <a:cubicBezTo>
                      <a:pt x="0" y="515"/>
                      <a:pt x="95" y="610"/>
                      <a:pt x="212" y="610"/>
                    </a:cubicBezTo>
                    <a:cubicBezTo>
                      <a:pt x="860" y="610"/>
                      <a:pt x="860" y="610"/>
                      <a:pt x="860" y="610"/>
                    </a:cubicBezTo>
                    <a:cubicBezTo>
                      <a:pt x="934" y="610"/>
                      <a:pt x="994" y="550"/>
                      <a:pt x="994" y="476"/>
                    </a:cubicBezTo>
                    <a:cubicBezTo>
                      <a:pt x="994" y="402"/>
                      <a:pt x="934" y="342"/>
                      <a:pt x="860" y="342"/>
                    </a:cubicBezTo>
                    <a:close/>
                  </a:path>
                </a:pathLst>
              </a:custGeom>
              <a:solidFill>
                <a:schemeClr val="accent3">
                  <a:lumMod val="40000"/>
                  <a:lumOff val="60000"/>
                </a:scheme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defTabSz="913330" fontAlgn="base">
                  <a:spcBef>
                    <a:spcPct val="0"/>
                  </a:spcBef>
                  <a:spcAft>
                    <a:spcPct val="0"/>
                  </a:spcAft>
                </a:pPr>
                <a:endParaRPr lang="en-US" sz="2353">
                  <a:solidFill>
                    <a:srgbClr val="000000"/>
                  </a:solidFill>
                  <a:ea typeface="MS PGothic" charset="0"/>
                  <a:cs typeface="MS PGothic" charset="0"/>
                </a:endParaRPr>
              </a:p>
            </p:txBody>
          </p:sp>
          <p:sp>
            <p:nvSpPr>
              <p:cNvPr id="105" name="Freeform 104"/>
              <p:cNvSpPr>
                <a:spLocks noChangeAspect="1"/>
              </p:cNvSpPr>
              <p:nvPr/>
            </p:nvSpPr>
            <p:spPr bwMode="auto">
              <a:xfrm>
                <a:off x="9661060" y="1294762"/>
                <a:ext cx="3430209" cy="1552333"/>
              </a:xfrm>
              <a:custGeom>
                <a:avLst/>
                <a:gdLst>
                  <a:gd name="T0" fmla="*/ 951 w 1004"/>
                  <a:gd name="T1" fmla="*/ 296 h 454"/>
                  <a:gd name="T2" fmla="*/ 809 w 1004"/>
                  <a:gd name="T3" fmla="*/ 168 h 454"/>
                  <a:gd name="T4" fmla="*/ 730 w 1004"/>
                  <a:gd name="T5" fmla="*/ 191 h 454"/>
                  <a:gd name="T6" fmla="*/ 506 w 1004"/>
                  <a:gd name="T7" fmla="*/ 0 h 454"/>
                  <a:gd name="T8" fmla="*/ 286 w 1004"/>
                  <a:gd name="T9" fmla="*/ 169 h 454"/>
                  <a:gd name="T10" fmla="*/ 266 w 1004"/>
                  <a:gd name="T11" fmla="*/ 168 h 454"/>
                  <a:gd name="T12" fmla="*/ 133 w 1004"/>
                  <a:gd name="T13" fmla="*/ 256 h 454"/>
                  <a:gd name="T14" fmla="*/ 102 w 1004"/>
                  <a:gd name="T15" fmla="*/ 251 h 454"/>
                  <a:gd name="T16" fmla="*/ 0 w 1004"/>
                  <a:gd name="T17" fmla="*/ 353 h 454"/>
                  <a:gd name="T18" fmla="*/ 102 w 1004"/>
                  <a:gd name="T19" fmla="*/ 454 h 454"/>
                  <a:gd name="T20" fmla="*/ 921 w 1004"/>
                  <a:gd name="T21" fmla="*/ 454 h 454"/>
                  <a:gd name="T22" fmla="*/ 1004 w 1004"/>
                  <a:gd name="T23" fmla="*/ 372 h 454"/>
                  <a:gd name="T24" fmla="*/ 951 w 1004"/>
                  <a:gd name="T25" fmla="*/ 296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04" h="454">
                    <a:moveTo>
                      <a:pt x="951" y="296"/>
                    </a:moveTo>
                    <a:cubicBezTo>
                      <a:pt x="944" y="224"/>
                      <a:pt x="883" y="168"/>
                      <a:pt x="809" y="168"/>
                    </a:cubicBezTo>
                    <a:cubicBezTo>
                      <a:pt x="780" y="168"/>
                      <a:pt x="753" y="176"/>
                      <a:pt x="730" y="191"/>
                    </a:cubicBezTo>
                    <a:cubicBezTo>
                      <a:pt x="713" y="83"/>
                      <a:pt x="619" y="0"/>
                      <a:pt x="506" y="0"/>
                    </a:cubicBezTo>
                    <a:cubicBezTo>
                      <a:pt x="401" y="0"/>
                      <a:pt x="312" y="72"/>
                      <a:pt x="286" y="169"/>
                    </a:cubicBezTo>
                    <a:cubicBezTo>
                      <a:pt x="280" y="168"/>
                      <a:pt x="273" y="168"/>
                      <a:pt x="266" y="168"/>
                    </a:cubicBezTo>
                    <a:cubicBezTo>
                      <a:pt x="206" y="168"/>
                      <a:pt x="155" y="204"/>
                      <a:pt x="133" y="256"/>
                    </a:cubicBezTo>
                    <a:cubicBezTo>
                      <a:pt x="123" y="253"/>
                      <a:pt x="113" y="251"/>
                      <a:pt x="102" y="251"/>
                    </a:cubicBezTo>
                    <a:cubicBezTo>
                      <a:pt x="45" y="251"/>
                      <a:pt x="0" y="297"/>
                      <a:pt x="0" y="353"/>
                    </a:cubicBezTo>
                    <a:cubicBezTo>
                      <a:pt x="0" y="409"/>
                      <a:pt x="45" y="454"/>
                      <a:pt x="102" y="454"/>
                    </a:cubicBezTo>
                    <a:cubicBezTo>
                      <a:pt x="921" y="454"/>
                      <a:pt x="921" y="454"/>
                      <a:pt x="921" y="454"/>
                    </a:cubicBezTo>
                    <a:cubicBezTo>
                      <a:pt x="967" y="454"/>
                      <a:pt x="1004" y="417"/>
                      <a:pt x="1004" y="372"/>
                    </a:cubicBezTo>
                    <a:cubicBezTo>
                      <a:pt x="1004" y="337"/>
                      <a:pt x="982" y="308"/>
                      <a:pt x="951" y="296"/>
                    </a:cubicBezTo>
                    <a:close/>
                  </a:path>
                </a:pathLst>
              </a:custGeom>
              <a:solidFill>
                <a:schemeClr val="accent3">
                  <a:lumMod val="20000"/>
                  <a:lumOff val="80000"/>
                </a:scheme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a:defRPr/>
                </a:pPr>
                <a:endParaRPr lang="en-US" sz="2353">
                  <a:solidFill>
                    <a:srgbClr val="000000"/>
                  </a:solidFill>
                </a:endParaRPr>
              </a:p>
            </p:txBody>
          </p:sp>
          <p:pic>
            <p:nvPicPr>
              <p:cNvPr id="106" name="Picture 105"/>
              <p:cNvPicPr>
                <a:picLocks noChangeAspect="1"/>
              </p:cNvPicPr>
              <p:nvPr/>
            </p:nvPicPr>
            <p:blipFill>
              <a:blip r:embed="rId5" cstate="screen">
                <a:extLst>
                  <a:ext uri="{28A0092B-C50C-407E-A947-70E740481C1C}">
                    <a14:useLocalDpi xmlns:a14="http://schemas.microsoft.com/office/drawing/2010/main" val="0"/>
                  </a:ext>
                </a:extLst>
              </a:blip>
              <a:stretch>
                <a:fillRect/>
              </a:stretch>
            </p:blipFill>
            <p:spPr>
              <a:xfrm>
                <a:off x="6954402" y="1140650"/>
                <a:ext cx="3034416" cy="1706858"/>
              </a:xfrm>
              <a:prstGeom prst="rect">
                <a:avLst/>
              </a:prstGeom>
              <a:ln>
                <a:noFill/>
              </a:ln>
              <a:effectLst>
                <a:outerShdw blurRad="292100" dist="139700" dir="2700000" algn="tl" rotWithShape="0">
                  <a:srgbClr val="333333">
                    <a:alpha val="65000"/>
                  </a:srgbClr>
                </a:outerShdw>
              </a:effectLst>
            </p:spPr>
          </p:pic>
          <p:sp>
            <p:nvSpPr>
              <p:cNvPr id="107" name="TextBox 106"/>
              <p:cNvSpPr txBox="1"/>
              <p:nvPr/>
            </p:nvSpPr>
            <p:spPr>
              <a:xfrm>
                <a:off x="4840804" y="1188916"/>
                <a:ext cx="2334211" cy="793195"/>
              </a:xfrm>
              <a:prstGeom prst="rect">
                <a:avLst/>
              </a:prstGeom>
              <a:noFill/>
            </p:spPr>
            <p:txBody>
              <a:bodyPr wrap="square" lIns="179208" tIns="143366" rIns="179208" bIns="143366" rtlCol="0">
                <a:noAutofit/>
              </a:bodyPr>
              <a:lstStyle/>
              <a:p>
                <a:pPr marL="335951" indent="-335951" defTabSz="912979" fontAlgn="base">
                  <a:lnSpc>
                    <a:spcPct val="90000"/>
                  </a:lnSpc>
                  <a:spcBef>
                    <a:spcPct val="0"/>
                  </a:spcBef>
                  <a:spcAft>
                    <a:spcPts val="588"/>
                  </a:spcAft>
                  <a:buFont typeface="Wingdings 3" panose="05040102010807070707" pitchFamily="18" charset="2"/>
                  <a:buChar char="Æ"/>
                </a:pPr>
                <a:endParaRPr lang="en-US" sz="2353" err="1">
                  <a:gradFill>
                    <a:gsLst>
                      <a:gs pos="2917">
                        <a:srgbClr val="000000"/>
                      </a:gs>
                      <a:gs pos="30000">
                        <a:srgbClr val="000000"/>
                      </a:gs>
                    </a:gsLst>
                    <a:lin ang="5400000" scaled="0"/>
                  </a:gradFill>
                  <a:ea typeface="MS PGothic" charset="0"/>
                </a:endParaRPr>
              </a:p>
            </p:txBody>
          </p:sp>
          <p:sp>
            <p:nvSpPr>
              <p:cNvPr id="108" name="TextBox 107"/>
              <p:cNvSpPr txBox="1"/>
              <p:nvPr/>
            </p:nvSpPr>
            <p:spPr>
              <a:xfrm>
                <a:off x="11259438" y="3446358"/>
                <a:ext cx="1761097" cy="194999"/>
              </a:xfrm>
              <a:prstGeom prst="rect">
                <a:avLst/>
              </a:prstGeom>
              <a:noFill/>
            </p:spPr>
            <p:txBody>
              <a:bodyPr wrap="square" lIns="179259" tIns="143407" rIns="179259" bIns="143407" rtlCol="0" anchor="ctr">
                <a:noAutofit/>
              </a:bodyPr>
              <a:lstStyle/>
              <a:p>
                <a:pPr defTabSz="914192">
                  <a:lnSpc>
                    <a:spcPct val="90000"/>
                  </a:lnSpc>
                  <a:spcAft>
                    <a:spcPts val="588"/>
                  </a:spcAft>
                  <a:defRPr/>
                </a:pPr>
                <a:r>
                  <a:rPr lang="en-US" sz="1175" kern="0">
                    <a:gradFill>
                      <a:gsLst>
                        <a:gs pos="2917">
                          <a:srgbClr val="000000"/>
                        </a:gs>
                        <a:gs pos="30000">
                          <a:srgbClr val="000000"/>
                        </a:gs>
                      </a:gsLst>
                      <a:lin ang="5400000" scaled="0"/>
                    </a:gradFill>
                  </a:rPr>
                  <a:t>Cloud</a:t>
                </a:r>
              </a:p>
            </p:txBody>
          </p:sp>
          <p:sp>
            <p:nvSpPr>
              <p:cNvPr id="109" name="TextBox 108"/>
              <p:cNvSpPr txBox="1"/>
              <p:nvPr/>
            </p:nvSpPr>
            <p:spPr>
              <a:xfrm>
                <a:off x="11047419" y="3894427"/>
                <a:ext cx="1761094" cy="194999"/>
              </a:xfrm>
              <a:prstGeom prst="rect">
                <a:avLst/>
              </a:prstGeom>
              <a:noFill/>
            </p:spPr>
            <p:txBody>
              <a:bodyPr wrap="square" lIns="179259" tIns="143407" rIns="179259" bIns="143407" rtlCol="0" anchor="ctr">
                <a:noAutofit/>
              </a:bodyPr>
              <a:lstStyle/>
              <a:p>
                <a:pPr defTabSz="914192">
                  <a:lnSpc>
                    <a:spcPct val="90000"/>
                  </a:lnSpc>
                  <a:spcAft>
                    <a:spcPts val="588"/>
                  </a:spcAft>
                  <a:defRPr/>
                </a:pPr>
                <a:r>
                  <a:rPr lang="en-US" sz="1175" kern="0">
                    <a:gradFill>
                      <a:gsLst>
                        <a:gs pos="2917">
                          <a:srgbClr val="000000"/>
                        </a:gs>
                        <a:gs pos="30000">
                          <a:srgbClr val="000000"/>
                        </a:gs>
                      </a:gsLst>
                      <a:lin ang="5400000" scaled="0"/>
                    </a:gradFill>
                  </a:rPr>
                  <a:t>On-premises</a:t>
                </a:r>
              </a:p>
            </p:txBody>
          </p:sp>
        </p:grpSp>
        <p:sp>
          <p:nvSpPr>
            <p:cNvPr id="99" name="TextBox 98"/>
            <p:cNvSpPr txBox="1"/>
            <p:nvPr/>
          </p:nvSpPr>
          <p:spPr>
            <a:xfrm>
              <a:off x="7800004" y="3247211"/>
              <a:ext cx="1744447" cy="763925"/>
            </a:xfrm>
            <a:prstGeom prst="rect">
              <a:avLst/>
            </a:prstGeom>
            <a:solidFill>
              <a:schemeClr val="bg1"/>
            </a:solidFill>
            <a:ln>
              <a:solidFill>
                <a:schemeClr val="accent3">
                  <a:lumMod val="20000"/>
                  <a:lumOff val="80000"/>
                </a:schemeClr>
              </a:solidFill>
            </a:ln>
          </p:spPr>
          <p:txBody>
            <a:bodyPr wrap="square" lIns="179208" tIns="143366" rIns="179208" bIns="143366" rtlCol="0" anchor="ctr">
              <a:noAutofit/>
            </a:bodyPr>
            <a:lstStyle/>
            <a:p>
              <a:pPr algn="ctr" defTabSz="912979" fontAlgn="base">
                <a:lnSpc>
                  <a:spcPct val="90000"/>
                </a:lnSpc>
                <a:spcBef>
                  <a:spcPct val="0"/>
                </a:spcBef>
                <a:spcAft>
                  <a:spcPts val="588"/>
                </a:spcAft>
              </a:pPr>
              <a:r>
                <a:rPr lang="en-US" sz="1176">
                  <a:gradFill>
                    <a:gsLst>
                      <a:gs pos="87611">
                        <a:srgbClr val="00BCF2"/>
                      </a:gs>
                      <a:gs pos="72000">
                        <a:srgbClr val="00BCF2"/>
                      </a:gs>
                    </a:gsLst>
                    <a:lin ang="5400000" scaled="0"/>
                  </a:gradFill>
                  <a:latin typeface="Segoe UI Semibold" panose="020B0702040204020203" pitchFamily="34" charset="0"/>
                  <a:ea typeface="MS PGothic" charset="0"/>
                  <a:cs typeface="Segoe UI Semibold" panose="020B0702040204020203" pitchFamily="34" charset="0"/>
                </a:rPr>
                <a:t>Scheduled Refresh</a:t>
              </a:r>
            </a:p>
            <a:p>
              <a:pPr algn="ctr" defTabSz="912979" fontAlgn="base">
                <a:lnSpc>
                  <a:spcPct val="90000"/>
                </a:lnSpc>
                <a:spcBef>
                  <a:spcPct val="0"/>
                </a:spcBef>
                <a:spcAft>
                  <a:spcPts val="588"/>
                </a:spcAft>
              </a:pPr>
              <a:endParaRPr lang="en-US" sz="1176">
                <a:gradFill>
                  <a:gsLst>
                    <a:gs pos="87611">
                      <a:srgbClr val="00BCF2"/>
                    </a:gs>
                    <a:gs pos="72000">
                      <a:srgbClr val="00BCF2"/>
                    </a:gs>
                  </a:gsLst>
                  <a:lin ang="5400000" scaled="0"/>
                </a:gradFill>
                <a:latin typeface="Segoe UI Semibold" panose="020B0702040204020203" pitchFamily="34" charset="0"/>
                <a:ea typeface="MS PGothic" charset="0"/>
                <a:cs typeface="Segoe UI Semibold" panose="020B0702040204020203" pitchFamily="34" charset="0"/>
              </a:endParaRPr>
            </a:p>
            <a:p>
              <a:pPr algn="ctr" defTabSz="912979" fontAlgn="base">
                <a:lnSpc>
                  <a:spcPct val="90000"/>
                </a:lnSpc>
                <a:spcBef>
                  <a:spcPct val="0"/>
                </a:spcBef>
                <a:spcAft>
                  <a:spcPts val="588"/>
                </a:spcAft>
              </a:pPr>
              <a:r>
                <a:rPr lang="en-US" sz="1176">
                  <a:gradFill>
                    <a:gsLst>
                      <a:gs pos="87611">
                        <a:srgbClr val="00BCF2"/>
                      </a:gs>
                      <a:gs pos="72000">
                        <a:srgbClr val="00BCF2"/>
                      </a:gs>
                    </a:gsLst>
                    <a:lin ang="5400000" scaled="0"/>
                  </a:gradFill>
                  <a:latin typeface="Segoe UI Semibold" panose="020B0702040204020203" pitchFamily="34" charset="0"/>
                  <a:ea typeface="MS PGothic" charset="0"/>
                  <a:cs typeface="Segoe UI Semibold" panose="020B0702040204020203" pitchFamily="34" charset="0"/>
                </a:rPr>
                <a:t>Installed locally</a:t>
              </a:r>
            </a:p>
          </p:txBody>
        </p:sp>
        <p:sp>
          <p:nvSpPr>
            <p:cNvPr id="100" name="Freeform 5"/>
            <p:cNvSpPr>
              <a:spLocks noEditPoints="1"/>
            </p:cNvSpPr>
            <p:nvPr/>
          </p:nvSpPr>
          <p:spPr bwMode="auto">
            <a:xfrm>
              <a:off x="8526905" y="3477473"/>
              <a:ext cx="285048" cy="285158"/>
            </a:xfrm>
            <a:custGeom>
              <a:avLst/>
              <a:gdLst>
                <a:gd name="T0" fmla="*/ 1131 w 2204"/>
                <a:gd name="T1" fmla="*/ 1075 h 2204"/>
                <a:gd name="T2" fmla="*/ 849 w 2204"/>
                <a:gd name="T3" fmla="*/ 764 h 2204"/>
                <a:gd name="T4" fmla="*/ 849 w 2204"/>
                <a:gd name="T5" fmla="*/ 1470 h 2204"/>
                <a:gd name="T6" fmla="*/ 645 w 2204"/>
                <a:gd name="T7" fmla="*/ 1470 h 2204"/>
                <a:gd name="T8" fmla="*/ 645 w 2204"/>
                <a:gd name="T9" fmla="*/ 764 h 2204"/>
                <a:gd name="T10" fmla="*/ 344 w 2204"/>
                <a:gd name="T11" fmla="*/ 1075 h 2204"/>
                <a:gd name="T12" fmla="*/ 344 w 2204"/>
                <a:gd name="T13" fmla="*/ 819 h 2204"/>
                <a:gd name="T14" fmla="*/ 738 w 2204"/>
                <a:gd name="T15" fmla="*/ 397 h 2204"/>
                <a:gd name="T16" fmla="*/ 1131 w 2204"/>
                <a:gd name="T17" fmla="*/ 819 h 2204"/>
                <a:gd name="T18" fmla="*/ 1131 w 2204"/>
                <a:gd name="T19" fmla="*/ 1075 h 2204"/>
                <a:gd name="T20" fmla="*/ 1802 w 2204"/>
                <a:gd name="T21" fmla="*/ 1194 h 2204"/>
                <a:gd name="T22" fmla="*/ 1519 w 2204"/>
                <a:gd name="T23" fmla="*/ 1505 h 2204"/>
                <a:gd name="T24" fmla="*/ 1519 w 2204"/>
                <a:gd name="T25" fmla="*/ 799 h 2204"/>
                <a:gd name="T26" fmla="*/ 1316 w 2204"/>
                <a:gd name="T27" fmla="*/ 799 h 2204"/>
                <a:gd name="T28" fmla="*/ 1316 w 2204"/>
                <a:gd name="T29" fmla="*/ 1505 h 2204"/>
                <a:gd name="T30" fmla="*/ 1015 w 2204"/>
                <a:gd name="T31" fmla="*/ 1194 h 2204"/>
                <a:gd name="T32" fmla="*/ 1015 w 2204"/>
                <a:gd name="T33" fmla="*/ 1449 h 2204"/>
                <a:gd name="T34" fmla="*/ 1408 w 2204"/>
                <a:gd name="T35" fmla="*/ 1872 h 2204"/>
                <a:gd name="T36" fmla="*/ 1802 w 2204"/>
                <a:gd name="T37" fmla="*/ 1449 h 2204"/>
                <a:gd name="T38" fmla="*/ 1802 w 2204"/>
                <a:gd name="T39" fmla="*/ 1194 h 2204"/>
                <a:gd name="T40" fmla="*/ 1095 w 2204"/>
                <a:gd name="T41" fmla="*/ 2204 h 2204"/>
                <a:gd name="T42" fmla="*/ 2204 w 2204"/>
                <a:gd name="T43" fmla="*/ 1092 h 2204"/>
                <a:gd name="T44" fmla="*/ 1095 w 2204"/>
                <a:gd name="T45" fmla="*/ 0 h 2204"/>
                <a:gd name="T46" fmla="*/ 0 w 2204"/>
                <a:gd name="T47" fmla="*/ 1092 h 2204"/>
                <a:gd name="T48" fmla="*/ 1095 w 2204"/>
                <a:gd name="T49" fmla="*/ 2204 h 2204"/>
                <a:gd name="T50" fmla="*/ 1095 w 2204"/>
                <a:gd name="T51" fmla="*/ 132 h 2204"/>
                <a:gd name="T52" fmla="*/ 2072 w 2204"/>
                <a:gd name="T53" fmla="*/ 1092 h 2204"/>
                <a:gd name="T54" fmla="*/ 1095 w 2204"/>
                <a:gd name="T55" fmla="*/ 2068 h 2204"/>
                <a:gd name="T56" fmla="*/ 137 w 2204"/>
                <a:gd name="T57" fmla="*/ 1092 h 2204"/>
                <a:gd name="T58" fmla="*/ 1095 w 2204"/>
                <a:gd name="T59" fmla="*/ 132 h 2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204" h="2204">
                  <a:moveTo>
                    <a:pt x="1131" y="1075"/>
                  </a:moveTo>
                  <a:cubicBezTo>
                    <a:pt x="1131" y="1075"/>
                    <a:pt x="1131" y="1075"/>
                    <a:pt x="849" y="764"/>
                  </a:cubicBezTo>
                  <a:cubicBezTo>
                    <a:pt x="849" y="1470"/>
                    <a:pt x="849" y="1470"/>
                    <a:pt x="849" y="1470"/>
                  </a:cubicBezTo>
                  <a:cubicBezTo>
                    <a:pt x="849" y="1470"/>
                    <a:pt x="849" y="1470"/>
                    <a:pt x="645" y="1470"/>
                  </a:cubicBezTo>
                  <a:cubicBezTo>
                    <a:pt x="645" y="1470"/>
                    <a:pt x="645" y="1470"/>
                    <a:pt x="645" y="764"/>
                  </a:cubicBezTo>
                  <a:cubicBezTo>
                    <a:pt x="645" y="764"/>
                    <a:pt x="645" y="764"/>
                    <a:pt x="344" y="1075"/>
                  </a:cubicBezTo>
                  <a:cubicBezTo>
                    <a:pt x="344" y="1075"/>
                    <a:pt x="344" y="1075"/>
                    <a:pt x="344" y="819"/>
                  </a:cubicBezTo>
                  <a:cubicBezTo>
                    <a:pt x="344" y="819"/>
                    <a:pt x="344" y="819"/>
                    <a:pt x="738" y="397"/>
                  </a:cubicBezTo>
                  <a:cubicBezTo>
                    <a:pt x="738" y="397"/>
                    <a:pt x="738" y="397"/>
                    <a:pt x="1131" y="819"/>
                  </a:cubicBezTo>
                  <a:cubicBezTo>
                    <a:pt x="1131" y="819"/>
                    <a:pt x="1131" y="819"/>
                    <a:pt x="1131" y="1075"/>
                  </a:cubicBezTo>
                  <a:close/>
                  <a:moveTo>
                    <a:pt x="1802" y="1194"/>
                  </a:moveTo>
                  <a:cubicBezTo>
                    <a:pt x="1802" y="1194"/>
                    <a:pt x="1802" y="1194"/>
                    <a:pt x="1519" y="1505"/>
                  </a:cubicBezTo>
                  <a:cubicBezTo>
                    <a:pt x="1519" y="799"/>
                    <a:pt x="1519" y="799"/>
                    <a:pt x="1519" y="799"/>
                  </a:cubicBezTo>
                  <a:cubicBezTo>
                    <a:pt x="1519" y="799"/>
                    <a:pt x="1519" y="799"/>
                    <a:pt x="1316" y="799"/>
                  </a:cubicBezTo>
                  <a:cubicBezTo>
                    <a:pt x="1316" y="799"/>
                    <a:pt x="1316" y="799"/>
                    <a:pt x="1316" y="1505"/>
                  </a:cubicBezTo>
                  <a:cubicBezTo>
                    <a:pt x="1316" y="1505"/>
                    <a:pt x="1316" y="1505"/>
                    <a:pt x="1015" y="1194"/>
                  </a:cubicBezTo>
                  <a:cubicBezTo>
                    <a:pt x="1015" y="1194"/>
                    <a:pt x="1015" y="1194"/>
                    <a:pt x="1015" y="1449"/>
                  </a:cubicBezTo>
                  <a:cubicBezTo>
                    <a:pt x="1015" y="1449"/>
                    <a:pt x="1015" y="1449"/>
                    <a:pt x="1408" y="1872"/>
                  </a:cubicBezTo>
                  <a:cubicBezTo>
                    <a:pt x="1408" y="1872"/>
                    <a:pt x="1408" y="1872"/>
                    <a:pt x="1802" y="1449"/>
                  </a:cubicBezTo>
                  <a:cubicBezTo>
                    <a:pt x="1802" y="1449"/>
                    <a:pt x="1802" y="1449"/>
                    <a:pt x="1802" y="1194"/>
                  </a:cubicBezTo>
                  <a:close/>
                  <a:moveTo>
                    <a:pt x="1095" y="2204"/>
                  </a:moveTo>
                  <a:cubicBezTo>
                    <a:pt x="1718" y="2204"/>
                    <a:pt x="2204" y="1714"/>
                    <a:pt x="2204" y="1092"/>
                  </a:cubicBezTo>
                  <a:cubicBezTo>
                    <a:pt x="2204" y="485"/>
                    <a:pt x="1718" y="0"/>
                    <a:pt x="1095" y="0"/>
                  </a:cubicBezTo>
                  <a:cubicBezTo>
                    <a:pt x="492" y="0"/>
                    <a:pt x="0" y="485"/>
                    <a:pt x="0" y="1092"/>
                  </a:cubicBezTo>
                  <a:cubicBezTo>
                    <a:pt x="0" y="1714"/>
                    <a:pt x="492" y="2204"/>
                    <a:pt x="1095" y="2204"/>
                  </a:cubicBezTo>
                  <a:close/>
                  <a:moveTo>
                    <a:pt x="1095" y="132"/>
                  </a:moveTo>
                  <a:cubicBezTo>
                    <a:pt x="1627" y="132"/>
                    <a:pt x="2072" y="561"/>
                    <a:pt x="2072" y="1092"/>
                  </a:cubicBezTo>
                  <a:cubicBezTo>
                    <a:pt x="2072" y="1628"/>
                    <a:pt x="1627" y="2068"/>
                    <a:pt x="1095" y="2068"/>
                  </a:cubicBezTo>
                  <a:cubicBezTo>
                    <a:pt x="563" y="2068"/>
                    <a:pt x="137" y="1628"/>
                    <a:pt x="137" y="1092"/>
                  </a:cubicBezTo>
                  <a:cubicBezTo>
                    <a:pt x="137" y="561"/>
                    <a:pt x="563" y="132"/>
                    <a:pt x="1095" y="132"/>
                  </a:cubicBezTo>
                  <a:close/>
                </a:path>
              </a:pathLst>
            </a:custGeom>
            <a:solidFill>
              <a:srgbClr val="00B0F0"/>
            </a:solidFill>
            <a:ln w="9525" cap="flat" cmpd="sng" algn="ctr">
              <a:noFill/>
              <a:prstDash val="solid"/>
              <a:headEnd type="none" w="med" len="med"/>
              <a:tailEnd type="none" w="med" len="med"/>
            </a:ln>
            <a:effectLst/>
          </p:spPr>
          <p:txBody>
            <a:bodyPr rot="0" spcFirstLastPara="0" vertOverflow="overflow" horzOverflow="overflow" vert="horz" wrap="square" lIns="179208" tIns="143366" rIns="179208" bIns="143366" numCol="1" spcCol="0" rtlCol="0" fromWordArt="0" anchor="t" anchorCtr="0" forceAA="0" compatLnSpc="1">
              <a:prstTxWarp prst="textNoShape">
                <a:avLst/>
              </a:prstTxWarp>
              <a:noAutofit/>
            </a:bodyPr>
            <a:lstStyle/>
            <a:p>
              <a:pPr marL="335951" indent="-335951" algn="ctr" defTabSz="913576">
                <a:lnSpc>
                  <a:spcPct val="90000"/>
                </a:lnSpc>
                <a:buFont typeface="Wingdings 3" panose="05040102010807070707" pitchFamily="18" charset="2"/>
                <a:buChar char="Æ"/>
                <a:defRPr/>
              </a:pPr>
              <a:endParaRPr lang="en-US" sz="1961" b="1" kern="0">
                <a:solidFill>
                  <a:srgbClr val="FFFFFF"/>
                </a:solidFill>
                <a:latin typeface="Segoe UI Light"/>
                <a:ea typeface="Segoe UI" pitchFamily="34" charset="0"/>
                <a:cs typeface="Segoe UI" pitchFamily="34" charset="0"/>
              </a:endParaRPr>
            </a:p>
          </p:txBody>
        </p:sp>
      </p:grpSp>
      <p:sp>
        <p:nvSpPr>
          <p:cNvPr id="114" name="Freeform 5"/>
          <p:cNvSpPr>
            <a:spLocks noEditPoints="1"/>
          </p:cNvSpPr>
          <p:nvPr/>
        </p:nvSpPr>
        <p:spPr bwMode="auto">
          <a:xfrm>
            <a:off x="8543317" y="4102197"/>
            <a:ext cx="415685" cy="448082"/>
          </a:xfrm>
          <a:custGeom>
            <a:avLst/>
            <a:gdLst>
              <a:gd name="T0" fmla="*/ 1460 w 1460"/>
              <a:gd name="T1" fmla="*/ 384 h 1615"/>
              <a:gd name="T2" fmla="*/ 1460 w 1460"/>
              <a:gd name="T3" fmla="*/ 1359 h 1615"/>
              <a:gd name="T4" fmla="*/ 1460 w 1460"/>
              <a:gd name="T5" fmla="*/ 1359 h 1615"/>
              <a:gd name="T6" fmla="*/ 730 w 1460"/>
              <a:gd name="T7" fmla="*/ 1615 h 1615"/>
              <a:gd name="T8" fmla="*/ 0 w 1460"/>
              <a:gd name="T9" fmla="*/ 1359 h 1615"/>
              <a:gd name="T10" fmla="*/ 0 w 1460"/>
              <a:gd name="T11" fmla="*/ 1359 h 1615"/>
              <a:gd name="T12" fmla="*/ 0 w 1460"/>
              <a:gd name="T13" fmla="*/ 1359 h 1615"/>
              <a:gd name="T14" fmla="*/ 0 w 1460"/>
              <a:gd name="T15" fmla="*/ 1339 h 1615"/>
              <a:gd name="T16" fmla="*/ 0 w 1460"/>
              <a:gd name="T17" fmla="*/ 1329 h 1615"/>
              <a:gd name="T18" fmla="*/ 0 w 1460"/>
              <a:gd name="T19" fmla="*/ 394 h 1615"/>
              <a:gd name="T20" fmla="*/ 730 w 1460"/>
              <a:gd name="T21" fmla="*/ 591 h 1615"/>
              <a:gd name="T22" fmla="*/ 1460 w 1460"/>
              <a:gd name="T23" fmla="*/ 384 h 1615"/>
              <a:gd name="T24" fmla="*/ 730 w 1460"/>
              <a:gd name="T25" fmla="*/ 541 h 1615"/>
              <a:gd name="T26" fmla="*/ 1460 w 1460"/>
              <a:gd name="T27" fmla="*/ 275 h 1615"/>
              <a:gd name="T28" fmla="*/ 730 w 1460"/>
              <a:gd name="T29" fmla="*/ 0 h 1615"/>
              <a:gd name="T30" fmla="*/ 0 w 1460"/>
              <a:gd name="T31" fmla="*/ 275 h 1615"/>
              <a:gd name="T32" fmla="*/ 730 w 1460"/>
              <a:gd name="T33" fmla="*/ 541 h 16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60" h="1615">
                <a:moveTo>
                  <a:pt x="1460" y="384"/>
                </a:moveTo>
                <a:cubicBezTo>
                  <a:pt x="1460" y="1359"/>
                  <a:pt x="1460" y="1359"/>
                  <a:pt x="1460" y="1359"/>
                </a:cubicBezTo>
                <a:cubicBezTo>
                  <a:pt x="1460" y="1359"/>
                  <a:pt x="1460" y="1359"/>
                  <a:pt x="1460" y="1359"/>
                </a:cubicBezTo>
                <a:cubicBezTo>
                  <a:pt x="1431" y="1507"/>
                  <a:pt x="1115" y="1615"/>
                  <a:pt x="730" y="1615"/>
                </a:cubicBezTo>
                <a:cubicBezTo>
                  <a:pt x="346" y="1615"/>
                  <a:pt x="30" y="1507"/>
                  <a:pt x="0" y="1359"/>
                </a:cubicBezTo>
                <a:cubicBezTo>
                  <a:pt x="0" y="1359"/>
                  <a:pt x="0" y="1359"/>
                  <a:pt x="0" y="1359"/>
                </a:cubicBezTo>
                <a:cubicBezTo>
                  <a:pt x="0" y="1359"/>
                  <a:pt x="0" y="1359"/>
                  <a:pt x="0" y="1359"/>
                </a:cubicBezTo>
                <a:cubicBezTo>
                  <a:pt x="0" y="1349"/>
                  <a:pt x="0" y="1349"/>
                  <a:pt x="0" y="1339"/>
                </a:cubicBezTo>
                <a:cubicBezTo>
                  <a:pt x="0" y="1339"/>
                  <a:pt x="0" y="1339"/>
                  <a:pt x="0" y="1329"/>
                </a:cubicBezTo>
                <a:cubicBezTo>
                  <a:pt x="0" y="394"/>
                  <a:pt x="0" y="394"/>
                  <a:pt x="0" y="394"/>
                </a:cubicBezTo>
                <a:cubicBezTo>
                  <a:pt x="119" y="522"/>
                  <a:pt x="434" y="591"/>
                  <a:pt x="730" y="591"/>
                </a:cubicBezTo>
                <a:cubicBezTo>
                  <a:pt x="1026" y="591"/>
                  <a:pt x="1342" y="522"/>
                  <a:pt x="1460" y="384"/>
                </a:cubicBezTo>
                <a:close/>
                <a:moveTo>
                  <a:pt x="730" y="541"/>
                </a:moveTo>
                <a:cubicBezTo>
                  <a:pt x="1135" y="541"/>
                  <a:pt x="1460" y="423"/>
                  <a:pt x="1460" y="275"/>
                </a:cubicBezTo>
                <a:cubicBezTo>
                  <a:pt x="1460" y="128"/>
                  <a:pt x="1135" y="0"/>
                  <a:pt x="730" y="0"/>
                </a:cubicBezTo>
                <a:cubicBezTo>
                  <a:pt x="326" y="0"/>
                  <a:pt x="0" y="128"/>
                  <a:pt x="0" y="275"/>
                </a:cubicBezTo>
                <a:cubicBezTo>
                  <a:pt x="0" y="423"/>
                  <a:pt x="326" y="541"/>
                  <a:pt x="730" y="541"/>
                </a:cubicBezTo>
                <a:close/>
              </a:path>
            </a:pathLst>
          </a:custGeom>
          <a:solidFill>
            <a:srgbClr val="0070C0"/>
          </a:solidFill>
          <a:ln>
            <a:noFill/>
          </a:ln>
        </p:spPr>
        <p:txBody>
          <a:bodyPr vert="horz" wrap="square" lIns="87843" tIns="43920" rIns="87843" bIns="43920" numCol="1" anchor="t" anchorCtr="0" compatLnSpc="1">
            <a:prstTxWarp prst="textNoShape">
              <a:avLst/>
            </a:prstTxWarp>
          </a:bodyPr>
          <a:lstStyle/>
          <a:p>
            <a:pPr defTabSz="895838">
              <a:defRPr/>
            </a:pPr>
            <a:endParaRPr lang="en-US" sz="1729" kern="0">
              <a:solidFill>
                <a:srgbClr val="505050"/>
              </a:solidFill>
            </a:endParaRPr>
          </a:p>
        </p:txBody>
      </p:sp>
      <p:sp>
        <p:nvSpPr>
          <p:cNvPr id="115" name="TextBox 114"/>
          <p:cNvSpPr txBox="1"/>
          <p:nvPr/>
        </p:nvSpPr>
        <p:spPr>
          <a:xfrm>
            <a:off x="8300202" y="4540362"/>
            <a:ext cx="936265" cy="590888"/>
          </a:xfrm>
          <a:prstGeom prst="rect">
            <a:avLst/>
          </a:prstGeom>
          <a:noFill/>
        </p:spPr>
        <p:txBody>
          <a:bodyPr wrap="square" lIns="179208" tIns="143366" rIns="179208" bIns="143366" rtlCol="0" anchor="ctr">
            <a:noAutofit/>
          </a:bodyPr>
          <a:lstStyle/>
          <a:p>
            <a:pPr algn="ctr" defTabSz="912979" fontAlgn="base">
              <a:lnSpc>
                <a:spcPct val="90000"/>
              </a:lnSpc>
              <a:spcBef>
                <a:spcPct val="0"/>
              </a:spcBef>
              <a:spcAft>
                <a:spcPts val="588"/>
              </a:spcAft>
            </a:pPr>
            <a:r>
              <a:rPr lang="en-US" sz="1176">
                <a:gradFill>
                  <a:gsLst>
                    <a:gs pos="72566">
                      <a:srgbClr val="505050"/>
                    </a:gs>
                    <a:gs pos="43000">
                      <a:srgbClr val="505050"/>
                    </a:gs>
                  </a:gsLst>
                  <a:lin ang="5400000" scaled="0"/>
                </a:gradFill>
                <a:latin typeface="Segoe UI Semibold" panose="020B0702040204020203" pitchFamily="34" charset="0"/>
                <a:ea typeface="MS PGothic" charset="0"/>
                <a:cs typeface="Segoe UI Semibold" panose="020B0702040204020203" pitchFamily="34" charset="0"/>
              </a:rPr>
              <a:t>Data Source	</a:t>
            </a:r>
          </a:p>
        </p:txBody>
      </p:sp>
      <p:sp>
        <p:nvSpPr>
          <p:cNvPr id="116" name="Freeform 5"/>
          <p:cNvSpPr>
            <a:spLocks noEditPoints="1"/>
          </p:cNvSpPr>
          <p:nvPr/>
        </p:nvSpPr>
        <p:spPr bwMode="auto">
          <a:xfrm>
            <a:off x="7895803" y="4102197"/>
            <a:ext cx="415685" cy="448082"/>
          </a:xfrm>
          <a:custGeom>
            <a:avLst/>
            <a:gdLst>
              <a:gd name="T0" fmla="*/ 1460 w 1460"/>
              <a:gd name="T1" fmla="*/ 384 h 1615"/>
              <a:gd name="T2" fmla="*/ 1460 w 1460"/>
              <a:gd name="T3" fmla="*/ 1359 h 1615"/>
              <a:gd name="T4" fmla="*/ 1460 w 1460"/>
              <a:gd name="T5" fmla="*/ 1359 h 1615"/>
              <a:gd name="T6" fmla="*/ 730 w 1460"/>
              <a:gd name="T7" fmla="*/ 1615 h 1615"/>
              <a:gd name="T8" fmla="*/ 0 w 1460"/>
              <a:gd name="T9" fmla="*/ 1359 h 1615"/>
              <a:gd name="T10" fmla="*/ 0 w 1460"/>
              <a:gd name="T11" fmla="*/ 1359 h 1615"/>
              <a:gd name="T12" fmla="*/ 0 w 1460"/>
              <a:gd name="T13" fmla="*/ 1359 h 1615"/>
              <a:gd name="T14" fmla="*/ 0 w 1460"/>
              <a:gd name="T15" fmla="*/ 1339 h 1615"/>
              <a:gd name="T16" fmla="*/ 0 w 1460"/>
              <a:gd name="T17" fmla="*/ 1329 h 1615"/>
              <a:gd name="T18" fmla="*/ 0 w 1460"/>
              <a:gd name="T19" fmla="*/ 394 h 1615"/>
              <a:gd name="T20" fmla="*/ 730 w 1460"/>
              <a:gd name="T21" fmla="*/ 591 h 1615"/>
              <a:gd name="T22" fmla="*/ 1460 w 1460"/>
              <a:gd name="T23" fmla="*/ 384 h 1615"/>
              <a:gd name="T24" fmla="*/ 730 w 1460"/>
              <a:gd name="T25" fmla="*/ 541 h 1615"/>
              <a:gd name="T26" fmla="*/ 1460 w 1460"/>
              <a:gd name="T27" fmla="*/ 275 h 1615"/>
              <a:gd name="T28" fmla="*/ 730 w 1460"/>
              <a:gd name="T29" fmla="*/ 0 h 1615"/>
              <a:gd name="T30" fmla="*/ 0 w 1460"/>
              <a:gd name="T31" fmla="*/ 275 h 1615"/>
              <a:gd name="T32" fmla="*/ 730 w 1460"/>
              <a:gd name="T33" fmla="*/ 541 h 16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60" h="1615">
                <a:moveTo>
                  <a:pt x="1460" y="384"/>
                </a:moveTo>
                <a:cubicBezTo>
                  <a:pt x="1460" y="1359"/>
                  <a:pt x="1460" y="1359"/>
                  <a:pt x="1460" y="1359"/>
                </a:cubicBezTo>
                <a:cubicBezTo>
                  <a:pt x="1460" y="1359"/>
                  <a:pt x="1460" y="1359"/>
                  <a:pt x="1460" y="1359"/>
                </a:cubicBezTo>
                <a:cubicBezTo>
                  <a:pt x="1431" y="1507"/>
                  <a:pt x="1115" y="1615"/>
                  <a:pt x="730" y="1615"/>
                </a:cubicBezTo>
                <a:cubicBezTo>
                  <a:pt x="346" y="1615"/>
                  <a:pt x="30" y="1507"/>
                  <a:pt x="0" y="1359"/>
                </a:cubicBezTo>
                <a:cubicBezTo>
                  <a:pt x="0" y="1359"/>
                  <a:pt x="0" y="1359"/>
                  <a:pt x="0" y="1359"/>
                </a:cubicBezTo>
                <a:cubicBezTo>
                  <a:pt x="0" y="1359"/>
                  <a:pt x="0" y="1359"/>
                  <a:pt x="0" y="1359"/>
                </a:cubicBezTo>
                <a:cubicBezTo>
                  <a:pt x="0" y="1349"/>
                  <a:pt x="0" y="1349"/>
                  <a:pt x="0" y="1339"/>
                </a:cubicBezTo>
                <a:cubicBezTo>
                  <a:pt x="0" y="1339"/>
                  <a:pt x="0" y="1339"/>
                  <a:pt x="0" y="1329"/>
                </a:cubicBezTo>
                <a:cubicBezTo>
                  <a:pt x="0" y="394"/>
                  <a:pt x="0" y="394"/>
                  <a:pt x="0" y="394"/>
                </a:cubicBezTo>
                <a:cubicBezTo>
                  <a:pt x="119" y="522"/>
                  <a:pt x="434" y="591"/>
                  <a:pt x="730" y="591"/>
                </a:cubicBezTo>
                <a:cubicBezTo>
                  <a:pt x="1026" y="591"/>
                  <a:pt x="1342" y="522"/>
                  <a:pt x="1460" y="384"/>
                </a:cubicBezTo>
                <a:close/>
                <a:moveTo>
                  <a:pt x="730" y="541"/>
                </a:moveTo>
                <a:cubicBezTo>
                  <a:pt x="1135" y="541"/>
                  <a:pt x="1460" y="423"/>
                  <a:pt x="1460" y="275"/>
                </a:cubicBezTo>
                <a:cubicBezTo>
                  <a:pt x="1460" y="128"/>
                  <a:pt x="1135" y="0"/>
                  <a:pt x="730" y="0"/>
                </a:cubicBezTo>
                <a:cubicBezTo>
                  <a:pt x="326" y="0"/>
                  <a:pt x="0" y="128"/>
                  <a:pt x="0" y="275"/>
                </a:cubicBezTo>
                <a:cubicBezTo>
                  <a:pt x="0" y="423"/>
                  <a:pt x="326" y="541"/>
                  <a:pt x="730" y="541"/>
                </a:cubicBezTo>
                <a:close/>
              </a:path>
            </a:pathLst>
          </a:custGeom>
          <a:solidFill>
            <a:srgbClr val="0070C0"/>
          </a:solidFill>
          <a:ln>
            <a:noFill/>
          </a:ln>
        </p:spPr>
        <p:txBody>
          <a:bodyPr vert="horz" wrap="square" lIns="87843" tIns="43920" rIns="87843" bIns="43920" numCol="1" anchor="t" anchorCtr="0" compatLnSpc="1">
            <a:prstTxWarp prst="textNoShape">
              <a:avLst/>
            </a:prstTxWarp>
          </a:bodyPr>
          <a:lstStyle/>
          <a:p>
            <a:pPr defTabSz="895838">
              <a:defRPr/>
            </a:pPr>
            <a:endParaRPr lang="en-US" sz="1729" kern="0">
              <a:solidFill>
                <a:srgbClr val="505050"/>
              </a:solidFill>
            </a:endParaRPr>
          </a:p>
        </p:txBody>
      </p:sp>
      <p:sp>
        <p:nvSpPr>
          <p:cNvPr id="117" name="TextBox 116"/>
          <p:cNvSpPr txBox="1"/>
          <p:nvPr/>
        </p:nvSpPr>
        <p:spPr>
          <a:xfrm>
            <a:off x="7649309" y="4540362"/>
            <a:ext cx="936265" cy="590888"/>
          </a:xfrm>
          <a:prstGeom prst="rect">
            <a:avLst/>
          </a:prstGeom>
          <a:noFill/>
        </p:spPr>
        <p:txBody>
          <a:bodyPr wrap="square" lIns="179208" tIns="143366" rIns="179208" bIns="143366" rtlCol="0" anchor="ctr">
            <a:noAutofit/>
          </a:bodyPr>
          <a:lstStyle/>
          <a:p>
            <a:pPr algn="ctr" defTabSz="912979" fontAlgn="base">
              <a:lnSpc>
                <a:spcPct val="90000"/>
              </a:lnSpc>
              <a:spcBef>
                <a:spcPct val="0"/>
              </a:spcBef>
              <a:spcAft>
                <a:spcPts val="588"/>
              </a:spcAft>
            </a:pPr>
            <a:r>
              <a:rPr lang="en-US" sz="1176">
                <a:gradFill>
                  <a:gsLst>
                    <a:gs pos="72566">
                      <a:srgbClr val="505050"/>
                    </a:gs>
                    <a:gs pos="43000">
                      <a:srgbClr val="505050"/>
                    </a:gs>
                  </a:gsLst>
                  <a:lin ang="5400000" scaled="0"/>
                </a:gradFill>
                <a:latin typeface="Segoe UI Semibold" panose="020B0702040204020203" pitchFamily="34" charset="0"/>
                <a:ea typeface="MS PGothic" charset="0"/>
                <a:cs typeface="Segoe UI Semibold" panose="020B0702040204020203" pitchFamily="34" charset="0"/>
              </a:rPr>
              <a:t>Data Source	</a:t>
            </a:r>
          </a:p>
        </p:txBody>
      </p:sp>
      <p:sp>
        <p:nvSpPr>
          <p:cNvPr id="118" name="Freeform 5"/>
          <p:cNvSpPr>
            <a:spLocks noEditPoints="1"/>
          </p:cNvSpPr>
          <p:nvPr/>
        </p:nvSpPr>
        <p:spPr bwMode="auto">
          <a:xfrm>
            <a:off x="9190831" y="4102197"/>
            <a:ext cx="415685" cy="448082"/>
          </a:xfrm>
          <a:custGeom>
            <a:avLst/>
            <a:gdLst>
              <a:gd name="T0" fmla="*/ 1460 w 1460"/>
              <a:gd name="T1" fmla="*/ 384 h 1615"/>
              <a:gd name="T2" fmla="*/ 1460 w 1460"/>
              <a:gd name="T3" fmla="*/ 1359 h 1615"/>
              <a:gd name="T4" fmla="*/ 1460 w 1460"/>
              <a:gd name="T5" fmla="*/ 1359 h 1615"/>
              <a:gd name="T6" fmla="*/ 730 w 1460"/>
              <a:gd name="T7" fmla="*/ 1615 h 1615"/>
              <a:gd name="T8" fmla="*/ 0 w 1460"/>
              <a:gd name="T9" fmla="*/ 1359 h 1615"/>
              <a:gd name="T10" fmla="*/ 0 w 1460"/>
              <a:gd name="T11" fmla="*/ 1359 h 1615"/>
              <a:gd name="T12" fmla="*/ 0 w 1460"/>
              <a:gd name="T13" fmla="*/ 1359 h 1615"/>
              <a:gd name="T14" fmla="*/ 0 w 1460"/>
              <a:gd name="T15" fmla="*/ 1339 h 1615"/>
              <a:gd name="T16" fmla="*/ 0 w 1460"/>
              <a:gd name="T17" fmla="*/ 1329 h 1615"/>
              <a:gd name="T18" fmla="*/ 0 w 1460"/>
              <a:gd name="T19" fmla="*/ 394 h 1615"/>
              <a:gd name="T20" fmla="*/ 730 w 1460"/>
              <a:gd name="T21" fmla="*/ 591 h 1615"/>
              <a:gd name="T22" fmla="*/ 1460 w 1460"/>
              <a:gd name="T23" fmla="*/ 384 h 1615"/>
              <a:gd name="T24" fmla="*/ 730 w 1460"/>
              <a:gd name="T25" fmla="*/ 541 h 1615"/>
              <a:gd name="T26" fmla="*/ 1460 w 1460"/>
              <a:gd name="T27" fmla="*/ 275 h 1615"/>
              <a:gd name="T28" fmla="*/ 730 w 1460"/>
              <a:gd name="T29" fmla="*/ 0 h 1615"/>
              <a:gd name="T30" fmla="*/ 0 w 1460"/>
              <a:gd name="T31" fmla="*/ 275 h 1615"/>
              <a:gd name="T32" fmla="*/ 730 w 1460"/>
              <a:gd name="T33" fmla="*/ 541 h 16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60" h="1615">
                <a:moveTo>
                  <a:pt x="1460" y="384"/>
                </a:moveTo>
                <a:cubicBezTo>
                  <a:pt x="1460" y="1359"/>
                  <a:pt x="1460" y="1359"/>
                  <a:pt x="1460" y="1359"/>
                </a:cubicBezTo>
                <a:cubicBezTo>
                  <a:pt x="1460" y="1359"/>
                  <a:pt x="1460" y="1359"/>
                  <a:pt x="1460" y="1359"/>
                </a:cubicBezTo>
                <a:cubicBezTo>
                  <a:pt x="1431" y="1507"/>
                  <a:pt x="1115" y="1615"/>
                  <a:pt x="730" y="1615"/>
                </a:cubicBezTo>
                <a:cubicBezTo>
                  <a:pt x="346" y="1615"/>
                  <a:pt x="30" y="1507"/>
                  <a:pt x="0" y="1359"/>
                </a:cubicBezTo>
                <a:cubicBezTo>
                  <a:pt x="0" y="1359"/>
                  <a:pt x="0" y="1359"/>
                  <a:pt x="0" y="1359"/>
                </a:cubicBezTo>
                <a:cubicBezTo>
                  <a:pt x="0" y="1359"/>
                  <a:pt x="0" y="1359"/>
                  <a:pt x="0" y="1359"/>
                </a:cubicBezTo>
                <a:cubicBezTo>
                  <a:pt x="0" y="1349"/>
                  <a:pt x="0" y="1349"/>
                  <a:pt x="0" y="1339"/>
                </a:cubicBezTo>
                <a:cubicBezTo>
                  <a:pt x="0" y="1339"/>
                  <a:pt x="0" y="1339"/>
                  <a:pt x="0" y="1329"/>
                </a:cubicBezTo>
                <a:cubicBezTo>
                  <a:pt x="0" y="394"/>
                  <a:pt x="0" y="394"/>
                  <a:pt x="0" y="394"/>
                </a:cubicBezTo>
                <a:cubicBezTo>
                  <a:pt x="119" y="522"/>
                  <a:pt x="434" y="591"/>
                  <a:pt x="730" y="591"/>
                </a:cubicBezTo>
                <a:cubicBezTo>
                  <a:pt x="1026" y="591"/>
                  <a:pt x="1342" y="522"/>
                  <a:pt x="1460" y="384"/>
                </a:cubicBezTo>
                <a:close/>
                <a:moveTo>
                  <a:pt x="730" y="541"/>
                </a:moveTo>
                <a:cubicBezTo>
                  <a:pt x="1135" y="541"/>
                  <a:pt x="1460" y="423"/>
                  <a:pt x="1460" y="275"/>
                </a:cubicBezTo>
                <a:cubicBezTo>
                  <a:pt x="1460" y="128"/>
                  <a:pt x="1135" y="0"/>
                  <a:pt x="730" y="0"/>
                </a:cubicBezTo>
                <a:cubicBezTo>
                  <a:pt x="326" y="0"/>
                  <a:pt x="0" y="128"/>
                  <a:pt x="0" y="275"/>
                </a:cubicBezTo>
                <a:cubicBezTo>
                  <a:pt x="0" y="423"/>
                  <a:pt x="326" y="541"/>
                  <a:pt x="730" y="541"/>
                </a:cubicBezTo>
                <a:close/>
              </a:path>
            </a:pathLst>
          </a:custGeom>
          <a:solidFill>
            <a:srgbClr val="0070C0"/>
          </a:solidFill>
          <a:ln>
            <a:noFill/>
          </a:ln>
        </p:spPr>
        <p:txBody>
          <a:bodyPr vert="horz" wrap="square" lIns="87843" tIns="43920" rIns="87843" bIns="43920" numCol="1" anchor="t" anchorCtr="0" compatLnSpc="1">
            <a:prstTxWarp prst="textNoShape">
              <a:avLst/>
            </a:prstTxWarp>
          </a:bodyPr>
          <a:lstStyle/>
          <a:p>
            <a:pPr defTabSz="895838">
              <a:defRPr/>
            </a:pPr>
            <a:endParaRPr lang="en-US" sz="1729" kern="0">
              <a:solidFill>
                <a:srgbClr val="505050"/>
              </a:solidFill>
            </a:endParaRPr>
          </a:p>
        </p:txBody>
      </p:sp>
      <p:sp>
        <p:nvSpPr>
          <p:cNvPr id="119" name="TextBox 118"/>
          <p:cNvSpPr txBox="1"/>
          <p:nvPr/>
        </p:nvSpPr>
        <p:spPr>
          <a:xfrm>
            <a:off x="8951095" y="4540362"/>
            <a:ext cx="936265" cy="590888"/>
          </a:xfrm>
          <a:prstGeom prst="rect">
            <a:avLst/>
          </a:prstGeom>
          <a:noFill/>
        </p:spPr>
        <p:txBody>
          <a:bodyPr wrap="square" lIns="179208" tIns="143366" rIns="179208" bIns="143366" rtlCol="0" anchor="ctr">
            <a:noAutofit/>
          </a:bodyPr>
          <a:lstStyle/>
          <a:p>
            <a:pPr algn="ctr" defTabSz="912979" fontAlgn="base">
              <a:lnSpc>
                <a:spcPct val="90000"/>
              </a:lnSpc>
              <a:spcBef>
                <a:spcPct val="0"/>
              </a:spcBef>
              <a:spcAft>
                <a:spcPts val="588"/>
              </a:spcAft>
            </a:pPr>
            <a:r>
              <a:rPr lang="en-US" sz="1176">
                <a:gradFill>
                  <a:gsLst>
                    <a:gs pos="72566">
                      <a:srgbClr val="505050"/>
                    </a:gs>
                    <a:gs pos="43000">
                      <a:srgbClr val="505050"/>
                    </a:gs>
                  </a:gsLst>
                  <a:lin ang="5400000" scaled="0"/>
                </a:gradFill>
                <a:latin typeface="Segoe UI Semibold" panose="020B0702040204020203" pitchFamily="34" charset="0"/>
                <a:ea typeface="MS PGothic" charset="0"/>
                <a:cs typeface="Segoe UI Semibold" panose="020B0702040204020203" pitchFamily="34" charset="0"/>
              </a:rPr>
              <a:t>Data Source	</a:t>
            </a:r>
          </a:p>
        </p:txBody>
      </p:sp>
      <p:sp>
        <p:nvSpPr>
          <p:cNvPr id="120" name="TextBox 119"/>
          <p:cNvSpPr txBox="1"/>
          <p:nvPr/>
        </p:nvSpPr>
        <p:spPr>
          <a:xfrm>
            <a:off x="6914106" y="3713134"/>
            <a:ext cx="1152447" cy="259328"/>
          </a:xfrm>
          <a:prstGeom prst="rect">
            <a:avLst/>
          </a:prstGeom>
          <a:noFill/>
        </p:spPr>
        <p:txBody>
          <a:bodyPr wrap="square" lIns="179259" tIns="143407" rIns="179259" bIns="143407" rtlCol="0" anchor="ctr">
            <a:noAutofit/>
          </a:bodyPr>
          <a:lstStyle/>
          <a:p>
            <a:pPr algn="ctr" defTabSz="914192">
              <a:lnSpc>
                <a:spcPct val="90000"/>
              </a:lnSpc>
              <a:spcAft>
                <a:spcPts val="588"/>
              </a:spcAft>
              <a:defRPr/>
            </a:pPr>
            <a:r>
              <a:rPr lang="en-US" sz="1175" kern="0">
                <a:gradFill>
                  <a:gsLst>
                    <a:gs pos="2917">
                      <a:srgbClr val="000000"/>
                    </a:gs>
                    <a:gs pos="30000">
                      <a:srgbClr val="000000"/>
                    </a:gs>
                  </a:gsLst>
                  <a:lin ang="5400000" scaled="0"/>
                </a:gradFill>
              </a:rPr>
              <a:t>Personal Gateway</a:t>
            </a:r>
          </a:p>
        </p:txBody>
      </p:sp>
      <p:sp>
        <p:nvSpPr>
          <p:cNvPr id="65" name="TextBox 64"/>
          <p:cNvSpPr txBox="1"/>
          <p:nvPr/>
        </p:nvSpPr>
        <p:spPr>
          <a:xfrm>
            <a:off x="7609377" y="1144986"/>
            <a:ext cx="1376225" cy="634358"/>
          </a:xfrm>
          <a:prstGeom prst="rect">
            <a:avLst/>
          </a:prstGeom>
          <a:noFill/>
        </p:spPr>
        <p:txBody>
          <a:bodyPr wrap="square" lIns="179259" tIns="143407" rIns="179259" bIns="143407" rtlCol="0" anchor="ctr">
            <a:noAutofit/>
          </a:bodyPr>
          <a:lstStyle/>
          <a:p>
            <a:pPr algn="ctr" defTabSz="914192">
              <a:lnSpc>
                <a:spcPct val="90000"/>
              </a:lnSpc>
              <a:spcAft>
                <a:spcPts val="588"/>
              </a:spcAft>
              <a:defRPr/>
            </a:pPr>
            <a:r>
              <a:rPr lang="en-US" sz="1175" kern="0">
                <a:gradFill>
                  <a:gsLst>
                    <a:gs pos="2917">
                      <a:srgbClr val="000000"/>
                    </a:gs>
                    <a:gs pos="30000">
                      <a:srgbClr val="000000"/>
                    </a:gs>
                  </a:gsLst>
                  <a:lin ang="5400000" scaled="0"/>
                </a:gradFill>
              </a:rPr>
              <a:t>Live Power BI Dashboards and Reports</a:t>
            </a:r>
          </a:p>
        </p:txBody>
      </p:sp>
    </p:spTree>
    <p:extLst>
      <p:ext uri="{BB962C8B-B14F-4D97-AF65-F5344CB8AC3E}">
        <p14:creationId xmlns:p14="http://schemas.microsoft.com/office/powerpoint/2010/main" val="8701091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 name="Title 10"/>
          <p:cNvSpPr txBox="1">
            <a:spLocks/>
          </p:cNvSpPr>
          <p:nvPr/>
        </p:nvSpPr>
        <p:spPr>
          <a:xfrm>
            <a:off x="2815443" y="9056"/>
            <a:ext cx="9376557" cy="665151"/>
          </a:xfrm>
          <a:prstGeom prst="rect">
            <a:avLst/>
          </a:prstGeom>
          <a:noFill/>
        </p:spPr>
        <p:txBody>
          <a:bodyPr vert="horz" wrap="square" lIns="0" tIns="91440" rIns="0" bIns="91440" rtlCol="0" anchor="t">
            <a:noAutofit/>
          </a:bodyPr>
          <a:lstStyle>
            <a:lvl1pPr defTabSz="914367">
              <a:lnSpc>
                <a:spcPct val="90000"/>
              </a:lnSpc>
              <a:spcBef>
                <a:spcPct val="0"/>
              </a:spcBef>
              <a:buNone/>
              <a:defRPr lang="en-US" sz="5294" b="0" cap="none" spc="-100" baseline="0" dirty="0" smtClean="0">
                <a:ln w="3175">
                  <a:noFill/>
                </a:ln>
                <a:solidFill>
                  <a:schemeClr val="tx2"/>
                </a:solidFill>
                <a:effectLst/>
                <a:latin typeface="+mj-lt"/>
                <a:cs typeface="Segoe UI" pitchFamily="34" charset="0"/>
              </a:defRPr>
            </a:lvl1pPr>
          </a:lstStyle>
          <a:p>
            <a:pPr marL="168275"/>
            <a:r>
              <a:rPr lang="en-US" sz="3200">
                <a:solidFill>
                  <a:schemeClr val="tx1"/>
                </a:solidFill>
              </a:rPr>
              <a:t>Centralized data refresh with On-Premises Data Gateway</a:t>
            </a:r>
          </a:p>
          <a:p>
            <a:pPr marL="168275"/>
            <a:endParaRPr lang="en-US" sz="3600" b="1">
              <a:solidFill>
                <a:schemeClr val="tx1"/>
              </a:solidFill>
            </a:endParaRPr>
          </a:p>
          <a:p>
            <a:pPr marL="168275"/>
            <a:endParaRPr lang="en-IN" sz="3600">
              <a:solidFill>
                <a:schemeClr val="tx1"/>
              </a:solidFill>
            </a:endParaRPr>
          </a:p>
        </p:txBody>
      </p:sp>
      <p:sp>
        <p:nvSpPr>
          <p:cNvPr id="49" name="Rectangle 48"/>
          <p:cNvSpPr/>
          <p:nvPr/>
        </p:nvSpPr>
        <p:spPr>
          <a:xfrm>
            <a:off x="2871352" y="1154905"/>
            <a:ext cx="3935465" cy="5370701"/>
          </a:xfrm>
          <a:prstGeom prst="rect">
            <a:avLst/>
          </a:prstGeom>
        </p:spPr>
        <p:txBody>
          <a:bodyPr wrap="square">
            <a:spAutoFit/>
          </a:bodyPr>
          <a:lstStyle/>
          <a:p>
            <a:pPr marL="342900" indent="-342900">
              <a:spcBef>
                <a:spcPts val="600"/>
              </a:spcBef>
              <a:spcAft>
                <a:spcPts val="600"/>
              </a:spcAft>
              <a:buFont typeface="Symbol" panose="05050102010706020507" pitchFamily="18" charset="2"/>
              <a:buChar char=""/>
            </a:pPr>
            <a:r>
              <a:rPr lang="en-US" sz="2000">
                <a:latin typeface="+mj-lt"/>
                <a:ea typeface="Calibri" panose="020F0502020204030204" pitchFamily="34" charset="0"/>
                <a:cs typeface="Times New Roman" panose="02020603050405020304" pitchFamily="18" charset="0"/>
              </a:rPr>
              <a:t>IT departments can deploy and manage </a:t>
            </a:r>
            <a:r>
              <a:rPr lang="en-US" sz="2000" err="1">
                <a:latin typeface="+mj-lt"/>
                <a:ea typeface="Calibri" panose="020F0502020204030204" pitchFamily="34" charset="0"/>
                <a:cs typeface="Times New Roman" panose="02020603050405020304" pitchFamily="18" charset="0"/>
              </a:rPr>
              <a:t>on-premise</a:t>
            </a:r>
            <a:r>
              <a:rPr lang="en-US" sz="2000">
                <a:latin typeface="+mj-lt"/>
                <a:ea typeface="Calibri" panose="020F0502020204030204" pitchFamily="34" charset="0"/>
                <a:cs typeface="Times New Roman" panose="02020603050405020304" pitchFamily="18" charset="0"/>
              </a:rPr>
              <a:t> data access centrally </a:t>
            </a:r>
          </a:p>
          <a:p>
            <a:pPr marL="342900" indent="-342900">
              <a:spcBef>
                <a:spcPts val="600"/>
              </a:spcBef>
              <a:spcAft>
                <a:spcPts val="600"/>
              </a:spcAft>
              <a:buFont typeface="Symbol" panose="05050102010706020507" pitchFamily="18" charset="2"/>
              <a:buChar char=""/>
            </a:pPr>
            <a:r>
              <a:rPr lang="en-US" sz="2000">
                <a:latin typeface="+mj-lt"/>
                <a:ea typeface="Calibri" panose="020F0502020204030204" pitchFamily="34" charset="0"/>
                <a:cs typeface="Times New Roman" panose="02020603050405020304" pitchFamily="18" charset="0"/>
              </a:rPr>
              <a:t>BI governance: IT can monitor and audit usage</a:t>
            </a:r>
          </a:p>
          <a:p>
            <a:pPr marL="342900" indent="-342900">
              <a:spcBef>
                <a:spcPts val="600"/>
              </a:spcBef>
              <a:spcAft>
                <a:spcPts val="600"/>
              </a:spcAft>
              <a:buFont typeface="Symbol" panose="05050102010706020507" pitchFamily="18" charset="2"/>
              <a:buChar char=""/>
            </a:pPr>
            <a:r>
              <a:rPr lang="en-US" sz="2000">
                <a:latin typeface="+mj-lt"/>
                <a:ea typeface="Calibri" panose="020F0502020204030204" pitchFamily="34" charset="0"/>
                <a:cs typeface="Times New Roman" panose="02020603050405020304" pitchFamily="18" charset="0"/>
              </a:rPr>
              <a:t>Live, interactive query to on-premises data sources (e.g. SQL Server) and scheduled refresh</a:t>
            </a:r>
          </a:p>
          <a:p>
            <a:pPr marL="342900" indent="-342900">
              <a:spcBef>
                <a:spcPts val="600"/>
              </a:spcBef>
              <a:spcAft>
                <a:spcPts val="600"/>
              </a:spcAft>
              <a:buFont typeface="Symbol" panose="05050102010706020507" pitchFamily="18" charset="2"/>
              <a:buChar char=""/>
            </a:pPr>
            <a:r>
              <a:rPr lang="en-US" sz="2000">
                <a:latin typeface="+mj-lt"/>
                <a:ea typeface="Calibri" panose="020F0502020204030204" pitchFamily="34" charset="0"/>
                <a:cs typeface="Times New Roman" panose="02020603050405020304" pitchFamily="18" charset="0"/>
              </a:rPr>
              <a:t>One gateway for multiple cloud services and experiences: Power BI, </a:t>
            </a:r>
            <a:r>
              <a:rPr lang="en-US" sz="2000" err="1">
                <a:latin typeface="+mj-lt"/>
                <a:ea typeface="Calibri" panose="020F0502020204030204" pitchFamily="34" charset="0"/>
                <a:cs typeface="Times New Roman" panose="02020603050405020304" pitchFamily="18" charset="0"/>
              </a:rPr>
              <a:t>PowerApps</a:t>
            </a:r>
            <a:r>
              <a:rPr lang="en-US" sz="2000">
                <a:latin typeface="+mj-lt"/>
                <a:ea typeface="Calibri" panose="020F0502020204030204" pitchFamily="34" charset="0"/>
                <a:cs typeface="Times New Roman" panose="02020603050405020304" pitchFamily="18" charset="0"/>
              </a:rPr>
              <a:t>, Microsoft Flow, Azure Logic Apps</a:t>
            </a:r>
          </a:p>
          <a:p>
            <a:pPr marL="342900" indent="-342900">
              <a:spcBef>
                <a:spcPts val="600"/>
              </a:spcBef>
              <a:spcAft>
                <a:spcPts val="600"/>
              </a:spcAft>
              <a:buFont typeface="Symbol" panose="05050102010706020507" pitchFamily="18" charset="2"/>
              <a:buChar char=""/>
            </a:pPr>
            <a:r>
              <a:rPr lang="en-US" sz="2000">
                <a:latin typeface="+mj-lt"/>
                <a:ea typeface="Calibri" panose="020F0502020204030204" pitchFamily="34" charset="0"/>
                <a:cs typeface="Times New Roman" panose="02020603050405020304" pitchFamily="18" charset="0"/>
              </a:rPr>
              <a:t>Gateway recovery and restore features built-in</a:t>
            </a:r>
          </a:p>
          <a:p>
            <a:pPr lvl="1"/>
            <a:endParaRPr lang="en-US">
              <a:latin typeface="+mj-lt"/>
              <a:ea typeface="Calibri" panose="020F0502020204030204" pitchFamily="34" charset="0"/>
              <a:cs typeface="Times New Roman" panose="02020603050405020304" pitchFamily="18" charset="0"/>
            </a:endParaRPr>
          </a:p>
        </p:txBody>
      </p:sp>
      <p:sp>
        <p:nvSpPr>
          <p:cNvPr id="37" name="Rectangle 15"/>
          <p:cNvSpPr/>
          <p:nvPr/>
        </p:nvSpPr>
        <p:spPr bwMode="auto">
          <a:xfrm>
            <a:off x="2" y="487"/>
            <a:ext cx="2815441" cy="685702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38" name="TextBox 37"/>
          <p:cNvSpPr txBox="1"/>
          <p:nvPr/>
        </p:nvSpPr>
        <p:spPr>
          <a:xfrm>
            <a:off x="2" y="487"/>
            <a:ext cx="2815441" cy="683264"/>
          </a:xfrm>
          <a:prstGeom prst="rect">
            <a:avLst/>
          </a:prstGeom>
          <a:noFill/>
        </p:spPr>
        <p:txBody>
          <a:bodyPr wrap="square" lIns="182880" tIns="146304" rIns="182880" bIns="146304" rtlCol="0">
            <a:spAutoFit/>
          </a:bodyPr>
          <a:lstStyle>
            <a:defPPr>
              <a:defRPr lang="en-US"/>
            </a:defPPr>
            <a:lvl1pPr>
              <a:lnSpc>
                <a:spcPct val="90000"/>
              </a:lnSpc>
              <a:spcAft>
                <a:spcPts val="600"/>
              </a:spcAft>
              <a:defRPr sz="2800" b="1">
                <a:solidFill>
                  <a:srgbClr val="F2C812"/>
                </a:solidFill>
                <a:latin typeface="Segoe UI Light"/>
              </a:defRPr>
            </a:lvl1pPr>
          </a:lstStyle>
          <a:p>
            <a:r>
              <a:rPr lang="en-US"/>
              <a:t>IT challenges</a:t>
            </a:r>
          </a:p>
        </p:txBody>
      </p:sp>
      <p:grpSp>
        <p:nvGrpSpPr>
          <p:cNvPr id="39" name="Group 38"/>
          <p:cNvGrpSpPr/>
          <p:nvPr/>
        </p:nvGrpSpPr>
        <p:grpSpPr>
          <a:xfrm>
            <a:off x="151322" y="867914"/>
            <a:ext cx="2636411" cy="548640"/>
            <a:chOff x="179032" y="1123407"/>
            <a:chExt cx="2636411" cy="548640"/>
          </a:xfrm>
        </p:grpSpPr>
        <p:sp>
          <p:nvSpPr>
            <p:cNvPr id="40" name="Oval 147"/>
            <p:cNvSpPr/>
            <p:nvPr/>
          </p:nvSpPr>
          <p:spPr bwMode="auto">
            <a:xfrm>
              <a:off x="179032" y="1123407"/>
              <a:ext cx="548640" cy="548640"/>
            </a:xfrm>
            <a:prstGeom prst="ellipse">
              <a:avLst/>
            </a:prstGeom>
            <a:solidFill>
              <a:srgbClr val="FFCC00"/>
            </a:solidFill>
            <a:ln>
              <a:solidFill>
                <a:srgbClr val="F2C81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err="1">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145"/>
            <p:cNvSpPr/>
            <p:nvPr/>
          </p:nvSpPr>
          <p:spPr bwMode="auto">
            <a:xfrm>
              <a:off x="805048" y="1206147"/>
              <a:ext cx="2010395" cy="3831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14367"/>
              <a:r>
                <a:rPr lang="en-US" sz="1400" b="1">
                  <a:solidFill>
                    <a:srgbClr val="F2C812"/>
                  </a:solidFill>
                  <a:cs typeface="Segoe UI Light" panose="020B0502040204020203" pitchFamily="34" charset="0"/>
                </a:rPr>
                <a:t>Management of BI systems</a:t>
              </a:r>
              <a:endParaRPr lang="en-US" sz="1200" b="1" i="1">
                <a:solidFill>
                  <a:srgbClr val="F2C812"/>
                </a:solidFill>
                <a:cs typeface="Segoe UI Light" panose="020B0502040204020203" pitchFamily="34" charset="0"/>
              </a:endParaRPr>
            </a:p>
          </p:txBody>
        </p:sp>
      </p:grpSp>
      <p:grpSp>
        <p:nvGrpSpPr>
          <p:cNvPr id="42" name="Group 41"/>
          <p:cNvGrpSpPr/>
          <p:nvPr/>
        </p:nvGrpSpPr>
        <p:grpSpPr>
          <a:xfrm>
            <a:off x="151322" y="1832204"/>
            <a:ext cx="2636411" cy="548640"/>
            <a:chOff x="212649" y="1959486"/>
            <a:chExt cx="2636411" cy="548640"/>
          </a:xfrm>
        </p:grpSpPr>
        <p:sp>
          <p:nvSpPr>
            <p:cNvPr id="43" name="Oval 147"/>
            <p:cNvSpPr/>
            <p:nvPr/>
          </p:nvSpPr>
          <p:spPr bwMode="auto">
            <a:xfrm>
              <a:off x="212649" y="1959486"/>
              <a:ext cx="548640" cy="548640"/>
            </a:xfrm>
            <a:prstGeom prst="ellipse">
              <a:avLst/>
            </a:prstGeom>
            <a:solidFill>
              <a:srgbClr val="FFCC00"/>
            </a:solidFill>
            <a:ln>
              <a:solidFill>
                <a:srgbClr val="F2C81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err="1">
                <a:gradFill>
                  <a:gsLst>
                    <a:gs pos="0">
                      <a:srgbClr val="FFFFFF"/>
                    </a:gs>
                    <a:gs pos="100000">
                      <a:srgbClr val="FFFFFF"/>
                    </a:gs>
                  </a:gsLst>
                  <a:lin ang="5400000" scaled="0"/>
                </a:gradFill>
                <a:ea typeface="Segoe UI" pitchFamily="34" charset="0"/>
                <a:cs typeface="Segoe UI" pitchFamily="34" charset="0"/>
              </a:endParaRPr>
            </a:p>
          </p:txBody>
        </p:sp>
        <p:sp>
          <p:nvSpPr>
            <p:cNvPr id="44" name="Rectangle 145"/>
            <p:cNvSpPr/>
            <p:nvPr/>
          </p:nvSpPr>
          <p:spPr bwMode="auto">
            <a:xfrm>
              <a:off x="838665" y="2042226"/>
              <a:ext cx="2010395" cy="3831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14367"/>
              <a:r>
                <a:rPr lang="en-US" sz="1400" b="1">
                  <a:solidFill>
                    <a:srgbClr val="F2C812"/>
                  </a:solidFill>
                  <a:cs typeface="Segoe UI Light" panose="020B0502040204020203" pitchFamily="34" charset="0"/>
                </a:rPr>
                <a:t>Variety of data sources</a:t>
              </a:r>
              <a:endParaRPr lang="en-US" sz="1200" b="1" i="1">
                <a:solidFill>
                  <a:srgbClr val="F2C812"/>
                </a:solidFill>
                <a:cs typeface="Segoe UI Light" panose="020B0502040204020203" pitchFamily="34" charset="0"/>
              </a:endParaRPr>
            </a:p>
          </p:txBody>
        </p:sp>
      </p:grpSp>
      <p:grpSp>
        <p:nvGrpSpPr>
          <p:cNvPr id="45" name="Group 44"/>
          <p:cNvGrpSpPr/>
          <p:nvPr/>
        </p:nvGrpSpPr>
        <p:grpSpPr>
          <a:xfrm>
            <a:off x="151322" y="2796494"/>
            <a:ext cx="2636411" cy="548640"/>
            <a:chOff x="179032" y="1123407"/>
            <a:chExt cx="2636411" cy="548640"/>
          </a:xfrm>
        </p:grpSpPr>
        <p:sp>
          <p:nvSpPr>
            <p:cNvPr id="46" name="Oval 147"/>
            <p:cNvSpPr/>
            <p:nvPr/>
          </p:nvSpPr>
          <p:spPr bwMode="auto">
            <a:xfrm>
              <a:off x="179032" y="1123407"/>
              <a:ext cx="548640" cy="548640"/>
            </a:xfrm>
            <a:prstGeom prst="ellipse">
              <a:avLst/>
            </a:prstGeom>
            <a:solidFill>
              <a:srgbClr val="FFCC00"/>
            </a:solidFill>
            <a:ln>
              <a:solidFill>
                <a:srgbClr val="F2C81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err="1">
                <a:gradFill>
                  <a:gsLst>
                    <a:gs pos="0">
                      <a:srgbClr val="FFFFFF"/>
                    </a:gs>
                    <a:gs pos="100000">
                      <a:srgbClr val="FFFFFF"/>
                    </a:gs>
                  </a:gsLst>
                  <a:lin ang="5400000" scaled="0"/>
                </a:gradFill>
                <a:ea typeface="Segoe UI" pitchFamily="34" charset="0"/>
                <a:cs typeface="Segoe UI" pitchFamily="34" charset="0"/>
              </a:endParaRPr>
            </a:p>
          </p:txBody>
        </p:sp>
        <p:sp>
          <p:nvSpPr>
            <p:cNvPr id="47" name="Rectangle 145"/>
            <p:cNvSpPr/>
            <p:nvPr/>
          </p:nvSpPr>
          <p:spPr bwMode="auto">
            <a:xfrm>
              <a:off x="805048" y="1206147"/>
              <a:ext cx="2010395" cy="3831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14367"/>
              <a:r>
                <a:rPr lang="en-US" sz="1400" b="1">
                  <a:solidFill>
                    <a:srgbClr val="F2C812"/>
                  </a:solidFill>
                  <a:cs typeface="Segoe UI Light" panose="020B0502040204020203" pitchFamily="34" charset="0"/>
                </a:rPr>
                <a:t>Managing data in the cloud</a:t>
              </a:r>
              <a:endParaRPr lang="en-US" sz="1200" b="1" i="1">
                <a:solidFill>
                  <a:srgbClr val="F2C812"/>
                </a:solidFill>
                <a:cs typeface="Segoe UI Light" panose="020B0502040204020203" pitchFamily="34" charset="0"/>
              </a:endParaRPr>
            </a:p>
          </p:txBody>
        </p:sp>
      </p:grpSp>
      <p:grpSp>
        <p:nvGrpSpPr>
          <p:cNvPr id="48" name="Group 47"/>
          <p:cNvGrpSpPr/>
          <p:nvPr/>
        </p:nvGrpSpPr>
        <p:grpSpPr>
          <a:xfrm>
            <a:off x="151322" y="3760784"/>
            <a:ext cx="2636411" cy="548640"/>
            <a:chOff x="179032" y="1123407"/>
            <a:chExt cx="2636411" cy="548640"/>
          </a:xfrm>
        </p:grpSpPr>
        <p:sp>
          <p:nvSpPr>
            <p:cNvPr id="50" name="Oval 147"/>
            <p:cNvSpPr/>
            <p:nvPr/>
          </p:nvSpPr>
          <p:spPr bwMode="auto">
            <a:xfrm>
              <a:off x="179032" y="1123407"/>
              <a:ext cx="548640" cy="548640"/>
            </a:xfrm>
            <a:prstGeom prst="ellipse">
              <a:avLst/>
            </a:prstGeom>
            <a:solidFill>
              <a:srgbClr val="FFCC00"/>
            </a:solidFill>
            <a:ln>
              <a:solidFill>
                <a:srgbClr val="F2C81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err="1">
                <a:gradFill>
                  <a:gsLst>
                    <a:gs pos="0">
                      <a:srgbClr val="FFFFFF"/>
                    </a:gs>
                    <a:gs pos="100000">
                      <a:srgbClr val="FFFFFF"/>
                    </a:gs>
                  </a:gsLst>
                  <a:lin ang="5400000" scaled="0"/>
                </a:gradFill>
                <a:ea typeface="Segoe UI" pitchFamily="34" charset="0"/>
                <a:cs typeface="Segoe UI" pitchFamily="34" charset="0"/>
              </a:endParaRPr>
            </a:p>
          </p:txBody>
        </p:sp>
        <p:sp>
          <p:nvSpPr>
            <p:cNvPr id="51" name="Rectangle 145"/>
            <p:cNvSpPr/>
            <p:nvPr/>
          </p:nvSpPr>
          <p:spPr bwMode="auto">
            <a:xfrm>
              <a:off x="805048" y="1206147"/>
              <a:ext cx="2010395" cy="3831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14367"/>
              <a:r>
                <a:rPr lang="en-US" sz="1400" b="1">
                  <a:solidFill>
                    <a:srgbClr val="F2C812"/>
                  </a:solidFill>
                  <a:cs typeface="Segoe UI Light" panose="020B0502040204020203" pitchFamily="34" charset="0"/>
                </a:rPr>
                <a:t>Integration with existing environment</a:t>
              </a:r>
              <a:endParaRPr lang="en-US" sz="1200" b="1" i="1">
                <a:solidFill>
                  <a:srgbClr val="F2C812"/>
                </a:solidFill>
                <a:cs typeface="Segoe UI Light" panose="020B0502040204020203" pitchFamily="34" charset="0"/>
              </a:endParaRPr>
            </a:p>
          </p:txBody>
        </p:sp>
      </p:grpSp>
      <p:grpSp>
        <p:nvGrpSpPr>
          <p:cNvPr id="52" name="Group 51"/>
          <p:cNvGrpSpPr/>
          <p:nvPr/>
        </p:nvGrpSpPr>
        <p:grpSpPr>
          <a:xfrm>
            <a:off x="132176" y="4725074"/>
            <a:ext cx="2655557" cy="548640"/>
            <a:chOff x="159886" y="1123407"/>
            <a:chExt cx="2655557" cy="548640"/>
          </a:xfrm>
        </p:grpSpPr>
        <p:sp>
          <p:nvSpPr>
            <p:cNvPr id="54" name="Oval 147"/>
            <p:cNvSpPr/>
            <p:nvPr/>
          </p:nvSpPr>
          <p:spPr bwMode="auto">
            <a:xfrm>
              <a:off x="159886" y="1123407"/>
              <a:ext cx="548640" cy="548640"/>
            </a:xfrm>
            <a:prstGeom prst="ellipse">
              <a:avLst/>
            </a:prstGeom>
            <a:solidFill>
              <a:srgbClr val="FFCC00"/>
            </a:solidFill>
            <a:ln>
              <a:solidFill>
                <a:srgbClr val="F2C81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err="1">
                <a:gradFill>
                  <a:gsLst>
                    <a:gs pos="0">
                      <a:srgbClr val="FFFFFF"/>
                    </a:gs>
                    <a:gs pos="100000">
                      <a:srgbClr val="FFFFFF"/>
                    </a:gs>
                  </a:gsLst>
                  <a:lin ang="5400000" scaled="0"/>
                </a:gradFill>
                <a:ea typeface="Segoe UI" pitchFamily="34" charset="0"/>
                <a:cs typeface="Segoe UI" pitchFamily="34" charset="0"/>
              </a:endParaRPr>
            </a:p>
          </p:txBody>
        </p:sp>
        <p:sp>
          <p:nvSpPr>
            <p:cNvPr id="55" name="Rectangle 145"/>
            <p:cNvSpPr/>
            <p:nvPr/>
          </p:nvSpPr>
          <p:spPr bwMode="auto">
            <a:xfrm>
              <a:off x="805048" y="1206147"/>
              <a:ext cx="2010395" cy="3831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14367"/>
              <a:r>
                <a:rPr lang="en-US" sz="1400" b="1">
                  <a:solidFill>
                    <a:srgbClr val="F2C812"/>
                  </a:solidFill>
                  <a:cs typeface="Segoe UI Light" panose="020B0502040204020203" pitchFamily="34" charset="0"/>
                </a:rPr>
                <a:t>Keeping data current</a:t>
              </a:r>
              <a:endParaRPr lang="en-US" sz="1200" b="1" i="1">
                <a:solidFill>
                  <a:srgbClr val="F2C812"/>
                </a:solidFill>
                <a:cs typeface="Segoe UI Light" panose="020B0502040204020203" pitchFamily="34" charset="0"/>
              </a:endParaRPr>
            </a:p>
          </p:txBody>
        </p:sp>
      </p:grpSp>
      <p:grpSp>
        <p:nvGrpSpPr>
          <p:cNvPr id="56" name="Group 55"/>
          <p:cNvGrpSpPr/>
          <p:nvPr/>
        </p:nvGrpSpPr>
        <p:grpSpPr>
          <a:xfrm>
            <a:off x="151322" y="5689364"/>
            <a:ext cx="2636411" cy="548640"/>
            <a:chOff x="179032" y="1123407"/>
            <a:chExt cx="2636411" cy="548640"/>
          </a:xfrm>
        </p:grpSpPr>
        <p:sp>
          <p:nvSpPr>
            <p:cNvPr id="57" name="Oval 147"/>
            <p:cNvSpPr/>
            <p:nvPr/>
          </p:nvSpPr>
          <p:spPr bwMode="auto">
            <a:xfrm>
              <a:off x="179032" y="1123407"/>
              <a:ext cx="548640" cy="548640"/>
            </a:xfrm>
            <a:prstGeom prst="ellipse">
              <a:avLst/>
            </a:prstGeom>
            <a:solidFill>
              <a:srgbClr val="FFCC00"/>
            </a:solidFill>
            <a:ln>
              <a:solidFill>
                <a:srgbClr val="F2C81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err="1">
                <a:gradFill>
                  <a:gsLst>
                    <a:gs pos="0">
                      <a:srgbClr val="FFFFFF"/>
                    </a:gs>
                    <a:gs pos="100000">
                      <a:srgbClr val="FFFFFF"/>
                    </a:gs>
                  </a:gsLst>
                  <a:lin ang="5400000" scaled="0"/>
                </a:gradFill>
                <a:ea typeface="Segoe UI" pitchFamily="34" charset="0"/>
                <a:cs typeface="Segoe UI" pitchFamily="34" charset="0"/>
              </a:endParaRPr>
            </a:p>
          </p:txBody>
        </p:sp>
        <p:sp>
          <p:nvSpPr>
            <p:cNvPr id="58" name="Rectangle 145"/>
            <p:cNvSpPr/>
            <p:nvPr/>
          </p:nvSpPr>
          <p:spPr bwMode="auto">
            <a:xfrm>
              <a:off x="805048" y="1206147"/>
              <a:ext cx="2010395" cy="3831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14367"/>
              <a:r>
                <a:rPr lang="en-US" sz="1400" b="1">
                  <a:solidFill>
                    <a:srgbClr val="F2C812"/>
                  </a:solidFill>
                  <a:cs typeface="Segoe UI Light" panose="020B0502040204020203" pitchFamily="34" charset="0"/>
                </a:rPr>
                <a:t>Ease of use and adoption</a:t>
              </a:r>
              <a:endParaRPr lang="en-US" sz="1200" b="1" i="1">
                <a:solidFill>
                  <a:srgbClr val="F2C812"/>
                </a:solidFill>
                <a:cs typeface="Segoe UI Light" panose="020B0502040204020203" pitchFamily="34" charset="0"/>
              </a:endParaRPr>
            </a:p>
          </p:txBody>
        </p:sp>
      </p:grpSp>
      <p:sp>
        <p:nvSpPr>
          <p:cNvPr id="59" name="Freeform 58"/>
          <p:cNvSpPr>
            <a:spLocks noChangeAspect="1"/>
          </p:cNvSpPr>
          <p:nvPr/>
        </p:nvSpPr>
        <p:spPr bwMode="black">
          <a:xfrm>
            <a:off x="242762" y="1024112"/>
            <a:ext cx="365760" cy="236244"/>
          </a:xfrm>
          <a:custGeom>
            <a:avLst/>
            <a:gdLst>
              <a:gd name="connsiteX0" fmla="*/ 93529 w 794079"/>
              <a:gd name="connsiteY0" fmla="*/ 409985 h 512894"/>
              <a:gd name="connsiteX1" fmla="*/ 57350 w 794079"/>
              <a:gd name="connsiteY1" fmla="*/ 446163 h 512894"/>
              <a:gd name="connsiteX2" fmla="*/ 93529 w 794079"/>
              <a:gd name="connsiteY2" fmla="*/ 482342 h 512894"/>
              <a:gd name="connsiteX3" fmla="*/ 129707 w 794079"/>
              <a:gd name="connsiteY3" fmla="*/ 446163 h 512894"/>
              <a:gd name="connsiteX4" fmla="*/ 93529 w 794079"/>
              <a:gd name="connsiteY4" fmla="*/ 409985 h 512894"/>
              <a:gd name="connsiteX5" fmla="*/ 22935 w 794079"/>
              <a:gd name="connsiteY5" fmla="*/ 375286 h 512894"/>
              <a:gd name="connsiteX6" fmla="*/ 771144 w 794079"/>
              <a:gd name="connsiteY6" fmla="*/ 375286 h 512894"/>
              <a:gd name="connsiteX7" fmla="*/ 794079 w 794079"/>
              <a:gd name="connsiteY7" fmla="*/ 398221 h 512894"/>
              <a:gd name="connsiteX8" fmla="*/ 794079 w 794079"/>
              <a:gd name="connsiteY8" fmla="*/ 489959 h 512894"/>
              <a:gd name="connsiteX9" fmla="*/ 771144 w 794079"/>
              <a:gd name="connsiteY9" fmla="*/ 512894 h 512894"/>
              <a:gd name="connsiteX10" fmla="*/ 22935 w 794079"/>
              <a:gd name="connsiteY10" fmla="*/ 512894 h 512894"/>
              <a:gd name="connsiteX11" fmla="*/ 0 w 794079"/>
              <a:gd name="connsiteY11" fmla="*/ 489959 h 512894"/>
              <a:gd name="connsiteX12" fmla="*/ 0 w 794079"/>
              <a:gd name="connsiteY12" fmla="*/ 398221 h 512894"/>
              <a:gd name="connsiteX13" fmla="*/ 22935 w 794079"/>
              <a:gd name="connsiteY13" fmla="*/ 375286 h 512894"/>
              <a:gd name="connsiteX14" fmla="*/ 93529 w 794079"/>
              <a:gd name="connsiteY14" fmla="*/ 222341 h 512894"/>
              <a:gd name="connsiteX15" fmla="*/ 57350 w 794079"/>
              <a:gd name="connsiteY15" fmla="*/ 258520 h 512894"/>
              <a:gd name="connsiteX16" fmla="*/ 93529 w 794079"/>
              <a:gd name="connsiteY16" fmla="*/ 294699 h 512894"/>
              <a:gd name="connsiteX17" fmla="*/ 129707 w 794079"/>
              <a:gd name="connsiteY17" fmla="*/ 258520 h 512894"/>
              <a:gd name="connsiteX18" fmla="*/ 93529 w 794079"/>
              <a:gd name="connsiteY18" fmla="*/ 222341 h 512894"/>
              <a:gd name="connsiteX19" fmla="*/ 22935 w 794079"/>
              <a:gd name="connsiteY19" fmla="*/ 187643 h 512894"/>
              <a:gd name="connsiteX20" fmla="*/ 771144 w 794079"/>
              <a:gd name="connsiteY20" fmla="*/ 187643 h 512894"/>
              <a:gd name="connsiteX21" fmla="*/ 794079 w 794079"/>
              <a:gd name="connsiteY21" fmla="*/ 210578 h 512894"/>
              <a:gd name="connsiteX22" fmla="*/ 794079 w 794079"/>
              <a:gd name="connsiteY22" fmla="*/ 302316 h 512894"/>
              <a:gd name="connsiteX23" fmla="*/ 771144 w 794079"/>
              <a:gd name="connsiteY23" fmla="*/ 325251 h 512894"/>
              <a:gd name="connsiteX24" fmla="*/ 22935 w 794079"/>
              <a:gd name="connsiteY24" fmla="*/ 325251 h 512894"/>
              <a:gd name="connsiteX25" fmla="*/ 0 w 794079"/>
              <a:gd name="connsiteY25" fmla="*/ 302316 h 512894"/>
              <a:gd name="connsiteX26" fmla="*/ 0 w 794079"/>
              <a:gd name="connsiteY26" fmla="*/ 210578 h 512894"/>
              <a:gd name="connsiteX27" fmla="*/ 22935 w 794079"/>
              <a:gd name="connsiteY27" fmla="*/ 187643 h 512894"/>
              <a:gd name="connsiteX28" fmla="*/ 93529 w 794079"/>
              <a:gd name="connsiteY28" fmla="*/ 34698 h 512894"/>
              <a:gd name="connsiteX29" fmla="*/ 57350 w 794079"/>
              <a:gd name="connsiteY29" fmla="*/ 70877 h 512894"/>
              <a:gd name="connsiteX30" fmla="*/ 93529 w 794079"/>
              <a:gd name="connsiteY30" fmla="*/ 107056 h 512894"/>
              <a:gd name="connsiteX31" fmla="*/ 129707 w 794079"/>
              <a:gd name="connsiteY31" fmla="*/ 70877 h 512894"/>
              <a:gd name="connsiteX32" fmla="*/ 93529 w 794079"/>
              <a:gd name="connsiteY32" fmla="*/ 34698 h 512894"/>
              <a:gd name="connsiteX33" fmla="*/ 22935 w 794079"/>
              <a:gd name="connsiteY33" fmla="*/ 0 h 512894"/>
              <a:gd name="connsiteX34" fmla="*/ 771144 w 794079"/>
              <a:gd name="connsiteY34" fmla="*/ 0 h 512894"/>
              <a:gd name="connsiteX35" fmla="*/ 794079 w 794079"/>
              <a:gd name="connsiteY35" fmla="*/ 22935 h 512894"/>
              <a:gd name="connsiteX36" fmla="*/ 794079 w 794079"/>
              <a:gd name="connsiteY36" fmla="*/ 114673 h 512894"/>
              <a:gd name="connsiteX37" fmla="*/ 771144 w 794079"/>
              <a:gd name="connsiteY37" fmla="*/ 137608 h 512894"/>
              <a:gd name="connsiteX38" fmla="*/ 22935 w 794079"/>
              <a:gd name="connsiteY38" fmla="*/ 137608 h 512894"/>
              <a:gd name="connsiteX39" fmla="*/ 0 w 794079"/>
              <a:gd name="connsiteY39" fmla="*/ 114673 h 512894"/>
              <a:gd name="connsiteX40" fmla="*/ 0 w 794079"/>
              <a:gd name="connsiteY40" fmla="*/ 22935 h 512894"/>
              <a:gd name="connsiteX41" fmla="*/ 22935 w 794079"/>
              <a:gd name="connsiteY41" fmla="*/ 0 h 5128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794079" h="512894">
                <a:moveTo>
                  <a:pt x="93529" y="409985"/>
                </a:moveTo>
                <a:cubicBezTo>
                  <a:pt x="73548" y="409985"/>
                  <a:pt x="57350" y="426182"/>
                  <a:pt x="57350" y="446163"/>
                </a:cubicBezTo>
                <a:cubicBezTo>
                  <a:pt x="57350" y="466144"/>
                  <a:pt x="73548" y="482342"/>
                  <a:pt x="93529" y="482342"/>
                </a:cubicBezTo>
                <a:cubicBezTo>
                  <a:pt x="113510" y="482342"/>
                  <a:pt x="129707" y="466144"/>
                  <a:pt x="129707" y="446163"/>
                </a:cubicBezTo>
                <a:cubicBezTo>
                  <a:pt x="129707" y="426182"/>
                  <a:pt x="113510" y="409985"/>
                  <a:pt x="93529" y="409985"/>
                </a:cubicBezTo>
                <a:close/>
                <a:moveTo>
                  <a:pt x="22935" y="375286"/>
                </a:moveTo>
                <a:lnTo>
                  <a:pt x="771144" y="375286"/>
                </a:lnTo>
                <a:cubicBezTo>
                  <a:pt x="783811" y="375286"/>
                  <a:pt x="794079" y="385555"/>
                  <a:pt x="794079" y="398221"/>
                </a:cubicBezTo>
                <a:lnTo>
                  <a:pt x="794079" y="489959"/>
                </a:lnTo>
                <a:cubicBezTo>
                  <a:pt x="794079" y="502626"/>
                  <a:pt x="783811" y="512894"/>
                  <a:pt x="771144" y="512894"/>
                </a:cubicBezTo>
                <a:lnTo>
                  <a:pt x="22935" y="512894"/>
                </a:lnTo>
                <a:cubicBezTo>
                  <a:pt x="10269" y="512894"/>
                  <a:pt x="0" y="502626"/>
                  <a:pt x="0" y="489959"/>
                </a:cubicBezTo>
                <a:lnTo>
                  <a:pt x="0" y="398221"/>
                </a:lnTo>
                <a:cubicBezTo>
                  <a:pt x="0" y="385555"/>
                  <a:pt x="10269" y="375286"/>
                  <a:pt x="22935" y="375286"/>
                </a:cubicBezTo>
                <a:close/>
                <a:moveTo>
                  <a:pt x="93529" y="222341"/>
                </a:moveTo>
                <a:cubicBezTo>
                  <a:pt x="73548" y="222341"/>
                  <a:pt x="57350" y="238539"/>
                  <a:pt x="57350" y="258520"/>
                </a:cubicBezTo>
                <a:cubicBezTo>
                  <a:pt x="57350" y="278501"/>
                  <a:pt x="73548" y="294699"/>
                  <a:pt x="93529" y="294699"/>
                </a:cubicBezTo>
                <a:cubicBezTo>
                  <a:pt x="113510" y="294699"/>
                  <a:pt x="129707" y="278501"/>
                  <a:pt x="129707" y="258520"/>
                </a:cubicBezTo>
                <a:cubicBezTo>
                  <a:pt x="129707" y="238539"/>
                  <a:pt x="113510" y="222341"/>
                  <a:pt x="93529" y="222341"/>
                </a:cubicBezTo>
                <a:close/>
                <a:moveTo>
                  <a:pt x="22935" y="187643"/>
                </a:moveTo>
                <a:lnTo>
                  <a:pt x="771144" y="187643"/>
                </a:lnTo>
                <a:cubicBezTo>
                  <a:pt x="783811" y="187643"/>
                  <a:pt x="794079" y="197911"/>
                  <a:pt x="794079" y="210578"/>
                </a:cubicBezTo>
                <a:lnTo>
                  <a:pt x="794079" y="302316"/>
                </a:lnTo>
                <a:cubicBezTo>
                  <a:pt x="794079" y="314982"/>
                  <a:pt x="783811" y="325251"/>
                  <a:pt x="771144" y="325251"/>
                </a:cubicBezTo>
                <a:lnTo>
                  <a:pt x="22935" y="325251"/>
                </a:lnTo>
                <a:cubicBezTo>
                  <a:pt x="10269" y="325251"/>
                  <a:pt x="0" y="314982"/>
                  <a:pt x="0" y="302316"/>
                </a:cubicBezTo>
                <a:lnTo>
                  <a:pt x="0" y="210578"/>
                </a:lnTo>
                <a:cubicBezTo>
                  <a:pt x="0" y="197911"/>
                  <a:pt x="10269" y="187643"/>
                  <a:pt x="22935" y="187643"/>
                </a:cubicBezTo>
                <a:close/>
                <a:moveTo>
                  <a:pt x="93529" y="34698"/>
                </a:moveTo>
                <a:cubicBezTo>
                  <a:pt x="73548" y="34698"/>
                  <a:pt x="57350" y="50896"/>
                  <a:pt x="57350" y="70877"/>
                </a:cubicBezTo>
                <a:cubicBezTo>
                  <a:pt x="57350" y="90858"/>
                  <a:pt x="73548" y="107056"/>
                  <a:pt x="93529" y="107056"/>
                </a:cubicBezTo>
                <a:cubicBezTo>
                  <a:pt x="113510" y="107056"/>
                  <a:pt x="129707" y="90858"/>
                  <a:pt x="129707" y="70877"/>
                </a:cubicBezTo>
                <a:cubicBezTo>
                  <a:pt x="129707" y="50896"/>
                  <a:pt x="113510" y="34698"/>
                  <a:pt x="93529" y="34698"/>
                </a:cubicBezTo>
                <a:close/>
                <a:moveTo>
                  <a:pt x="22935" y="0"/>
                </a:moveTo>
                <a:lnTo>
                  <a:pt x="771144" y="0"/>
                </a:lnTo>
                <a:cubicBezTo>
                  <a:pt x="783811" y="0"/>
                  <a:pt x="794079" y="10268"/>
                  <a:pt x="794079" y="22935"/>
                </a:cubicBezTo>
                <a:lnTo>
                  <a:pt x="794079" y="114673"/>
                </a:lnTo>
                <a:cubicBezTo>
                  <a:pt x="794079" y="127339"/>
                  <a:pt x="783811" y="137608"/>
                  <a:pt x="771144" y="137608"/>
                </a:cubicBezTo>
                <a:lnTo>
                  <a:pt x="22935" y="137608"/>
                </a:lnTo>
                <a:cubicBezTo>
                  <a:pt x="10269" y="137608"/>
                  <a:pt x="0" y="127339"/>
                  <a:pt x="0" y="114673"/>
                </a:cubicBezTo>
                <a:lnTo>
                  <a:pt x="0" y="22935"/>
                </a:lnTo>
                <a:cubicBezTo>
                  <a:pt x="0" y="10268"/>
                  <a:pt x="10269" y="0"/>
                  <a:pt x="22935"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8" tIns="109719" rIns="137148" bIns="109719" numCol="1" spcCol="0" rtlCol="0" fromWordArt="0" anchor="t" anchorCtr="0" forceAA="0" compatLnSpc="1">
            <a:prstTxWarp prst="textNoShape">
              <a:avLst/>
            </a:prstTxWarp>
            <a:noAutofit/>
          </a:bodyPr>
          <a:lstStyle/>
          <a:p>
            <a:pPr algn="ctr" defTabSz="699261" fontAlgn="base">
              <a:lnSpc>
                <a:spcPct val="90000"/>
              </a:lnSpc>
              <a:spcBef>
                <a:spcPct val="0"/>
              </a:spcBef>
              <a:spcAft>
                <a:spcPct val="0"/>
              </a:spcAft>
            </a:pPr>
            <a:endParaRPr lang="en-US">
              <a:gradFill>
                <a:gsLst>
                  <a:gs pos="0">
                    <a:srgbClr val="FFFFFF"/>
                  </a:gs>
                  <a:gs pos="100000">
                    <a:srgbClr val="FFFFFF"/>
                  </a:gs>
                </a:gsLst>
                <a:lin ang="5400000" scaled="0"/>
              </a:gradFill>
              <a:ea typeface="Segoe UI" pitchFamily="34" charset="0"/>
              <a:cs typeface="Segoe UI" pitchFamily="34" charset="0"/>
            </a:endParaRPr>
          </a:p>
        </p:txBody>
      </p:sp>
      <p:grpSp>
        <p:nvGrpSpPr>
          <p:cNvPr id="60" name="Group 59"/>
          <p:cNvGrpSpPr>
            <a:grpSpLocks noChangeAspect="1"/>
          </p:cNvGrpSpPr>
          <p:nvPr/>
        </p:nvGrpSpPr>
        <p:grpSpPr>
          <a:xfrm>
            <a:off x="284268" y="1947738"/>
            <a:ext cx="314004" cy="320040"/>
            <a:chOff x="810855" y="2271601"/>
            <a:chExt cx="457200" cy="465990"/>
          </a:xfrm>
        </p:grpSpPr>
        <p:sp>
          <p:nvSpPr>
            <p:cNvPr id="61" name="Freeform 5"/>
            <p:cNvSpPr>
              <a:spLocks noEditPoints="1"/>
            </p:cNvSpPr>
            <p:nvPr/>
          </p:nvSpPr>
          <p:spPr bwMode="black">
            <a:xfrm>
              <a:off x="892260" y="2271601"/>
              <a:ext cx="375795" cy="291633"/>
            </a:xfrm>
            <a:custGeom>
              <a:avLst/>
              <a:gdLst>
                <a:gd name="T0" fmla="*/ 22 w 277"/>
                <a:gd name="T1" fmla="*/ 1 h 215"/>
                <a:gd name="T2" fmla="*/ 22 w 277"/>
                <a:gd name="T3" fmla="*/ 10 h 215"/>
                <a:gd name="T4" fmla="*/ 22 w 277"/>
                <a:gd name="T5" fmla="*/ 10 h 215"/>
                <a:gd name="T6" fmla="*/ 66 w 277"/>
                <a:gd name="T7" fmla="*/ 15 h 215"/>
                <a:gd name="T8" fmla="*/ 54 w 277"/>
                <a:gd name="T9" fmla="*/ 20 h 215"/>
                <a:gd name="T10" fmla="*/ 79 w 277"/>
                <a:gd name="T11" fmla="*/ 0 h 215"/>
                <a:gd name="T12" fmla="*/ 118 w 277"/>
                <a:gd name="T13" fmla="*/ 1 h 215"/>
                <a:gd name="T14" fmla="*/ 118 w 277"/>
                <a:gd name="T15" fmla="*/ 10 h 215"/>
                <a:gd name="T16" fmla="*/ 118 w 277"/>
                <a:gd name="T17" fmla="*/ 10 h 215"/>
                <a:gd name="T18" fmla="*/ 163 w 277"/>
                <a:gd name="T19" fmla="*/ 15 h 215"/>
                <a:gd name="T20" fmla="*/ 150 w 277"/>
                <a:gd name="T21" fmla="*/ 20 h 215"/>
                <a:gd name="T22" fmla="*/ 176 w 277"/>
                <a:gd name="T23" fmla="*/ 0 h 215"/>
                <a:gd name="T24" fmla="*/ 215 w 277"/>
                <a:gd name="T25" fmla="*/ 1 h 215"/>
                <a:gd name="T26" fmla="*/ 214 w 277"/>
                <a:gd name="T27" fmla="*/ 10 h 215"/>
                <a:gd name="T28" fmla="*/ 214 w 277"/>
                <a:gd name="T29" fmla="*/ 10 h 215"/>
                <a:gd name="T30" fmla="*/ 259 w 277"/>
                <a:gd name="T31" fmla="*/ 15 h 215"/>
                <a:gd name="T32" fmla="*/ 247 w 277"/>
                <a:gd name="T33" fmla="*/ 20 h 215"/>
                <a:gd name="T34" fmla="*/ 272 w 277"/>
                <a:gd name="T35" fmla="*/ 0 h 215"/>
                <a:gd name="T36" fmla="*/ 12 w 277"/>
                <a:gd name="T37" fmla="*/ 92 h 215"/>
                <a:gd name="T38" fmla="*/ 0 w 277"/>
                <a:gd name="T39" fmla="*/ 97 h 215"/>
                <a:gd name="T40" fmla="*/ 25 w 277"/>
                <a:gd name="T41" fmla="*/ 77 h 215"/>
                <a:gd name="T42" fmla="*/ 64 w 277"/>
                <a:gd name="T43" fmla="*/ 77 h 215"/>
                <a:gd name="T44" fmla="*/ 64 w 277"/>
                <a:gd name="T45" fmla="*/ 87 h 215"/>
                <a:gd name="T46" fmla="*/ 64 w 277"/>
                <a:gd name="T47" fmla="*/ 87 h 215"/>
                <a:gd name="T48" fmla="*/ 109 w 277"/>
                <a:gd name="T49" fmla="*/ 92 h 215"/>
                <a:gd name="T50" fmla="*/ 96 w 277"/>
                <a:gd name="T51" fmla="*/ 97 h 215"/>
                <a:gd name="T52" fmla="*/ 122 w 277"/>
                <a:gd name="T53" fmla="*/ 77 h 215"/>
                <a:gd name="T54" fmla="*/ 161 w 277"/>
                <a:gd name="T55" fmla="*/ 77 h 215"/>
                <a:gd name="T56" fmla="*/ 160 w 277"/>
                <a:gd name="T57" fmla="*/ 87 h 215"/>
                <a:gd name="T58" fmla="*/ 160 w 277"/>
                <a:gd name="T59" fmla="*/ 87 h 215"/>
                <a:gd name="T60" fmla="*/ 205 w 277"/>
                <a:gd name="T61" fmla="*/ 92 h 215"/>
                <a:gd name="T62" fmla="*/ 192 w 277"/>
                <a:gd name="T63" fmla="*/ 97 h 215"/>
                <a:gd name="T64" fmla="*/ 218 w 277"/>
                <a:gd name="T65" fmla="*/ 77 h 215"/>
                <a:gd name="T66" fmla="*/ 257 w 277"/>
                <a:gd name="T67" fmla="*/ 77 h 215"/>
                <a:gd name="T68" fmla="*/ 256 w 277"/>
                <a:gd name="T69" fmla="*/ 87 h 215"/>
                <a:gd name="T70" fmla="*/ 256 w 277"/>
                <a:gd name="T71" fmla="*/ 87 h 215"/>
                <a:gd name="T72" fmla="*/ 22 w 277"/>
                <a:gd name="T73" fmla="*/ 154 h 215"/>
                <a:gd name="T74" fmla="*/ 22 w 277"/>
                <a:gd name="T75" fmla="*/ 164 h 215"/>
                <a:gd name="T76" fmla="*/ 22 w 277"/>
                <a:gd name="T77" fmla="*/ 164 h 215"/>
                <a:gd name="T78" fmla="*/ 66 w 277"/>
                <a:gd name="T79" fmla="*/ 168 h 215"/>
                <a:gd name="T80" fmla="*/ 54 w 277"/>
                <a:gd name="T81" fmla="*/ 173 h 215"/>
                <a:gd name="T82" fmla="*/ 79 w 277"/>
                <a:gd name="T83" fmla="*/ 154 h 215"/>
                <a:gd name="T84" fmla="*/ 118 w 277"/>
                <a:gd name="T85" fmla="*/ 154 h 215"/>
                <a:gd name="T86" fmla="*/ 118 w 277"/>
                <a:gd name="T87" fmla="*/ 164 h 215"/>
                <a:gd name="T88" fmla="*/ 118 w 277"/>
                <a:gd name="T89" fmla="*/ 164 h 215"/>
                <a:gd name="T90" fmla="*/ 163 w 277"/>
                <a:gd name="T91" fmla="*/ 168 h 215"/>
                <a:gd name="T92" fmla="*/ 150 w 277"/>
                <a:gd name="T93" fmla="*/ 173 h 215"/>
                <a:gd name="T94" fmla="*/ 176 w 277"/>
                <a:gd name="T95" fmla="*/ 154 h 215"/>
                <a:gd name="T96" fmla="*/ 215 w 277"/>
                <a:gd name="T97" fmla="*/ 154 h 215"/>
                <a:gd name="T98" fmla="*/ 214 w 277"/>
                <a:gd name="T99" fmla="*/ 164 h 215"/>
                <a:gd name="T100" fmla="*/ 214 w 277"/>
                <a:gd name="T101" fmla="*/ 164 h 215"/>
                <a:gd name="T102" fmla="*/ 259 w 277"/>
                <a:gd name="T103" fmla="*/ 168 h 215"/>
                <a:gd name="T104" fmla="*/ 247 w 277"/>
                <a:gd name="T105" fmla="*/ 173 h 215"/>
                <a:gd name="T106" fmla="*/ 272 w 277"/>
                <a:gd name="T107" fmla="*/ 154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77" h="215">
                  <a:moveTo>
                    <a:pt x="21" y="61"/>
                  </a:moveTo>
                  <a:cubicBezTo>
                    <a:pt x="7" y="61"/>
                    <a:pt x="0" y="51"/>
                    <a:pt x="0" y="32"/>
                  </a:cubicBezTo>
                  <a:cubicBezTo>
                    <a:pt x="0" y="22"/>
                    <a:pt x="2" y="14"/>
                    <a:pt x="6" y="9"/>
                  </a:cubicBezTo>
                  <a:cubicBezTo>
                    <a:pt x="9" y="3"/>
                    <a:pt x="15" y="1"/>
                    <a:pt x="22" y="1"/>
                  </a:cubicBezTo>
                  <a:cubicBezTo>
                    <a:pt x="36" y="1"/>
                    <a:pt x="43" y="11"/>
                    <a:pt x="43" y="30"/>
                  </a:cubicBezTo>
                  <a:cubicBezTo>
                    <a:pt x="43" y="40"/>
                    <a:pt x="41" y="48"/>
                    <a:pt x="37" y="53"/>
                  </a:cubicBezTo>
                  <a:cubicBezTo>
                    <a:pt x="33" y="59"/>
                    <a:pt x="28" y="61"/>
                    <a:pt x="21" y="61"/>
                  </a:cubicBezTo>
                  <a:close/>
                  <a:moveTo>
                    <a:pt x="22" y="10"/>
                  </a:moveTo>
                  <a:cubicBezTo>
                    <a:pt x="16" y="10"/>
                    <a:pt x="13" y="17"/>
                    <a:pt x="13" y="32"/>
                  </a:cubicBezTo>
                  <a:cubicBezTo>
                    <a:pt x="13" y="45"/>
                    <a:pt x="16" y="51"/>
                    <a:pt x="21" y="51"/>
                  </a:cubicBezTo>
                  <a:cubicBezTo>
                    <a:pt x="27" y="51"/>
                    <a:pt x="29" y="45"/>
                    <a:pt x="29" y="31"/>
                  </a:cubicBezTo>
                  <a:cubicBezTo>
                    <a:pt x="29" y="17"/>
                    <a:pt x="27" y="10"/>
                    <a:pt x="22" y="10"/>
                  </a:cubicBezTo>
                  <a:close/>
                  <a:moveTo>
                    <a:pt x="79" y="0"/>
                  </a:moveTo>
                  <a:cubicBezTo>
                    <a:pt x="79" y="60"/>
                    <a:pt x="79" y="60"/>
                    <a:pt x="79" y="60"/>
                  </a:cubicBezTo>
                  <a:cubicBezTo>
                    <a:pt x="66" y="60"/>
                    <a:pt x="66" y="60"/>
                    <a:pt x="66" y="60"/>
                  </a:cubicBezTo>
                  <a:cubicBezTo>
                    <a:pt x="66" y="15"/>
                    <a:pt x="66" y="15"/>
                    <a:pt x="66" y="15"/>
                  </a:cubicBezTo>
                  <a:cubicBezTo>
                    <a:pt x="66" y="15"/>
                    <a:pt x="65" y="16"/>
                    <a:pt x="64" y="17"/>
                  </a:cubicBezTo>
                  <a:cubicBezTo>
                    <a:pt x="63" y="17"/>
                    <a:pt x="62" y="18"/>
                    <a:pt x="61" y="18"/>
                  </a:cubicBezTo>
                  <a:cubicBezTo>
                    <a:pt x="60" y="19"/>
                    <a:pt x="59" y="19"/>
                    <a:pt x="57" y="19"/>
                  </a:cubicBezTo>
                  <a:cubicBezTo>
                    <a:pt x="56" y="20"/>
                    <a:pt x="55" y="20"/>
                    <a:pt x="54" y="20"/>
                  </a:cubicBezTo>
                  <a:cubicBezTo>
                    <a:pt x="54" y="9"/>
                    <a:pt x="54" y="9"/>
                    <a:pt x="54" y="9"/>
                  </a:cubicBezTo>
                  <a:cubicBezTo>
                    <a:pt x="57" y="8"/>
                    <a:pt x="61" y="7"/>
                    <a:pt x="64" y="5"/>
                  </a:cubicBezTo>
                  <a:cubicBezTo>
                    <a:pt x="66" y="4"/>
                    <a:pt x="69" y="2"/>
                    <a:pt x="72" y="0"/>
                  </a:cubicBezTo>
                  <a:lnTo>
                    <a:pt x="79" y="0"/>
                  </a:lnTo>
                  <a:close/>
                  <a:moveTo>
                    <a:pt x="117" y="61"/>
                  </a:moveTo>
                  <a:cubicBezTo>
                    <a:pt x="103" y="61"/>
                    <a:pt x="96" y="51"/>
                    <a:pt x="96" y="32"/>
                  </a:cubicBezTo>
                  <a:cubicBezTo>
                    <a:pt x="96" y="22"/>
                    <a:pt x="98" y="14"/>
                    <a:pt x="102" y="9"/>
                  </a:cubicBezTo>
                  <a:cubicBezTo>
                    <a:pt x="106" y="3"/>
                    <a:pt x="111" y="1"/>
                    <a:pt x="118" y="1"/>
                  </a:cubicBezTo>
                  <a:cubicBezTo>
                    <a:pt x="132" y="1"/>
                    <a:pt x="139" y="11"/>
                    <a:pt x="139" y="30"/>
                  </a:cubicBezTo>
                  <a:cubicBezTo>
                    <a:pt x="139" y="40"/>
                    <a:pt x="137" y="48"/>
                    <a:pt x="133" y="53"/>
                  </a:cubicBezTo>
                  <a:cubicBezTo>
                    <a:pt x="130" y="59"/>
                    <a:pt x="124" y="61"/>
                    <a:pt x="117" y="61"/>
                  </a:cubicBezTo>
                  <a:close/>
                  <a:moveTo>
                    <a:pt x="118" y="10"/>
                  </a:moveTo>
                  <a:cubicBezTo>
                    <a:pt x="112" y="10"/>
                    <a:pt x="109" y="17"/>
                    <a:pt x="109" y="32"/>
                  </a:cubicBezTo>
                  <a:cubicBezTo>
                    <a:pt x="109" y="45"/>
                    <a:pt x="112" y="51"/>
                    <a:pt x="118" y="51"/>
                  </a:cubicBezTo>
                  <a:cubicBezTo>
                    <a:pt x="123" y="51"/>
                    <a:pt x="126" y="45"/>
                    <a:pt x="126" y="31"/>
                  </a:cubicBezTo>
                  <a:cubicBezTo>
                    <a:pt x="126" y="17"/>
                    <a:pt x="123" y="10"/>
                    <a:pt x="118" y="10"/>
                  </a:cubicBezTo>
                  <a:close/>
                  <a:moveTo>
                    <a:pt x="176" y="0"/>
                  </a:moveTo>
                  <a:cubicBezTo>
                    <a:pt x="176" y="60"/>
                    <a:pt x="176" y="60"/>
                    <a:pt x="176" y="60"/>
                  </a:cubicBezTo>
                  <a:cubicBezTo>
                    <a:pt x="163" y="60"/>
                    <a:pt x="163" y="60"/>
                    <a:pt x="163" y="60"/>
                  </a:cubicBezTo>
                  <a:cubicBezTo>
                    <a:pt x="163" y="15"/>
                    <a:pt x="163" y="15"/>
                    <a:pt x="163" y="15"/>
                  </a:cubicBezTo>
                  <a:cubicBezTo>
                    <a:pt x="162" y="15"/>
                    <a:pt x="161" y="16"/>
                    <a:pt x="160" y="17"/>
                  </a:cubicBezTo>
                  <a:cubicBezTo>
                    <a:pt x="159" y="17"/>
                    <a:pt x="158" y="18"/>
                    <a:pt x="157" y="18"/>
                  </a:cubicBezTo>
                  <a:cubicBezTo>
                    <a:pt x="156" y="19"/>
                    <a:pt x="155" y="19"/>
                    <a:pt x="154" y="19"/>
                  </a:cubicBezTo>
                  <a:cubicBezTo>
                    <a:pt x="153" y="20"/>
                    <a:pt x="151" y="20"/>
                    <a:pt x="150" y="20"/>
                  </a:cubicBezTo>
                  <a:cubicBezTo>
                    <a:pt x="150" y="9"/>
                    <a:pt x="150" y="9"/>
                    <a:pt x="150" y="9"/>
                  </a:cubicBezTo>
                  <a:cubicBezTo>
                    <a:pt x="154" y="8"/>
                    <a:pt x="157" y="7"/>
                    <a:pt x="160" y="5"/>
                  </a:cubicBezTo>
                  <a:cubicBezTo>
                    <a:pt x="163" y="4"/>
                    <a:pt x="165" y="2"/>
                    <a:pt x="168" y="0"/>
                  </a:cubicBezTo>
                  <a:lnTo>
                    <a:pt x="176" y="0"/>
                  </a:lnTo>
                  <a:close/>
                  <a:moveTo>
                    <a:pt x="214" y="61"/>
                  </a:moveTo>
                  <a:cubicBezTo>
                    <a:pt x="200" y="61"/>
                    <a:pt x="193" y="51"/>
                    <a:pt x="193" y="32"/>
                  </a:cubicBezTo>
                  <a:cubicBezTo>
                    <a:pt x="193" y="22"/>
                    <a:pt x="195" y="14"/>
                    <a:pt x="198" y="9"/>
                  </a:cubicBezTo>
                  <a:cubicBezTo>
                    <a:pt x="202" y="3"/>
                    <a:pt x="208" y="1"/>
                    <a:pt x="215" y="1"/>
                  </a:cubicBezTo>
                  <a:cubicBezTo>
                    <a:pt x="228" y="1"/>
                    <a:pt x="235" y="11"/>
                    <a:pt x="235" y="30"/>
                  </a:cubicBezTo>
                  <a:cubicBezTo>
                    <a:pt x="235" y="40"/>
                    <a:pt x="233" y="48"/>
                    <a:pt x="230" y="53"/>
                  </a:cubicBezTo>
                  <a:cubicBezTo>
                    <a:pt x="226" y="59"/>
                    <a:pt x="221" y="61"/>
                    <a:pt x="214" y="61"/>
                  </a:cubicBezTo>
                  <a:close/>
                  <a:moveTo>
                    <a:pt x="214" y="10"/>
                  </a:moveTo>
                  <a:cubicBezTo>
                    <a:pt x="209" y="10"/>
                    <a:pt x="206" y="17"/>
                    <a:pt x="206" y="32"/>
                  </a:cubicBezTo>
                  <a:cubicBezTo>
                    <a:pt x="206" y="45"/>
                    <a:pt x="209" y="51"/>
                    <a:pt x="214" y="51"/>
                  </a:cubicBezTo>
                  <a:cubicBezTo>
                    <a:pt x="219" y="51"/>
                    <a:pt x="222" y="45"/>
                    <a:pt x="222" y="31"/>
                  </a:cubicBezTo>
                  <a:cubicBezTo>
                    <a:pt x="222" y="17"/>
                    <a:pt x="219" y="10"/>
                    <a:pt x="214" y="10"/>
                  </a:cubicBezTo>
                  <a:close/>
                  <a:moveTo>
                    <a:pt x="272" y="0"/>
                  </a:moveTo>
                  <a:cubicBezTo>
                    <a:pt x="272" y="60"/>
                    <a:pt x="272" y="60"/>
                    <a:pt x="272" y="60"/>
                  </a:cubicBezTo>
                  <a:cubicBezTo>
                    <a:pt x="259" y="60"/>
                    <a:pt x="259" y="60"/>
                    <a:pt x="259" y="60"/>
                  </a:cubicBezTo>
                  <a:cubicBezTo>
                    <a:pt x="259" y="15"/>
                    <a:pt x="259" y="15"/>
                    <a:pt x="259" y="15"/>
                  </a:cubicBezTo>
                  <a:cubicBezTo>
                    <a:pt x="258" y="15"/>
                    <a:pt x="258" y="16"/>
                    <a:pt x="257" y="17"/>
                  </a:cubicBezTo>
                  <a:cubicBezTo>
                    <a:pt x="256" y="17"/>
                    <a:pt x="255" y="18"/>
                    <a:pt x="254" y="18"/>
                  </a:cubicBezTo>
                  <a:cubicBezTo>
                    <a:pt x="252" y="19"/>
                    <a:pt x="251" y="19"/>
                    <a:pt x="250" y="19"/>
                  </a:cubicBezTo>
                  <a:cubicBezTo>
                    <a:pt x="249" y="20"/>
                    <a:pt x="248" y="20"/>
                    <a:pt x="247" y="20"/>
                  </a:cubicBezTo>
                  <a:cubicBezTo>
                    <a:pt x="247" y="9"/>
                    <a:pt x="247" y="9"/>
                    <a:pt x="247" y="9"/>
                  </a:cubicBezTo>
                  <a:cubicBezTo>
                    <a:pt x="250" y="8"/>
                    <a:pt x="253" y="7"/>
                    <a:pt x="256" y="5"/>
                  </a:cubicBezTo>
                  <a:cubicBezTo>
                    <a:pt x="259" y="4"/>
                    <a:pt x="262" y="2"/>
                    <a:pt x="264" y="0"/>
                  </a:cubicBezTo>
                  <a:lnTo>
                    <a:pt x="272" y="0"/>
                  </a:lnTo>
                  <a:close/>
                  <a:moveTo>
                    <a:pt x="25" y="77"/>
                  </a:moveTo>
                  <a:cubicBezTo>
                    <a:pt x="25" y="137"/>
                    <a:pt x="25" y="137"/>
                    <a:pt x="25" y="137"/>
                  </a:cubicBezTo>
                  <a:cubicBezTo>
                    <a:pt x="12" y="137"/>
                    <a:pt x="12" y="137"/>
                    <a:pt x="12" y="137"/>
                  </a:cubicBezTo>
                  <a:cubicBezTo>
                    <a:pt x="12" y="92"/>
                    <a:pt x="12" y="92"/>
                    <a:pt x="12" y="92"/>
                  </a:cubicBezTo>
                  <a:cubicBezTo>
                    <a:pt x="12" y="92"/>
                    <a:pt x="11" y="93"/>
                    <a:pt x="10" y="93"/>
                  </a:cubicBezTo>
                  <a:cubicBezTo>
                    <a:pt x="9" y="94"/>
                    <a:pt x="8" y="94"/>
                    <a:pt x="7" y="95"/>
                  </a:cubicBezTo>
                  <a:cubicBezTo>
                    <a:pt x="6" y="95"/>
                    <a:pt x="5" y="96"/>
                    <a:pt x="3" y="96"/>
                  </a:cubicBezTo>
                  <a:cubicBezTo>
                    <a:pt x="2" y="96"/>
                    <a:pt x="1" y="97"/>
                    <a:pt x="0" y="97"/>
                  </a:cubicBezTo>
                  <a:cubicBezTo>
                    <a:pt x="0" y="86"/>
                    <a:pt x="0" y="86"/>
                    <a:pt x="0" y="86"/>
                  </a:cubicBezTo>
                  <a:cubicBezTo>
                    <a:pt x="3" y="85"/>
                    <a:pt x="6" y="84"/>
                    <a:pt x="9" y="82"/>
                  </a:cubicBezTo>
                  <a:cubicBezTo>
                    <a:pt x="12" y="81"/>
                    <a:pt x="15" y="79"/>
                    <a:pt x="17" y="77"/>
                  </a:cubicBezTo>
                  <a:lnTo>
                    <a:pt x="25" y="77"/>
                  </a:lnTo>
                  <a:close/>
                  <a:moveTo>
                    <a:pt x="63" y="138"/>
                  </a:moveTo>
                  <a:cubicBezTo>
                    <a:pt x="49" y="138"/>
                    <a:pt x="42" y="128"/>
                    <a:pt x="42" y="109"/>
                  </a:cubicBezTo>
                  <a:cubicBezTo>
                    <a:pt x="42" y="98"/>
                    <a:pt x="44" y="91"/>
                    <a:pt x="48" y="85"/>
                  </a:cubicBezTo>
                  <a:cubicBezTo>
                    <a:pt x="52" y="80"/>
                    <a:pt x="57" y="77"/>
                    <a:pt x="64" y="77"/>
                  </a:cubicBezTo>
                  <a:cubicBezTo>
                    <a:pt x="78" y="77"/>
                    <a:pt x="85" y="87"/>
                    <a:pt x="85" y="107"/>
                  </a:cubicBezTo>
                  <a:cubicBezTo>
                    <a:pt x="85" y="117"/>
                    <a:pt x="83" y="125"/>
                    <a:pt x="79" y="130"/>
                  </a:cubicBezTo>
                  <a:cubicBezTo>
                    <a:pt x="75" y="135"/>
                    <a:pt x="70" y="138"/>
                    <a:pt x="63" y="138"/>
                  </a:cubicBezTo>
                  <a:close/>
                  <a:moveTo>
                    <a:pt x="64" y="87"/>
                  </a:moveTo>
                  <a:cubicBezTo>
                    <a:pt x="58" y="87"/>
                    <a:pt x="55" y="94"/>
                    <a:pt x="55" y="108"/>
                  </a:cubicBezTo>
                  <a:cubicBezTo>
                    <a:pt x="55" y="121"/>
                    <a:pt x="58" y="128"/>
                    <a:pt x="64" y="128"/>
                  </a:cubicBezTo>
                  <a:cubicBezTo>
                    <a:pt x="69" y="128"/>
                    <a:pt x="72" y="121"/>
                    <a:pt x="72" y="108"/>
                  </a:cubicBezTo>
                  <a:cubicBezTo>
                    <a:pt x="72" y="94"/>
                    <a:pt x="69" y="87"/>
                    <a:pt x="64" y="87"/>
                  </a:cubicBezTo>
                  <a:close/>
                  <a:moveTo>
                    <a:pt x="122" y="77"/>
                  </a:moveTo>
                  <a:cubicBezTo>
                    <a:pt x="122" y="137"/>
                    <a:pt x="122" y="137"/>
                    <a:pt x="122" y="137"/>
                  </a:cubicBezTo>
                  <a:cubicBezTo>
                    <a:pt x="109" y="137"/>
                    <a:pt x="109" y="137"/>
                    <a:pt x="109" y="137"/>
                  </a:cubicBezTo>
                  <a:cubicBezTo>
                    <a:pt x="109" y="92"/>
                    <a:pt x="109" y="92"/>
                    <a:pt x="109" y="92"/>
                  </a:cubicBezTo>
                  <a:cubicBezTo>
                    <a:pt x="108" y="92"/>
                    <a:pt x="107" y="93"/>
                    <a:pt x="106" y="93"/>
                  </a:cubicBezTo>
                  <a:cubicBezTo>
                    <a:pt x="105" y="94"/>
                    <a:pt x="104" y="94"/>
                    <a:pt x="103" y="95"/>
                  </a:cubicBezTo>
                  <a:cubicBezTo>
                    <a:pt x="102" y="95"/>
                    <a:pt x="101" y="96"/>
                    <a:pt x="100" y="96"/>
                  </a:cubicBezTo>
                  <a:cubicBezTo>
                    <a:pt x="98" y="96"/>
                    <a:pt x="97" y="97"/>
                    <a:pt x="96" y="97"/>
                  </a:cubicBezTo>
                  <a:cubicBezTo>
                    <a:pt x="96" y="86"/>
                    <a:pt x="96" y="86"/>
                    <a:pt x="96" y="86"/>
                  </a:cubicBezTo>
                  <a:cubicBezTo>
                    <a:pt x="100" y="85"/>
                    <a:pt x="103" y="84"/>
                    <a:pt x="106" y="82"/>
                  </a:cubicBezTo>
                  <a:cubicBezTo>
                    <a:pt x="109" y="81"/>
                    <a:pt x="111" y="79"/>
                    <a:pt x="114" y="77"/>
                  </a:cubicBezTo>
                  <a:lnTo>
                    <a:pt x="122" y="77"/>
                  </a:lnTo>
                  <a:close/>
                  <a:moveTo>
                    <a:pt x="159" y="138"/>
                  </a:moveTo>
                  <a:cubicBezTo>
                    <a:pt x="145" y="138"/>
                    <a:pt x="138" y="128"/>
                    <a:pt x="138" y="109"/>
                  </a:cubicBezTo>
                  <a:cubicBezTo>
                    <a:pt x="138" y="98"/>
                    <a:pt x="140" y="91"/>
                    <a:pt x="144" y="85"/>
                  </a:cubicBezTo>
                  <a:cubicBezTo>
                    <a:pt x="148" y="80"/>
                    <a:pt x="153" y="77"/>
                    <a:pt x="161" y="77"/>
                  </a:cubicBezTo>
                  <a:cubicBezTo>
                    <a:pt x="174" y="77"/>
                    <a:pt x="181" y="87"/>
                    <a:pt x="181" y="107"/>
                  </a:cubicBezTo>
                  <a:cubicBezTo>
                    <a:pt x="181" y="117"/>
                    <a:pt x="179" y="125"/>
                    <a:pt x="175" y="130"/>
                  </a:cubicBezTo>
                  <a:cubicBezTo>
                    <a:pt x="172" y="135"/>
                    <a:pt x="166" y="138"/>
                    <a:pt x="159" y="138"/>
                  </a:cubicBezTo>
                  <a:close/>
                  <a:moveTo>
                    <a:pt x="160" y="87"/>
                  </a:moveTo>
                  <a:cubicBezTo>
                    <a:pt x="154" y="87"/>
                    <a:pt x="152" y="94"/>
                    <a:pt x="152" y="108"/>
                  </a:cubicBezTo>
                  <a:cubicBezTo>
                    <a:pt x="152" y="121"/>
                    <a:pt x="154" y="128"/>
                    <a:pt x="160" y="128"/>
                  </a:cubicBezTo>
                  <a:cubicBezTo>
                    <a:pt x="165" y="128"/>
                    <a:pt x="168" y="121"/>
                    <a:pt x="168" y="108"/>
                  </a:cubicBezTo>
                  <a:cubicBezTo>
                    <a:pt x="168" y="94"/>
                    <a:pt x="165" y="87"/>
                    <a:pt x="160" y="87"/>
                  </a:cubicBezTo>
                  <a:close/>
                  <a:moveTo>
                    <a:pt x="218" y="77"/>
                  </a:moveTo>
                  <a:cubicBezTo>
                    <a:pt x="218" y="137"/>
                    <a:pt x="218" y="137"/>
                    <a:pt x="218" y="137"/>
                  </a:cubicBezTo>
                  <a:cubicBezTo>
                    <a:pt x="205" y="137"/>
                    <a:pt x="205" y="137"/>
                    <a:pt x="205" y="137"/>
                  </a:cubicBezTo>
                  <a:cubicBezTo>
                    <a:pt x="205" y="92"/>
                    <a:pt x="205" y="92"/>
                    <a:pt x="205" y="92"/>
                  </a:cubicBezTo>
                  <a:cubicBezTo>
                    <a:pt x="204" y="92"/>
                    <a:pt x="203" y="93"/>
                    <a:pt x="202" y="93"/>
                  </a:cubicBezTo>
                  <a:cubicBezTo>
                    <a:pt x="201" y="94"/>
                    <a:pt x="200" y="94"/>
                    <a:pt x="199" y="95"/>
                  </a:cubicBezTo>
                  <a:cubicBezTo>
                    <a:pt x="198" y="95"/>
                    <a:pt x="197" y="96"/>
                    <a:pt x="196" y="96"/>
                  </a:cubicBezTo>
                  <a:cubicBezTo>
                    <a:pt x="195" y="96"/>
                    <a:pt x="194" y="97"/>
                    <a:pt x="192" y="97"/>
                  </a:cubicBezTo>
                  <a:cubicBezTo>
                    <a:pt x="192" y="86"/>
                    <a:pt x="192" y="86"/>
                    <a:pt x="192" y="86"/>
                  </a:cubicBezTo>
                  <a:cubicBezTo>
                    <a:pt x="196" y="85"/>
                    <a:pt x="199" y="84"/>
                    <a:pt x="202" y="82"/>
                  </a:cubicBezTo>
                  <a:cubicBezTo>
                    <a:pt x="205" y="81"/>
                    <a:pt x="208" y="79"/>
                    <a:pt x="210" y="77"/>
                  </a:cubicBezTo>
                  <a:lnTo>
                    <a:pt x="218" y="77"/>
                  </a:lnTo>
                  <a:close/>
                  <a:moveTo>
                    <a:pt x="256" y="138"/>
                  </a:moveTo>
                  <a:cubicBezTo>
                    <a:pt x="242" y="138"/>
                    <a:pt x="235" y="128"/>
                    <a:pt x="235" y="109"/>
                  </a:cubicBezTo>
                  <a:cubicBezTo>
                    <a:pt x="235" y="98"/>
                    <a:pt x="237" y="91"/>
                    <a:pt x="240" y="85"/>
                  </a:cubicBezTo>
                  <a:cubicBezTo>
                    <a:pt x="244" y="80"/>
                    <a:pt x="250" y="77"/>
                    <a:pt x="257" y="77"/>
                  </a:cubicBezTo>
                  <a:cubicBezTo>
                    <a:pt x="270" y="77"/>
                    <a:pt x="277" y="87"/>
                    <a:pt x="277" y="107"/>
                  </a:cubicBezTo>
                  <a:cubicBezTo>
                    <a:pt x="277" y="117"/>
                    <a:pt x="275" y="125"/>
                    <a:pt x="272" y="130"/>
                  </a:cubicBezTo>
                  <a:cubicBezTo>
                    <a:pt x="268" y="135"/>
                    <a:pt x="263" y="138"/>
                    <a:pt x="256" y="138"/>
                  </a:cubicBezTo>
                  <a:close/>
                  <a:moveTo>
                    <a:pt x="256" y="87"/>
                  </a:moveTo>
                  <a:cubicBezTo>
                    <a:pt x="251" y="87"/>
                    <a:pt x="248" y="94"/>
                    <a:pt x="248" y="108"/>
                  </a:cubicBezTo>
                  <a:cubicBezTo>
                    <a:pt x="248" y="121"/>
                    <a:pt x="251" y="128"/>
                    <a:pt x="256" y="128"/>
                  </a:cubicBezTo>
                  <a:cubicBezTo>
                    <a:pt x="261" y="128"/>
                    <a:pt x="264" y="121"/>
                    <a:pt x="264" y="108"/>
                  </a:cubicBezTo>
                  <a:cubicBezTo>
                    <a:pt x="264" y="94"/>
                    <a:pt x="262" y="87"/>
                    <a:pt x="256" y="87"/>
                  </a:cubicBezTo>
                  <a:close/>
                  <a:moveTo>
                    <a:pt x="21" y="215"/>
                  </a:moveTo>
                  <a:cubicBezTo>
                    <a:pt x="7" y="215"/>
                    <a:pt x="0" y="205"/>
                    <a:pt x="0" y="185"/>
                  </a:cubicBezTo>
                  <a:cubicBezTo>
                    <a:pt x="0" y="175"/>
                    <a:pt x="2" y="167"/>
                    <a:pt x="6" y="162"/>
                  </a:cubicBezTo>
                  <a:cubicBezTo>
                    <a:pt x="9" y="157"/>
                    <a:pt x="15" y="154"/>
                    <a:pt x="22" y="154"/>
                  </a:cubicBezTo>
                  <a:cubicBezTo>
                    <a:pt x="36" y="154"/>
                    <a:pt x="43" y="164"/>
                    <a:pt x="43" y="184"/>
                  </a:cubicBezTo>
                  <a:cubicBezTo>
                    <a:pt x="43" y="194"/>
                    <a:pt x="41" y="201"/>
                    <a:pt x="37" y="207"/>
                  </a:cubicBezTo>
                  <a:cubicBezTo>
                    <a:pt x="33" y="212"/>
                    <a:pt x="28" y="215"/>
                    <a:pt x="21" y="215"/>
                  </a:cubicBezTo>
                  <a:close/>
                  <a:moveTo>
                    <a:pt x="22" y="164"/>
                  </a:moveTo>
                  <a:cubicBezTo>
                    <a:pt x="16" y="164"/>
                    <a:pt x="13" y="171"/>
                    <a:pt x="13" y="185"/>
                  </a:cubicBezTo>
                  <a:cubicBezTo>
                    <a:pt x="13" y="198"/>
                    <a:pt x="16" y="205"/>
                    <a:pt x="21" y="205"/>
                  </a:cubicBezTo>
                  <a:cubicBezTo>
                    <a:pt x="27" y="205"/>
                    <a:pt x="29" y="198"/>
                    <a:pt x="29" y="184"/>
                  </a:cubicBezTo>
                  <a:cubicBezTo>
                    <a:pt x="29" y="171"/>
                    <a:pt x="27" y="164"/>
                    <a:pt x="22" y="164"/>
                  </a:cubicBezTo>
                  <a:close/>
                  <a:moveTo>
                    <a:pt x="79" y="154"/>
                  </a:moveTo>
                  <a:cubicBezTo>
                    <a:pt x="79" y="214"/>
                    <a:pt x="79" y="214"/>
                    <a:pt x="79" y="214"/>
                  </a:cubicBezTo>
                  <a:cubicBezTo>
                    <a:pt x="66" y="214"/>
                    <a:pt x="66" y="214"/>
                    <a:pt x="66" y="214"/>
                  </a:cubicBezTo>
                  <a:cubicBezTo>
                    <a:pt x="66" y="168"/>
                    <a:pt x="66" y="168"/>
                    <a:pt x="66" y="168"/>
                  </a:cubicBezTo>
                  <a:cubicBezTo>
                    <a:pt x="66" y="169"/>
                    <a:pt x="65" y="170"/>
                    <a:pt x="64" y="170"/>
                  </a:cubicBezTo>
                  <a:cubicBezTo>
                    <a:pt x="63" y="171"/>
                    <a:pt x="62" y="171"/>
                    <a:pt x="61" y="172"/>
                  </a:cubicBezTo>
                  <a:cubicBezTo>
                    <a:pt x="60" y="172"/>
                    <a:pt x="59" y="172"/>
                    <a:pt x="57" y="173"/>
                  </a:cubicBezTo>
                  <a:cubicBezTo>
                    <a:pt x="56" y="173"/>
                    <a:pt x="55" y="173"/>
                    <a:pt x="54" y="173"/>
                  </a:cubicBezTo>
                  <a:cubicBezTo>
                    <a:pt x="54" y="163"/>
                    <a:pt x="54" y="163"/>
                    <a:pt x="54" y="163"/>
                  </a:cubicBezTo>
                  <a:cubicBezTo>
                    <a:pt x="57" y="162"/>
                    <a:pt x="61" y="160"/>
                    <a:pt x="64" y="159"/>
                  </a:cubicBezTo>
                  <a:cubicBezTo>
                    <a:pt x="66" y="157"/>
                    <a:pt x="69" y="156"/>
                    <a:pt x="72" y="154"/>
                  </a:cubicBezTo>
                  <a:lnTo>
                    <a:pt x="79" y="154"/>
                  </a:lnTo>
                  <a:close/>
                  <a:moveTo>
                    <a:pt x="117" y="215"/>
                  </a:moveTo>
                  <a:cubicBezTo>
                    <a:pt x="103" y="215"/>
                    <a:pt x="96" y="205"/>
                    <a:pt x="96" y="185"/>
                  </a:cubicBezTo>
                  <a:cubicBezTo>
                    <a:pt x="96" y="175"/>
                    <a:pt x="98" y="167"/>
                    <a:pt x="102" y="162"/>
                  </a:cubicBezTo>
                  <a:cubicBezTo>
                    <a:pt x="106" y="157"/>
                    <a:pt x="111" y="154"/>
                    <a:pt x="118" y="154"/>
                  </a:cubicBezTo>
                  <a:cubicBezTo>
                    <a:pt x="132" y="154"/>
                    <a:pt x="139" y="164"/>
                    <a:pt x="139" y="184"/>
                  </a:cubicBezTo>
                  <a:cubicBezTo>
                    <a:pt x="139" y="194"/>
                    <a:pt x="137" y="201"/>
                    <a:pt x="133" y="207"/>
                  </a:cubicBezTo>
                  <a:cubicBezTo>
                    <a:pt x="130" y="212"/>
                    <a:pt x="124" y="215"/>
                    <a:pt x="117" y="215"/>
                  </a:cubicBezTo>
                  <a:close/>
                  <a:moveTo>
                    <a:pt x="118" y="164"/>
                  </a:moveTo>
                  <a:cubicBezTo>
                    <a:pt x="112" y="164"/>
                    <a:pt x="109" y="171"/>
                    <a:pt x="109" y="185"/>
                  </a:cubicBezTo>
                  <a:cubicBezTo>
                    <a:pt x="109" y="198"/>
                    <a:pt x="112" y="205"/>
                    <a:pt x="118" y="205"/>
                  </a:cubicBezTo>
                  <a:cubicBezTo>
                    <a:pt x="123" y="205"/>
                    <a:pt x="126" y="198"/>
                    <a:pt x="126" y="184"/>
                  </a:cubicBezTo>
                  <a:cubicBezTo>
                    <a:pt x="126" y="171"/>
                    <a:pt x="123" y="164"/>
                    <a:pt x="118" y="164"/>
                  </a:cubicBezTo>
                  <a:close/>
                  <a:moveTo>
                    <a:pt x="176" y="154"/>
                  </a:moveTo>
                  <a:cubicBezTo>
                    <a:pt x="176" y="214"/>
                    <a:pt x="176" y="214"/>
                    <a:pt x="176" y="214"/>
                  </a:cubicBezTo>
                  <a:cubicBezTo>
                    <a:pt x="163" y="214"/>
                    <a:pt x="163" y="214"/>
                    <a:pt x="163" y="214"/>
                  </a:cubicBezTo>
                  <a:cubicBezTo>
                    <a:pt x="163" y="168"/>
                    <a:pt x="163" y="168"/>
                    <a:pt x="163" y="168"/>
                  </a:cubicBezTo>
                  <a:cubicBezTo>
                    <a:pt x="162" y="169"/>
                    <a:pt x="161" y="170"/>
                    <a:pt x="160" y="170"/>
                  </a:cubicBezTo>
                  <a:cubicBezTo>
                    <a:pt x="159" y="171"/>
                    <a:pt x="158" y="171"/>
                    <a:pt x="157" y="172"/>
                  </a:cubicBezTo>
                  <a:cubicBezTo>
                    <a:pt x="156" y="172"/>
                    <a:pt x="155" y="172"/>
                    <a:pt x="154" y="173"/>
                  </a:cubicBezTo>
                  <a:cubicBezTo>
                    <a:pt x="153" y="173"/>
                    <a:pt x="151" y="173"/>
                    <a:pt x="150" y="173"/>
                  </a:cubicBezTo>
                  <a:cubicBezTo>
                    <a:pt x="150" y="163"/>
                    <a:pt x="150" y="163"/>
                    <a:pt x="150" y="163"/>
                  </a:cubicBezTo>
                  <a:cubicBezTo>
                    <a:pt x="154" y="162"/>
                    <a:pt x="157" y="160"/>
                    <a:pt x="160" y="159"/>
                  </a:cubicBezTo>
                  <a:cubicBezTo>
                    <a:pt x="163" y="157"/>
                    <a:pt x="165" y="156"/>
                    <a:pt x="168" y="154"/>
                  </a:cubicBezTo>
                  <a:lnTo>
                    <a:pt x="176" y="154"/>
                  </a:lnTo>
                  <a:close/>
                  <a:moveTo>
                    <a:pt x="214" y="215"/>
                  </a:moveTo>
                  <a:cubicBezTo>
                    <a:pt x="200" y="215"/>
                    <a:pt x="193" y="205"/>
                    <a:pt x="193" y="185"/>
                  </a:cubicBezTo>
                  <a:cubicBezTo>
                    <a:pt x="193" y="175"/>
                    <a:pt x="195" y="167"/>
                    <a:pt x="198" y="162"/>
                  </a:cubicBezTo>
                  <a:cubicBezTo>
                    <a:pt x="202" y="157"/>
                    <a:pt x="208" y="154"/>
                    <a:pt x="215" y="154"/>
                  </a:cubicBezTo>
                  <a:cubicBezTo>
                    <a:pt x="228" y="154"/>
                    <a:pt x="235" y="164"/>
                    <a:pt x="235" y="184"/>
                  </a:cubicBezTo>
                  <a:cubicBezTo>
                    <a:pt x="235" y="194"/>
                    <a:pt x="233" y="201"/>
                    <a:pt x="230" y="207"/>
                  </a:cubicBezTo>
                  <a:cubicBezTo>
                    <a:pt x="226" y="212"/>
                    <a:pt x="221" y="215"/>
                    <a:pt x="214" y="215"/>
                  </a:cubicBezTo>
                  <a:close/>
                  <a:moveTo>
                    <a:pt x="214" y="164"/>
                  </a:moveTo>
                  <a:cubicBezTo>
                    <a:pt x="209" y="164"/>
                    <a:pt x="206" y="171"/>
                    <a:pt x="206" y="185"/>
                  </a:cubicBezTo>
                  <a:cubicBezTo>
                    <a:pt x="206" y="198"/>
                    <a:pt x="209" y="205"/>
                    <a:pt x="214" y="205"/>
                  </a:cubicBezTo>
                  <a:cubicBezTo>
                    <a:pt x="219" y="205"/>
                    <a:pt x="222" y="198"/>
                    <a:pt x="222" y="184"/>
                  </a:cubicBezTo>
                  <a:cubicBezTo>
                    <a:pt x="222" y="171"/>
                    <a:pt x="219" y="164"/>
                    <a:pt x="214" y="164"/>
                  </a:cubicBezTo>
                  <a:close/>
                  <a:moveTo>
                    <a:pt x="272" y="154"/>
                  </a:moveTo>
                  <a:cubicBezTo>
                    <a:pt x="272" y="214"/>
                    <a:pt x="272" y="214"/>
                    <a:pt x="272" y="214"/>
                  </a:cubicBezTo>
                  <a:cubicBezTo>
                    <a:pt x="259" y="214"/>
                    <a:pt x="259" y="214"/>
                    <a:pt x="259" y="214"/>
                  </a:cubicBezTo>
                  <a:cubicBezTo>
                    <a:pt x="259" y="168"/>
                    <a:pt x="259" y="168"/>
                    <a:pt x="259" y="168"/>
                  </a:cubicBezTo>
                  <a:cubicBezTo>
                    <a:pt x="258" y="169"/>
                    <a:pt x="258" y="170"/>
                    <a:pt x="257" y="170"/>
                  </a:cubicBezTo>
                  <a:cubicBezTo>
                    <a:pt x="256" y="171"/>
                    <a:pt x="255" y="171"/>
                    <a:pt x="254" y="172"/>
                  </a:cubicBezTo>
                  <a:cubicBezTo>
                    <a:pt x="252" y="172"/>
                    <a:pt x="251" y="172"/>
                    <a:pt x="250" y="173"/>
                  </a:cubicBezTo>
                  <a:cubicBezTo>
                    <a:pt x="249" y="173"/>
                    <a:pt x="248" y="173"/>
                    <a:pt x="247" y="173"/>
                  </a:cubicBezTo>
                  <a:cubicBezTo>
                    <a:pt x="247" y="163"/>
                    <a:pt x="247" y="163"/>
                    <a:pt x="247" y="163"/>
                  </a:cubicBezTo>
                  <a:cubicBezTo>
                    <a:pt x="250" y="162"/>
                    <a:pt x="253" y="160"/>
                    <a:pt x="256" y="159"/>
                  </a:cubicBezTo>
                  <a:cubicBezTo>
                    <a:pt x="259" y="157"/>
                    <a:pt x="262" y="156"/>
                    <a:pt x="264" y="154"/>
                  </a:cubicBezTo>
                  <a:lnTo>
                    <a:pt x="272" y="154"/>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62" name="Freeform 61"/>
            <p:cNvSpPr>
              <a:spLocks noChangeAspect="1"/>
            </p:cNvSpPr>
            <p:nvPr/>
          </p:nvSpPr>
          <p:spPr bwMode="black">
            <a:xfrm>
              <a:off x="810855" y="2476645"/>
              <a:ext cx="373866" cy="260946"/>
            </a:xfrm>
            <a:custGeom>
              <a:avLst/>
              <a:gdLst>
                <a:gd name="connsiteX0" fmla="*/ 541228 w 979570"/>
                <a:gd name="connsiteY0" fmla="*/ 531962 h 887227"/>
                <a:gd name="connsiteX1" fmla="*/ 547155 w 979570"/>
                <a:gd name="connsiteY1" fmla="*/ 538150 h 887227"/>
                <a:gd name="connsiteX2" fmla="*/ 760399 w 979570"/>
                <a:gd name="connsiteY2" fmla="*/ 601984 h 887227"/>
                <a:gd name="connsiteX3" fmla="*/ 973643 w 979570"/>
                <a:gd name="connsiteY3" fmla="*/ 538150 h 887227"/>
                <a:gd name="connsiteX4" fmla="*/ 979570 w 979570"/>
                <a:gd name="connsiteY4" fmla="*/ 531962 h 887227"/>
                <a:gd name="connsiteX5" fmla="*/ 979570 w 979570"/>
                <a:gd name="connsiteY5" fmla="*/ 776991 h 887227"/>
                <a:gd name="connsiteX6" fmla="*/ 979570 w 979570"/>
                <a:gd name="connsiteY6" fmla="*/ 776993 h 887227"/>
                <a:gd name="connsiteX7" fmla="*/ 760399 w 979570"/>
                <a:gd name="connsiteY7" fmla="*/ 887227 h 887227"/>
                <a:gd name="connsiteX8" fmla="*/ 541228 w 979570"/>
                <a:gd name="connsiteY8" fmla="*/ 776993 h 887227"/>
                <a:gd name="connsiteX9" fmla="*/ 541228 w 979570"/>
                <a:gd name="connsiteY9" fmla="*/ 776993 h 887227"/>
                <a:gd name="connsiteX10" fmla="*/ 0 w 979570"/>
                <a:gd name="connsiteY10" fmla="*/ 531962 h 887227"/>
                <a:gd name="connsiteX11" fmla="*/ 5927 w 979570"/>
                <a:gd name="connsiteY11" fmla="*/ 538150 h 887227"/>
                <a:gd name="connsiteX12" fmla="*/ 219171 w 979570"/>
                <a:gd name="connsiteY12" fmla="*/ 601984 h 887227"/>
                <a:gd name="connsiteX13" fmla="*/ 432415 w 979570"/>
                <a:gd name="connsiteY13" fmla="*/ 538150 h 887227"/>
                <a:gd name="connsiteX14" fmla="*/ 438342 w 979570"/>
                <a:gd name="connsiteY14" fmla="*/ 531962 h 887227"/>
                <a:gd name="connsiteX15" fmla="*/ 438342 w 979570"/>
                <a:gd name="connsiteY15" fmla="*/ 776991 h 887227"/>
                <a:gd name="connsiteX16" fmla="*/ 438342 w 979570"/>
                <a:gd name="connsiteY16" fmla="*/ 776993 h 887227"/>
                <a:gd name="connsiteX17" fmla="*/ 219171 w 979570"/>
                <a:gd name="connsiteY17" fmla="*/ 887227 h 887227"/>
                <a:gd name="connsiteX18" fmla="*/ 0 w 979570"/>
                <a:gd name="connsiteY18" fmla="*/ 776993 h 887227"/>
                <a:gd name="connsiteX19" fmla="*/ 0 w 979570"/>
                <a:gd name="connsiteY19" fmla="*/ 776993 h 887227"/>
                <a:gd name="connsiteX20" fmla="*/ 760036 w 979570"/>
                <a:gd name="connsiteY20" fmla="*/ 322411 h 887227"/>
                <a:gd name="connsiteX21" fmla="*/ 978844 w 979570"/>
                <a:gd name="connsiteY21" fmla="*/ 444386 h 887227"/>
                <a:gd name="connsiteX22" fmla="*/ 760036 w 979570"/>
                <a:gd name="connsiteY22" fmla="*/ 566361 h 887227"/>
                <a:gd name="connsiteX23" fmla="*/ 541228 w 979570"/>
                <a:gd name="connsiteY23" fmla="*/ 444386 h 887227"/>
                <a:gd name="connsiteX24" fmla="*/ 760036 w 979570"/>
                <a:gd name="connsiteY24" fmla="*/ 322411 h 887227"/>
                <a:gd name="connsiteX25" fmla="*/ 0 w 979570"/>
                <a:gd name="connsiteY25" fmla="*/ 209552 h 887227"/>
                <a:gd name="connsiteX26" fmla="*/ 5927 w 979570"/>
                <a:gd name="connsiteY26" fmla="*/ 215739 h 887227"/>
                <a:gd name="connsiteX27" fmla="*/ 219171 w 979570"/>
                <a:gd name="connsiteY27" fmla="*/ 279574 h 887227"/>
                <a:gd name="connsiteX28" fmla="*/ 432415 w 979570"/>
                <a:gd name="connsiteY28" fmla="*/ 215739 h 887227"/>
                <a:gd name="connsiteX29" fmla="*/ 438342 w 979570"/>
                <a:gd name="connsiteY29" fmla="*/ 209552 h 887227"/>
                <a:gd name="connsiteX30" fmla="*/ 438342 w 979570"/>
                <a:gd name="connsiteY30" fmla="*/ 454580 h 887227"/>
                <a:gd name="connsiteX31" fmla="*/ 438342 w 979570"/>
                <a:gd name="connsiteY31" fmla="*/ 454583 h 887227"/>
                <a:gd name="connsiteX32" fmla="*/ 219171 w 979570"/>
                <a:gd name="connsiteY32" fmla="*/ 564817 h 887227"/>
                <a:gd name="connsiteX33" fmla="*/ 0 w 979570"/>
                <a:gd name="connsiteY33" fmla="*/ 454583 h 887227"/>
                <a:gd name="connsiteX34" fmla="*/ 0 w 979570"/>
                <a:gd name="connsiteY34" fmla="*/ 454582 h 887227"/>
                <a:gd name="connsiteX35" fmla="*/ 218808 w 979570"/>
                <a:gd name="connsiteY35" fmla="*/ 0 h 887227"/>
                <a:gd name="connsiteX36" fmla="*/ 437616 w 979570"/>
                <a:gd name="connsiteY36" fmla="*/ 121975 h 887227"/>
                <a:gd name="connsiteX37" fmla="*/ 218808 w 979570"/>
                <a:gd name="connsiteY37" fmla="*/ 243950 h 887227"/>
                <a:gd name="connsiteX38" fmla="*/ 0 w 979570"/>
                <a:gd name="connsiteY38" fmla="*/ 121975 h 887227"/>
                <a:gd name="connsiteX39" fmla="*/ 218808 w 979570"/>
                <a:gd name="connsiteY39" fmla="*/ 0 h 8872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979570" h="887227">
                  <a:moveTo>
                    <a:pt x="541228" y="531962"/>
                  </a:moveTo>
                  <a:lnTo>
                    <a:pt x="547155" y="538150"/>
                  </a:lnTo>
                  <a:cubicBezTo>
                    <a:pt x="588222" y="576173"/>
                    <a:pt x="668317" y="601984"/>
                    <a:pt x="760399" y="601984"/>
                  </a:cubicBezTo>
                  <a:cubicBezTo>
                    <a:pt x="852481" y="601984"/>
                    <a:pt x="932576" y="576173"/>
                    <a:pt x="973643" y="538150"/>
                  </a:cubicBezTo>
                  <a:lnTo>
                    <a:pt x="979570" y="531962"/>
                  </a:lnTo>
                  <a:lnTo>
                    <a:pt x="979570" y="776991"/>
                  </a:lnTo>
                  <a:lnTo>
                    <a:pt x="979570" y="776993"/>
                  </a:lnTo>
                  <a:cubicBezTo>
                    <a:pt x="979570" y="837874"/>
                    <a:pt x="881444" y="887227"/>
                    <a:pt x="760399" y="887227"/>
                  </a:cubicBezTo>
                  <a:cubicBezTo>
                    <a:pt x="639354" y="887227"/>
                    <a:pt x="541228" y="837874"/>
                    <a:pt x="541228" y="776993"/>
                  </a:cubicBezTo>
                  <a:lnTo>
                    <a:pt x="541228" y="776993"/>
                  </a:lnTo>
                  <a:close/>
                  <a:moveTo>
                    <a:pt x="0" y="531962"/>
                  </a:moveTo>
                  <a:lnTo>
                    <a:pt x="5927" y="538150"/>
                  </a:lnTo>
                  <a:cubicBezTo>
                    <a:pt x="46994" y="576173"/>
                    <a:pt x="127089" y="601984"/>
                    <a:pt x="219171" y="601984"/>
                  </a:cubicBezTo>
                  <a:cubicBezTo>
                    <a:pt x="311253" y="601984"/>
                    <a:pt x="391348" y="576173"/>
                    <a:pt x="432415" y="538150"/>
                  </a:cubicBezTo>
                  <a:lnTo>
                    <a:pt x="438342" y="531962"/>
                  </a:lnTo>
                  <a:lnTo>
                    <a:pt x="438342" y="776991"/>
                  </a:lnTo>
                  <a:lnTo>
                    <a:pt x="438342" y="776993"/>
                  </a:lnTo>
                  <a:cubicBezTo>
                    <a:pt x="438342" y="837874"/>
                    <a:pt x="340216" y="887227"/>
                    <a:pt x="219171" y="887227"/>
                  </a:cubicBezTo>
                  <a:cubicBezTo>
                    <a:pt x="98126" y="887227"/>
                    <a:pt x="0" y="837874"/>
                    <a:pt x="0" y="776993"/>
                  </a:cubicBezTo>
                  <a:lnTo>
                    <a:pt x="0" y="776993"/>
                  </a:lnTo>
                  <a:close/>
                  <a:moveTo>
                    <a:pt x="760036" y="322411"/>
                  </a:moveTo>
                  <a:cubicBezTo>
                    <a:pt x="880880" y="322411"/>
                    <a:pt x="978844" y="377021"/>
                    <a:pt x="978844" y="444386"/>
                  </a:cubicBezTo>
                  <a:cubicBezTo>
                    <a:pt x="978844" y="511751"/>
                    <a:pt x="880880" y="566361"/>
                    <a:pt x="760036" y="566361"/>
                  </a:cubicBezTo>
                  <a:cubicBezTo>
                    <a:pt x="639192" y="566361"/>
                    <a:pt x="541228" y="511751"/>
                    <a:pt x="541228" y="444386"/>
                  </a:cubicBezTo>
                  <a:cubicBezTo>
                    <a:pt x="541228" y="377021"/>
                    <a:pt x="639192" y="322411"/>
                    <a:pt x="760036" y="322411"/>
                  </a:cubicBezTo>
                  <a:close/>
                  <a:moveTo>
                    <a:pt x="0" y="209552"/>
                  </a:moveTo>
                  <a:lnTo>
                    <a:pt x="5927" y="215739"/>
                  </a:lnTo>
                  <a:cubicBezTo>
                    <a:pt x="46994" y="253762"/>
                    <a:pt x="127089" y="279574"/>
                    <a:pt x="219171" y="279574"/>
                  </a:cubicBezTo>
                  <a:cubicBezTo>
                    <a:pt x="311253" y="279574"/>
                    <a:pt x="391348" y="253762"/>
                    <a:pt x="432415" y="215739"/>
                  </a:cubicBezTo>
                  <a:lnTo>
                    <a:pt x="438342" y="209552"/>
                  </a:lnTo>
                  <a:lnTo>
                    <a:pt x="438342" y="454580"/>
                  </a:lnTo>
                  <a:lnTo>
                    <a:pt x="438342" y="454583"/>
                  </a:lnTo>
                  <a:cubicBezTo>
                    <a:pt x="438342" y="515463"/>
                    <a:pt x="340216" y="564817"/>
                    <a:pt x="219171" y="564817"/>
                  </a:cubicBezTo>
                  <a:cubicBezTo>
                    <a:pt x="98126" y="564817"/>
                    <a:pt x="0" y="515463"/>
                    <a:pt x="0" y="454583"/>
                  </a:cubicBezTo>
                  <a:lnTo>
                    <a:pt x="0" y="454582"/>
                  </a:lnTo>
                  <a:close/>
                  <a:moveTo>
                    <a:pt x="218808" y="0"/>
                  </a:moveTo>
                  <a:cubicBezTo>
                    <a:pt x="339652" y="0"/>
                    <a:pt x="437616" y="54610"/>
                    <a:pt x="437616" y="121975"/>
                  </a:cubicBezTo>
                  <a:cubicBezTo>
                    <a:pt x="437616" y="189340"/>
                    <a:pt x="339652" y="243950"/>
                    <a:pt x="218808" y="243950"/>
                  </a:cubicBezTo>
                  <a:cubicBezTo>
                    <a:pt x="97964" y="243950"/>
                    <a:pt x="0" y="189340"/>
                    <a:pt x="0" y="121975"/>
                  </a:cubicBezTo>
                  <a:cubicBezTo>
                    <a:pt x="0" y="54610"/>
                    <a:pt x="97964" y="0"/>
                    <a:pt x="218808"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8" tIns="109719" rIns="137148" bIns="109719" numCol="1" spcCol="0" rtlCol="0" fromWordArt="0" anchor="t" anchorCtr="0" forceAA="0" compatLnSpc="1">
              <a:prstTxWarp prst="textNoShape">
                <a:avLst/>
              </a:prstTxWarp>
              <a:noAutofit/>
            </a:bodyPr>
            <a:lstStyle/>
            <a:p>
              <a:pPr algn="ctr" defTabSz="699261" fontAlgn="base">
                <a:lnSpc>
                  <a:spcPct val="90000"/>
                </a:lnSpc>
                <a:spcBef>
                  <a:spcPct val="0"/>
                </a:spcBef>
                <a:spcAft>
                  <a:spcPct val="0"/>
                </a:spcAft>
              </a:pPr>
              <a:endParaRPr lang="en-US">
                <a:gradFill>
                  <a:gsLst>
                    <a:gs pos="0">
                      <a:srgbClr val="FFFFFF"/>
                    </a:gs>
                    <a:gs pos="100000">
                      <a:srgbClr val="FFFFFF"/>
                    </a:gs>
                  </a:gsLst>
                  <a:lin ang="5400000" scaled="0"/>
                </a:gradFill>
                <a:ea typeface="Segoe UI" pitchFamily="34" charset="0"/>
                <a:cs typeface="Segoe UI" pitchFamily="34" charset="0"/>
              </a:endParaRPr>
            </a:p>
          </p:txBody>
        </p:sp>
      </p:grpSp>
      <p:grpSp>
        <p:nvGrpSpPr>
          <p:cNvPr id="63" name="Group 62"/>
          <p:cNvGrpSpPr>
            <a:grpSpLocks noChangeAspect="1"/>
          </p:cNvGrpSpPr>
          <p:nvPr/>
        </p:nvGrpSpPr>
        <p:grpSpPr>
          <a:xfrm>
            <a:off x="197042" y="2842214"/>
            <a:ext cx="457200" cy="457200"/>
            <a:chOff x="719415" y="3138080"/>
            <a:chExt cx="640080" cy="640080"/>
          </a:xfrm>
        </p:grpSpPr>
        <p:pic>
          <p:nvPicPr>
            <p:cNvPr id="64" name="Picture 6" descr="\\MAGNUM\Projects\Microsoft\Cloud Power FY12\Design\ICONS_PNG\Cloud.png"/>
            <p:cNvPicPr>
              <a:picLocks noChangeAspect="1" noChangeArrowheads="1"/>
            </p:cNvPicPr>
            <p:nvPr/>
          </p:nvPicPr>
          <p:blipFill>
            <a:blip r:embed="rId3" cstate="print">
              <a:biLevel thresh="75000"/>
            </a:blip>
            <a:srcRect/>
            <a:stretch>
              <a:fillRect/>
            </a:stretch>
          </p:blipFill>
          <p:spPr bwMode="auto">
            <a:xfrm>
              <a:off x="719415" y="3138080"/>
              <a:ext cx="640080" cy="640080"/>
            </a:xfrm>
            <a:prstGeom prst="rect">
              <a:avLst/>
            </a:prstGeom>
            <a:noFill/>
          </p:spPr>
        </p:pic>
        <p:pic>
          <p:nvPicPr>
            <p:cNvPr id="68" name="Picture 67"/>
            <p:cNvPicPr>
              <a:picLocks noChangeAspect="1"/>
            </p:cNvPicPr>
            <p:nvPr/>
          </p:nvPicPr>
          <p:blipFill>
            <a:blip r:embed="rId4"/>
            <a:stretch>
              <a:fillRect/>
            </a:stretch>
          </p:blipFill>
          <p:spPr>
            <a:xfrm flipH="1">
              <a:off x="975955" y="3370303"/>
              <a:ext cx="127000" cy="175846"/>
            </a:xfrm>
            <a:prstGeom prst="rect">
              <a:avLst/>
            </a:prstGeom>
          </p:spPr>
        </p:pic>
      </p:grpSp>
      <p:sp>
        <p:nvSpPr>
          <p:cNvPr id="69" name="Freeform 122"/>
          <p:cNvSpPr>
            <a:spLocks noChangeAspect="1"/>
          </p:cNvSpPr>
          <p:nvPr/>
        </p:nvSpPr>
        <p:spPr bwMode="black">
          <a:xfrm>
            <a:off x="266989" y="4843626"/>
            <a:ext cx="317305" cy="320040"/>
          </a:xfrm>
          <a:custGeom>
            <a:avLst/>
            <a:gdLst>
              <a:gd name="T0" fmla="*/ 61 w 70"/>
              <a:gd name="T1" fmla="*/ 11 h 71"/>
              <a:gd name="T2" fmla="*/ 60 w 70"/>
              <a:gd name="T3" fmla="*/ 11 h 71"/>
              <a:gd name="T4" fmla="*/ 53 w 70"/>
              <a:gd name="T5" fmla="*/ 18 h 71"/>
              <a:gd name="T6" fmla="*/ 53 w 70"/>
              <a:gd name="T7" fmla="*/ 19 h 71"/>
              <a:gd name="T8" fmla="*/ 53 w 70"/>
              <a:gd name="T9" fmla="*/ 19 h 71"/>
              <a:gd name="T10" fmla="*/ 60 w 70"/>
              <a:gd name="T11" fmla="*/ 35 h 71"/>
              <a:gd name="T12" fmla="*/ 35 w 70"/>
              <a:gd name="T13" fmla="*/ 60 h 71"/>
              <a:gd name="T14" fmla="*/ 10 w 70"/>
              <a:gd name="T15" fmla="*/ 36 h 71"/>
              <a:gd name="T16" fmla="*/ 16 w 70"/>
              <a:gd name="T17" fmla="*/ 21 h 71"/>
              <a:gd name="T18" fmla="*/ 18 w 70"/>
              <a:gd name="T19" fmla="*/ 18 h 71"/>
              <a:gd name="T20" fmla="*/ 25 w 70"/>
              <a:gd name="T21" fmla="*/ 26 h 71"/>
              <a:gd name="T22" fmla="*/ 30 w 70"/>
              <a:gd name="T23" fmla="*/ 0 h 71"/>
              <a:gd name="T24" fmla="*/ 4 w 70"/>
              <a:gd name="T25" fmla="*/ 2 h 71"/>
              <a:gd name="T26" fmla="*/ 11 w 70"/>
              <a:gd name="T27" fmla="*/ 10 h 71"/>
              <a:gd name="T28" fmla="*/ 9 w 70"/>
              <a:gd name="T29" fmla="*/ 12 h 71"/>
              <a:gd name="T30" fmla="*/ 0 w 70"/>
              <a:gd name="T31" fmla="*/ 36 h 71"/>
              <a:gd name="T32" fmla="*/ 35 w 70"/>
              <a:gd name="T33" fmla="*/ 71 h 71"/>
              <a:gd name="T34" fmla="*/ 35 w 70"/>
              <a:gd name="T35" fmla="*/ 71 h 71"/>
              <a:gd name="T36" fmla="*/ 70 w 70"/>
              <a:gd name="T37" fmla="*/ 35 h 71"/>
              <a:gd name="T38" fmla="*/ 61 w 70"/>
              <a:gd name="T39" fmla="*/ 1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0" h="71">
                <a:moveTo>
                  <a:pt x="61" y="11"/>
                </a:moveTo>
                <a:cubicBezTo>
                  <a:pt x="60" y="11"/>
                  <a:pt x="60" y="11"/>
                  <a:pt x="60" y="11"/>
                </a:cubicBezTo>
                <a:cubicBezTo>
                  <a:pt x="53" y="18"/>
                  <a:pt x="53" y="18"/>
                  <a:pt x="53" y="18"/>
                </a:cubicBezTo>
                <a:cubicBezTo>
                  <a:pt x="53" y="19"/>
                  <a:pt x="53" y="19"/>
                  <a:pt x="53" y="19"/>
                </a:cubicBezTo>
                <a:cubicBezTo>
                  <a:pt x="53" y="19"/>
                  <a:pt x="53" y="19"/>
                  <a:pt x="53" y="19"/>
                </a:cubicBezTo>
                <a:cubicBezTo>
                  <a:pt x="57" y="23"/>
                  <a:pt x="60" y="29"/>
                  <a:pt x="60" y="35"/>
                </a:cubicBezTo>
                <a:cubicBezTo>
                  <a:pt x="60" y="49"/>
                  <a:pt x="49" y="60"/>
                  <a:pt x="35" y="60"/>
                </a:cubicBezTo>
                <a:cubicBezTo>
                  <a:pt x="22" y="60"/>
                  <a:pt x="11" y="49"/>
                  <a:pt x="10" y="36"/>
                </a:cubicBezTo>
                <a:cubicBezTo>
                  <a:pt x="10" y="30"/>
                  <a:pt x="12" y="25"/>
                  <a:pt x="16" y="21"/>
                </a:cubicBezTo>
                <a:cubicBezTo>
                  <a:pt x="18" y="18"/>
                  <a:pt x="18" y="18"/>
                  <a:pt x="18" y="18"/>
                </a:cubicBezTo>
                <a:cubicBezTo>
                  <a:pt x="25" y="26"/>
                  <a:pt x="25" y="26"/>
                  <a:pt x="25" y="26"/>
                </a:cubicBezTo>
                <a:cubicBezTo>
                  <a:pt x="30" y="0"/>
                  <a:pt x="30" y="0"/>
                  <a:pt x="30" y="0"/>
                </a:cubicBezTo>
                <a:cubicBezTo>
                  <a:pt x="4" y="2"/>
                  <a:pt x="4" y="2"/>
                  <a:pt x="4" y="2"/>
                </a:cubicBezTo>
                <a:cubicBezTo>
                  <a:pt x="11" y="10"/>
                  <a:pt x="11" y="10"/>
                  <a:pt x="11" y="10"/>
                </a:cubicBezTo>
                <a:cubicBezTo>
                  <a:pt x="9" y="12"/>
                  <a:pt x="9" y="12"/>
                  <a:pt x="9" y="12"/>
                </a:cubicBezTo>
                <a:cubicBezTo>
                  <a:pt x="3" y="19"/>
                  <a:pt x="0" y="27"/>
                  <a:pt x="0" y="36"/>
                </a:cubicBezTo>
                <a:cubicBezTo>
                  <a:pt x="0" y="55"/>
                  <a:pt x="16" y="71"/>
                  <a:pt x="35" y="71"/>
                </a:cubicBezTo>
                <a:cubicBezTo>
                  <a:pt x="35" y="71"/>
                  <a:pt x="35" y="71"/>
                  <a:pt x="35" y="71"/>
                </a:cubicBezTo>
                <a:cubicBezTo>
                  <a:pt x="55" y="71"/>
                  <a:pt x="70" y="55"/>
                  <a:pt x="70" y="35"/>
                </a:cubicBezTo>
                <a:cubicBezTo>
                  <a:pt x="70" y="26"/>
                  <a:pt x="67" y="18"/>
                  <a:pt x="61" y="11"/>
                </a:cubicBezTo>
              </a:path>
            </a:pathLst>
          </a:custGeom>
          <a:solidFill>
            <a:schemeClr val="tx1"/>
          </a:solidFill>
          <a:ln>
            <a:noFill/>
          </a:ln>
        </p:spPr>
        <p:txBody>
          <a:bodyPr vert="horz" wrap="square" lIns="69953" tIns="34976" rIns="69953" bIns="34976" numCol="1" anchor="t" anchorCtr="0" compatLnSpc="1">
            <a:prstTxWarp prst="textNoShape">
              <a:avLst/>
            </a:prstTxWarp>
          </a:bodyPr>
          <a:lstStyle/>
          <a:p>
            <a:endParaRPr lang="en-US" sz="1350">
              <a:solidFill>
                <a:srgbClr val="000000"/>
              </a:solidFill>
            </a:endParaRPr>
          </a:p>
        </p:txBody>
      </p:sp>
      <p:sp>
        <p:nvSpPr>
          <p:cNvPr id="70" name="Freeform 21"/>
          <p:cNvSpPr>
            <a:spLocks noChangeAspect="1" noEditPoints="1"/>
          </p:cNvSpPr>
          <p:nvPr/>
        </p:nvSpPr>
        <p:spPr bwMode="black">
          <a:xfrm>
            <a:off x="242762" y="3875709"/>
            <a:ext cx="365760" cy="318790"/>
          </a:xfrm>
          <a:custGeom>
            <a:avLst/>
            <a:gdLst>
              <a:gd name="T0" fmla="*/ 1220 w 1220"/>
              <a:gd name="T1" fmla="*/ 204 h 1063"/>
              <a:gd name="T2" fmla="*/ 1096 w 1220"/>
              <a:gd name="T3" fmla="*/ 79 h 1063"/>
              <a:gd name="T4" fmla="*/ 978 w 1220"/>
              <a:gd name="T5" fmla="*/ 164 h 1063"/>
              <a:gd name="T6" fmla="*/ 589 w 1220"/>
              <a:gd name="T7" fmla="*/ 115 h 1063"/>
              <a:gd name="T8" fmla="*/ 465 w 1220"/>
              <a:gd name="T9" fmla="*/ 0 h 1063"/>
              <a:gd name="T10" fmla="*/ 340 w 1220"/>
              <a:gd name="T11" fmla="*/ 124 h 1063"/>
              <a:gd name="T12" fmla="*/ 370 w 1220"/>
              <a:gd name="T13" fmla="*/ 205 h 1063"/>
              <a:gd name="T14" fmla="*/ 180 w 1220"/>
              <a:gd name="T15" fmla="*/ 453 h 1063"/>
              <a:gd name="T16" fmla="*/ 125 w 1220"/>
              <a:gd name="T17" fmla="*/ 440 h 1063"/>
              <a:gd name="T18" fmla="*/ 0 w 1220"/>
              <a:gd name="T19" fmla="*/ 564 h 1063"/>
              <a:gd name="T20" fmla="*/ 125 w 1220"/>
              <a:gd name="T21" fmla="*/ 689 h 1063"/>
              <a:gd name="T22" fmla="*/ 197 w 1220"/>
              <a:gd name="T23" fmla="*/ 666 h 1063"/>
              <a:gd name="T24" fmla="*/ 416 w 1220"/>
              <a:gd name="T25" fmla="*/ 872 h 1063"/>
              <a:gd name="T26" fmla="*/ 397 w 1220"/>
              <a:gd name="T27" fmla="*/ 938 h 1063"/>
              <a:gd name="T28" fmla="*/ 521 w 1220"/>
              <a:gd name="T29" fmla="*/ 1063 h 1063"/>
              <a:gd name="T30" fmla="*/ 646 w 1220"/>
              <a:gd name="T31" fmla="*/ 938 h 1063"/>
              <a:gd name="T32" fmla="*/ 642 w 1220"/>
              <a:gd name="T33" fmla="*/ 908 h 1063"/>
              <a:gd name="T34" fmla="*/ 948 w 1220"/>
              <a:gd name="T35" fmla="*/ 763 h 1063"/>
              <a:gd name="T36" fmla="*/ 1048 w 1220"/>
              <a:gd name="T37" fmla="*/ 814 h 1063"/>
              <a:gd name="T38" fmla="*/ 1173 w 1220"/>
              <a:gd name="T39" fmla="*/ 689 h 1063"/>
              <a:gd name="T40" fmla="*/ 1084 w 1220"/>
              <a:gd name="T41" fmla="*/ 570 h 1063"/>
              <a:gd name="T42" fmla="*/ 1108 w 1220"/>
              <a:gd name="T43" fmla="*/ 327 h 1063"/>
              <a:gd name="T44" fmla="*/ 1220 w 1220"/>
              <a:gd name="T45" fmla="*/ 204 h 1063"/>
              <a:gd name="T46" fmla="*/ 521 w 1220"/>
              <a:gd name="T47" fmla="*/ 594 h 1063"/>
              <a:gd name="T48" fmla="*/ 493 w 1220"/>
              <a:gd name="T49" fmla="*/ 245 h 1063"/>
              <a:gd name="T50" fmla="*/ 535 w 1220"/>
              <a:gd name="T51" fmla="*/ 226 h 1063"/>
              <a:gd name="T52" fmla="*/ 944 w 1220"/>
              <a:gd name="T53" fmla="*/ 621 h 1063"/>
              <a:gd name="T54" fmla="*/ 930 w 1220"/>
              <a:gd name="T55" fmla="*/ 649 h 1063"/>
              <a:gd name="T56" fmla="*/ 521 w 1220"/>
              <a:gd name="T57" fmla="*/ 594 h 1063"/>
              <a:gd name="T58" fmla="*/ 490 w 1220"/>
              <a:gd name="T59" fmla="*/ 818 h 1063"/>
              <a:gd name="T60" fmla="*/ 449 w 1220"/>
              <a:gd name="T61" fmla="*/ 837 h 1063"/>
              <a:gd name="T62" fmla="*/ 230 w 1220"/>
              <a:gd name="T63" fmla="*/ 631 h 1063"/>
              <a:gd name="T64" fmla="*/ 242 w 1220"/>
              <a:gd name="T65" fmla="*/ 605 h 1063"/>
              <a:gd name="T66" fmla="*/ 476 w 1220"/>
              <a:gd name="T67" fmla="*/ 636 h 1063"/>
              <a:gd name="T68" fmla="*/ 490 w 1220"/>
              <a:gd name="T69" fmla="*/ 818 h 1063"/>
              <a:gd name="T70" fmla="*/ 249 w 1220"/>
              <a:gd name="T71" fmla="*/ 558 h 1063"/>
              <a:gd name="T72" fmla="*/ 218 w 1220"/>
              <a:gd name="T73" fmla="*/ 482 h 1063"/>
              <a:gd name="T74" fmla="*/ 408 w 1220"/>
              <a:gd name="T75" fmla="*/ 235 h 1063"/>
              <a:gd name="T76" fmla="*/ 445 w 1220"/>
              <a:gd name="T77" fmla="*/ 247 h 1063"/>
              <a:gd name="T78" fmla="*/ 472 w 1220"/>
              <a:gd name="T79" fmla="*/ 587 h 1063"/>
              <a:gd name="T80" fmla="*/ 249 w 1220"/>
              <a:gd name="T81" fmla="*/ 558 h 1063"/>
              <a:gd name="T82" fmla="*/ 977 w 1220"/>
              <a:gd name="T83" fmla="*/ 587 h 1063"/>
              <a:gd name="T84" fmla="*/ 569 w 1220"/>
              <a:gd name="T85" fmla="*/ 192 h 1063"/>
              <a:gd name="T86" fmla="*/ 583 w 1220"/>
              <a:gd name="T87" fmla="*/ 163 h 1063"/>
              <a:gd name="T88" fmla="*/ 972 w 1220"/>
              <a:gd name="T89" fmla="*/ 212 h 1063"/>
              <a:gd name="T90" fmla="*/ 1060 w 1220"/>
              <a:gd name="T91" fmla="*/ 323 h 1063"/>
              <a:gd name="T92" fmla="*/ 1036 w 1220"/>
              <a:gd name="T93" fmla="*/ 566 h 1063"/>
              <a:gd name="T94" fmla="*/ 977 w 1220"/>
              <a:gd name="T95" fmla="*/ 587 h 1063"/>
              <a:gd name="T96" fmla="*/ 621 w 1220"/>
              <a:gd name="T97" fmla="*/ 864 h 1063"/>
              <a:gd name="T98" fmla="*/ 538 w 1220"/>
              <a:gd name="T99" fmla="*/ 815 h 1063"/>
              <a:gd name="T100" fmla="*/ 524 w 1220"/>
              <a:gd name="T101" fmla="*/ 643 h 1063"/>
              <a:gd name="T102" fmla="*/ 924 w 1220"/>
              <a:gd name="T103" fmla="*/ 696 h 1063"/>
              <a:gd name="T104" fmla="*/ 927 w 1220"/>
              <a:gd name="T105" fmla="*/ 720 h 1063"/>
              <a:gd name="T106" fmla="*/ 621 w 1220"/>
              <a:gd name="T107" fmla="*/ 864 h 10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220" h="1063">
                <a:moveTo>
                  <a:pt x="1220" y="204"/>
                </a:moveTo>
                <a:cubicBezTo>
                  <a:pt x="1220" y="135"/>
                  <a:pt x="1164" y="79"/>
                  <a:pt x="1096" y="79"/>
                </a:cubicBezTo>
                <a:cubicBezTo>
                  <a:pt x="1041" y="79"/>
                  <a:pt x="994" y="115"/>
                  <a:pt x="978" y="164"/>
                </a:cubicBezTo>
                <a:cubicBezTo>
                  <a:pt x="589" y="115"/>
                  <a:pt x="589" y="115"/>
                  <a:pt x="589" y="115"/>
                </a:cubicBezTo>
                <a:cubicBezTo>
                  <a:pt x="584" y="51"/>
                  <a:pt x="530" y="0"/>
                  <a:pt x="465" y="0"/>
                </a:cubicBezTo>
                <a:cubicBezTo>
                  <a:pt x="396" y="0"/>
                  <a:pt x="340" y="55"/>
                  <a:pt x="340" y="124"/>
                </a:cubicBezTo>
                <a:cubicBezTo>
                  <a:pt x="340" y="155"/>
                  <a:pt x="352" y="183"/>
                  <a:pt x="370" y="205"/>
                </a:cubicBezTo>
                <a:cubicBezTo>
                  <a:pt x="180" y="453"/>
                  <a:pt x="180" y="453"/>
                  <a:pt x="180" y="453"/>
                </a:cubicBezTo>
                <a:cubicBezTo>
                  <a:pt x="163" y="445"/>
                  <a:pt x="145" y="440"/>
                  <a:pt x="125" y="440"/>
                </a:cubicBezTo>
                <a:cubicBezTo>
                  <a:pt x="56" y="440"/>
                  <a:pt x="0" y="496"/>
                  <a:pt x="0" y="564"/>
                </a:cubicBezTo>
                <a:cubicBezTo>
                  <a:pt x="0" y="633"/>
                  <a:pt x="56" y="689"/>
                  <a:pt x="125" y="689"/>
                </a:cubicBezTo>
                <a:cubicBezTo>
                  <a:pt x="152" y="689"/>
                  <a:pt x="177" y="680"/>
                  <a:pt x="197" y="666"/>
                </a:cubicBezTo>
                <a:cubicBezTo>
                  <a:pt x="416" y="872"/>
                  <a:pt x="416" y="872"/>
                  <a:pt x="416" y="872"/>
                </a:cubicBezTo>
                <a:cubicBezTo>
                  <a:pt x="404" y="891"/>
                  <a:pt x="397" y="914"/>
                  <a:pt x="397" y="938"/>
                </a:cubicBezTo>
                <a:cubicBezTo>
                  <a:pt x="397" y="1007"/>
                  <a:pt x="453" y="1063"/>
                  <a:pt x="521" y="1063"/>
                </a:cubicBezTo>
                <a:cubicBezTo>
                  <a:pt x="590" y="1063"/>
                  <a:pt x="646" y="1007"/>
                  <a:pt x="646" y="938"/>
                </a:cubicBezTo>
                <a:cubicBezTo>
                  <a:pt x="646" y="928"/>
                  <a:pt x="644" y="918"/>
                  <a:pt x="642" y="908"/>
                </a:cubicBezTo>
                <a:cubicBezTo>
                  <a:pt x="948" y="763"/>
                  <a:pt x="948" y="763"/>
                  <a:pt x="948" y="763"/>
                </a:cubicBezTo>
                <a:cubicBezTo>
                  <a:pt x="970" y="794"/>
                  <a:pt x="1007" y="814"/>
                  <a:pt x="1048" y="814"/>
                </a:cubicBezTo>
                <a:cubicBezTo>
                  <a:pt x="1117" y="814"/>
                  <a:pt x="1173" y="758"/>
                  <a:pt x="1173" y="689"/>
                </a:cubicBezTo>
                <a:cubicBezTo>
                  <a:pt x="1173" y="633"/>
                  <a:pt x="1135" y="586"/>
                  <a:pt x="1084" y="570"/>
                </a:cubicBezTo>
                <a:cubicBezTo>
                  <a:pt x="1108" y="327"/>
                  <a:pt x="1108" y="327"/>
                  <a:pt x="1108" y="327"/>
                </a:cubicBezTo>
                <a:cubicBezTo>
                  <a:pt x="1171" y="321"/>
                  <a:pt x="1220" y="268"/>
                  <a:pt x="1220" y="204"/>
                </a:cubicBezTo>
                <a:close/>
                <a:moveTo>
                  <a:pt x="521" y="594"/>
                </a:moveTo>
                <a:cubicBezTo>
                  <a:pt x="493" y="245"/>
                  <a:pt x="493" y="245"/>
                  <a:pt x="493" y="245"/>
                </a:cubicBezTo>
                <a:cubicBezTo>
                  <a:pt x="509" y="241"/>
                  <a:pt x="523" y="235"/>
                  <a:pt x="535" y="226"/>
                </a:cubicBezTo>
                <a:cubicBezTo>
                  <a:pt x="944" y="621"/>
                  <a:pt x="944" y="621"/>
                  <a:pt x="944" y="621"/>
                </a:cubicBezTo>
                <a:cubicBezTo>
                  <a:pt x="938" y="630"/>
                  <a:pt x="934" y="639"/>
                  <a:pt x="930" y="649"/>
                </a:cubicBezTo>
                <a:lnTo>
                  <a:pt x="521" y="594"/>
                </a:lnTo>
                <a:close/>
                <a:moveTo>
                  <a:pt x="490" y="818"/>
                </a:moveTo>
                <a:cubicBezTo>
                  <a:pt x="475" y="822"/>
                  <a:pt x="461" y="828"/>
                  <a:pt x="449" y="837"/>
                </a:cubicBezTo>
                <a:cubicBezTo>
                  <a:pt x="230" y="631"/>
                  <a:pt x="230" y="631"/>
                  <a:pt x="230" y="631"/>
                </a:cubicBezTo>
                <a:cubicBezTo>
                  <a:pt x="235" y="623"/>
                  <a:pt x="239" y="614"/>
                  <a:pt x="242" y="605"/>
                </a:cubicBezTo>
                <a:cubicBezTo>
                  <a:pt x="476" y="636"/>
                  <a:pt x="476" y="636"/>
                  <a:pt x="476" y="636"/>
                </a:cubicBezTo>
                <a:lnTo>
                  <a:pt x="490" y="818"/>
                </a:lnTo>
                <a:close/>
                <a:moveTo>
                  <a:pt x="249" y="558"/>
                </a:moveTo>
                <a:cubicBezTo>
                  <a:pt x="247" y="529"/>
                  <a:pt x="236" y="502"/>
                  <a:pt x="218" y="482"/>
                </a:cubicBezTo>
                <a:cubicBezTo>
                  <a:pt x="408" y="235"/>
                  <a:pt x="408" y="235"/>
                  <a:pt x="408" y="235"/>
                </a:cubicBezTo>
                <a:cubicBezTo>
                  <a:pt x="420" y="241"/>
                  <a:pt x="432" y="245"/>
                  <a:pt x="445" y="247"/>
                </a:cubicBezTo>
                <a:cubicBezTo>
                  <a:pt x="472" y="587"/>
                  <a:pt x="472" y="587"/>
                  <a:pt x="472" y="587"/>
                </a:cubicBezTo>
                <a:lnTo>
                  <a:pt x="249" y="558"/>
                </a:lnTo>
                <a:close/>
                <a:moveTo>
                  <a:pt x="977" y="587"/>
                </a:moveTo>
                <a:cubicBezTo>
                  <a:pt x="569" y="192"/>
                  <a:pt x="569" y="192"/>
                  <a:pt x="569" y="192"/>
                </a:cubicBezTo>
                <a:cubicBezTo>
                  <a:pt x="575" y="183"/>
                  <a:pt x="579" y="173"/>
                  <a:pt x="583" y="163"/>
                </a:cubicBezTo>
                <a:cubicBezTo>
                  <a:pt x="972" y="212"/>
                  <a:pt x="972" y="212"/>
                  <a:pt x="972" y="212"/>
                </a:cubicBezTo>
                <a:cubicBezTo>
                  <a:pt x="975" y="265"/>
                  <a:pt x="1011" y="308"/>
                  <a:pt x="1060" y="323"/>
                </a:cubicBezTo>
                <a:cubicBezTo>
                  <a:pt x="1036" y="566"/>
                  <a:pt x="1036" y="566"/>
                  <a:pt x="1036" y="566"/>
                </a:cubicBezTo>
                <a:cubicBezTo>
                  <a:pt x="1015" y="568"/>
                  <a:pt x="994" y="575"/>
                  <a:pt x="977" y="587"/>
                </a:cubicBezTo>
                <a:close/>
                <a:moveTo>
                  <a:pt x="621" y="864"/>
                </a:moveTo>
                <a:cubicBezTo>
                  <a:pt x="602" y="838"/>
                  <a:pt x="572" y="819"/>
                  <a:pt x="538" y="815"/>
                </a:cubicBezTo>
                <a:cubicBezTo>
                  <a:pt x="524" y="643"/>
                  <a:pt x="524" y="643"/>
                  <a:pt x="524" y="643"/>
                </a:cubicBezTo>
                <a:cubicBezTo>
                  <a:pt x="924" y="696"/>
                  <a:pt x="924" y="696"/>
                  <a:pt x="924" y="696"/>
                </a:cubicBezTo>
                <a:cubicBezTo>
                  <a:pt x="924" y="704"/>
                  <a:pt x="925" y="712"/>
                  <a:pt x="927" y="720"/>
                </a:cubicBezTo>
                <a:lnTo>
                  <a:pt x="621" y="864"/>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1177" tIns="56942" rIns="71177" bIns="56942" numCol="1" spcCol="0" rtlCol="0" fromWordArt="0" anchor="t" anchorCtr="0" forceAA="0" compatLnSpc="1">
            <a:prstTxWarp prst="textNoShape">
              <a:avLst/>
            </a:prstTxWarp>
            <a:noAutofit/>
          </a:bodyPr>
          <a:lstStyle/>
          <a:p>
            <a:pPr algn="ctr" defTabSz="362895" fontAlgn="base">
              <a:lnSpc>
                <a:spcPct val="90000"/>
              </a:lnSpc>
              <a:spcBef>
                <a:spcPct val="0"/>
              </a:spcBef>
              <a:spcAft>
                <a:spcPct val="0"/>
              </a:spcAft>
            </a:pPr>
            <a:endParaRPr lang="en-US" sz="934">
              <a:gradFill>
                <a:gsLst>
                  <a:gs pos="0">
                    <a:srgbClr val="FFFFFF"/>
                  </a:gs>
                  <a:gs pos="100000">
                    <a:srgbClr val="FFFFFF"/>
                  </a:gs>
                </a:gsLst>
                <a:lin ang="5400000" scaled="0"/>
              </a:gradFill>
              <a:ea typeface="Segoe UI" pitchFamily="34" charset="0"/>
              <a:cs typeface="Segoe UI" pitchFamily="34" charset="0"/>
            </a:endParaRPr>
          </a:p>
        </p:txBody>
      </p:sp>
      <p:sp>
        <p:nvSpPr>
          <p:cNvPr id="71" name="Freeform 70"/>
          <p:cNvSpPr>
            <a:spLocks noChangeAspect="1"/>
          </p:cNvSpPr>
          <p:nvPr/>
        </p:nvSpPr>
        <p:spPr bwMode="black">
          <a:xfrm>
            <a:off x="242762" y="5803220"/>
            <a:ext cx="365760" cy="320928"/>
          </a:xfrm>
          <a:custGeom>
            <a:avLst/>
            <a:gdLst/>
            <a:ahLst/>
            <a:cxnLst/>
            <a:rect l="l" t="t" r="r" b="b"/>
            <a:pathLst>
              <a:path w="4740335" h="4048081">
                <a:moveTo>
                  <a:pt x="3683614" y="1098549"/>
                </a:moveTo>
                <a:cubicBezTo>
                  <a:pt x="3683654" y="1098549"/>
                  <a:pt x="3689354" y="1098549"/>
                  <a:pt x="4502870" y="1098549"/>
                </a:cubicBezTo>
                <a:cubicBezTo>
                  <a:pt x="4633477" y="1098549"/>
                  <a:pt x="4740335" y="1205183"/>
                  <a:pt x="4740335" y="1335514"/>
                </a:cubicBezTo>
                <a:cubicBezTo>
                  <a:pt x="4740335" y="1335569"/>
                  <a:pt x="4740335" y="1343335"/>
                  <a:pt x="4740335" y="2449249"/>
                </a:cubicBezTo>
                <a:cubicBezTo>
                  <a:pt x="4740335" y="2579580"/>
                  <a:pt x="4633477" y="2686214"/>
                  <a:pt x="4502870" y="2686214"/>
                </a:cubicBezTo>
                <a:cubicBezTo>
                  <a:pt x="4502870" y="2686253"/>
                  <a:pt x="4502870" y="2691777"/>
                  <a:pt x="4502870" y="3480046"/>
                </a:cubicBezTo>
                <a:cubicBezTo>
                  <a:pt x="4502870" y="3610377"/>
                  <a:pt x="4396011" y="3717011"/>
                  <a:pt x="4265405" y="3717011"/>
                </a:cubicBezTo>
                <a:cubicBezTo>
                  <a:pt x="4265376" y="3717011"/>
                  <a:pt x="4262133" y="3717011"/>
                  <a:pt x="3909206" y="3717011"/>
                </a:cubicBezTo>
                <a:cubicBezTo>
                  <a:pt x="3790473" y="3717011"/>
                  <a:pt x="3683614" y="3610377"/>
                  <a:pt x="3683614" y="3480046"/>
                </a:cubicBezTo>
                <a:cubicBezTo>
                  <a:pt x="3683614" y="3480010"/>
                  <a:pt x="3683614" y="3474701"/>
                  <a:pt x="3683614" y="2686214"/>
                </a:cubicBezTo>
                <a:cubicBezTo>
                  <a:pt x="3553008" y="2686214"/>
                  <a:pt x="3446148" y="2579580"/>
                  <a:pt x="3446148" y="2449249"/>
                </a:cubicBezTo>
                <a:cubicBezTo>
                  <a:pt x="3446148" y="2449192"/>
                  <a:pt x="3446148" y="2441288"/>
                  <a:pt x="3446148" y="1335514"/>
                </a:cubicBezTo>
                <a:cubicBezTo>
                  <a:pt x="3446148" y="1205183"/>
                  <a:pt x="3553008" y="1098549"/>
                  <a:pt x="3683614" y="1098549"/>
                </a:cubicBezTo>
                <a:close/>
                <a:moveTo>
                  <a:pt x="236546" y="1098549"/>
                </a:moveTo>
                <a:cubicBezTo>
                  <a:pt x="236570" y="1098549"/>
                  <a:pt x="240947" y="1098549"/>
                  <a:pt x="1052628" y="1098549"/>
                </a:cubicBezTo>
                <a:cubicBezTo>
                  <a:pt x="1182728" y="1098549"/>
                  <a:pt x="1289174" y="1205183"/>
                  <a:pt x="1289174" y="1335514"/>
                </a:cubicBezTo>
                <a:cubicBezTo>
                  <a:pt x="1289174" y="1335532"/>
                  <a:pt x="1289174" y="1340039"/>
                  <a:pt x="1289174" y="2449249"/>
                </a:cubicBezTo>
                <a:cubicBezTo>
                  <a:pt x="1289174" y="2579580"/>
                  <a:pt x="1182728" y="2686214"/>
                  <a:pt x="1052628" y="2686214"/>
                </a:cubicBezTo>
                <a:cubicBezTo>
                  <a:pt x="1052628" y="2686235"/>
                  <a:pt x="1052628" y="2690268"/>
                  <a:pt x="1052628" y="3480046"/>
                </a:cubicBezTo>
                <a:cubicBezTo>
                  <a:pt x="1052628" y="3610377"/>
                  <a:pt x="946183" y="3717011"/>
                  <a:pt x="827910" y="3717011"/>
                </a:cubicBezTo>
                <a:cubicBezTo>
                  <a:pt x="827894" y="3717011"/>
                  <a:pt x="825508" y="3717011"/>
                  <a:pt x="473091" y="3717011"/>
                </a:cubicBezTo>
                <a:cubicBezTo>
                  <a:pt x="342991" y="3717011"/>
                  <a:pt x="236546" y="3610377"/>
                  <a:pt x="236546" y="3480046"/>
                </a:cubicBezTo>
                <a:cubicBezTo>
                  <a:pt x="236546" y="3480026"/>
                  <a:pt x="236546" y="3476021"/>
                  <a:pt x="236546" y="2686214"/>
                </a:cubicBezTo>
                <a:cubicBezTo>
                  <a:pt x="106446" y="2686214"/>
                  <a:pt x="0" y="2579580"/>
                  <a:pt x="0" y="2449249"/>
                </a:cubicBezTo>
                <a:cubicBezTo>
                  <a:pt x="0" y="2449230"/>
                  <a:pt x="0" y="2444630"/>
                  <a:pt x="0" y="1335514"/>
                </a:cubicBezTo>
                <a:cubicBezTo>
                  <a:pt x="0" y="1205183"/>
                  <a:pt x="106446" y="1098549"/>
                  <a:pt x="236546" y="1098549"/>
                </a:cubicBezTo>
                <a:close/>
                <a:moveTo>
                  <a:pt x="1895194" y="993211"/>
                </a:moveTo>
                <a:cubicBezTo>
                  <a:pt x="1895245" y="993211"/>
                  <a:pt x="1902161" y="993211"/>
                  <a:pt x="2845141" y="993211"/>
                </a:cubicBezTo>
                <a:cubicBezTo>
                  <a:pt x="2999507" y="993211"/>
                  <a:pt x="3130125" y="1123457"/>
                  <a:pt x="3130125" y="1277385"/>
                </a:cubicBezTo>
                <a:cubicBezTo>
                  <a:pt x="3130125" y="1277420"/>
                  <a:pt x="3130125" y="1284134"/>
                  <a:pt x="3130125" y="2568008"/>
                </a:cubicBezTo>
                <a:cubicBezTo>
                  <a:pt x="3130125" y="2721936"/>
                  <a:pt x="2999507" y="2852182"/>
                  <a:pt x="2845141" y="2852182"/>
                </a:cubicBezTo>
                <a:cubicBezTo>
                  <a:pt x="2845141" y="2852231"/>
                  <a:pt x="2845141" y="2858826"/>
                  <a:pt x="2845141" y="3763907"/>
                </a:cubicBezTo>
                <a:cubicBezTo>
                  <a:pt x="2845141" y="3917835"/>
                  <a:pt x="2726398" y="4048081"/>
                  <a:pt x="2572031" y="4048081"/>
                </a:cubicBezTo>
                <a:cubicBezTo>
                  <a:pt x="2571992" y="4048081"/>
                  <a:pt x="2568051" y="4048081"/>
                  <a:pt x="2168304" y="4048081"/>
                </a:cubicBezTo>
                <a:cubicBezTo>
                  <a:pt x="2013937" y="4048081"/>
                  <a:pt x="1895194" y="3917835"/>
                  <a:pt x="1895194" y="3763907"/>
                </a:cubicBezTo>
                <a:cubicBezTo>
                  <a:pt x="1895194" y="3763858"/>
                  <a:pt x="1895194" y="3757193"/>
                  <a:pt x="1895194" y="2852182"/>
                </a:cubicBezTo>
                <a:cubicBezTo>
                  <a:pt x="1740828" y="2852182"/>
                  <a:pt x="1610210" y="2721936"/>
                  <a:pt x="1610210" y="2568008"/>
                </a:cubicBezTo>
                <a:cubicBezTo>
                  <a:pt x="1610210" y="2567966"/>
                  <a:pt x="1610210" y="2560581"/>
                  <a:pt x="1610210" y="1277385"/>
                </a:cubicBezTo>
                <a:cubicBezTo>
                  <a:pt x="1610210" y="1123457"/>
                  <a:pt x="1740828" y="993211"/>
                  <a:pt x="1895194" y="993211"/>
                </a:cubicBezTo>
                <a:close/>
                <a:moveTo>
                  <a:pt x="4093246" y="245790"/>
                </a:moveTo>
                <a:cubicBezTo>
                  <a:pt x="4306565" y="245790"/>
                  <a:pt x="4479495" y="420965"/>
                  <a:pt x="4479495" y="637055"/>
                </a:cubicBezTo>
                <a:cubicBezTo>
                  <a:pt x="4479495" y="853145"/>
                  <a:pt x="4306565" y="1028320"/>
                  <a:pt x="4093246" y="1028320"/>
                </a:cubicBezTo>
                <a:cubicBezTo>
                  <a:pt x="3879927" y="1028320"/>
                  <a:pt x="3706997" y="853145"/>
                  <a:pt x="3706997" y="637055"/>
                </a:cubicBezTo>
                <a:cubicBezTo>
                  <a:pt x="3706997" y="420965"/>
                  <a:pt x="3879927" y="245790"/>
                  <a:pt x="4093246" y="245790"/>
                </a:cubicBezTo>
                <a:close/>
                <a:moveTo>
                  <a:pt x="644584" y="245790"/>
                </a:moveTo>
                <a:cubicBezTo>
                  <a:pt x="856519" y="245790"/>
                  <a:pt x="1028326" y="420965"/>
                  <a:pt x="1028326" y="637055"/>
                </a:cubicBezTo>
                <a:cubicBezTo>
                  <a:pt x="1028326" y="853145"/>
                  <a:pt x="856519" y="1028320"/>
                  <a:pt x="644584" y="1028320"/>
                </a:cubicBezTo>
                <a:cubicBezTo>
                  <a:pt x="432649" y="1028320"/>
                  <a:pt x="260842" y="853145"/>
                  <a:pt x="260842" y="637055"/>
                </a:cubicBezTo>
                <a:cubicBezTo>
                  <a:pt x="260842" y="420965"/>
                  <a:pt x="432649" y="245790"/>
                  <a:pt x="644584" y="245790"/>
                </a:cubicBezTo>
                <a:close/>
                <a:moveTo>
                  <a:pt x="2367657" y="0"/>
                </a:moveTo>
                <a:cubicBezTo>
                  <a:pt x="2616992" y="0"/>
                  <a:pt x="2819118" y="203249"/>
                  <a:pt x="2819118" y="453969"/>
                </a:cubicBezTo>
                <a:cubicBezTo>
                  <a:pt x="2819118" y="704689"/>
                  <a:pt x="2616992" y="907938"/>
                  <a:pt x="2367657" y="907938"/>
                </a:cubicBezTo>
                <a:cubicBezTo>
                  <a:pt x="2118322" y="907938"/>
                  <a:pt x="1916196" y="704689"/>
                  <a:pt x="1916196" y="453969"/>
                </a:cubicBezTo>
                <a:cubicBezTo>
                  <a:pt x="1916196" y="203249"/>
                  <a:pt x="2118322" y="0"/>
                  <a:pt x="2367657"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37148" tIns="109719" rIns="137148" bIns="109719"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699261" fontAlgn="base">
              <a:lnSpc>
                <a:spcPct val="90000"/>
              </a:lnSpc>
              <a:spcBef>
                <a:spcPct val="0"/>
              </a:spcBef>
              <a:spcAft>
                <a:spcPct val="0"/>
              </a:spcAft>
            </a:pPr>
            <a:endParaRPr lang="en-US">
              <a:gradFill>
                <a:gsLst>
                  <a:gs pos="0">
                    <a:srgbClr val="FFFFFF"/>
                  </a:gs>
                  <a:gs pos="100000">
                    <a:srgbClr val="FFFFFF"/>
                  </a:gs>
                </a:gsLst>
                <a:lin ang="5400000" scaled="0"/>
              </a:gradFill>
              <a:ea typeface="Segoe UI" pitchFamily="34" charset="0"/>
              <a:cs typeface="Segoe UI" pitchFamily="34" charset="0"/>
            </a:endParaRPr>
          </a:p>
        </p:txBody>
      </p:sp>
      <p:sp>
        <p:nvSpPr>
          <p:cNvPr id="73" name="Rectangle 72"/>
          <p:cNvSpPr/>
          <p:nvPr/>
        </p:nvSpPr>
        <p:spPr bwMode="auto">
          <a:xfrm>
            <a:off x="-1464" y="5522328"/>
            <a:ext cx="2816907" cy="1335672"/>
          </a:xfrm>
          <a:prstGeom prst="rect">
            <a:avLst/>
          </a:prstGeom>
          <a:solidFill>
            <a:schemeClr val="tx1">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74" name="Rectangle 73"/>
          <p:cNvSpPr/>
          <p:nvPr/>
        </p:nvSpPr>
        <p:spPr bwMode="auto">
          <a:xfrm>
            <a:off x="0" y="657643"/>
            <a:ext cx="2787733" cy="3872536"/>
          </a:xfrm>
          <a:prstGeom prst="rect">
            <a:avLst/>
          </a:prstGeom>
          <a:solidFill>
            <a:schemeClr val="tx1">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nvGrpSpPr>
          <p:cNvPr id="65" name="Group 64"/>
          <p:cNvGrpSpPr>
            <a:grpSpLocks noChangeAspect="1"/>
          </p:cNvGrpSpPr>
          <p:nvPr/>
        </p:nvGrpSpPr>
        <p:grpSpPr>
          <a:xfrm>
            <a:off x="6381828" y="1287559"/>
            <a:ext cx="5766056" cy="3819280"/>
            <a:chOff x="6071720" y="1197864"/>
            <a:chExt cx="6119944" cy="4021531"/>
          </a:xfrm>
        </p:grpSpPr>
        <p:sp>
          <p:nvSpPr>
            <p:cNvPr id="66" name="Oval 65"/>
            <p:cNvSpPr/>
            <p:nvPr/>
          </p:nvSpPr>
          <p:spPr bwMode="auto">
            <a:xfrm>
              <a:off x="9441855" y="3602627"/>
              <a:ext cx="270124" cy="270124"/>
            </a:xfrm>
            <a:prstGeom prst="ellipse">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336080" indent="-336080" algn="ctr" defTabSz="913927" fontAlgn="base">
                <a:lnSpc>
                  <a:spcPct val="90000"/>
                </a:lnSpc>
                <a:spcBef>
                  <a:spcPct val="0"/>
                </a:spcBef>
                <a:spcAft>
                  <a:spcPct val="0"/>
                </a:spcAft>
                <a:buFont typeface="Wingdings 3" panose="05040102010807070707" pitchFamily="18" charset="2"/>
                <a:buChar char="Æ"/>
                <a:defRPr/>
              </a:pPr>
              <a:endParaRPr lang="en-US" sz="1961" b="1" kern="0" err="1">
                <a:solidFill>
                  <a:srgbClr val="FFFFFF"/>
                </a:solidFill>
                <a:latin typeface="Segoe UI Light"/>
                <a:ea typeface="Segoe UI" pitchFamily="34" charset="0"/>
                <a:cs typeface="Segoe UI" pitchFamily="34" charset="0"/>
              </a:endParaRPr>
            </a:p>
          </p:txBody>
        </p:sp>
        <p:grpSp>
          <p:nvGrpSpPr>
            <p:cNvPr id="67" name="Group 66"/>
            <p:cNvGrpSpPr>
              <a:grpSpLocks noChangeAspect="1"/>
            </p:cNvGrpSpPr>
            <p:nvPr/>
          </p:nvGrpSpPr>
          <p:grpSpPr>
            <a:xfrm>
              <a:off x="6071720" y="1197864"/>
              <a:ext cx="6119944" cy="4021531"/>
              <a:chOff x="4840804" y="424970"/>
              <a:chExt cx="8319355" cy="5468177"/>
            </a:xfrm>
          </p:grpSpPr>
          <p:cxnSp>
            <p:nvCxnSpPr>
              <p:cNvPr id="76" name="Straight Connector 75"/>
              <p:cNvCxnSpPr/>
              <p:nvPr/>
            </p:nvCxnSpPr>
            <p:spPr>
              <a:xfrm flipV="1">
                <a:off x="5853844" y="3755734"/>
                <a:ext cx="7256212" cy="2370"/>
              </a:xfrm>
              <a:prstGeom prst="line">
                <a:avLst/>
              </a:prstGeom>
              <a:noFill/>
              <a:ln w="15875" cap="flat" cmpd="sng" algn="ctr">
                <a:solidFill>
                  <a:srgbClr val="505050"/>
                </a:solidFill>
                <a:prstDash val="dash"/>
                <a:headEnd type="none"/>
                <a:tailEnd type="none"/>
              </a:ln>
              <a:effectLst/>
            </p:spPr>
          </p:cxnSp>
          <p:grpSp>
            <p:nvGrpSpPr>
              <p:cNvPr id="77" name="Group 76"/>
              <p:cNvGrpSpPr/>
              <p:nvPr/>
            </p:nvGrpSpPr>
            <p:grpSpPr>
              <a:xfrm>
                <a:off x="10869544" y="4603185"/>
                <a:ext cx="1470144" cy="865250"/>
                <a:chOff x="2927465" y="5236638"/>
                <a:chExt cx="1470768" cy="865618"/>
              </a:xfrm>
            </p:grpSpPr>
            <p:sp>
              <p:nvSpPr>
                <p:cNvPr id="84" name="Freeform 83"/>
                <p:cNvSpPr>
                  <a:spLocks noEditPoints="1"/>
                </p:cNvSpPr>
                <p:nvPr/>
              </p:nvSpPr>
              <p:spPr bwMode="auto">
                <a:xfrm>
                  <a:off x="2927465" y="5236638"/>
                  <a:ext cx="360348" cy="865616"/>
                </a:xfrm>
                <a:custGeom>
                  <a:avLst/>
                  <a:gdLst>
                    <a:gd name="T0" fmla="*/ 0 w 184"/>
                    <a:gd name="T1" fmla="*/ 0 h 442"/>
                    <a:gd name="T2" fmla="*/ 0 w 184"/>
                    <a:gd name="T3" fmla="*/ 442 h 442"/>
                    <a:gd name="T4" fmla="*/ 184 w 184"/>
                    <a:gd name="T5" fmla="*/ 442 h 442"/>
                    <a:gd name="T6" fmla="*/ 184 w 184"/>
                    <a:gd name="T7" fmla="*/ 0 h 442"/>
                    <a:gd name="T8" fmla="*/ 0 w 184"/>
                    <a:gd name="T9" fmla="*/ 0 h 442"/>
                    <a:gd name="T10" fmla="*/ 85 w 184"/>
                    <a:gd name="T11" fmla="*/ 370 h 442"/>
                    <a:gd name="T12" fmla="*/ 19 w 184"/>
                    <a:gd name="T13" fmla="*/ 370 h 442"/>
                    <a:gd name="T14" fmla="*/ 19 w 184"/>
                    <a:gd name="T15" fmla="*/ 310 h 442"/>
                    <a:gd name="T16" fmla="*/ 85 w 184"/>
                    <a:gd name="T17" fmla="*/ 310 h 442"/>
                    <a:gd name="T18" fmla="*/ 85 w 184"/>
                    <a:gd name="T19" fmla="*/ 370 h 442"/>
                    <a:gd name="T20" fmla="*/ 85 w 184"/>
                    <a:gd name="T21" fmla="*/ 296 h 442"/>
                    <a:gd name="T22" fmla="*/ 19 w 184"/>
                    <a:gd name="T23" fmla="*/ 296 h 442"/>
                    <a:gd name="T24" fmla="*/ 19 w 184"/>
                    <a:gd name="T25" fmla="*/ 237 h 442"/>
                    <a:gd name="T26" fmla="*/ 85 w 184"/>
                    <a:gd name="T27" fmla="*/ 237 h 442"/>
                    <a:gd name="T28" fmla="*/ 85 w 184"/>
                    <a:gd name="T29" fmla="*/ 296 h 442"/>
                    <a:gd name="T30" fmla="*/ 85 w 184"/>
                    <a:gd name="T31" fmla="*/ 223 h 442"/>
                    <a:gd name="T32" fmla="*/ 19 w 184"/>
                    <a:gd name="T33" fmla="*/ 223 h 442"/>
                    <a:gd name="T34" fmla="*/ 19 w 184"/>
                    <a:gd name="T35" fmla="*/ 164 h 442"/>
                    <a:gd name="T36" fmla="*/ 85 w 184"/>
                    <a:gd name="T37" fmla="*/ 164 h 442"/>
                    <a:gd name="T38" fmla="*/ 85 w 184"/>
                    <a:gd name="T39" fmla="*/ 223 h 442"/>
                    <a:gd name="T40" fmla="*/ 85 w 184"/>
                    <a:gd name="T41" fmla="*/ 151 h 442"/>
                    <a:gd name="T42" fmla="*/ 19 w 184"/>
                    <a:gd name="T43" fmla="*/ 151 h 442"/>
                    <a:gd name="T44" fmla="*/ 19 w 184"/>
                    <a:gd name="T45" fmla="*/ 91 h 442"/>
                    <a:gd name="T46" fmla="*/ 85 w 184"/>
                    <a:gd name="T47" fmla="*/ 91 h 442"/>
                    <a:gd name="T48" fmla="*/ 85 w 184"/>
                    <a:gd name="T49" fmla="*/ 151 h 442"/>
                    <a:gd name="T50" fmla="*/ 85 w 184"/>
                    <a:gd name="T51" fmla="*/ 78 h 442"/>
                    <a:gd name="T52" fmla="*/ 19 w 184"/>
                    <a:gd name="T53" fmla="*/ 78 h 442"/>
                    <a:gd name="T54" fmla="*/ 19 w 184"/>
                    <a:gd name="T55" fmla="*/ 18 h 442"/>
                    <a:gd name="T56" fmla="*/ 85 w 184"/>
                    <a:gd name="T57" fmla="*/ 18 h 442"/>
                    <a:gd name="T58" fmla="*/ 85 w 184"/>
                    <a:gd name="T59" fmla="*/ 78 h 442"/>
                    <a:gd name="T60" fmla="*/ 164 w 184"/>
                    <a:gd name="T61" fmla="*/ 370 h 442"/>
                    <a:gd name="T62" fmla="*/ 99 w 184"/>
                    <a:gd name="T63" fmla="*/ 370 h 442"/>
                    <a:gd name="T64" fmla="*/ 99 w 184"/>
                    <a:gd name="T65" fmla="*/ 310 h 442"/>
                    <a:gd name="T66" fmla="*/ 164 w 184"/>
                    <a:gd name="T67" fmla="*/ 310 h 442"/>
                    <a:gd name="T68" fmla="*/ 164 w 184"/>
                    <a:gd name="T69" fmla="*/ 370 h 442"/>
                    <a:gd name="T70" fmla="*/ 164 w 184"/>
                    <a:gd name="T71" fmla="*/ 296 h 442"/>
                    <a:gd name="T72" fmla="*/ 99 w 184"/>
                    <a:gd name="T73" fmla="*/ 296 h 442"/>
                    <a:gd name="T74" fmla="*/ 99 w 184"/>
                    <a:gd name="T75" fmla="*/ 237 h 442"/>
                    <a:gd name="T76" fmla="*/ 164 w 184"/>
                    <a:gd name="T77" fmla="*/ 237 h 442"/>
                    <a:gd name="T78" fmla="*/ 164 w 184"/>
                    <a:gd name="T79" fmla="*/ 296 h 442"/>
                    <a:gd name="T80" fmla="*/ 164 w 184"/>
                    <a:gd name="T81" fmla="*/ 223 h 442"/>
                    <a:gd name="T82" fmla="*/ 99 w 184"/>
                    <a:gd name="T83" fmla="*/ 223 h 442"/>
                    <a:gd name="T84" fmla="*/ 99 w 184"/>
                    <a:gd name="T85" fmla="*/ 164 h 442"/>
                    <a:gd name="T86" fmla="*/ 164 w 184"/>
                    <a:gd name="T87" fmla="*/ 164 h 442"/>
                    <a:gd name="T88" fmla="*/ 164 w 184"/>
                    <a:gd name="T89" fmla="*/ 223 h 442"/>
                    <a:gd name="T90" fmla="*/ 164 w 184"/>
                    <a:gd name="T91" fmla="*/ 151 h 442"/>
                    <a:gd name="T92" fmla="*/ 99 w 184"/>
                    <a:gd name="T93" fmla="*/ 151 h 442"/>
                    <a:gd name="T94" fmla="*/ 99 w 184"/>
                    <a:gd name="T95" fmla="*/ 91 h 442"/>
                    <a:gd name="T96" fmla="*/ 164 w 184"/>
                    <a:gd name="T97" fmla="*/ 91 h 442"/>
                    <a:gd name="T98" fmla="*/ 164 w 184"/>
                    <a:gd name="T99" fmla="*/ 151 h 442"/>
                    <a:gd name="T100" fmla="*/ 164 w 184"/>
                    <a:gd name="T101" fmla="*/ 78 h 442"/>
                    <a:gd name="T102" fmla="*/ 99 w 184"/>
                    <a:gd name="T103" fmla="*/ 78 h 442"/>
                    <a:gd name="T104" fmla="*/ 99 w 184"/>
                    <a:gd name="T105" fmla="*/ 18 h 442"/>
                    <a:gd name="T106" fmla="*/ 164 w 184"/>
                    <a:gd name="T107" fmla="*/ 18 h 442"/>
                    <a:gd name="T108" fmla="*/ 164 w 184"/>
                    <a:gd name="T109" fmla="*/ 78 h 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4" h="442">
                      <a:moveTo>
                        <a:pt x="0" y="0"/>
                      </a:moveTo>
                      <a:lnTo>
                        <a:pt x="0" y="442"/>
                      </a:lnTo>
                      <a:lnTo>
                        <a:pt x="184" y="442"/>
                      </a:lnTo>
                      <a:lnTo>
                        <a:pt x="184" y="0"/>
                      </a:lnTo>
                      <a:lnTo>
                        <a:pt x="0" y="0"/>
                      </a:lnTo>
                      <a:close/>
                      <a:moveTo>
                        <a:pt x="85" y="370"/>
                      </a:moveTo>
                      <a:lnTo>
                        <a:pt x="19" y="370"/>
                      </a:lnTo>
                      <a:lnTo>
                        <a:pt x="19" y="310"/>
                      </a:lnTo>
                      <a:lnTo>
                        <a:pt x="85" y="310"/>
                      </a:lnTo>
                      <a:lnTo>
                        <a:pt x="85" y="370"/>
                      </a:lnTo>
                      <a:close/>
                      <a:moveTo>
                        <a:pt x="85" y="296"/>
                      </a:moveTo>
                      <a:lnTo>
                        <a:pt x="19" y="296"/>
                      </a:lnTo>
                      <a:lnTo>
                        <a:pt x="19" y="237"/>
                      </a:lnTo>
                      <a:lnTo>
                        <a:pt x="85" y="237"/>
                      </a:lnTo>
                      <a:lnTo>
                        <a:pt x="85" y="296"/>
                      </a:lnTo>
                      <a:close/>
                      <a:moveTo>
                        <a:pt x="85" y="223"/>
                      </a:moveTo>
                      <a:lnTo>
                        <a:pt x="19" y="223"/>
                      </a:lnTo>
                      <a:lnTo>
                        <a:pt x="19" y="164"/>
                      </a:lnTo>
                      <a:lnTo>
                        <a:pt x="85" y="164"/>
                      </a:lnTo>
                      <a:lnTo>
                        <a:pt x="85" y="223"/>
                      </a:lnTo>
                      <a:close/>
                      <a:moveTo>
                        <a:pt x="85" y="151"/>
                      </a:moveTo>
                      <a:lnTo>
                        <a:pt x="19" y="151"/>
                      </a:lnTo>
                      <a:lnTo>
                        <a:pt x="19" y="91"/>
                      </a:lnTo>
                      <a:lnTo>
                        <a:pt x="85" y="91"/>
                      </a:lnTo>
                      <a:lnTo>
                        <a:pt x="85" y="151"/>
                      </a:lnTo>
                      <a:close/>
                      <a:moveTo>
                        <a:pt x="85" y="78"/>
                      </a:moveTo>
                      <a:lnTo>
                        <a:pt x="19" y="78"/>
                      </a:lnTo>
                      <a:lnTo>
                        <a:pt x="19" y="18"/>
                      </a:lnTo>
                      <a:lnTo>
                        <a:pt x="85" y="18"/>
                      </a:lnTo>
                      <a:lnTo>
                        <a:pt x="85" y="78"/>
                      </a:lnTo>
                      <a:close/>
                      <a:moveTo>
                        <a:pt x="164" y="370"/>
                      </a:moveTo>
                      <a:lnTo>
                        <a:pt x="99" y="370"/>
                      </a:lnTo>
                      <a:lnTo>
                        <a:pt x="99" y="310"/>
                      </a:lnTo>
                      <a:lnTo>
                        <a:pt x="164" y="310"/>
                      </a:lnTo>
                      <a:lnTo>
                        <a:pt x="164" y="370"/>
                      </a:lnTo>
                      <a:close/>
                      <a:moveTo>
                        <a:pt x="164" y="296"/>
                      </a:moveTo>
                      <a:lnTo>
                        <a:pt x="99" y="296"/>
                      </a:lnTo>
                      <a:lnTo>
                        <a:pt x="99" y="237"/>
                      </a:lnTo>
                      <a:lnTo>
                        <a:pt x="164" y="237"/>
                      </a:lnTo>
                      <a:lnTo>
                        <a:pt x="164" y="296"/>
                      </a:lnTo>
                      <a:close/>
                      <a:moveTo>
                        <a:pt x="164" y="223"/>
                      </a:moveTo>
                      <a:lnTo>
                        <a:pt x="99" y="223"/>
                      </a:lnTo>
                      <a:lnTo>
                        <a:pt x="99" y="164"/>
                      </a:lnTo>
                      <a:lnTo>
                        <a:pt x="164" y="164"/>
                      </a:lnTo>
                      <a:lnTo>
                        <a:pt x="164" y="223"/>
                      </a:lnTo>
                      <a:close/>
                      <a:moveTo>
                        <a:pt x="164" y="151"/>
                      </a:moveTo>
                      <a:lnTo>
                        <a:pt x="99" y="151"/>
                      </a:lnTo>
                      <a:lnTo>
                        <a:pt x="99" y="91"/>
                      </a:lnTo>
                      <a:lnTo>
                        <a:pt x="164" y="91"/>
                      </a:lnTo>
                      <a:lnTo>
                        <a:pt x="164" y="151"/>
                      </a:lnTo>
                      <a:close/>
                      <a:moveTo>
                        <a:pt x="164" y="78"/>
                      </a:moveTo>
                      <a:lnTo>
                        <a:pt x="99" y="78"/>
                      </a:lnTo>
                      <a:lnTo>
                        <a:pt x="99" y="18"/>
                      </a:lnTo>
                      <a:lnTo>
                        <a:pt x="164" y="18"/>
                      </a:lnTo>
                      <a:lnTo>
                        <a:pt x="164" y="78"/>
                      </a:lnTo>
                      <a:close/>
                    </a:path>
                  </a:pathLst>
                </a:custGeom>
                <a:solidFill>
                  <a:srgbClr val="0070C0"/>
                </a:solidFill>
                <a:ln>
                  <a:noFill/>
                </a:ln>
              </p:spPr>
              <p:txBody>
                <a:bodyPr vert="horz" wrap="square" lIns="89604" tIns="44802" rIns="89604" bIns="44802"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a:defRPr/>
                  </a:pPr>
                  <a:endParaRPr lang="en-US" sz="2353">
                    <a:solidFill>
                      <a:srgbClr val="000000"/>
                    </a:solidFill>
                  </a:endParaRPr>
                </a:p>
              </p:txBody>
            </p:sp>
            <p:sp>
              <p:nvSpPr>
                <p:cNvPr id="85" name="Freeform 84"/>
                <p:cNvSpPr>
                  <a:spLocks noEditPoints="1"/>
                </p:cNvSpPr>
                <p:nvPr/>
              </p:nvSpPr>
              <p:spPr bwMode="auto">
                <a:xfrm>
                  <a:off x="3323066" y="5236638"/>
                  <a:ext cx="321181" cy="865616"/>
                </a:xfrm>
                <a:custGeom>
                  <a:avLst/>
                  <a:gdLst>
                    <a:gd name="T0" fmla="*/ 148 w 164"/>
                    <a:gd name="T1" fmla="*/ 181 h 442"/>
                    <a:gd name="T2" fmla="*/ 148 w 164"/>
                    <a:gd name="T3" fmla="*/ 136 h 442"/>
                    <a:gd name="T4" fmla="*/ 123 w 164"/>
                    <a:gd name="T5" fmla="*/ 136 h 442"/>
                    <a:gd name="T6" fmla="*/ 123 w 164"/>
                    <a:gd name="T7" fmla="*/ 84 h 442"/>
                    <a:gd name="T8" fmla="*/ 101 w 164"/>
                    <a:gd name="T9" fmla="*/ 84 h 442"/>
                    <a:gd name="T10" fmla="*/ 101 w 164"/>
                    <a:gd name="T11" fmla="*/ 45 h 442"/>
                    <a:gd name="T12" fmla="*/ 87 w 164"/>
                    <a:gd name="T13" fmla="*/ 45 h 442"/>
                    <a:gd name="T14" fmla="*/ 87 w 164"/>
                    <a:gd name="T15" fmla="*/ 0 h 442"/>
                    <a:gd name="T16" fmla="*/ 77 w 164"/>
                    <a:gd name="T17" fmla="*/ 0 h 442"/>
                    <a:gd name="T18" fmla="*/ 77 w 164"/>
                    <a:gd name="T19" fmla="*/ 45 h 442"/>
                    <a:gd name="T20" fmla="*/ 63 w 164"/>
                    <a:gd name="T21" fmla="*/ 45 h 442"/>
                    <a:gd name="T22" fmla="*/ 63 w 164"/>
                    <a:gd name="T23" fmla="*/ 84 h 442"/>
                    <a:gd name="T24" fmla="*/ 41 w 164"/>
                    <a:gd name="T25" fmla="*/ 84 h 442"/>
                    <a:gd name="T26" fmla="*/ 41 w 164"/>
                    <a:gd name="T27" fmla="*/ 136 h 442"/>
                    <a:gd name="T28" fmla="*/ 16 w 164"/>
                    <a:gd name="T29" fmla="*/ 136 h 442"/>
                    <a:gd name="T30" fmla="*/ 16 w 164"/>
                    <a:gd name="T31" fmla="*/ 181 h 442"/>
                    <a:gd name="T32" fmla="*/ 0 w 164"/>
                    <a:gd name="T33" fmla="*/ 181 h 442"/>
                    <a:gd name="T34" fmla="*/ 0 w 164"/>
                    <a:gd name="T35" fmla="*/ 442 h 442"/>
                    <a:gd name="T36" fmla="*/ 164 w 164"/>
                    <a:gd name="T37" fmla="*/ 442 h 442"/>
                    <a:gd name="T38" fmla="*/ 164 w 164"/>
                    <a:gd name="T39" fmla="*/ 181 h 442"/>
                    <a:gd name="T40" fmla="*/ 148 w 164"/>
                    <a:gd name="T41" fmla="*/ 181 h 442"/>
                    <a:gd name="T42" fmla="*/ 16 w 164"/>
                    <a:gd name="T43" fmla="*/ 207 h 442"/>
                    <a:gd name="T44" fmla="*/ 82 w 164"/>
                    <a:gd name="T45" fmla="*/ 207 h 442"/>
                    <a:gd name="T46" fmla="*/ 82 w 164"/>
                    <a:gd name="T47" fmla="*/ 266 h 442"/>
                    <a:gd name="T48" fmla="*/ 16 w 164"/>
                    <a:gd name="T49" fmla="*/ 266 h 442"/>
                    <a:gd name="T50" fmla="*/ 16 w 164"/>
                    <a:gd name="T51" fmla="*/ 207 h 442"/>
                    <a:gd name="T52" fmla="*/ 82 w 164"/>
                    <a:gd name="T53" fmla="*/ 411 h 442"/>
                    <a:gd name="T54" fmla="*/ 16 w 164"/>
                    <a:gd name="T55" fmla="*/ 411 h 442"/>
                    <a:gd name="T56" fmla="*/ 16 w 164"/>
                    <a:gd name="T57" fmla="*/ 352 h 442"/>
                    <a:gd name="T58" fmla="*/ 82 w 164"/>
                    <a:gd name="T59" fmla="*/ 352 h 442"/>
                    <a:gd name="T60" fmla="*/ 82 w 164"/>
                    <a:gd name="T61" fmla="*/ 411 h 442"/>
                    <a:gd name="T62" fmla="*/ 148 w 164"/>
                    <a:gd name="T63" fmla="*/ 340 h 442"/>
                    <a:gd name="T64" fmla="*/ 82 w 164"/>
                    <a:gd name="T65" fmla="*/ 340 h 442"/>
                    <a:gd name="T66" fmla="*/ 82 w 164"/>
                    <a:gd name="T67" fmla="*/ 280 h 442"/>
                    <a:gd name="T68" fmla="*/ 148 w 164"/>
                    <a:gd name="T69" fmla="*/ 280 h 442"/>
                    <a:gd name="T70" fmla="*/ 148 w 164"/>
                    <a:gd name="T71" fmla="*/ 340 h 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64" h="442">
                      <a:moveTo>
                        <a:pt x="148" y="181"/>
                      </a:moveTo>
                      <a:lnTo>
                        <a:pt x="148" y="136"/>
                      </a:lnTo>
                      <a:lnTo>
                        <a:pt x="123" y="136"/>
                      </a:lnTo>
                      <a:lnTo>
                        <a:pt x="123" y="84"/>
                      </a:lnTo>
                      <a:lnTo>
                        <a:pt x="101" y="84"/>
                      </a:lnTo>
                      <a:lnTo>
                        <a:pt x="101" y="45"/>
                      </a:lnTo>
                      <a:lnTo>
                        <a:pt x="87" y="45"/>
                      </a:lnTo>
                      <a:lnTo>
                        <a:pt x="87" y="0"/>
                      </a:lnTo>
                      <a:lnTo>
                        <a:pt x="77" y="0"/>
                      </a:lnTo>
                      <a:lnTo>
                        <a:pt x="77" y="45"/>
                      </a:lnTo>
                      <a:lnTo>
                        <a:pt x="63" y="45"/>
                      </a:lnTo>
                      <a:lnTo>
                        <a:pt x="63" y="84"/>
                      </a:lnTo>
                      <a:lnTo>
                        <a:pt x="41" y="84"/>
                      </a:lnTo>
                      <a:lnTo>
                        <a:pt x="41" y="136"/>
                      </a:lnTo>
                      <a:lnTo>
                        <a:pt x="16" y="136"/>
                      </a:lnTo>
                      <a:lnTo>
                        <a:pt x="16" y="181"/>
                      </a:lnTo>
                      <a:lnTo>
                        <a:pt x="0" y="181"/>
                      </a:lnTo>
                      <a:lnTo>
                        <a:pt x="0" y="442"/>
                      </a:lnTo>
                      <a:lnTo>
                        <a:pt x="164" y="442"/>
                      </a:lnTo>
                      <a:lnTo>
                        <a:pt x="164" y="181"/>
                      </a:lnTo>
                      <a:lnTo>
                        <a:pt x="148" y="181"/>
                      </a:lnTo>
                      <a:close/>
                      <a:moveTo>
                        <a:pt x="16" y="207"/>
                      </a:moveTo>
                      <a:lnTo>
                        <a:pt x="82" y="207"/>
                      </a:lnTo>
                      <a:lnTo>
                        <a:pt x="82" y="266"/>
                      </a:lnTo>
                      <a:lnTo>
                        <a:pt x="16" y="266"/>
                      </a:lnTo>
                      <a:lnTo>
                        <a:pt x="16" y="207"/>
                      </a:lnTo>
                      <a:close/>
                      <a:moveTo>
                        <a:pt x="82" y="411"/>
                      </a:moveTo>
                      <a:lnTo>
                        <a:pt x="16" y="411"/>
                      </a:lnTo>
                      <a:lnTo>
                        <a:pt x="16" y="352"/>
                      </a:lnTo>
                      <a:lnTo>
                        <a:pt x="82" y="352"/>
                      </a:lnTo>
                      <a:lnTo>
                        <a:pt x="82" y="411"/>
                      </a:lnTo>
                      <a:close/>
                      <a:moveTo>
                        <a:pt x="148" y="340"/>
                      </a:moveTo>
                      <a:lnTo>
                        <a:pt x="82" y="340"/>
                      </a:lnTo>
                      <a:lnTo>
                        <a:pt x="82" y="280"/>
                      </a:lnTo>
                      <a:lnTo>
                        <a:pt x="148" y="280"/>
                      </a:lnTo>
                      <a:lnTo>
                        <a:pt x="148" y="340"/>
                      </a:lnTo>
                      <a:close/>
                    </a:path>
                  </a:pathLst>
                </a:custGeom>
                <a:solidFill>
                  <a:srgbClr val="0070C0"/>
                </a:solidFill>
                <a:ln>
                  <a:noFill/>
                </a:ln>
              </p:spPr>
              <p:txBody>
                <a:bodyPr vert="horz" wrap="square" lIns="89604" tIns="44802" rIns="89604" bIns="44802"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a:defRPr/>
                  </a:pPr>
                  <a:endParaRPr lang="en-US" sz="2353">
                    <a:solidFill>
                      <a:srgbClr val="000000"/>
                    </a:solidFill>
                  </a:endParaRPr>
                </a:p>
              </p:txBody>
            </p:sp>
            <p:sp>
              <p:nvSpPr>
                <p:cNvPr id="86" name="Freeform 85"/>
                <p:cNvSpPr>
                  <a:spLocks noEditPoints="1"/>
                </p:cNvSpPr>
                <p:nvPr/>
              </p:nvSpPr>
              <p:spPr bwMode="auto">
                <a:xfrm>
                  <a:off x="4077052" y="5424647"/>
                  <a:ext cx="321181" cy="677609"/>
                </a:xfrm>
                <a:custGeom>
                  <a:avLst/>
                  <a:gdLst>
                    <a:gd name="T0" fmla="*/ 148 w 164"/>
                    <a:gd name="T1" fmla="*/ 181 h 346"/>
                    <a:gd name="T2" fmla="*/ 148 w 164"/>
                    <a:gd name="T3" fmla="*/ 136 h 346"/>
                    <a:gd name="T4" fmla="*/ 123 w 164"/>
                    <a:gd name="T5" fmla="*/ 136 h 346"/>
                    <a:gd name="T6" fmla="*/ 123 w 164"/>
                    <a:gd name="T7" fmla="*/ 82 h 346"/>
                    <a:gd name="T8" fmla="*/ 101 w 164"/>
                    <a:gd name="T9" fmla="*/ 82 h 346"/>
                    <a:gd name="T10" fmla="*/ 101 w 164"/>
                    <a:gd name="T11" fmla="*/ 45 h 346"/>
                    <a:gd name="T12" fmla="*/ 87 w 164"/>
                    <a:gd name="T13" fmla="*/ 45 h 346"/>
                    <a:gd name="T14" fmla="*/ 87 w 164"/>
                    <a:gd name="T15" fmla="*/ 0 h 346"/>
                    <a:gd name="T16" fmla="*/ 77 w 164"/>
                    <a:gd name="T17" fmla="*/ 0 h 346"/>
                    <a:gd name="T18" fmla="*/ 77 w 164"/>
                    <a:gd name="T19" fmla="*/ 45 h 346"/>
                    <a:gd name="T20" fmla="*/ 63 w 164"/>
                    <a:gd name="T21" fmla="*/ 45 h 346"/>
                    <a:gd name="T22" fmla="*/ 63 w 164"/>
                    <a:gd name="T23" fmla="*/ 82 h 346"/>
                    <a:gd name="T24" fmla="*/ 42 w 164"/>
                    <a:gd name="T25" fmla="*/ 82 h 346"/>
                    <a:gd name="T26" fmla="*/ 42 w 164"/>
                    <a:gd name="T27" fmla="*/ 136 h 346"/>
                    <a:gd name="T28" fmla="*/ 16 w 164"/>
                    <a:gd name="T29" fmla="*/ 136 h 346"/>
                    <a:gd name="T30" fmla="*/ 16 w 164"/>
                    <a:gd name="T31" fmla="*/ 181 h 346"/>
                    <a:gd name="T32" fmla="*/ 0 w 164"/>
                    <a:gd name="T33" fmla="*/ 181 h 346"/>
                    <a:gd name="T34" fmla="*/ 0 w 164"/>
                    <a:gd name="T35" fmla="*/ 346 h 346"/>
                    <a:gd name="T36" fmla="*/ 164 w 164"/>
                    <a:gd name="T37" fmla="*/ 346 h 346"/>
                    <a:gd name="T38" fmla="*/ 164 w 164"/>
                    <a:gd name="T39" fmla="*/ 181 h 346"/>
                    <a:gd name="T40" fmla="*/ 148 w 164"/>
                    <a:gd name="T41" fmla="*/ 181 h 346"/>
                    <a:gd name="T42" fmla="*/ 35 w 164"/>
                    <a:gd name="T43" fmla="*/ 158 h 346"/>
                    <a:gd name="T44" fmla="*/ 82 w 164"/>
                    <a:gd name="T45" fmla="*/ 158 h 346"/>
                    <a:gd name="T46" fmla="*/ 82 w 164"/>
                    <a:gd name="T47" fmla="*/ 200 h 346"/>
                    <a:gd name="T48" fmla="*/ 35 w 164"/>
                    <a:gd name="T49" fmla="*/ 200 h 346"/>
                    <a:gd name="T50" fmla="*/ 35 w 164"/>
                    <a:gd name="T51" fmla="*/ 158 h 346"/>
                    <a:gd name="T52" fmla="*/ 82 w 164"/>
                    <a:gd name="T53" fmla="*/ 302 h 346"/>
                    <a:gd name="T54" fmla="*/ 35 w 164"/>
                    <a:gd name="T55" fmla="*/ 302 h 346"/>
                    <a:gd name="T56" fmla="*/ 35 w 164"/>
                    <a:gd name="T57" fmla="*/ 260 h 346"/>
                    <a:gd name="T58" fmla="*/ 82 w 164"/>
                    <a:gd name="T59" fmla="*/ 260 h 346"/>
                    <a:gd name="T60" fmla="*/ 82 w 164"/>
                    <a:gd name="T61" fmla="*/ 302 h 346"/>
                    <a:gd name="T62" fmla="*/ 129 w 164"/>
                    <a:gd name="T63" fmla="*/ 251 h 346"/>
                    <a:gd name="T64" fmla="*/ 82 w 164"/>
                    <a:gd name="T65" fmla="*/ 251 h 346"/>
                    <a:gd name="T66" fmla="*/ 82 w 164"/>
                    <a:gd name="T67" fmla="*/ 209 h 346"/>
                    <a:gd name="T68" fmla="*/ 129 w 164"/>
                    <a:gd name="T69" fmla="*/ 209 h 346"/>
                    <a:gd name="T70" fmla="*/ 129 w 164"/>
                    <a:gd name="T71" fmla="*/ 251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64" h="346">
                      <a:moveTo>
                        <a:pt x="148" y="181"/>
                      </a:moveTo>
                      <a:lnTo>
                        <a:pt x="148" y="136"/>
                      </a:lnTo>
                      <a:lnTo>
                        <a:pt x="123" y="136"/>
                      </a:lnTo>
                      <a:lnTo>
                        <a:pt x="123" y="82"/>
                      </a:lnTo>
                      <a:lnTo>
                        <a:pt x="101" y="82"/>
                      </a:lnTo>
                      <a:lnTo>
                        <a:pt x="101" y="45"/>
                      </a:lnTo>
                      <a:lnTo>
                        <a:pt x="87" y="45"/>
                      </a:lnTo>
                      <a:lnTo>
                        <a:pt x="87" y="0"/>
                      </a:lnTo>
                      <a:lnTo>
                        <a:pt x="77" y="0"/>
                      </a:lnTo>
                      <a:lnTo>
                        <a:pt x="77" y="45"/>
                      </a:lnTo>
                      <a:lnTo>
                        <a:pt x="63" y="45"/>
                      </a:lnTo>
                      <a:lnTo>
                        <a:pt x="63" y="82"/>
                      </a:lnTo>
                      <a:lnTo>
                        <a:pt x="42" y="82"/>
                      </a:lnTo>
                      <a:lnTo>
                        <a:pt x="42" y="136"/>
                      </a:lnTo>
                      <a:lnTo>
                        <a:pt x="16" y="136"/>
                      </a:lnTo>
                      <a:lnTo>
                        <a:pt x="16" y="181"/>
                      </a:lnTo>
                      <a:lnTo>
                        <a:pt x="0" y="181"/>
                      </a:lnTo>
                      <a:lnTo>
                        <a:pt x="0" y="346"/>
                      </a:lnTo>
                      <a:lnTo>
                        <a:pt x="164" y="346"/>
                      </a:lnTo>
                      <a:lnTo>
                        <a:pt x="164" y="181"/>
                      </a:lnTo>
                      <a:lnTo>
                        <a:pt x="148" y="181"/>
                      </a:lnTo>
                      <a:close/>
                      <a:moveTo>
                        <a:pt x="35" y="158"/>
                      </a:moveTo>
                      <a:lnTo>
                        <a:pt x="82" y="158"/>
                      </a:lnTo>
                      <a:lnTo>
                        <a:pt x="82" y="200"/>
                      </a:lnTo>
                      <a:lnTo>
                        <a:pt x="35" y="200"/>
                      </a:lnTo>
                      <a:lnTo>
                        <a:pt x="35" y="158"/>
                      </a:lnTo>
                      <a:close/>
                      <a:moveTo>
                        <a:pt x="82" y="302"/>
                      </a:moveTo>
                      <a:lnTo>
                        <a:pt x="35" y="302"/>
                      </a:lnTo>
                      <a:lnTo>
                        <a:pt x="35" y="260"/>
                      </a:lnTo>
                      <a:lnTo>
                        <a:pt x="82" y="260"/>
                      </a:lnTo>
                      <a:lnTo>
                        <a:pt x="82" y="302"/>
                      </a:lnTo>
                      <a:close/>
                      <a:moveTo>
                        <a:pt x="129" y="251"/>
                      </a:moveTo>
                      <a:lnTo>
                        <a:pt x="82" y="251"/>
                      </a:lnTo>
                      <a:lnTo>
                        <a:pt x="82" y="209"/>
                      </a:lnTo>
                      <a:lnTo>
                        <a:pt x="129" y="209"/>
                      </a:lnTo>
                      <a:lnTo>
                        <a:pt x="129" y="251"/>
                      </a:lnTo>
                      <a:close/>
                    </a:path>
                  </a:pathLst>
                </a:custGeom>
                <a:solidFill>
                  <a:srgbClr val="0070C0"/>
                </a:solidFill>
                <a:ln>
                  <a:noFill/>
                </a:ln>
              </p:spPr>
              <p:txBody>
                <a:bodyPr vert="horz" wrap="square" lIns="89604" tIns="44802" rIns="89604" bIns="44802"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a:defRPr/>
                  </a:pPr>
                  <a:endParaRPr lang="en-US" sz="2353">
                    <a:solidFill>
                      <a:srgbClr val="000000"/>
                    </a:solidFill>
                  </a:endParaRPr>
                </a:p>
              </p:txBody>
            </p:sp>
            <p:sp>
              <p:nvSpPr>
                <p:cNvPr id="87" name="Freeform 86"/>
                <p:cNvSpPr>
                  <a:spLocks noEditPoints="1"/>
                </p:cNvSpPr>
                <p:nvPr/>
              </p:nvSpPr>
              <p:spPr bwMode="auto">
                <a:xfrm>
                  <a:off x="3679497" y="5365893"/>
                  <a:ext cx="362307" cy="736363"/>
                </a:xfrm>
                <a:custGeom>
                  <a:avLst/>
                  <a:gdLst>
                    <a:gd name="T0" fmla="*/ 0 w 185"/>
                    <a:gd name="T1" fmla="*/ 0 h 376"/>
                    <a:gd name="T2" fmla="*/ 0 w 185"/>
                    <a:gd name="T3" fmla="*/ 376 h 376"/>
                    <a:gd name="T4" fmla="*/ 185 w 185"/>
                    <a:gd name="T5" fmla="*/ 376 h 376"/>
                    <a:gd name="T6" fmla="*/ 185 w 185"/>
                    <a:gd name="T7" fmla="*/ 0 h 376"/>
                    <a:gd name="T8" fmla="*/ 0 w 185"/>
                    <a:gd name="T9" fmla="*/ 0 h 376"/>
                    <a:gd name="T10" fmla="*/ 86 w 185"/>
                    <a:gd name="T11" fmla="*/ 304 h 376"/>
                    <a:gd name="T12" fmla="*/ 20 w 185"/>
                    <a:gd name="T13" fmla="*/ 304 h 376"/>
                    <a:gd name="T14" fmla="*/ 20 w 185"/>
                    <a:gd name="T15" fmla="*/ 244 h 376"/>
                    <a:gd name="T16" fmla="*/ 86 w 185"/>
                    <a:gd name="T17" fmla="*/ 244 h 376"/>
                    <a:gd name="T18" fmla="*/ 86 w 185"/>
                    <a:gd name="T19" fmla="*/ 304 h 376"/>
                    <a:gd name="T20" fmla="*/ 86 w 185"/>
                    <a:gd name="T21" fmla="*/ 230 h 376"/>
                    <a:gd name="T22" fmla="*/ 20 w 185"/>
                    <a:gd name="T23" fmla="*/ 230 h 376"/>
                    <a:gd name="T24" fmla="*/ 20 w 185"/>
                    <a:gd name="T25" fmla="*/ 171 h 376"/>
                    <a:gd name="T26" fmla="*/ 86 w 185"/>
                    <a:gd name="T27" fmla="*/ 171 h 376"/>
                    <a:gd name="T28" fmla="*/ 86 w 185"/>
                    <a:gd name="T29" fmla="*/ 230 h 376"/>
                    <a:gd name="T30" fmla="*/ 86 w 185"/>
                    <a:gd name="T31" fmla="*/ 157 h 376"/>
                    <a:gd name="T32" fmla="*/ 20 w 185"/>
                    <a:gd name="T33" fmla="*/ 157 h 376"/>
                    <a:gd name="T34" fmla="*/ 20 w 185"/>
                    <a:gd name="T35" fmla="*/ 98 h 376"/>
                    <a:gd name="T36" fmla="*/ 86 w 185"/>
                    <a:gd name="T37" fmla="*/ 98 h 376"/>
                    <a:gd name="T38" fmla="*/ 86 w 185"/>
                    <a:gd name="T39" fmla="*/ 157 h 376"/>
                    <a:gd name="T40" fmla="*/ 86 w 185"/>
                    <a:gd name="T41" fmla="*/ 85 h 376"/>
                    <a:gd name="T42" fmla="*/ 20 w 185"/>
                    <a:gd name="T43" fmla="*/ 85 h 376"/>
                    <a:gd name="T44" fmla="*/ 20 w 185"/>
                    <a:gd name="T45" fmla="*/ 25 h 376"/>
                    <a:gd name="T46" fmla="*/ 86 w 185"/>
                    <a:gd name="T47" fmla="*/ 25 h 376"/>
                    <a:gd name="T48" fmla="*/ 86 w 185"/>
                    <a:gd name="T49" fmla="*/ 85 h 376"/>
                    <a:gd name="T50" fmla="*/ 166 w 185"/>
                    <a:gd name="T51" fmla="*/ 304 h 376"/>
                    <a:gd name="T52" fmla="*/ 99 w 185"/>
                    <a:gd name="T53" fmla="*/ 304 h 376"/>
                    <a:gd name="T54" fmla="*/ 99 w 185"/>
                    <a:gd name="T55" fmla="*/ 244 h 376"/>
                    <a:gd name="T56" fmla="*/ 166 w 185"/>
                    <a:gd name="T57" fmla="*/ 244 h 376"/>
                    <a:gd name="T58" fmla="*/ 166 w 185"/>
                    <a:gd name="T59" fmla="*/ 304 h 376"/>
                    <a:gd name="T60" fmla="*/ 166 w 185"/>
                    <a:gd name="T61" fmla="*/ 230 h 376"/>
                    <a:gd name="T62" fmla="*/ 99 w 185"/>
                    <a:gd name="T63" fmla="*/ 230 h 376"/>
                    <a:gd name="T64" fmla="*/ 99 w 185"/>
                    <a:gd name="T65" fmla="*/ 171 h 376"/>
                    <a:gd name="T66" fmla="*/ 166 w 185"/>
                    <a:gd name="T67" fmla="*/ 171 h 376"/>
                    <a:gd name="T68" fmla="*/ 166 w 185"/>
                    <a:gd name="T69" fmla="*/ 230 h 376"/>
                    <a:gd name="T70" fmla="*/ 166 w 185"/>
                    <a:gd name="T71" fmla="*/ 157 h 376"/>
                    <a:gd name="T72" fmla="*/ 99 w 185"/>
                    <a:gd name="T73" fmla="*/ 157 h 376"/>
                    <a:gd name="T74" fmla="*/ 99 w 185"/>
                    <a:gd name="T75" fmla="*/ 98 h 376"/>
                    <a:gd name="T76" fmla="*/ 166 w 185"/>
                    <a:gd name="T77" fmla="*/ 98 h 376"/>
                    <a:gd name="T78" fmla="*/ 166 w 185"/>
                    <a:gd name="T79" fmla="*/ 157 h 376"/>
                    <a:gd name="T80" fmla="*/ 166 w 185"/>
                    <a:gd name="T81" fmla="*/ 85 h 376"/>
                    <a:gd name="T82" fmla="*/ 99 w 185"/>
                    <a:gd name="T83" fmla="*/ 85 h 376"/>
                    <a:gd name="T84" fmla="*/ 99 w 185"/>
                    <a:gd name="T85" fmla="*/ 25 h 376"/>
                    <a:gd name="T86" fmla="*/ 166 w 185"/>
                    <a:gd name="T87" fmla="*/ 25 h 376"/>
                    <a:gd name="T88" fmla="*/ 166 w 185"/>
                    <a:gd name="T89" fmla="*/ 85 h 3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85" h="376">
                      <a:moveTo>
                        <a:pt x="0" y="0"/>
                      </a:moveTo>
                      <a:lnTo>
                        <a:pt x="0" y="376"/>
                      </a:lnTo>
                      <a:lnTo>
                        <a:pt x="185" y="376"/>
                      </a:lnTo>
                      <a:lnTo>
                        <a:pt x="185" y="0"/>
                      </a:lnTo>
                      <a:lnTo>
                        <a:pt x="0" y="0"/>
                      </a:lnTo>
                      <a:close/>
                      <a:moveTo>
                        <a:pt x="86" y="304"/>
                      </a:moveTo>
                      <a:lnTo>
                        <a:pt x="20" y="304"/>
                      </a:lnTo>
                      <a:lnTo>
                        <a:pt x="20" y="244"/>
                      </a:lnTo>
                      <a:lnTo>
                        <a:pt x="86" y="244"/>
                      </a:lnTo>
                      <a:lnTo>
                        <a:pt x="86" y="304"/>
                      </a:lnTo>
                      <a:close/>
                      <a:moveTo>
                        <a:pt x="86" y="230"/>
                      </a:moveTo>
                      <a:lnTo>
                        <a:pt x="20" y="230"/>
                      </a:lnTo>
                      <a:lnTo>
                        <a:pt x="20" y="171"/>
                      </a:lnTo>
                      <a:lnTo>
                        <a:pt x="86" y="171"/>
                      </a:lnTo>
                      <a:lnTo>
                        <a:pt x="86" y="230"/>
                      </a:lnTo>
                      <a:close/>
                      <a:moveTo>
                        <a:pt x="86" y="157"/>
                      </a:moveTo>
                      <a:lnTo>
                        <a:pt x="20" y="157"/>
                      </a:lnTo>
                      <a:lnTo>
                        <a:pt x="20" y="98"/>
                      </a:lnTo>
                      <a:lnTo>
                        <a:pt x="86" y="98"/>
                      </a:lnTo>
                      <a:lnTo>
                        <a:pt x="86" y="157"/>
                      </a:lnTo>
                      <a:close/>
                      <a:moveTo>
                        <a:pt x="86" y="85"/>
                      </a:moveTo>
                      <a:lnTo>
                        <a:pt x="20" y="85"/>
                      </a:lnTo>
                      <a:lnTo>
                        <a:pt x="20" y="25"/>
                      </a:lnTo>
                      <a:lnTo>
                        <a:pt x="86" y="25"/>
                      </a:lnTo>
                      <a:lnTo>
                        <a:pt x="86" y="85"/>
                      </a:lnTo>
                      <a:close/>
                      <a:moveTo>
                        <a:pt x="166" y="304"/>
                      </a:moveTo>
                      <a:lnTo>
                        <a:pt x="99" y="304"/>
                      </a:lnTo>
                      <a:lnTo>
                        <a:pt x="99" y="244"/>
                      </a:lnTo>
                      <a:lnTo>
                        <a:pt x="166" y="244"/>
                      </a:lnTo>
                      <a:lnTo>
                        <a:pt x="166" y="304"/>
                      </a:lnTo>
                      <a:close/>
                      <a:moveTo>
                        <a:pt x="166" y="230"/>
                      </a:moveTo>
                      <a:lnTo>
                        <a:pt x="99" y="230"/>
                      </a:lnTo>
                      <a:lnTo>
                        <a:pt x="99" y="171"/>
                      </a:lnTo>
                      <a:lnTo>
                        <a:pt x="166" y="171"/>
                      </a:lnTo>
                      <a:lnTo>
                        <a:pt x="166" y="230"/>
                      </a:lnTo>
                      <a:close/>
                      <a:moveTo>
                        <a:pt x="166" y="157"/>
                      </a:moveTo>
                      <a:lnTo>
                        <a:pt x="99" y="157"/>
                      </a:lnTo>
                      <a:lnTo>
                        <a:pt x="99" y="98"/>
                      </a:lnTo>
                      <a:lnTo>
                        <a:pt x="166" y="98"/>
                      </a:lnTo>
                      <a:lnTo>
                        <a:pt x="166" y="157"/>
                      </a:lnTo>
                      <a:close/>
                      <a:moveTo>
                        <a:pt x="166" y="85"/>
                      </a:moveTo>
                      <a:lnTo>
                        <a:pt x="99" y="85"/>
                      </a:lnTo>
                      <a:lnTo>
                        <a:pt x="99" y="25"/>
                      </a:lnTo>
                      <a:lnTo>
                        <a:pt x="166" y="25"/>
                      </a:lnTo>
                      <a:lnTo>
                        <a:pt x="166" y="85"/>
                      </a:lnTo>
                      <a:close/>
                    </a:path>
                  </a:pathLst>
                </a:custGeom>
                <a:solidFill>
                  <a:srgbClr val="0070C0"/>
                </a:solidFill>
                <a:ln>
                  <a:noFill/>
                </a:ln>
              </p:spPr>
              <p:txBody>
                <a:bodyPr vert="horz" wrap="square" lIns="89604" tIns="44802" rIns="89604" bIns="44802"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a:defRPr/>
                  </a:pPr>
                  <a:endParaRPr lang="en-US" sz="2353">
                    <a:solidFill>
                      <a:srgbClr val="000000"/>
                    </a:solidFill>
                  </a:endParaRPr>
                </a:p>
              </p:txBody>
            </p:sp>
          </p:grpSp>
          <p:sp>
            <p:nvSpPr>
              <p:cNvPr id="78" name="Freeform 77"/>
              <p:cNvSpPr>
                <a:spLocks/>
              </p:cNvSpPr>
              <p:nvPr/>
            </p:nvSpPr>
            <p:spPr bwMode="auto">
              <a:xfrm>
                <a:off x="5903946" y="5783312"/>
                <a:ext cx="7256213" cy="109835"/>
              </a:xfrm>
              <a:custGeom>
                <a:avLst/>
                <a:gdLst>
                  <a:gd name="T0" fmla="*/ 2028 w 2087"/>
                  <a:gd name="T1" fmla="*/ 139 h 139"/>
                  <a:gd name="T2" fmla="*/ 59 w 2087"/>
                  <a:gd name="T3" fmla="*/ 139 h 139"/>
                  <a:gd name="T4" fmla="*/ 26 w 2087"/>
                  <a:gd name="T5" fmla="*/ 65 h 139"/>
                  <a:gd name="T6" fmla="*/ 73 w 2087"/>
                  <a:gd name="T7" fmla="*/ 14 h 139"/>
                  <a:gd name="T8" fmla="*/ 106 w 2087"/>
                  <a:gd name="T9" fmla="*/ 0 h 139"/>
                  <a:gd name="T10" fmla="*/ 1981 w 2087"/>
                  <a:gd name="T11" fmla="*/ 0 h 139"/>
                  <a:gd name="T12" fmla="*/ 2014 w 2087"/>
                  <a:gd name="T13" fmla="*/ 14 h 139"/>
                  <a:gd name="T14" fmla="*/ 2061 w 2087"/>
                  <a:gd name="T15" fmla="*/ 65 h 139"/>
                  <a:gd name="T16" fmla="*/ 2028 w 2087"/>
                  <a:gd name="T17" fmla="*/ 139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87" h="139">
                    <a:moveTo>
                      <a:pt x="2028" y="139"/>
                    </a:moveTo>
                    <a:cubicBezTo>
                      <a:pt x="59" y="139"/>
                      <a:pt x="59" y="139"/>
                      <a:pt x="59" y="139"/>
                    </a:cubicBezTo>
                    <a:cubicBezTo>
                      <a:pt x="20" y="139"/>
                      <a:pt x="0" y="94"/>
                      <a:pt x="26" y="65"/>
                    </a:cubicBezTo>
                    <a:cubicBezTo>
                      <a:pt x="73" y="14"/>
                      <a:pt x="73" y="14"/>
                      <a:pt x="73" y="14"/>
                    </a:cubicBezTo>
                    <a:cubicBezTo>
                      <a:pt x="82" y="5"/>
                      <a:pt x="94" y="0"/>
                      <a:pt x="106" y="0"/>
                    </a:cubicBezTo>
                    <a:cubicBezTo>
                      <a:pt x="1981" y="0"/>
                      <a:pt x="1981" y="0"/>
                      <a:pt x="1981" y="0"/>
                    </a:cubicBezTo>
                    <a:cubicBezTo>
                      <a:pt x="1994" y="0"/>
                      <a:pt x="2006" y="5"/>
                      <a:pt x="2014" y="14"/>
                    </a:cubicBezTo>
                    <a:cubicBezTo>
                      <a:pt x="2061" y="65"/>
                      <a:pt x="2061" y="65"/>
                      <a:pt x="2061" y="65"/>
                    </a:cubicBezTo>
                    <a:cubicBezTo>
                      <a:pt x="2087" y="94"/>
                      <a:pt x="2067" y="139"/>
                      <a:pt x="2028" y="139"/>
                    </a:cubicBezTo>
                    <a:close/>
                  </a:path>
                </a:pathLst>
              </a:custGeom>
              <a:solidFill>
                <a:srgbClr val="DDDCD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a:defRPr/>
                </a:pPr>
                <a:endParaRPr lang="en-US" sz="2353">
                  <a:solidFill>
                    <a:srgbClr val="000000"/>
                  </a:solidFill>
                </a:endParaRPr>
              </a:p>
            </p:txBody>
          </p:sp>
          <p:sp>
            <p:nvSpPr>
              <p:cNvPr id="79" name="Freeform 78"/>
              <p:cNvSpPr>
                <a:spLocks noChangeAspect="1"/>
              </p:cNvSpPr>
              <p:nvPr/>
            </p:nvSpPr>
            <p:spPr bwMode="auto">
              <a:xfrm>
                <a:off x="9223542" y="424970"/>
                <a:ext cx="3562140" cy="2188888"/>
              </a:xfrm>
              <a:custGeom>
                <a:avLst/>
                <a:gdLst>
                  <a:gd name="T0" fmla="*/ 860 w 994"/>
                  <a:gd name="T1" fmla="*/ 342 h 610"/>
                  <a:gd name="T2" fmla="*/ 858 w 994"/>
                  <a:gd name="T3" fmla="*/ 342 h 610"/>
                  <a:gd name="T4" fmla="*/ 860 w 994"/>
                  <a:gd name="T5" fmla="*/ 305 h 610"/>
                  <a:gd name="T6" fmla="*/ 555 w 994"/>
                  <a:gd name="T7" fmla="*/ 0 h 610"/>
                  <a:gd name="T8" fmla="*/ 272 w 994"/>
                  <a:gd name="T9" fmla="*/ 193 h 610"/>
                  <a:gd name="T10" fmla="*/ 212 w 994"/>
                  <a:gd name="T11" fmla="*/ 185 h 610"/>
                  <a:gd name="T12" fmla="*/ 0 w 994"/>
                  <a:gd name="T13" fmla="*/ 397 h 610"/>
                  <a:gd name="T14" fmla="*/ 212 w 994"/>
                  <a:gd name="T15" fmla="*/ 610 h 610"/>
                  <a:gd name="T16" fmla="*/ 860 w 994"/>
                  <a:gd name="T17" fmla="*/ 610 h 610"/>
                  <a:gd name="T18" fmla="*/ 994 w 994"/>
                  <a:gd name="T19" fmla="*/ 476 h 610"/>
                  <a:gd name="T20" fmla="*/ 860 w 994"/>
                  <a:gd name="T21" fmla="*/ 342 h 6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94" h="610">
                    <a:moveTo>
                      <a:pt x="860" y="342"/>
                    </a:moveTo>
                    <a:cubicBezTo>
                      <a:pt x="859" y="342"/>
                      <a:pt x="858" y="342"/>
                      <a:pt x="858" y="342"/>
                    </a:cubicBezTo>
                    <a:cubicBezTo>
                      <a:pt x="859" y="330"/>
                      <a:pt x="860" y="318"/>
                      <a:pt x="860" y="305"/>
                    </a:cubicBezTo>
                    <a:cubicBezTo>
                      <a:pt x="860" y="137"/>
                      <a:pt x="723" y="0"/>
                      <a:pt x="555" y="0"/>
                    </a:cubicBezTo>
                    <a:cubicBezTo>
                      <a:pt x="426" y="0"/>
                      <a:pt x="316" y="80"/>
                      <a:pt x="272" y="193"/>
                    </a:cubicBezTo>
                    <a:cubicBezTo>
                      <a:pt x="253" y="188"/>
                      <a:pt x="233" y="185"/>
                      <a:pt x="212" y="185"/>
                    </a:cubicBezTo>
                    <a:cubicBezTo>
                      <a:pt x="95" y="185"/>
                      <a:pt x="0" y="280"/>
                      <a:pt x="0" y="397"/>
                    </a:cubicBezTo>
                    <a:cubicBezTo>
                      <a:pt x="0" y="515"/>
                      <a:pt x="95" y="610"/>
                      <a:pt x="212" y="610"/>
                    </a:cubicBezTo>
                    <a:cubicBezTo>
                      <a:pt x="860" y="610"/>
                      <a:pt x="860" y="610"/>
                      <a:pt x="860" y="610"/>
                    </a:cubicBezTo>
                    <a:cubicBezTo>
                      <a:pt x="934" y="610"/>
                      <a:pt x="994" y="550"/>
                      <a:pt x="994" y="476"/>
                    </a:cubicBezTo>
                    <a:cubicBezTo>
                      <a:pt x="994" y="402"/>
                      <a:pt x="934" y="342"/>
                      <a:pt x="860" y="342"/>
                    </a:cubicBezTo>
                    <a:close/>
                  </a:path>
                </a:pathLst>
              </a:custGeom>
              <a:solidFill>
                <a:schemeClr val="accent3">
                  <a:lumMod val="40000"/>
                  <a:lumOff val="60000"/>
                </a:scheme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defTabSz="913330" fontAlgn="base">
                  <a:spcBef>
                    <a:spcPct val="0"/>
                  </a:spcBef>
                  <a:spcAft>
                    <a:spcPct val="0"/>
                  </a:spcAft>
                </a:pPr>
                <a:endParaRPr lang="en-US" sz="2353">
                  <a:solidFill>
                    <a:srgbClr val="000000"/>
                  </a:solidFill>
                  <a:ea typeface="MS PGothic" charset="0"/>
                  <a:cs typeface="MS PGothic" charset="0"/>
                </a:endParaRPr>
              </a:p>
            </p:txBody>
          </p:sp>
          <p:sp>
            <p:nvSpPr>
              <p:cNvPr id="80" name="Freeform 79"/>
              <p:cNvSpPr>
                <a:spLocks noChangeAspect="1"/>
              </p:cNvSpPr>
              <p:nvPr/>
            </p:nvSpPr>
            <p:spPr bwMode="auto">
              <a:xfrm>
                <a:off x="9661060" y="1294762"/>
                <a:ext cx="3430209" cy="1552333"/>
              </a:xfrm>
              <a:custGeom>
                <a:avLst/>
                <a:gdLst>
                  <a:gd name="T0" fmla="*/ 951 w 1004"/>
                  <a:gd name="T1" fmla="*/ 296 h 454"/>
                  <a:gd name="T2" fmla="*/ 809 w 1004"/>
                  <a:gd name="T3" fmla="*/ 168 h 454"/>
                  <a:gd name="T4" fmla="*/ 730 w 1004"/>
                  <a:gd name="T5" fmla="*/ 191 h 454"/>
                  <a:gd name="T6" fmla="*/ 506 w 1004"/>
                  <a:gd name="T7" fmla="*/ 0 h 454"/>
                  <a:gd name="T8" fmla="*/ 286 w 1004"/>
                  <a:gd name="T9" fmla="*/ 169 h 454"/>
                  <a:gd name="T10" fmla="*/ 266 w 1004"/>
                  <a:gd name="T11" fmla="*/ 168 h 454"/>
                  <a:gd name="T12" fmla="*/ 133 w 1004"/>
                  <a:gd name="T13" fmla="*/ 256 h 454"/>
                  <a:gd name="T14" fmla="*/ 102 w 1004"/>
                  <a:gd name="T15" fmla="*/ 251 h 454"/>
                  <a:gd name="T16" fmla="*/ 0 w 1004"/>
                  <a:gd name="T17" fmla="*/ 353 h 454"/>
                  <a:gd name="T18" fmla="*/ 102 w 1004"/>
                  <a:gd name="T19" fmla="*/ 454 h 454"/>
                  <a:gd name="T20" fmla="*/ 921 w 1004"/>
                  <a:gd name="T21" fmla="*/ 454 h 454"/>
                  <a:gd name="T22" fmla="*/ 1004 w 1004"/>
                  <a:gd name="T23" fmla="*/ 372 h 454"/>
                  <a:gd name="T24" fmla="*/ 951 w 1004"/>
                  <a:gd name="T25" fmla="*/ 296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04" h="454">
                    <a:moveTo>
                      <a:pt x="951" y="296"/>
                    </a:moveTo>
                    <a:cubicBezTo>
                      <a:pt x="944" y="224"/>
                      <a:pt x="883" y="168"/>
                      <a:pt x="809" y="168"/>
                    </a:cubicBezTo>
                    <a:cubicBezTo>
                      <a:pt x="780" y="168"/>
                      <a:pt x="753" y="176"/>
                      <a:pt x="730" y="191"/>
                    </a:cubicBezTo>
                    <a:cubicBezTo>
                      <a:pt x="713" y="83"/>
                      <a:pt x="619" y="0"/>
                      <a:pt x="506" y="0"/>
                    </a:cubicBezTo>
                    <a:cubicBezTo>
                      <a:pt x="401" y="0"/>
                      <a:pt x="312" y="72"/>
                      <a:pt x="286" y="169"/>
                    </a:cubicBezTo>
                    <a:cubicBezTo>
                      <a:pt x="280" y="168"/>
                      <a:pt x="273" y="168"/>
                      <a:pt x="266" y="168"/>
                    </a:cubicBezTo>
                    <a:cubicBezTo>
                      <a:pt x="206" y="168"/>
                      <a:pt x="155" y="204"/>
                      <a:pt x="133" y="256"/>
                    </a:cubicBezTo>
                    <a:cubicBezTo>
                      <a:pt x="123" y="253"/>
                      <a:pt x="113" y="251"/>
                      <a:pt x="102" y="251"/>
                    </a:cubicBezTo>
                    <a:cubicBezTo>
                      <a:pt x="45" y="251"/>
                      <a:pt x="0" y="297"/>
                      <a:pt x="0" y="353"/>
                    </a:cubicBezTo>
                    <a:cubicBezTo>
                      <a:pt x="0" y="409"/>
                      <a:pt x="45" y="454"/>
                      <a:pt x="102" y="454"/>
                    </a:cubicBezTo>
                    <a:cubicBezTo>
                      <a:pt x="921" y="454"/>
                      <a:pt x="921" y="454"/>
                      <a:pt x="921" y="454"/>
                    </a:cubicBezTo>
                    <a:cubicBezTo>
                      <a:pt x="967" y="454"/>
                      <a:pt x="1004" y="417"/>
                      <a:pt x="1004" y="372"/>
                    </a:cubicBezTo>
                    <a:cubicBezTo>
                      <a:pt x="1004" y="337"/>
                      <a:pt x="982" y="308"/>
                      <a:pt x="951" y="296"/>
                    </a:cubicBezTo>
                    <a:close/>
                  </a:path>
                </a:pathLst>
              </a:custGeom>
              <a:solidFill>
                <a:schemeClr val="accent3">
                  <a:lumMod val="20000"/>
                  <a:lumOff val="80000"/>
                </a:scheme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a:defRPr/>
                </a:pPr>
                <a:endParaRPr lang="en-US" sz="2353">
                  <a:solidFill>
                    <a:srgbClr val="000000"/>
                  </a:solidFill>
                </a:endParaRPr>
              </a:p>
            </p:txBody>
          </p:sp>
          <p:sp>
            <p:nvSpPr>
              <p:cNvPr id="81" name="TextBox 80"/>
              <p:cNvSpPr txBox="1"/>
              <p:nvPr/>
            </p:nvSpPr>
            <p:spPr>
              <a:xfrm>
                <a:off x="4840804" y="1188916"/>
                <a:ext cx="2334211" cy="793195"/>
              </a:xfrm>
              <a:prstGeom prst="rect">
                <a:avLst/>
              </a:prstGeom>
              <a:noFill/>
            </p:spPr>
            <p:txBody>
              <a:bodyPr wrap="square" lIns="179208" tIns="143366" rIns="179208" bIns="143366" rtlCol="0">
                <a:noAutofit/>
              </a:bodyPr>
              <a:lstStyle/>
              <a:p>
                <a:pPr marL="335951" indent="-335951" defTabSz="912979" fontAlgn="base">
                  <a:lnSpc>
                    <a:spcPct val="90000"/>
                  </a:lnSpc>
                  <a:spcBef>
                    <a:spcPct val="0"/>
                  </a:spcBef>
                  <a:spcAft>
                    <a:spcPts val="588"/>
                  </a:spcAft>
                  <a:buFont typeface="Wingdings 3" panose="05040102010807070707" pitchFamily="18" charset="2"/>
                  <a:buChar char="Æ"/>
                </a:pPr>
                <a:endParaRPr lang="en-US" sz="2353" err="1">
                  <a:gradFill>
                    <a:gsLst>
                      <a:gs pos="2917">
                        <a:srgbClr val="000000"/>
                      </a:gs>
                      <a:gs pos="30000">
                        <a:srgbClr val="000000"/>
                      </a:gs>
                    </a:gsLst>
                    <a:lin ang="5400000" scaled="0"/>
                  </a:gradFill>
                  <a:ea typeface="MS PGothic" charset="0"/>
                </a:endParaRPr>
              </a:p>
            </p:txBody>
          </p:sp>
          <p:sp>
            <p:nvSpPr>
              <p:cNvPr id="82" name="TextBox 81"/>
              <p:cNvSpPr txBox="1"/>
              <p:nvPr/>
            </p:nvSpPr>
            <p:spPr>
              <a:xfrm>
                <a:off x="11259438" y="3446358"/>
                <a:ext cx="1761097" cy="194999"/>
              </a:xfrm>
              <a:prstGeom prst="rect">
                <a:avLst/>
              </a:prstGeom>
              <a:noFill/>
            </p:spPr>
            <p:txBody>
              <a:bodyPr wrap="square" lIns="179259" tIns="143407" rIns="179259" bIns="143407" rtlCol="0" anchor="ctr">
                <a:noAutofit/>
              </a:bodyPr>
              <a:lstStyle/>
              <a:p>
                <a:pPr defTabSz="914192">
                  <a:lnSpc>
                    <a:spcPct val="90000"/>
                  </a:lnSpc>
                  <a:spcAft>
                    <a:spcPts val="588"/>
                  </a:spcAft>
                  <a:defRPr/>
                </a:pPr>
                <a:r>
                  <a:rPr lang="en-US" sz="1175" kern="0">
                    <a:gradFill>
                      <a:gsLst>
                        <a:gs pos="2917">
                          <a:srgbClr val="000000"/>
                        </a:gs>
                        <a:gs pos="30000">
                          <a:srgbClr val="000000"/>
                        </a:gs>
                      </a:gsLst>
                      <a:lin ang="5400000" scaled="0"/>
                    </a:gradFill>
                  </a:rPr>
                  <a:t>Cloud</a:t>
                </a:r>
              </a:p>
            </p:txBody>
          </p:sp>
          <p:sp>
            <p:nvSpPr>
              <p:cNvPr id="83" name="TextBox 82"/>
              <p:cNvSpPr txBox="1"/>
              <p:nvPr/>
            </p:nvSpPr>
            <p:spPr>
              <a:xfrm>
                <a:off x="11047419" y="3894427"/>
                <a:ext cx="1761094" cy="194999"/>
              </a:xfrm>
              <a:prstGeom prst="rect">
                <a:avLst/>
              </a:prstGeom>
              <a:noFill/>
            </p:spPr>
            <p:txBody>
              <a:bodyPr wrap="square" lIns="179259" tIns="143407" rIns="179259" bIns="143407" rtlCol="0" anchor="ctr">
                <a:noAutofit/>
              </a:bodyPr>
              <a:lstStyle/>
              <a:p>
                <a:pPr defTabSz="914192">
                  <a:lnSpc>
                    <a:spcPct val="90000"/>
                  </a:lnSpc>
                  <a:spcAft>
                    <a:spcPts val="588"/>
                  </a:spcAft>
                  <a:defRPr/>
                </a:pPr>
                <a:r>
                  <a:rPr lang="en-US" sz="1175" kern="0">
                    <a:gradFill>
                      <a:gsLst>
                        <a:gs pos="2917">
                          <a:srgbClr val="000000"/>
                        </a:gs>
                        <a:gs pos="30000">
                          <a:srgbClr val="000000"/>
                        </a:gs>
                      </a:gsLst>
                      <a:lin ang="5400000" scaled="0"/>
                    </a:gradFill>
                  </a:rPr>
                  <a:t>On-premises</a:t>
                </a:r>
              </a:p>
            </p:txBody>
          </p:sp>
        </p:grpSp>
        <p:sp>
          <p:nvSpPr>
            <p:cNvPr id="72" name="TextBox 71"/>
            <p:cNvSpPr txBox="1"/>
            <p:nvPr/>
          </p:nvSpPr>
          <p:spPr>
            <a:xfrm>
              <a:off x="7800004" y="3247211"/>
              <a:ext cx="1817627" cy="763925"/>
            </a:xfrm>
            <a:prstGeom prst="rect">
              <a:avLst/>
            </a:prstGeom>
            <a:solidFill>
              <a:schemeClr val="bg1"/>
            </a:solidFill>
            <a:ln>
              <a:solidFill>
                <a:schemeClr val="accent3">
                  <a:lumMod val="20000"/>
                  <a:lumOff val="80000"/>
                </a:schemeClr>
              </a:solidFill>
            </a:ln>
          </p:spPr>
          <p:txBody>
            <a:bodyPr wrap="square" lIns="179208" tIns="143366" rIns="179208" bIns="143366" rtlCol="0" anchor="ctr">
              <a:noAutofit/>
            </a:bodyPr>
            <a:lstStyle/>
            <a:p>
              <a:pPr algn="ctr" defTabSz="912979" fontAlgn="base">
                <a:lnSpc>
                  <a:spcPct val="90000"/>
                </a:lnSpc>
                <a:spcBef>
                  <a:spcPct val="0"/>
                </a:spcBef>
                <a:spcAft>
                  <a:spcPts val="588"/>
                </a:spcAft>
              </a:pPr>
              <a:r>
                <a:rPr lang="en-US" sz="1176">
                  <a:gradFill>
                    <a:gsLst>
                      <a:gs pos="87611">
                        <a:srgbClr val="00BCF2"/>
                      </a:gs>
                      <a:gs pos="72000">
                        <a:srgbClr val="00BCF2"/>
                      </a:gs>
                    </a:gsLst>
                    <a:lin ang="5400000" scaled="0"/>
                  </a:gradFill>
                  <a:latin typeface="Segoe UI Semibold" panose="020B0702040204020203" pitchFamily="34" charset="0"/>
                  <a:ea typeface="MS PGothic" charset="0"/>
                  <a:cs typeface="Segoe UI Semibold" panose="020B0702040204020203" pitchFamily="34" charset="0"/>
                </a:rPr>
                <a:t>Scheduled Refresh</a:t>
              </a:r>
            </a:p>
            <a:p>
              <a:pPr algn="ctr" defTabSz="912979" fontAlgn="base">
                <a:lnSpc>
                  <a:spcPct val="90000"/>
                </a:lnSpc>
                <a:spcBef>
                  <a:spcPct val="0"/>
                </a:spcBef>
                <a:spcAft>
                  <a:spcPts val="588"/>
                </a:spcAft>
              </a:pPr>
              <a:endParaRPr lang="en-US" sz="1176">
                <a:gradFill>
                  <a:gsLst>
                    <a:gs pos="87611">
                      <a:srgbClr val="00BCF2"/>
                    </a:gs>
                    <a:gs pos="72000">
                      <a:srgbClr val="00BCF2"/>
                    </a:gs>
                  </a:gsLst>
                  <a:lin ang="5400000" scaled="0"/>
                </a:gradFill>
                <a:latin typeface="Segoe UI Semibold" panose="020B0702040204020203" pitchFamily="34" charset="0"/>
                <a:ea typeface="MS PGothic" charset="0"/>
                <a:cs typeface="Segoe UI Semibold" panose="020B0702040204020203" pitchFamily="34" charset="0"/>
              </a:endParaRPr>
            </a:p>
            <a:p>
              <a:pPr algn="ctr" defTabSz="912979" fontAlgn="base">
                <a:lnSpc>
                  <a:spcPct val="90000"/>
                </a:lnSpc>
                <a:spcBef>
                  <a:spcPct val="0"/>
                </a:spcBef>
                <a:spcAft>
                  <a:spcPts val="588"/>
                </a:spcAft>
              </a:pPr>
              <a:r>
                <a:rPr lang="en-US" sz="1176">
                  <a:gradFill>
                    <a:gsLst>
                      <a:gs pos="87611">
                        <a:srgbClr val="00BCF2"/>
                      </a:gs>
                      <a:gs pos="72000">
                        <a:srgbClr val="00BCF2"/>
                      </a:gs>
                    </a:gsLst>
                    <a:lin ang="5400000" scaled="0"/>
                  </a:gradFill>
                  <a:latin typeface="Segoe UI Semibold" panose="020B0702040204020203" pitchFamily="34" charset="0"/>
                  <a:ea typeface="MS PGothic" charset="0"/>
                  <a:cs typeface="Segoe UI Semibold" panose="020B0702040204020203" pitchFamily="34" charset="0"/>
                </a:rPr>
                <a:t>Manage &amp; Monitor</a:t>
              </a:r>
            </a:p>
          </p:txBody>
        </p:sp>
        <p:sp>
          <p:nvSpPr>
            <p:cNvPr id="75" name="Freeform 5"/>
            <p:cNvSpPr>
              <a:spLocks noEditPoints="1"/>
            </p:cNvSpPr>
            <p:nvPr/>
          </p:nvSpPr>
          <p:spPr bwMode="auto">
            <a:xfrm>
              <a:off x="8526905" y="3477473"/>
              <a:ext cx="285048" cy="285158"/>
            </a:xfrm>
            <a:custGeom>
              <a:avLst/>
              <a:gdLst>
                <a:gd name="T0" fmla="*/ 1131 w 2204"/>
                <a:gd name="T1" fmla="*/ 1075 h 2204"/>
                <a:gd name="T2" fmla="*/ 849 w 2204"/>
                <a:gd name="T3" fmla="*/ 764 h 2204"/>
                <a:gd name="T4" fmla="*/ 849 w 2204"/>
                <a:gd name="T5" fmla="*/ 1470 h 2204"/>
                <a:gd name="T6" fmla="*/ 645 w 2204"/>
                <a:gd name="T7" fmla="*/ 1470 h 2204"/>
                <a:gd name="T8" fmla="*/ 645 w 2204"/>
                <a:gd name="T9" fmla="*/ 764 h 2204"/>
                <a:gd name="T10" fmla="*/ 344 w 2204"/>
                <a:gd name="T11" fmla="*/ 1075 h 2204"/>
                <a:gd name="T12" fmla="*/ 344 w 2204"/>
                <a:gd name="T13" fmla="*/ 819 h 2204"/>
                <a:gd name="T14" fmla="*/ 738 w 2204"/>
                <a:gd name="T15" fmla="*/ 397 h 2204"/>
                <a:gd name="T16" fmla="*/ 1131 w 2204"/>
                <a:gd name="T17" fmla="*/ 819 h 2204"/>
                <a:gd name="T18" fmla="*/ 1131 w 2204"/>
                <a:gd name="T19" fmla="*/ 1075 h 2204"/>
                <a:gd name="T20" fmla="*/ 1802 w 2204"/>
                <a:gd name="T21" fmla="*/ 1194 h 2204"/>
                <a:gd name="T22" fmla="*/ 1519 w 2204"/>
                <a:gd name="T23" fmla="*/ 1505 h 2204"/>
                <a:gd name="T24" fmla="*/ 1519 w 2204"/>
                <a:gd name="T25" fmla="*/ 799 h 2204"/>
                <a:gd name="T26" fmla="*/ 1316 w 2204"/>
                <a:gd name="T27" fmla="*/ 799 h 2204"/>
                <a:gd name="T28" fmla="*/ 1316 w 2204"/>
                <a:gd name="T29" fmla="*/ 1505 h 2204"/>
                <a:gd name="T30" fmla="*/ 1015 w 2204"/>
                <a:gd name="T31" fmla="*/ 1194 h 2204"/>
                <a:gd name="T32" fmla="*/ 1015 w 2204"/>
                <a:gd name="T33" fmla="*/ 1449 h 2204"/>
                <a:gd name="T34" fmla="*/ 1408 w 2204"/>
                <a:gd name="T35" fmla="*/ 1872 h 2204"/>
                <a:gd name="T36" fmla="*/ 1802 w 2204"/>
                <a:gd name="T37" fmla="*/ 1449 h 2204"/>
                <a:gd name="T38" fmla="*/ 1802 w 2204"/>
                <a:gd name="T39" fmla="*/ 1194 h 2204"/>
                <a:gd name="T40" fmla="*/ 1095 w 2204"/>
                <a:gd name="T41" fmla="*/ 2204 h 2204"/>
                <a:gd name="T42" fmla="*/ 2204 w 2204"/>
                <a:gd name="T43" fmla="*/ 1092 h 2204"/>
                <a:gd name="T44" fmla="*/ 1095 w 2204"/>
                <a:gd name="T45" fmla="*/ 0 h 2204"/>
                <a:gd name="T46" fmla="*/ 0 w 2204"/>
                <a:gd name="T47" fmla="*/ 1092 h 2204"/>
                <a:gd name="T48" fmla="*/ 1095 w 2204"/>
                <a:gd name="T49" fmla="*/ 2204 h 2204"/>
                <a:gd name="T50" fmla="*/ 1095 w 2204"/>
                <a:gd name="T51" fmla="*/ 132 h 2204"/>
                <a:gd name="T52" fmla="*/ 2072 w 2204"/>
                <a:gd name="T53" fmla="*/ 1092 h 2204"/>
                <a:gd name="T54" fmla="*/ 1095 w 2204"/>
                <a:gd name="T55" fmla="*/ 2068 h 2204"/>
                <a:gd name="T56" fmla="*/ 137 w 2204"/>
                <a:gd name="T57" fmla="*/ 1092 h 2204"/>
                <a:gd name="T58" fmla="*/ 1095 w 2204"/>
                <a:gd name="T59" fmla="*/ 132 h 2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204" h="2204">
                  <a:moveTo>
                    <a:pt x="1131" y="1075"/>
                  </a:moveTo>
                  <a:cubicBezTo>
                    <a:pt x="1131" y="1075"/>
                    <a:pt x="1131" y="1075"/>
                    <a:pt x="849" y="764"/>
                  </a:cubicBezTo>
                  <a:cubicBezTo>
                    <a:pt x="849" y="1470"/>
                    <a:pt x="849" y="1470"/>
                    <a:pt x="849" y="1470"/>
                  </a:cubicBezTo>
                  <a:cubicBezTo>
                    <a:pt x="849" y="1470"/>
                    <a:pt x="849" y="1470"/>
                    <a:pt x="645" y="1470"/>
                  </a:cubicBezTo>
                  <a:cubicBezTo>
                    <a:pt x="645" y="1470"/>
                    <a:pt x="645" y="1470"/>
                    <a:pt x="645" y="764"/>
                  </a:cubicBezTo>
                  <a:cubicBezTo>
                    <a:pt x="645" y="764"/>
                    <a:pt x="645" y="764"/>
                    <a:pt x="344" y="1075"/>
                  </a:cubicBezTo>
                  <a:cubicBezTo>
                    <a:pt x="344" y="1075"/>
                    <a:pt x="344" y="1075"/>
                    <a:pt x="344" y="819"/>
                  </a:cubicBezTo>
                  <a:cubicBezTo>
                    <a:pt x="344" y="819"/>
                    <a:pt x="344" y="819"/>
                    <a:pt x="738" y="397"/>
                  </a:cubicBezTo>
                  <a:cubicBezTo>
                    <a:pt x="738" y="397"/>
                    <a:pt x="738" y="397"/>
                    <a:pt x="1131" y="819"/>
                  </a:cubicBezTo>
                  <a:cubicBezTo>
                    <a:pt x="1131" y="819"/>
                    <a:pt x="1131" y="819"/>
                    <a:pt x="1131" y="1075"/>
                  </a:cubicBezTo>
                  <a:close/>
                  <a:moveTo>
                    <a:pt x="1802" y="1194"/>
                  </a:moveTo>
                  <a:cubicBezTo>
                    <a:pt x="1802" y="1194"/>
                    <a:pt x="1802" y="1194"/>
                    <a:pt x="1519" y="1505"/>
                  </a:cubicBezTo>
                  <a:cubicBezTo>
                    <a:pt x="1519" y="799"/>
                    <a:pt x="1519" y="799"/>
                    <a:pt x="1519" y="799"/>
                  </a:cubicBezTo>
                  <a:cubicBezTo>
                    <a:pt x="1519" y="799"/>
                    <a:pt x="1519" y="799"/>
                    <a:pt x="1316" y="799"/>
                  </a:cubicBezTo>
                  <a:cubicBezTo>
                    <a:pt x="1316" y="799"/>
                    <a:pt x="1316" y="799"/>
                    <a:pt x="1316" y="1505"/>
                  </a:cubicBezTo>
                  <a:cubicBezTo>
                    <a:pt x="1316" y="1505"/>
                    <a:pt x="1316" y="1505"/>
                    <a:pt x="1015" y="1194"/>
                  </a:cubicBezTo>
                  <a:cubicBezTo>
                    <a:pt x="1015" y="1194"/>
                    <a:pt x="1015" y="1194"/>
                    <a:pt x="1015" y="1449"/>
                  </a:cubicBezTo>
                  <a:cubicBezTo>
                    <a:pt x="1015" y="1449"/>
                    <a:pt x="1015" y="1449"/>
                    <a:pt x="1408" y="1872"/>
                  </a:cubicBezTo>
                  <a:cubicBezTo>
                    <a:pt x="1408" y="1872"/>
                    <a:pt x="1408" y="1872"/>
                    <a:pt x="1802" y="1449"/>
                  </a:cubicBezTo>
                  <a:cubicBezTo>
                    <a:pt x="1802" y="1449"/>
                    <a:pt x="1802" y="1449"/>
                    <a:pt x="1802" y="1194"/>
                  </a:cubicBezTo>
                  <a:close/>
                  <a:moveTo>
                    <a:pt x="1095" y="2204"/>
                  </a:moveTo>
                  <a:cubicBezTo>
                    <a:pt x="1718" y="2204"/>
                    <a:pt x="2204" y="1714"/>
                    <a:pt x="2204" y="1092"/>
                  </a:cubicBezTo>
                  <a:cubicBezTo>
                    <a:pt x="2204" y="485"/>
                    <a:pt x="1718" y="0"/>
                    <a:pt x="1095" y="0"/>
                  </a:cubicBezTo>
                  <a:cubicBezTo>
                    <a:pt x="492" y="0"/>
                    <a:pt x="0" y="485"/>
                    <a:pt x="0" y="1092"/>
                  </a:cubicBezTo>
                  <a:cubicBezTo>
                    <a:pt x="0" y="1714"/>
                    <a:pt x="492" y="2204"/>
                    <a:pt x="1095" y="2204"/>
                  </a:cubicBezTo>
                  <a:close/>
                  <a:moveTo>
                    <a:pt x="1095" y="132"/>
                  </a:moveTo>
                  <a:cubicBezTo>
                    <a:pt x="1627" y="132"/>
                    <a:pt x="2072" y="561"/>
                    <a:pt x="2072" y="1092"/>
                  </a:cubicBezTo>
                  <a:cubicBezTo>
                    <a:pt x="2072" y="1628"/>
                    <a:pt x="1627" y="2068"/>
                    <a:pt x="1095" y="2068"/>
                  </a:cubicBezTo>
                  <a:cubicBezTo>
                    <a:pt x="563" y="2068"/>
                    <a:pt x="137" y="1628"/>
                    <a:pt x="137" y="1092"/>
                  </a:cubicBezTo>
                  <a:cubicBezTo>
                    <a:pt x="137" y="561"/>
                    <a:pt x="563" y="132"/>
                    <a:pt x="1095" y="132"/>
                  </a:cubicBezTo>
                  <a:close/>
                </a:path>
              </a:pathLst>
            </a:custGeom>
            <a:solidFill>
              <a:srgbClr val="00B0F0"/>
            </a:solidFill>
            <a:ln w="9525" cap="flat" cmpd="sng" algn="ctr">
              <a:noFill/>
              <a:prstDash val="solid"/>
              <a:headEnd type="none" w="med" len="med"/>
              <a:tailEnd type="none" w="med" len="med"/>
            </a:ln>
            <a:effectLst/>
          </p:spPr>
          <p:txBody>
            <a:bodyPr rot="0" spcFirstLastPara="0" vertOverflow="overflow" horzOverflow="overflow" vert="horz" wrap="square" lIns="179208" tIns="143366" rIns="179208" bIns="143366" numCol="1" spcCol="0" rtlCol="0" fromWordArt="0" anchor="t" anchorCtr="0" forceAA="0" compatLnSpc="1">
              <a:prstTxWarp prst="textNoShape">
                <a:avLst/>
              </a:prstTxWarp>
              <a:noAutofit/>
            </a:bodyPr>
            <a:lstStyle/>
            <a:p>
              <a:pPr marL="335951" indent="-335951" algn="ctr" defTabSz="913576">
                <a:lnSpc>
                  <a:spcPct val="90000"/>
                </a:lnSpc>
                <a:buFont typeface="Wingdings 3" panose="05040102010807070707" pitchFamily="18" charset="2"/>
                <a:buChar char="Æ"/>
                <a:defRPr/>
              </a:pPr>
              <a:endParaRPr lang="en-US" sz="1961" b="1" kern="0">
                <a:solidFill>
                  <a:srgbClr val="FFFFFF"/>
                </a:solidFill>
                <a:latin typeface="Segoe UI Light"/>
                <a:ea typeface="Segoe UI" pitchFamily="34" charset="0"/>
                <a:cs typeface="Segoe UI" pitchFamily="34" charset="0"/>
              </a:endParaRPr>
            </a:p>
          </p:txBody>
        </p:sp>
      </p:grpSp>
      <p:sp>
        <p:nvSpPr>
          <p:cNvPr id="88" name="Freeform 5"/>
          <p:cNvSpPr>
            <a:spLocks noEditPoints="1"/>
          </p:cNvSpPr>
          <p:nvPr/>
        </p:nvSpPr>
        <p:spPr bwMode="auto">
          <a:xfrm>
            <a:off x="8546301" y="4102197"/>
            <a:ext cx="415685" cy="448082"/>
          </a:xfrm>
          <a:custGeom>
            <a:avLst/>
            <a:gdLst>
              <a:gd name="T0" fmla="*/ 1460 w 1460"/>
              <a:gd name="T1" fmla="*/ 384 h 1615"/>
              <a:gd name="T2" fmla="*/ 1460 w 1460"/>
              <a:gd name="T3" fmla="*/ 1359 h 1615"/>
              <a:gd name="T4" fmla="*/ 1460 w 1460"/>
              <a:gd name="T5" fmla="*/ 1359 h 1615"/>
              <a:gd name="T6" fmla="*/ 730 w 1460"/>
              <a:gd name="T7" fmla="*/ 1615 h 1615"/>
              <a:gd name="T8" fmla="*/ 0 w 1460"/>
              <a:gd name="T9" fmla="*/ 1359 h 1615"/>
              <a:gd name="T10" fmla="*/ 0 w 1460"/>
              <a:gd name="T11" fmla="*/ 1359 h 1615"/>
              <a:gd name="T12" fmla="*/ 0 w 1460"/>
              <a:gd name="T13" fmla="*/ 1359 h 1615"/>
              <a:gd name="T14" fmla="*/ 0 w 1460"/>
              <a:gd name="T15" fmla="*/ 1339 h 1615"/>
              <a:gd name="T16" fmla="*/ 0 w 1460"/>
              <a:gd name="T17" fmla="*/ 1329 h 1615"/>
              <a:gd name="T18" fmla="*/ 0 w 1460"/>
              <a:gd name="T19" fmla="*/ 394 h 1615"/>
              <a:gd name="T20" fmla="*/ 730 w 1460"/>
              <a:gd name="T21" fmla="*/ 591 h 1615"/>
              <a:gd name="T22" fmla="*/ 1460 w 1460"/>
              <a:gd name="T23" fmla="*/ 384 h 1615"/>
              <a:gd name="T24" fmla="*/ 730 w 1460"/>
              <a:gd name="T25" fmla="*/ 541 h 1615"/>
              <a:gd name="T26" fmla="*/ 1460 w 1460"/>
              <a:gd name="T27" fmla="*/ 275 h 1615"/>
              <a:gd name="T28" fmla="*/ 730 w 1460"/>
              <a:gd name="T29" fmla="*/ 0 h 1615"/>
              <a:gd name="T30" fmla="*/ 0 w 1460"/>
              <a:gd name="T31" fmla="*/ 275 h 1615"/>
              <a:gd name="T32" fmla="*/ 730 w 1460"/>
              <a:gd name="T33" fmla="*/ 541 h 16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60" h="1615">
                <a:moveTo>
                  <a:pt x="1460" y="384"/>
                </a:moveTo>
                <a:cubicBezTo>
                  <a:pt x="1460" y="1359"/>
                  <a:pt x="1460" y="1359"/>
                  <a:pt x="1460" y="1359"/>
                </a:cubicBezTo>
                <a:cubicBezTo>
                  <a:pt x="1460" y="1359"/>
                  <a:pt x="1460" y="1359"/>
                  <a:pt x="1460" y="1359"/>
                </a:cubicBezTo>
                <a:cubicBezTo>
                  <a:pt x="1431" y="1507"/>
                  <a:pt x="1115" y="1615"/>
                  <a:pt x="730" y="1615"/>
                </a:cubicBezTo>
                <a:cubicBezTo>
                  <a:pt x="346" y="1615"/>
                  <a:pt x="30" y="1507"/>
                  <a:pt x="0" y="1359"/>
                </a:cubicBezTo>
                <a:cubicBezTo>
                  <a:pt x="0" y="1359"/>
                  <a:pt x="0" y="1359"/>
                  <a:pt x="0" y="1359"/>
                </a:cubicBezTo>
                <a:cubicBezTo>
                  <a:pt x="0" y="1359"/>
                  <a:pt x="0" y="1359"/>
                  <a:pt x="0" y="1359"/>
                </a:cubicBezTo>
                <a:cubicBezTo>
                  <a:pt x="0" y="1349"/>
                  <a:pt x="0" y="1349"/>
                  <a:pt x="0" y="1339"/>
                </a:cubicBezTo>
                <a:cubicBezTo>
                  <a:pt x="0" y="1339"/>
                  <a:pt x="0" y="1339"/>
                  <a:pt x="0" y="1329"/>
                </a:cubicBezTo>
                <a:cubicBezTo>
                  <a:pt x="0" y="394"/>
                  <a:pt x="0" y="394"/>
                  <a:pt x="0" y="394"/>
                </a:cubicBezTo>
                <a:cubicBezTo>
                  <a:pt x="119" y="522"/>
                  <a:pt x="434" y="591"/>
                  <a:pt x="730" y="591"/>
                </a:cubicBezTo>
                <a:cubicBezTo>
                  <a:pt x="1026" y="591"/>
                  <a:pt x="1342" y="522"/>
                  <a:pt x="1460" y="384"/>
                </a:cubicBezTo>
                <a:close/>
                <a:moveTo>
                  <a:pt x="730" y="541"/>
                </a:moveTo>
                <a:cubicBezTo>
                  <a:pt x="1135" y="541"/>
                  <a:pt x="1460" y="423"/>
                  <a:pt x="1460" y="275"/>
                </a:cubicBezTo>
                <a:cubicBezTo>
                  <a:pt x="1460" y="128"/>
                  <a:pt x="1135" y="0"/>
                  <a:pt x="730" y="0"/>
                </a:cubicBezTo>
                <a:cubicBezTo>
                  <a:pt x="326" y="0"/>
                  <a:pt x="0" y="128"/>
                  <a:pt x="0" y="275"/>
                </a:cubicBezTo>
                <a:cubicBezTo>
                  <a:pt x="0" y="423"/>
                  <a:pt x="326" y="541"/>
                  <a:pt x="730" y="541"/>
                </a:cubicBezTo>
                <a:close/>
              </a:path>
            </a:pathLst>
          </a:custGeom>
          <a:solidFill>
            <a:srgbClr val="0070C0"/>
          </a:solidFill>
          <a:ln>
            <a:noFill/>
          </a:ln>
        </p:spPr>
        <p:txBody>
          <a:bodyPr vert="horz" wrap="square" lIns="87843" tIns="43920" rIns="87843" bIns="43920" numCol="1" anchor="t" anchorCtr="0" compatLnSpc="1">
            <a:prstTxWarp prst="textNoShape">
              <a:avLst/>
            </a:prstTxWarp>
          </a:bodyPr>
          <a:lstStyle/>
          <a:p>
            <a:pPr defTabSz="895838">
              <a:defRPr/>
            </a:pPr>
            <a:endParaRPr lang="en-US" sz="1729" kern="0">
              <a:solidFill>
                <a:srgbClr val="505050"/>
              </a:solidFill>
            </a:endParaRPr>
          </a:p>
        </p:txBody>
      </p:sp>
      <p:sp>
        <p:nvSpPr>
          <p:cNvPr id="89" name="TextBox 88"/>
          <p:cNvSpPr txBox="1"/>
          <p:nvPr/>
        </p:nvSpPr>
        <p:spPr>
          <a:xfrm>
            <a:off x="8303186" y="4540362"/>
            <a:ext cx="936265" cy="590888"/>
          </a:xfrm>
          <a:prstGeom prst="rect">
            <a:avLst/>
          </a:prstGeom>
          <a:noFill/>
        </p:spPr>
        <p:txBody>
          <a:bodyPr wrap="square" lIns="179208" tIns="143366" rIns="179208" bIns="143366" rtlCol="0" anchor="ctr">
            <a:noAutofit/>
          </a:bodyPr>
          <a:lstStyle/>
          <a:p>
            <a:pPr algn="ctr" defTabSz="912979" fontAlgn="base">
              <a:lnSpc>
                <a:spcPct val="90000"/>
              </a:lnSpc>
              <a:spcBef>
                <a:spcPct val="0"/>
              </a:spcBef>
              <a:spcAft>
                <a:spcPts val="588"/>
              </a:spcAft>
            </a:pPr>
            <a:r>
              <a:rPr lang="en-US" sz="1176">
                <a:gradFill>
                  <a:gsLst>
                    <a:gs pos="72566">
                      <a:srgbClr val="505050"/>
                    </a:gs>
                    <a:gs pos="43000">
                      <a:srgbClr val="505050"/>
                    </a:gs>
                  </a:gsLst>
                  <a:lin ang="5400000" scaled="0"/>
                </a:gradFill>
                <a:latin typeface="Segoe UI Semibold" panose="020B0702040204020203" pitchFamily="34" charset="0"/>
                <a:ea typeface="MS PGothic" charset="0"/>
                <a:cs typeface="Segoe UI Semibold" panose="020B0702040204020203" pitchFamily="34" charset="0"/>
              </a:rPr>
              <a:t>Data Source	</a:t>
            </a:r>
          </a:p>
        </p:txBody>
      </p:sp>
      <p:sp>
        <p:nvSpPr>
          <p:cNvPr id="90" name="Freeform 5"/>
          <p:cNvSpPr>
            <a:spLocks noEditPoints="1"/>
          </p:cNvSpPr>
          <p:nvPr/>
        </p:nvSpPr>
        <p:spPr bwMode="auto">
          <a:xfrm>
            <a:off x="7898787" y="4102197"/>
            <a:ext cx="415685" cy="448082"/>
          </a:xfrm>
          <a:custGeom>
            <a:avLst/>
            <a:gdLst>
              <a:gd name="T0" fmla="*/ 1460 w 1460"/>
              <a:gd name="T1" fmla="*/ 384 h 1615"/>
              <a:gd name="T2" fmla="*/ 1460 w 1460"/>
              <a:gd name="T3" fmla="*/ 1359 h 1615"/>
              <a:gd name="T4" fmla="*/ 1460 w 1460"/>
              <a:gd name="T5" fmla="*/ 1359 h 1615"/>
              <a:gd name="T6" fmla="*/ 730 w 1460"/>
              <a:gd name="T7" fmla="*/ 1615 h 1615"/>
              <a:gd name="T8" fmla="*/ 0 w 1460"/>
              <a:gd name="T9" fmla="*/ 1359 h 1615"/>
              <a:gd name="T10" fmla="*/ 0 w 1460"/>
              <a:gd name="T11" fmla="*/ 1359 h 1615"/>
              <a:gd name="T12" fmla="*/ 0 w 1460"/>
              <a:gd name="T13" fmla="*/ 1359 h 1615"/>
              <a:gd name="T14" fmla="*/ 0 w 1460"/>
              <a:gd name="T15" fmla="*/ 1339 h 1615"/>
              <a:gd name="T16" fmla="*/ 0 w 1460"/>
              <a:gd name="T17" fmla="*/ 1329 h 1615"/>
              <a:gd name="T18" fmla="*/ 0 w 1460"/>
              <a:gd name="T19" fmla="*/ 394 h 1615"/>
              <a:gd name="T20" fmla="*/ 730 w 1460"/>
              <a:gd name="T21" fmla="*/ 591 h 1615"/>
              <a:gd name="T22" fmla="*/ 1460 w 1460"/>
              <a:gd name="T23" fmla="*/ 384 h 1615"/>
              <a:gd name="T24" fmla="*/ 730 w 1460"/>
              <a:gd name="T25" fmla="*/ 541 h 1615"/>
              <a:gd name="T26" fmla="*/ 1460 w 1460"/>
              <a:gd name="T27" fmla="*/ 275 h 1615"/>
              <a:gd name="T28" fmla="*/ 730 w 1460"/>
              <a:gd name="T29" fmla="*/ 0 h 1615"/>
              <a:gd name="T30" fmla="*/ 0 w 1460"/>
              <a:gd name="T31" fmla="*/ 275 h 1615"/>
              <a:gd name="T32" fmla="*/ 730 w 1460"/>
              <a:gd name="T33" fmla="*/ 541 h 16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60" h="1615">
                <a:moveTo>
                  <a:pt x="1460" y="384"/>
                </a:moveTo>
                <a:cubicBezTo>
                  <a:pt x="1460" y="1359"/>
                  <a:pt x="1460" y="1359"/>
                  <a:pt x="1460" y="1359"/>
                </a:cubicBezTo>
                <a:cubicBezTo>
                  <a:pt x="1460" y="1359"/>
                  <a:pt x="1460" y="1359"/>
                  <a:pt x="1460" y="1359"/>
                </a:cubicBezTo>
                <a:cubicBezTo>
                  <a:pt x="1431" y="1507"/>
                  <a:pt x="1115" y="1615"/>
                  <a:pt x="730" y="1615"/>
                </a:cubicBezTo>
                <a:cubicBezTo>
                  <a:pt x="346" y="1615"/>
                  <a:pt x="30" y="1507"/>
                  <a:pt x="0" y="1359"/>
                </a:cubicBezTo>
                <a:cubicBezTo>
                  <a:pt x="0" y="1359"/>
                  <a:pt x="0" y="1359"/>
                  <a:pt x="0" y="1359"/>
                </a:cubicBezTo>
                <a:cubicBezTo>
                  <a:pt x="0" y="1359"/>
                  <a:pt x="0" y="1359"/>
                  <a:pt x="0" y="1359"/>
                </a:cubicBezTo>
                <a:cubicBezTo>
                  <a:pt x="0" y="1349"/>
                  <a:pt x="0" y="1349"/>
                  <a:pt x="0" y="1339"/>
                </a:cubicBezTo>
                <a:cubicBezTo>
                  <a:pt x="0" y="1339"/>
                  <a:pt x="0" y="1339"/>
                  <a:pt x="0" y="1329"/>
                </a:cubicBezTo>
                <a:cubicBezTo>
                  <a:pt x="0" y="394"/>
                  <a:pt x="0" y="394"/>
                  <a:pt x="0" y="394"/>
                </a:cubicBezTo>
                <a:cubicBezTo>
                  <a:pt x="119" y="522"/>
                  <a:pt x="434" y="591"/>
                  <a:pt x="730" y="591"/>
                </a:cubicBezTo>
                <a:cubicBezTo>
                  <a:pt x="1026" y="591"/>
                  <a:pt x="1342" y="522"/>
                  <a:pt x="1460" y="384"/>
                </a:cubicBezTo>
                <a:close/>
                <a:moveTo>
                  <a:pt x="730" y="541"/>
                </a:moveTo>
                <a:cubicBezTo>
                  <a:pt x="1135" y="541"/>
                  <a:pt x="1460" y="423"/>
                  <a:pt x="1460" y="275"/>
                </a:cubicBezTo>
                <a:cubicBezTo>
                  <a:pt x="1460" y="128"/>
                  <a:pt x="1135" y="0"/>
                  <a:pt x="730" y="0"/>
                </a:cubicBezTo>
                <a:cubicBezTo>
                  <a:pt x="326" y="0"/>
                  <a:pt x="0" y="128"/>
                  <a:pt x="0" y="275"/>
                </a:cubicBezTo>
                <a:cubicBezTo>
                  <a:pt x="0" y="423"/>
                  <a:pt x="326" y="541"/>
                  <a:pt x="730" y="541"/>
                </a:cubicBezTo>
                <a:close/>
              </a:path>
            </a:pathLst>
          </a:custGeom>
          <a:solidFill>
            <a:srgbClr val="0070C0"/>
          </a:solidFill>
          <a:ln>
            <a:noFill/>
          </a:ln>
        </p:spPr>
        <p:txBody>
          <a:bodyPr vert="horz" wrap="square" lIns="87843" tIns="43920" rIns="87843" bIns="43920" numCol="1" anchor="t" anchorCtr="0" compatLnSpc="1">
            <a:prstTxWarp prst="textNoShape">
              <a:avLst/>
            </a:prstTxWarp>
          </a:bodyPr>
          <a:lstStyle/>
          <a:p>
            <a:pPr defTabSz="895838">
              <a:defRPr/>
            </a:pPr>
            <a:endParaRPr lang="en-US" sz="1729" kern="0">
              <a:solidFill>
                <a:srgbClr val="505050"/>
              </a:solidFill>
            </a:endParaRPr>
          </a:p>
        </p:txBody>
      </p:sp>
      <p:sp>
        <p:nvSpPr>
          <p:cNvPr id="91" name="TextBox 90"/>
          <p:cNvSpPr txBox="1"/>
          <p:nvPr/>
        </p:nvSpPr>
        <p:spPr>
          <a:xfrm>
            <a:off x="7652293" y="4540362"/>
            <a:ext cx="936265" cy="590888"/>
          </a:xfrm>
          <a:prstGeom prst="rect">
            <a:avLst/>
          </a:prstGeom>
          <a:noFill/>
        </p:spPr>
        <p:txBody>
          <a:bodyPr wrap="square" lIns="179208" tIns="143366" rIns="179208" bIns="143366" rtlCol="0" anchor="ctr">
            <a:noAutofit/>
          </a:bodyPr>
          <a:lstStyle/>
          <a:p>
            <a:pPr algn="ctr" defTabSz="912979" fontAlgn="base">
              <a:lnSpc>
                <a:spcPct val="90000"/>
              </a:lnSpc>
              <a:spcBef>
                <a:spcPct val="0"/>
              </a:spcBef>
              <a:spcAft>
                <a:spcPts val="588"/>
              </a:spcAft>
            </a:pPr>
            <a:r>
              <a:rPr lang="en-US" sz="1176">
                <a:gradFill>
                  <a:gsLst>
                    <a:gs pos="72566">
                      <a:srgbClr val="505050"/>
                    </a:gs>
                    <a:gs pos="43000">
                      <a:srgbClr val="505050"/>
                    </a:gs>
                  </a:gsLst>
                  <a:lin ang="5400000" scaled="0"/>
                </a:gradFill>
                <a:latin typeface="Segoe UI Semibold" panose="020B0702040204020203" pitchFamily="34" charset="0"/>
                <a:ea typeface="MS PGothic" charset="0"/>
                <a:cs typeface="Segoe UI Semibold" panose="020B0702040204020203" pitchFamily="34" charset="0"/>
              </a:rPr>
              <a:t>Data Source	</a:t>
            </a:r>
          </a:p>
        </p:txBody>
      </p:sp>
      <p:sp>
        <p:nvSpPr>
          <p:cNvPr id="92" name="Freeform 5"/>
          <p:cNvSpPr>
            <a:spLocks noEditPoints="1"/>
          </p:cNvSpPr>
          <p:nvPr/>
        </p:nvSpPr>
        <p:spPr bwMode="auto">
          <a:xfrm>
            <a:off x="9193815" y="4102197"/>
            <a:ext cx="415685" cy="448082"/>
          </a:xfrm>
          <a:custGeom>
            <a:avLst/>
            <a:gdLst>
              <a:gd name="T0" fmla="*/ 1460 w 1460"/>
              <a:gd name="T1" fmla="*/ 384 h 1615"/>
              <a:gd name="T2" fmla="*/ 1460 w 1460"/>
              <a:gd name="T3" fmla="*/ 1359 h 1615"/>
              <a:gd name="T4" fmla="*/ 1460 w 1460"/>
              <a:gd name="T5" fmla="*/ 1359 h 1615"/>
              <a:gd name="T6" fmla="*/ 730 w 1460"/>
              <a:gd name="T7" fmla="*/ 1615 h 1615"/>
              <a:gd name="T8" fmla="*/ 0 w 1460"/>
              <a:gd name="T9" fmla="*/ 1359 h 1615"/>
              <a:gd name="T10" fmla="*/ 0 w 1460"/>
              <a:gd name="T11" fmla="*/ 1359 h 1615"/>
              <a:gd name="T12" fmla="*/ 0 w 1460"/>
              <a:gd name="T13" fmla="*/ 1359 h 1615"/>
              <a:gd name="T14" fmla="*/ 0 w 1460"/>
              <a:gd name="T15" fmla="*/ 1339 h 1615"/>
              <a:gd name="T16" fmla="*/ 0 w 1460"/>
              <a:gd name="T17" fmla="*/ 1329 h 1615"/>
              <a:gd name="T18" fmla="*/ 0 w 1460"/>
              <a:gd name="T19" fmla="*/ 394 h 1615"/>
              <a:gd name="T20" fmla="*/ 730 w 1460"/>
              <a:gd name="T21" fmla="*/ 591 h 1615"/>
              <a:gd name="T22" fmla="*/ 1460 w 1460"/>
              <a:gd name="T23" fmla="*/ 384 h 1615"/>
              <a:gd name="T24" fmla="*/ 730 w 1460"/>
              <a:gd name="T25" fmla="*/ 541 h 1615"/>
              <a:gd name="T26" fmla="*/ 1460 w 1460"/>
              <a:gd name="T27" fmla="*/ 275 h 1615"/>
              <a:gd name="T28" fmla="*/ 730 w 1460"/>
              <a:gd name="T29" fmla="*/ 0 h 1615"/>
              <a:gd name="T30" fmla="*/ 0 w 1460"/>
              <a:gd name="T31" fmla="*/ 275 h 1615"/>
              <a:gd name="T32" fmla="*/ 730 w 1460"/>
              <a:gd name="T33" fmla="*/ 541 h 16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60" h="1615">
                <a:moveTo>
                  <a:pt x="1460" y="384"/>
                </a:moveTo>
                <a:cubicBezTo>
                  <a:pt x="1460" y="1359"/>
                  <a:pt x="1460" y="1359"/>
                  <a:pt x="1460" y="1359"/>
                </a:cubicBezTo>
                <a:cubicBezTo>
                  <a:pt x="1460" y="1359"/>
                  <a:pt x="1460" y="1359"/>
                  <a:pt x="1460" y="1359"/>
                </a:cubicBezTo>
                <a:cubicBezTo>
                  <a:pt x="1431" y="1507"/>
                  <a:pt x="1115" y="1615"/>
                  <a:pt x="730" y="1615"/>
                </a:cubicBezTo>
                <a:cubicBezTo>
                  <a:pt x="346" y="1615"/>
                  <a:pt x="30" y="1507"/>
                  <a:pt x="0" y="1359"/>
                </a:cubicBezTo>
                <a:cubicBezTo>
                  <a:pt x="0" y="1359"/>
                  <a:pt x="0" y="1359"/>
                  <a:pt x="0" y="1359"/>
                </a:cubicBezTo>
                <a:cubicBezTo>
                  <a:pt x="0" y="1359"/>
                  <a:pt x="0" y="1359"/>
                  <a:pt x="0" y="1359"/>
                </a:cubicBezTo>
                <a:cubicBezTo>
                  <a:pt x="0" y="1349"/>
                  <a:pt x="0" y="1349"/>
                  <a:pt x="0" y="1339"/>
                </a:cubicBezTo>
                <a:cubicBezTo>
                  <a:pt x="0" y="1339"/>
                  <a:pt x="0" y="1339"/>
                  <a:pt x="0" y="1329"/>
                </a:cubicBezTo>
                <a:cubicBezTo>
                  <a:pt x="0" y="394"/>
                  <a:pt x="0" y="394"/>
                  <a:pt x="0" y="394"/>
                </a:cubicBezTo>
                <a:cubicBezTo>
                  <a:pt x="119" y="522"/>
                  <a:pt x="434" y="591"/>
                  <a:pt x="730" y="591"/>
                </a:cubicBezTo>
                <a:cubicBezTo>
                  <a:pt x="1026" y="591"/>
                  <a:pt x="1342" y="522"/>
                  <a:pt x="1460" y="384"/>
                </a:cubicBezTo>
                <a:close/>
                <a:moveTo>
                  <a:pt x="730" y="541"/>
                </a:moveTo>
                <a:cubicBezTo>
                  <a:pt x="1135" y="541"/>
                  <a:pt x="1460" y="423"/>
                  <a:pt x="1460" y="275"/>
                </a:cubicBezTo>
                <a:cubicBezTo>
                  <a:pt x="1460" y="128"/>
                  <a:pt x="1135" y="0"/>
                  <a:pt x="730" y="0"/>
                </a:cubicBezTo>
                <a:cubicBezTo>
                  <a:pt x="326" y="0"/>
                  <a:pt x="0" y="128"/>
                  <a:pt x="0" y="275"/>
                </a:cubicBezTo>
                <a:cubicBezTo>
                  <a:pt x="0" y="423"/>
                  <a:pt x="326" y="541"/>
                  <a:pt x="730" y="541"/>
                </a:cubicBezTo>
                <a:close/>
              </a:path>
            </a:pathLst>
          </a:custGeom>
          <a:solidFill>
            <a:srgbClr val="0070C0"/>
          </a:solidFill>
          <a:ln>
            <a:noFill/>
          </a:ln>
        </p:spPr>
        <p:txBody>
          <a:bodyPr vert="horz" wrap="square" lIns="87843" tIns="43920" rIns="87843" bIns="43920" numCol="1" anchor="t" anchorCtr="0" compatLnSpc="1">
            <a:prstTxWarp prst="textNoShape">
              <a:avLst/>
            </a:prstTxWarp>
          </a:bodyPr>
          <a:lstStyle/>
          <a:p>
            <a:pPr defTabSz="895838">
              <a:defRPr/>
            </a:pPr>
            <a:endParaRPr lang="en-US" sz="1729" kern="0">
              <a:solidFill>
                <a:srgbClr val="505050"/>
              </a:solidFill>
            </a:endParaRPr>
          </a:p>
        </p:txBody>
      </p:sp>
      <p:sp>
        <p:nvSpPr>
          <p:cNvPr id="93" name="TextBox 92"/>
          <p:cNvSpPr txBox="1"/>
          <p:nvPr/>
        </p:nvSpPr>
        <p:spPr>
          <a:xfrm>
            <a:off x="8954079" y="4540362"/>
            <a:ext cx="936265" cy="590888"/>
          </a:xfrm>
          <a:prstGeom prst="rect">
            <a:avLst/>
          </a:prstGeom>
          <a:noFill/>
        </p:spPr>
        <p:txBody>
          <a:bodyPr wrap="square" lIns="179208" tIns="143366" rIns="179208" bIns="143366" rtlCol="0" anchor="ctr">
            <a:noAutofit/>
          </a:bodyPr>
          <a:lstStyle/>
          <a:p>
            <a:pPr algn="ctr" defTabSz="912979" fontAlgn="base">
              <a:lnSpc>
                <a:spcPct val="90000"/>
              </a:lnSpc>
              <a:spcBef>
                <a:spcPct val="0"/>
              </a:spcBef>
              <a:spcAft>
                <a:spcPts val="588"/>
              </a:spcAft>
            </a:pPr>
            <a:r>
              <a:rPr lang="en-US" sz="1176">
                <a:gradFill>
                  <a:gsLst>
                    <a:gs pos="72566">
                      <a:srgbClr val="505050"/>
                    </a:gs>
                    <a:gs pos="43000">
                      <a:srgbClr val="505050"/>
                    </a:gs>
                  </a:gsLst>
                  <a:lin ang="5400000" scaled="0"/>
                </a:gradFill>
                <a:latin typeface="Segoe UI Semibold" panose="020B0702040204020203" pitchFamily="34" charset="0"/>
                <a:ea typeface="MS PGothic" charset="0"/>
                <a:cs typeface="Segoe UI Semibold" panose="020B0702040204020203" pitchFamily="34" charset="0"/>
              </a:rPr>
              <a:t>Data Source	</a:t>
            </a:r>
          </a:p>
        </p:txBody>
      </p:sp>
      <p:sp>
        <p:nvSpPr>
          <p:cNvPr id="94" name="TextBox 93"/>
          <p:cNvSpPr txBox="1"/>
          <p:nvPr/>
        </p:nvSpPr>
        <p:spPr>
          <a:xfrm>
            <a:off x="6764975" y="3649347"/>
            <a:ext cx="1278569" cy="583792"/>
          </a:xfrm>
          <a:prstGeom prst="rect">
            <a:avLst/>
          </a:prstGeom>
          <a:noFill/>
        </p:spPr>
        <p:txBody>
          <a:bodyPr wrap="square" lIns="179259" tIns="143407" rIns="179259" bIns="143407" rtlCol="0" anchor="ctr">
            <a:noAutofit/>
          </a:bodyPr>
          <a:lstStyle/>
          <a:p>
            <a:pPr algn="ctr" defTabSz="914192">
              <a:lnSpc>
                <a:spcPct val="90000"/>
              </a:lnSpc>
              <a:spcAft>
                <a:spcPts val="588"/>
              </a:spcAft>
              <a:defRPr/>
            </a:pPr>
            <a:r>
              <a:rPr lang="en-US" sz="1175" kern="0">
                <a:gradFill>
                  <a:gsLst>
                    <a:gs pos="2917">
                      <a:srgbClr val="000000"/>
                    </a:gs>
                    <a:gs pos="30000">
                      <a:srgbClr val="000000"/>
                    </a:gs>
                  </a:gsLst>
                  <a:lin ang="5400000" scaled="0"/>
                </a:gradFill>
              </a:rPr>
              <a:t>On-Premises Data Gateway</a:t>
            </a:r>
          </a:p>
        </p:txBody>
      </p:sp>
      <p:sp>
        <p:nvSpPr>
          <p:cNvPr id="95" name="TextBox 94"/>
          <p:cNvSpPr txBox="1"/>
          <p:nvPr/>
        </p:nvSpPr>
        <p:spPr>
          <a:xfrm>
            <a:off x="10239182" y="1497494"/>
            <a:ext cx="1182661" cy="447287"/>
          </a:xfrm>
          <a:prstGeom prst="rect">
            <a:avLst/>
          </a:prstGeom>
          <a:noFill/>
          <a:ln>
            <a:noFill/>
          </a:ln>
        </p:spPr>
        <p:txBody>
          <a:bodyPr wrap="square" lIns="179259" tIns="143407" rIns="179259" bIns="143407" rtlCol="0" anchor="ctr">
            <a:noAutofit/>
          </a:bodyPr>
          <a:lstStyle/>
          <a:p>
            <a:pPr algn="ctr" defTabSz="914192">
              <a:lnSpc>
                <a:spcPct val="90000"/>
              </a:lnSpc>
              <a:spcAft>
                <a:spcPts val="588"/>
              </a:spcAft>
              <a:defRPr/>
            </a:pPr>
            <a:r>
              <a:rPr lang="en-US" sz="1200" kern="0" err="1">
                <a:solidFill>
                  <a:schemeClr val="bg2">
                    <a:lumMod val="75000"/>
                  </a:schemeClr>
                </a:solidFill>
              </a:rPr>
              <a:t>PowerApps</a:t>
            </a:r>
            <a:endParaRPr lang="en-US" sz="1200" kern="0">
              <a:solidFill>
                <a:schemeClr val="bg2">
                  <a:lumMod val="75000"/>
                </a:schemeClr>
              </a:solidFill>
            </a:endParaRPr>
          </a:p>
        </p:txBody>
      </p:sp>
      <p:sp>
        <p:nvSpPr>
          <p:cNvPr id="121" name="TextBox 120"/>
          <p:cNvSpPr txBox="1"/>
          <p:nvPr/>
        </p:nvSpPr>
        <p:spPr>
          <a:xfrm>
            <a:off x="10010036" y="2017056"/>
            <a:ext cx="1371600" cy="431298"/>
          </a:xfrm>
          <a:prstGeom prst="rect">
            <a:avLst/>
          </a:prstGeom>
          <a:noFill/>
          <a:ln>
            <a:noFill/>
          </a:ln>
        </p:spPr>
        <p:txBody>
          <a:bodyPr wrap="square" lIns="179259" tIns="143407" rIns="179259" bIns="143407" rtlCol="0" anchor="ctr">
            <a:noAutofit/>
          </a:bodyPr>
          <a:lstStyle/>
          <a:p>
            <a:pPr algn="ctr" defTabSz="914192">
              <a:lnSpc>
                <a:spcPct val="90000"/>
              </a:lnSpc>
              <a:spcAft>
                <a:spcPts val="588"/>
              </a:spcAft>
              <a:defRPr/>
            </a:pPr>
            <a:r>
              <a:rPr lang="en-US" sz="1200" kern="0">
                <a:solidFill>
                  <a:schemeClr val="bg2">
                    <a:lumMod val="75000"/>
                  </a:schemeClr>
                </a:solidFill>
              </a:rPr>
              <a:t>Microsoft Flow</a:t>
            </a:r>
          </a:p>
        </p:txBody>
      </p:sp>
      <p:sp>
        <p:nvSpPr>
          <p:cNvPr id="122" name="TextBox 121"/>
          <p:cNvSpPr txBox="1"/>
          <p:nvPr/>
        </p:nvSpPr>
        <p:spPr>
          <a:xfrm>
            <a:off x="10372752" y="2527905"/>
            <a:ext cx="1636998" cy="404347"/>
          </a:xfrm>
          <a:prstGeom prst="rect">
            <a:avLst/>
          </a:prstGeom>
          <a:noFill/>
          <a:ln>
            <a:noFill/>
          </a:ln>
        </p:spPr>
        <p:txBody>
          <a:bodyPr wrap="square" lIns="179259" tIns="143407" rIns="179259" bIns="143407" rtlCol="0" anchor="ctr">
            <a:noAutofit/>
          </a:bodyPr>
          <a:lstStyle/>
          <a:p>
            <a:pPr algn="ctr" defTabSz="914192">
              <a:lnSpc>
                <a:spcPct val="90000"/>
              </a:lnSpc>
              <a:spcAft>
                <a:spcPts val="588"/>
              </a:spcAft>
              <a:defRPr/>
            </a:pPr>
            <a:r>
              <a:rPr lang="en-US" sz="1200" kern="0">
                <a:solidFill>
                  <a:schemeClr val="bg2">
                    <a:lumMod val="75000"/>
                  </a:schemeClr>
                </a:solidFill>
              </a:rPr>
              <a:t>Azure Logic Apps</a:t>
            </a:r>
          </a:p>
        </p:txBody>
      </p:sp>
      <p:pic>
        <p:nvPicPr>
          <p:cNvPr id="123" name="Picture 122"/>
          <p:cNvPicPr>
            <a:picLocks noChangeAspect="1"/>
          </p:cNvPicPr>
          <p:nvPr/>
        </p:nvPicPr>
        <p:blipFill>
          <a:blip r:embed="rId5" cstate="screen">
            <a:extLst>
              <a:ext uri="{28A0092B-C50C-407E-A947-70E740481C1C}">
                <a14:useLocalDpi xmlns:a14="http://schemas.microsoft.com/office/drawing/2010/main" val="0"/>
              </a:ext>
            </a:extLst>
          </a:blip>
          <a:stretch>
            <a:fillRect/>
          </a:stretch>
        </p:blipFill>
        <p:spPr>
          <a:xfrm>
            <a:off x="7846739" y="1787628"/>
            <a:ext cx="2103121" cy="1192464"/>
          </a:xfrm>
          <a:prstGeom prst="rect">
            <a:avLst/>
          </a:prstGeom>
          <a:ln>
            <a:noFill/>
          </a:ln>
          <a:effectLst>
            <a:outerShdw blurRad="292100" dist="139700" dir="2700000" algn="tl" rotWithShape="0">
              <a:srgbClr val="333333">
                <a:alpha val="65000"/>
              </a:srgbClr>
            </a:outerShdw>
          </a:effectLst>
        </p:spPr>
      </p:pic>
      <p:sp>
        <p:nvSpPr>
          <p:cNvPr id="124" name="TextBox 123"/>
          <p:cNvSpPr txBox="1"/>
          <p:nvPr/>
        </p:nvSpPr>
        <p:spPr>
          <a:xfrm>
            <a:off x="6651926" y="2040245"/>
            <a:ext cx="1376225" cy="634358"/>
          </a:xfrm>
          <a:prstGeom prst="rect">
            <a:avLst/>
          </a:prstGeom>
          <a:noFill/>
        </p:spPr>
        <p:txBody>
          <a:bodyPr wrap="square" lIns="179259" tIns="143407" rIns="179259" bIns="143407" rtlCol="0" anchor="ctr">
            <a:noAutofit/>
          </a:bodyPr>
          <a:lstStyle/>
          <a:p>
            <a:pPr algn="ctr" defTabSz="914192">
              <a:lnSpc>
                <a:spcPct val="90000"/>
              </a:lnSpc>
              <a:spcAft>
                <a:spcPts val="588"/>
              </a:spcAft>
              <a:defRPr/>
            </a:pPr>
            <a:r>
              <a:rPr lang="en-US" sz="1175" kern="0">
                <a:gradFill>
                  <a:gsLst>
                    <a:gs pos="2917">
                      <a:srgbClr val="000000"/>
                    </a:gs>
                    <a:gs pos="30000">
                      <a:srgbClr val="000000"/>
                    </a:gs>
                  </a:gsLst>
                  <a:lin ang="5400000" scaled="0"/>
                </a:gradFill>
              </a:rPr>
              <a:t>Live Power BI Dashboards and Reports</a:t>
            </a:r>
          </a:p>
        </p:txBody>
      </p:sp>
    </p:spTree>
    <p:extLst>
      <p:ext uri="{BB962C8B-B14F-4D97-AF65-F5344CB8AC3E}">
        <p14:creationId xmlns:p14="http://schemas.microsoft.com/office/powerpoint/2010/main" val="14661241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 name="Title 10"/>
          <p:cNvSpPr txBox="1">
            <a:spLocks/>
          </p:cNvSpPr>
          <p:nvPr/>
        </p:nvSpPr>
        <p:spPr>
          <a:xfrm>
            <a:off x="2982006" y="9056"/>
            <a:ext cx="9092764" cy="665151"/>
          </a:xfrm>
          <a:prstGeom prst="rect">
            <a:avLst/>
          </a:prstGeom>
          <a:noFill/>
        </p:spPr>
        <p:txBody>
          <a:bodyPr vert="horz" wrap="square" lIns="0" tIns="91440" rIns="0" bIns="91440" rtlCol="0" anchor="t">
            <a:noAutofit/>
          </a:bodyPr>
          <a:lstStyle>
            <a:lvl1pPr defTabSz="914367">
              <a:lnSpc>
                <a:spcPct val="90000"/>
              </a:lnSpc>
              <a:spcBef>
                <a:spcPct val="0"/>
              </a:spcBef>
              <a:buNone/>
              <a:defRPr lang="en-US" sz="5294" b="0" cap="none" spc="-100" baseline="0" dirty="0" smtClean="0">
                <a:ln w="3175">
                  <a:noFill/>
                </a:ln>
                <a:solidFill>
                  <a:schemeClr val="tx2"/>
                </a:solidFill>
                <a:effectLst/>
                <a:latin typeface="+mj-lt"/>
                <a:cs typeface="Segoe UI" pitchFamily="34" charset="0"/>
              </a:defRPr>
            </a:lvl1pPr>
          </a:lstStyle>
          <a:p>
            <a:pPr marL="168275"/>
            <a:r>
              <a:rPr lang="en-US" sz="3600">
                <a:solidFill>
                  <a:schemeClr val="tx1"/>
                </a:solidFill>
              </a:rPr>
              <a:t>Easy to use and drive adoption</a:t>
            </a:r>
          </a:p>
          <a:p>
            <a:pPr marL="168275"/>
            <a:endParaRPr lang="en-US" sz="3600">
              <a:solidFill>
                <a:schemeClr val="tx1"/>
              </a:solidFill>
            </a:endParaRPr>
          </a:p>
          <a:p>
            <a:pPr marL="168275"/>
            <a:endParaRPr lang="en-US" sz="3600" b="1">
              <a:solidFill>
                <a:schemeClr val="tx1"/>
              </a:solidFill>
            </a:endParaRPr>
          </a:p>
          <a:p>
            <a:pPr marL="168275"/>
            <a:endParaRPr lang="en-IN" sz="3600">
              <a:solidFill>
                <a:schemeClr val="tx1"/>
              </a:solidFill>
            </a:endParaRPr>
          </a:p>
        </p:txBody>
      </p:sp>
      <p:sp>
        <p:nvSpPr>
          <p:cNvPr id="49" name="Rectangle 48"/>
          <p:cNvSpPr/>
          <p:nvPr/>
        </p:nvSpPr>
        <p:spPr>
          <a:xfrm>
            <a:off x="2861164" y="1024112"/>
            <a:ext cx="5367886" cy="4832092"/>
          </a:xfrm>
          <a:prstGeom prst="rect">
            <a:avLst/>
          </a:prstGeom>
        </p:spPr>
        <p:txBody>
          <a:bodyPr wrap="square">
            <a:spAutoFit/>
          </a:bodyPr>
          <a:lstStyle/>
          <a:p>
            <a:pPr marL="342900" indent="-342900">
              <a:spcBef>
                <a:spcPts val="600"/>
              </a:spcBef>
              <a:spcAft>
                <a:spcPts val="600"/>
              </a:spcAft>
              <a:buFont typeface="Symbol" panose="05050102010706020507" pitchFamily="18" charset="2"/>
              <a:buChar char=""/>
            </a:pPr>
            <a:r>
              <a:rPr lang="en-US" sz="2000">
                <a:latin typeface="+mj-lt"/>
                <a:ea typeface="Calibri" panose="020F0502020204030204" pitchFamily="34" charset="0"/>
                <a:cs typeface="Times New Roman" panose="02020603050405020304" pitchFamily="18" charset="0"/>
              </a:rPr>
              <a:t>Easy to use</a:t>
            </a:r>
          </a:p>
          <a:p>
            <a:pPr marL="800100" lvl="1" indent="-342900">
              <a:spcBef>
                <a:spcPts val="600"/>
              </a:spcBef>
              <a:spcAft>
                <a:spcPts val="600"/>
              </a:spcAft>
              <a:buFont typeface="Courier New" panose="02070309020205020404" pitchFamily="49" charset="0"/>
              <a:buChar char="o"/>
            </a:pPr>
            <a:r>
              <a:rPr lang="en-US">
                <a:latin typeface="+mj-lt"/>
                <a:ea typeface="Calibri" panose="020F0502020204030204" pitchFamily="34" charset="0"/>
                <a:cs typeface="Times New Roman" panose="02020603050405020304" pitchFamily="18" charset="0"/>
              </a:rPr>
              <a:t>For end users: intuitive and interactive dashboards and reports</a:t>
            </a:r>
          </a:p>
          <a:p>
            <a:pPr marL="800100" lvl="1" indent="-342900">
              <a:spcBef>
                <a:spcPts val="600"/>
              </a:spcBef>
              <a:spcAft>
                <a:spcPts val="600"/>
              </a:spcAft>
              <a:buFont typeface="Courier New" panose="02070309020205020404" pitchFamily="49" charset="0"/>
              <a:buChar char="o"/>
            </a:pPr>
            <a:r>
              <a:rPr lang="en-US">
                <a:latin typeface="+mj-lt"/>
                <a:ea typeface="Calibri" panose="020F0502020204030204" pitchFamily="34" charset="0"/>
                <a:cs typeface="Times New Roman" panose="02020603050405020304" pitchFamily="18" charset="0"/>
              </a:rPr>
              <a:t>For BI analysts: familiar tools to create data models and reports</a:t>
            </a:r>
          </a:p>
          <a:p>
            <a:pPr marL="800100" lvl="1" indent="-342900">
              <a:spcBef>
                <a:spcPts val="600"/>
              </a:spcBef>
              <a:spcAft>
                <a:spcPts val="600"/>
              </a:spcAft>
              <a:buFont typeface="Courier New" panose="02070309020205020404" pitchFamily="49" charset="0"/>
              <a:buChar char="o"/>
            </a:pPr>
            <a:r>
              <a:rPr lang="en-US">
                <a:latin typeface="+mj-lt"/>
                <a:ea typeface="Calibri" panose="020F0502020204030204" pitchFamily="34" charset="0"/>
                <a:cs typeface="Times New Roman" panose="02020603050405020304" pitchFamily="18" charset="0"/>
              </a:rPr>
              <a:t>For IT: Administering Power BI tenants, users, and groups is the same as in Office 365</a:t>
            </a:r>
          </a:p>
          <a:p>
            <a:pPr marL="342900" indent="-342900">
              <a:spcBef>
                <a:spcPts val="600"/>
              </a:spcBef>
              <a:spcAft>
                <a:spcPts val="600"/>
              </a:spcAft>
              <a:buFont typeface="Symbol" panose="05050102010706020507" pitchFamily="18" charset="2"/>
              <a:buChar char=""/>
            </a:pPr>
            <a:r>
              <a:rPr lang="en-US" sz="2000">
                <a:latin typeface="+mj-lt"/>
                <a:ea typeface="Calibri" panose="020F0502020204030204" pitchFamily="34" charset="0"/>
                <a:cs typeface="Times New Roman" panose="02020603050405020304" pitchFamily="18" charset="0"/>
              </a:rPr>
              <a:t>Easy to share</a:t>
            </a:r>
          </a:p>
          <a:p>
            <a:pPr marL="800100" lvl="1" indent="-342900">
              <a:spcBef>
                <a:spcPts val="600"/>
              </a:spcBef>
              <a:spcAft>
                <a:spcPts val="600"/>
              </a:spcAft>
              <a:buFont typeface="Courier New" panose="02070309020205020404" pitchFamily="49" charset="0"/>
              <a:buChar char="o"/>
            </a:pPr>
            <a:r>
              <a:rPr lang="en-US">
                <a:latin typeface="+mj-lt"/>
                <a:ea typeface="Calibri" panose="020F0502020204030204" pitchFamily="34" charset="0"/>
                <a:cs typeface="Times New Roman" panose="02020603050405020304" pitchFamily="18" charset="0"/>
              </a:rPr>
              <a:t>End users can easily share dashboards and reports, inside and outside the organization</a:t>
            </a:r>
          </a:p>
          <a:p>
            <a:pPr marL="800100" lvl="1" indent="-342900">
              <a:spcBef>
                <a:spcPts val="600"/>
              </a:spcBef>
              <a:spcAft>
                <a:spcPts val="600"/>
              </a:spcAft>
              <a:buFont typeface="Courier New" panose="02070309020205020404" pitchFamily="49" charset="0"/>
              <a:buChar char="o"/>
            </a:pPr>
            <a:r>
              <a:rPr lang="en-US">
                <a:latin typeface="+mj-lt"/>
                <a:ea typeface="Calibri" panose="020F0502020204030204" pitchFamily="34" charset="0"/>
                <a:cs typeface="Times New Roman" panose="02020603050405020304" pitchFamily="18" charset="0"/>
              </a:rPr>
              <a:t>Collaborate with others in a group workspace</a:t>
            </a:r>
          </a:p>
          <a:p>
            <a:pPr marL="800100" lvl="1" indent="-342900">
              <a:spcBef>
                <a:spcPts val="600"/>
              </a:spcBef>
              <a:spcAft>
                <a:spcPts val="600"/>
              </a:spcAft>
              <a:buFont typeface="Courier New" panose="02070309020205020404" pitchFamily="49" charset="0"/>
              <a:buChar char="o"/>
            </a:pPr>
            <a:r>
              <a:rPr lang="en-US">
                <a:latin typeface="+mj-lt"/>
                <a:ea typeface="Calibri" panose="020F0502020204030204" pitchFamily="34" charset="0"/>
                <a:cs typeface="Times New Roman" panose="02020603050405020304" pitchFamily="18" charset="0"/>
              </a:rPr>
              <a:t>Create content packs and publish them to your organization</a:t>
            </a:r>
          </a:p>
        </p:txBody>
      </p:sp>
      <p:sp>
        <p:nvSpPr>
          <p:cNvPr id="37" name="Rectangle 15"/>
          <p:cNvSpPr/>
          <p:nvPr/>
        </p:nvSpPr>
        <p:spPr bwMode="auto">
          <a:xfrm>
            <a:off x="2" y="487"/>
            <a:ext cx="2815441" cy="685702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38" name="TextBox 37"/>
          <p:cNvSpPr txBox="1"/>
          <p:nvPr/>
        </p:nvSpPr>
        <p:spPr>
          <a:xfrm>
            <a:off x="2" y="487"/>
            <a:ext cx="2815441" cy="683264"/>
          </a:xfrm>
          <a:prstGeom prst="rect">
            <a:avLst/>
          </a:prstGeom>
          <a:noFill/>
        </p:spPr>
        <p:txBody>
          <a:bodyPr wrap="square" lIns="182880" tIns="146304" rIns="182880" bIns="146304" rtlCol="0">
            <a:spAutoFit/>
          </a:bodyPr>
          <a:lstStyle>
            <a:defPPr>
              <a:defRPr lang="en-US"/>
            </a:defPPr>
            <a:lvl1pPr>
              <a:lnSpc>
                <a:spcPct val="90000"/>
              </a:lnSpc>
              <a:spcAft>
                <a:spcPts val="600"/>
              </a:spcAft>
              <a:defRPr sz="2800" b="1">
                <a:solidFill>
                  <a:srgbClr val="F2C812"/>
                </a:solidFill>
                <a:latin typeface="Segoe UI Light"/>
              </a:defRPr>
            </a:lvl1pPr>
          </a:lstStyle>
          <a:p>
            <a:r>
              <a:rPr lang="en-US"/>
              <a:t>IT challenges</a:t>
            </a:r>
          </a:p>
        </p:txBody>
      </p:sp>
      <p:grpSp>
        <p:nvGrpSpPr>
          <p:cNvPr id="39" name="Group 38"/>
          <p:cNvGrpSpPr/>
          <p:nvPr/>
        </p:nvGrpSpPr>
        <p:grpSpPr>
          <a:xfrm>
            <a:off x="151322" y="867914"/>
            <a:ext cx="2636411" cy="548640"/>
            <a:chOff x="179032" y="1123407"/>
            <a:chExt cx="2636411" cy="548640"/>
          </a:xfrm>
        </p:grpSpPr>
        <p:sp>
          <p:nvSpPr>
            <p:cNvPr id="40" name="Oval 147"/>
            <p:cNvSpPr/>
            <p:nvPr/>
          </p:nvSpPr>
          <p:spPr bwMode="auto">
            <a:xfrm>
              <a:off x="179032" y="1123407"/>
              <a:ext cx="548640" cy="548640"/>
            </a:xfrm>
            <a:prstGeom prst="ellipse">
              <a:avLst/>
            </a:prstGeom>
            <a:solidFill>
              <a:srgbClr val="FFCC00"/>
            </a:solidFill>
            <a:ln>
              <a:solidFill>
                <a:srgbClr val="F2C81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err="1">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145"/>
            <p:cNvSpPr/>
            <p:nvPr/>
          </p:nvSpPr>
          <p:spPr bwMode="auto">
            <a:xfrm>
              <a:off x="805048" y="1206147"/>
              <a:ext cx="2010395" cy="3831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14367"/>
              <a:r>
                <a:rPr lang="en-US" sz="1400" b="1">
                  <a:solidFill>
                    <a:srgbClr val="F2C812"/>
                  </a:solidFill>
                  <a:cs typeface="Segoe UI Light" panose="020B0502040204020203" pitchFamily="34" charset="0"/>
                </a:rPr>
                <a:t>Management of BI systems</a:t>
              </a:r>
              <a:endParaRPr lang="en-US" sz="1200" b="1" i="1">
                <a:solidFill>
                  <a:srgbClr val="F2C812"/>
                </a:solidFill>
                <a:cs typeface="Segoe UI Light" panose="020B0502040204020203" pitchFamily="34" charset="0"/>
              </a:endParaRPr>
            </a:p>
          </p:txBody>
        </p:sp>
      </p:grpSp>
      <p:grpSp>
        <p:nvGrpSpPr>
          <p:cNvPr id="42" name="Group 41"/>
          <p:cNvGrpSpPr/>
          <p:nvPr/>
        </p:nvGrpSpPr>
        <p:grpSpPr>
          <a:xfrm>
            <a:off x="151322" y="1832204"/>
            <a:ext cx="2636411" cy="548640"/>
            <a:chOff x="212649" y="1959486"/>
            <a:chExt cx="2636411" cy="548640"/>
          </a:xfrm>
        </p:grpSpPr>
        <p:sp>
          <p:nvSpPr>
            <p:cNvPr id="43" name="Oval 147"/>
            <p:cNvSpPr/>
            <p:nvPr/>
          </p:nvSpPr>
          <p:spPr bwMode="auto">
            <a:xfrm>
              <a:off x="212649" y="1959486"/>
              <a:ext cx="548640" cy="548640"/>
            </a:xfrm>
            <a:prstGeom prst="ellipse">
              <a:avLst/>
            </a:prstGeom>
            <a:solidFill>
              <a:srgbClr val="FFCC00"/>
            </a:solidFill>
            <a:ln>
              <a:solidFill>
                <a:srgbClr val="F2C81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err="1">
                <a:gradFill>
                  <a:gsLst>
                    <a:gs pos="0">
                      <a:srgbClr val="FFFFFF"/>
                    </a:gs>
                    <a:gs pos="100000">
                      <a:srgbClr val="FFFFFF"/>
                    </a:gs>
                  </a:gsLst>
                  <a:lin ang="5400000" scaled="0"/>
                </a:gradFill>
                <a:ea typeface="Segoe UI" pitchFamily="34" charset="0"/>
                <a:cs typeface="Segoe UI" pitchFamily="34" charset="0"/>
              </a:endParaRPr>
            </a:p>
          </p:txBody>
        </p:sp>
        <p:sp>
          <p:nvSpPr>
            <p:cNvPr id="44" name="Rectangle 145"/>
            <p:cNvSpPr/>
            <p:nvPr/>
          </p:nvSpPr>
          <p:spPr bwMode="auto">
            <a:xfrm>
              <a:off x="838665" y="2042226"/>
              <a:ext cx="2010395" cy="3831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14367"/>
              <a:r>
                <a:rPr lang="en-US" sz="1400" b="1">
                  <a:solidFill>
                    <a:srgbClr val="F2C812"/>
                  </a:solidFill>
                  <a:cs typeface="Segoe UI Light" panose="020B0502040204020203" pitchFamily="34" charset="0"/>
                </a:rPr>
                <a:t>Variety of data sources</a:t>
              </a:r>
              <a:endParaRPr lang="en-US" sz="1200" b="1" i="1">
                <a:solidFill>
                  <a:srgbClr val="F2C812"/>
                </a:solidFill>
                <a:cs typeface="Segoe UI Light" panose="020B0502040204020203" pitchFamily="34" charset="0"/>
              </a:endParaRPr>
            </a:p>
          </p:txBody>
        </p:sp>
      </p:grpSp>
      <p:grpSp>
        <p:nvGrpSpPr>
          <p:cNvPr id="45" name="Group 44"/>
          <p:cNvGrpSpPr/>
          <p:nvPr/>
        </p:nvGrpSpPr>
        <p:grpSpPr>
          <a:xfrm>
            <a:off x="151322" y="2796494"/>
            <a:ext cx="2636411" cy="548640"/>
            <a:chOff x="179032" y="1123407"/>
            <a:chExt cx="2636411" cy="548640"/>
          </a:xfrm>
        </p:grpSpPr>
        <p:sp>
          <p:nvSpPr>
            <p:cNvPr id="46" name="Oval 147"/>
            <p:cNvSpPr/>
            <p:nvPr/>
          </p:nvSpPr>
          <p:spPr bwMode="auto">
            <a:xfrm>
              <a:off x="179032" y="1123407"/>
              <a:ext cx="548640" cy="548640"/>
            </a:xfrm>
            <a:prstGeom prst="ellipse">
              <a:avLst/>
            </a:prstGeom>
            <a:solidFill>
              <a:srgbClr val="FFCC00"/>
            </a:solidFill>
            <a:ln>
              <a:solidFill>
                <a:srgbClr val="F2C81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err="1">
                <a:gradFill>
                  <a:gsLst>
                    <a:gs pos="0">
                      <a:srgbClr val="FFFFFF"/>
                    </a:gs>
                    <a:gs pos="100000">
                      <a:srgbClr val="FFFFFF"/>
                    </a:gs>
                  </a:gsLst>
                  <a:lin ang="5400000" scaled="0"/>
                </a:gradFill>
                <a:ea typeface="Segoe UI" pitchFamily="34" charset="0"/>
                <a:cs typeface="Segoe UI" pitchFamily="34" charset="0"/>
              </a:endParaRPr>
            </a:p>
          </p:txBody>
        </p:sp>
        <p:sp>
          <p:nvSpPr>
            <p:cNvPr id="47" name="Rectangle 145"/>
            <p:cNvSpPr/>
            <p:nvPr/>
          </p:nvSpPr>
          <p:spPr bwMode="auto">
            <a:xfrm>
              <a:off x="805048" y="1206147"/>
              <a:ext cx="2010395" cy="3831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14367"/>
              <a:r>
                <a:rPr lang="en-US" sz="1400" b="1">
                  <a:solidFill>
                    <a:srgbClr val="F2C812"/>
                  </a:solidFill>
                  <a:cs typeface="Segoe UI Light" panose="020B0502040204020203" pitchFamily="34" charset="0"/>
                </a:rPr>
                <a:t>Managing data in the cloud</a:t>
              </a:r>
              <a:endParaRPr lang="en-US" sz="1200" b="1" i="1">
                <a:solidFill>
                  <a:srgbClr val="F2C812"/>
                </a:solidFill>
                <a:cs typeface="Segoe UI Light" panose="020B0502040204020203" pitchFamily="34" charset="0"/>
              </a:endParaRPr>
            </a:p>
          </p:txBody>
        </p:sp>
      </p:grpSp>
      <p:grpSp>
        <p:nvGrpSpPr>
          <p:cNvPr id="48" name="Group 47"/>
          <p:cNvGrpSpPr/>
          <p:nvPr/>
        </p:nvGrpSpPr>
        <p:grpSpPr>
          <a:xfrm>
            <a:off x="151322" y="3760784"/>
            <a:ext cx="2636411" cy="548640"/>
            <a:chOff x="179032" y="1123407"/>
            <a:chExt cx="2636411" cy="548640"/>
          </a:xfrm>
        </p:grpSpPr>
        <p:sp>
          <p:nvSpPr>
            <p:cNvPr id="50" name="Oval 147"/>
            <p:cNvSpPr/>
            <p:nvPr/>
          </p:nvSpPr>
          <p:spPr bwMode="auto">
            <a:xfrm>
              <a:off x="179032" y="1123407"/>
              <a:ext cx="548640" cy="548640"/>
            </a:xfrm>
            <a:prstGeom prst="ellipse">
              <a:avLst/>
            </a:prstGeom>
            <a:solidFill>
              <a:srgbClr val="FFCC00"/>
            </a:solidFill>
            <a:ln>
              <a:solidFill>
                <a:srgbClr val="F2C81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err="1">
                <a:gradFill>
                  <a:gsLst>
                    <a:gs pos="0">
                      <a:srgbClr val="FFFFFF"/>
                    </a:gs>
                    <a:gs pos="100000">
                      <a:srgbClr val="FFFFFF"/>
                    </a:gs>
                  </a:gsLst>
                  <a:lin ang="5400000" scaled="0"/>
                </a:gradFill>
                <a:ea typeface="Segoe UI" pitchFamily="34" charset="0"/>
                <a:cs typeface="Segoe UI" pitchFamily="34" charset="0"/>
              </a:endParaRPr>
            </a:p>
          </p:txBody>
        </p:sp>
        <p:sp>
          <p:nvSpPr>
            <p:cNvPr id="51" name="Rectangle 145"/>
            <p:cNvSpPr/>
            <p:nvPr/>
          </p:nvSpPr>
          <p:spPr bwMode="auto">
            <a:xfrm>
              <a:off x="805048" y="1206147"/>
              <a:ext cx="2010395" cy="3831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14367"/>
              <a:r>
                <a:rPr lang="en-US" sz="1400" b="1">
                  <a:solidFill>
                    <a:srgbClr val="F2C812"/>
                  </a:solidFill>
                  <a:cs typeface="Segoe UI Light" panose="020B0502040204020203" pitchFamily="34" charset="0"/>
                </a:rPr>
                <a:t>Integration with existing environment</a:t>
              </a:r>
              <a:endParaRPr lang="en-US" sz="1200" b="1" i="1">
                <a:solidFill>
                  <a:srgbClr val="F2C812"/>
                </a:solidFill>
                <a:cs typeface="Segoe UI Light" panose="020B0502040204020203" pitchFamily="34" charset="0"/>
              </a:endParaRPr>
            </a:p>
          </p:txBody>
        </p:sp>
      </p:grpSp>
      <p:grpSp>
        <p:nvGrpSpPr>
          <p:cNvPr id="52" name="Group 51"/>
          <p:cNvGrpSpPr/>
          <p:nvPr/>
        </p:nvGrpSpPr>
        <p:grpSpPr>
          <a:xfrm>
            <a:off x="132176" y="4725074"/>
            <a:ext cx="2655557" cy="548640"/>
            <a:chOff x="159886" y="1123407"/>
            <a:chExt cx="2655557" cy="548640"/>
          </a:xfrm>
        </p:grpSpPr>
        <p:sp>
          <p:nvSpPr>
            <p:cNvPr id="54" name="Oval 147"/>
            <p:cNvSpPr/>
            <p:nvPr/>
          </p:nvSpPr>
          <p:spPr bwMode="auto">
            <a:xfrm>
              <a:off x="159886" y="1123407"/>
              <a:ext cx="548640" cy="548640"/>
            </a:xfrm>
            <a:prstGeom prst="ellipse">
              <a:avLst/>
            </a:prstGeom>
            <a:solidFill>
              <a:srgbClr val="FFCC00"/>
            </a:solidFill>
            <a:ln>
              <a:solidFill>
                <a:srgbClr val="F2C81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err="1">
                <a:gradFill>
                  <a:gsLst>
                    <a:gs pos="0">
                      <a:srgbClr val="FFFFFF"/>
                    </a:gs>
                    <a:gs pos="100000">
                      <a:srgbClr val="FFFFFF"/>
                    </a:gs>
                  </a:gsLst>
                  <a:lin ang="5400000" scaled="0"/>
                </a:gradFill>
                <a:ea typeface="Segoe UI" pitchFamily="34" charset="0"/>
                <a:cs typeface="Segoe UI" pitchFamily="34" charset="0"/>
              </a:endParaRPr>
            </a:p>
          </p:txBody>
        </p:sp>
        <p:sp>
          <p:nvSpPr>
            <p:cNvPr id="55" name="Rectangle 145"/>
            <p:cNvSpPr/>
            <p:nvPr/>
          </p:nvSpPr>
          <p:spPr bwMode="auto">
            <a:xfrm>
              <a:off x="805048" y="1206147"/>
              <a:ext cx="2010395" cy="3831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14367"/>
              <a:r>
                <a:rPr lang="en-US" sz="1400" b="1">
                  <a:solidFill>
                    <a:srgbClr val="F2C812"/>
                  </a:solidFill>
                  <a:cs typeface="Segoe UI Light" panose="020B0502040204020203" pitchFamily="34" charset="0"/>
                </a:rPr>
                <a:t>Keeping data current</a:t>
              </a:r>
              <a:endParaRPr lang="en-US" sz="1200" b="1" i="1">
                <a:solidFill>
                  <a:srgbClr val="F2C812"/>
                </a:solidFill>
                <a:cs typeface="Segoe UI Light" panose="020B0502040204020203" pitchFamily="34" charset="0"/>
              </a:endParaRPr>
            </a:p>
          </p:txBody>
        </p:sp>
      </p:grpSp>
      <p:grpSp>
        <p:nvGrpSpPr>
          <p:cNvPr id="56" name="Group 55"/>
          <p:cNvGrpSpPr/>
          <p:nvPr/>
        </p:nvGrpSpPr>
        <p:grpSpPr>
          <a:xfrm>
            <a:off x="151322" y="5689364"/>
            <a:ext cx="2636411" cy="548640"/>
            <a:chOff x="179032" y="1123407"/>
            <a:chExt cx="2636411" cy="548640"/>
          </a:xfrm>
        </p:grpSpPr>
        <p:sp>
          <p:nvSpPr>
            <p:cNvPr id="57" name="Oval 147"/>
            <p:cNvSpPr/>
            <p:nvPr/>
          </p:nvSpPr>
          <p:spPr bwMode="auto">
            <a:xfrm>
              <a:off x="179032" y="1123407"/>
              <a:ext cx="548640" cy="548640"/>
            </a:xfrm>
            <a:prstGeom prst="ellipse">
              <a:avLst/>
            </a:prstGeom>
            <a:solidFill>
              <a:srgbClr val="FFCC00"/>
            </a:solidFill>
            <a:ln>
              <a:solidFill>
                <a:srgbClr val="F2C81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err="1">
                <a:gradFill>
                  <a:gsLst>
                    <a:gs pos="0">
                      <a:srgbClr val="FFFFFF"/>
                    </a:gs>
                    <a:gs pos="100000">
                      <a:srgbClr val="FFFFFF"/>
                    </a:gs>
                  </a:gsLst>
                  <a:lin ang="5400000" scaled="0"/>
                </a:gradFill>
                <a:ea typeface="Segoe UI" pitchFamily="34" charset="0"/>
                <a:cs typeface="Segoe UI" pitchFamily="34" charset="0"/>
              </a:endParaRPr>
            </a:p>
          </p:txBody>
        </p:sp>
        <p:sp>
          <p:nvSpPr>
            <p:cNvPr id="58" name="Rectangle 145"/>
            <p:cNvSpPr/>
            <p:nvPr/>
          </p:nvSpPr>
          <p:spPr bwMode="auto">
            <a:xfrm>
              <a:off x="805048" y="1206147"/>
              <a:ext cx="2010395" cy="3831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14367"/>
              <a:r>
                <a:rPr lang="en-US" sz="1400" b="1">
                  <a:solidFill>
                    <a:srgbClr val="F2C812"/>
                  </a:solidFill>
                  <a:cs typeface="Segoe UI Light" panose="020B0502040204020203" pitchFamily="34" charset="0"/>
                </a:rPr>
                <a:t>Ease of use and adoption</a:t>
              </a:r>
              <a:endParaRPr lang="en-US" sz="1200" b="1" i="1">
                <a:solidFill>
                  <a:srgbClr val="F2C812"/>
                </a:solidFill>
                <a:cs typeface="Segoe UI Light" panose="020B0502040204020203" pitchFamily="34" charset="0"/>
              </a:endParaRPr>
            </a:p>
          </p:txBody>
        </p:sp>
      </p:grpSp>
      <p:sp>
        <p:nvSpPr>
          <p:cNvPr id="59" name="Freeform 58"/>
          <p:cNvSpPr>
            <a:spLocks noChangeAspect="1"/>
          </p:cNvSpPr>
          <p:nvPr/>
        </p:nvSpPr>
        <p:spPr bwMode="black">
          <a:xfrm>
            <a:off x="242762" y="1024112"/>
            <a:ext cx="365760" cy="236244"/>
          </a:xfrm>
          <a:custGeom>
            <a:avLst/>
            <a:gdLst>
              <a:gd name="connsiteX0" fmla="*/ 93529 w 794079"/>
              <a:gd name="connsiteY0" fmla="*/ 409985 h 512894"/>
              <a:gd name="connsiteX1" fmla="*/ 57350 w 794079"/>
              <a:gd name="connsiteY1" fmla="*/ 446163 h 512894"/>
              <a:gd name="connsiteX2" fmla="*/ 93529 w 794079"/>
              <a:gd name="connsiteY2" fmla="*/ 482342 h 512894"/>
              <a:gd name="connsiteX3" fmla="*/ 129707 w 794079"/>
              <a:gd name="connsiteY3" fmla="*/ 446163 h 512894"/>
              <a:gd name="connsiteX4" fmla="*/ 93529 w 794079"/>
              <a:gd name="connsiteY4" fmla="*/ 409985 h 512894"/>
              <a:gd name="connsiteX5" fmla="*/ 22935 w 794079"/>
              <a:gd name="connsiteY5" fmla="*/ 375286 h 512894"/>
              <a:gd name="connsiteX6" fmla="*/ 771144 w 794079"/>
              <a:gd name="connsiteY6" fmla="*/ 375286 h 512894"/>
              <a:gd name="connsiteX7" fmla="*/ 794079 w 794079"/>
              <a:gd name="connsiteY7" fmla="*/ 398221 h 512894"/>
              <a:gd name="connsiteX8" fmla="*/ 794079 w 794079"/>
              <a:gd name="connsiteY8" fmla="*/ 489959 h 512894"/>
              <a:gd name="connsiteX9" fmla="*/ 771144 w 794079"/>
              <a:gd name="connsiteY9" fmla="*/ 512894 h 512894"/>
              <a:gd name="connsiteX10" fmla="*/ 22935 w 794079"/>
              <a:gd name="connsiteY10" fmla="*/ 512894 h 512894"/>
              <a:gd name="connsiteX11" fmla="*/ 0 w 794079"/>
              <a:gd name="connsiteY11" fmla="*/ 489959 h 512894"/>
              <a:gd name="connsiteX12" fmla="*/ 0 w 794079"/>
              <a:gd name="connsiteY12" fmla="*/ 398221 h 512894"/>
              <a:gd name="connsiteX13" fmla="*/ 22935 w 794079"/>
              <a:gd name="connsiteY13" fmla="*/ 375286 h 512894"/>
              <a:gd name="connsiteX14" fmla="*/ 93529 w 794079"/>
              <a:gd name="connsiteY14" fmla="*/ 222341 h 512894"/>
              <a:gd name="connsiteX15" fmla="*/ 57350 w 794079"/>
              <a:gd name="connsiteY15" fmla="*/ 258520 h 512894"/>
              <a:gd name="connsiteX16" fmla="*/ 93529 w 794079"/>
              <a:gd name="connsiteY16" fmla="*/ 294699 h 512894"/>
              <a:gd name="connsiteX17" fmla="*/ 129707 w 794079"/>
              <a:gd name="connsiteY17" fmla="*/ 258520 h 512894"/>
              <a:gd name="connsiteX18" fmla="*/ 93529 w 794079"/>
              <a:gd name="connsiteY18" fmla="*/ 222341 h 512894"/>
              <a:gd name="connsiteX19" fmla="*/ 22935 w 794079"/>
              <a:gd name="connsiteY19" fmla="*/ 187643 h 512894"/>
              <a:gd name="connsiteX20" fmla="*/ 771144 w 794079"/>
              <a:gd name="connsiteY20" fmla="*/ 187643 h 512894"/>
              <a:gd name="connsiteX21" fmla="*/ 794079 w 794079"/>
              <a:gd name="connsiteY21" fmla="*/ 210578 h 512894"/>
              <a:gd name="connsiteX22" fmla="*/ 794079 w 794079"/>
              <a:gd name="connsiteY22" fmla="*/ 302316 h 512894"/>
              <a:gd name="connsiteX23" fmla="*/ 771144 w 794079"/>
              <a:gd name="connsiteY23" fmla="*/ 325251 h 512894"/>
              <a:gd name="connsiteX24" fmla="*/ 22935 w 794079"/>
              <a:gd name="connsiteY24" fmla="*/ 325251 h 512894"/>
              <a:gd name="connsiteX25" fmla="*/ 0 w 794079"/>
              <a:gd name="connsiteY25" fmla="*/ 302316 h 512894"/>
              <a:gd name="connsiteX26" fmla="*/ 0 w 794079"/>
              <a:gd name="connsiteY26" fmla="*/ 210578 h 512894"/>
              <a:gd name="connsiteX27" fmla="*/ 22935 w 794079"/>
              <a:gd name="connsiteY27" fmla="*/ 187643 h 512894"/>
              <a:gd name="connsiteX28" fmla="*/ 93529 w 794079"/>
              <a:gd name="connsiteY28" fmla="*/ 34698 h 512894"/>
              <a:gd name="connsiteX29" fmla="*/ 57350 w 794079"/>
              <a:gd name="connsiteY29" fmla="*/ 70877 h 512894"/>
              <a:gd name="connsiteX30" fmla="*/ 93529 w 794079"/>
              <a:gd name="connsiteY30" fmla="*/ 107056 h 512894"/>
              <a:gd name="connsiteX31" fmla="*/ 129707 w 794079"/>
              <a:gd name="connsiteY31" fmla="*/ 70877 h 512894"/>
              <a:gd name="connsiteX32" fmla="*/ 93529 w 794079"/>
              <a:gd name="connsiteY32" fmla="*/ 34698 h 512894"/>
              <a:gd name="connsiteX33" fmla="*/ 22935 w 794079"/>
              <a:gd name="connsiteY33" fmla="*/ 0 h 512894"/>
              <a:gd name="connsiteX34" fmla="*/ 771144 w 794079"/>
              <a:gd name="connsiteY34" fmla="*/ 0 h 512894"/>
              <a:gd name="connsiteX35" fmla="*/ 794079 w 794079"/>
              <a:gd name="connsiteY35" fmla="*/ 22935 h 512894"/>
              <a:gd name="connsiteX36" fmla="*/ 794079 w 794079"/>
              <a:gd name="connsiteY36" fmla="*/ 114673 h 512894"/>
              <a:gd name="connsiteX37" fmla="*/ 771144 w 794079"/>
              <a:gd name="connsiteY37" fmla="*/ 137608 h 512894"/>
              <a:gd name="connsiteX38" fmla="*/ 22935 w 794079"/>
              <a:gd name="connsiteY38" fmla="*/ 137608 h 512894"/>
              <a:gd name="connsiteX39" fmla="*/ 0 w 794079"/>
              <a:gd name="connsiteY39" fmla="*/ 114673 h 512894"/>
              <a:gd name="connsiteX40" fmla="*/ 0 w 794079"/>
              <a:gd name="connsiteY40" fmla="*/ 22935 h 512894"/>
              <a:gd name="connsiteX41" fmla="*/ 22935 w 794079"/>
              <a:gd name="connsiteY41" fmla="*/ 0 h 5128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794079" h="512894">
                <a:moveTo>
                  <a:pt x="93529" y="409985"/>
                </a:moveTo>
                <a:cubicBezTo>
                  <a:pt x="73548" y="409985"/>
                  <a:pt x="57350" y="426182"/>
                  <a:pt x="57350" y="446163"/>
                </a:cubicBezTo>
                <a:cubicBezTo>
                  <a:pt x="57350" y="466144"/>
                  <a:pt x="73548" y="482342"/>
                  <a:pt x="93529" y="482342"/>
                </a:cubicBezTo>
                <a:cubicBezTo>
                  <a:pt x="113510" y="482342"/>
                  <a:pt x="129707" y="466144"/>
                  <a:pt x="129707" y="446163"/>
                </a:cubicBezTo>
                <a:cubicBezTo>
                  <a:pt x="129707" y="426182"/>
                  <a:pt x="113510" y="409985"/>
                  <a:pt x="93529" y="409985"/>
                </a:cubicBezTo>
                <a:close/>
                <a:moveTo>
                  <a:pt x="22935" y="375286"/>
                </a:moveTo>
                <a:lnTo>
                  <a:pt x="771144" y="375286"/>
                </a:lnTo>
                <a:cubicBezTo>
                  <a:pt x="783811" y="375286"/>
                  <a:pt x="794079" y="385555"/>
                  <a:pt x="794079" y="398221"/>
                </a:cubicBezTo>
                <a:lnTo>
                  <a:pt x="794079" y="489959"/>
                </a:lnTo>
                <a:cubicBezTo>
                  <a:pt x="794079" y="502626"/>
                  <a:pt x="783811" y="512894"/>
                  <a:pt x="771144" y="512894"/>
                </a:cubicBezTo>
                <a:lnTo>
                  <a:pt x="22935" y="512894"/>
                </a:lnTo>
                <a:cubicBezTo>
                  <a:pt x="10269" y="512894"/>
                  <a:pt x="0" y="502626"/>
                  <a:pt x="0" y="489959"/>
                </a:cubicBezTo>
                <a:lnTo>
                  <a:pt x="0" y="398221"/>
                </a:lnTo>
                <a:cubicBezTo>
                  <a:pt x="0" y="385555"/>
                  <a:pt x="10269" y="375286"/>
                  <a:pt x="22935" y="375286"/>
                </a:cubicBezTo>
                <a:close/>
                <a:moveTo>
                  <a:pt x="93529" y="222341"/>
                </a:moveTo>
                <a:cubicBezTo>
                  <a:pt x="73548" y="222341"/>
                  <a:pt x="57350" y="238539"/>
                  <a:pt x="57350" y="258520"/>
                </a:cubicBezTo>
                <a:cubicBezTo>
                  <a:pt x="57350" y="278501"/>
                  <a:pt x="73548" y="294699"/>
                  <a:pt x="93529" y="294699"/>
                </a:cubicBezTo>
                <a:cubicBezTo>
                  <a:pt x="113510" y="294699"/>
                  <a:pt x="129707" y="278501"/>
                  <a:pt x="129707" y="258520"/>
                </a:cubicBezTo>
                <a:cubicBezTo>
                  <a:pt x="129707" y="238539"/>
                  <a:pt x="113510" y="222341"/>
                  <a:pt x="93529" y="222341"/>
                </a:cubicBezTo>
                <a:close/>
                <a:moveTo>
                  <a:pt x="22935" y="187643"/>
                </a:moveTo>
                <a:lnTo>
                  <a:pt x="771144" y="187643"/>
                </a:lnTo>
                <a:cubicBezTo>
                  <a:pt x="783811" y="187643"/>
                  <a:pt x="794079" y="197911"/>
                  <a:pt x="794079" y="210578"/>
                </a:cubicBezTo>
                <a:lnTo>
                  <a:pt x="794079" y="302316"/>
                </a:lnTo>
                <a:cubicBezTo>
                  <a:pt x="794079" y="314982"/>
                  <a:pt x="783811" y="325251"/>
                  <a:pt x="771144" y="325251"/>
                </a:cubicBezTo>
                <a:lnTo>
                  <a:pt x="22935" y="325251"/>
                </a:lnTo>
                <a:cubicBezTo>
                  <a:pt x="10269" y="325251"/>
                  <a:pt x="0" y="314982"/>
                  <a:pt x="0" y="302316"/>
                </a:cubicBezTo>
                <a:lnTo>
                  <a:pt x="0" y="210578"/>
                </a:lnTo>
                <a:cubicBezTo>
                  <a:pt x="0" y="197911"/>
                  <a:pt x="10269" y="187643"/>
                  <a:pt x="22935" y="187643"/>
                </a:cubicBezTo>
                <a:close/>
                <a:moveTo>
                  <a:pt x="93529" y="34698"/>
                </a:moveTo>
                <a:cubicBezTo>
                  <a:pt x="73548" y="34698"/>
                  <a:pt x="57350" y="50896"/>
                  <a:pt x="57350" y="70877"/>
                </a:cubicBezTo>
                <a:cubicBezTo>
                  <a:pt x="57350" y="90858"/>
                  <a:pt x="73548" y="107056"/>
                  <a:pt x="93529" y="107056"/>
                </a:cubicBezTo>
                <a:cubicBezTo>
                  <a:pt x="113510" y="107056"/>
                  <a:pt x="129707" y="90858"/>
                  <a:pt x="129707" y="70877"/>
                </a:cubicBezTo>
                <a:cubicBezTo>
                  <a:pt x="129707" y="50896"/>
                  <a:pt x="113510" y="34698"/>
                  <a:pt x="93529" y="34698"/>
                </a:cubicBezTo>
                <a:close/>
                <a:moveTo>
                  <a:pt x="22935" y="0"/>
                </a:moveTo>
                <a:lnTo>
                  <a:pt x="771144" y="0"/>
                </a:lnTo>
                <a:cubicBezTo>
                  <a:pt x="783811" y="0"/>
                  <a:pt x="794079" y="10268"/>
                  <a:pt x="794079" y="22935"/>
                </a:cubicBezTo>
                <a:lnTo>
                  <a:pt x="794079" y="114673"/>
                </a:lnTo>
                <a:cubicBezTo>
                  <a:pt x="794079" y="127339"/>
                  <a:pt x="783811" y="137608"/>
                  <a:pt x="771144" y="137608"/>
                </a:cubicBezTo>
                <a:lnTo>
                  <a:pt x="22935" y="137608"/>
                </a:lnTo>
                <a:cubicBezTo>
                  <a:pt x="10269" y="137608"/>
                  <a:pt x="0" y="127339"/>
                  <a:pt x="0" y="114673"/>
                </a:cubicBezTo>
                <a:lnTo>
                  <a:pt x="0" y="22935"/>
                </a:lnTo>
                <a:cubicBezTo>
                  <a:pt x="0" y="10268"/>
                  <a:pt x="10269" y="0"/>
                  <a:pt x="22935"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8" tIns="109719" rIns="137148" bIns="109719" numCol="1" spcCol="0" rtlCol="0" fromWordArt="0" anchor="t" anchorCtr="0" forceAA="0" compatLnSpc="1">
            <a:prstTxWarp prst="textNoShape">
              <a:avLst/>
            </a:prstTxWarp>
            <a:noAutofit/>
          </a:bodyPr>
          <a:lstStyle/>
          <a:p>
            <a:pPr algn="ctr" defTabSz="699261" fontAlgn="base">
              <a:lnSpc>
                <a:spcPct val="90000"/>
              </a:lnSpc>
              <a:spcBef>
                <a:spcPct val="0"/>
              </a:spcBef>
              <a:spcAft>
                <a:spcPct val="0"/>
              </a:spcAft>
            </a:pPr>
            <a:endParaRPr lang="en-US">
              <a:gradFill>
                <a:gsLst>
                  <a:gs pos="0">
                    <a:srgbClr val="FFFFFF"/>
                  </a:gs>
                  <a:gs pos="100000">
                    <a:srgbClr val="FFFFFF"/>
                  </a:gs>
                </a:gsLst>
                <a:lin ang="5400000" scaled="0"/>
              </a:gradFill>
              <a:ea typeface="Segoe UI" pitchFamily="34" charset="0"/>
              <a:cs typeface="Segoe UI" pitchFamily="34" charset="0"/>
            </a:endParaRPr>
          </a:p>
        </p:txBody>
      </p:sp>
      <p:grpSp>
        <p:nvGrpSpPr>
          <p:cNvPr id="60" name="Group 59"/>
          <p:cNvGrpSpPr>
            <a:grpSpLocks noChangeAspect="1"/>
          </p:cNvGrpSpPr>
          <p:nvPr/>
        </p:nvGrpSpPr>
        <p:grpSpPr>
          <a:xfrm>
            <a:off x="284268" y="1947738"/>
            <a:ext cx="314004" cy="320040"/>
            <a:chOff x="810855" y="2271601"/>
            <a:chExt cx="457200" cy="465990"/>
          </a:xfrm>
        </p:grpSpPr>
        <p:sp>
          <p:nvSpPr>
            <p:cNvPr id="61" name="Freeform 5"/>
            <p:cNvSpPr>
              <a:spLocks noEditPoints="1"/>
            </p:cNvSpPr>
            <p:nvPr/>
          </p:nvSpPr>
          <p:spPr bwMode="black">
            <a:xfrm>
              <a:off x="892260" y="2271601"/>
              <a:ext cx="375795" cy="291633"/>
            </a:xfrm>
            <a:custGeom>
              <a:avLst/>
              <a:gdLst>
                <a:gd name="T0" fmla="*/ 22 w 277"/>
                <a:gd name="T1" fmla="*/ 1 h 215"/>
                <a:gd name="T2" fmla="*/ 22 w 277"/>
                <a:gd name="T3" fmla="*/ 10 h 215"/>
                <a:gd name="T4" fmla="*/ 22 w 277"/>
                <a:gd name="T5" fmla="*/ 10 h 215"/>
                <a:gd name="T6" fmla="*/ 66 w 277"/>
                <a:gd name="T7" fmla="*/ 15 h 215"/>
                <a:gd name="T8" fmla="*/ 54 w 277"/>
                <a:gd name="T9" fmla="*/ 20 h 215"/>
                <a:gd name="T10" fmla="*/ 79 w 277"/>
                <a:gd name="T11" fmla="*/ 0 h 215"/>
                <a:gd name="T12" fmla="*/ 118 w 277"/>
                <a:gd name="T13" fmla="*/ 1 h 215"/>
                <a:gd name="T14" fmla="*/ 118 w 277"/>
                <a:gd name="T15" fmla="*/ 10 h 215"/>
                <a:gd name="T16" fmla="*/ 118 w 277"/>
                <a:gd name="T17" fmla="*/ 10 h 215"/>
                <a:gd name="T18" fmla="*/ 163 w 277"/>
                <a:gd name="T19" fmla="*/ 15 h 215"/>
                <a:gd name="T20" fmla="*/ 150 w 277"/>
                <a:gd name="T21" fmla="*/ 20 h 215"/>
                <a:gd name="T22" fmla="*/ 176 w 277"/>
                <a:gd name="T23" fmla="*/ 0 h 215"/>
                <a:gd name="T24" fmla="*/ 215 w 277"/>
                <a:gd name="T25" fmla="*/ 1 h 215"/>
                <a:gd name="T26" fmla="*/ 214 w 277"/>
                <a:gd name="T27" fmla="*/ 10 h 215"/>
                <a:gd name="T28" fmla="*/ 214 w 277"/>
                <a:gd name="T29" fmla="*/ 10 h 215"/>
                <a:gd name="T30" fmla="*/ 259 w 277"/>
                <a:gd name="T31" fmla="*/ 15 h 215"/>
                <a:gd name="T32" fmla="*/ 247 w 277"/>
                <a:gd name="T33" fmla="*/ 20 h 215"/>
                <a:gd name="T34" fmla="*/ 272 w 277"/>
                <a:gd name="T35" fmla="*/ 0 h 215"/>
                <a:gd name="T36" fmla="*/ 12 w 277"/>
                <a:gd name="T37" fmla="*/ 92 h 215"/>
                <a:gd name="T38" fmla="*/ 0 w 277"/>
                <a:gd name="T39" fmla="*/ 97 h 215"/>
                <a:gd name="T40" fmla="*/ 25 w 277"/>
                <a:gd name="T41" fmla="*/ 77 h 215"/>
                <a:gd name="T42" fmla="*/ 64 w 277"/>
                <a:gd name="T43" fmla="*/ 77 h 215"/>
                <a:gd name="T44" fmla="*/ 64 w 277"/>
                <a:gd name="T45" fmla="*/ 87 h 215"/>
                <a:gd name="T46" fmla="*/ 64 w 277"/>
                <a:gd name="T47" fmla="*/ 87 h 215"/>
                <a:gd name="T48" fmla="*/ 109 w 277"/>
                <a:gd name="T49" fmla="*/ 92 h 215"/>
                <a:gd name="T50" fmla="*/ 96 w 277"/>
                <a:gd name="T51" fmla="*/ 97 h 215"/>
                <a:gd name="T52" fmla="*/ 122 w 277"/>
                <a:gd name="T53" fmla="*/ 77 h 215"/>
                <a:gd name="T54" fmla="*/ 161 w 277"/>
                <a:gd name="T55" fmla="*/ 77 h 215"/>
                <a:gd name="T56" fmla="*/ 160 w 277"/>
                <a:gd name="T57" fmla="*/ 87 h 215"/>
                <a:gd name="T58" fmla="*/ 160 w 277"/>
                <a:gd name="T59" fmla="*/ 87 h 215"/>
                <a:gd name="T60" fmla="*/ 205 w 277"/>
                <a:gd name="T61" fmla="*/ 92 h 215"/>
                <a:gd name="T62" fmla="*/ 192 w 277"/>
                <a:gd name="T63" fmla="*/ 97 h 215"/>
                <a:gd name="T64" fmla="*/ 218 w 277"/>
                <a:gd name="T65" fmla="*/ 77 h 215"/>
                <a:gd name="T66" fmla="*/ 257 w 277"/>
                <a:gd name="T67" fmla="*/ 77 h 215"/>
                <a:gd name="T68" fmla="*/ 256 w 277"/>
                <a:gd name="T69" fmla="*/ 87 h 215"/>
                <a:gd name="T70" fmla="*/ 256 w 277"/>
                <a:gd name="T71" fmla="*/ 87 h 215"/>
                <a:gd name="T72" fmla="*/ 22 w 277"/>
                <a:gd name="T73" fmla="*/ 154 h 215"/>
                <a:gd name="T74" fmla="*/ 22 w 277"/>
                <a:gd name="T75" fmla="*/ 164 h 215"/>
                <a:gd name="T76" fmla="*/ 22 w 277"/>
                <a:gd name="T77" fmla="*/ 164 h 215"/>
                <a:gd name="T78" fmla="*/ 66 w 277"/>
                <a:gd name="T79" fmla="*/ 168 h 215"/>
                <a:gd name="T80" fmla="*/ 54 w 277"/>
                <a:gd name="T81" fmla="*/ 173 h 215"/>
                <a:gd name="T82" fmla="*/ 79 w 277"/>
                <a:gd name="T83" fmla="*/ 154 h 215"/>
                <a:gd name="T84" fmla="*/ 118 w 277"/>
                <a:gd name="T85" fmla="*/ 154 h 215"/>
                <a:gd name="T86" fmla="*/ 118 w 277"/>
                <a:gd name="T87" fmla="*/ 164 h 215"/>
                <a:gd name="T88" fmla="*/ 118 w 277"/>
                <a:gd name="T89" fmla="*/ 164 h 215"/>
                <a:gd name="T90" fmla="*/ 163 w 277"/>
                <a:gd name="T91" fmla="*/ 168 h 215"/>
                <a:gd name="T92" fmla="*/ 150 w 277"/>
                <a:gd name="T93" fmla="*/ 173 h 215"/>
                <a:gd name="T94" fmla="*/ 176 w 277"/>
                <a:gd name="T95" fmla="*/ 154 h 215"/>
                <a:gd name="T96" fmla="*/ 215 w 277"/>
                <a:gd name="T97" fmla="*/ 154 h 215"/>
                <a:gd name="T98" fmla="*/ 214 w 277"/>
                <a:gd name="T99" fmla="*/ 164 h 215"/>
                <a:gd name="T100" fmla="*/ 214 w 277"/>
                <a:gd name="T101" fmla="*/ 164 h 215"/>
                <a:gd name="T102" fmla="*/ 259 w 277"/>
                <a:gd name="T103" fmla="*/ 168 h 215"/>
                <a:gd name="T104" fmla="*/ 247 w 277"/>
                <a:gd name="T105" fmla="*/ 173 h 215"/>
                <a:gd name="T106" fmla="*/ 272 w 277"/>
                <a:gd name="T107" fmla="*/ 154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77" h="215">
                  <a:moveTo>
                    <a:pt x="21" y="61"/>
                  </a:moveTo>
                  <a:cubicBezTo>
                    <a:pt x="7" y="61"/>
                    <a:pt x="0" y="51"/>
                    <a:pt x="0" y="32"/>
                  </a:cubicBezTo>
                  <a:cubicBezTo>
                    <a:pt x="0" y="22"/>
                    <a:pt x="2" y="14"/>
                    <a:pt x="6" y="9"/>
                  </a:cubicBezTo>
                  <a:cubicBezTo>
                    <a:pt x="9" y="3"/>
                    <a:pt x="15" y="1"/>
                    <a:pt x="22" y="1"/>
                  </a:cubicBezTo>
                  <a:cubicBezTo>
                    <a:pt x="36" y="1"/>
                    <a:pt x="43" y="11"/>
                    <a:pt x="43" y="30"/>
                  </a:cubicBezTo>
                  <a:cubicBezTo>
                    <a:pt x="43" y="40"/>
                    <a:pt x="41" y="48"/>
                    <a:pt x="37" y="53"/>
                  </a:cubicBezTo>
                  <a:cubicBezTo>
                    <a:pt x="33" y="59"/>
                    <a:pt x="28" y="61"/>
                    <a:pt x="21" y="61"/>
                  </a:cubicBezTo>
                  <a:close/>
                  <a:moveTo>
                    <a:pt x="22" y="10"/>
                  </a:moveTo>
                  <a:cubicBezTo>
                    <a:pt x="16" y="10"/>
                    <a:pt x="13" y="17"/>
                    <a:pt x="13" y="32"/>
                  </a:cubicBezTo>
                  <a:cubicBezTo>
                    <a:pt x="13" y="45"/>
                    <a:pt x="16" y="51"/>
                    <a:pt x="21" y="51"/>
                  </a:cubicBezTo>
                  <a:cubicBezTo>
                    <a:pt x="27" y="51"/>
                    <a:pt x="29" y="45"/>
                    <a:pt x="29" y="31"/>
                  </a:cubicBezTo>
                  <a:cubicBezTo>
                    <a:pt x="29" y="17"/>
                    <a:pt x="27" y="10"/>
                    <a:pt x="22" y="10"/>
                  </a:cubicBezTo>
                  <a:close/>
                  <a:moveTo>
                    <a:pt x="79" y="0"/>
                  </a:moveTo>
                  <a:cubicBezTo>
                    <a:pt x="79" y="60"/>
                    <a:pt x="79" y="60"/>
                    <a:pt x="79" y="60"/>
                  </a:cubicBezTo>
                  <a:cubicBezTo>
                    <a:pt x="66" y="60"/>
                    <a:pt x="66" y="60"/>
                    <a:pt x="66" y="60"/>
                  </a:cubicBezTo>
                  <a:cubicBezTo>
                    <a:pt x="66" y="15"/>
                    <a:pt x="66" y="15"/>
                    <a:pt x="66" y="15"/>
                  </a:cubicBezTo>
                  <a:cubicBezTo>
                    <a:pt x="66" y="15"/>
                    <a:pt x="65" y="16"/>
                    <a:pt x="64" y="17"/>
                  </a:cubicBezTo>
                  <a:cubicBezTo>
                    <a:pt x="63" y="17"/>
                    <a:pt x="62" y="18"/>
                    <a:pt x="61" y="18"/>
                  </a:cubicBezTo>
                  <a:cubicBezTo>
                    <a:pt x="60" y="19"/>
                    <a:pt x="59" y="19"/>
                    <a:pt x="57" y="19"/>
                  </a:cubicBezTo>
                  <a:cubicBezTo>
                    <a:pt x="56" y="20"/>
                    <a:pt x="55" y="20"/>
                    <a:pt x="54" y="20"/>
                  </a:cubicBezTo>
                  <a:cubicBezTo>
                    <a:pt x="54" y="9"/>
                    <a:pt x="54" y="9"/>
                    <a:pt x="54" y="9"/>
                  </a:cubicBezTo>
                  <a:cubicBezTo>
                    <a:pt x="57" y="8"/>
                    <a:pt x="61" y="7"/>
                    <a:pt x="64" y="5"/>
                  </a:cubicBezTo>
                  <a:cubicBezTo>
                    <a:pt x="66" y="4"/>
                    <a:pt x="69" y="2"/>
                    <a:pt x="72" y="0"/>
                  </a:cubicBezTo>
                  <a:lnTo>
                    <a:pt x="79" y="0"/>
                  </a:lnTo>
                  <a:close/>
                  <a:moveTo>
                    <a:pt x="117" y="61"/>
                  </a:moveTo>
                  <a:cubicBezTo>
                    <a:pt x="103" y="61"/>
                    <a:pt x="96" y="51"/>
                    <a:pt x="96" y="32"/>
                  </a:cubicBezTo>
                  <a:cubicBezTo>
                    <a:pt x="96" y="22"/>
                    <a:pt x="98" y="14"/>
                    <a:pt x="102" y="9"/>
                  </a:cubicBezTo>
                  <a:cubicBezTo>
                    <a:pt x="106" y="3"/>
                    <a:pt x="111" y="1"/>
                    <a:pt x="118" y="1"/>
                  </a:cubicBezTo>
                  <a:cubicBezTo>
                    <a:pt x="132" y="1"/>
                    <a:pt x="139" y="11"/>
                    <a:pt x="139" y="30"/>
                  </a:cubicBezTo>
                  <a:cubicBezTo>
                    <a:pt x="139" y="40"/>
                    <a:pt x="137" y="48"/>
                    <a:pt x="133" y="53"/>
                  </a:cubicBezTo>
                  <a:cubicBezTo>
                    <a:pt x="130" y="59"/>
                    <a:pt x="124" y="61"/>
                    <a:pt x="117" y="61"/>
                  </a:cubicBezTo>
                  <a:close/>
                  <a:moveTo>
                    <a:pt x="118" y="10"/>
                  </a:moveTo>
                  <a:cubicBezTo>
                    <a:pt x="112" y="10"/>
                    <a:pt x="109" y="17"/>
                    <a:pt x="109" y="32"/>
                  </a:cubicBezTo>
                  <a:cubicBezTo>
                    <a:pt x="109" y="45"/>
                    <a:pt x="112" y="51"/>
                    <a:pt x="118" y="51"/>
                  </a:cubicBezTo>
                  <a:cubicBezTo>
                    <a:pt x="123" y="51"/>
                    <a:pt x="126" y="45"/>
                    <a:pt x="126" y="31"/>
                  </a:cubicBezTo>
                  <a:cubicBezTo>
                    <a:pt x="126" y="17"/>
                    <a:pt x="123" y="10"/>
                    <a:pt x="118" y="10"/>
                  </a:cubicBezTo>
                  <a:close/>
                  <a:moveTo>
                    <a:pt x="176" y="0"/>
                  </a:moveTo>
                  <a:cubicBezTo>
                    <a:pt x="176" y="60"/>
                    <a:pt x="176" y="60"/>
                    <a:pt x="176" y="60"/>
                  </a:cubicBezTo>
                  <a:cubicBezTo>
                    <a:pt x="163" y="60"/>
                    <a:pt x="163" y="60"/>
                    <a:pt x="163" y="60"/>
                  </a:cubicBezTo>
                  <a:cubicBezTo>
                    <a:pt x="163" y="15"/>
                    <a:pt x="163" y="15"/>
                    <a:pt x="163" y="15"/>
                  </a:cubicBezTo>
                  <a:cubicBezTo>
                    <a:pt x="162" y="15"/>
                    <a:pt x="161" y="16"/>
                    <a:pt x="160" y="17"/>
                  </a:cubicBezTo>
                  <a:cubicBezTo>
                    <a:pt x="159" y="17"/>
                    <a:pt x="158" y="18"/>
                    <a:pt x="157" y="18"/>
                  </a:cubicBezTo>
                  <a:cubicBezTo>
                    <a:pt x="156" y="19"/>
                    <a:pt x="155" y="19"/>
                    <a:pt x="154" y="19"/>
                  </a:cubicBezTo>
                  <a:cubicBezTo>
                    <a:pt x="153" y="20"/>
                    <a:pt x="151" y="20"/>
                    <a:pt x="150" y="20"/>
                  </a:cubicBezTo>
                  <a:cubicBezTo>
                    <a:pt x="150" y="9"/>
                    <a:pt x="150" y="9"/>
                    <a:pt x="150" y="9"/>
                  </a:cubicBezTo>
                  <a:cubicBezTo>
                    <a:pt x="154" y="8"/>
                    <a:pt x="157" y="7"/>
                    <a:pt x="160" y="5"/>
                  </a:cubicBezTo>
                  <a:cubicBezTo>
                    <a:pt x="163" y="4"/>
                    <a:pt x="165" y="2"/>
                    <a:pt x="168" y="0"/>
                  </a:cubicBezTo>
                  <a:lnTo>
                    <a:pt x="176" y="0"/>
                  </a:lnTo>
                  <a:close/>
                  <a:moveTo>
                    <a:pt x="214" y="61"/>
                  </a:moveTo>
                  <a:cubicBezTo>
                    <a:pt x="200" y="61"/>
                    <a:pt x="193" y="51"/>
                    <a:pt x="193" y="32"/>
                  </a:cubicBezTo>
                  <a:cubicBezTo>
                    <a:pt x="193" y="22"/>
                    <a:pt x="195" y="14"/>
                    <a:pt x="198" y="9"/>
                  </a:cubicBezTo>
                  <a:cubicBezTo>
                    <a:pt x="202" y="3"/>
                    <a:pt x="208" y="1"/>
                    <a:pt x="215" y="1"/>
                  </a:cubicBezTo>
                  <a:cubicBezTo>
                    <a:pt x="228" y="1"/>
                    <a:pt x="235" y="11"/>
                    <a:pt x="235" y="30"/>
                  </a:cubicBezTo>
                  <a:cubicBezTo>
                    <a:pt x="235" y="40"/>
                    <a:pt x="233" y="48"/>
                    <a:pt x="230" y="53"/>
                  </a:cubicBezTo>
                  <a:cubicBezTo>
                    <a:pt x="226" y="59"/>
                    <a:pt x="221" y="61"/>
                    <a:pt x="214" y="61"/>
                  </a:cubicBezTo>
                  <a:close/>
                  <a:moveTo>
                    <a:pt x="214" y="10"/>
                  </a:moveTo>
                  <a:cubicBezTo>
                    <a:pt x="209" y="10"/>
                    <a:pt x="206" y="17"/>
                    <a:pt x="206" y="32"/>
                  </a:cubicBezTo>
                  <a:cubicBezTo>
                    <a:pt x="206" y="45"/>
                    <a:pt x="209" y="51"/>
                    <a:pt x="214" y="51"/>
                  </a:cubicBezTo>
                  <a:cubicBezTo>
                    <a:pt x="219" y="51"/>
                    <a:pt x="222" y="45"/>
                    <a:pt x="222" y="31"/>
                  </a:cubicBezTo>
                  <a:cubicBezTo>
                    <a:pt x="222" y="17"/>
                    <a:pt x="219" y="10"/>
                    <a:pt x="214" y="10"/>
                  </a:cubicBezTo>
                  <a:close/>
                  <a:moveTo>
                    <a:pt x="272" y="0"/>
                  </a:moveTo>
                  <a:cubicBezTo>
                    <a:pt x="272" y="60"/>
                    <a:pt x="272" y="60"/>
                    <a:pt x="272" y="60"/>
                  </a:cubicBezTo>
                  <a:cubicBezTo>
                    <a:pt x="259" y="60"/>
                    <a:pt x="259" y="60"/>
                    <a:pt x="259" y="60"/>
                  </a:cubicBezTo>
                  <a:cubicBezTo>
                    <a:pt x="259" y="15"/>
                    <a:pt x="259" y="15"/>
                    <a:pt x="259" y="15"/>
                  </a:cubicBezTo>
                  <a:cubicBezTo>
                    <a:pt x="258" y="15"/>
                    <a:pt x="258" y="16"/>
                    <a:pt x="257" y="17"/>
                  </a:cubicBezTo>
                  <a:cubicBezTo>
                    <a:pt x="256" y="17"/>
                    <a:pt x="255" y="18"/>
                    <a:pt x="254" y="18"/>
                  </a:cubicBezTo>
                  <a:cubicBezTo>
                    <a:pt x="252" y="19"/>
                    <a:pt x="251" y="19"/>
                    <a:pt x="250" y="19"/>
                  </a:cubicBezTo>
                  <a:cubicBezTo>
                    <a:pt x="249" y="20"/>
                    <a:pt x="248" y="20"/>
                    <a:pt x="247" y="20"/>
                  </a:cubicBezTo>
                  <a:cubicBezTo>
                    <a:pt x="247" y="9"/>
                    <a:pt x="247" y="9"/>
                    <a:pt x="247" y="9"/>
                  </a:cubicBezTo>
                  <a:cubicBezTo>
                    <a:pt x="250" y="8"/>
                    <a:pt x="253" y="7"/>
                    <a:pt x="256" y="5"/>
                  </a:cubicBezTo>
                  <a:cubicBezTo>
                    <a:pt x="259" y="4"/>
                    <a:pt x="262" y="2"/>
                    <a:pt x="264" y="0"/>
                  </a:cubicBezTo>
                  <a:lnTo>
                    <a:pt x="272" y="0"/>
                  </a:lnTo>
                  <a:close/>
                  <a:moveTo>
                    <a:pt x="25" y="77"/>
                  </a:moveTo>
                  <a:cubicBezTo>
                    <a:pt x="25" y="137"/>
                    <a:pt x="25" y="137"/>
                    <a:pt x="25" y="137"/>
                  </a:cubicBezTo>
                  <a:cubicBezTo>
                    <a:pt x="12" y="137"/>
                    <a:pt x="12" y="137"/>
                    <a:pt x="12" y="137"/>
                  </a:cubicBezTo>
                  <a:cubicBezTo>
                    <a:pt x="12" y="92"/>
                    <a:pt x="12" y="92"/>
                    <a:pt x="12" y="92"/>
                  </a:cubicBezTo>
                  <a:cubicBezTo>
                    <a:pt x="12" y="92"/>
                    <a:pt x="11" y="93"/>
                    <a:pt x="10" y="93"/>
                  </a:cubicBezTo>
                  <a:cubicBezTo>
                    <a:pt x="9" y="94"/>
                    <a:pt x="8" y="94"/>
                    <a:pt x="7" y="95"/>
                  </a:cubicBezTo>
                  <a:cubicBezTo>
                    <a:pt x="6" y="95"/>
                    <a:pt x="5" y="96"/>
                    <a:pt x="3" y="96"/>
                  </a:cubicBezTo>
                  <a:cubicBezTo>
                    <a:pt x="2" y="96"/>
                    <a:pt x="1" y="97"/>
                    <a:pt x="0" y="97"/>
                  </a:cubicBezTo>
                  <a:cubicBezTo>
                    <a:pt x="0" y="86"/>
                    <a:pt x="0" y="86"/>
                    <a:pt x="0" y="86"/>
                  </a:cubicBezTo>
                  <a:cubicBezTo>
                    <a:pt x="3" y="85"/>
                    <a:pt x="6" y="84"/>
                    <a:pt x="9" y="82"/>
                  </a:cubicBezTo>
                  <a:cubicBezTo>
                    <a:pt x="12" y="81"/>
                    <a:pt x="15" y="79"/>
                    <a:pt x="17" y="77"/>
                  </a:cubicBezTo>
                  <a:lnTo>
                    <a:pt x="25" y="77"/>
                  </a:lnTo>
                  <a:close/>
                  <a:moveTo>
                    <a:pt x="63" y="138"/>
                  </a:moveTo>
                  <a:cubicBezTo>
                    <a:pt x="49" y="138"/>
                    <a:pt x="42" y="128"/>
                    <a:pt x="42" y="109"/>
                  </a:cubicBezTo>
                  <a:cubicBezTo>
                    <a:pt x="42" y="98"/>
                    <a:pt x="44" y="91"/>
                    <a:pt x="48" y="85"/>
                  </a:cubicBezTo>
                  <a:cubicBezTo>
                    <a:pt x="52" y="80"/>
                    <a:pt x="57" y="77"/>
                    <a:pt x="64" y="77"/>
                  </a:cubicBezTo>
                  <a:cubicBezTo>
                    <a:pt x="78" y="77"/>
                    <a:pt x="85" y="87"/>
                    <a:pt x="85" y="107"/>
                  </a:cubicBezTo>
                  <a:cubicBezTo>
                    <a:pt x="85" y="117"/>
                    <a:pt x="83" y="125"/>
                    <a:pt x="79" y="130"/>
                  </a:cubicBezTo>
                  <a:cubicBezTo>
                    <a:pt x="75" y="135"/>
                    <a:pt x="70" y="138"/>
                    <a:pt x="63" y="138"/>
                  </a:cubicBezTo>
                  <a:close/>
                  <a:moveTo>
                    <a:pt x="64" y="87"/>
                  </a:moveTo>
                  <a:cubicBezTo>
                    <a:pt x="58" y="87"/>
                    <a:pt x="55" y="94"/>
                    <a:pt x="55" y="108"/>
                  </a:cubicBezTo>
                  <a:cubicBezTo>
                    <a:pt x="55" y="121"/>
                    <a:pt x="58" y="128"/>
                    <a:pt x="64" y="128"/>
                  </a:cubicBezTo>
                  <a:cubicBezTo>
                    <a:pt x="69" y="128"/>
                    <a:pt x="72" y="121"/>
                    <a:pt x="72" y="108"/>
                  </a:cubicBezTo>
                  <a:cubicBezTo>
                    <a:pt x="72" y="94"/>
                    <a:pt x="69" y="87"/>
                    <a:pt x="64" y="87"/>
                  </a:cubicBezTo>
                  <a:close/>
                  <a:moveTo>
                    <a:pt x="122" y="77"/>
                  </a:moveTo>
                  <a:cubicBezTo>
                    <a:pt x="122" y="137"/>
                    <a:pt x="122" y="137"/>
                    <a:pt x="122" y="137"/>
                  </a:cubicBezTo>
                  <a:cubicBezTo>
                    <a:pt x="109" y="137"/>
                    <a:pt x="109" y="137"/>
                    <a:pt x="109" y="137"/>
                  </a:cubicBezTo>
                  <a:cubicBezTo>
                    <a:pt x="109" y="92"/>
                    <a:pt x="109" y="92"/>
                    <a:pt x="109" y="92"/>
                  </a:cubicBezTo>
                  <a:cubicBezTo>
                    <a:pt x="108" y="92"/>
                    <a:pt x="107" y="93"/>
                    <a:pt x="106" y="93"/>
                  </a:cubicBezTo>
                  <a:cubicBezTo>
                    <a:pt x="105" y="94"/>
                    <a:pt x="104" y="94"/>
                    <a:pt x="103" y="95"/>
                  </a:cubicBezTo>
                  <a:cubicBezTo>
                    <a:pt x="102" y="95"/>
                    <a:pt x="101" y="96"/>
                    <a:pt x="100" y="96"/>
                  </a:cubicBezTo>
                  <a:cubicBezTo>
                    <a:pt x="98" y="96"/>
                    <a:pt x="97" y="97"/>
                    <a:pt x="96" y="97"/>
                  </a:cubicBezTo>
                  <a:cubicBezTo>
                    <a:pt x="96" y="86"/>
                    <a:pt x="96" y="86"/>
                    <a:pt x="96" y="86"/>
                  </a:cubicBezTo>
                  <a:cubicBezTo>
                    <a:pt x="100" y="85"/>
                    <a:pt x="103" y="84"/>
                    <a:pt x="106" y="82"/>
                  </a:cubicBezTo>
                  <a:cubicBezTo>
                    <a:pt x="109" y="81"/>
                    <a:pt x="111" y="79"/>
                    <a:pt x="114" y="77"/>
                  </a:cubicBezTo>
                  <a:lnTo>
                    <a:pt x="122" y="77"/>
                  </a:lnTo>
                  <a:close/>
                  <a:moveTo>
                    <a:pt x="159" y="138"/>
                  </a:moveTo>
                  <a:cubicBezTo>
                    <a:pt x="145" y="138"/>
                    <a:pt x="138" y="128"/>
                    <a:pt x="138" y="109"/>
                  </a:cubicBezTo>
                  <a:cubicBezTo>
                    <a:pt x="138" y="98"/>
                    <a:pt x="140" y="91"/>
                    <a:pt x="144" y="85"/>
                  </a:cubicBezTo>
                  <a:cubicBezTo>
                    <a:pt x="148" y="80"/>
                    <a:pt x="153" y="77"/>
                    <a:pt x="161" y="77"/>
                  </a:cubicBezTo>
                  <a:cubicBezTo>
                    <a:pt x="174" y="77"/>
                    <a:pt x="181" y="87"/>
                    <a:pt x="181" y="107"/>
                  </a:cubicBezTo>
                  <a:cubicBezTo>
                    <a:pt x="181" y="117"/>
                    <a:pt x="179" y="125"/>
                    <a:pt x="175" y="130"/>
                  </a:cubicBezTo>
                  <a:cubicBezTo>
                    <a:pt x="172" y="135"/>
                    <a:pt x="166" y="138"/>
                    <a:pt x="159" y="138"/>
                  </a:cubicBezTo>
                  <a:close/>
                  <a:moveTo>
                    <a:pt x="160" y="87"/>
                  </a:moveTo>
                  <a:cubicBezTo>
                    <a:pt x="154" y="87"/>
                    <a:pt x="152" y="94"/>
                    <a:pt x="152" y="108"/>
                  </a:cubicBezTo>
                  <a:cubicBezTo>
                    <a:pt x="152" y="121"/>
                    <a:pt x="154" y="128"/>
                    <a:pt x="160" y="128"/>
                  </a:cubicBezTo>
                  <a:cubicBezTo>
                    <a:pt x="165" y="128"/>
                    <a:pt x="168" y="121"/>
                    <a:pt x="168" y="108"/>
                  </a:cubicBezTo>
                  <a:cubicBezTo>
                    <a:pt x="168" y="94"/>
                    <a:pt x="165" y="87"/>
                    <a:pt x="160" y="87"/>
                  </a:cubicBezTo>
                  <a:close/>
                  <a:moveTo>
                    <a:pt x="218" y="77"/>
                  </a:moveTo>
                  <a:cubicBezTo>
                    <a:pt x="218" y="137"/>
                    <a:pt x="218" y="137"/>
                    <a:pt x="218" y="137"/>
                  </a:cubicBezTo>
                  <a:cubicBezTo>
                    <a:pt x="205" y="137"/>
                    <a:pt x="205" y="137"/>
                    <a:pt x="205" y="137"/>
                  </a:cubicBezTo>
                  <a:cubicBezTo>
                    <a:pt x="205" y="92"/>
                    <a:pt x="205" y="92"/>
                    <a:pt x="205" y="92"/>
                  </a:cubicBezTo>
                  <a:cubicBezTo>
                    <a:pt x="204" y="92"/>
                    <a:pt x="203" y="93"/>
                    <a:pt x="202" y="93"/>
                  </a:cubicBezTo>
                  <a:cubicBezTo>
                    <a:pt x="201" y="94"/>
                    <a:pt x="200" y="94"/>
                    <a:pt x="199" y="95"/>
                  </a:cubicBezTo>
                  <a:cubicBezTo>
                    <a:pt x="198" y="95"/>
                    <a:pt x="197" y="96"/>
                    <a:pt x="196" y="96"/>
                  </a:cubicBezTo>
                  <a:cubicBezTo>
                    <a:pt x="195" y="96"/>
                    <a:pt x="194" y="97"/>
                    <a:pt x="192" y="97"/>
                  </a:cubicBezTo>
                  <a:cubicBezTo>
                    <a:pt x="192" y="86"/>
                    <a:pt x="192" y="86"/>
                    <a:pt x="192" y="86"/>
                  </a:cubicBezTo>
                  <a:cubicBezTo>
                    <a:pt x="196" y="85"/>
                    <a:pt x="199" y="84"/>
                    <a:pt x="202" y="82"/>
                  </a:cubicBezTo>
                  <a:cubicBezTo>
                    <a:pt x="205" y="81"/>
                    <a:pt x="208" y="79"/>
                    <a:pt x="210" y="77"/>
                  </a:cubicBezTo>
                  <a:lnTo>
                    <a:pt x="218" y="77"/>
                  </a:lnTo>
                  <a:close/>
                  <a:moveTo>
                    <a:pt x="256" y="138"/>
                  </a:moveTo>
                  <a:cubicBezTo>
                    <a:pt x="242" y="138"/>
                    <a:pt x="235" y="128"/>
                    <a:pt x="235" y="109"/>
                  </a:cubicBezTo>
                  <a:cubicBezTo>
                    <a:pt x="235" y="98"/>
                    <a:pt x="237" y="91"/>
                    <a:pt x="240" y="85"/>
                  </a:cubicBezTo>
                  <a:cubicBezTo>
                    <a:pt x="244" y="80"/>
                    <a:pt x="250" y="77"/>
                    <a:pt x="257" y="77"/>
                  </a:cubicBezTo>
                  <a:cubicBezTo>
                    <a:pt x="270" y="77"/>
                    <a:pt x="277" y="87"/>
                    <a:pt x="277" y="107"/>
                  </a:cubicBezTo>
                  <a:cubicBezTo>
                    <a:pt x="277" y="117"/>
                    <a:pt x="275" y="125"/>
                    <a:pt x="272" y="130"/>
                  </a:cubicBezTo>
                  <a:cubicBezTo>
                    <a:pt x="268" y="135"/>
                    <a:pt x="263" y="138"/>
                    <a:pt x="256" y="138"/>
                  </a:cubicBezTo>
                  <a:close/>
                  <a:moveTo>
                    <a:pt x="256" y="87"/>
                  </a:moveTo>
                  <a:cubicBezTo>
                    <a:pt x="251" y="87"/>
                    <a:pt x="248" y="94"/>
                    <a:pt x="248" y="108"/>
                  </a:cubicBezTo>
                  <a:cubicBezTo>
                    <a:pt x="248" y="121"/>
                    <a:pt x="251" y="128"/>
                    <a:pt x="256" y="128"/>
                  </a:cubicBezTo>
                  <a:cubicBezTo>
                    <a:pt x="261" y="128"/>
                    <a:pt x="264" y="121"/>
                    <a:pt x="264" y="108"/>
                  </a:cubicBezTo>
                  <a:cubicBezTo>
                    <a:pt x="264" y="94"/>
                    <a:pt x="262" y="87"/>
                    <a:pt x="256" y="87"/>
                  </a:cubicBezTo>
                  <a:close/>
                  <a:moveTo>
                    <a:pt x="21" y="215"/>
                  </a:moveTo>
                  <a:cubicBezTo>
                    <a:pt x="7" y="215"/>
                    <a:pt x="0" y="205"/>
                    <a:pt x="0" y="185"/>
                  </a:cubicBezTo>
                  <a:cubicBezTo>
                    <a:pt x="0" y="175"/>
                    <a:pt x="2" y="167"/>
                    <a:pt x="6" y="162"/>
                  </a:cubicBezTo>
                  <a:cubicBezTo>
                    <a:pt x="9" y="157"/>
                    <a:pt x="15" y="154"/>
                    <a:pt x="22" y="154"/>
                  </a:cubicBezTo>
                  <a:cubicBezTo>
                    <a:pt x="36" y="154"/>
                    <a:pt x="43" y="164"/>
                    <a:pt x="43" y="184"/>
                  </a:cubicBezTo>
                  <a:cubicBezTo>
                    <a:pt x="43" y="194"/>
                    <a:pt x="41" y="201"/>
                    <a:pt x="37" y="207"/>
                  </a:cubicBezTo>
                  <a:cubicBezTo>
                    <a:pt x="33" y="212"/>
                    <a:pt x="28" y="215"/>
                    <a:pt x="21" y="215"/>
                  </a:cubicBezTo>
                  <a:close/>
                  <a:moveTo>
                    <a:pt x="22" y="164"/>
                  </a:moveTo>
                  <a:cubicBezTo>
                    <a:pt x="16" y="164"/>
                    <a:pt x="13" y="171"/>
                    <a:pt x="13" y="185"/>
                  </a:cubicBezTo>
                  <a:cubicBezTo>
                    <a:pt x="13" y="198"/>
                    <a:pt x="16" y="205"/>
                    <a:pt x="21" y="205"/>
                  </a:cubicBezTo>
                  <a:cubicBezTo>
                    <a:pt x="27" y="205"/>
                    <a:pt x="29" y="198"/>
                    <a:pt x="29" y="184"/>
                  </a:cubicBezTo>
                  <a:cubicBezTo>
                    <a:pt x="29" y="171"/>
                    <a:pt x="27" y="164"/>
                    <a:pt x="22" y="164"/>
                  </a:cubicBezTo>
                  <a:close/>
                  <a:moveTo>
                    <a:pt x="79" y="154"/>
                  </a:moveTo>
                  <a:cubicBezTo>
                    <a:pt x="79" y="214"/>
                    <a:pt x="79" y="214"/>
                    <a:pt x="79" y="214"/>
                  </a:cubicBezTo>
                  <a:cubicBezTo>
                    <a:pt x="66" y="214"/>
                    <a:pt x="66" y="214"/>
                    <a:pt x="66" y="214"/>
                  </a:cubicBezTo>
                  <a:cubicBezTo>
                    <a:pt x="66" y="168"/>
                    <a:pt x="66" y="168"/>
                    <a:pt x="66" y="168"/>
                  </a:cubicBezTo>
                  <a:cubicBezTo>
                    <a:pt x="66" y="169"/>
                    <a:pt x="65" y="170"/>
                    <a:pt x="64" y="170"/>
                  </a:cubicBezTo>
                  <a:cubicBezTo>
                    <a:pt x="63" y="171"/>
                    <a:pt x="62" y="171"/>
                    <a:pt x="61" y="172"/>
                  </a:cubicBezTo>
                  <a:cubicBezTo>
                    <a:pt x="60" y="172"/>
                    <a:pt x="59" y="172"/>
                    <a:pt x="57" y="173"/>
                  </a:cubicBezTo>
                  <a:cubicBezTo>
                    <a:pt x="56" y="173"/>
                    <a:pt x="55" y="173"/>
                    <a:pt x="54" y="173"/>
                  </a:cubicBezTo>
                  <a:cubicBezTo>
                    <a:pt x="54" y="163"/>
                    <a:pt x="54" y="163"/>
                    <a:pt x="54" y="163"/>
                  </a:cubicBezTo>
                  <a:cubicBezTo>
                    <a:pt x="57" y="162"/>
                    <a:pt x="61" y="160"/>
                    <a:pt x="64" y="159"/>
                  </a:cubicBezTo>
                  <a:cubicBezTo>
                    <a:pt x="66" y="157"/>
                    <a:pt x="69" y="156"/>
                    <a:pt x="72" y="154"/>
                  </a:cubicBezTo>
                  <a:lnTo>
                    <a:pt x="79" y="154"/>
                  </a:lnTo>
                  <a:close/>
                  <a:moveTo>
                    <a:pt x="117" y="215"/>
                  </a:moveTo>
                  <a:cubicBezTo>
                    <a:pt x="103" y="215"/>
                    <a:pt x="96" y="205"/>
                    <a:pt x="96" y="185"/>
                  </a:cubicBezTo>
                  <a:cubicBezTo>
                    <a:pt x="96" y="175"/>
                    <a:pt x="98" y="167"/>
                    <a:pt x="102" y="162"/>
                  </a:cubicBezTo>
                  <a:cubicBezTo>
                    <a:pt x="106" y="157"/>
                    <a:pt x="111" y="154"/>
                    <a:pt x="118" y="154"/>
                  </a:cubicBezTo>
                  <a:cubicBezTo>
                    <a:pt x="132" y="154"/>
                    <a:pt x="139" y="164"/>
                    <a:pt x="139" y="184"/>
                  </a:cubicBezTo>
                  <a:cubicBezTo>
                    <a:pt x="139" y="194"/>
                    <a:pt x="137" y="201"/>
                    <a:pt x="133" y="207"/>
                  </a:cubicBezTo>
                  <a:cubicBezTo>
                    <a:pt x="130" y="212"/>
                    <a:pt x="124" y="215"/>
                    <a:pt x="117" y="215"/>
                  </a:cubicBezTo>
                  <a:close/>
                  <a:moveTo>
                    <a:pt x="118" y="164"/>
                  </a:moveTo>
                  <a:cubicBezTo>
                    <a:pt x="112" y="164"/>
                    <a:pt x="109" y="171"/>
                    <a:pt x="109" y="185"/>
                  </a:cubicBezTo>
                  <a:cubicBezTo>
                    <a:pt x="109" y="198"/>
                    <a:pt x="112" y="205"/>
                    <a:pt x="118" y="205"/>
                  </a:cubicBezTo>
                  <a:cubicBezTo>
                    <a:pt x="123" y="205"/>
                    <a:pt x="126" y="198"/>
                    <a:pt x="126" y="184"/>
                  </a:cubicBezTo>
                  <a:cubicBezTo>
                    <a:pt x="126" y="171"/>
                    <a:pt x="123" y="164"/>
                    <a:pt x="118" y="164"/>
                  </a:cubicBezTo>
                  <a:close/>
                  <a:moveTo>
                    <a:pt x="176" y="154"/>
                  </a:moveTo>
                  <a:cubicBezTo>
                    <a:pt x="176" y="214"/>
                    <a:pt x="176" y="214"/>
                    <a:pt x="176" y="214"/>
                  </a:cubicBezTo>
                  <a:cubicBezTo>
                    <a:pt x="163" y="214"/>
                    <a:pt x="163" y="214"/>
                    <a:pt x="163" y="214"/>
                  </a:cubicBezTo>
                  <a:cubicBezTo>
                    <a:pt x="163" y="168"/>
                    <a:pt x="163" y="168"/>
                    <a:pt x="163" y="168"/>
                  </a:cubicBezTo>
                  <a:cubicBezTo>
                    <a:pt x="162" y="169"/>
                    <a:pt x="161" y="170"/>
                    <a:pt x="160" y="170"/>
                  </a:cubicBezTo>
                  <a:cubicBezTo>
                    <a:pt x="159" y="171"/>
                    <a:pt x="158" y="171"/>
                    <a:pt x="157" y="172"/>
                  </a:cubicBezTo>
                  <a:cubicBezTo>
                    <a:pt x="156" y="172"/>
                    <a:pt x="155" y="172"/>
                    <a:pt x="154" y="173"/>
                  </a:cubicBezTo>
                  <a:cubicBezTo>
                    <a:pt x="153" y="173"/>
                    <a:pt x="151" y="173"/>
                    <a:pt x="150" y="173"/>
                  </a:cubicBezTo>
                  <a:cubicBezTo>
                    <a:pt x="150" y="163"/>
                    <a:pt x="150" y="163"/>
                    <a:pt x="150" y="163"/>
                  </a:cubicBezTo>
                  <a:cubicBezTo>
                    <a:pt x="154" y="162"/>
                    <a:pt x="157" y="160"/>
                    <a:pt x="160" y="159"/>
                  </a:cubicBezTo>
                  <a:cubicBezTo>
                    <a:pt x="163" y="157"/>
                    <a:pt x="165" y="156"/>
                    <a:pt x="168" y="154"/>
                  </a:cubicBezTo>
                  <a:lnTo>
                    <a:pt x="176" y="154"/>
                  </a:lnTo>
                  <a:close/>
                  <a:moveTo>
                    <a:pt x="214" y="215"/>
                  </a:moveTo>
                  <a:cubicBezTo>
                    <a:pt x="200" y="215"/>
                    <a:pt x="193" y="205"/>
                    <a:pt x="193" y="185"/>
                  </a:cubicBezTo>
                  <a:cubicBezTo>
                    <a:pt x="193" y="175"/>
                    <a:pt x="195" y="167"/>
                    <a:pt x="198" y="162"/>
                  </a:cubicBezTo>
                  <a:cubicBezTo>
                    <a:pt x="202" y="157"/>
                    <a:pt x="208" y="154"/>
                    <a:pt x="215" y="154"/>
                  </a:cubicBezTo>
                  <a:cubicBezTo>
                    <a:pt x="228" y="154"/>
                    <a:pt x="235" y="164"/>
                    <a:pt x="235" y="184"/>
                  </a:cubicBezTo>
                  <a:cubicBezTo>
                    <a:pt x="235" y="194"/>
                    <a:pt x="233" y="201"/>
                    <a:pt x="230" y="207"/>
                  </a:cubicBezTo>
                  <a:cubicBezTo>
                    <a:pt x="226" y="212"/>
                    <a:pt x="221" y="215"/>
                    <a:pt x="214" y="215"/>
                  </a:cubicBezTo>
                  <a:close/>
                  <a:moveTo>
                    <a:pt x="214" y="164"/>
                  </a:moveTo>
                  <a:cubicBezTo>
                    <a:pt x="209" y="164"/>
                    <a:pt x="206" y="171"/>
                    <a:pt x="206" y="185"/>
                  </a:cubicBezTo>
                  <a:cubicBezTo>
                    <a:pt x="206" y="198"/>
                    <a:pt x="209" y="205"/>
                    <a:pt x="214" y="205"/>
                  </a:cubicBezTo>
                  <a:cubicBezTo>
                    <a:pt x="219" y="205"/>
                    <a:pt x="222" y="198"/>
                    <a:pt x="222" y="184"/>
                  </a:cubicBezTo>
                  <a:cubicBezTo>
                    <a:pt x="222" y="171"/>
                    <a:pt x="219" y="164"/>
                    <a:pt x="214" y="164"/>
                  </a:cubicBezTo>
                  <a:close/>
                  <a:moveTo>
                    <a:pt x="272" y="154"/>
                  </a:moveTo>
                  <a:cubicBezTo>
                    <a:pt x="272" y="214"/>
                    <a:pt x="272" y="214"/>
                    <a:pt x="272" y="214"/>
                  </a:cubicBezTo>
                  <a:cubicBezTo>
                    <a:pt x="259" y="214"/>
                    <a:pt x="259" y="214"/>
                    <a:pt x="259" y="214"/>
                  </a:cubicBezTo>
                  <a:cubicBezTo>
                    <a:pt x="259" y="168"/>
                    <a:pt x="259" y="168"/>
                    <a:pt x="259" y="168"/>
                  </a:cubicBezTo>
                  <a:cubicBezTo>
                    <a:pt x="258" y="169"/>
                    <a:pt x="258" y="170"/>
                    <a:pt x="257" y="170"/>
                  </a:cubicBezTo>
                  <a:cubicBezTo>
                    <a:pt x="256" y="171"/>
                    <a:pt x="255" y="171"/>
                    <a:pt x="254" y="172"/>
                  </a:cubicBezTo>
                  <a:cubicBezTo>
                    <a:pt x="252" y="172"/>
                    <a:pt x="251" y="172"/>
                    <a:pt x="250" y="173"/>
                  </a:cubicBezTo>
                  <a:cubicBezTo>
                    <a:pt x="249" y="173"/>
                    <a:pt x="248" y="173"/>
                    <a:pt x="247" y="173"/>
                  </a:cubicBezTo>
                  <a:cubicBezTo>
                    <a:pt x="247" y="163"/>
                    <a:pt x="247" y="163"/>
                    <a:pt x="247" y="163"/>
                  </a:cubicBezTo>
                  <a:cubicBezTo>
                    <a:pt x="250" y="162"/>
                    <a:pt x="253" y="160"/>
                    <a:pt x="256" y="159"/>
                  </a:cubicBezTo>
                  <a:cubicBezTo>
                    <a:pt x="259" y="157"/>
                    <a:pt x="262" y="156"/>
                    <a:pt x="264" y="154"/>
                  </a:cubicBezTo>
                  <a:lnTo>
                    <a:pt x="272" y="154"/>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62" name="Freeform 61"/>
            <p:cNvSpPr>
              <a:spLocks noChangeAspect="1"/>
            </p:cNvSpPr>
            <p:nvPr/>
          </p:nvSpPr>
          <p:spPr bwMode="black">
            <a:xfrm>
              <a:off x="810855" y="2476645"/>
              <a:ext cx="373866" cy="260946"/>
            </a:xfrm>
            <a:custGeom>
              <a:avLst/>
              <a:gdLst>
                <a:gd name="connsiteX0" fmla="*/ 541228 w 979570"/>
                <a:gd name="connsiteY0" fmla="*/ 531962 h 887227"/>
                <a:gd name="connsiteX1" fmla="*/ 547155 w 979570"/>
                <a:gd name="connsiteY1" fmla="*/ 538150 h 887227"/>
                <a:gd name="connsiteX2" fmla="*/ 760399 w 979570"/>
                <a:gd name="connsiteY2" fmla="*/ 601984 h 887227"/>
                <a:gd name="connsiteX3" fmla="*/ 973643 w 979570"/>
                <a:gd name="connsiteY3" fmla="*/ 538150 h 887227"/>
                <a:gd name="connsiteX4" fmla="*/ 979570 w 979570"/>
                <a:gd name="connsiteY4" fmla="*/ 531962 h 887227"/>
                <a:gd name="connsiteX5" fmla="*/ 979570 w 979570"/>
                <a:gd name="connsiteY5" fmla="*/ 776991 h 887227"/>
                <a:gd name="connsiteX6" fmla="*/ 979570 w 979570"/>
                <a:gd name="connsiteY6" fmla="*/ 776993 h 887227"/>
                <a:gd name="connsiteX7" fmla="*/ 760399 w 979570"/>
                <a:gd name="connsiteY7" fmla="*/ 887227 h 887227"/>
                <a:gd name="connsiteX8" fmla="*/ 541228 w 979570"/>
                <a:gd name="connsiteY8" fmla="*/ 776993 h 887227"/>
                <a:gd name="connsiteX9" fmla="*/ 541228 w 979570"/>
                <a:gd name="connsiteY9" fmla="*/ 776993 h 887227"/>
                <a:gd name="connsiteX10" fmla="*/ 0 w 979570"/>
                <a:gd name="connsiteY10" fmla="*/ 531962 h 887227"/>
                <a:gd name="connsiteX11" fmla="*/ 5927 w 979570"/>
                <a:gd name="connsiteY11" fmla="*/ 538150 h 887227"/>
                <a:gd name="connsiteX12" fmla="*/ 219171 w 979570"/>
                <a:gd name="connsiteY12" fmla="*/ 601984 h 887227"/>
                <a:gd name="connsiteX13" fmla="*/ 432415 w 979570"/>
                <a:gd name="connsiteY13" fmla="*/ 538150 h 887227"/>
                <a:gd name="connsiteX14" fmla="*/ 438342 w 979570"/>
                <a:gd name="connsiteY14" fmla="*/ 531962 h 887227"/>
                <a:gd name="connsiteX15" fmla="*/ 438342 w 979570"/>
                <a:gd name="connsiteY15" fmla="*/ 776991 h 887227"/>
                <a:gd name="connsiteX16" fmla="*/ 438342 w 979570"/>
                <a:gd name="connsiteY16" fmla="*/ 776993 h 887227"/>
                <a:gd name="connsiteX17" fmla="*/ 219171 w 979570"/>
                <a:gd name="connsiteY17" fmla="*/ 887227 h 887227"/>
                <a:gd name="connsiteX18" fmla="*/ 0 w 979570"/>
                <a:gd name="connsiteY18" fmla="*/ 776993 h 887227"/>
                <a:gd name="connsiteX19" fmla="*/ 0 w 979570"/>
                <a:gd name="connsiteY19" fmla="*/ 776993 h 887227"/>
                <a:gd name="connsiteX20" fmla="*/ 760036 w 979570"/>
                <a:gd name="connsiteY20" fmla="*/ 322411 h 887227"/>
                <a:gd name="connsiteX21" fmla="*/ 978844 w 979570"/>
                <a:gd name="connsiteY21" fmla="*/ 444386 h 887227"/>
                <a:gd name="connsiteX22" fmla="*/ 760036 w 979570"/>
                <a:gd name="connsiteY22" fmla="*/ 566361 h 887227"/>
                <a:gd name="connsiteX23" fmla="*/ 541228 w 979570"/>
                <a:gd name="connsiteY23" fmla="*/ 444386 h 887227"/>
                <a:gd name="connsiteX24" fmla="*/ 760036 w 979570"/>
                <a:gd name="connsiteY24" fmla="*/ 322411 h 887227"/>
                <a:gd name="connsiteX25" fmla="*/ 0 w 979570"/>
                <a:gd name="connsiteY25" fmla="*/ 209552 h 887227"/>
                <a:gd name="connsiteX26" fmla="*/ 5927 w 979570"/>
                <a:gd name="connsiteY26" fmla="*/ 215739 h 887227"/>
                <a:gd name="connsiteX27" fmla="*/ 219171 w 979570"/>
                <a:gd name="connsiteY27" fmla="*/ 279574 h 887227"/>
                <a:gd name="connsiteX28" fmla="*/ 432415 w 979570"/>
                <a:gd name="connsiteY28" fmla="*/ 215739 h 887227"/>
                <a:gd name="connsiteX29" fmla="*/ 438342 w 979570"/>
                <a:gd name="connsiteY29" fmla="*/ 209552 h 887227"/>
                <a:gd name="connsiteX30" fmla="*/ 438342 w 979570"/>
                <a:gd name="connsiteY30" fmla="*/ 454580 h 887227"/>
                <a:gd name="connsiteX31" fmla="*/ 438342 w 979570"/>
                <a:gd name="connsiteY31" fmla="*/ 454583 h 887227"/>
                <a:gd name="connsiteX32" fmla="*/ 219171 w 979570"/>
                <a:gd name="connsiteY32" fmla="*/ 564817 h 887227"/>
                <a:gd name="connsiteX33" fmla="*/ 0 w 979570"/>
                <a:gd name="connsiteY33" fmla="*/ 454583 h 887227"/>
                <a:gd name="connsiteX34" fmla="*/ 0 w 979570"/>
                <a:gd name="connsiteY34" fmla="*/ 454582 h 887227"/>
                <a:gd name="connsiteX35" fmla="*/ 218808 w 979570"/>
                <a:gd name="connsiteY35" fmla="*/ 0 h 887227"/>
                <a:gd name="connsiteX36" fmla="*/ 437616 w 979570"/>
                <a:gd name="connsiteY36" fmla="*/ 121975 h 887227"/>
                <a:gd name="connsiteX37" fmla="*/ 218808 w 979570"/>
                <a:gd name="connsiteY37" fmla="*/ 243950 h 887227"/>
                <a:gd name="connsiteX38" fmla="*/ 0 w 979570"/>
                <a:gd name="connsiteY38" fmla="*/ 121975 h 887227"/>
                <a:gd name="connsiteX39" fmla="*/ 218808 w 979570"/>
                <a:gd name="connsiteY39" fmla="*/ 0 h 8872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979570" h="887227">
                  <a:moveTo>
                    <a:pt x="541228" y="531962"/>
                  </a:moveTo>
                  <a:lnTo>
                    <a:pt x="547155" y="538150"/>
                  </a:lnTo>
                  <a:cubicBezTo>
                    <a:pt x="588222" y="576173"/>
                    <a:pt x="668317" y="601984"/>
                    <a:pt x="760399" y="601984"/>
                  </a:cubicBezTo>
                  <a:cubicBezTo>
                    <a:pt x="852481" y="601984"/>
                    <a:pt x="932576" y="576173"/>
                    <a:pt x="973643" y="538150"/>
                  </a:cubicBezTo>
                  <a:lnTo>
                    <a:pt x="979570" y="531962"/>
                  </a:lnTo>
                  <a:lnTo>
                    <a:pt x="979570" y="776991"/>
                  </a:lnTo>
                  <a:lnTo>
                    <a:pt x="979570" y="776993"/>
                  </a:lnTo>
                  <a:cubicBezTo>
                    <a:pt x="979570" y="837874"/>
                    <a:pt x="881444" y="887227"/>
                    <a:pt x="760399" y="887227"/>
                  </a:cubicBezTo>
                  <a:cubicBezTo>
                    <a:pt x="639354" y="887227"/>
                    <a:pt x="541228" y="837874"/>
                    <a:pt x="541228" y="776993"/>
                  </a:cubicBezTo>
                  <a:lnTo>
                    <a:pt x="541228" y="776993"/>
                  </a:lnTo>
                  <a:close/>
                  <a:moveTo>
                    <a:pt x="0" y="531962"/>
                  </a:moveTo>
                  <a:lnTo>
                    <a:pt x="5927" y="538150"/>
                  </a:lnTo>
                  <a:cubicBezTo>
                    <a:pt x="46994" y="576173"/>
                    <a:pt x="127089" y="601984"/>
                    <a:pt x="219171" y="601984"/>
                  </a:cubicBezTo>
                  <a:cubicBezTo>
                    <a:pt x="311253" y="601984"/>
                    <a:pt x="391348" y="576173"/>
                    <a:pt x="432415" y="538150"/>
                  </a:cubicBezTo>
                  <a:lnTo>
                    <a:pt x="438342" y="531962"/>
                  </a:lnTo>
                  <a:lnTo>
                    <a:pt x="438342" y="776991"/>
                  </a:lnTo>
                  <a:lnTo>
                    <a:pt x="438342" y="776993"/>
                  </a:lnTo>
                  <a:cubicBezTo>
                    <a:pt x="438342" y="837874"/>
                    <a:pt x="340216" y="887227"/>
                    <a:pt x="219171" y="887227"/>
                  </a:cubicBezTo>
                  <a:cubicBezTo>
                    <a:pt x="98126" y="887227"/>
                    <a:pt x="0" y="837874"/>
                    <a:pt x="0" y="776993"/>
                  </a:cubicBezTo>
                  <a:lnTo>
                    <a:pt x="0" y="776993"/>
                  </a:lnTo>
                  <a:close/>
                  <a:moveTo>
                    <a:pt x="760036" y="322411"/>
                  </a:moveTo>
                  <a:cubicBezTo>
                    <a:pt x="880880" y="322411"/>
                    <a:pt x="978844" y="377021"/>
                    <a:pt x="978844" y="444386"/>
                  </a:cubicBezTo>
                  <a:cubicBezTo>
                    <a:pt x="978844" y="511751"/>
                    <a:pt x="880880" y="566361"/>
                    <a:pt x="760036" y="566361"/>
                  </a:cubicBezTo>
                  <a:cubicBezTo>
                    <a:pt x="639192" y="566361"/>
                    <a:pt x="541228" y="511751"/>
                    <a:pt x="541228" y="444386"/>
                  </a:cubicBezTo>
                  <a:cubicBezTo>
                    <a:pt x="541228" y="377021"/>
                    <a:pt x="639192" y="322411"/>
                    <a:pt x="760036" y="322411"/>
                  </a:cubicBezTo>
                  <a:close/>
                  <a:moveTo>
                    <a:pt x="0" y="209552"/>
                  </a:moveTo>
                  <a:lnTo>
                    <a:pt x="5927" y="215739"/>
                  </a:lnTo>
                  <a:cubicBezTo>
                    <a:pt x="46994" y="253762"/>
                    <a:pt x="127089" y="279574"/>
                    <a:pt x="219171" y="279574"/>
                  </a:cubicBezTo>
                  <a:cubicBezTo>
                    <a:pt x="311253" y="279574"/>
                    <a:pt x="391348" y="253762"/>
                    <a:pt x="432415" y="215739"/>
                  </a:cubicBezTo>
                  <a:lnTo>
                    <a:pt x="438342" y="209552"/>
                  </a:lnTo>
                  <a:lnTo>
                    <a:pt x="438342" y="454580"/>
                  </a:lnTo>
                  <a:lnTo>
                    <a:pt x="438342" y="454583"/>
                  </a:lnTo>
                  <a:cubicBezTo>
                    <a:pt x="438342" y="515463"/>
                    <a:pt x="340216" y="564817"/>
                    <a:pt x="219171" y="564817"/>
                  </a:cubicBezTo>
                  <a:cubicBezTo>
                    <a:pt x="98126" y="564817"/>
                    <a:pt x="0" y="515463"/>
                    <a:pt x="0" y="454583"/>
                  </a:cubicBezTo>
                  <a:lnTo>
                    <a:pt x="0" y="454582"/>
                  </a:lnTo>
                  <a:close/>
                  <a:moveTo>
                    <a:pt x="218808" y="0"/>
                  </a:moveTo>
                  <a:cubicBezTo>
                    <a:pt x="339652" y="0"/>
                    <a:pt x="437616" y="54610"/>
                    <a:pt x="437616" y="121975"/>
                  </a:cubicBezTo>
                  <a:cubicBezTo>
                    <a:pt x="437616" y="189340"/>
                    <a:pt x="339652" y="243950"/>
                    <a:pt x="218808" y="243950"/>
                  </a:cubicBezTo>
                  <a:cubicBezTo>
                    <a:pt x="97964" y="243950"/>
                    <a:pt x="0" y="189340"/>
                    <a:pt x="0" y="121975"/>
                  </a:cubicBezTo>
                  <a:cubicBezTo>
                    <a:pt x="0" y="54610"/>
                    <a:pt x="97964" y="0"/>
                    <a:pt x="218808"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8" tIns="109719" rIns="137148" bIns="109719" numCol="1" spcCol="0" rtlCol="0" fromWordArt="0" anchor="t" anchorCtr="0" forceAA="0" compatLnSpc="1">
              <a:prstTxWarp prst="textNoShape">
                <a:avLst/>
              </a:prstTxWarp>
              <a:noAutofit/>
            </a:bodyPr>
            <a:lstStyle/>
            <a:p>
              <a:pPr algn="ctr" defTabSz="699261" fontAlgn="base">
                <a:lnSpc>
                  <a:spcPct val="90000"/>
                </a:lnSpc>
                <a:spcBef>
                  <a:spcPct val="0"/>
                </a:spcBef>
                <a:spcAft>
                  <a:spcPct val="0"/>
                </a:spcAft>
              </a:pPr>
              <a:endParaRPr lang="en-US">
                <a:gradFill>
                  <a:gsLst>
                    <a:gs pos="0">
                      <a:srgbClr val="FFFFFF"/>
                    </a:gs>
                    <a:gs pos="100000">
                      <a:srgbClr val="FFFFFF"/>
                    </a:gs>
                  </a:gsLst>
                  <a:lin ang="5400000" scaled="0"/>
                </a:gradFill>
                <a:ea typeface="Segoe UI" pitchFamily="34" charset="0"/>
                <a:cs typeface="Segoe UI" pitchFamily="34" charset="0"/>
              </a:endParaRPr>
            </a:p>
          </p:txBody>
        </p:sp>
      </p:grpSp>
      <p:grpSp>
        <p:nvGrpSpPr>
          <p:cNvPr id="63" name="Group 62"/>
          <p:cNvGrpSpPr>
            <a:grpSpLocks noChangeAspect="1"/>
          </p:cNvGrpSpPr>
          <p:nvPr/>
        </p:nvGrpSpPr>
        <p:grpSpPr>
          <a:xfrm>
            <a:off x="197042" y="2842214"/>
            <a:ext cx="457200" cy="457200"/>
            <a:chOff x="719415" y="3138080"/>
            <a:chExt cx="640080" cy="640080"/>
          </a:xfrm>
        </p:grpSpPr>
        <p:pic>
          <p:nvPicPr>
            <p:cNvPr id="64" name="Picture 6" descr="\\MAGNUM\Projects\Microsoft\Cloud Power FY12\Design\ICONS_PNG\Cloud.png"/>
            <p:cNvPicPr>
              <a:picLocks noChangeAspect="1" noChangeArrowheads="1"/>
            </p:cNvPicPr>
            <p:nvPr/>
          </p:nvPicPr>
          <p:blipFill>
            <a:blip r:embed="rId3" cstate="print">
              <a:biLevel thresh="75000"/>
            </a:blip>
            <a:srcRect/>
            <a:stretch>
              <a:fillRect/>
            </a:stretch>
          </p:blipFill>
          <p:spPr bwMode="auto">
            <a:xfrm>
              <a:off x="719415" y="3138080"/>
              <a:ext cx="640080" cy="640080"/>
            </a:xfrm>
            <a:prstGeom prst="rect">
              <a:avLst/>
            </a:prstGeom>
            <a:noFill/>
          </p:spPr>
        </p:pic>
        <p:pic>
          <p:nvPicPr>
            <p:cNvPr id="68" name="Picture 67"/>
            <p:cNvPicPr>
              <a:picLocks noChangeAspect="1"/>
            </p:cNvPicPr>
            <p:nvPr/>
          </p:nvPicPr>
          <p:blipFill>
            <a:blip r:embed="rId4"/>
            <a:stretch>
              <a:fillRect/>
            </a:stretch>
          </p:blipFill>
          <p:spPr>
            <a:xfrm flipH="1">
              <a:off x="975955" y="3370303"/>
              <a:ext cx="127000" cy="175846"/>
            </a:xfrm>
            <a:prstGeom prst="rect">
              <a:avLst/>
            </a:prstGeom>
          </p:spPr>
        </p:pic>
      </p:grpSp>
      <p:sp>
        <p:nvSpPr>
          <p:cNvPr id="69" name="Freeform 122"/>
          <p:cNvSpPr>
            <a:spLocks noChangeAspect="1"/>
          </p:cNvSpPr>
          <p:nvPr/>
        </p:nvSpPr>
        <p:spPr bwMode="black">
          <a:xfrm>
            <a:off x="266989" y="4843626"/>
            <a:ext cx="317305" cy="320040"/>
          </a:xfrm>
          <a:custGeom>
            <a:avLst/>
            <a:gdLst>
              <a:gd name="T0" fmla="*/ 61 w 70"/>
              <a:gd name="T1" fmla="*/ 11 h 71"/>
              <a:gd name="T2" fmla="*/ 60 w 70"/>
              <a:gd name="T3" fmla="*/ 11 h 71"/>
              <a:gd name="T4" fmla="*/ 53 w 70"/>
              <a:gd name="T5" fmla="*/ 18 h 71"/>
              <a:gd name="T6" fmla="*/ 53 w 70"/>
              <a:gd name="T7" fmla="*/ 19 h 71"/>
              <a:gd name="T8" fmla="*/ 53 w 70"/>
              <a:gd name="T9" fmla="*/ 19 h 71"/>
              <a:gd name="T10" fmla="*/ 60 w 70"/>
              <a:gd name="T11" fmla="*/ 35 h 71"/>
              <a:gd name="T12" fmla="*/ 35 w 70"/>
              <a:gd name="T13" fmla="*/ 60 h 71"/>
              <a:gd name="T14" fmla="*/ 10 w 70"/>
              <a:gd name="T15" fmla="*/ 36 h 71"/>
              <a:gd name="T16" fmla="*/ 16 w 70"/>
              <a:gd name="T17" fmla="*/ 21 h 71"/>
              <a:gd name="T18" fmla="*/ 18 w 70"/>
              <a:gd name="T19" fmla="*/ 18 h 71"/>
              <a:gd name="T20" fmla="*/ 25 w 70"/>
              <a:gd name="T21" fmla="*/ 26 h 71"/>
              <a:gd name="T22" fmla="*/ 30 w 70"/>
              <a:gd name="T23" fmla="*/ 0 h 71"/>
              <a:gd name="T24" fmla="*/ 4 w 70"/>
              <a:gd name="T25" fmla="*/ 2 h 71"/>
              <a:gd name="T26" fmla="*/ 11 w 70"/>
              <a:gd name="T27" fmla="*/ 10 h 71"/>
              <a:gd name="T28" fmla="*/ 9 w 70"/>
              <a:gd name="T29" fmla="*/ 12 h 71"/>
              <a:gd name="T30" fmla="*/ 0 w 70"/>
              <a:gd name="T31" fmla="*/ 36 h 71"/>
              <a:gd name="T32" fmla="*/ 35 w 70"/>
              <a:gd name="T33" fmla="*/ 71 h 71"/>
              <a:gd name="T34" fmla="*/ 35 w 70"/>
              <a:gd name="T35" fmla="*/ 71 h 71"/>
              <a:gd name="T36" fmla="*/ 70 w 70"/>
              <a:gd name="T37" fmla="*/ 35 h 71"/>
              <a:gd name="T38" fmla="*/ 61 w 70"/>
              <a:gd name="T39" fmla="*/ 1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0" h="71">
                <a:moveTo>
                  <a:pt x="61" y="11"/>
                </a:moveTo>
                <a:cubicBezTo>
                  <a:pt x="60" y="11"/>
                  <a:pt x="60" y="11"/>
                  <a:pt x="60" y="11"/>
                </a:cubicBezTo>
                <a:cubicBezTo>
                  <a:pt x="53" y="18"/>
                  <a:pt x="53" y="18"/>
                  <a:pt x="53" y="18"/>
                </a:cubicBezTo>
                <a:cubicBezTo>
                  <a:pt x="53" y="19"/>
                  <a:pt x="53" y="19"/>
                  <a:pt x="53" y="19"/>
                </a:cubicBezTo>
                <a:cubicBezTo>
                  <a:pt x="53" y="19"/>
                  <a:pt x="53" y="19"/>
                  <a:pt x="53" y="19"/>
                </a:cubicBezTo>
                <a:cubicBezTo>
                  <a:pt x="57" y="23"/>
                  <a:pt x="60" y="29"/>
                  <a:pt x="60" y="35"/>
                </a:cubicBezTo>
                <a:cubicBezTo>
                  <a:pt x="60" y="49"/>
                  <a:pt x="49" y="60"/>
                  <a:pt x="35" y="60"/>
                </a:cubicBezTo>
                <a:cubicBezTo>
                  <a:pt x="22" y="60"/>
                  <a:pt x="11" y="49"/>
                  <a:pt x="10" y="36"/>
                </a:cubicBezTo>
                <a:cubicBezTo>
                  <a:pt x="10" y="30"/>
                  <a:pt x="12" y="25"/>
                  <a:pt x="16" y="21"/>
                </a:cubicBezTo>
                <a:cubicBezTo>
                  <a:pt x="18" y="18"/>
                  <a:pt x="18" y="18"/>
                  <a:pt x="18" y="18"/>
                </a:cubicBezTo>
                <a:cubicBezTo>
                  <a:pt x="25" y="26"/>
                  <a:pt x="25" y="26"/>
                  <a:pt x="25" y="26"/>
                </a:cubicBezTo>
                <a:cubicBezTo>
                  <a:pt x="30" y="0"/>
                  <a:pt x="30" y="0"/>
                  <a:pt x="30" y="0"/>
                </a:cubicBezTo>
                <a:cubicBezTo>
                  <a:pt x="4" y="2"/>
                  <a:pt x="4" y="2"/>
                  <a:pt x="4" y="2"/>
                </a:cubicBezTo>
                <a:cubicBezTo>
                  <a:pt x="11" y="10"/>
                  <a:pt x="11" y="10"/>
                  <a:pt x="11" y="10"/>
                </a:cubicBezTo>
                <a:cubicBezTo>
                  <a:pt x="9" y="12"/>
                  <a:pt x="9" y="12"/>
                  <a:pt x="9" y="12"/>
                </a:cubicBezTo>
                <a:cubicBezTo>
                  <a:pt x="3" y="19"/>
                  <a:pt x="0" y="27"/>
                  <a:pt x="0" y="36"/>
                </a:cubicBezTo>
                <a:cubicBezTo>
                  <a:pt x="0" y="55"/>
                  <a:pt x="16" y="71"/>
                  <a:pt x="35" y="71"/>
                </a:cubicBezTo>
                <a:cubicBezTo>
                  <a:pt x="35" y="71"/>
                  <a:pt x="35" y="71"/>
                  <a:pt x="35" y="71"/>
                </a:cubicBezTo>
                <a:cubicBezTo>
                  <a:pt x="55" y="71"/>
                  <a:pt x="70" y="55"/>
                  <a:pt x="70" y="35"/>
                </a:cubicBezTo>
                <a:cubicBezTo>
                  <a:pt x="70" y="26"/>
                  <a:pt x="67" y="18"/>
                  <a:pt x="61" y="11"/>
                </a:cubicBezTo>
              </a:path>
            </a:pathLst>
          </a:custGeom>
          <a:solidFill>
            <a:schemeClr val="tx1"/>
          </a:solidFill>
          <a:ln>
            <a:noFill/>
          </a:ln>
        </p:spPr>
        <p:txBody>
          <a:bodyPr vert="horz" wrap="square" lIns="69953" tIns="34976" rIns="69953" bIns="34976" numCol="1" anchor="t" anchorCtr="0" compatLnSpc="1">
            <a:prstTxWarp prst="textNoShape">
              <a:avLst/>
            </a:prstTxWarp>
          </a:bodyPr>
          <a:lstStyle/>
          <a:p>
            <a:endParaRPr lang="en-US" sz="1350">
              <a:solidFill>
                <a:srgbClr val="000000"/>
              </a:solidFill>
            </a:endParaRPr>
          </a:p>
        </p:txBody>
      </p:sp>
      <p:sp>
        <p:nvSpPr>
          <p:cNvPr id="70" name="Freeform 21"/>
          <p:cNvSpPr>
            <a:spLocks noChangeAspect="1" noEditPoints="1"/>
          </p:cNvSpPr>
          <p:nvPr/>
        </p:nvSpPr>
        <p:spPr bwMode="black">
          <a:xfrm>
            <a:off x="242762" y="3875709"/>
            <a:ext cx="365760" cy="318790"/>
          </a:xfrm>
          <a:custGeom>
            <a:avLst/>
            <a:gdLst>
              <a:gd name="T0" fmla="*/ 1220 w 1220"/>
              <a:gd name="T1" fmla="*/ 204 h 1063"/>
              <a:gd name="T2" fmla="*/ 1096 w 1220"/>
              <a:gd name="T3" fmla="*/ 79 h 1063"/>
              <a:gd name="T4" fmla="*/ 978 w 1220"/>
              <a:gd name="T5" fmla="*/ 164 h 1063"/>
              <a:gd name="T6" fmla="*/ 589 w 1220"/>
              <a:gd name="T7" fmla="*/ 115 h 1063"/>
              <a:gd name="T8" fmla="*/ 465 w 1220"/>
              <a:gd name="T9" fmla="*/ 0 h 1063"/>
              <a:gd name="T10" fmla="*/ 340 w 1220"/>
              <a:gd name="T11" fmla="*/ 124 h 1063"/>
              <a:gd name="T12" fmla="*/ 370 w 1220"/>
              <a:gd name="T13" fmla="*/ 205 h 1063"/>
              <a:gd name="T14" fmla="*/ 180 w 1220"/>
              <a:gd name="T15" fmla="*/ 453 h 1063"/>
              <a:gd name="T16" fmla="*/ 125 w 1220"/>
              <a:gd name="T17" fmla="*/ 440 h 1063"/>
              <a:gd name="T18" fmla="*/ 0 w 1220"/>
              <a:gd name="T19" fmla="*/ 564 h 1063"/>
              <a:gd name="T20" fmla="*/ 125 w 1220"/>
              <a:gd name="T21" fmla="*/ 689 h 1063"/>
              <a:gd name="T22" fmla="*/ 197 w 1220"/>
              <a:gd name="T23" fmla="*/ 666 h 1063"/>
              <a:gd name="T24" fmla="*/ 416 w 1220"/>
              <a:gd name="T25" fmla="*/ 872 h 1063"/>
              <a:gd name="T26" fmla="*/ 397 w 1220"/>
              <a:gd name="T27" fmla="*/ 938 h 1063"/>
              <a:gd name="T28" fmla="*/ 521 w 1220"/>
              <a:gd name="T29" fmla="*/ 1063 h 1063"/>
              <a:gd name="T30" fmla="*/ 646 w 1220"/>
              <a:gd name="T31" fmla="*/ 938 h 1063"/>
              <a:gd name="T32" fmla="*/ 642 w 1220"/>
              <a:gd name="T33" fmla="*/ 908 h 1063"/>
              <a:gd name="T34" fmla="*/ 948 w 1220"/>
              <a:gd name="T35" fmla="*/ 763 h 1063"/>
              <a:gd name="T36" fmla="*/ 1048 w 1220"/>
              <a:gd name="T37" fmla="*/ 814 h 1063"/>
              <a:gd name="T38" fmla="*/ 1173 w 1220"/>
              <a:gd name="T39" fmla="*/ 689 h 1063"/>
              <a:gd name="T40" fmla="*/ 1084 w 1220"/>
              <a:gd name="T41" fmla="*/ 570 h 1063"/>
              <a:gd name="T42" fmla="*/ 1108 w 1220"/>
              <a:gd name="T43" fmla="*/ 327 h 1063"/>
              <a:gd name="T44" fmla="*/ 1220 w 1220"/>
              <a:gd name="T45" fmla="*/ 204 h 1063"/>
              <a:gd name="T46" fmla="*/ 521 w 1220"/>
              <a:gd name="T47" fmla="*/ 594 h 1063"/>
              <a:gd name="T48" fmla="*/ 493 w 1220"/>
              <a:gd name="T49" fmla="*/ 245 h 1063"/>
              <a:gd name="T50" fmla="*/ 535 w 1220"/>
              <a:gd name="T51" fmla="*/ 226 h 1063"/>
              <a:gd name="T52" fmla="*/ 944 w 1220"/>
              <a:gd name="T53" fmla="*/ 621 h 1063"/>
              <a:gd name="T54" fmla="*/ 930 w 1220"/>
              <a:gd name="T55" fmla="*/ 649 h 1063"/>
              <a:gd name="T56" fmla="*/ 521 w 1220"/>
              <a:gd name="T57" fmla="*/ 594 h 1063"/>
              <a:gd name="T58" fmla="*/ 490 w 1220"/>
              <a:gd name="T59" fmla="*/ 818 h 1063"/>
              <a:gd name="T60" fmla="*/ 449 w 1220"/>
              <a:gd name="T61" fmla="*/ 837 h 1063"/>
              <a:gd name="T62" fmla="*/ 230 w 1220"/>
              <a:gd name="T63" fmla="*/ 631 h 1063"/>
              <a:gd name="T64" fmla="*/ 242 w 1220"/>
              <a:gd name="T65" fmla="*/ 605 h 1063"/>
              <a:gd name="T66" fmla="*/ 476 w 1220"/>
              <a:gd name="T67" fmla="*/ 636 h 1063"/>
              <a:gd name="T68" fmla="*/ 490 w 1220"/>
              <a:gd name="T69" fmla="*/ 818 h 1063"/>
              <a:gd name="T70" fmla="*/ 249 w 1220"/>
              <a:gd name="T71" fmla="*/ 558 h 1063"/>
              <a:gd name="T72" fmla="*/ 218 w 1220"/>
              <a:gd name="T73" fmla="*/ 482 h 1063"/>
              <a:gd name="T74" fmla="*/ 408 w 1220"/>
              <a:gd name="T75" fmla="*/ 235 h 1063"/>
              <a:gd name="T76" fmla="*/ 445 w 1220"/>
              <a:gd name="T77" fmla="*/ 247 h 1063"/>
              <a:gd name="T78" fmla="*/ 472 w 1220"/>
              <a:gd name="T79" fmla="*/ 587 h 1063"/>
              <a:gd name="T80" fmla="*/ 249 w 1220"/>
              <a:gd name="T81" fmla="*/ 558 h 1063"/>
              <a:gd name="T82" fmla="*/ 977 w 1220"/>
              <a:gd name="T83" fmla="*/ 587 h 1063"/>
              <a:gd name="T84" fmla="*/ 569 w 1220"/>
              <a:gd name="T85" fmla="*/ 192 h 1063"/>
              <a:gd name="T86" fmla="*/ 583 w 1220"/>
              <a:gd name="T87" fmla="*/ 163 h 1063"/>
              <a:gd name="T88" fmla="*/ 972 w 1220"/>
              <a:gd name="T89" fmla="*/ 212 h 1063"/>
              <a:gd name="T90" fmla="*/ 1060 w 1220"/>
              <a:gd name="T91" fmla="*/ 323 h 1063"/>
              <a:gd name="T92" fmla="*/ 1036 w 1220"/>
              <a:gd name="T93" fmla="*/ 566 h 1063"/>
              <a:gd name="T94" fmla="*/ 977 w 1220"/>
              <a:gd name="T95" fmla="*/ 587 h 1063"/>
              <a:gd name="T96" fmla="*/ 621 w 1220"/>
              <a:gd name="T97" fmla="*/ 864 h 1063"/>
              <a:gd name="T98" fmla="*/ 538 w 1220"/>
              <a:gd name="T99" fmla="*/ 815 h 1063"/>
              <a:gd name="T100" fmla="*/ 524 w 1220"/>
              <a:gd name="T101" fmla="*/ 643 h 1063"/>
              <a:gd name="T102" fmla="*/ 924 w 1220"/>
              <a:gd name="T103" fmla="*/ 696 h 1063"/>
              <a:gd name="T104" fmla="*/ 927 w 1220"/>
              <a:gd name="T105" fmla="*/ 720 h 1063"/>
              <a:gd name="T106" fmla="*/ 621 w 1220"/>
              <a:gd name="T107" fmla="*/ 864 h 10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220" h="1063">
                <a:moveTo>
                  <a:pt x="1220" y="204"/>
                </a:moveTo>
                <a:cubicBezTo>
                  <a:pt x="1220" y="135"/>
                  <a:pt x="1164" y="79"/>
                  <a:pt x="1096" y="79"/>
                </a:cubicBezTo>
                <a:cubicBezTo>
                  <a:pt x="1041" y="79"/>
                  <a:pt x="994" y="115"/>
                  <a:pt x="978" y="164"/>
                </a:cubicBezTo>
                <a:cubicBezTo>
                  <a:pt x="589" y="115"/>
                  <a:pt x="589" y="115"/>
                  <a:pt x="589" y="115"/>
                </a:cubicBezTo>
                <a:cubicBezTo>
                  <a:pt x="584" y="51"/>
                  <a:pt x="530" y="0"/>
                  <a:pt x="465" y="0"/>
                </a:cubicBezTo>
                <a:cubicBezTo>
                  <a:pt x="396" y="0"/>
                  <a:pt x="340" y="55"/>
                  <a:pt x="340" y="124"/>
                </a:cubicBezTo>
                <a:cubicBezTo>
                  <a:pt x="340" y="155"/>
                  <a:pt x="352" y="183"/>
                  <a:pt x="370" y="205"/>
                </a:cubicBezTo>
                <a:cubicBezTo>
                  <a:pt x="180" y="453"/>
                  <a:pt x="180" y="453"/>
                  <a:pt x="180" y="453"/>
                </a:cubicBezTo>
                <a:cubicBezTo>
                  <a:pt x="163" y="445"/>
                  <a:pt x="145" y="440"/>
                  <a:pt x="125" y="440"/>
                </a:cubicBezTo>
                <a:cubicBezTo>
                  <a:pt x="56" y="440"/>
                  <a:pt x="0" y="496"/>
                  <a:pt x="0" y="564"/>
                </a:cubicBezTo>
                <a:cubicBezTo>
                  <a:pt x="0" y="633"/>
                  <a:pt x="56" y="689"/>
                  <a:pt x="125" y="689"/>
                </a:cubicBezTo>
                <a:cubicBezTo>
                  <a:pt x="152" y="689"/>
                  <a:pt x="177" y="680"/>
                  <a:pt x="197" y="666"/>
                </a:cubicBezTo>
                <a:cubicBezTo>
                  <a:pt x="416" y="872"/>
                  <a:pt x="416" y="872"/>
                  <a:pt x="416" y="872"/>
                </a:cubicBezTo>
                <a:cubicBezTo>
                  <a:pt x="404" y="891"/>
                  <a:pt x="397" y="914"/>
                  <a:pt x="397" y="938"/>
                </a:cubicBezTo>
                <a:cubicBezTo>
                  <a:pt x="397" y="1007"/>
                  <a:pt x="453" y="1063"/>
                  <a:pt x="521" y="1063"/>
                </a:cubicBezTo>
                <a:cubicBezTo>
                  <a:pt x="590" y="1063"/>
                  <a:pt x="646" y="1007"/>
                  <a:pt x="646" y="938"/>
                </a:cubicBezTo>
                <a:cubicBezTo>
                  <a:pt x="646" y="928"/>
                  <a:pt x="644" y="918"/>
                  <a:pt x="642" y="908"/>
                </a:cubicBezTo>
                <a:cubicBezTo>
                  <a:pt x="948" y="763"/>
                  <a:pt x="948" y="763"/>
                  <a:pt x="948" y="763"/>
                </a:cubicBezTo>
                <a:cubicBezTo>
                  <a:pt x="970" y="794"/>
                  <a:pt x="1007" y="814"/>
                  <a:pt x="1048" y="814"/>
                </a:cubicBezTo>
                <a:cubicBezTo>
                  <a:pt x="1117" y="814"/>
                  <a:pt x="1173" y="758"/>
                  <a:pt x="1173" y="689"/>
                </a:cubicBezTo>
                <a:cubicBezTo>
                  <a:pt x="1173" y="633"/>
                  <a:pt x="1135" y="586"/>
                  <a:pt x="1084" y="570"/>
                </a:cubicBezTo>
                <a:cubicBezTo>
                  <a:pt x="1108" y="327"/>
                  <a:pt x="1108" y="327"/>
                  <a:pt x="1108" y="327"/>
                </a:cubicBezTo>
                <a:cubicBezTo>
                  <a:pt x="1171" y="321"/>
                  <a:pt x="1220" y="268"/>
                  <a:pt x="1220" y="204"/>
                </a:cubicBezTo>
                <a:close/>
                <a:moveTo>
                  <a:pt x="521" y="594"/>
                </a:moveTo>
                <a:cubicBezTo>
                  <a:pt x="493" y="245"/>
                  <a:pt x="493" y="245"/>
                  <a:pt x="493" y="245"/>
                </a:cubicBezTo>
                <a:cubicBezTo>
                  <a:pt x="509" y="241"/>
                  <a:pt x="523" y="235"/>
                  <a:pt x="535" y="226"/>
                </a:cubicBezTo>
                <a:cubicBezTo>
                  <a:pt x="944" y="621"/>
                  <a:pt x="944" y="621"/>
                  <a:pt x="944" y="621"/>
                </a:cubicBezTo>
                <a:cubicBezTo>
                  <a:pt x="938" y="630"/>
                  <a:pt x="934" y="639"/>
                  <a:pt x="930" y="649"/>
                </a:cubicBezTo>
                <a:lnTo>
                  <a:pt x="521" y="594"/>
                </a:lnTo>
                <a:close/>
                <a:moveTo>
                  <a:pt x="490" y="818"/>
                </a:moveTo>
                <a:cubicBezTo>
                  <a:pt x="475" y="822"/>
                  <a:pt x="461" y="828"/>
                  <a:pt x="449" y="837"/>
                </a:cubicBezTo>
                <a:cubicBezTo>
                  <a:pt x="230" y="631"/>
                  <a:pt x="230" y="631"/>
                  <a:pt x="230" y="631"/>
                </a:cubicBezTo>
                <a:cubicBezTo>
                  <a:pt x="235" y="623"/>
                  <a:pt x="239" y="614"/>
                  <a:pt x="242" y="605"/>
                </a:cubicBezTo>
                <a:cubicBezTo>
                  <a:pt x="476" y="636"/>
                  <a:pt x="476" y="636"/>
                  <a:pt x="476" y="636"/>
                </a:cubicBezTo>
                <a:lnTo>
                  <a:pt x="490" y="818"/>
                </a:lnTo>
                <a:close/>
                <a:moveTo>
                  <a:pt x="249" y="558"/>
                </a:moveTo>
                <a:cubicBezTo>
                  <a:pt x="247" y="529"/>
                  <a:pt x="236" y="502"/>
                  <a:pt x="218" y="482"/>
                </a:cubicBezTo>
                <a:cubicBezTo>
                  <a:pt x="408" y="235"/>
                  <a:pt x="408" y="235"/>
                  <a:pt x="408" y="235"/>
                </a:cubicBezTo>
                <a:cubicBezTo>
                  <a:pt x="420" y="241"/>
                  <a:pt x="432" y="245"/>
                  <a:pt x="445" y="247"/>
                </a:cubicBezTo>
                <a:cubicBezTo>
                  <a:pt x="472" y="587"/>
                  <a:pt x="472" y="587"/>
                  <a:pt x="472" y="587"/>
                </a:cubicBezTo>
                <a:lnTo>
                  <a:pt x="249" y="558"/>
                </a:lnTo>
                <a:close/>
                <a:moveTo>
                  <a:pt x="977" y="587"/>
                </a:moveTo>
                <a:cubicBezTo>
                  <a:pt x="569" y="192"/>
                  <a:pt x="569" y="192"/>
                  <a:pt x="569" y="192"/>
                </a:cubicBezTo>
                <a:cubicBezTo>
                  <a:pt x="575" y="183"/>
                  <a:pt x="579" y="173"/>
                  <a:pt x="583" y="163"/>
                </a:cubicBezTo>
                <a:cubicBezTo>
                  <a:pt x="972" y="212"/>
                  <a:pt x="972" y="212"/>
                  <a:pt x="972" y="212"/>
                </a:cubicBezTo>
                <a:cubicBezTo>
                  <a:pt x="975" y="265"/>
                  <a:pt x="1011" y="308"/>
                  <a:pt x="1060" y="323"/>
                </a:cubicBezTo>
                <a:cubicBezTo>
                  <a:pt x="1036" y="566"/>
                  <a:pt x="1036" y="566"/>
                  <a:pt x="1036" y="566"/>
                </a:cubicBezTo>
                <a:cubicBezTo>
                  <a:pt x="1015" y="568"/>
                  <a:pt x="994" y="575"/>
                  <a:pt x="977" y="587"/>
                </a:cubicBezTo>
                <a:close/>
                <a:moveTo>
                  <a:pt x="621" y="864"/>
                </a:moveTo>
                <a:cubicBezTo>
                  <a:pt x="602" y="838"/>
                  <a:pt x="572" y="819"/>
                  <a:pt x="538" y="815"/>
                </a:cubicBezTo>
                <a:cubicBezTo>
                  <a:pt x="524" y="643"/>
                  <a:pt x="524" y="643"/>
                  <a:pt x="524" y="643"/>
                </a:cubicBezTo>
                <a:cubicBezTo>
                  <a:pt x="924" y="696"/>
                  <a:pt x="924" y="696"/>
                  <a:pt x="924" y="696"/>
                </a:cubicBezTo>
                <a:cubicBezTo>
                  <a:pt x="924" y="704"/>
                  <a:pt x="925" y="712"/>
                  <a:pt x="927" y="720"/>
                </a:cubicBezTo>
                <a:lnTo>
                  <a:pt x="621" y="864"/>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1177" tIns="56942" rIns="71177" bIns="56942" numCol="1" spcCol="0" rtlCol="0" fromWordArt="0" anchor="t" anchorCtr="0" forceAA="0" compatLnSpc="1">
            <a:prstTxWarp prst="textNoShape">
              <a:avLst/>
            </a:prstTxWarp>
            <a:noAutofit/>
          </a:bodyPr>
          <a:lstStyle/>
          <a:p>
            <a:pPr algn="ctr" defTabSz="362895" fontAlgn="base">
              <a:lnSpc>
                <a:spcPct val="90000"/>
              </a:lnSpc>
              <a:spcBef>
                <a:spcPct val="0"/>
              </a:spcBef>
              <a:spcAft>
                <a:spcPct val="0"/>
              </a:spcAft>
            </a:pPr>
            <a:endParaRPr lang="en-US" sz="934">
              <a:gradFill>
                <a:gsLst>
                  <a:gs pos="0">
                    <a:srgbClr val="FFFFFF"/>
                  </a:gs>
                  <a:gs pos="100000">
                    <a:srgbClr val="FFFFFF"/>
                  </a:gs>
                </a:gsLst>
                <a:lin ang="5400000" scaled="0"/>
              </a:gradFill>
              <a:ea typeface="Segoe UI" pitchFamily="34" charset="0"/>
              <a:cs typeface="Segoe UI" pitchFamily="34" charset="0"/>
            </a:endParaRPr>
          </a:p>
        </p:txBody>
      </p:sp>
      <p:sp>
        <p:nvSpPr>
          <p:cNvPr id="71" name="Freeform 70"/>
          <p:cNvSpPr>
            <a:spLocks noChangeAspect="1"/>
          </p:cNvSpPr>
          <p:nvPr/>
        </p:nvSpPr>
        <p:spPr bwMode="black">
          <a:xfrm>
            <a:off x="242762" y="5803220"/>
            <a:ext cx="365760" cy="320928"/>
          </a:xfrm>
          <a:custGeom>
            <a:avLst/>
            <a:gdLst/>
            <a:ahLst/>
            <a:cxnLst/>
            <a:rect l="l" t="t" r="r" b="b"/>
            <a:pathLst>
              <a:path w="4740335" h="4048081">
                <a:moveTo>
                  <a:pt x="3683614" y="1098549"/>
                </a:moveTo>
                <a:cubicBezTo>
                  <a:pt x="3683654" y="1098549"/>
                  <a:pt x="3689354" y="1098549"/>
                  <a:pt x="4502870" y="1098549"/>
                </a:cubicBezTo>
                <a:cubicBezTo>
                  <a:pt x="4633477" y="1098549"/>
                  <a:pt x="4740335" y="1205183"/>
                  <a:pt x="4740335" y="1335514"/>
                </a:cubicBezTo>
                <a:cubicBezTo>
                  <a:pt x="4740335" y="1335569"/>
                  <a:pt x="4740335" y="1343335"/>
                  <a:pt x="4740335" y="2449249"/>
                </a:cubicBezTo>
                <a:cubicBezTo>
                  <a:pt x="4740335" y="2579580"/>
                  <a:pt x="4633477" y="2686214"/>
                  <a:pt x="4502870" y="2686214"/>
                </a:cubicBezTo>
                <a:cubicBezTo>
                  <a:pt x="4502870" y="2686253"/>
                  <a:pt x="4502870" y="2691777"/>
                  <a:pt x="4502870" y="3480046"/>
                </a:cubicBezTo>
                <a:cubicBezTo>
                  <a:pt x="4502870" y="3610377"/>
                  <a:pt x="4396011" y="3717011"/>
                  <a:pt x="4265405" y="3717011"/>
                </a:cubicBezTo>
                <a:cubicBezTo>
                  <a:pt x="4265376" y="3717011"/>
                  <a:pt x="4262133" y="3717011"/>
                  <a:pt x="3909206" y="3717011"/>
                </a:cubicBezTo>
                <a:cubicBezTo>
                  <a:pt x="3790473" y="3717011"/>
                  <a:pt x="3683614" y="3610377"/>
                  <a:pt x="3683614" y="3480046"/>
                </a:cubicBezTo>
                <a:cubicBezTo>
                  <a:pt x="3683614" y="3480010"/>
                  <a:pt x="3683614" y="3474701"/>
                  <a:pt x="3683614" y="2686214"/>
                </a:cubicBezTo>
                <a:cubicBezTo>
                  <a:pt x="3553008" y="2686214"/>
                  <a:pt x="3446148" y="2579580"/>
                  <a:pt x="3446148" y="2449249"/>
                </a:cubicBezTo>
                <a:cubicBezTo>
                  <a:pt x="3446148" y="2449192"/>
                  <a:pt x="3446148" y="2441288"/>
                  <a:pt x="3446148" y="1335514"/>
                </a:cubicBezTo>
                <a:cubicBezTo>
                  <a:pt x="3446148" y="1205183"/>
                  <a:pt x="3553008" y="1098549"/>
                  <a:pt x="3683614" y="1098549"/>
                </a:cubicBezTo>
                <a:close/>
                <a:moveTo>
                  <a:pt x="236546" y="1098549"/>
                </a:moveTo>
                <a:cubicBezTo>
                  <a:pt x="236570" y="1098549"/>
                  <a:pt x="240947" y="1098549"/>
                  <a:pt x="1052628" y="1098549"/>
                </a:cubicBezTo>
                <a:cubicBezTo>
                  <a:pt x="1182728" y="1098549"/>
                  <a:pt x="1289174" y="1205183"/>
                  <a:pt x="1289174" y="1335514"/>
                </a:cubicBezTo>
                <a:cubicBezTo>
                  <a:pt x="1289174" y="1335532"/>
                  <a:pt x="1289174" y="1340039"/>
                  <a:pt x="1289174" y="2449249"/>
                </a:cubicBezTo>
                <a:cubicBezTo>
                  <a:pt x="1289174" y="2579580"/>
                  <a:pt x="1182728" y="2686214"/>
                  <a:pt x="1052628" y="2686214"/>
                </a:cubicBezTo>
                <a:cubicBezTo>
                  <a:pt x="1052628" y="2686235"/>
                  <a:pt x="1052628" y="2690268"/>
                  <a:pt x="1052628" y="3480046"/>
                </a:cubicBezTo>
                <a:cubicBezTo>
                  <a:pt x="1052628" y="3610377"/>
                  <a:pt x="946183" y="3717011"/>
                  <a:pt x="827910" y="3717011"/>
                </a:cubicBezTo>
                <a:cubicBezTo>
                  <a:pt x="827894" y="3717011"/>
                  <a:pt x="825508" y="3717011"/>
                  <a:pt x="473091" y="3717011"/>
                </a:cubicBezTo>
                <a:cubicBezTo>
                  <a:pt x="342991" y="3717011"/>
                  <a:pt x="236546" y="3610377"/>
                  <a:pt x="236546" y="3480046"/>
                </a:cubicBezTo>
                <a:cubicBezTo>
                  <a:pt x="236546" y="3480026"/>
                  <a:pt x="236546" y="3476021"/>
                  <a:pt x="236546" y="2686214"/>
                </a:cubicBezTo>
                <a:cubicBezTo>
                  <a:pt x="106446" y="2686214"/>
                  <a:pt x="0" y="2579580"/>
                  <a:pt x="0" y="2449249"/>
                </a:cubicBezTo>
                <a:cubicBezTo>
                  <a:pt x="0" y="2449230"/>
                  <a:pt x="0" y="2444630"/>
                  <a:pt x="0" y="1335514"/>
                </a:cubicBezTo>
                <a:cubicBezTo>
                  <a:pt x="0" y="1205183"/>
                  <a:pt x="106446" y="1098549"/>
                  <a:pt x="236546" y="1098549"/>
                </a:cubicBezTo>
                <a:close/>
                <a:moveTo>
                  <a:pt x="1895194" y="993211"/>
                </a:moveTo>
                <a:cubicBezTo>
                  <a:pt x="1895245" y="993211"/>
                  <a:pt x="1902161" y="993211"/>
                  <a:pt x="2845141" y="993211"/>
                </a:cubicBezTo>
                <a:cubicBezTo>
                  <a:pt x="2999507" y="993211"/>
                  <a:pt x="3130125" y="1123457"/>
                  <a:pt x="3130125" y="1277385"/>
                </a:cubicBezTo>
                <a:cubicBezTo>
                  <a:pt x="3130125" y="1277420"/>
                  <a:pt x="3130125" y="1284134"/>
                  <a:pt x="3130125" y="2568008"/>
                </a:cubicBezTo>
                <a:cubicBezTo>
                  <a:pt x="3130125" y="2721936"/>
                  <a:pt x="2999507" y="2852182"/>
                  <a:pt x="2845141" y="2852182"/>
                </a:cubicBezTo>
                <a:cubicBezTo>
                  <a:pt x="2845141" y="2852231"/>
                  <a:pt x="2845141" y="2858826"/>
                  <a:pt x="2845141" y="3763907"/>
                </a:cubicBezTo>
                <a:cubicBezTo>
                  <a:pt x="2845141" y="3917835"/>
                  <a:pt x="2726398" y="4048081"/>
                  <a:pt x="2572031" y="4048081"/>
                </a:cubicBezTo>
                <a:cubicBezTo>
                  <a:pt x="2571992" y="4048081"/>
                  <a:pt x="2568051" y="4048081"/>
                  <a:pt x="2168304" y="4048081"/>
                </a:cubicBezTo>
                <a:cubicBezTo>
                  <a:pt x="2013937" y="4048081"/>
                  <a:pt x="1895194" y="3917835"/>
                  <a:pt x="1895194" y="3763907"/>
                </a:cubicBezTo>
                <a:cubicBezTo>
                  <a:pt x="1895194" y="3763858"/>
                  <a:pt x="1895194" y="3757193"/>
                  <a:pt x="1895194" y="2852182"/>
                </a:cubicBezTo>
                <a:cubicBezTo>
                  <a:pt x="1740828" y="2852182"/>
                  <a:pt x="1610210" y="2721936"/>
                  <a:pt x="1610210" y="2568008"/>
                </a:cubicBezTo>
                <a:cubicBezTo>
                  <a:pt x="1610210" y="2567966"/>
                  <a:pt x="1610210" y="2560581"/>
                  <a:pt x="1610210" y="1277385"/>
                </a:cubicBezTo>
                <a:cubicBezTo>
                  <a:pt x="1610210" y="1123457"/>
                  <a:pt x="1740828" y="993211"/>
                  <a:pt x="1895194" y="993211"/>
                </a:cubicBezTo>
                <a:close/>
                <a:moveTo>
                  <a:pt x="4093246" y="245790"/>
                </a:moveTo>
                <a:cubicBezTo>
                  <a:pt x="4306565" y="245790"/>
                  <a:pt x="4479495" y="420965"/>
                  <a:pt x="4479495" y="637055"/>
                </a:cubicBezTo>
                <a:cubicBezTo>
                  <a:pt x="4479495" y="853145"/>
                  <a:pt x="4306565" y="1028320"/>
                  <a:pt x="4093246" y="1028320"/>
                </a:cubicBezTo>
                <a:cubicBezTo>
                  <a:pt x="3879927" y="1028320"/>
                  <a:pt x="3706997" y="853145"/>
                  <a:pt x="3706997" y="637055"/>
                </a:cubicBezTo>
                <a:cubicBezTo>
                  <a:pt x="3706997" y="420965"/>
                  <a:pt x="3879927" y="245790"/>
                  <a:pt x="4093246" y="245790"/>
                </a:cubicBezTo>
                <a:close/>
                <a:moveTo>
                  <a:pt x="644584" y="245790"/>
                </a:moveTo>
                <a:cubicBezTo>
                  <a:pt x="856519" y="245790"/>
                  <a:pt x="1028326" y="420965"/>
                  <a:pt x="1028326" y="637055"/>
                </a:cubicBezTo>
                <a:cubicBezTo>
                  <a:pt x="1028326" y="853145"/>
                  <a:pt x="856519" y="1028320"/>
                  <a:pt x="644584" y="1028320"/>
                </a:cubicBezTo>
                <a:cubicBezTo>
                  <a:pt x="432649" y="1028320"/>
                  <a:pt x="260842" y="853145"/>
                  <a:pt x="260842" y="637055"/>
                </a:cubicBezTo>
                <a:cubicBezTo>
                  <a:pt x="260842" y="420965"/>
                  <a:pt x="432649" y="245790"/>
                  <a:pt x="644584" y="245790"/>
                </a:cubicBezTo>
                <a:close/>
                <a:moveTo>
                  <a:pt x="2367657" y="0"/>
                </a:moveTo>
                <a:cubicBezTo>
                  <a:pt x="2616992" y="0"/>
                  <a:pt x="2819118" y="203249"/>
                  <a:pt x="2819118" y="453969"/>
                </a:cubicBezTo>
                <a:cubicBezTo>
                  <a:pt x="2819118" y="704689"/>
                  <a:pt x="2616992" y="907938"/>
                  <a:pt x="2367657" y="907938"/>
                </a:cubicBezTo>
                <a:cubicBezTo>
                  <a:pt x="2118322" y="907938"/>
                  <a:pt x="1916196" y="704689"/>
                  <a:pt x="1916196" y="453969"/>
                </a:cubicBezTo>
                <a:cubicBezTo>
                  <a:pt x="1916196" y="203249"/>
                  <a:pt x="2118322" y="0"/>
                  <a:pt x="2367657"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37148" tIns="109719" rIns="137148" bIns="109719"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699261" fontAlgn="base">
              <a:lnSpc>
                <a:spcPct val="90000"/>
              </a:lnSpc>
              <a:spcBef>
                <a:spcPct val="0"/>
              </a:spcBef>
              <a:spcAft>
                <a:spcPct val="0"/>
              </a:spcAft>
            </a:pPr>
            <a:endParaRPr lang="en-US">
              <a:gradFill>
                <a:gsLst>
                  <a:gs pos="0">
                    <a:srgbClr val="FFFFFF"/>
                  </a:gs>
                  <a:gs pos="100000">
                    <a:srgbClr val="FFFFFF"/>
                  </a:gs>
                </a:gsLst>
                <a:lin ang="5400000" scaled="0"/>
              </a:gradFill>
              <a:ea typeface="Segoe UI" pitchFamily="34" charset="0"/>
              <a:cs typeface="Segoe UI" pitchFamily="34" charset="0"/>
            </a:endParaRPr>
          </a:p>
        </p:txBody>
      </p:sp>
      <p:sp>
        <p:nvSpPr>
          <p:cNvPr id="74" name="Rectangle 73"/>
          <p:cNvSpPr/>
          <p:nvPr/>
        </p:nvSpPr>
        <p:spPr bwMode="auto">
          <a:xfrm>
            <a:off x="0" y="657642"/>
            <a:ext cx="2787733" cy="4917865"/>
          </a:xfrm>
          <a:prstGeom prst="rect">
            <a:avLst/>
          </a:prstGeom>
          <a:solidFill>
            <a:schemeClr val="tx1">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pic>
        <p:nvPicPr>
          <p:cNvPr id="66" name="Picture 65"/>
          <p:cNvPicPr>
            <a:picLocks noChangeAspect="1"/>
          </p:cNvPicPr>
          <p:nvPr/>
        </p:nvPicPr>
        <p:blipFill rotWithShape="1">
          <a:blip r:embed="rId5"/>
          <a:srcRect l="62627" t="662" r="1"/>
          <a:stretch/>
        </p:blipFill>
        <p:spPr>
          <a:xfrm>
            <a:off x="9451774" y="3730566"/>
            <a:ext cx="1828800" cy="2563890"/>
          </a:xfrm>
          <a:prstGeom prst="rect">
            <a:avLst/>
          </a:prstGeom>
          <a:ln>
            <a:solidFill>
              <a:schemeClr val="bg2">
                <a:lumMod val="90000"/>
              </a:schemeClr>
            </a:solidFill>
          </a:ln>
          <a:effectLst>
            <a:outerShdw blurRad="50800" dist="38100" dir="2700000" algn="tl" rotWithShape="0">
              <a:prstClr val="black">
                <a:alpha val="40000"/>
              </a:prstClr>
            </a:outerShdw>
          </a:effectLst>
        </p:spPr>
      </p:pic>
      <p:pic>
        <p:nvPicPr>
          <p:cNvPr id="65" name="Picture 64"/>
          <p:cNvPicPr>
            <a:picLocks noChangeAspect="1"/>
          </p:cNvPicPr>
          <p:nvPr/>
        </p:nvPicPr>
        <p:blipFill>
          <a:blip r:embed="rId6"/>
          <a:stretch>
            <a:fillRect/>
          </a:stretch>
        </p:blipFill>
        <p:spPr>
          <a:xfrm>
            <a:off x="8569238" y="1327675"/>
            <a:ext cx="3200400" cy="1927886"/>
          </a:xfrm>
          <a:prstGeom prst="rect">
            <a:avLst/>
          </a:prstGeom>
          <a:ln>
            <a:solidFill>
              <a:schemeClr val="tx2">
                <a:lumMod val="20000"/>
                <a:lumOff val="80000"/>
              </a:schemeClr>
            </a:solidFill>
          </a:ln>
        </p:spPr>
      </p:pic>
    </p:spTree>
    <p:extLst>
      <p:ext uri="{BB962C8B-B14F-4D97-AF65-F5344CB8AC3E}">
        <p14:creationId xmlns:p14="http://schemas.microsoft.com/office/powerpoint/2010/main" val="10721179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173775" y="4335"/>
            <a:ext cx="11887200" cy="646331"/>
          </a:xfrm>
          <a:prstGeom prst="rect">
            <a:avLst/>
          </a:prstGeom>
          <a:noFill/>
        </p:spPr>
        <p:txBody>
          <a:bodyPr wrap="square" lIns="91440" tIns="45720" rIns="91440" bIns="45720" rtlCol="0" anchor="t">
            <a:spAutoFit/>
          </a:bodyPr>
          <a:lstStyle/>
          <a:p>
            <a:r>
              <a:rPr lang="en-US" sz="3600">
                <a:solidFill>
                  <a:srgbClr val="000000"/>
                </a:solidFill>
                <a:latin typeface="Segoe UI Light"/>
              </a:rPr>
              <a:t>Common challenges for BI </a:t>
            </a:r>
            <a:endParaRPr lang="en-US" sz="3600" b="1">
              <a:solidFill>
                <a:srgbClr val="000000"/>
              </a:solidFill>
              <a:latin typeface="Segoe UI Light"/>
              <a:cs typeface="Segoe UI" panose="020B0502040204020203" pitchFamily="34" charset="0"/>
            </a:endParaRPr>
          </a:p>
        </p:txBody>
      </p:sp>
      <p:grpSp>
        <p:nvGrpSpPr>
          <p:cNvPr id="9" name="Group 8"/>
          <p:cNvGrpSpPr/>
          <p:nvPr/>
        </p:nvGrpSpPr>
        <p:grpSpPr>
          <a:xfrm>
            <a:off x="505215" y="2806009"/>
            <a:ext cx="11131423" cy="822960"/>
            <a:chOff x="505215" y="2806009"/>
            <a:chExt cx="11131423" cy="822960"/>
          </a:xfrm>
        </p:grpSpPr>
        <p:grpSp>
          <p:nvGrpSpPr>
            <p:cNvPr id="5" name="Group 4"/>
            <p:cNvGrpSpPr/>
            <p:nvPr/>
          </p:nvGrpSpPr>
          <p:grpSpPr>
            <a:xfrm>
              <a:off x="505215" y="2806009"/>
              <a:ext cx="11131423" cy="822960"/>
              <a:chOff x="505215" y="2806009"/>
              <a:chExt cx="11131423" cy="822960"/>
            </a:xfrm>
          </p:grpSpPr>
          <p:grpSp>
            <p:nvGrpSpPr>
              <p:cNvPr id="10" name="Group 11"/>
              <p:cNvGrpSpPr/>
              <p:nvPr/>
            </p:nvGrpSpPr>
            <p:grpSpPr>
              <a:xfrm>
                <a:off x="505215" y="2806009"/>
                <a:ext cx="11131423" cy="822960"/>
                <a:chOff x="419875" y="3545634"/>
                <a:chExt cx="11131423" cy="914400"/>
              </a:xfrm>
            </p:grpSpPr>
            <p:sp>
              <p:nvSpPr>
                <p:cNvPr id="11" name="Rectangle 12"/>
                <p:cNvSpPr/>
                <p:nvPr/>
              </p:nvSpPr>
              <p:spPr bwMode="auto">
                <a:xfrm>
                  <a:off x="1242835" y="3545634"/>
                  <a:ext cx="3891665" cy="914400"/>
                </a:xfrm>
                <a:prstGeom prst="rect">
                  <a:avLst/>
                </a:prstGeom>
                <a:solidFill>
                  <a:schemeClr val="tx1"/>
                </a:solidFill>
                <a:ln>
                  <a:solidFill>
                    <a:schemeClr val="bg2">
                      <a:lumMod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2400">
                      <a:solidFill>
                        <a:srgbClr val="EDC30D"/>
                      </a:solidFill>
                      <a:latin typeface="Segoe UI Light"/>
                      <a:ea typeface="Segoe UI" pitchFamily="34" charset="0"/>
                      <a:cs typeface="Segoe UI" pitchFamily="34" charset="0"/>
                    </a:rPr>
                    <a:t>Managing data in the cloud</a:t>
                  </a:r>
                </a:p>
              </p:txBody>
            </p:sp>
            <p:sp>
              <p:nvSpPr>
                <p:cNvPr id="12" name="Rectangle 13"/>
                <p:cNvSpPr/>
                <p:nvPr/>
              </p:nvSpPr>
              <p:spPr bwMode="auto">
                <a:xfrm>
                  <a:off x="5134500" y="3545634"/>
                  <a:ext cx="6416798" cy="914400"/>
                </a:xfrm>
                <a:prstGeom prst="rect">
                  <a:avLst/>
                </a:prstGeom>
                <a:solidFill>
                  <a:schemeClr val="bg1"/>
                </a:solidFill>
                <a:ln>
                  <a:solidFill>
                    <a:schemeClr val="bg2">
                      <a:lumMod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14367" fontAlgn="base">
                    <a:lnSpc>
                      <a:spcPct val="90000"/>
                    </a:lnSpc>
                    <a:spcBef>
                      <a:spcPct val="20000"/>
                    </a:spcBef>
                    <a:spcAft>
                      <a:spcPct val="0"/>
                    </a:spcAft>
                    <a:buSzPct val="90000"/>
                  </a:pPr>
                  <a:r>
                    <a:rPr lang="en-US" dirty="0">
                      <a:ln w="3175">
                        <a:noFill/>
                      </a:ln>
                      <a:solidFill>
                        <a:srgbClr val="000000"/>
                      </a:solidFill>
                      <a:latin typeface="Segoe UI Light"/>
                    </a:rPr>
                    <a:t>Security, privacy and data refresh concerns for moving data into the cloud</a:t>
                  </a:r>
                </a:p>
              </p:txBody>
            </p:sp>
            <p:sp>
              <p:nvSpPr>
                <p:cNvPr id="13" name="Rectangle 16"/>
                <p:cNvSpPr/>
                <p:nvPr/>
              </p:nvSpPr>
              <p:spPr bwMode="auto">
                <a:xfrm>
                  <a:off x="419875" y="3545634"/>
                  <a:ext cx="822960" cy="914400"/>
                </a:xfrm>
                <a:prstGeom prst="rect">
                  <a:avLst/>
                </a:prstGeom>
                <a:solidFill>
                  <a:srgbClr val="EDC30D"/>
                </a:solidFill>
                <a:ln>
                  <a:solidFill>
                    <a:schemeClr val="bg2">
                      <a:lumMod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endParaRPr lang="en-US" sz="3200">
                    <a:solidFill>
                      <a:srgbClr val="000000"/>
                    </a:solidFill>
                    <a:ea typeface="Segoe UI" pitchFamily="34" charset="0"/>
                    <a:cs typeface="Segoe UI" pitchFamily="34" charset="0"/>
                  </a:endParaRPr>
                </a:p>
              </p:txBody>
            </p:sp>
          </p:grpSp>
          <p:pic>
            <p:nvPicPr>
              <p:cNvPr id="36" name="Picture 6" descr="\\MAGNUM\Projects\Microsoft\Cloud Power FY12\Design\ICONS_PNG\Cloud.png"/>
              <p:cNvPicPr>
                <a:picLocks noChangeAspect="1" noChangeArrowheads="1"/>
              </p:cNvPicPr>
              <p:nvPr/>
            </p:nvPicPr>
            <p:blipFill>
              <a:blip r:embed="rId3" cstate="print">
                <a:biLevel thresh="75000"/>
              </a:blip>
              <a:srcRect/>
              <a:stretch>
                <a:fillRect/>
              </a:stretch>
            </p:blipFill>
            <p:spPr bwMode="auto">
              <a:xfrm>
                <a:off x="591078" y="2897449"/>
                <a:ext cx="640080" cy="640080"/>
              </a:xfrm>
              <a:prstGeom prst="rect">
                <a:avLst/>
              </a:prstGeom>
              <a:noFill/>
            </p:spPr>
          </p:pic>
        </p:grpSp>
        <p:pic>
          <p:nvPicPr>
            <p:cNvPr id="37" name="Picture 36"/>
            <p:cNvPicPr>
              <a:picLocks noChangeAspect="1"/>
            </p:cNvPicPr>
            <p:nvPr/>
          </p:nvPicPr>
          <p:blipFill>
            <a:blip r:embed="rId4"/>
            <a:stretch>
              <a:fillRect/>
            </a:stretch>
          </p:blipFill>
          <p:spPr>
            <a:xfrm flipH="1">
              <a:off x="847618" y="3129672"/>
              <a:ext cx="127000" cy="175846"/>
            </a:xfrm>
            <a:prstGeom prst="rect">
              <a:avLst/>
            </a:prstGeom>
          </p:spPr>
        </p:pic>
      </p:grpSp>
      <p:grpSp>
        <p:nvGrpSpPr>
          <p:cNvPr id="8" name="Group 7"/>
          <p:cNvGrpSpPr/>
          <p:nvPr/>
        </p:nvGrpSpPr>
        <p:grpSpPr>
          <a:xfrm>
            <a:off x="505215" y="5549849"/>
            <a:ext cx="11131423" cy="822960"/>
            <a:chOff x="505215" y="5549849"/>
            <a:chExt cx="11131423" cy="822960"/>
          </a:xfrm>
        </p:grpSpPr>
        <p:grpSp>
          <p:nvGrpSpPr>
            <p:cNvPr id="22" name="Group 24"/>
            <p:cNvGrpSpPr/>
            <p:nvPr/>
          </p:nvGrpSpPr>
          <p:grpSpPr>
            <a:xfrm>
              <a:off x="505215" y="5549849"/>
              <a:ext cx="11131423" cy="822960"/>
              <a:chOff x="419875" y="4721288"/>
              <a:chExt cx="11131423" cy="1690145"/>
            </a:xfrm>
          </p:grpSpPr>
          <p:sp>
            <p:nvSpPr>
              <p:cNvPr id="23" name="Rectangle 25"/>
              <p:cNvSpPr/>
              <p:nvPr/>
            </p:nvSpPr>
            <p:spPr bwMode="auto">
              <a:xfrm>
                <a:off x="1242835" y="4721288"/>
                <a:ext cx="3891665" cy="1690145"/>
              </a:xfrm>
              <a:prstGeom prst="rect">
                <a:avLst/>
              </a:prstGeom>
              <a:solidFill>
                <a:schemeClr val="tx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2400">
                    <a:solidFill>
                      <a:srgbClr val="EDC30D"/>
                    </a:solidFill>
                    <a:latin typeface="Segoe UI Light"/>
                    <a:ea typeface="Segoe UI" pitchFamily="34" charset="0"/>
                    <a:cs typeface="Segoe UI" pitchFamily="34" charset="0"/>
                  </a:rPr>
                  <a:t>Ease of use and adoption</a:t>
                </a:r>
              </a:p>
            </p:txBody>
          </p:sp>
          <p:sp>
            <p:nvSpPr>
              <p:cNvPr id="24" name="Rectangle 26"/>
              <p:cNvSpPr/>
              <p:nvPr/>
            </p:nvSpPr>
            <p:spPr bwMode="auto">
              <a:xfrm>
                <a:off x="5134500" y="4721288"/>
                <a:ext cx="6416798" cy="1690145"/>
              </a:xfrm>
              <a:prstGeom prst="rect">
                <a:avLst/>
              </a:prstGeom>
              <a:solidFill>
                <a:schemeClr val="bg1"/>
              </a:solidFill>
              <a:ln>
                <a:solidFill>
                  <a:schemeClr val="bg2">
                    <a:lumMod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14367" fontAlgn="base">
                  <a:lnSpc>
                    <a:spcPct val="90000"/>
                  </a:lnSpc>
                  <a:spcBef>
                    <a:spcPct val="20000"/>
                  </a:spcBef>
                  <a:spcAft>
                    <a:spcPct val="0"/>
                  </a:spcAft>
                  <a:buSzPct val="90000"/>
                </a:pPr>
                <a:r>
                  <a:rPr lang="en-US">
                    <a:ln w="3175">
                      <a:noFill/>
                    </a:ln>
                    <a:solidFill>
                      <a:srgbClr val="000000"/>
                    </a:solidFill>
                    <a:latin typeface="Segoe UI Light"/>
                  </a:rPr>
                  <a:t>Ease of adoption by business and IT orgs. Time spent on creating reports and visualizations</a:t>
                </a:r>
              </a:p>
            </p:txBody>
          </p:sp>
          <p:sp>
            <p:nvSpPr>
              <p:cNvPr id="25" name="Rectangle 27"/>
              <p:cNvSpPr/>
              <p:nvPr/>
            </p:nvSpPr>
            <p:spPr bwMode="auto">
              <a:xfrm>
                <a:off x="419875" y="4721288"/>
                <a:ext cx="822960" cy="1690145"/>
              </a:xfrm>
              <a:prstGeom prst="rect">
                <a:avLst/>
              </a:prstGeom>
              <a:solidFill>
                <a:srgbClr val="EDC30D"/>
              </a:solidFill>
              <a:ln>
                <a:solidFill>
                  <a:schemeClr val="bg2">
                    <a:lumMod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endParaRPr lang="en-US" sz="3200">
                  <a:solidFill>
                    <a:srgbClr val="000000"/>
                  </a:solidFill>
                  <a:ea typeface="Segoe UI" pitchFamily="34" charset="0"/>
                  <a:cs typeface="Segoe UI" pitchFamily="34" charset="0"/>
                </a:endParaRPr>
              </a:p>
            </p:txBody>
          </p:sp>
        </p:grpSp>
        <p:sp>
          <p:nvSpPr>
            <p:cNvPr id="40" name="Freeform 39"/>
            <p:cNvSpPr>
              <a:spLocks noChangeAspect="1"/>
            </p:cNvSpPr>
            <p:nvPr/>
          </p:nvSpPr>
          <p:spPr bwMode="black">
            <a:xfrm>
              <a:off x="682518" y="5760749"/>
              <a:ext cx="457200" cy="401160"/>
            </a:xfrm>
            <a:custGeom>
              <a:avLst/>
              <a:gdLst/>
              <a:ahLst/>
              <a:cxnLst/>
              <a:rect l="l" t="t" r="r" b="b"/>
              <a:pathLst>
                <a:path w="4740335" h="4048081">
                  <a:moveTo>
                    <a:pt x="3683614" y="1098549"/>
                  </a:moveTo>
                  <a:cubicBezTo>
                    <a:pt x="3683654" y="1098549"/>
                    <a:pt x="3689354" y="1098549"/>
                    <a:pt x="4502870" y="1098549"/>
                  </a:cubicBezTo>
                  <a:cubicBezTo>
                    <a:pt x="4633477" y="1098549"/>
                    <a:pt x="4740335" y="1205183"/>
                    <a:pt x="4740335" y="1335514"/>
                  </a:cubicBezTo>
                  <a:cubicBezTo>
                    <a:pt x="4740335" y="1335569"/>
                    <a:pt x="4740335" y="1343335"/>
                    <a:pt x="4740335" y="2449249"/>
                  </a:cubicBezTo>
                  <a:cubicBezTo>
                    <a:pt x="4740335" y="2579580"/>
                    <a:pt x="4633477" y="2686214"/>
                    <a:pt x="4502870" y="2686214"/>
                  </a:cubicBezTo>
                  <a:cubicBezTo>
                    <a:pt x="4502870" y="2686253"/>
                    <a:pt x="4502870" y="2691777"/>
                    <a:pt x="4502870" y="3480046"/>
                  </a:cubicBezTo>
                  <a:cubicBezTo>
                    <a:pt x="4502870" y="3610377"/>
                    <a:pt x="4396011" y="3717011"/>
                    <a:pt x="4265405" y="3717011"/>
                  </a:cubicBezTo>
                  <a:cubicBezTo>
                    <a:pt x="4265376" y="3717011"/>
                    <a:pt x="4262133" y="3717011"/>
                    <a:pt x="3909206" y="3717011"/>
                  </a:cubicBezTo>
                  <a:cubicBezTo>
                    <a:pt x="3790473" y="3717011"/>
                    <a:pt x="3683614" y="3610377"/>
                    <a:pt x="3683614" y="3480046"/>
                  </a:cubicBezTo>
                  <a:cubicBezTo>
                    <a:pt x="3683614" y="3480010"/>
                    <a:pt x="3683614" y="3474701"/>
                    <a:pt x="3683614" y="2686214"/>
                  </a:cubicBezTo>
                  <a:cubicBezTo>
                    <a:pt x="3553008" y="2686214"/>
                    <a:pt x="3446148" y="2579580"/>
                    <a:pt x="3446148" y="2449249"/>
                  </a:cubicBezTo>
                  <a:cubicBezTo>
                    <a:pt x="3446148" y="2449192"/>
                    <a:pt x="3446148" y="2441288"/>
                    <a:pt x="3446148" y="1335514"/>
                  </a:cubicBezTo>
                  <a:cubicBezTo>
                    <a:pt x="3446148" y="1205183"/>
                    <a:pt x="3553008" y="1098549"/>
                    <a:pt x="3683614" y="1098549"/>
                  </a:cubicBezTo>
                  <a:close/>
                  <a:moveTo>
                    <a:pt x="236546" y="1098549"/>
                  </a:moveTo>
                  <a:cubicBezTo>
                    <a:pt x="236570" y="1098549"/>
                    <a:pt x="240947" y="1098549"/>
                    <a:pt x="1052628" y="1098549"/>
                  </a:cubicBezTo>
                  <a:cubicBezTo>
                    <a:pt x="1182728" y="1098549"/>
                    <a:pt x="1289174" y="1205183"/>
                    <a:pt x="1289174" y="1335514"/>
                  </a:cubicBezTo>
                  <a:cubicBezTo>
                    <a:pt x="1289174" y="1335532"/>
                    <a:pt x="1289174" y="1340039"/>
                    <a:pt x="1289174" y="2449249"/>
                  </a:cubicBezTo>
                  <a:cubicBezTo>
                    <a:pt x="1289174" y="2579580"/>
                    <a:pt x="1182728" y="2686214"/>
                    <a:pt x="1052628" y="2686214"/>
                  </a:cubicBezTo>
                  <a:cubicBezTo>
                    <a:pt x="1052628" y="2686235"/>
                    <a:pt x="1052628" y="2690268"/>
                    <a:pt x="1052628" y="3480046"/>
                  </a:cubicBezTo>
                  <a:cubicBezTo>
                    <a:pt x="1052628" y="3610377"/>
                    <a:pt x="946183" y="3717011"/>
                    <a:pt x="827910" y="3717011"/>
                  </a:cubicBezTo>
                  <a:cubicBezTo>
                    <a:pt x="827894" y="3717011"/>
                    <a:pt x="825508" y="3717011"/>
                    <a:pt x="473091" y="3717011"/>
                  </a:cubicBezTo>
                  <a:cubicBezTo>
                    <a:pt x="342991" y="3717011"/>
                    <a:pt x="236546" y="3610377"/>
                    <a:pt x="236546" y="3480046"/>
                  </a:cubicBezTo>
                  <a:cubicBezTo>
                    <a:pt x="236546" y="3480026"/>
                    <a:pt x="236546" y="3476021"/>
                    <a:pt x="236546" y="2686214"/>
                  </a:cubicBezTo>
                  <a:cubicBezTo>
                    <a:pt x="106446" y="2686214"/>
                    <a:pt x="0" y="2579580"/>
                    <a:pt x="0" y="2449249"/>
                  </a:cubicBezTo>
                  <a:cubicBezTo>
                    <a:pt x="0" y="2449230"/>
                    <a:pt x="0" y="2444630"/>
                    <a:pt x="0" y="1335514"/>
                  </a:cubicBezTo>
                  <a:cubicBezTo>
                    <a:pt x="0" y="1205183"/>
                    <a:pt x="106446" y="1098549"/>
                    <a:pt x="236546" y="1098549"/>
                  </a:cubicBezTo>
                  <a:close/>
                  <a:moveTo>
                    <a:pt x="1895194" y="993211"/>
                  </a:moveTo>
                  <a:cubicBezTo>
                    <a:pt x="1895245" y="993211"/>
                    <a:pt x="1902161" y="993211"/>
                    <a:pt x="2845141" y="993211"/>
                  </a:cubicBezTo>
                  <a:cubicBezTo>
                    <a:pt x="2999507" y="993211"/>
                    <a:pt x="3130125" y="1123457"/>
                    <a:pt x="3130125" y="1277385"/>
                  </a:cubicBezTo>
                  <a:cubicBezTo>
                    <a:pt x="3130125" y="1277420"/>
                    <a:pt x="3130125" y="1284134"/>
                    <a:pt x="3130125" y="2568008"/>
                  </a:cubicBezTo>
                  <a:cubicBezTo>
                    <a:pt x="3130125" y="2721936"/>
                    <a:pt x="2999507" y="2852182"/>
                    <a:pt x="2845141" y="2852182"/>
                  </a:cubicBezTo>
                  <a:cubicBezTo>
                    <a:pt x="2845141" y="2852231"/>
                    <a:pt x="2845141" y="2858826"/>
                    <a:pt x="2845141" y="3763907"/>
                  </a:cubicBezTo>
                  <a:cubicBezTo>
                    <a:pt x="2845141" y="3917835"/>
                    <a:pt x="2726398" y="4048081"/>
                    <a:pt x="2572031" y="4048081"/>
                  </a:cubicBezTo>
                  <a:cubicBezTo>
                    <a:pt x="2571992" y="4048081"/>
                    <a:pt x="2568051" y="4048081"/>
                    <a:pt x="2168304" y="4048081"/>
                  </a:cubicBezTo>
                  <a:cubicBezTo>
                    <a:pt x="2013937" y="4048081"/>
                    <a:pt x="1895194" y="3917835"/>
                    <a:pt x="1895194" y="3763907"/>
                  </a:cubicBezTo>
                  <a:cubicBezTo>
                    <a:pt x="1895194" y="3763858"/>
                    <a:pt x="1895194" y="3757193"/>
                    <a:pt x="1895194" y="2852182"/>
                  </a:cubicBezTo>
                  <a:cubicBezTo>
                    <a:pt x="1740828" y="2852182"/>
                    <a:pt x="1610210" y="2721936"/>
                    <a:pt x="1610210" y="2568008"/>
                  </a:cubicBezTo>
                  <a:cubicBezTo>
                    <a:pt x="1610210" y="2567966"/>
                    <a:pt x="1610210" y="2560581"/>
                    <a:pt x="1610210" y="1277385"/>
                  </a:cubicBezTo>
                  <a:cubicBezTo>
                    <a:pt x="1610210" y="1123457"/>
                    <a:pt x="1740828" y="993211"/>
                    <a:pt x="1895194" y="993211"/>
                  </a:cubicBezTo>
                  <a:close/>
                  <a:moveTo>
                    <a:pt x="4093246" y="245790"/>
                  </a:moveTo>
                  <a:cubicBezTo>
                    <a:pt x="4306565" y="245790"/>
                    <a:pt x="4479495" y="420965"/>
                    <a:pt x="4479495" y="637055"/>
                  </a:cubicBezTo>
                  <a:cubicBezTo>
                    <a:pt x="4479495" y="853145"/>
                    <a:pt x="4306565" y="1028320"/>
                    <a:pt x="4093246" y="1028320"/>
                  </a:cubicBezTo>
                  <a:cubicBezTo>
                    <a:pt x="3879927" y="1028320"/>
                    <a:pt x="3706997" y="853145"/>
                    <a:pt x="3706997" y="637055"/>
                  </a:cubicBezTo>
                  <a:cubicBezTo>
                    <a:pt x="3706997" y="420965"/>
                    <a:pt x="3879927" y="245790"/>
                    <a:pt x="4093246" y="245790"/>
                  </a:cubicBezTo>
                  <a:close/>
                  <a:moveTo>
                    <a:pt x="644584" y="245790"/>
                  </a:moveTo>
                  <a:cubicBezTo>
                    <a:pt x="856519" y="245790"/>
                    <a:pt x="1028326" y="420965"/>
                    <a:pt x="1028326" y="637055"/>
                  </a:cubicBezTo>
                  <a:cubicBezTo>
                    <a:pt x="1028326" y="853145"/>
                    <a:pt x="856519" y="1028320"/>
                    <a:pt x="644584" y="1028320"/>
                  </a:cubicBezTo>
                  <a:cubicBezTo>
                    <a:pt x="432649" y="1028320"/>
                    <a:pt x="260842" y="853145"/>
                    <a:pt x="260842" y="637055"/>
                  </a:cubicBezTo>
                  <a:cubicBezTo>
                    <a:pt x="260842" y="420965"/>
                    <a:pt x="432649" y="245790"/>
                    <a:pt x="644584" y="245790"/>
                  </a:cubicBezTo>
                  <a:close/>
                  <a:moveTo>
                    <a:pt x="2367657" y="0"/>
                  </a:moveTo>
                  <a:cubicBezTo>
                    <a:pt x="2616992" y="0"/>
                    <a:pt x="2819118" y="203249"/>
                    <a:pt x="2819118" y="453969"/>
                  </a:cubicBezTo>
                  <a:cubicBezTo>
                    <a:pt x="2819118" y="704689"/>
                    <a:pt x="2616992" y="907938"/>
                    <a:pt x="2367657" y="907938"/>
                  </a:cubicBezTo>
                  <a:cubicBezTo>
                    <a:pt x="2118322" y="907938"/>
                    <a:pt x="1916196" y="704689"/>
                    <a:pt x="1916196" y="453969"/>
                  </a:cubicBezTo>
                  <a:cubicBezTo>
                    <a:pt x="1916196" y="203249"/>
                    <a:pt x="2118322" y="0"/>
                    <a:pt x="2367657"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37148" tIns="109719" rIns="137148" bIns="109719"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699261" fontAlgn="base">
                <a:lnSpc>
                  <a:spcPct val="90000"/>
                </a:lnSpc>
                <a:spcBef>
                  <a:spcPct val="0"/>
                </a:spcBef>
                <a:spcAft>
                  <a:spcPct val="0"/>
                </a:spcAft>
              </a:pPr>
              <a:endParaRPr lang="en-US">
                <a:gradFill>
                  <a:gsLst>
                    <a:gs pos="0">
                      <a:srgbClr val="FFFFFF"/>
                    </a:gs>
                    <a:gs pos="100000">
                      <a:srgbClr val="FFFFFF"/>
                    </a:gs>
                  </a:gsLst>
                  <a:lin ang="5400000" scaled="0"/>
                </a:gradFill>
                <a:ea typeface="Segoe UI" pitchFamily="34" charset="0"/>
                <a:cs typeface="Segoe UI" pitchFamily="34" charset="0"/>
              </a:endParaRPr>
            </a:p>
          </p:txBody>
        </p:sp>
      </p:grpSp>
      <p:grpSp>
        <p:nvGrpSpPr>
          <p:cNvPr id="34" name="Group 33"/>
          <p:cNvGrpSpPr/>
          <p:nvPr/>
        </p:nvGrpSpPr>
        <p:grpSpPr>
          <a:xfrm>
            <a:off x="505215" y="4635237"/>
            <a:ext cx="11131423" cy="822960"/>
            <a:chOff x="505215" y="4635237"/>
            <a:chExt cx="11131423" cy="822960"/>
          </a:xfrm>
        </p:grpSpPr>
        <p:grpSp>
          <p:nvGrpSpPr>
            <p:cNvPr id="30" name="Group 24"/>
            <p:cNvGrpSpPr/>
            <p:nvPr/>
          </p:nvGrpSpPr>
          <p:grpSpPr>
            <a:xfrm>
              <a:off x="505215" y="4635237"/>
              <a:ext cx="11131423" cy="822960"/>
              <a:chOff x="419875" y="4721288"/>
              <a:chExt cx="11131423" cy="1690145"/>
            </a:xfrm>
          </p:grpSpPr>
          <p:sp>
            <p:nvSpPr>
              <p:cNvPr id="31" name="Rectangle 25"/>
              <p:cNvSpPr/>
              <p:nvPr/>
            </p:nvSpPr>
            <p:spPr bwMode="auto">
              <a:xfrm>
                <a:off x="1242835" y="4721288"/>
                <a:ext cx="3891665" cy="1690145"/>
              </a:xfrm>
              <a:prstGeom prst="rect">
                <a:avLst/>
              </a:prstGeom>
              <a:solidFill>
                <a:schemeClr val="tx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2400">
                    <a:solidFill>
                      <a:srgbClr val="EDC30D"/>
                    </a:solidFill>
                    <a:latin typeface="Segoe UI Light"/>
                    <a:ea typeface="Segoe UI" pitchFamily="34" charset="0"/>
                    <a:cs typeface="Segoe UI" pitchFamily="34" charset="0"/>
                  </a:rPr>
                  <a:t>Keeping data current</a:t>
                </a:r>
              </a:p>
            </p:txBody>
          </p:sp>
          <p:sp>
            <p:nvSpPr>
              <p:cNvPr id="32" name="Rectangle 26"/>
              <p:cNvSpPr/>
              <p:nvPr/>
            </p:nvSpPr>
            <p:spPr bwMode="auto">
              <a:xfrm>
                <a:off x="5134500" y="4721288"/>
                <a:ext cx="6416798" cy="1690145"/>
              </a:xfrm>
              <a:prstGeom prst="rect">
                <a:avLst/>
              </a:prstGeom>
              <a:solidFill>
                <a:schemeClr val="bg1"/>
              </a:solidFill>
              <a:ln>
                <a:solidFill>
                  <a:schemeClr val="bg2">
                    <a:lumMod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14367" fontAlgn="base">
                  <a:lnSpc>
                    <a:spcPct val="90000"/>
                  </a:lnSpc>
                  <a:spcBef>
                    <a:spcPct val="20000"/>
                  </a:spcBef>
                  <a:spcAft>
                    <a:spcPct val="0"/>
                  </a:spcAft>
                  <a:buSzPct val="90000"/>
                </a:pPr>
                <a:r>
                  <a:rPr lang="en-US">
                    <a:ln w="3175">
                      <a:noFill/>
                    </a:ln>
                    <a:solidFill>
                      <a:srgbClr val="000000"/>
                    </a:solidFill>
                    <a:latin typeface="Segoe UI Light"/>
                  </a:rPr>
                  <a:t>Complexity of refreshing data from variety of data sources, increased demand for real-time data</a:t>
                </a:r>
              </a:p>
            </p:txBody>
          </p:sp>
          <p:sp>
            <p:nvSpPr>
              <p:cNvPr id="33" name="Rectangle 27"/>
              <p:cNvSpPr/>
              <p:nvPr/>
            </p:nvSpPr>
            <p:spPr bwMode="auto">
              <a:xfrm>
                <a:off x="419875" y="4721288"/>
                <a:ext cx="822960" cy="1690145"/>
              </a:xfrm>
              <a:prstGeom prst="rect">
                <a:avLst/>
              </a:prstGeom>
              <a:solidFill>
                <a:srgbClr val="EDC30D"/>
              </a:solidFill>
              <a:ln>
                <a:solidFill>
                  <a:schemeClr val="bg2">
                    <a:lumMod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endParaRPr lang="en-US" sz="3600">
                  <a:solidFill>
                    <a:srgbClr val="000000"/>
                  </a:solidFill>
                  <a:ea typeface="Segoe UI" pitchFamily="34" charset="0"/>
                  <a:cs typeface="Segoe UI" pitchFamily="34" charset="0"/>
                </a:endParaRPr>
              </a:p>
            </p:txBody>
          </p:sp>
        </p:grpSp>
        <p:sp>
          <p:nvSpPr>
            <p:cNvPr id="41" name="Freeform 122"/>
            <p:cNvSpPr>
              <a:spLocks noChangeAspect="1"/>
            </p:cNvSpPr>
            <p:nvPr/>
          </p:nvSpPr>
          <p:spPr bwMode="black">
            <a:xfrm>
              <a:off x="728238" y="4862260"/>
              <a:ext cx="365760" cy="368913"/>
            </a:xfrm>
            <a:custGeom>
              <a:avLst/>
              <a:gdLst>
                <a:gd name="T0" fmla="*/ 61 w 70"/>
                <a:gd name="T1" fmla="*/ 11 h 71"/>
                <a:gd name="T2" fmla="*/ 60 w 70"/>
                <a:gd name="T3" fmla="*/ 11 h 71"/>
                <a:gd name="T4" fmla="*/ 53 w 70"/>
                <a:gd name="T5" fmla="*/ 18 h 71"/>
                <a:gd name="T6" fmla="*/ 53 w 70"/>
                <a:gd name="T7" fmla="*/ 19 h 71"/>
                <a:gd name="T8" fmla="*/ 53 w 70"/>
                <a:gd name="T9" fmla="*/ 19 h 71"/>
                <a:gd name="T10" fmla="*/ 60 w 70"/>
                <a:gd name="T11" fmla="*/ 35 h 71"/>
                <a:gd name="T12" fmla="*/ 35 w 70"/>
                <a:gd name="T13" fmla="*/ 60 h 71"/>
                <a:gd name="T14" fmla="*/ 10 w 70"/>
                <a:gd name="T15" fmla="*/ 36 h 71"/>
                <a:gd name="T16" fmla="*/ 16 w 70"/>
                <a:gd name="T17" fmla="*/ 21 h 71"/>
                <a:gd name="T18" fmla="*/ 18 w 70"/>
                <a:gd name="T19" fmla="*/ 18 h 71"/>
                <a:gd name="T20" fmla="*/ 25 w 70"/>
                <a:gd name="T21" fmla="*/ 26 h 71"/>
                <a:gd name="T22" fmla="*/ 30 w 70"/>
                <a:gd name="T23" fmla="*/ 0 h 71"/>
                <a:gd name="T24" fmla="*/ 4 w 70"/>
                <a:gd name="T25" fmla="*/ 2 h 71"/>
                <a:gd name="T26" fmla="*/ 11 w 70"/>
                <a:gd name="T27" fmla="*/ 10 h 71"/>
                <a:gd name="T28" fmla="*/ 9 w 70"/>
                <a:gd name="T29" fmla="*/ 12 h 71"/>
                <a:gd name="T30" fmla="*/ 0 w 70"/>
                <a:gd name="T31" fmla="*/ 36 h 71"/>
                <a:gd name="T32" fmla="*/ 35 w 70"/>
                <a:gd name="T33" fmla="*/ 71 h 71"/>
                <a:gd name="T34" fmla="*/ 35 w 70"/>
                <a:gd name="T35" fmla="*/ 71 h 71"/>
                <a:gd name="T36" fmla="*/ 70 w 70"/>
                <a:gd name="T37" fmla="*/ 35 h 71"/>
                <a:gd name="T38" fmla="*/ 61 w 70"/>
                <a:gd name="T39" fmla="*/ 1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0" h="71">
                  <a:moveTo>
                    <a:pt x="61" y="11"/>
                  </a:moveTo>
                  <a:cubicBezTo>
                    <a:pt x="60" y="11"/>
                    <a:pt x="60" y="11"/>
                    <a:pt x="60" y="11"/>
                  </a:cubicBezTo>
                  <a:cubicBezTo>
                    <a:pt x="53" y="18"/>
                    <a:pt x="53" y="18"/>
                    <a:pt x="53" y="18"/>
                  </a:cubicBezTo>
                  <a:cubicBezTo>
                    <a:pt x="53" y="19"/>
                    <a:pt x="53" y="19"/>
                    <a:pt x="53" y="19"/>
                  </a:cubicBezTo>
                  <a:cubicBezTo>
                    <a:pt x="53" y="19"/>
                    <a:pt x="53" y="19"/>
                    <a:pt x="53" y="19"/>
                  </a:cubicBezTo>
                  <a:cubicBezTo>
                    <a:pt x="57" y="23"/>
                    <a:pt x="60" y="29"/>
                    <a:pt x="60" y="35"/>
                  </a:cubicBezTo>
                  <a:cubicBezTo>
                    <a:pt x="60" y="49"/>
                    <a:pt x="49" y="60"/>
                    <a:pt x="35" y="60"/>
                  </a:cubicBezTo>
                  <a:cubicBezTo>
                    <a:pt x="22" y="60"/>
                    <a:pt x="11" y="49"/>
                    <a:pt x="10" y="36"/>
                  </a:cubicBezTo>
                  <a:cubicBezTo>
                    <a:pt x="10" y="30"/>
                    <a:pt x="12" y="25"/>
                    <a:pt x="16" y="21"/>
                  </a:cubicBezTo>
                  <a:cubicBezTo>
                    <a:pt x="18" y="18"/>
                    <a:pt x="18" y="18"/>
                    <a:pt x="18" y="18"/>
                  </a:cubicBezTo>
                  <a:cubicBezTo>
                    <a:pt x="25" y="26"/>
                    <a:pt x="25" y="26"/>
                    <a:pt x="25" y="26"/>
                  </a:cubicBezTo>
                  <a:cubicBezTo>
                    <a:pt x="30" y="0"/>
                    <a:pt x="30" y="0"/>
                    <a:pt x="30" y="0"/>
                  </a:cubicBezTo>
                  <a:cubicBezTo>
                    <a:pt x="4" y="2"/>
                    <a:pt x="4" y="2"/>
                    <a:pt x="4" y="2"/>
                  </a:cubicBezTo>
                  <a:cubicBezTo>
                    <a:pt x="11" y="10"/>
                    <a:pt x="11" y="10"/>
                    <a:pt x="11" y="10"/>
                  </a:cubicBezTo>
                  <a:cubicBezTo>
                    <a:pt x="9" y="12"/>
                    <a:pt x="9" y="12"/>
                    <a:pt x="9" y="12"/>
                  </a:cubicBezTo>
                  <a:cubicBezTo>
                    <a:pt x="3" y="19"/>
                    <a:pt x="0" y="27"/>
                    <a:pt x="0" y="36"/>
                  </a:cubicBezTo>
                  <a:cubicBezTo>
                    <a:pt x="0" y="55"/>
                    <a:pt x="16" y="71"/>
                    <a:pt x="35" y="71"/>
                  </a:cubicBezTo>
                  <a:cubicBezTo>
                    <a:pt x="35" y="71"/>
                    <a:pt x="35" y="71"/>
                    <a:pt x="35" y="71"/>
                  </a:cubicBezTo>
                  <a:cubicBezTo>
                    <a:pt x="55" y="71"/>
                    <a:pt x="70" y="55"/>
                    <a:pt x="70" y="35"/>
                  </a:cubicBezTo>
                  <a:cubicBezTo>
                    <a:pt x="70" y="26"/>
                    <a:pt x="67" y="18"/>
                    <a:pt x="61" y="11"/>
                  </a:cubicBezTo>
                </a:path>
              </a:pathLst>
            </a:custGeom>
            <a:solidFill>
              <a:schemeClr val="tx1"/>
            </a:solidFill>
            <a:ln>
              <a:noFill/>
            </a:ln>
          </p:spPr>
          <p:txBody>
            <a:bodyPr vert="horz" wrap="square" lIns="69953" tIns="34976" rIns="69953" bIns="34976" numCol="1" anchor="t" anchorCtr="0" compatLnSpc="1">
              <a:prstTxWarp prst="textNoShape">
                <a:avLst/>
              </a:prstTxWarp>
            </a:bodyPr>
            <a:lstStyle/>
            <a:p>
              <a:endParaRPr lang="en-US" sz="1350">
                <a:solidFill>
                  <a:srgbClr val="000000"/>
                </a:solidFill>
              </a:endParaRPr>
            </a:p>
          </p:txBody>
        </p:sp>
      </p:grpSp>
      <p:grpSp>
        <p:nvGrpSpPr>
          <p:cNvPr id="7" name="Group 6"/>
          <p:cNvGrpSpPr/>
          <p:nvPr/>
        </p:nvGrpSpPr>
        <p:grpSpPr>
          <a:xfrm>
            <a:off x="505215" y="3720623"/>
            <a:ext cx="11131423" cy="822960"/>
            <a:chOff x="505215" y="3720623"/>
            <a:chExt cx="11131423" cy="822960"/>
          </a:xfrm>
        </p:grpSpPr>
        <p:grpSp>
          <p:nvGrpSpPr>
            <p:cNvPr id="26" name="Group 24"/>
            <p:cNvGrpSpPr/>
            <p:nvPr/>
          </p:nvGrpSpPr>
          <p:grpSpPr>
            <a:xfrm>
              <a:off x="505215" y="3720623"/>
              <a:ext cx="11131423" cy="822960"/>
              <a:chOff x="419875" y="4721288"/>
              <a:chExt cx="11131423" cy="1690145"/>
            </a:xfrm>
          </p:grpSpPr>
          <p:sp>
            <p:nvSpPr>
              <p:cNvPr id="27" name="Rectangle 25"/>
              <p:cNvSpPr/>
              <p:nvPr/>
            </p:nvSpPr>
            <p:spPr bwMode="auto">
              <a:xfrm>
                <a:off x="1242835" y="4721288"/>
                <a:ext cx="3891665" cy="1690145"/>
              </a:xfrm>
              <a:prstGeom prst="rect">
                <a:avLst/>
              </a:prstGeom>
              <a:solidFill>
                <a:schemeClr val="tx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2400">
                    <a:solidFill>
                      <a:srgbClr val="EDC30D"/>
                    </a:solidFill>
                    <a:latin typeface="Segoe UI Light"/>
                    <a:ea typeface="Segoe UI" pitchFamily="34" charset="0"/>
                    <a:cs typeface="Segoe UI" pitchFamily="34" charset="0"/>
                  </a:rPr>
                  <a:t>Integration with existing environment</a:t>
                </a:r>
              </a:p>
            </p:txBody>
          </p:sp>
          <p:sp>
            <p:nvSpPr>
              <p:cNvPr id="28" name="Rectangle 26"/>
              <p:cNvSpPr/>
              <p:nvPr/>
            </p:nvSpPr>
            <p:spPr bwMode="auto">
              <a:xfrm>
                <a:off x="5134500" y="4721288"/>
                <a:ext cx="6416798" cy="1690145"/>
              </a:xfrm>
              <a:prstGeom prst="rect">
                <a:avLst/>
              </a:prstGeom>
              <a:solidFill>
                <a:schemeClr val="bg1"/>
              </a:solidFill>
              <a:ln>
                <a:solidFill>
                  <a:schemeClr val="bg2">
                    <a:lumMod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14367" fontAlgn="base">
                  <a:lnSpc>
                    <a:spcPct val="90000"/>
                  </a:lnSpc>
                  <a:spcBef>
                    <a:spcPct val="20000"/>
                  </a:spcBef>
                  <a:spcAft>
                    <a:spcPct val="0"/>
                  </a:spcAft>
                  <a:buSzPct val="90000"/>
                </a:pPr>
                <a:r>
                  <a:rPr lang="en-US">
                    <a:ln w="3175">
                      <a:noFill/>
                    </a:ln>
                    <a:solidFill>
                      <a:srgbClr val="000000"/>
                    </a:solidFill>
                    <a:latin typeface="Segoe UI Light"/>
                  </a:rPr>
                  <a:t>Cost and time involved in integration of solution into existing environment. Extensibility of system </a:t>
                </a:r>
              </a:p>
            </p:txBody>
          </p:sp>
          <p:sp>
            <p:nvSpPr>
              <p:cNvPr id="29" name="Rectangle 27"/>
              <p:cNvSpPr/>
              <p:nvPr/>
            </p:nvSpPr>
            <p:spPr bwMode="auto">
              <a:xfrm>
                <a:off x="419875" y="4721288"/>
                <a:ext cx="822960" cy="1690145"/>
              </a:xfrm>
              <a:prstGeom prst="rect">
                <a:avLst/>
              </a:prstGeom>
              <a:solidFill>
                <a:srgbClr val="EDC30D"/>
              </a:solidFill>
              <a:ln>
                <a:solidFill>
                  <a:schemeClr val="bg2">
                    <a:lumMod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endParaRPr lang="en-US" sz="3600">
                  <a:solidFill>
                    <a:srgbClr val="000000"/>
                  </a:solidFill>
                  <a:ea typeface="Segoe UI" pitchFamily="34" charset="0"/>
                  <a:cs typeface="Segoe UI" pitchFamily="34" charset="0"/>
                </a:endParaRPr>
              </a:p>
            </p:txBody>
          </p:sp>
        </p:grpSp>
        <p:sp>
          <p:nvSpPr>
            <p:cNvPr id="42" name="Freeform 21"/>
            <p:cNvSpPr>
              <a:spLocks noChangeAspect="1" noEditPoints="1"/>
            </p:cNvSpPr>
            <p:nvPr/>
          </p:nvSpPr>
          <p:spPr bwMode="black">
            <a:xfrm>
              <a:off x="684502" y="3915798"/>
              <a:ext cx="457200" cy="398487"/>
            </a:xfrm>
            <a:custGeom>
              <a:avLst/>
              <a:gdLst>
                <a:gd name="T0" fmla="*/ 1220 w 1220"/>
                <a:gd name="T1" fmla="*/ 204 h 1063"/>
                <a:gd name="T2" fmla="*/ 1096 w 1220"/>
                <a:gd name="T3" fmla="*/ 79 h 1063"/>
                <a:gd name="T4" fmla="*/ 978 w 1220"/>
                <a:gd name="T5" fmla="*/ 164 h 1063"/>
                <a:gd name="T6" fmla="*/ 589 w 1220"/>
                <a:gd name="T7" fmla="*/ 115 h 1063"/>
                <a:gd name="T8" fmla="*/ 465 w 1220"/>
                <a:gd name="T9" fmla="*/ 0 h 1063"/>
                <a:gd name="T10" fmla="*/ 340 w 1220"/>
                <a:gd name="T11" fmla="*/ 124 h 1063"/>
                <a:gd name="T12" fmla="*/ 370 w 1220"/>
                <a:gd name="T13" fmla="*/ 205 h 1063"/>
                <a:gd name="T14" fmla="*/ 180 w 1220"/>
                <a:gd name="T15" fmla="*/ 453 h 1063"/>
                <a:gd name="T16" fmla="*/ 125 w 1220"/>
                <a:gd name="T17" fmla="*/ 440 h 1063"/>
                <a:gd name="T18" fmla="*/ 0 w 1220"/>
                <a:gd name="T19" fmla="*/ 564 h 1063"/>
                <a:gd name="T20" fmla="*/ 125 w 1220"/>
                <a:gd name="T21" fmla="*/ 689 h 1063"/>
                <a:gd name="T22" fmla="*/ 197 w 1220"/>
                <a:gd name="T23" fmla="*/ 666 h 1063"/>
                <a:gd name="T24" fmla="*/ 416 w 1220"/>
                <a:gd name="T25" fmla="*/ 872 h 1063"/>
                <a:gd name="T26" fmla="*/ 397 w 1220"/>
                <a:gd name="T27" fmla="*/ 938 h 1063"/>
                <a:gd name="T28" fmla="*/ 521 w 1220"/>
                <a:gd name="T29" fmla="*/ 1063 h 1063"/>
                <a:gd name="T30" fmla="*/ 646 w 1220"/>
                <a:gd name="T31" fmla="*/ 938 h 1063"/>
                <a:gd name="T32" fmla="*/ 642 w 1220"/>
                <a:gd name="T33" fmla="*/ 908 h 1063"/>
                <a:gd name="T34" fmla="*/ 948 w 1220"/>
                <a:gd name="T35" fmla="*/ 763 h 1063"/>
                <a:gd name="T36" fmla="*/ 1048 w 1220"/>
                <a:gd name="T37" fmla="*/ 814 h 1063"/>
                <a:gd name="T38" fmla="*/ 1173 w 1220"/>
                <a:gd name="T39" fmla="*/ 689 h 1063"/>
                <a:gd name="T40" fmla="*/ 1084 w 1220"/>
                <a:gd name="T41" fmla="*/ 570 h 1063"/>
                <a:gd name="T42" fmla="*/ 1108 w 1220"/>
                <a:gd name="T43" fmla="*/ 327 h 1063"/>
                <a:gd name="T44" fmla="*/ 1220 w 1220"/>
                <a:gd name="T45" fmla="*/ 204 h 1063"/>
                <a:gd name="T46" fmla="*/ 521 w 1220"/>
                <a:gd name="T47" fmla="*/ 594 h 1063"/>
                <a:gd name="T48" fmla="*/ 493 w 1220"/>
                <a:gd name="T49" fmla="*/ 245 h 1063"/>
                <a:gd name="T50" fmla="*/ 535 w 1220"/>
                <a:gd name="T51" fmla="*/ 226 h 1063"/>
                <a:gd name="T52" fmla="*/ 944 w 1220"/>
                <a:gd name="T53" fmla="*/ 621 h 1063"/>
                <a:gd name="T54" fmla="*/ 930 w 1220"/>
                <a:gd name="T55" fmla="*/ 649 h 1063"/>
                <a:gd name="T56" fmla="*/ 521 w 1220"/>
                <a:gd name="T57" fmla="*/ 594 h 1063"/>
                <a:gd name="T58" fmla="*/ 490 w 1220"/>
                <a:gd name="T59" fmla="*/ 818 h 1063"/>
                <a:gd name="T60" fmla="*/ 449 w 1220"/>
                <a:gd name="T61" fmla="*/ 837 h 1063"/>
                <a:gd name="T62" fmla="*/ 230 w 1220"/>
                <a:gd name="T63" fmla="*/ 631 h 1063"/>
                <a:gd name="T64" fmla="*/ 242 w 1220"/>
                <a:gd name="T65" fmla="*/ 605 h 1063"/>
                <a:gd name="T66" fmla="*/ 476 w 1220"/>
                <a:gd name="T67" fmla="*/ 636 h 1063"/>
                <a:gd name="T68" fmla="*/ 490 w 1220"/>
                <a:gd name="T69" fmla="*/ 818 h 1063"/>
                <a:gd name="T70" fmla="*/ 249 w 1220"/>
                <a:gd name="T71" fmla="*/ 558 h 1063"/>
                <a:gd name="T72" fmla="*/ 218 w 1220"/>
                <a:gd name="T73" fmla="*/ 482 h 1063"/>
                <a:gd name="T74" fmla="*/ 408 w 1220"/>
                <a:gd name="T75" fmla="*/ 235 h 1063"/>
                <a:gd name="T76" fmla="*/ 445 w 1220"/>
                <a:gd name="T77" fmla="*/ 247 h 1063"/>
                <a:gd name="T78" fmla="*/ 472 w 1220"/>
                <a:gd name="T79" fmla="*/ 587 h 1063"/>
                <a:gd name="T80" fmla="*/ 249 w 1220"/>
                <a:gd name="T81" fmla="*/ 558 h 1063"/>
                <a:gd name="T82" fmla="*/ 977 w 1220"/>
                <a:gd name="T83" fmla="*/ 587 h 1063"/>
                <a:gd name="T84" fmla="*/ 569 w 1220"/>
                <a:gd name="T85" fmla="*/ 192 h 1063"/>
                <a:gd name="T86" fmla="*/ 583 w 1220"/>
                <a:gd name="T87" fmla="*/ 163 h 1063"/>
                <a:gd name="T88" fmla="*/ 972 w 1220"/>
                <a:gd name="T89" fmla="*/ 212 h 1063"/>
                <a:gd name="T90" fmla="*/ 1060 w 1220"/>
                <a:gd name="T91" fmla="*/ 323 h 1063"/>
                <a:gd name="T92" fmla="*/ 1036 w 1220"/>
                <a:gd name="T93" fmla="*/ 566 h 1063"/>
                <a:gd name="T94" fmla="*/ 977 w 1220"/>
                <a:gd name="T95" fmla="*/ 587 h 1063"/>
                <a:gd name="T96" fmla="*/ 621 w 1220"/>
                <a:gd name="T97" fmla="*/ 864 h 1063"/>
                <a:gd name="T98" fmla="*/ 538 w 1220"/>
                <a:gd name="T99" fmla="*/ 815 h 1063"/>
                <a:gd name="T100" fmla="*/ 524 w 1220"/>
                <a:gd name="T101" fmla="*/ 643 h 1063"/>
                <a:gd name="T102" fmla="*/ 924 w 1220"/>
                <a:gd name="T103" fmla="*/ 696 h 1063"/>
                <a:gd name="T104" fmla="*/ 927 w 1220"/>
                <a:gd name="T105" fmla="*/ 720 h 1063"/>
                <a:gd name="T106" fmla="*/ 621 w 1220"/>
                <a:gd name="T107" fmla="*/ 864 h 10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220" h="1063">
                  <a:moveTo>
                    <a:pt x="1220" y="204"/>
                  </a:moveTo>
                  <a:cubicBezTo>
                    <a:pt x="1220" y="135"/>
                    <a:pt x="1164" y="79"/>
                    <a:pt x="1096" y="79"/>
                  </a:cubicBezTo>
                  <a:cubicBezTo>
                    <a:pt x="1041" y="79"/>
                    <a:pt x="994" y="115"/>
                    <a:pt x="978" y="164"/>
                  </a:cubicBezTo>
                  <a:cubicBezTo>
                    <a:pt x="589" y="115"/>
                    <a:pt x="589" y="115"/>
                    <a:pt x="589" y="115"/>
                  </a:cubicBezTo>
                  <a:cubicBezTo>
                    <a:pt x="584" y="51"/>
                    <a:pt x="530" y="0"/>
                    <a:pt x="465" y="0"/>
                  </a:cubicBezTo>
                  <a:cubicBezTo>
                    <a:pt x="396" y="0"/>
                    <a:pt x="340" y="55"/>
                    <a:pt x="340" y="124"/>
                  </a:cubicBezTo>
                  <a:cubicBezTo>
                    <a:pt x="340" y="155"/>
                    <a:pt x="352" y="183"/>
                    <a:pt x="370" y="205"/>
                  </a:cubicBezTo>
                  <a:cubicBezTo>
                    <a:pt x="180" y="453"/>
                    <a:pt x="180" y="453"/>
                    <a:pt x="180" y="453"/>
                  </a:cubicBezTo>
                  <a:cubicBezTo>
                    <a:pt x="163" y="445"/>
                    <a:pt x="145" y="440"/>
                    <a:pt x="125" y="440"/>
                  </a:cubicBezTo>
                  <a:cubicBezTo>
                    <a:pt x="56" y="440"/>
                    <a:pt x="0" y="496"/>
                    <a:pt x="0" y="564"/>
                  </a:cubicBezTo>
                  <a:cubicBezTo>
                    <a:pt x="0" y="633"/>
                    <a:pt x="56" y="689"/>
                    <a:pt x="125" y="689"/>
                  </a:cubicBezTo>
                  <a:cubicBezTo>
                    <a:pt x="152" y="689"/>
                    <a:pt x="177" y="680"/>
                    <a:pt x="197" y="666"/>
                  </a:cubicBezTo>
                  <a:cubicBezTo>
                    <a:pt x="416" y="872"/>
                    <a:pt x="416" y="872"/>
                    <a:pt x="416" y="872"/>
                  </a:cubicBezTo>
                  <a:cubicBezTo>
                    <a:pt x="404" y="891"/>
                    <a:pt x="397" y="914"/>
                    <a:pt x="397" y="938"/>
                  </a:cubicBezTo>
                  <a:cubicBezTo>
                    <a:pt x="397" y="1007"/>
                    <a:pt x="453" y="1063"/>
                    <a:pt x="521" y="1063"/>
                  </a:cubicBezTo>
                  <a:cubicBezTo>
                    <a:pt x="590" y="1063"/>
                    <a:pt x="646" y="1007"/>
                    <a:pt x="646" y="938"/>
                  </a:cubicBezTo>
                  <a:cubicBezTo>
                    <a:pt x="646" y="928"/>
                    <a:pt x="644" y="918"/>
                    <a:pt x="642" y="908"/>
                  </a:cubicBezTo>
                  <a:cubicBezTo>
                    <a:pt x="948" y="763"/>
                    <a:pt x="948" y="763"/>
                    <a:pt x="948" y="763"/>
                  </a:cubicBezTo>
                  <a:cubicBezTo>
                    <a:pt x="970" y="794"/>
                    <a:pt x="1007" y="814"/>
                    <a:pt x="1048" y="814"/>
                  </a:cubicBezTo>
                  <a:cubicBezTo>
                    <a:pt x="1117" y="814"/>
                    <a:pt x="1173" y="758"/>
                    <a:pt x="1173" y="689"/>
                  </a:cubicBezTo>
                  <a:cubicBezTo>
                    <a:pt x="1173" y="633"/>
                    <a:pt x="1135" y="586"/>
                    <a:pt x="1084" y="570"/>
                  </a:cubicBezTo>
                  <a:cubicBezTo>
                    <a:pt x="1108" y="327"/>
                    <a:pt x="1108" y="327"/>
                    <a:pt x="1108" y="327"/>
                  </a:cubicBezTo>
                  <a:cubicBezTo>
                    <a:pt x="1171" y="321"/>
                    <a:pt x="1220" y="268"/>
                    <a:pt x="1220" y="204"/>
                  </a:cubicBezTo>
                  <a:close/>
                  <a:moveTo>
                    <a:pt x="521" y="594"/>
                  </a:moveTo>
                  <a:cubicBezTo>
                    <a:pt x="493" y="245"/>
                    <a:pt x="493" y="245"/>
                    <a:pt x="493" y="245"/>
                  </a:cubicBezTo>
                  <a:cubicBezTo>
                    <a:pt x="509" y="241"/>
                    <a:pt x="523" y="235"/>
                    <a:pt x="535" y="226"/>
                  </a:cubicBezTo>
                  <a:cubicBezTo>
                    <a:pt x="944" y="621"/>
                    <a:pt x="944" y="621"/>
                    <a:pt x="944" y="621"/>
                  </a:cubicBezTo>
                  <a:cubicBezTo>
                    <a:pt x="938" y="630"/>
                    <a:pt x="934" y="639"/>
                    <a:pt x="930" y="649"/>
                  </a:cubicBezTo>
                  <a:lnTo>
                    <a:pt x="521" y="594"/>
                  </a:lnTo>
                  <a:close/>
                  <a:moveTo>
                    <a:pt x="490" y="818"/>
                  </a:moveTo>
                  <a:cubicBezTo>
                    <a:pt x="475" y="822"/>
                    <a:pt x="461" y="828"/>
                    <a:pt x="449" y="837"/>
                  </a:cubicBezTo>
                  <a:cubicBezTo>
                    <a:pt x="230" y="631"/>
                    <a:pt x="230" y="631"/>
                    <a:pt x="230" y="631"/>
                  </a:cubicBezTo>
                  <a:cubicBezTo>
                    <a:pt x="235" y="623"/>
                    <a:pt x="239" y="614"/>
                    <a:pt x="242" y="605"/>
                  </a:cubicBezTo>
                  <a:cubicBezTo>
                    <a:pt x="476" y="636"/>
                    <a:pt x="476" y="636"/>
                    <a:pt x="476" y="636"/>
                  </a:cubicBezTo>
                  <a:lnTo>
                    <a:pt x="490" y="818"/>
                  </a:lnTo>
                  <a:close/>
                  <a:moveTo>
                    <a:pt x="249" y="558"/>
                  </a:moveTo>
                  <a:cubicBezTo>
                    <a:pt x="247" y="529"/>
                    <a:pt x="236" y="502"/>
                    <a:pt x="218" y="482"/>
                  </a:cubicBezTo>
                  <a:cubicBezTo>
                    <a:pt x="408" y="235"/>
                    <a:pt x="408" y="235"/>
                    <a:pt x="408" y="235"/>
                  </a:cubicBezTo>
                  <a:cubicBezTo>
                    <a:pt x="420" y="241"/>
                    <a:pt x="432" y="245"/>
                    <a:pt x="445" y="247"/>
                  </a:cubicBezTo>
                  <a:cubicBezTo>
                    <a:pt x="472" y="587"/>
                    <a:pt x="472" y="587"/>
                    <a:pt x="472" y="587"/>
                  </a:cubicBezTo>
                  <a:lnTo>
                    <a:pt x="249" y="558"/>
                  </a:lnTo>
                  <a:close/>
                  <a:moveTo>
                    <a:pt x="977" y="587"/>
                  </a:moveTo>
                  <a:cubicBezTo>
                    <a:pt x="569" y="192"/>
                    <a:pt x="569" y="192"/>
                    <a:pt x="569" y="192"/>
                  </a:cubicBezTo>
                  <a:cubicBezTo>
                    <a:pt x="575" y="183"/>
                    <a:pt x="579" y="173"/>
                    <a:pt x="583" y="163"/>
                  </a:cubicBezTo>
                  <a:cubicBezTo>
                    <a:pt x="972" y="212"/>
                    <a:pt x="972" y="212"/>
                    <a:pt x="972" y="212"/>
                  </a:cubicBezTo>
                  <a:cubicBezTo>
                    <a:pt x="975" y="265"/>
                    <a:pt x="1011" y="308"/>
                    <a:pt x="1060" y="323"/>
                  </a:cubicBezTo>
                  <a:cubicBezTo>
                    <a:pt x="1036" y="566"/>
                    <a:pt x="1036" y="566"/>
                    <a:pt x="1036" y="566"/>
                  </a:cubicBezTo>
                  <a:cubicBezTo>
                    <a:pt x="1015" y="568"/>
                    <a:pt x="994" y="575"/>
                    <a:pt x="977" y="587"/>
                  </a:cubicBezTo>
                  <a:close/>
                  <a:moveTo>
                    <a:pt x="621" y="864"/>
                  </a:moveTo>
                  <a:cubicBezTo>
                    <a:pt x="602" y="838"/>
                    <a:pt x="572" y="819"/>
                    <a:pt x="538" y="815"/>
                  </a:cubicBezTo>
                  <a:cubicBezTo>
                    <a:pt x="524" y="643"/>
                    <a:pt x="524" y="643"/>
                    <a:pt x="524" y="643"/>
                  </a:cubicBezTo>
                  <a:cubicBezTo>
                    <a:pt x="924" y="696"/>
                    <a:pt x="924" y="696"/>
                    <a:pt x="924" y="696"/>
                  </a:cubicBezTo>
                  <a:cubicBezTo>
                    <a:pt x="924" y="704"/>
                    <a:pt x="925" y="712"/>
                    <a:pt x="927" y="720"/>
                  </a:cubicBezTo>
                  <a:lnTo>
                    <a:pt x="621" y="864"/>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1177" tIns="56942" rIns="71177" bIns="56942" numCol="1" spcCol="0" rtlCol="0" fromWordArt="0" anchor="t" anchorCtr="0" forceAA="0" compatLnSpc="1">
              <a:prstTxWarp prst="textNoShape">
                <a:avLst/>
              </a:prstTxWarp>
              <a:noAutofit/>
            </a:bodyPr>
            <a:lstStyle/>
            <a:p>
              <a:pPr algn="ctr" defTabSz="362895" fontAlgn="base">
                <a:lnSpc>
                  <a:spcPct val="90000"/>
                </a:lnSpc>
                <a:spcBef>
                  <a:spcPct val="0"/>
                </a:spcBef>
                <a:spcAft>
                  <a:spcPct val="0"/>
                </a:spcAft>
              </a:pPr>
              <a:endParaRPr lang="en-US" sz="934">
                <a:gradFill>
                  <a:gsLst>
                    <a:gs pos="0">
                      <a:srgbClr val="FFFFFF"/>
                    </a:gs>
                    <a:gs pos="100000">
                      <a:srgbClr val="FFFFFF"/>
                    </a:gs>
                  </a:gsLst>
                  <a:lin ang="5400000" scaled="0"/>
                </a:gradFill>
                <a:ea typeface="Segoe UI" pitchFamily="34" charset="0"/>
                <a:cs typeface="Segoe UI" pitchFamily="34" charset="0"/>
              </a:endParaRPr>
            </a:p>
          </p:txBody>
        </p:sp>
      </p:grpSp>
      <p:grpSp>
        <p:nvGrpSpPr>
          <p:cNvPr id="2" name="Group 1"/>
          <p:cNvGrpSpPr/>
          <p:nvPr/>
        </p:nvGrpSpPr>
        <p:grpSpPr>
          <a:xfrm>
            <a:off x="505215" y="981075"/>
            <a:ext cx="11131423" cy="822960"/>
            <a:chOff x="505215" y="976781"/>
            <a:chExt cx="11131423" cy="822960"/>
          </a:xfrm>
        </p:grpSpPr>
        <p:grpSp>
          <p:nvGrpSpPr>
            <p:cNvPr id="18" name="Group 24"/>
            <p:cNvGrpSpPr/>
            <p:nvPr/>
          </p:nvGrpSpPr>
          <p:grpSpPr>
            <a:xfrm>
              <a:off x="505215" y="976781"/>
              <a:ext cx="11131423" cy="822960"/>
              <a:chOff x="419875" y="4721288"/>
              <a:chExt cx="11131423" cy="1690145"/>
            </a:xfrm>
          </p:grpSpPr>
          <p:sp>
            <p:nvSpPr>
              <p:cNvPr id="19" name="Rectangle 25"/>
              <p:cNvSpPr/>
              <p:nvPr/>
            </p:nvSpPr>
            <p:spPr bwMode="auto">
              <a:xfrm>
                <a:off x="1242835" y="4721288"/>
                <a:ext cx="3891665" cy="1690145"/>
              </a:xfrm>
              <a:prstGeom prst="rect">
                <a:avLst/>
              </a:prstGeom>
              <a:solidFill>
                <a:schemeClr val="tx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2400">
                    <a:solidFill>
                      <a:srgbClr val="EDC30D"/>
                    </a:solidFill>
                    <a:latin typeface="Segoe UI Light"/>
                    <a:ea typeface="Segoe UI" pitchFamily="34" charset="0"/>
                    <a:cs typeface="Segoe UI" pitchFamily="34" charset="0"/>
                  </a:rPr>
                  <a:t>Management of BI systems</a:t>
                </a:r>
              </a:p>
            </p:txBody>
          </p:sp>
          <p:sp>
            <p:nvSpPr>
              <p:cNvPr id="20" name="Rectangle 26"/>
              <p:cNvSpPr/>
              <p:nvPr/>
            </p:nvSpPr>
            <p:spPr bwMode="auto">
              <a:xfrm>
                <a:off x="5134500" y="4721288"/>
                <a:ext cx="6416798" cy="1690145"/>
              </a:xfrm>
              <a:prstGeom prst="rect">
                <a:avLst/>
              </a:prstGeom>
              <a:solidFill>
                <a:schemeClr val="bg1"/>
              </a:solidFill>
              <a:ln>
                <a:solidFill>
                  <a:schemeClr val="bg2">
                    <a:lumMod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14367" fontAlgn="base">
                  <a:lnSpc>
                    <a:spcPct val="90000"/>
                  </a:lnSpc>
                  <a:spcBef>
                    <a:spcPct val="20000"/>
                  </a:spcBef>
                  <a:spcAft>
                    <a:spcPct val="0"/>
                  </a:spcAft>
                  <a:buSzPct val="90000"/>
                </a:pPr>
                <a:r>
                  <a:rPr lang="en-US">
                    <a:ln w="3175">
                      <a:noFill/>
                    </a:ln>
                    <a:solidFill>
                      <a:srgbClr val="000000"/>
                    </a:solidFill>
                    <a:latin typeface="Segoe UI Light"/>
                  </a:rPr>
                  <a:t>Time spent on setup and management of BI systems. Ongoing hardware acquisitions and maintenance to meet SLAs</a:t>
                </a:r>
              </a:p>
            </p:txBody>
          </p:sp>
          <p:sp>
            <p:nvSpPr>
              <p:cNvPr id="21" name="Rectangle 27"/>
              <p:cNvSpPr/>
              <p:nvPr/>
            </p:nvSpPr>
            <p:spPr bwMode="auto">
              <a:xfrm>
                <a:off x="419875" y="4721288"/>
                <a:ext cx="822960" cy="1690145"/>
              </a:xfrm>
              <a:prstGeom prst="rect">
                <a:avLst/>
              </a:prstGeom>
              <a:solidFill>
                <a:srgbClr val="EDC30D"/>
              </a:solidFill>
              <a:ln>
                <a:solidFill>
                  <a:schemeClr val="bg2">
                    <a:lumMod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endParaRPr lang="en-US" sz="3600">
                  <a:solidFill>
                    <a:srgbClr val="000000"/>
                  </a:solidFill>
                  <a:ea typeface="Segoe UI" pitchFamily="34" charset="0"/>
                  <a:cs typeface="Segoe UI" pitchFamily="34" charset="0"/>
                </a:endParaRPr>
              </a:p>
            </p:txBody>
          </p:sp>
        </p:grpSp>
        <p:sp>
          <p:nvSpPr>
            <p:cNvPr id="43" name="Freeform 42"/>
            <p:cNvSpPr>
              <a:spLocks noChangeAspect="1"/>
            </p:cNvSpPr>
            <p:nvPr/>
          </p:nvSpPr>
          <p:spPr bwMode="black">
            <a:xfrm>
              <a:off x="682518" y="1240608"/>
              <a:ext cx="457200" cy="295305"/>
            </a:xfrm>
            <a:custGeom>
              <a:avLst/>
              <a:gdLst>
                <a:gd name="connsiteX0" fmla="*/ 93529 w 794079"/>
                <a:gd name="connsiteY0" fmla="*/ 409985 h 512894"/>
                <a:gd name="connsiteX1" fmla="*/ 57350 w 794079"/>
                <a:gd name="connsiteY1" fmla="*/ 446163 h 512894"/>
                <a:gd name="connsiteX2" fmla="*/ 93529 w 794079"/>
                <a:gd name="connsiteY2" fmla="*/ 482342 h 512894"/>
                <a:gd name="connsiteX3" fmla="*/ 129707 w 794079"/>
                <a:gd name="connsiteY3" fmla="*/ 446163 h 512894"/>
                <a:gd name="connsiteX4" fmla="*/ 93529 w 794079"/>
                <a:gd name="connsiteY4" fmla="*/ 409985 h 512894"/>
                <a:gd name="connsiteX5" fmla="*/ 22935 w 794079"/>
                <a:gd name="connsiteY5" fmla="*/ 375286 h 512894"/>
                <a:gd name="connsiteX6" fmla="*/ 771144 w 794079"/>
                <a:gd name="connsiteY6" fmla="*/ 375286 h 512894"/>
                <a:gd name="connsiteX7" fmla="*/ 794079 w 794079"/>
                <a:gd name="connsiteY7" fmla="*/ 398221 h 512894"/>
                <a:gd name="connsiteX8" fmla="*/ 794079 w 794079"/>
                <a:gd name="connsiteY8" fmla="*/ 489959 h 512894"/>
                <a:gd name="connsiteX9" fmla="*/ 771144 w 794079"/>
                <a:gd name="connsiteY9" fmla="*/ 512894 h 512894"/>
                <a:gd name="connsiteX10" fmla="*/ 22935 w 794079"/>
                <a:gd name="connsiteY10" fmla="*/ 512894 h 512894"/>
                <a:gd name="connsiteX11" fmla="*/ 0 w 794079"/>
                <a:gd name="connsiteY11" fmla="*/ 489959 h 512894"/>
                <a:gd name="connsiteX12" fmla="*/ 0 w 794079"/>
                <a:gd name="connsiteY12" fmla="*/ 398221 h 512894"/>
                <a:gd name="connsiteX13" fmla="*/ 22935 w 794079"/>
                <a:gd name="connsiteY13" fmla="*/ 375286 h 512894"/>
                <a:gd name="connsiteX14" fmla="*/ 93529 w 794079"/>
                <a:gd name="connsiteY14" fmla="*/ 222341 h 512894"/>
                <a:gd name="connsiteX15" fmla="*/ 57350 w 794079"/>
                <a:gd name="connsiteY15" fmla="*/ 258520 h 512894"/>
                <a:gd name="connsiteX16" fmla="*/ 93529 w 794079"/>
                <a:gd name="connsiteY16" fmla="*/ 294699 h 512894"/>
                <a:gd name="connsiteX17" fmla="*/ 129707 w 794079"/>
                <a:gd name="connsiteY17" fmla="*/ 258520 h 512894"/>
                <a:gd name="connsiteX18" fmla="*/ 93529 w 794079"/>
                <a:gd name="connsiteY18" fmla="*/ 222341 h 512894"/>
                <a:gd name="connsiteX19" fmla="*/ 22935 w 794079"/>
                <a:gd name="connsiteY19" fmla="*/ 187643 h 512894"/>
                <a:gd name="connsiteX20" fmla="*/ 771144 w 794079"/>
                <a:gd name="connsiteY20" fmla="*/ 187643 h 512894"/>
                <a:gd name="connsiteX21" fmla="*/ 794079 w 794079"/>
                <a:gd name="connsiteY21" fmla="*/ 210578 h 512894"/>
                <a:gd name="connsiteX22" fmla="*/ 794079 w 794079"/>
                <a:gd name="connsiteY22" fmla="*/ 302316 h 512894"/>
                <a:gd name="connsiteX23" fmla="*/ 771144 w 794079"/>
                <a:gd name="connsiteY23" fmla="*/ 325251 h 512894"/>
                <a:gd name="connsiteX24" fmla="*/ 22935 w 794079"/>
                <a:gd name="connsiteY24" fmla="*/ 325251 h 512894"/>
                <a:gd name="connsiteX25" fmla="*/ 0 w 794079"/>
                <a:gd name="connsiteY25" fmla="*/ 302316 h 512894"/>
                <a:gd name="connsiteX26" fmla="*/ 0 w 794079"/>
                <a:gd name="connsiteY26" fmla="*/ 210578 h 512894"/>
                <a:gd name="connsiteX27" fmla="*/ 22935 w 794079"/>
                <a:gd name="connsiteY27" fmla="*/ 187643 h 512894"/>
                <a:gd name="connsiteX28" fmla="*/ 93529 w 794079"/>
                <a:gd name="connsiteY28" fmla="*/ 34698 h 512894"/>
                <a:gd name="connsiteX29" fmla="*/ 57350 w 794079"/>
                <a:gd name="connsiteY29" fmla="*/ 70877 h 512894"/>
                <a:gd name="connsiteX30" fmla="*/ 93529 w 794079"/>
                <a:gd name="connsiteY30" fmla="*/ 107056 h 512894"/>
                <a:gd name="connsiteX31" fmla="*/ 129707 w 794079"/>
                <a:gd name="connsiteY31" fmla="*/ 70877 h 512894"/>
                <a:gd name="connsiteX32" fmla="*/ 93529 w 794079"/>
                <a:gd name="connsiteY32" fmla="*/ 34698 h 512894"/>
                <a:gd name="connsiteX33" fmla="*/ 22935 w 794079"/>
                <a:gd name="connsiteY33" fmla="*/ 0 h 512894"/>
                <a:gd name="connsiteX34" fmla="*/ 771144 w 794079"/>
                <a:gd name="connsiteY34" fmla="*/ 0 h 512894"/>
                <a:gd name="connsiteX35" fmla="*/ 794079 w 794079"/>
                <a:gd name="connsiteY35" fmla="*/ 22935 h 512894"/>
                <a:gd name="connsiteX36" fmla="*/ 794079 w 794079"/>
                <a:gd name="connsiteY36" fmla="*/ 114673 h 512894"/>
                <a:gd name="connsiteX37" fmla="*/ 771144 w 794079"/>
                <a:gd name="connsiteY37" fmla="*/ 137608 h 512894"/>
                <a:gd name="connsiteX38" fmla="*/ 22935 w 794079"/>
                <a:gd name="connsiteY38" fmla="*/ 137608 h 512894"/>
                <a:gd name="connsiteX39" fmla="*/ 0 w 794079"/>
                <a:gd name="connsiteY39" fmla="*/ 114673 h 512894"/>
                <a:gd name="connsiteX40" fmla="*/ 0 w 794079"/>
                <a:gd name="connsiteY40" fmla="*/ 22935 h 512894"/>
                <a:gd name="connsiteX41" fmla="*/ 22935 w 794079"/>
                <a:gd name="connsiteY41" fmla="*/ 0 h 5128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794079" h="512894">
                  <a:moveTo>
                    <a:pt x="93529" y="409985"/>
                  </a:moveTo>
                  <a:cubicBezTo>
                    <a:pt x="73548" y="409985"/>
                    <a:pt x="57350" y="426182"/>
                    <a:pt x="57350" y="446163"/>
                  </a:cubicBezTo>
                  <a:cubicBezTo>
                    <a:pt x="57350" y="466144"/>
                    <a:pt x="73548" y="482342"/>
                    <a:pt x="93529" y="482342"/>
                  </a:cubicBezTo>
                  <a:cubicBezTo>
                    <a:pt x="113510" y="482342"/>
                    <a:pt x="129707" y="466144"/>
                    <a:pt x="129707" y="446163"/>
                  </a:cubicBezTo>
                  <a:cubicBezTo>
                    <a:pt x="129707" y="426182"/>
                    <a:pt x="113510" y="409985"/>
                    <a:pt x="93529" y="409985"/>
                  </a:cubicBezTo>
                  <a:close/>
                  <a:moveTo>
                    <a:pt x="22935" y="375286"/>
                  </a:moveTo>
                  <a:lnTo>
                    <a:pt x="771144" y="375286"/>
                  </a:lnTo>
                  <a:cubicBezTo>
                    <a:pt x="783811" y="375286"/>
                    <a:pt x="794079" y="385555"/>
                    <a:pt x="794079" y="398221"/>
                  </a:cubicBezTo>
                  <a:lnTo>
                    <a:pt x="794079" y="489959"/>
                  </a:lnTo>
                  <a:cubicBezTo>
                    <a:pt x="794079" y="502626"/>
                    <a:pt x="783811" y="512894"/>
                    <a:pt x="771144" y="512894"/>
                  </a:cubicBezTo>
                  <a:lnTo>
                    <a:pt x="22935" y="512894"/>
                  </a:lnTo>
                  <a:cubicBezTo>
                    <a:pt x="10269" y="512894"/>
                    <a:pt x="0" y="502626"/>
                    <a:pt x="0" y="489959"/>
                  </a:cubicBezTo>
                  <a:lnTo>
                    <a:pt x="0" y="398221"/>
                  </a:lnTo>
                  <a:cubicBezTo>
                    <a:pt x="0" y="385555"/>
                    <a:pt x="10269" y="375286"/>
                    <a:pt x="22935" y="375286"/>
                  </a:cubicBezTo>
                  <a:close/>
                  <a:moveTo>
                    <a:pt x="93529" y="222341"/>
                  </a:moveTo>
                  <a:cubicBezTo>
                    <a:pt x="73548" y="222341"/>
                    <a:pt x="57350" y="238539"/>
                    <a:pt x="57350" y="258520"/>
                  </a:cubicBezTo>
                  <a:cubicBezTo>
                    <a:pt x="57350" y="278501"/>
                    <a:pt x="73548" y="294699"/>
                    <a:pt x="93529" y="294699"/>
                  </a:cubicBezTo>
                  <a:cubicBezTo>
                    <a:pt x="113510" y="294699"/>
                    <a:pt x="129707" y="278501"/>
                    <a:pt x="129707" y="258520"/>
                  </a:cubicBezTo>
                  <a:cubicBezTo>
                    <a:pt x="129707" y="238539"/>
                    <a:pt x="113510" y="222341"/>
                    <a:pt x="93529" y="222341"/>
                  </a:cubicBezTo>
                  <a:close/>
                  <a:moveTo>
                    <a:pt x="22935" y="187643"/>
                  </a:moveTo>
                  <a:lnTo>
                    <a:pt x="771144" y="187643"/>
                  </a:lnTo>
                  <a:cubicBezTo>
                    <a:pt x="783811" y="187643"/>
                    <a:pt x="794079" y="197911"/>
                    <a:pt x="794079" y="210578"/>
                  </a:cubicBezTo>
                  <a:lnTo>
                    <a:pt x="794079" y="302316"/>
                  </a:lnTo>
                  <a:cubicBezTo>
                    <a:pt x="794079" y="314982"/>
                    <a:pt x="783811" y="325251"/>
                    <a:pt x="771144" y="325251"/>
                  </a:cubicBezTo>
                  <a:lnTo>
                    <a:pt x="22935" y="325251"/>
                  </a:lnTo>
                  <a:cubicBezTo>
                    <a:pt x="10269" y="325251"/>
                    <a:pt x="0" y="314982"/>
                    <a:pt x="0" y="302316"/>
                  </a:cubicBezTo>
                  <a:lnTo>
                    <a:pt x="0" y="210578"/>
                  </a:lnTo>
                  <a:cubicBezTo>
                    <a:pt x="0" y="197911"/>
                    <a:pt x="10269" y="187643"/>
                    <a:pt x="22935" y="187643"/>
                  </a:cubicBezTo>
                  <a:close/>
                  <a:moveTo>
                    <a:pt x="93529" y="34698"/>
                  </a:moveTo>
                  <a:cubicBezTo>
                    <a:pt x="73548" y="34698"/>
                    <a:pt x="57350" y="50896"/>
                    <a:pt x="57350" y="70877"/>
                  </a:cubicBezTo>
                  <a:cubicBezTo>
                    <a:pt x="57350" y="90858"/>
                    <a:pt x="73548" y="107056"/>
                    <a:pt x="93529" y="107056"/>
                  </a:cubicBezTo>
                  <a:cubicBezTo>
                    <a:pt x="113510" y="107056"/>
                    <a:pt x="129707" y="90858"/>
                    <a:pt x="129707" y="70877"/>
                  </a:cubicBezTo>
                  <a:cubicBezTo>
                    <a:pt x="129707" y="50896"/>
                    <a:pt x="113510" y="34698"/>
                    <a:pt x="93529" y="34698"/>
                  </a:cubicBezTo>
                  <a:close/>
                  <a:moveTo>
                    <a:pt x="22935" y="0"/>
                  </a:moveTo>
                  <a:lnTo>
                    <a:pt x="771144" y="0"/>
                  </a:lnTo>
                  <a:cubicBezTo>
                    <a:pt x="783811" y="0"/>
                    <a:pt x="794079" y="10268"/>
                    <a:pt x="794079" y="22935"/>
                  </a:cubicBezTo>
                  <a:lnTo>
                    <a:pt x="794079" y="114673"/>
                  </a:lnTo>
                  <a:cubicBezTo>
                    <a:pt x="794079" y="127339"/>
                    <a:pt x="783811" y="137608"/>
                    <a:pt x="771144" y="137608"/>
                  </a:cubicBezTo>
                  <a:lnTo>
                    <a:pt x="22935" y="137608"/>
                  </a:lnTo>
                  <a:cubicBezTo>
                    <a:pt x="10269" y="137608"/>
                    <a:pt x="0" y="127339"/>
                    <a:pt x="0" y="114673"/>
                  </a:cubicBezTo>
                  <a:lnTo>
                    <a:pt x="0" y="22935"/>
                  </a:lnTo>
                  <a:cubicBezTo>
                    <a:pt x="0" y="10268"/>
                    <a:pt x="10269" y="0"/>
                    <a:pt x="22935"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8" tIns="109719" rIns="137148" bIns="109719" numCol="1" spcCol="0" rtlCol="0" fromWordArt="0" anchor="t" anchorCtr="0" forceAA="0" compatLnSpc="1">
              <a:prstTxWarp prst="textNoShape">
                <a:avLst/>
              </a:prstTxWarp>
              <a:noAutofit/>
            </a:bodyPr>
            <a:lstStyle/>
            <a:p>
              <a:pPr algn="ctr" defTabSz="699261" fontAlgn="base">
                <a:lnSpc>
                  <a:spcPct val="90000"/>
                </a:lnSpc>
                <a:spcBef>
                  <a:spcPct val="0"/>
                </a:spcBef>
                <a:spcAft>
                  <a:spcPct val="0"/>
                </a:spcAft>
              </a:pPr>
              <a:endParaRPr lang="en-US">
                <a:gradFill>
                  <a:gsLst>
                    <a:gs pos="0">
                      <a:srgbClr val="FFFFFF"/>
                    </a:gs>
                    <a:gs pos="100000">
                      <a:srgbClr val="FFFFFF"/>
                    </a:gs>
                  </a:gsLst>
                  <a:lin ang="5400000" scaled="0"/>
                </a:gradFill>
                <a:ea typeface="Segoe UI" pitchFamily="34" charset="0"/>
                <a:cs typeface="Segoe UI" pitchFamily="34" charset="0"/>
              </a:endParaRPr>
            </a:p>
          </p:txBody>
        </p:sp>
      </p:grpSp>
      <p:grpSp>
        <p:nvGrpSpPr>
          <p:cNvPr id="3" name="Group 2"/>
          <p:cNvGrpSpPr/>
          <p:nvPr/>
        </p:nvGrpSpPr>
        <p:grpSpPr>
          <a:xfrm>
            <a:off x="505215" y="1891395"/>
            <a:ext cx="11131423" cy="822960"/>
            <a:chOff x="505215" y="1891395"/>
            <a:chExt cx="11131423" cy="822960"/>
          </a:xfrm>
        </p:grpSpPr>
        <p:grpSp>
          <p:nvGrpSpPr>
            <p:cNvPr id="14" name="Group 24"/>
            <p:cNvGrpSpPr/>
            <p:nvPr/>
          </p:nvGrpSpPr>
          <p:grpSpPr>
            <a:xfrm>
              <a:off x="505215" y="1891395"/>
              <a:ext cx="11131423" cy="822960"/>
              <a:chOff x="419875" y="4721288"/>
              <a:chExt cx="11131423" cy="1690145"/>
            </a:xfrm>
          </p:grpSpPr>
          <p:sp>
            <p:nvSpPr>
              <p:cNvPr id="15" name="Rectangle 25"/>
              <p:cNvSpPr/>
              <p:nvPr/>
            </p:nvSpPr>
            <p:spPr bwMode="auto">
              <a:xfrm>
                <a:off x="1242835" y="4721288"/>
                <a:ext cx="3891665" cy="1690145"/>
              </a:xfrm>
              <a:prstGeom prst="rect">
                <a:avLst/>
              </a:prstGeom>
              <a:solidFill>
                <a:schemeClr val="tx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2400">
                    <a:solidFill>
                      <a:srgbClr val="EDC30D"/>
                    </a:solidFill>
                    <a:latin typeface="Segoe UI Light"/>
                    <a:ea typeface="Segoe UI" pitchFamily="34" charset="0"/>
                    <a:cs typeface="Segoe UI" pitchFamily="34" charset="0"/>
                  </a:rPr>
                  <a:t>Variety of data sources</a:t>
                </a:r>
              </a:p>
            </p:txBody>
          </p:sp>
          <p:sp>
            <p:nvSpPr>
              <p:cNvPr id="16" name="Rectangle 26"/>
              <p:cNvSpPr/>
              <p:nvPr/>
            </p:nvSpPr>
            <p:spPr bwMode="auto">
              <a:xfrm>
                <a:off x="5134500" y="4721288"/>
                <a:ext cx="6416798" cy="1690145"/>
              </a:xfrm>
              <a:prstGeom prst="rect">
                <a:avLst/>
              </a:prstGeom>
              <a:solidFill>
                <a:schemeClr val="bg1"/>
              </a:solidFill>
              <a:ln>
                <a:solidFill>
                  <a:schemeClr val="bg2">
                    <a:lumMod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14367" fontAlgn="base">
                  <a:lnSpc>
                    <a:spcPct val="90000"/>
                  </a:lnSpc>
                  <a:spcBef>
                    <a:spcPct val="20000"/>
                  </a:spcBef>
                  <a:spcAft>
                    <a:spcPct val="0"/>
                  </a:spcAft>
                  <a:buSzPct val="90000"/>
                </a:pPr>
                <a:r>
                  <a:rPr lang="en-US">
                    <a:ln w="3175">
                      <a:noFill/>
                    </a:ln>
                    <a:solidFill>
                      <a:srgbClr val="000000"/>
                    </a:solidFill>
                    <a:latin typeface="Segoe UI Light"/>
                  </a:rPr>
                  <a:t>Complexity of connecting to on-premise and cloud (SaaS) data sources</a:t>
                </a:r>
              </a:p>
            </p:txBody>
          </p:sp>
          <p:sp>
            <p:nvSpPr>
              <p:cNvPr id="17" name="Rectangle 27"/>
              <p:cNvSpPr/>
              <p:nvPr/>
            </p:nvSpPr>
            <p:spPr bwMode="auto">
              <a:xfrm>
                <a:off x="419875" y="4721288"/>
                <a:ext cx="822960" cy="1690145"/>
              </a:xfrm>
              <a:prstGeom prst="rect">
                <a:avLst/>
              </a:prstGeom>
              <a:solidFill>
                <a:srgbClr val="EDC30D"/>
              </a:solidFill>
              <a:ln>
                <a:solidFill>
                  <a:schemeClr val="bg2">
                    <a:lumMod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endParaRPr lang="en-US" sz="3600">
                  <a:solidFill>
                    <a:srgbClr val="000000"/>
                  </a:solidFill>
                  <a:ea typeface="Segoe UI" pitchFamily="34" charset="0"/>
                  <a:cs typeface="Segoe UI" pitchFamily="34" charset="0"/>
                </a:endParaRPr>
              </a:p>
            </p:txBody>
          </p:sp>
        </p:grpSp>
        <p:grpSp>
          <p:nvGrpSpPr>
            <p:cNvPr id="6" name="Group 5"/>
            <p:cNvGrpSpPr/>
            <p:nvPr/>
          </p:nvGrpSpPr>
          <p:grpSpPr>
            <a:xfrm>
              <a:off x="682518" y="2083950"/>
              <a:ext cx="457200" cy="465990"/>
              <a:chOff x="810855" y="2271601"/>
              <a:chExt cx="457200" cy="465990"/>
            </a:xfrm>
          </p:grpSpPr>
          <p:sp>
            <p:nvSpPr>
              <p:cNvPr id="45" name="Freeform 5"/>
              <p:cNvSpPr>
                <a:spLocks noEditPoints="1"/>
              </p:cNvSpPr>
              <p:nvPr/>
            </p:nvSpPr>
            <p:spPr bwMode="black">
              <a:xfrm>
                <a:off x="892260" y="2271601"/>
                <a:ext cx="375795" cy="291633"/>
              </a:xfrm>
              <a:custGeom>
                <a:avLst/>
                <a:gdLst>
                  <a:gd name="T0" fmla="*/ 22 w 277"/>
                  <a:gd name="T1" fmla="*/ 1 h 215"/>
                  <a:gd name="T2" fmla="*/ 22 w 277"/>
                  <a:gd name="T3" fmla="*/ 10 h 215"/>
                  <a:gd name="T4" fmla="*/ 22 w 277"/>
                  <a:gd name="T5" fmla="*/ 10 h 215"/>
                  <a:gd name="T6" fmla="*/ 66 w 277"/>
                  <a:gd name="T7" fmla="*/ 15 h 215"/>
                  <a:gd name="T8" fmla="*/ 54 w 277"/>
                  <a:gd name="T9" fmla="*/ 20 h 215"/>
                  <a:gd name="T10" fmla="*/ 79 w 277"/>
                  <a:gd name="T11" fmla="*/ 0 h 215"/>
                  <a:gd name="T12" fmla="*/ 118 w 277"/>
                  <a:gd name="T13" fmla="*/ 1 h 215"/>
                  <a:gd name="T14" fmla="*/ 118 w 277"/>
                  <a:gd name="T15" fmla="*/ 10 h 215"/>
                  <a:gd name="T16" fmla="*/ 118 w 277"/>
                  <a:gd name="T17" fmla="*/ 10 h 215"/>
                  <a:gd name="T18" fmla="*/ 163 w 277"/>
                  <a:gd name="T19" fmla="*/ 15 h 215"/>
                  <a:gd name="T20" fmla="*/ 150 w 277"/>
                  <a:gd name="T21" fmla="*/ 20 h 215"/>
                  <a:gd name="T22" fmla="*/ 176 w 277"/>
                  <a:gd name="T23" fmla="*/ 0 h 215"/>
                  <a:gd name="T24" fmla="*/ 215 w 277"/>
                  <a:gd name="T25" fmla="*/ 1 h 215"/>
                  <a:gd name="T26" fmla="*/ 214 w 277"/>
                  <a:gd name="T27" fmla="*/ 10 h 215"/>
                  <a:gd name="T28" fmla="*/ 214 w 277"/>
                  <a:gd name="T29" fmla="*/ 10 h 215"/>
                  <a:gd name="T30" fmla="*/ 259 w 277"/>
                  <a:gd name="T31" fmla="*/ 15 h 215"/>
                  <a:gd name="T32" fmla="*/ 247 w 277"/>
                  <a:gd name="T33" fmla="*/ 20 h 215"/>
                  <a:gd name="T34" fmla="*/ 272 w 277"/>
                  <a:gd name="T35" fmla="*/ 0 h 215"/>
                  <a:gd name="T36" fmla="*/ 12 w 277"/>
                  <a:gd name="T37" fmla="*/ 92 h 215"/>
                  <a:gd name="T38" fmla="*/ 0 w 277"/>
                  <a:gd name="T39" fmla="*/ 97 h 215"/>
                  <a:gd name="T40" fmla="*/ 25 w 277"/>
                  <a:gd name="T41" fmla="*/ 77 h 215"/>
                  <a:gd name="T42" fmla="*/ 64 w 277"/>
                  <a:gd name="T43" fmla="*/ 77 h 215"/>
                  <a:gd name="T44" fmla="*/ 64 w 277"/>
                  <a:gd name="T45" fmla="*/ 87 h 215"/>
                  <a:gd name="T46" fmla="*/ 64 w 277"/>
                  <a:gd name="T47" fmla="*/ 87 h 215"/>
                  <a:gd name="T48" fmla="*/ 109 w 277"/>
                  <a:gd name="T49" fmla="*/ 92 h 215"/>
                  <a:gd name="T50" fmla="*/ 96 w 277"/>
                  <a:gd name="T51" fmla="*/ 97 h 215"/>
                  <a:gd name="T52" fmla="*/ 122 w 277"/>
                  <a:gd name="T53" fmla="*/ 77 h 215"/>
                  <a:gd name="T54" fmla="*/ 161 w 277"/>
                  <a:gd name="T55" fmla="*/ 77 h 215"/>
                  <a:gd name="T56" fmla="*/ 160 w 277"/>
                  <a:gd name="T57" fmla="*/ 87 h 215"/>
                  <a:gd name="T58" fmla="*/ 160 w 277"/>
                  <a:gd name="T59" fmla="*/ 87 h 215"/>
                  <a:gd name="T60" fmla="*/ 205 w 277"/>
                  <a:gd name="T61" fmla="*/ 92 h 215"/>
                  <a:gd name="T62" fmla="*/ 192 w 277"/>
                  <a:gd name="T63" fmla="*/ 97 h 215"/>
                  <a:gd name="T64" fmla="*/ 218 w 277"/>
                  <a:gd name="T65" fmla="*/ 77 h 215"/>
                  <a:gd name="T66" fmla="*/ 257 w 277"/>
                  <a:gd name="T67" fmla="*/ 77 h 215"/>
                  <a:gd name="T68" fmla="*/ 256 w 277"/>
                  <a:gd name="T69" fmla="*/ 87 h 215"/>
                  <a:gd name="T70" fmla="*/ 256 w 277"/>
                  <a:gd name="T71" fmla="*/ 87 h 215"/>
                  <a:gd name="T72" fmla="*/ 22 w 277"/>
                  <a:gd name="T73" fmla="*/ 154 h 215"/>
                  <a:gd name="T74" fmla="*/ 22 w 277"/>
                  <a:gd name="T75" fmla="*/ 164 h 215"/>
                  <a:gd name="T76" fmla="*/ 22 w 277"/>
                  <a:gd name="T77" fmla="*/ 164 h 215"/>
                  <a:gd name="T78" fmla="*/ 66 w 277"/>
                  <a:gd name="T79" fmla="*/ 168 h 215"/>
                  <a:gd name="T80" fmla="*/ 54 w 277"/>
                  <a:gd name="T81" fmla="*/ 173 h 215"/>
                  <a:gd name="T82" fmla="*/ 79 w 277"/>
                  <a:gd name="T83" fmla="*/ 154 h 215"/>
                  <a:gd name="T84" fmla="*/ 118 w 277"/>
                  <a:gd name="T85" fmla="*/ 154 h 215"/>
                  <a:gd name="T86" fmla="*/ 118 w 277"/>
                  <a:gd name="T87" fmla="*/ 164 h 215"/>
                  <a:gd name="T88" fmla="*/ 118 w 277"/>
                  <a:gd name="T89" fmla="*/ 164 h 215"/>
                  <a:gd name="T90" fmla="*/ 163 w 277"/>
                  <a:gd name="T91" fmla="*/ 168 h 215"/>
                  <a:gd name="T92" fmla="*/ 150 w 277"/>
                  <a:gd name="T93" fmla="*/ 173 h 215"/>
                  <a:gd name="T94" fmla="*/ 176 w 277"/>
                  <a:gd name="T95" fmla="*/ 154 h 215"/>
                  <a:gd name="T96" fmla="*/ 215 w 277"/>
                  <a:gd name="T97" fmla="*/ 154 h 215"/>
                  <a:gd name="T98" fmla="*/ 214 w 277"/>
                  <a:gd name="T99" fmla="*/ 164 h 215"/>
                  <a:gd name="T100" fmla="*/ 214 w 277"/>
                  <a:gd name="T101" fmla="*/ 164 h 215"/>
                  <a:gd name="T102" fmla="*/ 259 w 277"/>
                  <a:gd name="T103" fmla="*/ 168 h 215"/>
                  <a:gd name="T104" fmla="*/ 247 w 277"/>
                  <a:gd name="T105" fmla="*/ 173 h 215"/>
                  <a:gd name="T106" fmla="*/ 272 w 277"/>
                  <a:gd name="T107" fmla="*/ 154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77" h="215">
                    <a:moveTo>
                      <a:pt x="21" y="61"/>
                    </a:moveTo>
                    <a:cubicBezTo>
                      <a:pt x="7" y="61"/>
                      <a:pt x="0" y="51"/>
                      <a:pt x="0" y="32"/>
                    </a:cubicBezTo>
                    <a:cubicBezTo>
                      <a:pt x="0" y="22"/>
                      <a:pt x="2" y="14"/>
                      <a:pt x="6" y="9"/>
                    </a:cubicBezTo>
                    <a:cubicBezTo>
                      <a:pt x="9" y="3"/>
                      <a:pt x="15" y="1"/>
                      <a:pt x="22" y="1"/>
                    </a:cubicBezTo>
                    <a:cubicBezTo>
                      <a:pt x="36" y="1"/>
                      <a:pt x="43" y="11"/>
                      <a:pt x="43" y="30"/>
                    </a:cubicBezTo>
                    <a:cubicBezTo>
                      <a:pt x="43" y="40"/>
                      <a:pt x="41" y="48"/>
                      <a:pt x="37" y="53"/>
                    </a:cubicBezTo>
                    <a:cubicBezTo>
                      <a:pt x="33" y="59"/>
                      <a:pt x="28" y="61"/>
                      <a:pt x="21" y="61"/>
                    </a:cubicBezTo>
                    <a:close/>
                    <a:moveTo>
                      <a:pt x="22" y="10"/>
                    </a:moveTo>
                    <a:cubicBezTo>
                      <a:pt x="16" y="10"/>
                      <a:pt x="13" y="17"/>
                      <a:pt x="13" y="32"/>
                    </a:cubicBezTo>
                    <a:cubicBezTo>
                      <a:pt x="13" y="45"/>
                      <a:pt x="16" y="51"/>
                      <a:pt x="21" y="51"/>
                    </a:cubicBezTo>
                    <a:cubicBezTo>
                      <a:pt x="27" y="51"/>
                      <a:pt x="29" y="45"/>
                      <a:pt x="29" y="31"/>
                    </a:cubicBezTo>
                    <a:cubicBezTo>
                      <a:pt x="29" y="17"/>
                      <a:pt x="27" y="10"/>
                      <a:pt x="22" y="10"/>
                    </a:cubicBezTo>
                    <a:close/>
                    <a:moveTo>
                      <a:pt x="79" y="0"/>
                    </a:moveTo>
                    <a:cubicBezTo>
                      <a:pt x="79" y="60"/>
                      <a:pt x="79" y="60"/>
                      <a:pt x="79" y="60"/>
                    </a:cubicBezTo>
                    <a:cubicBezTo>
                      <a:pt x="66" y="60"/>
                      <a:pt x="66" y="60"/>
                      <a:pt x="66" y="60"/>
                    </a:cubicBezTo>
                    <a:cubicBezTo>
                      <a:pt x="66" y="15"/>
                      <a:pt x="66" y="15"/>
                      <a:pt x="66" y="15"/>
                    </a:cubicBezTo>
                    <a:cubicBezTo>
                      <a:pt x="66" y="15"/>
                      <a:pt x="65" y="16"/>
                      <a:pt x="64" y="17"/>
                    </a:cubicBezTo>
                    <a:cubicBezTo>
                      <a:pt x="63" y="17"/>
                      <a:pt x="62" y="18"/>
                      <a:pt x="61" y="18"/>
                    </a:cubicBezTo>
                    <a:cubicBezTo>
                      <a:pt x="60" y="19"/>
                      <a:pt x="59" y="19"/>
                      <a:pt x="57" y="19"/>
                    </a:cubicBezTo>
                    <a:cubicBezTo>
                      <a:pt x="56" y="20"/>
                      <a:pt x="55" y="20"/>
                      <a:pt x="54" y="20"/>
                    </a:cubicBezTo>
                    <a:cubicBezTo>
                      <a:pt x="54" y="9"/>
                      <a:pt x="54" y="9"/>
                      <a:pt x="54" y="9"/>
                    </a:cubicBezTo>
                    <a:cubicBezTo>
                      <a:pt x="57" y="8"/>
                      <a:pt x="61" y="7"/>
                      <a:pt x="64" y="5"/>
                    </a:cubicBezTo>
                    <a:cubicBezTo>
                      <a:pt x="66" y="4"/>
                      <a:pt x="69" y="2"/>
                      <a:pt x="72" y="0"/>
                    </a:cubicBezTo>
                    <a:lnTo>
                      <a:pt x="79" y="0"/>
                    </a:lnTo>
                    <a:close/>
                    <a:moveTo>
                      <a:pt x="117" y="61"/>
                    </a:moveTo>
                    <a:cubicBezTo>
                      <a:pt x="103" y="61"/>
                      <a:pt x="96" y="51"/>
                      <a:pt x="96" y="32"/>
                    </a:cubicBezTo>
                    <a:cubicBezTo>
                      <a:pt x="96" y="22"/>
                      <a:pt x="98" y="14"/>
                      <a:pt x="102" y="9"/>
                    </a:cubicBezTo>
                    <a:cubicBezTo>
                      <a:pt x="106" y="3"/>
                      <a:pt x="111" y="1"/>
                      <a:pt x="118" y="1"/>
                    </a:cubicBezTo>
                    <a:cubicBezTo>
                      <a:pt x="132" y="1"/>
                      <a:pt x="139" y="11"/>
                      <a:pt x="139" y="30"/>
                    </a:cubicBezTo>
                    <a:cubicBezTo>
                      <a:pt x="139" y="40"/>
                      <a:pt x="137" y="48"/>
                      <a:pt x="133" y="53"/>
                    </a:cubicBezTo>
                    <a:cubicBezTo>
                      <a:pt x="130" y="59"/>
                      <a:pt x="124" y="61"/>
                      <a:pt x="117" y="61"/>
                    </a:cubicBezTo>
                    <a:close/>
                    <a:moveTo>
                      <a:pt x="118" y="10"/>
                    </a:moveTo>
                    <a:cubicBezTo>
                      <a:pt x="112" y="10"/>
                      <a:pt x="109" y="17"/>
                      <a:pt x="109" y="32"/>
                    </a:cubicBezTo>
                    <a:cubicBezTo>
                      <a:pt x="109" y="45"/>
                      <a:pt x="112" y="51"/>
                      <a:pt x="118" y="51"/>
                    </a:cubicBezTo>
                    <a:cubicBezTo>
                      <a:pt x="123" y="51"/>
                      <a:pt x="126" y="45"/>
                      <a:pt x="126" y="31"/>
                    </a:cubicBezTo>
                    <a:cubicBezTo>
                      <a:pt x="126" y="17"/>
                      <a:pt x="123" y="10"/>
                      <a:pt x="118" y="10"/>
                    </a:cubicBezTo>
                    <a:close/>
                    <a:moveTo>
                      <a:pt x="176" y="0"/>
                    </a:moveTo>
                    <a:cubicBezTo>
                      <a:pt x="176" y="60"/>
                      <a:pt x="176" y="60"/>
                      <a:pt x="176" y="60"/>
                    </a:cubicBezTo>
                    <a:cubicBezTo>
                      <a:pt x="163" y="60"/>
                      <a:pt x="163" y="60"/>
                      <a:pt x="163" y="60"/>
                    </a:cubicBezTo>
                    <a:cubicBezTo>
                      <a:pt x="163" y="15"/>
                      <a:pt x="163" y="15"/>
                      <a:pt x="163" y="15"/>
                    </a:cubicBezTo>
                    <a:cubicBezTo>
                      <a:pt x="162" y="15"/>
                      <a:pt x="161" y="16"/>
                      <a:pt x="160" y="17"/>
                    </a:cubicBezTo>
                    <a:cubicBezTo>
                      <a:pt x="159" y="17"/>
                      <a:pt x="158" y="18"/>
                      <a:pt x="157" y="18"/>
                    </a:cubicBezTo>
                    <a:cubicBezTo>
                      <a:pt x="156" y="19"/>
                      <a:pt x="155" y="19"/>
                      <a:pt x="154" y="19"/>
                    </a:cubicBezTo>
                    <a:cubicBezTo>
                      <a:pt x="153" y="20"/>
                      <a:pt x="151" y="20"/>
                      <a:pt x="150" y="20"/>
                    </a:cubicBezTo>
                    <a:cubicBezTo>
                      <a:pt x="150" y="9"/>
                      <a:pt x="150" y="9"/>
                      <a:pt x="150" y="9"/>
                    </a:cubicBezTo>
                    <a:cubicBezTo>
                      <a:pt x="154" y="8"/>
                      <a:pt x="157" y="7"/>
                      <a:pt x="160" y="5"/>
                    </a:cubicBezTo>
                    <a:cubicBezTo>
                      <a:pt x="163" y="4"/>
                      <a:pt x="165" y="2"/>
                      <a:pt x="168" y="0"/>
                    </a:cubicBezTo>
                    <a:lnTo>
                      <a:pt x="176" y="0"/>
                    </a:lnTo>
                    <a:close/>
                    <a:moveTo>
                      <a:pt x="214" y="61"/>
                    </a:moveTo>
                    <a:cubicBezTo>
                      <a:pt x="200" y="61"/>
                      <a:pt x="193" y="51"/>
                      <a:pt x="193" y="32"/>
                    </a:cubicBezTo>
                    <a:cubicBezTo>
                      <a:pt x="193" y="22"/>
                      <a:pt x="195" y="14"/>
                      <a:pt x="198" y="9"/>
                    </a:cubicBezTo>
                    <a:cubicBezTo>
                      <a:pt x="202" y="3"/>
                      <a:pt x="208" y="1"/>
                      <a:pt x="215" y="1"/>
                    </a:cubicBezTo>
                    <a:cubicBezTo>
                      <a:pt x="228" y="1"/>
                      <a:pt x="235" y="11"/>
                      <a:pt x="235" y="30"/>
                    </a:cubicBezTo>
                    <a:cubicBezTo>
                      <a:pt x="235" y="40"/>
                      <a:pt x="233" y="48"/>
                      <a:pt x="230" y="53"/>
                    </a:cubicBezTo>
                    <a:cubicBezTo>
                      <a:pt x="226" y="59"/>
                      <a:pt x="221" y="61"/>
                      <a:pt x="214" y="61"/>
                    </a:cubicBezTo>
                    <a:close/>
                    <a:moveTo>
                      <a:pt x="214" y="10"/>
                    </a:moveTo>
                    <a:cubicBezTo>
                      <a:pt x="209" y="10"/>
                      <a:pt x="206" y="17"/>
                      <a:pt x="206" y="32"/>
                    </a:cubicBezTo>
                    <a:cubicBezTo>
                      <a:pt x="206" y="45"/>
                      <a:pt x="209" y="51"/>
                      <a:pt x="214" y="51"/>
                    </a:cubicBezTo>
                    <a:cubicBezTo>
                      <a:pt x="219" y="51"/>
                      <a:pt x="222" y="45"/>
                      <a:pt x="222" y="31"/>
                    </a:cubicBezTo>
                    <a:cubicBezTo>
                      <a:pt x="222" y="17"/>
                      <a:pt x="219" y="10"/>
                      <a:pt x="214" y="10"/>
                    </a:cubicBezTo>
                    <a:close/>
                    <a:moveTo>
                      <a:pt x="272" y="0"/>
                    </a:moveTo>
                    <a:cubicBezTo>
                      <a:pt x="272" y="60"/>
                      <a:pt x="272" y="60"/>
                      <a:pt x="272" y="60"/>
                    </a:cubicBezTo>
                    <a:cubicBezTo>
                      <a:pt x="259" y="60"/>
                      <a:pt x="259" y="60"/>
                      <a:pt x="259" y="60"/>
                    </a:cubicBezTo>
                    <a:cubicBezTo>
                      <a:pt x="259" y="15"/>
                      <a:pt x="259" y="15"/>
                      <a:pt x="259" y="15"/>
                    </a:cubicBezTo>
                    <a:cubicBezTo>
                      <a:pt x="258" y="15"/>
                      <a:pt x="258" y="16"/>
                      <a:pt x="257" y="17"/>
                    </a:cubicBezTo>
                    <a:cubicBezTo>
                      <a:pt x="256" y="17"/>
                      <a:pt x="255" y="18"/>
                      <a:pt x="254" y="18"/>
                    </a:cubicBezTo>
                    <a:cubicBezTo>
                      <a:pt x="252" y="19"/>
                      <a:pt x="251" y="19"/>
                      <a:pt x="250" y="19"/>
                    </a:cubicBezTo>
                    <a:cubicBezTo>
                      <a:pt x="249" y="20"/>
                      <a:pt x="248" y="20"/>
                      <a:pt x="247" y="20"/>
                    </a:cubicBezTo>
                    <a:cubicBezTo>
                      <a:pt x="247" y="9"/>
                      <a:pt x="247" y="9"/>
                      <a:pt x="247" y="9"/>
                    </a:cubicBezTo>
                    <a:cubicBezTo>
                      <a:pt x="250" y="8"/>
                      <a:pt x="253" y="7"/>
                      <a:pt x="256" y="5"/>
                    </a:cubicBezTo>
                    <a:cubicBezTo>
                      <a:pt x="259" y="4"/>
                      <a:pt x="262" y="2"/>
                      <a:pt x="264" y="0"/>
                    </a:cubicBezTo>
                    <a:lnTo>
                      <a:pt x="272" y="0"/>
                    </a:lnTo>
                    <a:close/>
                    <a:moveTo>
                      <a:pt x="25" y="77"/>
                    </a:moveTo>
                    <a:cubicBezTo>
                      <a:pt x="25" y="137"/>
                      <a:pt x="25" y="137"/>
                      <a:pt x="25" y="137"/>
                    </a:cubicBezTo>
                    <a:cubicBezTo>
                      <a:pt x="12" y="137"/>
                      <a:pt x="12" y="137"/>
                      <a:pt x="12" y="137"/>
                    </a:cubicBezTo>
                    <a:cubicBezTo>
                      <a:pt x="12" y="92"/>
                      <a:pt x="12" y="92"/>
                      <a:pt x="12" y="92"/>
                    </a:cubicBezTo>
                    <a:cubicBezTo>
                      <a:pt x="12" y="92"/>
                      <a:pt x="11" y="93"/>
                      <a:pt x="10" y="93"/>
                    </a:cubicBezTo>
                    <a:cubicBezTo>
                      <a:pt x="9" y="94"/>
                      <a:pt x="8" y="94"/>
                      <a:pt x="7" y="95"/>
                    </a:cubicBezTo>
                    <a:cubicBezTo>
                      <a:pt x="6" y="95"/>
                      <a:pt x="5" y="96"/>
                      <a:pt x="3" y="96"/>
                    </a:cubicBezTo>
                    <a:cubicBezTo>
                      <a:pt x="2" y="96"/>
                      <a:pt x="1" y="97"/>
                      <a:pt x="0" y="97"/>
                    </a:cubicBezTo>
                    <a:cubicBezTo>
                      <a:pt x="0" y="86"/>
                      <a:pt x="0" y="86"/>
                      <a:pt x="0" y="86"/>
                    </a:cubicBezTo>
                    <a:cubicBezTo>
                      <a:pt x="3" y="85"/>
                      <a:pt x="6" y="84"/>
                      <a:pt x="9" y="82"/>
                    </a:cubicBezTo>
                    <a:cubicBezTo>
                      <a:pt x="12" y="81"/>
                      <a:pt x="15" y="79"/>
                      <a:pt x="17" y="77"/>
                    </a:cubicBezTo>
                    <a:lnTo>
                      <a:pt x="25" y="77"/>
                    </a:lnTo>
                    <a:close/>
                    <a:moveTo>
                      <a:pt x="63" y="138"/>
                    </a:moveTo>
                    <a:cubicBezTo>
                      <a:pt x="49" y="138"/>
                      <a:pt x="42" y="128"/>
                      <a:pt x="42" y="109"/>
                    </a:cubicBezTo>
                    <a:cubicBezTo>
                      <a:pt x="42" y="98"/>
                      <a:pt x="44" y="91"/>
                      <a:pt x="48" y="85"/>
                    </a:cubicBezTo>
                    <a:cubicBezTo>
                      <a:pt x="52" y="80"/>
                      <a:pt x="57" y="77"/>
                      <a:pt x="64" y="77"/>
                    </a:cubicBezTo>
                    <a:cubicBezTo>
                      <a:pt x="78" y="77"/>
                      <a:pt x="85" y="87"/>
                      <a:pt x="85" y="107"/>
                    </a:cubicBezTo>
                    <a:cubicBezTo>
                      <a:pt x="85" y="117"/>
                      <a:pt x="83" y="125"/>
                      <a:pt x="79" y="130"/>
                    </a:cubicBezTo>
                    <a:cubicBezTo>
                      <a:pt x="75" y="135"/>
                      <a:pt x="70" y="138"/>
                      <a:pt x="63" y="138"/>
                    </a:cubicBezTo>
                    <a:close/>
                    <a:moveTo>
                      <a:pt x="64" y="87"/>
                    </a:moveTo>
                    <a:cubicBezTo>
                      <a:pt x="58" y="87"/>
                      <a:pt x="55" y="94"/>
                      <a:pt x="55" y="108"/>
                    </a:cubicBezTo>
                    <a:cubicBezTo>
                      <a:pt x="55" y="121"/>
                      <a:pt x="58" y="128"/>
                      <a:pt x="64" y="128"/>
                    </a:cubicBezTo>
                    <a:cubicBezTo>
                      <a:pt x="69" y="128"/>
                      <a:pt x="72" y="121"/>
                      <a:pt x="72" y="108"/>
                    </a:cubicBezTo>
                    <a:cubicBezTo>
                      <a:pt x="72" y="94"/>
                      <a:pt x="69" y="87"/>
                      <a:pt x="64" y="87"/>
                    </a:cubicBezTo>
                    <a:close/>
                    <a:moveTo>
                      <a:pt x="122" y="77"/>
                    </a:moveTo>
                    <a:cubicBezTo>
                      <a:pt x="122" y="137"/>
                      <a:pt x="122" y="137"/>
                      <a:pt x="122" y="137"/>
                    </a:cubicBezTo>
                    <a:cubicBezTo>
                      <a:pt x="109" y="137"/>
                      <a:pt x="109" y="137"/>
                      <a:pt x="109" y="137"/>
                    </a:cubicBezTo>
                    <a:cubicBezTo>
                      <a:pt x="109" y="92"/>
                      <a:pt x="109" y="92"/>
                      <a:pt x="109" y="92"/>
                    </a:cubicBezTo>
                    <a:cubicBezTo>
                      <a:pt x="108" y="92"/>
                      <a:pt x="107" y="93"/>
                      <a:pt x="106" y="93"/>
                    </a:cubicBezTo>
                    <a:cubicBezTo>
                      <a:pt x="105" y="94"/>
                      <a:pt x="104" y="94"/>
                      <a:pt x="103" y="95"/>
                    </a:cubicBezTo>
                    <a:cubicBezTo>
                      <a:pt x="102" y="95"/>
                      <a:pt x="101" y="96"/>
                      <a:pt x="100" y="96"/>
                    </a:cubicBezTo>
                    <a:cubicBezTo>
                      <a:pt x="98" y="96"/>
                      <a:pt x="97" y="97"/>
                      <a:pt x="96" y="97"/>
                    </a:cubicBezTo>
                    <a:cubicBezTo>
                      <a:pt x="96" y="86"/>
                      <a:pt x="96" y="86"/>
                      <a:pt x="96" y="86"/>
                    </a:cubicBezTo>
                    <a:cubicBezTo>
                      <a:pt x="100" y="85"/>
                      <a:pt x="103" y="84"/>
                      <a:pt x="106" y="82"/>
                    </a:cubicBezTo>
                    <a:cubicBezTo>
                      <a:pt x="109" y="81"/>
                      <a:pt x="111" y="79"/>
                      <a:pt x="114" y="77"/>
                    </a:cubicBezTo>
                    <a:lnTo>
                      <a:pt x="122" y="77"/>
                    </a:lnTo>
                    <a:close/>
                    <a:moveTo>
                      <a:pt x="159" y="138"/>
                    </a:moveTo>
                    <a:cubicBezTo>
                      <a:pt x="145" y="138"/>
                      <a:pt x="138" y="128"/>
                      <a:pt x="138" y="109"/>
                    </a:cubicBezTo>
                    <a:cubicBezTo>
                      <a:pt x="138" y="98"/>
                      <a:pt x="140" y="91"/>
                      <a:pt x="144" y="85"/>
                    </a:cubicBezTo>
                    <a:cubicBezTo>
                      <a:pt x="148" y="80"/>
                      <a:pt x="153" y="77"/>
                      <a:pt x="161" y="77"/>
                    </a:cubicBezTo>
                    <a:cubicBezTo>
                      <a:pt x="174" y="77"/>
                      <a:pt x="181" y="87"/>
                      <a:pt x="181" y="107"/>
                    </a:cubicBezTo>
                    <a:cubicBezTo>
                      <a:pt x="181" y="117"/>
                      <a:pt x="179" y="125"/>
                      <a:pt x="175" y="130"/>
                    </a:cubicBezTo>
                    <a:cubicBezTo>
                      <a:pt x="172" y="135"/>
                      <a:pt x="166" y="138"/>
                      <a:pt x="159" y="138"/>
                    </a:cubicBezTo>
                    <a:close/>
                    <a:moveTo>
                      <a:pt x="160" y="87"/>
                    </a:moveTo>
                    <a:cubicBezTo>
                      <a:pt x="154" y="87"/>
                      <a:pt x="152" y="94"/>
                      <a:pt x="152" y="108"/>
                    </a:cubicBezTo>
                    <a:cubicBezTo>
                      <a:pt x="152" y="121"/>
                      <a:pt x="154" y="128"/>
                      <a:pt x="160" y="128"/>
                    </a:cubicBezTo>
                    <a:cubicBezTo>
                      <a:pt x="165" y="128"/>
                      <a:pt x="168" y="121"/>
                      <a:pt x="168" y="108"/>
                    </a:cubicBezTo>
                    <a:cubicBezTo>
                      <a:pt x="168" y="94"/>
                      <a:pt x="165" y="87"/>
                      <a:pt x="160" y="87"/>
                    </a:cubicBezTo>
                    <a:close/>
                    <a:moveTo>
                      <a:pt x="218" y="77"/>
                    </a:moveTo>
                    <a:cubicBezTo>
                      <a:pt x="218" y="137"/>
                      <a:pt x="218" y="137"/>
                      <a:pt x="218" y="137"/>
                    </a:cubicBezTo>
                    <a:cubicBezTo>
                      <a:pt x="205" y="137"/>
                      <a:pt x="205" y="137"/>
                      <a:pt x="205" y="137"/>
                    </a:cubicBezTo>
                    <a:cubicBezTo>
                      <a:pt x="205" y="92"/>
                      <a:pt x="205" y="92"/>
                      <a:pt x="205" y="92"/>
                    </a:cubicBezTo>
                    <a:cubicBezTo>
                      <a:pt x="204" y="92"/>
                      <a:pt x="203" y="93"/>
                      <a:pt x="202" y="93"/>
                    </a:cubicBezTo>
                    <a:cubicBezTo>
                      <a:pt x="201" y="94"/>
                      <a:pt x="200" y="94"/>
                      <a:pt x="199" y="95"/>
                    </a:cubicBezTo>
                    <a:cubicBezTo>
                      <a:pt x="198" y="95"/>
                      <a:pt x="197" y="96"/>
                      <a:pt x="196" y="96"/>
                    </a:cubicBezTo>
                    <a:cubicBezTo>
                      <a:pt x="195" y="96"/>
                      <a:pt x="194" y="97"/>
                      <a:pt x="192" y="97"/>
                    </a:cubicBezTo>
                    <a:cubicBezTo>
                      <a:pt x="192" y="86"/>
                      <a:pt x="192" y="86"/>
                      <a:pt x="192" y="86"/>
                    </a:cubicBezTo>
                    <a:cubicBezTo>
                      <a:pt x="196" y="85"/>
                      <a:pt x="199" y="84"/>
                      <a:pt x="202" y="82"/>
                    </a:cubicBezTo>
                    <a:cubicBezTo>
                      <a:pt x="205" y="81"/>
                      <a:pt x="208" y="79"/>
                      <a:pt x="210" y="77"/>
                    </a:cubicBezTo>
                    <a:lnTo>
                      <a:pt x="218" y="77"/>
                    </a:lnTo>
                    <a:close/>
                    <a:moveTo>
                      <a:pt x="256" y="138"/>
                    </a:moveTo>
                    <a:cubicBezTo>
                      <a:pt x="242" y="138"/>
                      <a:pt x="235" y="128"/>
                      <a:pt x="235" y="109"/>
                    </a:cubicBezTo>
                    <a:cubicBezTo>
                      <a:pt x="235" y="98"/>
                      <a:pt x="237" y="91"/>
                      <a:pt x="240" y="85"/>
                    </a:cubicBezTo>
                    <a:cubicBezTo>
                      <a:pt x="244" y="80"/>
                      <a:pt x="250" y="77"/>
                      <a:pt x="257" y="77"/>
                    </a:cubicBezTo>
                    <a:cubicBezTo>
                      <a:pt x="270" y="77"/>
                      <a:pt x="277" y="87"/>
                      <a:pt x="277" y="107"/>
                    </a:cubicBezTo>
                    <a:cubicBezTo>
                      <a:pt x="277" y="117"/>
                      <a:pt x="275" y="125"/>
                      <a:pt x="272" y="130"/>
                    </a:cubicBezTo>
                    <a:cubicBezTo>
                      <a:pt x="268" y="135"/>
                      <a:pt x="263" y="138"/>
                      <a:pt x="256" y="138"/>
                    </a:cubicBezTo>
                    <a:close/>
                    <a:moveTo>
                      <a:pt x="256" y="87"/>
                    </a:moveTo>
                    <a:cubicBezTo>
                      <a:pt x="251" y="87"/>
                      <a:pt x="248" y="94"/>
                      <a:pt x="248" y="108"/>
                    </a:cubicBezTo>
                    <a:cubicBezTo>
                      <a:pt x="248" y="121"/>
                      <a:pt x="251" y="128"/>
                      <a:pt x="256" y="128"/>
                    </a:cubicBezTo>
                    <a:cubicBezTo>
                      <a:pt x="261" y="128"/>
                      <a:pt x="264" y="121"/>
                      <a:pt x="264" y="108"/>
                    </a:cubicBezTo>
                    <a:cubicBezTo>
                      <a:pt x="264" y="94"/>
                      <a:pt x="262" y="87"/>
                      <a:pt x="256" y="87"/>
                    </a:cubicBezTo>
                    <a:close/>
                    <a:moveTo>
                      <a:pt x="21" y="215"/>
                    </a:moveTo>
                    <a:cubicBezTo>
                      <a:pt x="7" y="215"/>
                      <a:pt x="0" y="205"/>
                      <a:pt x="0" y="185"/>
                    </a:cubicBezTo>
                    <a:cubicBezTo>
                      <a:pt x="0" y="175"/>
                      <a:pt x="2" y="167"/>
                      <a:pt x="6" y="162"/>
                    </a:cubicBezTo>
                    <a:cubicBezTo>
                      <a:pt x="9" y="157"/>
                      <a:pt x="15" y="154"/>
                      <a:pt x="22" y="154"/>
                    </a:cubicBezTo>
                    <a:cubicBezTo>
                      <a:pt x="36" y="154"/>
                      <a:pt x="43" y="164"/>
                      <a:pt x="43" y="184"/>
                    </a:cubicBezTo>
                    <a:cubicBezTo>
                      <a:pt x="43" y="194"/>
                      <a:pt x="41" y="201"/>
                      <a:pt x="37" y="207"/>
                    </a:cubicBezTo>
                    <a:cubicBezTo>
                      <a:pt x="33" y="212"/>
                      <a:pt x="28" y="215"/>
                      <a:pt x="21" y="215"/>
                    </a:cubicBezTo>
                    <a:close/>
                    <a:moveTo>
                      <a:pt x="22" y="164"/>
                    </a:moveTo>
                    <a:cubicBezTo>
                      <a:pt x="16" y="164"/>
                      <a:pt x="13" y="171"/>
                      <a:pt x="13" y="185"/>
                    </a:cubicBezTo>
                    <a:cubicBezTo>
                      <a:pt x="13" y="198"/>
                      <a:pt x="16" y="205"/>
                      <a:pt x="21" y="205"/>
                    </a:cubicBezTo>
                    <a:cubicBezTo>
                      <a:pt x="27" y="205"/>
                      <a:pt x="29" y="198"/>
                      <a:pt x="29" y="184"/>
                    </a:cubicBezTo>
                    <a:cubicBezTo>
                      <a:pt x="29" y="171"/>
                      <a:pt x="27" y="164"/>
                      <a:pt x="22" y="164"/>
                    </a:cubicBezTo>
                    <a:close/>
                    <a:moveTo>
                      <a:pt x="79" y="154"/>
                    </a:moveTo>
                    <a:cubicBezTo>
                      <a:pt x="79" y="214"/>
                      <a:pt x="79" y="214"/>
                      <a:pt x="79" y="214"/>
                    </a:cubicBezTo>
                    <a:cubicBezTo>
                      <a:pt x="66" y="214"/>
                      <a:pt x="66" y="214"/>
                      <a:pt x="66" y="214"/>
                    </a:cubicBezTo>
                    <a:cubicBezTo>
                      <a:pt x="66" y="168"/>
                      <a:pt x="66" y="168"/>
                      <a:pt x="66" y="168"/>
                    </a:cubicBezTo>
                    <a:cubicBezTo>
                      <a:pt x="66" y="169"/>
                      <a:pt x="65" y="170"/>
                      <a:pt x="64" y="170"/>
                    </a:cubicBezTo>
                    <a:cubicBezTo>
                      <a:pt x="63" y="171"/>
                      <a:pt x="62" y="171"/>
                      <a:pt x="61" y="172"/>
                    </a:cubicBezTo>
                    <a:cubicBezTo>
                      <a:pt x="60" y="172"/>
                      <a:pt x="59" y="172"/>
                      <a:pt x="57" y="173"/>
                    </a:cubicBezTo>
                    <a:cubicBezTo>
                      <a:pt x="56" y="173"/>
                      <a:pt x="55" y="173"/>
                      <a:pt x="54" y="173"/>
                    </a:cubicBezTo>
                    <a:cubicBezTo>
                      <a:pt x="54" y="163"/>
                      <a:pt x="54" y="163"/>
                      <a:pt x="54" y="163"/>
                    </a:cubicBezTo>
                    <a:cubicBezTo>
                      <a:pt x="57" y="162"/>
                      <a:pt x="61" y="160"/>
                      <a:pt x="64" y="159"/>
                    </a:cubicBezTo>
                    <a:cubicBezTo>
                      <a:pt x="66" y="157"/>
                      <a:pt x="69" y="156"/>
                      <a:pt x="72" y="154"/>
                    </a:cubicBezTo>
                    <a:lnTo>
                      <a:pt x="79" y="154"/>
                    </a:lnTo>
                    <a:close/>
                    <a:moveTo>
                      <a:pt x="117" y="215"/>
                    </a:moveTo>
                    <a:cubicBezTo>
                      <a:pt x="103" y="215"/>
                      <a:pt x="96" y="205"/>
                      <a:pt x="96" y="185"/>
                    </a:cubicBezTo>
                    <a:cubicBezTo>
                      <a:pt x="96" y="175"/>
                      <a:pt x="98" y="167"/>
                      <a:pt x="102" y="162"/>
                    </a:cubicBezTo>
                    <a:cubicBezTo>
                      <a:pt x="106" y="157"/>
                      <a:pt x="111" y="154"/>
                      <a:pt x="118" y="154"/>
                    </a:cubicBezTo>
                    <a:cubicBezTo>
                      <a:pt x="132" y="154"/>
                      <a:pt x="139" y="164"/>
                      <a:pt x="139" y="184"/>
                    </a:cubicBezTo>
                    <a:cubicBezTo>
                      <a:pt x="139" y="194"/>
                      <a:pt x="137" y="201"/>
                      <a:pt x="133" y="207"/>
                    </a:cubicBezTo>
                    <a:cubicBezTo>
                      <a:pt x="130" y="212"/>
                      <a:pt x="124" y="215"/>
                      <a:pt x="117" y="215"/>
                    </a:cubicBezTo>
                    <a:close/>
                    <a:moveTo>
                      <a:pt x="118" y="164"/>
                    </a:moveTo>
                    <a:cubicBezTo>
                      <a:pt x="112" y="164"/>
                      <a:pt x="109" y="171"/>
                      <a:pt x="109" y="185"/>
                    </a:cubicBezTo>
                    <a:cubicBezTo>
                      <a:pt x="109" y="198"/>
                      <a:pt x="112" y="205"/>
                      <a:pt x="118" y="205"/>
                    </a:cubicBezTo>
                    <a:cubicBezTo>
                      <a:pt x="123" y="205"/>
                      <a:pt x="126" y="198"/>
                      <a:pt x="126" y="184"/>
                    </a:cubicBezTo>
                    <a:cubicBezTo>
                      <a:pt x="126" y="171"/>
                      <a:pt x="123" y="164"/>
                      <a:pt x="118" y="164"/>
                    </a:cubicBezTo>
                    <a:close/>
                    <a:moveTo>
                      <a:pt x="176" y="154"/>
                    </a:moveTo>
                    <a:cubicBezTo>
                      <a:pt x="176" y="214"/>
                      <a:pt x="176" y="214"/>
                      <a:pt x="176" y="214"/>
                    </a:cubicBezTo>
                    <a:cubicBezTo>
                      <a:pt x="163" y="214"/>
                      <a:pt x="163" y="214"/>
                      <a:pt x="163" y="214"/>
                    </a:cubicBezTo>
                    <a:cubicBezTo>
                      <a:pt x="163" y="168"/>
                      <a:pt x="163" y="168"/>
                      <a:pt x="163" y="168"/>
                    </a:cubicBezTo>
                    <a:cubicBezTo>
                      <a:pt x="162" y="169"/>
                      <a:pt x="161" y="170"/>
                      <a:pt x="160" y="170"/>
                    </a:cubicBezTo>
                    <a:cubicBezTo>
                      <a:pt x="159" y="171"/>
                      <a:pt x="158" y="171"/>
                      <a:pt x="157" y="172"/>
                    </a:cubicBezTo>
                    <a:cubicBezTo>
                      <a:pt x="156" y="172"/>
                      <a:pt x="155" y="172"/>
                      <a:pt x="154" y="173"/>
                    </a:cubicBezTo>
                    <a:cubicBezTo>
                      <a:pt x="153" y="173"/>
                      <a:pt x="151" y="173"/>
                      <a:pt x="150" y="173"/>
                    </a:cubicBezTo>
                    <a:cubicBezTo>
                      <a:pt x="150" y="163"/>
                      <a:pt x="150" y="163"/>
                      <a:pt x="150" y="163"/>
                    </a:cubicBezTo>
                    <a:cubicBezTo>
                      <a:pt x="154" y="162"/>
                      <a:pt x="157" y="160"/>
                      <a:pt x="160" y="159"/>
                    </a:cubicBezTo>
                    <a:cubicBezTo>
                      <a:pt x="163" y="157"/>
                      <a:pt x="165" y="156"/>
                      <a:pt x="168" y="154"/>
                    </a:cubicBezTo>
                    <a:lnTo>
                      <a:pt x="176" y="154"/>
                    </a:lnTo>
                    <a:close/>
                    <a:moveTo>
                      <a:pt x="214" y="215"/>
                    </a:moveTo>
                    <a:cubicBezTo>
                      <a:pt x="200" y="215"/>
                      <a:pt x="193" y="205"/>
                      <a:pt x="193" y="185"/>
                    </a:cubicBezTo>
                    <a:cubicBezTo>
                      <a:pt x="193" y="175"/>
                      <a:pt x="195" y="167"/>
                      <a:pt x="198" y="162"/>
                    </a:cubicBezTo>
                    <a:cubicBezTo>
                      <a:pt x="202" y="157"/>
                      <a:pt x="208" y="154"/>
                      <a:pt x="215" y="154"/>
                    </a:cubicBezTo>
                    <a:cubicBezTo>
                      <a:pt x="228" y="154"/>
                      <a:pt x="235" y="164"/>
                      <a:pt x="235" y="184"/>
                    </a:cubicBezTo>
                    <a:cubicBezTo>
                      <a:pt x="235" y="194"/>
                      <a:pt x="233" y="201"/>
                      <a:pt x="230" y="207"/>
                    </a:cubicBezTo>
                    <a:cubicBezTo>
                      <a:pt x="226" y="212"/>
                      <a:pt x="221" y="215"/>
                      <a:pt x="214" y="215"/>
                    </a:cubicBezTo>
                    <a:close/>
                    <a:moveTo>
                      <a:pt x="214" y="164"/>
                    </a:moveTo>
                    <a:cubicBezTo>
                      <a:pt x="209" y="164"/>
                      <a:pt x="206" y="171"/>
                      <a:pt x="206" y="185"/>
                    </a:cubicBezTo>
                    <a:cubicBezTo>
                      <a:pt x="206" y="198"/>
                      <a:pt x="209" y="205"/>
                      <a:pt x="214" y="205"/>
                    </a:cubicBezTo>
                    <a:cubicBezTo>
                      <a:pt x="219" y="205"/>
                      <a:pt x="222" y="198"/>
                      <a:pt x="222" y="184"/>
                    </a:cubicBezTo>
                    <a:cubicBezTo>
                      <a:pt x="222" y="171"/>
                      <a:pt x="219" y="164"/>
                      <a:pt x="214" y="164"/>
                    </a:cubicBezTo>
                    <a:close/>
                    <a:moveTo>
                      <a:pt x="272" y="154"/>
                    </a:moveTo>
                    <a:cubicBezTo>
                      <a:pt x="272" y="214"/>
                      <a:pt x="272" y="214"/>
                      <a:pt x="272" y="214"/>
                    </a:cubicBezTo>
                    <a:cubicBezTo>
                      <a:pt x="259" y="214"/>
                      <a:pt x="259" y="214"/>
                      <a:pt x="259" y="214"/>
                    </a:cubicBezTo>
                    <a:cubicBezTo>
                      <a:pt x="259" y="168"/>
                      <a:pt x="259" y="168"/>
                      <a:pt x="259" y="168"/>
                    </a:cubicBezTo>
                    <a:cubicBezTo>
                      <a:pt x="258" y="169"/>
                      <a:pt x="258" y="170"/>
                      <a:pt x="257" y="170"/>
                    </a:cubicBezTo>
                    <a:cubicBezTo>
                      <a:pt x="256" y="171"/>
                      <a:pt x="255" y="171"/>
                      <a:pt x="254" y="172"/>
                    </a:cubicBezTo>
                    <a:cubicBezTo>
                      <a:pt x="252" y="172"/>
                      <a:pt x="251" y="172"/>
                      <a:pt x="250" y="173"/>
                    </a:cubicBezTo>
                    <a:cubicBezTo>
                      <a:pt x="249" y="173"/>
                      <a:pt x="248" y="173"/>
                      <a:pt x="247" y="173"/>
                    </a:cubicBezTo>
                    <a:cubicBezTo>
                      <a:pt x="247" y="163"/>
                      <a:pt x="247" y="163"/>
                      <a:pt x="247" y="163"/>
                    </a:cubicBezTo>
                    <a:cubicBezTo>
                      <a:pt x="250" y="162"/>
                      <a:pt x="253" y="160"/>
                      <a:pt x="256" y="159"/>
                    </a:cubicBezTo>
                    <a:cubicBezTo>
                      <a:pt x="259" y="157"/>
                      <a:pt x="262" y="156"/>
                      <a:pt x="264" y="154"/>
                    </a:cubicBezTo>
                    <a:lnTo>
                      <a:pt x="272" y="154"/>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46" name="Freeform 45"/>
              <p:cNvSpPr>
                <a:spLocks noChangeAspect="1"/>
              </p:cNvSpPr>
              <p:nvPr/>
            </p:nvSpPr>
            <p:spPr bwMode="black">
              <a:xfrm>
                <a:off x="810855" y="2476645"/>
                <a:ext cx="373866" cy="260946"/>
              </a:xfrm>
              <a:custGeom>
                <a:avLst/>
                <a:gdLst>
                  <a:gd name="connsiteX0" fmla="*/ 541228 w 979570"/>
                  <a:gd name="connsiteY0" fmla="*/ 531962 h 887227"/>
                  <a:gd name="connsiteX1" fmla="*/ 547155 w 979570"/>
                  <a:gd name="connsiteY1" fmla="*/ 538150 h 887227"/>
                  <a:gd name="connsiteX2" fmla="*/ 760399 w 979570"/>
                  <a:gd name="connsiteY2" fmla="*/ 601984 h 887227"/>
                  <a:gd name="connsiteX3" fmla="*/ 973643 w 979570"/>
                  <a:gd name="connsiteY3" fmla="*/ 538150 h 887227"/>
                  <a:gd name="connsiteX4" fmla="*/ 979570 w 979570"/>
                  <a:gd name="connsiteY4" fmla="*/ 531962 h 887227"/>
                  <a:gd name="connsiteX5" fmla="*/ 979570 w 979570"/>
                  <a:gd name="connsiteY5" fmla="*/ 776991 h 887227"/>
                  <a:gd name="connsiteX6" fmla="*/ 979570 w 979570"/>
                  <a:gd name="connsiteY6" fmla="*/ 776993 h 887227"/>
                  <a:gd name="connsiteX7" fmla="*/ 760399 w 979570"/>
                  <a:gd name="connsiteY7" fmla="*/ 887227 h 887227"/>
                  <a:gd name="connsiteX8" fmla="*/ 541228 w 979570"/>
                  <a:gd name="connsiteY8" fmla="*/ 776993 h 887227"/>
                  <a:gd name="connsiteX9" fmla="*/ 541228 w 979570"/>
                  <a:gd name="connsiteY9" fmla="*/ 776993 h 887227"/>
                  <a:gd name="connsiteX10" fmla="*/ 0 w 979570"/>
                  <a:gd name="connsiteY10" fmla="*/ 531962 h 887227"/>
                  <a:gd name="connsiteX11" fmla="*/ 5927 w 979570"/>
                  <a:gd name="connsiteY11" fmla="*/ 538150 h 887227"/>
                  <a:gd name="connsiteX12" fmla="*/ 219171 w 979570"/>
                  <a:gd name="connsiteY12" fmla="*/ 601984 h 887227"/>
                  <a:gd name="connsiteX13" fmla="*/ 432415 w 979570"/>
                  <a:gd name="connsiteY13" fmla="*/ 538150 h 887227"/>
                  <a:gd name="connsiteX14" fmla="*/ 438342 w 979570"/>
                  <a:gd name="connsiteY14" fmla="*/ 531962 h 887227"/>
                  <a:gd name="connsiteX15" fmla="*/ 438342 w 979570"/>
                  <a:gd name="connsiteY15" fmla="*/ 776991 h 887227"/>
                  <a:gd name="connsiteX16" fmla="*/ 438342 w 979570"/>
                  <a:gd name="connsiteY16" fmla="*/ 776993 h 887227"/>
                  <a:gd name="connsiteX17" fmla="*/ 219171 w 979570"/>
                  <a:gd name="connsiteY17" fmla="*/ 887227 h 887227"/>
                  <a:gd name="connsiteX18" fmla="*/ 0 w 979570"/>
                  <a:gd name="connsiteY18" fmla="*/ 776993 h 887227"/>
                  <a:gd name="connsiteX19" fmla="*/ 0 w 979570"/>
                  <a:gd name="connsiteY19" fmla="*/ 776993 h 887227"/>
                  <a:gd name="connsiteX20" fmla="*/ 760036 w 979570"/>
                  <a:gd name="connsiteY20" fmla="*/ 322411 h 887227"/>
                  <a:gd name="connsiteX21" fmla="*/ 978844 w 979570"/>
                  <a:gd name="connsiteY21" fmla="*/ 444386 h 887227"/>
                  <a:gd name="connsiteX22" fmla="*/ 760036 w 979570"/>
                  <a:gd name="connsiteY22" fmla="*/ 566361 h 887227"/>
                  <a:gd name="connsiteX23" fmla="*/ 541228 w 979570"/>
                  <a:gd name="connsiteY23" fmla="*/ 444386 h 887227"/>
                  <a:gd name="connsiteX24" fmla="*/ 760036 w 979570"/>
                  <a:gd name="connsiteY24" fmla="*/ 322411 h 887227"/>
                  <a:gd name="connsiteX25" fmla="*/ 0 w 979570"/>
                  <a:gd name="connsiteY25" fmla="*/ 209552 h 887227"/>
                  <a:gd name="connsiteX26" fmla="*/ 5927 w 979570"/>
                  <a:gd name="connsiteY26" fmla="*/ 215739 h 887227"/>
                  <a:gd name="connsiteX27" fmla="*/ 219171 w 979570"/>
                  <a:gd name="connsiteY27" fmla="*/ 279574 h 887227"/>
                  <a:gd name="connsiteX28" fmla="*/ 432415 w 979570"/>
                  <a:gd name="connsiteY28" fmla="*/ 215739 h 887227"/>
                  <a:gd name="connsiteX29" fmla="*/ 438342 w 979570"/>
                  <a:gd name="connsiteY29" fmla="*/ 209552 h 887227"/>
                  <a:gd name="connsiteX30" fmla="*/ 438342 w 979570"/>
                  <a:gd name="connsiteY30" fmla="*/ 454580 h 887227"/>
                  <a:gd name="connsiteX31" fmla="*/ 438342 w 979570"/>
                  <a:gd name="connsiteY31" fmla="*/ 454583 h 887227"/>
                  <a:gd name="connsiteX32" fmla="*/ 219171 w 979570"/>
                  <a:gd name="connsiteY32" fmla="*/ 564817 h 887227"/>
                  <a:gd name="connsiteX33" fmla="*/ 0 w 979570"/>
                  <a:gd name="connsiteY33" fmla="*/ 454583 h 887227"/>
                  <a:gd name="connsiteX34" fmla="*/ 0 w 979570"/>
                  <a:gd name="connsiteY34" fmla="*/ 454582 h 887227"/>
                  <a:gd name="connsiteX35" fmla="*/ 218808 w 979570"/>
                  <a:gd name="connsiteY35" fmla="*/ 0 h 887227"/>
                  <a:gd name="connsiteX36" fmla="*/ 437616 w 979570"/>
                  <a:gd name="connsiteY36" fmla="*/ 121975 h 887227"/>
                  <a:gd name="connsiteX37" fmla="*/ 218808 w 979570"/>
                  <a:gd name="connsiteY37" fmla="*/ 243950 h 887227"/>
                  <a:gd name="connsiteX38" fmla="*/ 0 w 979570"/>
                  <a:gd name="connsiteY38" fmla="*/ 121975 h 887227"/>
                  <a:gd name="connsiteX39" fmla="*/ 218808 w 979570"/>
                  <a:gd name="connsiteY39" fmla="*/ 0 h 8872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979570" h="887227">
                    <a:moveTo>
                      <a:pt x="541228" y="531962"/>
                    </a:moveTo>
                    <a:lnTo>
                      <a:pt x="547155" y="538150"/>
                    </a:lnTo>
                    <a:cubicBezTo>
                      <a:pt x="588222" y="576173"/>
                      <a:pt x="668317" y="601984"/>
                      <a:pt x="760399" y="601984"/>
                    </a:cubicBezTo>
                    <a:cubicBezTo>
                      <a:pt x="852481" y="601984"/>
                      <a:pt x="932576" y="576173"/>
                      <a:pt x="973643" y="538150"/>
                    </a:cubicBezTo>
                    <a:lnTo>
                      <a:pt x="979570" y="531962"/>
                    </a:lnTo>
                    <a:lnTo>
                      <a:pt x="979570" y="776991"/>
                    </a:lnTo>
                    <a:lnTo>
                      <a:pt x="979570" y="776993"/>
                    </a:lnTo>
                    <a:cubicBezTo>
                      <a:pt x="979570" y="837874"/>
                      <a:pt x="881444" y="887227"/>
                      <a:pt x="760399" y="887227"/>
                    </a:cubicBezTo>
                    <a:cubicBezTo>
                      <a:pt x="639354" y="887227"/>
                      <a:pt x="541228" y="837874"/>
                      <a:pt x="541228" y="776993"/>
                    </a:cubicBezTo>
                    <a:lnTo>
                      <a:pt x="541228" y="776993"/>
                    </a:lnTo>
                    <a:close/>
                    <a:moveTo>
                      <a:pt x="0" y="531962"/>
                    </a:moveTo>
                    <a:lnTo>
                      <a:pt x="5927" y="538150"/>
                    </a:lnTo>
                    <a:cubicBezTo>
                      <a:pt x="46994" y="576173"/>
                      <a:pt x="127089" y="601984"/>
                      <a:pt x="219171" y="601984"/>
                    </a:cubicBezTo>
                    <a:cubicBezTo>
                      <a:pt x="311253" y="601984"/>
                      <a:pt x="391348" y="576173"/>
                      <a:pt x="432415" y="538150"/>
                    </a:cubicBezTo>
                    <a:lnTo>
                      <a:pt x="438342" y="531962"/>
                    </a:lnTo>
                    <a:lnTo>
                      <a:pt x="438342" y="776991"/>
                    </a:lnTo>
                    <a:lnTo>
                      <a:pt x="438342" y="776993"/>
                    </a:lnTo>
                    <a:cubicBezTo>
                      <a:pt x="438342" y="837874"/>
                      <a:pt x="340216" y="887227"/>
                      <a:pt x="219171" y="887227"/>
                    </a:cubicBezTo>
                    <a:cubicBezTo>
                      <a:pt x="98126" y="887227"/>
                      <a:pt x="0" y="837874"/>
                      <a:pt x="0" y="776993"/>
                    </a:cubicBezTo>
                    <a:lnTo>
                      <a:pt x="0" y="776993"/>
                    </a:lnTo>
                    <a:close/>
                    <a:moveTo>
                      <a:pt x="760036" y="322411"/>
                    </a:moveTo>
                    <a:cubicBezTo>
                      <a:pt x="880880" y="322411"/>
                      <a:pt x="978844" y="377021"/>
                      <a:pt x="978844" y="444386"/>
                    </a:cubicBezTo>
                    <a:cubicBezTo>
                      <a:pt x="978844" y="511751"/>
                      <a:pt x="880880" y="566361"/>
                      <a:pt x="760036" y="566361"/>
                    </a:cubicBezTo>
                    <a:cubicBezTo>
                      <a:pt x="639192" y="566361"/>
                      <a:pt x="541228" y="511751"/>
                      <a:pt x="541228" y="444386"/>
                    </a:cubicBezTo>
                    <a:cubicBezTo>
                      <a:pt x="541228" y="377021"/>
                      <a:pt x="639192" y="322411"/>
                      <a:pt x="760036" y="322411"/>
                    </a:cubicBezTo>
                    <a:close/>
                    <a:moveTo>
                      <a:pt x="0" y="209552"/>
                    </a:moveTo>
                    <a:lnTo>
                      <a:pt x="5927" y="215739"/>
                    </a:lnTo>
                    <a:cubicBezTo>
                      <a:pt x="46994" y="253762"/>
                      <a:pt x="127089" y="279574"/>
                      <a:pt x="219171" y="279574"/>
                    </a:cubicBezTo>
                    <a:cubicBezTo>
                      <a:pt x="311253" y="279574"/>
                      <a:pt x="391348" y="253762"/>
                      <a:pt x="432415" y="215739"/>
                    </a:cubicBezTo>
                    <a:lnTo>
                      <a:pt x="438342" y="209552"/>
                    </a:lnTo>
                    <a:lnTo>
                      <a:pt x="438342" y="454580"/>
                    </a:lnTo>
                    <a:lnTo>
                      <a:pt x="438342" y="454583"/>
                    </a:lnTo>
                    <a:cubicBezTo>
                      <a:pt x="438342" y="515463"/>
                      <a:pt x="340216" y="564817"/>
                      <a:pt x="219171" y="564817"/>
                    </a:cubicBezTo>
                    <a:cubicBezTo>
                      <a:pt x="98126" y="564817"/>
                      <a:pt x="0" y="515463"/>
                      <a:pt x="0" y="454583"/>
                    </a:cubicBezTo>
                    <a:lnTo>
                      <a:pt x="0" y="454582"/>
                    </a:lnTo>
                    <a:close/>
                    <a:moveTo>
                      <a:pt x="218808" y="0"/>
                    </a:moveTo>
                    <a:cubicBezTo>
                      <a:pt x="339652" y="0"/>
                      <a:pt x="437616" y="54610"/>
                      <a:pt x="437616" y="121975"/>
                    </a:cubicBezTo>
                    <a:cubicBezTo>
                      <a:pt x="437616" y="189340"/>
                      <a:pt x="339652" y="243950"/>
                      <a:pt x="218808" y="243950"/>
                    </a:cubicBezTo>
                    <a:cubicBezTo>
                      <a:pt x="97964" y="243950"/>
                      <a:pt x="0" y="189340"/>
                      <a:pt x="0" y="121975"/>
                    </a:cubicBezTo>
                    <a:cubicBezTo>
                      <a:pt x="0" y="54610"/>
                      <a:pt x="97964" y="0"/>
                      <a:pt x="218808"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8" tIns="109719" rIns="137148" bIns="109719" numCol="1" spcCol="0" rtlCol="0" fromWordArt="0" anchor="t" anchorCtr="0" forceAA="0" compatLnSpc="1">
                <a:prstTxWarp prst="textNoShape">
                  <a:avLst/>
                </a:prstTxWarp>
                <a:noAutofit/>
              </a:bodyPr>
              <a:lstStyle/>
              <a:p>
                <a:pPr algn="ctr" defTabSz="699261" fontAlgn="base">
                  <a:lnSpc>
                    <a:spcPct val="90000"/>
                  </a:lnSpc>
                  <a:spcBef>
                    <a:spcPct val="0"/>
                  </a:spcBef>
                  <a:spcAft>
                    <a:spcPct val="0"/>
                  </a:spcAft>
                </a:pPr>
                <a:endParaRPr lang="en-US">
                  <a:gradFill>
                    <a:gsLst>
                      <a:gs pos="0">
                        <a:srgbClr val="FFFFFF"/>
                      </a:gs>
                      <a:gs pos="100000">
                        <a:srgbClr val="FFFFFF"/>
                      </a:gs>
                    </a:gsLst>
                    <a:lin ang="5400000" scaled="0"/>
                  </a:gradFill>
                  <a:ea typeface="Segoe UI" pitchFamily="34" charset="0"/>
                  <a:cs typeface="Segoe UI" pitchFamily="34" charset="0"/>
                </a:endParaRPr>
              </a:p>
            </p:txBody>
          </p:sp>
        </p:grpSp>
      </p:grpSp>
    </p:spTree>
    <p:extLst>
      <p:ext uri="{BB962C8B-B14F-4D97-AF65-F5344CB8AC3E}">
        <p14:creationId xmlns:p14="http://schemas.microsoft.com/office/powerpoint/2010/main" val="19687386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3"/>
                                        </p:tgtEl>
                                        <p:attrNameLst>
                                          <p:attrName>style.visibility</p:attrName>
                                        </p:attrNameLst>
                                      </p:cBhvr>
                                      <p:to>
                                        <p:strVal val="visible"/>
                                      </p:to>
                                    </p:set>
                                    <p:animEffect transition="in" filter="fade">
                                      <p:cBhvr>
                                        <p:cTn id="11" dur="500"/>
                                        <p:tgtEl>
                                          <p:spTgt spid="3"/>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500"/>
                                        <p:tgtEl>
                                          <p:spTgt spid="9"/>
                                        </p:tgtEl>
                                      </p:cBhvr>
                                    </p:animEffect>
                                  </p:childTnLst>
                                </p:cTn>
                              </p:par>
                            </p:childTnLst>
                          </p:cTn>
                        </p:par>
                        <p:par>
                          <p:cTn id="16" fill="hold">
                            <p:stCondLst>
                              <p:cond delay="1500"/>
                            </p:stCondLst>
                            <p:childTnLst>
                              <p:par>
                                <p:cTn id="17" presetID="10" presetClass="entr" presetSubtype="0" fill="hold" nodeType="afterEffect">
                                  <p:stCondLst>
                                    <p:cond delay="0"/>
                                  </p:stCondLst>
                                  <p:childTnLst>
                                    <p:set>
                                      <p:cBhvr>
                                        <p:cTn id="18" dur="1" fill="hold">
                                          <p:stCondLst>
                                            <p:cond delay="0"/>
                                          </p:stCondLst>
                                        </p:cTn>
                                        <p:tgtEl>
                                          <p:spTgt spid="7"/>
                                        </p:tgtEl>
                                        <p:attrNameLst>
                                          <p:attrName>style.visibility</p:attrName>
                                        </p:attrNameLst>
                                      </p:cBhvr>
                                      <p:to>
                                        <p:strVal val="visible"/>
                                      </p:to>
                                    </p:set>
                                    <p:animEffect transition="in" filter="fade">
                                      <p:cBhvr>
                                        <p:cTn id="19" dur="500"/>
                                        <p:tgtEl>
                                          <p:spTgt spid="7"/>
                                        </p:tgtEl>
                                      </p:cBhvr>
                                    </p:animEffect>
                                  </p:childTnLst>
                                </p:cTn>
                              </p:par>
                            </p:childTnLst>
                          </p:cTn>
                        </p:par>
                        <p:par>
                          <p:cTn id="20" fill="hold">
                            <p:stCondLst>
                              <p:cond delay="2000"/>
                            </p:stCondLst>
                            <p:childTnLst>
                              <p:par>
                                <p:cTn id="21" presetID="10" presetClass="entr" presetSubtype="0" fill="hold" nodeType="afterEffect">
                                  <p:stCondLst>
                                    <p:cond delay="0"/>
                                  </p:stCondLst>
                                  <p:childTnLst>
                                    <p:set>
                                      <p:cBhvr>
                                        <p:cTn id="22" dur="1" fill="hold">
                                          <p:stCondLst>
                                            <p:cond delay="0"/>
                                          </p:stCondLst>
                                        </p:cTn>
                                        <p:tgtEl>
                                          <p:spTgt spid="34"/>
                                        </p:tgtEl>
                                        <p:attrNameLst>
                                          <p:attrName>style.visibility</p:attrName>
                                        </p:attrNameLst>
                                      </p:cBhvr>
                                      <p:to>
                                        <p:strVal val="visible"/>
                                      </p:to>
                                    </p:set>
                                    <p:animEffect transition="in" filter="fade">
                                      <p:cBhvr>
                                        <p:cTn id="23" dur="500"/>
                                        <p:tgtEl>
                                          <p:spTgt spid="34"/>
                                        </p:tgtEl>
                                      </p:cBhvr>
                                    </p:animEffect>
                                  </p:childTnLst>
                                </p:cTn>
                              </p:par>
                            </p:childTnLst>
                          </p:cTn>
                        </p:par>
                        <p:par>
                          <p:cTn id="24" fill="hold">
                            <p:stCondLst>
                              <p:cond delay="2500"/>
                            </p:stCondLst>
                            <p:childTnLst>
                              <p:par>
                                <p:cTn id="25" presetID="10" presetClass="entr" presetSubtype="0" fill="hold" nodeType="afterEffect">
                                  <p:stCondLst>
                                    <p:cond delay="0"/>
                                  </p:stCondLst>
                                  <p:childTnLst>
                                    <p:set>
                                      <p:cBhvr>
                                        <p:cTn id="26" dur="1" fill="hold">
                                          <p:stCondLst>
                                            <p:cond delay="0"/>
                                          </p:stCondLst>
                                        </p:cTn>
                                        <p:tgtEl>
                                          <p:spTgt spid="8"/>
                                        </p:tgtEl>
                                        <p:attrNameLst>
                                          <p:attrName>style.visibility</p:attrName>
                                        </p:attrNameLst>
                                      </p:cBhvr>
                                      <p:to>
                                        <p:strVal val="visible"/>
                                      </p:to>
                                    </p:set>
                                    <p:animEffect transition="in" filter="fade">
                                      <p:cBhvr>
                                        <p:cTn id="27"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0.xml><?xml version="1.0" encoding="utf-8"?>
<p:sld xmlns:a="http://schemas.openxmlformats.org/drawingml/2006/main" xmlns:r="http://schemas.openxmlformats.org/officeDocument/2006/relationships" xmlns:p="http://schemas.openxmlformats.org/presentationml/2006/main">
  <p:cSld>
    <p:bg>
      <p:bgPr>
        <a:solidFill>
          <a:srgbClr val="F2C81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39" y="2084172"/>
            <a:ext cx="11653523" cy="2179058"/>
          </a:xfrm>
        </p:spPr>
        <p:txBody>
          <a:bodyPr/>
          <a:lstStyle/>
          <a:p>
            <a:r>
              <a:rPr lang="en-US" dirty="0">
                <a:solidFill>
                  <a:schemeClr val="bg1"/>
                </a:solidFill>
                <a:cs typeface="Segoe UI Semibold"/>
              </a:rPr>
              <a:t>Power BI Desktop:</a:t>
            </a:r>
            <a:br>
              <a:rPr lang="en-US" dirty="0"/>
            </a:br>
            <a:r>
              <a:rPr lang="en-US" dirty="0">
                <a:solidFill>
                  <a:schemeClr val="bg1"/>
                </a:solidFill>
                <a:cs typeface="Segoe UI Semibold"/>
              </a:rPr>
              <a:t>Connecting to Data</a:t>
            </a:r>
          </a:p>
        </p:txBody>
      </p:sp>
    </p:spTree>
    <p:extLst>
      <p:ext uri="{BB962C8B-B14F-4D97-AF65-F5344CB8AC3E}">
        <p14:creationId xmlns:p14="http://schemas.microsoft.com/office/powerpoint/2010/main" val="14495740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4294967295"/>
          </p:nvPr>
        </p:nvSpPr>
        <p:spPr>
          <a:xfrm>
            <a:off x="8150225" y="847725"/>
            <a:ext cx="4041775" cy="5505450"/>
          </a:xfrm>
        </p:spPr>
        <p:txBody>
          <a:bodyPr vert="horz" wrap="square" lIns="182880" tIns="146304" rIns="182880" bIns="146304" rtlCol="0">
            <a:noAutofit/>
          </a:bodyPr>
          <a:lstStyle/>
          <a:p>
            <a:pPr marL="342900" indent="-342900" defTabSz="914400" fontAlgn="base">
              <a:lnSpc>
                <a:spcPct val="100000"/>
              </a:lnSpc>
              <a:spcBef>
                <a:spcPts val="0"/>
              </a:spcBef>
              <a:spcAft>
                <a:spcPts val="300"/>
              </a:spcAft>
              <a:buFont typeface="Symbol" panose="05050102010706020507" pitchFamily="18" charset="2"/>
              <a:buChar char=""/>
            </a:pPr>
            <a:r>
              <a:rPr lang="en-US" sz="1800">
                <a:solidFill>
                  <a:schemeClr val="tx1"/>
                </a:solidFill>
                <a:ea typeface="Calibri" panose="020F0502020204030204" pitchFamily="34" charset="0"/>
                <a:cs typeface="Times New Roman" panose="02020603050405020304" pitchFamily="18" charset="0"/>
              </a:rPr>
              <a:t>The “Get Data” option allows the definition of </a:t>
            </a:r>
            <a:r>
              <a:rPr lang="en-US" sz="1800" b="1">
                <a:solidFill>
                  <a:schemeClr val="tx1"/>
                </a:solidFill>
                <a:ea typeface="Calibri" panose="020F0502020204030204" pitchFamily="34" charset="0"/>
                <a:cs typeface="Times New Roman" panose="02020603050405020304" pitchFamily="18" charset="0"/>
              </a:rPr>
              <a:t>connections </a:t>
            </a:r>
            <a:r>
              <a:rPr lang="en-US" sz="1800">
                <a:solidFill>
                  <a:schemeClr val="tx1"/>
                </a:solidFill>
                <a:ea typeface="Calibri" panose="020F0502020204030204" pitchFamily="34" charset="0"/>
                <a:cs typeface="Times New Roman" panose="02020603050405020304" pitchFamily="18" charset="0"/>
              </a:rPr>
              <a:t>to data sources and the </a:t>
            </a:r>
            <a:r>
              <a:rPr lang="en-US" sz="1800" b="1">
                <a:solidFill>
                  <a:schemeClr val="tx1"/>
                </a:solidFill>
                <a:ea typeface="Calibri" panose="020F0502020204030204" pitchFamily="34" charset="0"/>
                <a:cs typeface="Times New Roman" panose="02020603050405020304" pitchFamily="18" charset="0"/>
              </a:rPr>
              <a:t>selection of entities and columns</a:t>
            </a:r>
          </a:p>
          <a:p>
            <a:pPr marL="342900" indent="-342900" defTabSz="914400" fontAlgn="base">
              <a:lnSpc>
                <a:spcPct val="100000"/>
              </a:lnSpc>
              <a:spcBef>
                <a:spcPts val="0"/>
              </a:spcBef>
              <a:spcAft>
                <a:spcPts val="300"/>
              </a:spcAft>
              <a:buFont typeface="Symbol" panose="05050102010706020507" pitchFamily="18" charset="2"/>
              <a:buChar char=""/>
            </a:pPr>
            <a:endParaRPr lang="en-GB" sz="1800">
              <a:solidFill>
                <a:schemeClr val="tx1"/>
              </a:solidFill>
              <a:ea typeface="Calibri" panose="020F0502020204030204" pitchFamily="34" charset="0"/>
              <a:cs typeface="Times New Roman" panose="02020603050405020304" pitchFamily="18" charset="0"/>
            </a:endParaRPr>
          </a:p>
          <a:p>
            <a:pPr marL="342900" indent="-342900" defTabSz="914400" fontAlgn="base">
              <a:lnSpc>
                <a:spcPct val="100000"/>
              </a:lnSpc>
              <a:spcBef>
                <a:spcPts val="0"/>
              </a:spcBef>
              <a:spcAft>
                <a:spcPts val="300"/>
              </a:spcAft>
              <a:buFont typeface="Symbol" panose="05050102010706020507" pitchFamily="18" charset="2"/>
              <a:buChar char=""/>
            </a:pPr>
            <a:r>
              <a:rPr lang="en-GB" sz="1800" b="1">
                <a:solidFill>
                  <a:schemeClr val="tx1"/>
                </a:solidFill>
                <a:ea typeface="Calibri" panose="020F0502020204030204" pitchFamily="34" charset="0"/>
                <a:cs typeface="Times New Roman" panose="02020603050405020304" pitchFamily="18" charset="0"/>
              </a:rPr>
              <a:t>Authentication</a:t>
            </a:r>
            <a:r>
              <a:rPr lang="en-GB" sz="1800">
                <a:solidFill>
                  <a:schemeClr val="tx1"/>
                </a:solidFill>
                <a:ea typeface="Calibri" panose="020F0502020204030204" pitchFamily="34" charset="0"/>
                <a:cs typeface="Times New Roman" panose="02020603050405020304" pitchFamily="18" charset="0"/>
              </a:rPr>
              <a:t> options can be specified including </a:t>
            </a:r>
            <a:r>
              <a:rPr lang="en-GB" sz="1800" b="1">
                <a:solidFill>
                  <a:schemeClr val="tx1"/>
                </a:solidFill>
                <a:ea typeface="Calibri" panose="020F0502020204030204" pitchFamily="34" charset="0"/>
                <a:cs typeface="Times New Roman" panose="02020603050405020304" pitchFamily="18" charset="0"/>
              </a:rPr>
              <a:t>credential types </a:t>
            </a:r>
            <a:r>
              <a:rPr lang="en-GB" sz="1800">
                <a:solidFill>
                  <a:schemeClr val="tx1"/>
                </a:solidFill>
                <a:ea typeface="Calibri" panose="020F0502020204030204" pitchFamily="34" charset="0"/>
                <a:cs typeface="Times New Roman" panose="02020603050405020304" pitchFamily="18" charset="0"/>
              </a:rPr>
              <a:t>such as Windows or others</a:t>
            </a:r>
          </a:p>
          <a:p>
            <a:pPr marL="342900" indent="-342900" defTabSz="914400" fontAlgn="base">
              <a:lnSpc>
                <a:spcPct val="100000"/>
              </a:lnSpc>
              <a:spcBef>
                <a:spcPts val="0"/>
              </a:spcBef>
              <a:spcAft>
                <a:spcPts val="300"/>
              </a:spcAft>
              <a:buFont typeface="Symbol" panose="05050102010706020507" pitchFamily="18" charset="2"/>
              <a:buChar char=""/>
            </a:pPr>
            <a:endParaRPr lang="en-GB" sz="1800">
              <a:solidFill>
                <a:schemeClr val="tx1"/>
              </a:solidFill>
              <a:ea typeface="Calibri" panose="020F0502020204030204" pitchFamily="34" charset="0"/>
              <a:cs typeface="Times New Roman" panose="02020603050405020304" pitchFamily="18" charset="0"/>
            </a:endParaRPr>
          </a:p>
          <a:p>
            <a:pPr marL="342900" indent="-342900" defTabSz="914400" fontAlgn="base">
              <a:lnSpc>
                <a:spcPct val="100000"/>
              </a:lnSpc>
              <a:spcBef>
                <a:spcPts val="0"/>
              </a:spcBef>
              <a:spcAft>
                <a:spcPts val="300"/>
              </a:spcAft>
              <a:buFont typeface="Symbol" panose="05050102010706020507" pitchFamily="18" charset="2"/>
              <a:buChar char=""/>
            </a:pPr>
            <a:r>
              <a:rPr lang="en-GB" sz="1800">
                <a:solidFill>
                  <a:schemeClr val="tx1"/>
                </a:solidFill>
                <a:ea typeface="Calibri" panose="020F0502020204030204" pitchFamily="34" charset="0"/>
                <a:cs typeface="Times New Roman" panose="02020603050405020304" pitchFamily="18" charset="0"/>
              </a:rPr>
              <a:t>Data can be </a:t>
            </a:r>
            <a:r>
              <a:rPr lang="en-GB" sz="1800" b="1">
                <a:solidFill>
                  <a:schemeClr val="tx1"/>
                </a:solidFill>
                <a:ea typeface="Calibri" panose="020F0502020204030204" pitchFamily="34" charset="0"/>
                <a:cs typeface="Times New Roman" panose="02020603050405020304" pitchFamily="18" charset="0"/>
              </a:rPr>
              <a:t>imported in-memory </a:t>
            </a:r>
            <a:r>
              <a:rPr lang="en-GB" sz="1800">
                <a:solidFill>
                  <a:schemeClr val="tx1"/>
                </a:solidFill>
                <a:ea typeface="Calibri" panose="020F0502020204030204" pitchFamily="34" charset="0"/>
                <a:cs typeface="Times New Roman" panose="02020603050405020304" pitchFamily="18" charset="0"/>
              </a:rPr>
              <a:t>or be </a:t>
            </a:r>
            <a:r>
              <a:rPr lang="en-GB" sz="1800" b="1">
                <a:solidFill>
                  <a:schemeClr val="tx1"/>
                </a:solidFill>
                <a:ea typeface="Calibri" panose="020F0502020204030204" pitchFamily="34" charset="0"/>
                <a:cs typeface="Times New Roman" panose="02020603050405020304" pitchFamily="18" charset="0"/>
              </a:rPr>
              <a:t>accessed live </a:t>
            </a:r>
            <a:r>
              <a:rPr lang="en-GB" sz="1800">
                <a:solidFill>
                  <a:schemeClr val="tx1"/>
                </a:solidFill>
                <a:ea typeface="Calibri" panose="020F0502020204030204" pitchFamily="34" charset="0"/>
                <a:cs typeface="Times New Roman" panose="02020603050405020304" pitchFamily="18" charset="0"/>
              </a:rPr>
              <a:t>for some data sources</a:t>
            </a:r>
          </a:p>
          <a:p>
            <a:pPr marL="342900" indent="-342900" defTabSz="914400" fontAlgn="base">
              <a:lnSpc>
                <a:spcPct val="100000"/>
              </a:lnSpc>
              <a:spcBef>
                <a:spcPts val="0"/>
              </a:spcBef>
              <a:spcAft>
                <a:spcPts val="300"/>
              </a:spcAft>
              <a:buFont typeface="Symbol" panose="05050102010706020507" pitchFamily="18" charset="2"/>
              <a:buChar char=""/>
            </a:pPr>
            <a:endParaRPr lang="en-GB" sz="1800">
              <a:solidFill>
                <a:schemeClr val="tx1"/>
              </a:solidFill>
              <a:ea typeface="Calibri" panose="020F0502020204030204" pitchFamily="34" charset="0"/>
              <a:cs typeface="Times New Roman" panose="02020603050405020304" pitchFamily="18" charset="0"/>
            </a:endParaRPr>
          </a:p>
          <a:p>
            <a:pPr marL="342900" indent="-342900" defTabSz="914400" fontAlgn="base">
              <a:lnSpc>
                <a:spcPct val="100000"/>
              </a:lnSpc>
              <a:spcBef>
                <a:spcPts val="0"/>
              </a:spcBef>
              <a:spcAft>
                <a:spcPts val="300"/>
              </a:spcAft>
              <a:buFont typeface="Symbol" panose="05050102010706020507" pitchFamily="18" charset="2"/>
              <a:buChar char=""/>
            </a:pPr>
            <a:r>
              <a:rPr lang="en-GB" sz="1800" b="1">
                <a:solidFill>
                  <a:schemeClr val="tx1"/>
                </a:solidFill>
                <a:ea typeface="Calibri" panose="020F0502020204030204" pitchFamily="34" charset="0"/>
                <a:cs typeface="Times New Roman" panose="02020603050405020304" pitchFamily="18" charset="0"/>
              </a:rPr>
              <a:t>Each selected entity will become a query </a:t>
            </a:r>
            <a:r>
              <a:rPr lang="en-GB" sz="1800">
                <a:solidFill>
                  <a:schemeClr val="tx1"/>
                </a:solidFill>
                <a:ea typeface="Calibri" panose="020F0502020204030204" pitchFamily="34" charset="0"/>
                <a:cs typeface="Times New Roman" panose="02020603050405020304" pitchFamily="18" charset="0"/>
              </a:rPr>
              <a:t>that can be </a:t>
            </a:r>
            <a:r>
              <a:rPr lang="en-GB" sz="1800" b="1">
                <a:solidFill>
                  <a:schemeClr val="tx1"/>
                </a:solidFill>
                <a:ea typeface="Calibri" panose="020F0502020204030204" pitchFamily="34" charset="0"/>
                <a:cs typeface="Times New Roman" panose="02020603050405020304" pitchFamily="18" charset="0"/>
              </a:rPr>
              <a:t>further enhanced </a:t>
            </a:r>
            <a:r>
              <a:rPr lang="en-GB" sz="1800">
                <a:solidFill>
                  <a:schemeClr val="tx1"/>
                </a:solidFill>
                <a:ea typeface="Calibri" panose="020F0502020204030204" pitchFamily="34" charset="0"/>
                <a:cs typeface="Times New Roman" panose="02020603050405020304" pitchFamily="18" charset="0"/>
              </a:rPr>
              <a:t>to meet business requirements</a:t>
            </a:r>
          </a:p>
        </p:txBody>
      </p:sp>
      <p:grpSp>
        <p:nvGrpSpPr>
          <p:cNvPr id="4" name="Group 3"/>
          <p:cNvGrpSpPr/>
          <p:nvPr/>
        </p:nvGrpSpPr>
        <p:grpSpPr>
          <a:xfrm>
            <a:off x="10467828" y="-129953"/>
            <a:ext cx="2849058" cy="6858000"/>
            <a:chOff x="2" y="1"/>
            <a:chExt cx="2849058" cy="6858000"/>
          </a:xfrm>
        </p:grpSpPr>
        <p:sp>
          <p:nvSpPr>
            <p:cNvPr id="70" name="Rectangle 69"/>
            <p:cNvSpPr/>
            <p:nvPr/>
          </p:nvSpPr>
          <p:spPr bwMode="auto">
            <a:xfrm>
              <a:off x="2" y="1"/>
              <a:ext cx="2849058"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5" name="Oval 70"/>
            <p:cNvSpPr/>
            <p:nvPr/>
          </p:nvSpPr>
          <p:spPr>
            <a:xfrm>
              <a:off x="1413521" y="4951537"/>
              <a:ext cx="1119626" cy="1119626"/>
            </a:xfrm>
            <a:prstGeom prst="ellipse">
              <a:avLst/>
            </a:prstGeom>
            <a:solidFill>
              <a:srgbClr val="F2C812"/>
            </a:solidFill>
            <a:ln w="3175" cap="flat" cmpd="sng" algn="ctr">
              <a:noFill/>
              <a:prstDash val="solid"/>
            </a:ln>
            <a:effectLst/>
          </p:spPr>
          <p:txBody>
            <a:bodyPr vert="horz" wrap="none" lIns="0" tIns="45720" rIns="0" bIns="0" rtlCol="0" anchor="t"/>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Segoe UI"/>
                  <a:ea typeface="Segoe UI" pitchFamily="34" charset="0"/>
                  <a:cs typeface="Segoe UI" pitchFamily="34" charset="0"/>
                </a:rPr>
                <a:t>Share &amp;</a:t>
              </a:r>
            </a:p>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Segoe UI"/>
                  <a:ea typeface="Segoe UI" pitchFamily="34" charset="0"/>
                  <a:cs typeface="Segoe UI" pitchFamily="34" charset="0"/>
                </a:rPr>
                <a:t>collaborate </a:t>
              </a:r>
            </a:p>
          </p:txBody>
        </p:sp>
        <p:grpSp>
          <p:nvGrpSpPr>
            <p:cNvPr id="66" name="Group 38"/>
            <p:cNvGrpSpPr>
              <a:grpSpLocks noChangeAspect="1"/>
            </p:cNvGrpSpPr>
            <p:nvPr/>
          </p:nvGrpSpPr>
          <p:grpSpPr>
            <a:xfrm>
              <a:off x="676996" y="3930692"/>
              <a:ext cx="383905" cy="351536"/>
              <a:chOff x="4363684" y="5330386"/>
              <a:chExt cx="1409956" cy="1291077"/>
            </a:xfrm>
            <a:solidFill>
              <a:srgbClr val="217346"/>
            </a:solidFill>
          </p:grpSpPr>
          <p:sp>
            <p:nvSpPr>
              <p:cNvPr id="67" name="Donut 3"/>
              <p:cNvSpPr/>
              <p:nvPr/>
            </p:nvSpPr>
            <p:spPr bwMode="auto">
              <a:xfrm>
                <a:off x="4363684" y="5330386"/>
                <a:ext cx="1409956" cy="1291077"/>
              </a:xfrm>
              <a:custGeom>
                <a:avLst/>
                <a:gdLst/>
                <a:ahLst/>
                <a:cxnLst/>
                <a:rect l="l" t="t" r="r" b="b"/>
                <a:pathLst>
                  <a:path w="1409956" h="1291077">
                    <a:moveTo>
                      <a:pt x="956401" y="78410"/>
                    </a:moveTo>
                    <a:cubicBezTo>
                      <a:pt x="747518" y="78410"/>
                      <a:pt x="578184" y="247744"/>
                      <a:pt x="578184" y="456627"/>
                    </a:cubicBezTo>
                    <a:cubicBezTo>
                      <a:pt x="578184" y="665510"/>
                      <a:pt x="747518" y="834844"/>
                      <a:pt x="956401" y="834844"/>
                    </a:cubicBezTo>
                    <a:cubicBezTo>
                      <a:pt x="1165284" y="834844"/>
                      <a:pt x="1334618" y="665510"/>
                      <a:pt x="1334618" y="456627"/>
                    </a:cubicBezTo>
                    <a:cubicBezTo>
                      <a:pt x="1334618" y="247744"/>
                      <a:pt x="1165284" y="78410"/>
                      <a:pt x="956401" y="78410"/>
                    </a:cubicBezTo>
                    <a:close/>
                    <a:moveTo>
                      <a:pt x="952756" y="0"/>
                    </a:moveTo>
                    <a:cubicBezTo>
                      <a:pt x="1205261" y="0"/>
                      <a:pt x="1409956" y="204695"/>
                      <a:pt x="1409956" y="457200"/>
                    </a:cubicBezTo>
                    <a:cubicBezTo>
                      <a:pt x="1409956" y="709705"/>
                      <a:pt x="1205261" y="914400"/>
                      <a:pt x="952756" y="914400"/>
                    </a:cubicBezTo>
                    <a:cubicBezTo>
                      <a:pt x="862133" y="914400"/>
                      <a:pt x="777669" y="888034"/>
                      <a:pt x="707132" y="841746"/>
                    </a:cubicBezTo>
                    <a:lnTo>
                      <a:pt x="136495" y="1280102"/>
                    </a:lnTo>
                    <a:cubicBezTo>
                      <a:pt x="21896" y="1327168"/>
                      <a:pt x="-44029" y="1213730"/>
                      <a:pt x="33797" y="1113182"/>
                    </a:cubicBezTo>
                    <a:lnTo>
                      <a:pt x="568587" y="703518"/>
                    </a:lnTo>
                    <a:cubicBezTo>
                      <a:pt x="522087" y="632814"/>
                      <a:pt x="495556" y="548105"/>
                      <a:pt x="495556" y="457200"/>
                    </a:cubicBezTo>
                    <a:cubicBezTo>
                      <a:pt x="495556" y="204695"/>
                      <a:pt x="700251" y="0"/>
                      <a:pt x="952756" y="0"/>
                    </a:cubicBezTo>
                    <a:close/>
                  </a:path>
                </a:pathLst>
              </a:custGeom>
              <a:grpFill/>
              <a:ln>
                <a:solidFill>
                  <a:srgbClr val="21734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sp>
            <p:nvSpPr>
              <p:cNvPr id="68" name="Rectangle 4"/>
              <p:cNvSpPr/>
              <p:nvPr/>
            </p:nvSpPr>
            <p:spPr>
              <a:xfrm>
                <a:off x="5058389" y="5528247"/>
                <a:ext cx="490885" cy="490020"/>
              </a:xfrm>
              <a:custGeom>
                <a:avLst/>
                <a:gdLst/>
                <a:ahLst/>
                <a:cxnLst/>
                <a:rect l="l" t="t" r="r" b="b"/>
                <a:pathLst>
                  <a:path w="490885" h="490020">
                    <a:moveTo>
                      <a:pt x="240752" y="0"/>
                    </a:moveTo>
                    <a:cubicBezTo>
                      <a:pt x="253961" y="11844"/>
                      <a:pt x="293310" y="49692"/>
                      <a:pt x="337332" y="92439"/>
                    </a:cubicBezTo>
                    <a:lnTo>
                      <a:pt x="328342" y="81259"/>
                    </a:lnTo>
                    <a:cubicBezTo>
                      <a:pt x="356946" y="111282"/>
                      <a:pt x="377251" y="107167"/>
                      <a:pt x="382515" y="87941"/>
                    </a:cubicBezTo>
                    <a:cubicBezTo>
                      <a:pt x="383951" y="76921"/>
                      <a:pt x="384595" y="68732"/>
                      <a:pt x="396997" y="52239"/>
                    </a:cubicBezTo>
                    <a:cubicBezTo>
                      <a:pt x="420362" y="32084"/>
                      <a:pt x="442294" y="41736"/>
                      <a:pt x="454920" y="51330"/>
                    </a:cubicBezTo>
                    <a:cubicBezTo>
                      <a:pt x="467834" y="62761"/>
                      <a:pt x="477920" y="86882"/>
                      <a:pt x="460392" y="109714"/>
                    </a:cubicBezTo>
                    <a:cubicBezTo>
                      <a:pt x="451128" y="121912"/>
                      <a:pt x="437554" y="126838"/>
                      <a:pt x="425922" y="126505"/>
                    </a:cubicBezTo>
                    <a:cubicBezTo>
                      <a:pt x="424301" y="127609"/>
                      <a:pt x="382890" y="134974"/>
                      <a:pt x="427348" y="177672"/>
                    </a:cubicBezTo>
                    <a:lnTo>
                      <a:pt x="416886" y="169735"/>
                    </a:lnTo>
                    <a:cubicBezTo>
                      <a:pt x="450207" y="202177"/>
                      <a:pt x="478424" y="229744"/>
                      <a:pt x="490885" y="241900"/>
                    </a:cubicBezTo>
                    <a:lnTo>
                      <a:pt x="417150" y="317347"/>
                    </a:lnTo>
                    <a:cubicBezTo>
                      <a:pt x="417744" y="316535"/>
                      <a:pt x="418443" y="316123"/>
                      <a:pt x="419047" y="315822"/>
                    </a:cubicBezTo>
                    <a:cubicBezTo>
                      <a:pt x="389023" y="344426"/>
                      <a:pt x="393138" y="364731"/>
                      <a:pt x="412364" y="369995"/>
                    </a:cubicBezTo>
                    <a:cubicBezTo>
                      <a:pt x="423384" y="371431"/>
                      <a:pt x="431574" y="372075"/>
                      <a:pt x="448067" y="384477"/>
                    </a:cubicBezTo>
                    <a:cubicBezTo>
                      <a:pt x="468221" y="407842"/>
                      <a:pt x="458569" y="429774"/>
                      <a:pt x="448975" y="442400"/>
                    </a:cubicBezTo>
                    <a:cubicBezTo>
                      <a:pt x="437545" y="455314"/>
                      <a:pt x="413423" y="465400"/>
                      <a:pt x="390591" y="447872"/>
                    </a:cubicBezTo>
                    <a:cubicBezTo>
                      <a:pt x="378394" y="438608"/>
                      <a:pt x="373468" y="425034"/>
                      <a:pt x="373800" y="413402"/>
                    </a:cubicBezTo>
                    <a:cubicBezTo>
                      <a:pt x="372696" y="411781"/>
                      <a:pt x="365332" y="370370"/>
                      <a:pt x="322634" y="414828"/>
                    </a:cubicBezTo>
                    <a:lnTo>
                      <a:pt x="325243" y="411388"/>
                    </a:lnTo>
                    <a:lnTo>
                      <a:pt x="248395" y="490020"/>
                    </a:lnTo>
                    <a:cubicBezTo>
                      <a:pt x="208939" y="451897"/>
                      <a:pt x="199129" y="442073"/>
                      <a:pt x="174192" y="418236"/>
                    </a:cubicBezTo>
                    <a:cubicBezTo>
                      <a:pt x="145587" y="388212"/>
                      <a:pt x="125282" y="392327"/>
                      <a:pt x="120018" y="411553"/>
                    </a:cubicBezTo>
                    <a:cubicBezTo>
                      <a:pt x="118582" y="422573"/>
                      <a:pt x="117938" y="430763"/>
                      <a:pt x="105536" y="447256"/>
                    </a:cubicBezTo>
                    <a:cubicBezTo>
                      <a:pt x="82171" y="467410"/>
                      <a:pt x="60239" y="457758"/>
                      <a:pt x="47614" y="448164"/>
                    </a:cubicBezTo>
                    <a:cubicBezTo>
                      <a:pt x="34699" y="436734"/>
                      <a:pt x="24614" y="412612"/>
                      <a:pt x="42141" y="389780"/>
                    </a:cubicBezTo>
                    <a:cubicBezTo>
                      <a:pt x="51405" y="377583"/>
                      <a:pt x="64979" y="372657"/>
                      <a:pt x="76612" y="372989"/>
                    </a:cubicBezTo>
                    <a:cubicBezTo>
                      <a:pt x="78232" y="371886"/>
                      <a:pt x="119644" y="364521"/>
                      <a:pt x="75186" y="321823"/>
                    </a:cubicBezTo>
                    <a:cubicBezTo>
                      <a:pt x="58767" y="305402"/>
                      <a:pt x="23648" y="271235"/>
                      <a:pt x="0" y="248738"/>
                    </a:cubicBezTo>
                    <a:lnTo>
                      <a:pt x="77303" y="168146"/>
                    </a:lnTo>
                    <a:cubicBezTo>
                      <a:pt x="104269" y="140313"/>
                      <a:pt x="122130" y="156409"/>
                      <a:pt x="124388" y="175543"/>
                    </a:cubicBezTo>
                    <a:cubicBezTo>
                      <a:pt x="124457" y="182466"/>
                      <a:pt x="127106" y="193106"/>
                      <a:pt x="137575" y="203052"/>
                    </a:cubicBezTo>
                    <a:cubicBezTo>
                      <a:pt x="153931" y="220277"/>
                      <a:pt x="181252" y="217451"/>
                      <a:pt x="196721" y="201951"/>
                    </a:cubicBezTo>
                    <a:cubicBezTo>
                      <a:pt x="211961" y="185740"/>
                      <a:pt x="213057" y="157882"/>
                      <a:pt x="196146" y="142797"/>
                    </a:cubicBezTo>
                    <a:cubicBezTo>
                      <a:pt x="184301" y="132637"/>
                      <a:pt x="177155" y="131453"/>
                      <a:pt x="166513" y="129894"/>
                    </a:cubicBezTo>
                    <a:cubicBezTo>
                      <a:pt x="154522" y="129013"/>
                      <a:pt x="131185" y="112953"/>
                      <a:pt x="157905" y="85228"/>
                    </a:cubicBezTo>
                    <a:close/>
                  </a:path>
                </a:pathLst>
              </a:custGeom>
              <a:grpFill/>
              <a:ln>
                <a:solidFill>
                  <a:srgbClr val="21734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grpSp>
        <p:sp>
          <p:nvSpPr>
            <p:cNvPr id="69" name="Oval 47"/>
            <p:cNvSpPr/>
            <p:nvPr/>
          </p:nvSpPr>
          <p:spPr>
            <a:xfrm>
              <a:off x="388608" y="3710471"/>
              <a:ext cx="1119626" cy="1119626"/>
            </a:xfrm>
            <a:prstGeom prst="ellipse">
              <a:avLst/>
            </a:prstGeom>
            <a:solidFill>
              <a:srgbClr val="F2C812"/>
            </a:solidFill>
            <a:ln w="3175" cap="flat" cmpd="sng" algn="ctr">
              <a:noFill/>
              <a:prstDash val="solid"/>
            </a:ln>
            <a:effectLst/>
          </p:spPr>
          <p:txBody>
            <a:bodyPr vert="horz" wrap="none" lIns="0" tIns="45720" rIns="0" bIns="0" rtlCol="0" anchor="t"/>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Segoe UI"/>
                  <a:ea typeface="Segoe UI" pitchFamily="34" charset="0"/>
                  <a:cs typeface="Segoe UI" pitchFamily="34" charset="0"/>
                </a:rPr>
                <a:t>Report</a:t>
              </a:r>
            </a:p>
          </p:txBody>
        </p:sp>
        <p:sp>
          <p:nvSpPr>
            <p:cNvPr id="85" name="Oval 950"/>
            <p:cNvSpPr/>
            <p:nvPr/>
          </p:nvSpPr>
          <p:spPr>
            <a:xfrm>
              <a:off x="388608" y="1252295"/>
              <a:ext cx="1119626" cy="1119626"/>
            </a:xfrm>
            <a:prstGeom prst="ellipse">
              <a:avLst/>
            </a:prstGeom>
            <a:solidFill>
              <a:srgbClr val="F2C812"/>
            </a:solidFill>
            <a:ln w="3175" cap="flat" cmpd="sng" algn="ctr">
              <a:noFill/>
              <a:prstDash val="solid"/>
            </a:ln>
            <a:effectLst/>
          </p:spPr>
          <p:txBody>
            <a:bodyPr vert="horz" wrap="none" lIns="0" tIns="45720" rIns="0" bIns="0" rtlCol="0" anchor="t"/>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1" i="0" u="none" strike="noStrike" kern="1200" cap="none" spc="0" normalizeH="0" baseline="0" noProof="0">
                <a:ln>
                  <a:noFill/>
                </a:ln>
                <a:solidFill>
                  <a:srgbClr val="217346"/>
                </a:solidFill>
                <a:effectLst/>
                <a:uLnTx/>
                <a:uFillTx/>
                <a:latin typeface="Segoe UI"/>
                <a:ea typeface="Segoe UI" pitchFamily="34" charset="0"/>
                <a:cs typeface="Segoe UI" pitchFamily="34" charset="0"/>
              </a:endParaRPr>
            </a:p>
          </p:txBody>
        </p:sp>
        <p:grpSp>
          <p:nvGrpSpPr>
            <p:cNvPr id="86" name="Group 85"/>
            <p:cNvGrpSpPr/>
            <p:nvPr/>
          </p:nvGrpSpPr>
          <p:grpSpPr>
            <a:xfrm>
              <a:off x="1264851" y="3482890"/>
              <a:ext cx="292254" cy="354906"/>
              <a:chOff x="1296521" y="3253388"/>
              <a:chExt cx="292254" cy="354906"/>
            </a:xfrm>
            <a:solidFill>
              <a:srgbClr val="F2C812"/>
            </a:solidFill>
          </p:grpSpPr>
          <p:sp>
            <p:nvSpPr>
              <p:cNvPr id="87" name="Isosceles Triangle 86"/>
              <p:cNvSpPr/>
              <p:nvPr/>
            </p:nvSpPr>
            <p:spPr bwMode="auto">
              <a:xfrm rot="13636515">
                <a:off x="1461362" y="328936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8" name="Isosceles Triangle 87"/>
              <p:cNvSpPr/>
              <p:nvPr/>
            </p:nvSpPr>
            <p:spPr bwMode="auto">
              <a:xfrm rot="13636515">
                <a:off x="1357669" y="338258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9" name="Isosceles Triangle 88"/>
              <p:cNvSpPr/>
              <p:nvPr/>
            </p:nvSpPr>
            <p:spPr bwMode="auto">
              <a:xfrm rot="13636515">
                <a:off x="1260548" y="3480882"/>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90" name="Group 89"/>
            <p:cNvGrpSpPr/>
            <p:nvPr/>
          </p:nvGrpSpPr>
          <p:grpSpPr>
            <a:xfrm rot="15940603">
              <a:off x="1334576" y="2204404"/>
              <a:ext cx="292254" cy="354906"/>
              <a:chOff x="1296521" y="3253388"/>
              <a:chExt cx="292254" cy="354906"/>
            </a:xfrm>
            <a:solidFill>
              <a:srgbClr val="F2C812"/>
            </a:solidFill>
          </p:grpSpPr>
          <p:sp>
            <p:nvSpPr>
              <p:cNvPr id="91" name="Isosceles Triangle 90"/>
              <p:cNvSpPr/>
              <p:nvPr/>
            </p:nvSpPr>
            <p:spPr bwMode="auto">
              <a:xfrm rot="13636515">
                <a:off x="1461362" y="328936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2" name="Isosceles Triangle 91"/>
              <p:cNvSpPr/>
              <p:nvPr/>
            </p:nvSpPr>
            <p:spPr bwMode="auto">
              <a:xfrm rot="13636515">
                <a:off x="1357669" y="338258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3" name="Isosceles Triangle 92"/>
              <p:cNvSpPr/>
              <p:nvPr/>
            </p:nvSpPr>
            <p:spPr bwMode="auto">
              <a:xfrm rot="13636515">
                <a:off x="1260548" y="3480882"/>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94" name="Group 93"/>
            <p:cNvGrpSpPr/>
            <p:nvPr/>
          </p:nvGrpSpPr>
          <p:grpSpPr>
            <a:xfrm rot="16043978">
              <a:off x="1317220" y="4717577"/>
              <a:ext cx="292254" cy="354906"/>
              <a:chOff x="1296521" y="3253388"/>
              <a:chExt cx="292254" cy="354906"/>
            </a:xfrm>
            <a:solidFill>
              <a:srgbClr val="F2C812"/>
            </a:solidFill>
          </p:grpSpPr>
          <p:sp>
            <p:nvSpPr>
              <p:cNvPr id="95" name="Isosceles Triangle 94"/>
              <p:cNvSpPr/>
              <p:nvPr/>
            </p:nvSpPr>
            <p:spPr bwMode="auto">
              <a:xfrm rot="13636515">
                <a:off x="1461362" y="328936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6" name="Isosceles Triangle 95"/>
              <p:cNvSpPr/>
              <p:nvPr/>
            </p:nvSpPr>
            <p:spPr bwMode="auto">
              <a:xfrm rot="13636515">
                <a:off x="1357669" y="338258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7" name="Isosceles Triangle 96"/>
              <p:cNvSpPr/>
              <p:nvPr/>
            </p:nvSpPr>
            <p:spPr bwMode="auto">
              <a:xfrm rot="13636515">
                <a:off x="1260548" y="3480882"/>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98" name="Oval 36"/>
            <p:cNvSpPr/>
            <p:nvPr/>
          </p:nvSpPr>
          <p:spPr>
            <a:xfrm>
              <a:off x="1413521" y="2481383"/>
              <a:ext cx="1119626" cy="1119626"/>
            </a:xfrm>
            <a:prstGeom prst="ellipse">
              <a:avLst/>
            </a:prstGeom>
            <a:solidFill>
              <a:srgbClr val="F2C812"/>
            </a:solidFill>
            <a:ln w="3175" cap="flat" cmpd="sng" algn="ctr">
              <a:noFill/>
              <a:prstDash val="solid"/>
            </a:ln>
            <a:effectLst/>
          </p:spPr>
          <p:txBody>
            <a:bodyPr vert="horz" wrap="none" lIns="0" tIns="0" rIns="0" bIns="0" rtlCol="0" anchor="t"/>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400" b="1" i="0" u="none" strike="noStrike" kern="1200" cap="none" spc="0" normalizeH="0" baseline="0" noProof="0">
                <a:ln>
                  <a:noFill/>
                </a:ln>
                <a:solidFill>
                  <a:srgbClr val="217346"/>
                </a:solidFill>
                <a:effectLst/>
                <a:uLnTx/>
                <a:uFillTx/>
                <a:latin typeface="Segoe UI"/>
                <a:ea typeface="Segoe UI" pitchFamily="34" charset="0"/>
                <a:cs typeface="Segoe UI" pitchFamily="34" charset="0"/>
              </a:endParaRPr>
            </a:p>
          </p:txBody>
        </p:sp>
        <p:sp>
          <p:nvSpPr>
            <p:cNvPr id="99" name="Donut 3"/>
            <p:cNvSpPr/>
            <p:nvPr/>
          </p:nvSpPr>
          <p:spPr bwMode="auto">
            <a:xfrm>
              <a:off x="1742065" y="3002355"/>
              <a:ext cx="383905" cy="351537"/>
            </a:xfrm>
            <a:custGeom>
              <a:avLst/>
              <a:gdLst/>
              <a:ahLst/>
              <a:cxnLst/>
              <a:rect l="l" t="t" r="r" b="b"/>
              <a:pathLst>
                <a:path w="1409956" h="1291077">
                  <a:moveTo>
                    <a:pt x="956401" y="78410"/>
                  </a:moveTo>
                  <a:cubicBezTo>
                    <a:pt x="747518" y="78410"/>
                    <a:pt x="578184" y="247744"/>
                    <a:pt x="578184" y="456627"/>
                  </a:cubicBezTo>
                  <a:cubicBezTo>
                    <a:pt x="578184" y="665510"/>
                    <a:pt x="747518" y="834844"/>
                    <a:pt x="956401" y="834844"/>
                  </a:cubicBezTo>
                  <a:cubicBezTo>
                    <a:pt x="1165284" y="834844"/>
                    <a:pt x="1334618" y="665510"/>
                    <a:pt x="1334618" y="456627"/>
                  </a:cubicBezTo>
                  <a:cubicBezTo>
                    <a:pt x="1334618" y="247744"/>
                    <a:pt x="1165284" y="78410"/>
                    <a:pt x="956401" y="78410"/>
                  </a:cubicBezTo>
                  <a:close/>
                  <a:moveTo>
                    <a:pt x="952756" y="0"/>
                  </a:moveTo>
                  <a:cubicBezTo>
                    <a:pt x="1205261" y="0"/>
                    <a:pt x="1409956" y="204695"/>
                    <a:pt x="1409956" y="457200"/>
                  </a:cubicBezTo>
                  <a:cubicBezTo>
                    <a:pt x="1409956" y="709705"/>
                    <a:pt x="1205261" y="914400"/>
                    <a:pt x="952756" y="914400"/>
                  </a:cubicBezTo>
                  <a:cubicBezTo>
                    <a:pt x="862133" y="914400"/>
                    <a:pt x="777669" y="888034"/>
                    <a:pt x="707132" y="841746"/>
                  </a:cubicBezTo>
                  <a:lnTo>
                    <a:pt x="136495" y="1280102"/>
                  </a:lnTo>
                  <a:cubicBezTo>
                    <a:pt x="21896" y="1327168"/>
                    <a:pt x="-44029" y="1213730"/>
                    <a:pt x="33797" y="1113182"/>
                  </a:cubicBezTo>
                  <a:lnTo>
                    <a:pt x="568587" y="703518"/>
                  </a:lnTo>
                  <a:cubicBezTo>
                    <a:pt x="522087" y="632814"/>
                    <a:pt x="495556" y="548105"/>
                    <a:pt x="495556" y="457200"/>
                  </a:cubicBezTo>
                  <a:cubicBezTo>
                    <a:pt x="495556" y="204695"/>
                    <a:pt x="700251" y="0"/>
                    <a:pt x="952756" y="0"/>
                  </a:cubicBezTo>
                  <a:close/>
                </a:path>
              </a:pathLst>
            </a:cu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ysClr val="windowText" lastClr="000000"/>
                </a:solidFill>
                <a:effectLst/>
                <a:uLnTx/>
                <a:uFillTx/>
                <a:latin typeface="Segoe UI"/>
                <a:ea typeface="+mn-ea"/>
                <a:cs typeface="+mn-cs"/>
              </a:endParaRPr>
            </a:p>
          </p:txBody>
        </p:sp>
        <p:sp>
          <p:nvSpPr>
            <p:cNvPr id="100" name="Rectangle 99"/>
            <p:cNvSpPr/>
            <p:nvPr/>
          </p:nvSpPr>
          <p:spPr>
            <a:xfrm>
              <a:off x="1600398" y="2677430"/>
              <a:ext cx="820353" cy="307777"/>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Segoe UI"/>
                  <a:ea typeface="Segoe UI" pitchFamily="34" charset="0"/>
                  <a:cs typeface="Segoe UI" pitchFamily="34" charset="0"/>
                </a:rPr>
                <a:t>Explore</a:t>
              </a:r>
              <a:endParaRPr kumimoji="0" lang="en-US" sz="1600" b="0" i="0" u="none" strike="noStrike" kern="1200" cap="none" spc="0" normalizeH="0" baseline="0" noProof="0">
                <a:ln>
                  <a:noFill/>
                </a:ln>
                <a:solidFill>
                  <a:prstClr val="black"/>
                </a:solidFill>
                <a:effectLst/>
                <a:uLnTx/>
                <a:uFillTx/>
                <a:latin typeface="Segoe UI"/>
                <a:ea typeface="+mn-ea"/>
                <a:cs typeface="+mn-cs"/>
              </a:endParaRPr>
            </a:p>
          </p:txBody>
        </p:sp>
        <p:sp>
          <p:nvSpPr>
            <p:cNvPr id="101" name="Rectangle 100"/>
            <p:cNvSpPr/>
            <p:nvPr/>
          </p:nvSpPr>
          <p:spPr>
            <a:xfrm>
              <a:off x="509174" y="1475232"/>
              <a:ext cx="838756" cy="307777"/>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Segoe UI"/>
                  <a:ea typeface="Segoe UI" pitchFamily="34" charset="0"/>
                  <a:cs typeface="Segoe UI" pitchFamily="34" charset="0"/>
                </a:rPr>
                <a:t>Prepare</a:t>
              </a:r>
              <a:endParaRPr kumimoji="0" lang="en-US" sz="1400" b="0" i="0" u="none" strike="noStrike" kern="1200" cap="none" spc="0" normalizeH="0" baseline="0" noProof="0">
                <a:ln>
                  <a:noFill/>
                </a:ln>
                <a:solidFill>
                  <a:prstClr val="black"/>
                </a:solidFill>
                <a:effectLst/>
                <a:uLnTx/>
                <a:uFillTx/>
                <a:latin typeface="Segoe UI"/>
                <a:ea typeface="+mn-ea"/>
                <a:cs typeface="+mn-cs"/>
              </a:endParaRPr>
            </a:p>
          </p:txBody>
        </p:sp>
        <p:sp>
          <p:nvSpPr>
            <p:cNvPr id="102" name="Freeform 101"/>
            <p:cNvSpPr>
              <a:spLocks noChangeAspect="1"/>
            </p:cNvSpPr>
            <p:nvPr/>
          </p:nvSpPr>
          <p:spPr bwMode="black">
            <a:xfrm>
              <a:off x="1836174" y="5643069"/>
              <a:ext cx="274320" cy="284173"/>
            </a:xfrm>
            <a:custGeom>
              <a:avLst/>
              <a:gdLst>
                <a:gd name="T0" fmla="*/ 539 w 669"/>
                <a:gd name="T1" fmla="*/ 5 h 693"/>
                <a:gd name="T2" fmla="*/ 640 w 669"/>
                <a:gd name="T3" fmla="*/ 55 h 693"/>
                <a:gd name="T4" fmla="*/ 603 w 669"/>
                <a:gd name="T5" fmla="*/ 195 h 693"/>
                <a:gd name="T6" fmla="*/ 490 w 669"/>
                <a:gd name="T7" fmla="*/ 188 h 693"/>
                <a:gd name="T8" fmla="*/ 479 w 669"/>
                <a:gd name="T9" fmla="*/ 176 h 693"/>
                <a:gd name="T10" fmla="*/ 213 w 669"/>
                <a:gd name="T11" fmla="*/ 330 h 693"/>
                <a:gd name="T12" fmla="*/ 218 w 669"/>
                <a:gd name="T13" fmla="*/ 345 h 693"/>
                <a:gd name="T14" fmla="*/ 218 w 669"/>
                <a:gd name="T15" fmla="*/ 375 h 693"/>
                <a:gd name="T16" fmla="*/ 209 w 669"/>
                <a:gd name="T17" fmla="*/ 402 h 693"/>
                <a:gd name="T18" fmla="*/ 369 w 669"/>
                <a:gd name="T19" fmla="*/ 503 h 693"/>
                <a:gd name="T20" fmla="*/ 373 w 669"/>
                <a:gd name="T21" fmla="*/ 498 h 693"/>
                <a:gd name="T22" fmla="*/ 456 w 669"/>
                <a:gd name="T23" fmla="*/ 475 h 693"/>
                <a:gd name="T24" fmla="*/ 494 w 669"/>
                <a:gd name="T25" fmla="*/ 489 h 693"/>
                <a:gd name="T26" fmla="*/ 527 w 669"/>
                <a:gd name="T27" fmla="*/ 630 h 693"/>
                <a:gd name="T28" fmla="*/ 386 w 669"/>
                <a:gd name="T29" fmla="*/ 663 h 693"/>
                <a:gd name="T30" fmla="*/ 339 w 669"/>
                <a:gd name="T31" fmla="*/ 560 h 693"/>
                <a:gd name="T32" fmla="*/ 345 w 669"/>
                <a:gd name="T33" fmla="*/ 544 h 693"/>
                <a:gd name="T34" fmla="*/ 177 w 669"/>
                <a:gd name="T35" fmla="*/ 439 h 693"/>
                <a:gd name="T36" fmla="*/ 168 w 669"/>
                <a:gd name="T37" fmla="*/ 446 h 693"/>
                <a:gd name="T38" fmla="*/ 28 w 669"/>
                <a:gd name="T39" fmla="*/ 409 h 693"/>
                <a:gd name="T40" fmla="*/ 65 w 669"/>
                <a:gd name="T41" fmla="*/ 269 h 693"/>
                <a:gd name="T42" fmla="*/ 178 w 669"/>
                <a:gd name="T43" fmla="*/ 276 h 693"/>
                <a:gd name="T44" fmla="*/ 189 w 669"/>
                <a:gd name="T45" fmla="*/ 288 h 693"/>
                <a:gd name="T46" fmla="*/ 455 w 669"/>
                <a:gd name="T47" fmla="*/ 134 h 693"/>
                <a:gd name="T48" fmla="*/ 450 w 669"/>
                <a:gd name="T49" fmla="*/ 119 h 693"/>
                <a:gd name="T50" fmla="*/ 501 w 669"/>
                <a:gd name="T51" fmla="*/ 18 h 693"/>
                <a:gd name="T52" fmla="*/ 539 w 669"/>
                <a:gd name="T53" fmla="*/ 5 h 6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69" h="693">
                  <a:moveTo>
                    <a:pt x="539" y="5"/>
                  </a:moveTo>
                  <a:cubicBezTo>
                    <a:pt x="579" y="0"/>
                    <a:pt x="619" y="19"/>
                    <a:pt x="640" y="55"/>
                  </a:cubicBezTo>
                  <a:cubicBezTo>
                    <a:pt x="669" y="104"/>
                    <a:pt x="652" y="167"/>
                    <a:pt x="603" y="195"/>
                  </a:cubicBezTo>
                  <a:cubicBezTo>
                    <a:pt x="566" y="216"/>
                    <a:pt x="522" y="212"/>
                    <a:pt x="490" y="188"/>
                  </a:cubicBezTo>
                  <a:cubicBezTo>
                    <a:pt x="479" y="176"/>
                    <a:pt x="479" y="176"/>
                    <a:pt x="479" y="176"/>
                  </a:cubicBezTo>
                  <a:cubicBezTo>
                    <a:pt x="213" y="330"/>
                    <a:pt x="213" y="330"/>
                    <a:pt x="213" y="330"/>
                  </a:cubicBezTo>
                  <a:cubicBezTo>
                    <a:pt x="218" y="345"/>
                    <a:pt x="218" y="345"/>
                    <a:pt x="218" y="345"/>
                  </a:cubicBezTo>
                  <a:cubicBezTo>
                    <a:pt x="219" y="355"/>
                    <a:pt x="219" y="365"/>
                    <a:pt x="218" y="375"/>
                  </a:cubicBezTo>
                  <a:cubicBezTo>
                    <a:pt x="209" y="402"/>
                    <a:pt x="209" y="402"/>
                    <a:pt x="209" y="402"/>
                  </a:cubicBezTo>
                  <a:cubicBezTo>
                    <a:pt x="369" y="503"/>
                    <a:pt x="369" y="503"/>
                    <a:pt x="369" y="503"/>
                  </a:cubicBezTo>
                  <a:cubicBezTo>
                    <a:pt x="373" y="498"/>
                    <a:pt x="373" y="498"/>
                    <a:pt x="373" y="498"/>
                  </a:cubicBezTo>
                  <a:cubicBezTo>
                    <a:pt x="396" y="479"/>
                    <a:pt x="427" y="470"/>
                    <a:pt x="456" y="475"/>
                  </a:cubicBezTo>
                  <a:cubicBezTo>
                    <a:pt x="470" y="477"/>
                    <a:pt x="482" y="482"/>
                    <a:pt x="494" y="489"/>
                  </a:cubicBezTo>
                  <a:cubicBezTo>
                    <a:pt x="542" y="519"/>
                    <a:pt x="557" y="583"/>
                    <a:pt x="527" y="630"/>
                  </a:cubicBezTo>
                  <a:cubicBezTo>
                    <a:pt x="497" y="678"/>
                    <a:pt x="433" y="693"/>
                    <a:pt x="386" y="663"/>
                  </a:cubicBezTo>
                  <a:cubicBezTo>
                    <a:pt x="350" y="640"/>
                    <a:pt x="333" y="599"/>
                    <a:pt x="339" y="560"/>
                  </a:cubicBezTo>
                  <a:cubicBezTo>
                    <a:pt x="345" y="544"/>
                    <a:pt x="345" y="544"/>
                    <a:pt x="345" y="544"/>
                  </a:cubicBezTo>
                  <a:cubicBezTo>
                    <a:pt x="177" y="439"/>
                    <a:pt x="177" y="439"/>
                    <a:pt x="177" y="439"/>
                  </a:cubicBezTo>
                  <a:cubicBezTo>
                    <a:pt x="168" y="446"/>
                    <a:pt x="168" y="446"/>
                    <a:pt x="168" y="446"/>
                  </a:cubicBezTo>
                  <a:cubicBezTo>
                    <a:pt x="119" y="475"/>
                    <a:pt x="56" y="458"/>
                    <a:pt x="28" y="409"/>
                  </a:cubicBezTo>
                  <a:cubicBezTo>
                    <a:pt x="0" y="360"/>
                    <a:pt x="16" y="297"/>
                    <a:pt x="65" y="269"/>
                  </a:cubicBezTo>
                  <a:cubicBezTo>
                    <a:pt x="102" y="248"/>
                    <a:pt x="147" y="252"/>
                    <a:pt x="178" y="276"/>
                  </a:cubicBezTo>
                  <a:cubicBezTo>
                    <a:pt x="189" y="288"/>
                    <a:pt x="189" y="288"/>
                    <a:pt x="189" y="288"/>
                  </a:cubicBezTo>
                  <a:cubicBezTo>
                    <a:pt x="455" y="134"/>
                    <a:pt x="455" y="134"/>
                    <a:pt x="455" y="134"/>
                  </a:cubicBezTo>
                  <a:cubicBezTo>
                    <a:pt x="450" y="119"/>
                    <a:pt x="450" y="119"/>
                    <a:pt x="450" y="119"/>
                  </a:cubicBezTo>
                  <a:cubicBezTo>
                    <a:pt x="445" y="80"/>
                    <a:pt x="464" y="39"/>
                    <a:pt x="501" y="18"/>
                  </a:cubicBezTo>
                  <a:cubicBezTo>
                    <a:pt x="513" y="11"/>
                    <a:pt x="526" y="6"/>
                    <a:pt x="539" y="5"/>
                  </a:cubicBezTo>
                  <a:close/>
                </a:path>
              </a:pathLst>
            </a:custGeom>
            <a:solidFill>
              <a:schemeClr val="tx1"/>
            </a:solidFill>
            <a:ln>
              <a:noFill/>
            </a:ln>
          </p:spPr>
          <p:txBody>
            <a:bodyPr vert="horz" wrap="square" lIns="68574" tIns="34287" rIns="68574" bIns="34287"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Segoe UI"/>
                <a:ea typeface="+mn-ea"/>
                <a:cs typeface="+mn-cs"/>
              </a:endParaRPr>
            </a:p>
          </p:txBody>
        </p:sp>
        <p:sp>
          <p:nvSpPr>
            <p:cNvPr id="103" name="Freeform 102"/>
            <p:cNvSpPr>
              <a:spLocks noChangeAspect="1" noEditPoints="1"/>
            </p:cNvSpPr>
            <p:nvPr/>
          </p:nvSpPr>
          <p:spPr bwMode="black">
            <a:xfrm>
              <a:off x="722320" y="1783009"/>
              <a:ext cx="452202" cy="366660"/>
            </a:xfrm>
            <a:custGeom>
              <a:avLst/>
              <a:gdLst>
                <a:gd name="T0" fmla="*/ 600 w 1107"/>
                <a:gd name="T1" fmla="*/ 625 h 897"/>
                <a:gd name="T2" fmla="*/ 649 w 1107"/>
                <a:gd name="T3" fmla="*/ 567 h 897"/>
                <a:gd name="T4" fmla="*/ 727 w 1107"/>
                <a:gd name="T5" fmla="*/ 482 h 897"/>
                <a:gd name="T6" fmla="*/ 601 w 1107"/>
                <a:gd name="T7" fmla="*/ 434 h 897"/>
                <a:gd name="T8" fmla="*/ 628 w 1107"/>
                <a:gd name="T9" fmla="*/ 305 h 897"/>
                <a:gd name="T10" fmla="*/ 547 w 1107"/>
                <a:gd name="T11" fmla="*/ 240 h 897"/>
                <a:gd name="T12" fmla="*/ 427 w 1107"/>
                <a:gd name="T13" fmla="*/ 287 h 897"/>
                <a:gd name="T14" fmla="*/ 368 w 1107"/>
                <a:gd name="T15" fmla="*/ 170 h 897"/>
                <a:gd name="T16" fmla="*/ 285 w 1107"/>
                <a:gd name="T17" fmla="*/ 263 h 897"/>
                <a:gd name="T18" fmla="*/ 241 w 1107"/>
                <a:gd name="T19" fmla="*/ 313 h 897"/>
                <a:gd name="T20" fmla="*/ 139 w 1107"/>
                <a:gd name="T21" fmla="*/ 281 h 897"/>
                <a:gd name="T22" fmla="*/ 79 w 1107"/>
                <a:gd name="T23" fmla="*/ 355 h 897"/>
                <a:gd name="T24" fmla="*/ 132 w 1107"/>
                <a:gd name="T25" fmla="*/ 446 h 897"/>
                <a:gd name="T26" fmla="*/ 83 w 1107"/>
                <a:gd name="T27" fmla="*/ 505 h 897"/>
                <a:gd name="T28" fmla="*/ 5 w 1107"/>
                <a:gd name="T29" fmla="*/ 590 h 897"/>
                <a:gd name="T30" fmla="*/ 132 w 1107"/>
                <a:gd name="T31" fmla="*/ 638 h 897"/>
                <a:gd name="T32" fmla="*/ 145 w 1107"/>
                <a:gd name="T33" fmla="*/ 669 h 897"/>
                <a:gd name="T34" fmla="*/ 110 w 1107"/>
                <a:gd name="T35" fmla="*/ 793 h 897"/>
                <a:gd name="T36" fmla="*/ 230 w 1107"/>
                <a:gd name="T37" fmla="*/ 781 h 897"/>
                <a:gd name="T38" fmla="*/ 306 w 1107"/>
                <a:gd name="T39" fmla="*/ 785 h 897"/>
                <a:gd name="T40" fmla="*/ 346 w 1107"/>
                <a:gd name="T41" fmla="*/ 878 h 897"/>
                <a:gd name="T42" fmla="*/ 440 w 1107"/>
                <a:gd name="T43" fmla="*/ 872 h 897"/>
                <a:gd name="T44" fmla="*/ 466 w 1107"/>
                <a:gd name="T45" fmla="*/ 764 h 897"/>
                <a:gd name="T46" fmla="*/ 539 w 1107"/>
                <a:gd name="T47" fmla="*/ 755 h 897"/>
                <a:gd name="T48" fmla="*/ 659 w 1107"/>
                <a:gd name="T49" fmla="*/ 743 h 897"/>
                <a:gd name="T50" fmla="*/ 263 w 1107"/>
                <a:gd name="T51" fmla="*/ 452 h 897"/>
                <a:gd name="T52" fmla="*/ 281 w 1107"/>
                <a:gd name="T53" fmla="*/ 633 h 897"/>
                <a:gd name="T54" fmla="*/ 1002 w 1107"/>
                <a:gd name="T55" fmla="*/ 332 h 897"/>
                <a:gd name="T56" fmla="*/ 1043 w 1107"/>
                <a:gd name="T57" fmla="*/ 304 h 897"/>
                <a:gd name="T58" fmla="*/ 1107 w 1107"/>
                <a:gd name="T59" fmla="*/ 266 h 897"/>
                <a:gd name="T60" fmla="*/ 1037 w 1107"/>
                <a:gd name="T61" fmla="*/ 213 h 897"/>
                <a:gd name="T62" fmla="*/ 1077 w 1107"/>
                <a:gd name="T63" fmla="*/ 138 h 897"/>
                <a:gd name="T64" fmla="*/ 1038 w 1107"/>
                <a:gd name="T65" fmla="*/ 83 h 897"/>
                <a:gd name="T66" fmla="*/ 956 w 1107"/>
                <a:gd name="T67" fmla="*/ 91 h 897"/>
                <a:gd name="T68" fmla="*/ 940 w 1107"/>
                <a:gd name="T69" fmla="*/ 7 h 897"/>
                <a:gd name="T70" fmla="*/ 872 w 1107"/>
                <a:gd name="T71" fmla="*/ 50 h 897"/>
                <a:gd name="T72" fmla="*/ 836 w 1107"/>
                <a:gd name="T73" fmla="*/ 74 h 897"/>
                <a:gd name="T74" fmla="*/ 778 w 1107"/>
                <a:gd name="T75" fmla="*/ 35 h 897"/>
                <a:gd name="T76" fmla="*/ 728 w 1107"/>
                <a:gd name="T77" fmla="*/ 70 h 897"/>
                <a:gd name="T78" fmla="*/ 744 w 1107"/>
                <a:gd name="T79" fmla="*/ 136 h 897"/>
                <a:gd name="T80" fmla="*/ 703 w 1107"/>
                <a:gd name="T81" fmla="*/ 164 h 897"/>
                <a:gd name="T82" fmla="*/ 640 w 1107"/>
                <a:gd name="T83" fmla="*/ 203 h 897"/>
                <a:gd name="T84" fmla="*/ 710 w 1107"/>
                <a:gd name="T85" fmla="*/ 255 h 897"/>
                <a:gd name="T86" fmla="*/ 712 w 1107"/>
                <a:gd name="T87" fmla="*/ 277 h 897"/>
                <a:gd name="T88" fmla="*/ 668 w 1107"/>
                <a:gd name="T89" fmla="*/ 347 h 897"/>
                <a:gd name="T90" fmla="*/ 745 w 1107"/>
                <a:gd name="T91" fmla="*/ 361 h 897"/>
                <a:gd name="T92" fmla="*/ 791 w 1107"/>
                <a:gd name="T93" fmla="*/ 377 h 897"/>
                <a:gd name="T94" fmla="*/ 799 w 1107"/>
                <a:gd name="T95" fmla="*/ 443 h 897"/>
                <a:gd name="T96" fmla="*/ 859 w 1107"/>
                <a:gd name="T97" fmla="*/ 456 h 897"/>
                <a:gd name="T98" fmla="*/ 894 w 1107"/>
                <a:gd name="T99" fmla="*/ 393 h 897"/>
                <a:gd name="T100" fmla="*/ 941 w 1107"/>
                <a:gd name="T101" fmla="*/ 401 h 897"/>
                <a:gd name="T102" fmla="*/ 1018 w 1107"/>
                <a:gd name="T103" fmla="*/ 415 h 897"/>
                <a:gd name="T104" fmla="*/ 825 w 1107"/>
                <a:gd name="T105" fmla="*/ 164 h 897"/>
                <a:gd name="T106" fmla="*/ 803 w 1107"/>
                <a:gd name="T107" fmla="*/ 279 h 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107" h="897">
                  <a:moveTo>
                    <a:pt x="654" y="716"/>
                  </a:moveTo>
                  <a:cubicBezTo>
                    <a:pt x="616" y="670"/>
                    <a:pt x="616" y="670"/>
                    <a:pt x="616" y="670"/>
                  </a:cubicBezTo>
                  <a:cubicBezTo>
                    <a:pt x="593" y="654"/>
                    <a:pt x="603" y="638"/>
                    <a:pt x="600" y="625"/>
                  </a:cubicBezTo>
                  <a:cubicBezTo>
                    <a:pt x="600" y="625"/>
                    <a:pt x="600" y="625"/>
                    <a:pt x="600" y="625"/>
                  </a:cubicBezTo>
                  <a:cubicBezTo>
                    <a:pt x="605" y="617"/>
                    <a:pt x="611" y="609"/>
                    <a:pt x="608" y="596"/>
                  </a:cubicBezTo>
                  <a:cubicBezTo>
                    <a:pt x="618" y="580"/>
                    <a:pt x="623" y="572"/>
                    <a:pt x="649" y="567"/>
                  </a:cubicBezTo>
                  <a:cubicBezTo>
                    <a:pt x="715" y="553"/>
                    <a:pt x="715" y="553"/>
                    <a:pt x="715" y="553"/>
                  </a:cubicBezTo>
                  <a:cubicBezTo>
                    <a:pt x="728" y="550"/>
                    <a:pt x="733" y="542"/>
                    <a:pt x="730" y="529"/>
                  </a:cubicBezTo>
                  <a:cubicBezTo>
                    <a:pt x="727" y="482"/>
                    <a:pt x="727" y="482"/>
                    <a:pt x="727" y="482"/>
                  </a:cubicBezTo>
                  <a:cubicBezTo>
                    <a:pt x="724" y="469"/>
                    <a:pt x="717" y="463"/>
                    <a:pt x="701" y="453"/>
                  </a:cubicBezTo>
                  <a:cubicBezTo>
                    <a:pt x="641" y="459"/>
                    <a:pt x="641" y="459"/>
                    <a:pt x="641" y="459"/>
                  </a:cubicBezTo>
                  <a:cubicBezTo>
                    <a:pt x="620" y="457"/>
                    <a:pt x="604" y="447"/>
                    <a:pt x="601" y="434"/>
                  </a:cubicBezTo>
                  <a:cubicBezTo>
                    <a:pt x="598" y="421"/>
                    <a:pt x="590" y="416"/>
                    <a:pt x="580" y="397"/>
                  </a:cubicBezTo>
                  <a:cubicBezTo>
                    <a:pt x="577" y="384"/>
                    <a:pt x="574" y="371"/>
                    <a:pt x="584" y="355"/>
                  </a:cubicBezTo>
                  <a:cubicBezTo>
                    <a:pt x="628" y="305"/>
                    <a:pt x="628" y="305"/>
                    <a:pt x="628" y="305"/>
                  </a:cubicBezTo>
                  <a:cubicBezTo>
                    <a:pt x="634" y="297"/>
                    <a:pt x="631" y="284"/>
                    <a:pt x="623" y="279"/>
                  </a:cubicBezTo>
                  <a:cubicBezTo>
                    <a:pt x="581" y="240"/>
                    <a:pt x="581" y="240"/>
                    <a:pt x="581" y="240"/>
                  </a:cubicBezTo>
                  <a:cubicBezTo>
                    <a:pt x="573" y="235"/>
                    <a:pt x="560" y="238"/>
                    <a:pt x="547" y="240"/>
                  </a:cubicBezTo>
                  <a:cubicBezTo>
                    <a:pt x="503" y="291"/>
                    <a:pt x="503" y="291"/>
                    <a:pt x="503" y="291"/>
                  </a:cubicBezTo>
                  <a:cubicBezTo>
                    <a:pt x="484" y="302"/>
                    <a:pt x="471" y="304"/>
                    <a:pt x="463" y="299"/>
                  </a:cubicBezTo>
                  <a:cubicBezTo>
                    <a:pt x="456" y="294"/>
                    <a:pt x="435" y="292"/>
                    <a:pt x="427" y="287"/>
                  </a:cubicBezTo>
                  <a:cubicBezTo>
                    <a:pt x="419" y="282"/>
                    <a:pt x="403" y="271"/>
                    <a:pt x="400" y="258"/>
                  </a:cubicBezTo>
                  <a:cubicBezTo>
                    <a:pt x="386" y="193"/>
                    <a:pt x="386" y="193"/>
                    <a:pt x="386" y="193"/>
                  </a:cubicBezTo>
                  <a:cubicBezTo>
                    <a:pt x="384" y="180"/>
                    <a:pt x="368" y="170"/>
                    <a:pt x="368" y="170"/>
                  </a:cubicBezTo>
                  <a:cubicBezTo>
                    <a:pt x="308" y="176"/>
                    <a:pt x="308" y="176"/>
                    <a:pt x="308" y="176"/>
                  </a:cubicBezTo>
                  <a:cubicBezTo>
                    <a:pt x="308" y="176"/>
                    <a:pt x="289" y="187"/>
                    <a:pt x="292" y="200"/>
                  </a:cubicBezTo>
                  <a:cubicBezTo>
                    <a:pt x="285" y="263"/>
                    <a:pt x="285" y="263"/>
                    <a:pt x="285" y="263"/>
                  </a:cubicBezTo>
                  <a:cubicBezTo>
                    <a:pt x="291" y="289"/>
                    <a:pt x="277" y="292"/>
                    <a:pt x="272" y="300"/>
                  </a:cubicBezTo>
                  <a:cubicBezTo>
                    <a:pt x="272" y="300"/>
                    <a:pt x="272" y="300"/>
                    <a:pt x="267" y="308"/>
                  </a:cubicBezTo>
                  <a:cubicBezTo>
                    <a:pt x="259" y="302"/>
                    <a:pt x="246" y="305"/>
                    <a:pt x="241" y="313"/>
                  </a:cubicBezTo>
                  <a:cubicBezTo>
                    <a:pt x="236" y="321"/>
                    <a:pt x="236" y="321"/>
                    <a:pt x="236" y="321"/>
                  </a:cubicBezTo>
                  <a:cubicBezTo>
                    <a:pt x="223" y="324"/>
                    <a:pt x="210" y="327"/>
                    <a:pt x="194" y="317"/>
                  </a:cubicBezTo>
                  <a:cubicBezTo>
                    <a:pt x="139" y="281"/>
                    <a:pt x="139" y="281"/>
                    <a:pt x="139" y="281"/>
                  </a:cubicBezTo>
                  <a:cubicBezTo>
                    <a:pt x="131" y="276"/>
                    <a:pt x="110" y="273"/>
                    <a:pt x="104" y="281"/>
                  </a:cubicBezTo>
                  <a:cubicBezTo>
                    <a:pt x="79" y="321"/>
                    <a:pt x="79" y="321"/>
                    <a:pt x="79" y="321"/>
                  </a:cubicBezTo>
                  <a:cubicBezTo>
                    <a:pt x="66" y="324"/>
                    <a:pt x="68" y="337"/>
                    <a:pt x="79" y="355"/>
                  </a:cubicBezTo>
                  <a:cubicBezTo>
                    <a:pt x="121" y="394"/>
                    <a:pt x="121" y="394"/>
                    <a:pt x="121" y="394"/>
                  </a:cubicBezTo>
                  <a:cubicBezTo>
                    <a:pt x="140" y="417"/>
                    <a:pt x="135" y="425"/>
                    <a:pt x="132" y="446"/>
                  </a:cubicBezTo>
                  <a:cubicBezTo>
                    <a:pt x="132" y="446"/>
                    <a:pt x="132" y="446"/>
                    <a:pt x="132" y="446"/>
                  </a:cubicBezTo>
                  <a:cubicBezTo>
                    <a:pt x="127" y="454"/>
                    <a:pt x="122" y="462"/>
                    <a:pt x="117" y="470"/>
                  </a:cubicBezTo>
                  <a:cubicBezTo>
                    <a:pt x="117" y="470"/>
                    <a:pt x="117" y="470"/>
                    <a:pt x="117" y="470"/>
                  </a:cubicBezTo>
                  <a:cubicBezTo>
                    <a:pt x="120" y="483"/>
                    <a:pt x="109" y="499"/>
                    <a:pt x="83" y="505"/>
                  </a:cubicBezTo>
                  <a:cubicBezTo>
                    <a:pt x="23" y="511"/>
                    <a:pt x="23" y="511"/>
                    <a:pt x="23" y="511"/>
                  </a:cubicBezTo>
                  <a:cubicBezTo>
                    <a:pt x="10" y="514"/>
                    <a:pt x="0" y="529"/>
                    <a:pt x="2" y="543"/>
                  </a:cubicBezTo>
                  <a:cubicBezTo>
                    <a:pt x="5" y="590"/>
                    <a:pt x="5" y="590"/>
                    <a:pt x="5" y="590"/>
                  </a:cubicBezTo>
                  <a:cubicBezTo>
                    <a:pt x="8" y="603"/>
                    <a:pt x="16" y="608"/>
                    <a:pt x="37" y="610"/>
                  </a:cubicBezTo>
                  <a:cubicBezTo>
                    <a:pt x="92" y="612"/>
                    <a:pt x="92" y="612"/>
                    <a:pt x="92" y="612"/>
                  </a:cubicBezTo>
                  <a:cubicBezTo>
                    <a:pt x="113" y="614"/>
                    <a:pt x="129" y="625"/>
                    <a:pt x="132" y="638"/>
                  </a:cubicBezTo>
                  <a:cubicBezTo>
                    <a:pt x="132" y="638"/>
                    <a:pt x="132" y="638"/>
                    <a:pt x="132" y="638"/>
                  </a:cubicBezTo>
                  <a:cubicBezTo>
                    <a:pt x="140" y="643"/>
                    <a:pt x="142" y="656"/>
                    <a:pt x="150" y="661"/>
                  </a:cubicBezTo>
                  <a:cubicBezTo>
                    <a:pt x="145" y="669"/>
                    <a:pt x="145" y="669"/>
                    <a:pt x="145" y="669"/>
                  </a:cubicBezTo>
                  <a:cubicBezTo>
                    <a:pt x="153" y="674"/>
                    <a:pt x="156" y="687"/>
                    <a:pt x="140" y="711"/>
                  </a:cubicBezTo>
                  <a:cubicBezTo>
                    <a:pt x="109" y="759"/>
                    <a:pt x="109" y="759"/>
                    <a:pt x="109" y="759"/>
                  </a:cubicBezTo>
                  <a:cubicBezTo>
                    <a:pt x="99" y="775"/>
                    <a:pt x="102" y="788"/>
                    <a:pt x="110" y="793"/>
                  </a:cubicBezTo>
                  <a:cubicBezTo>
                    <a:pt x="152" y="832"/>
                    <a:pt x="152" y="832"/>
                    <a:pt x="152" y="832"/>
                  </a:cubicBezTo>
                  <a:cubicBezTo>
                    <a:pt x="160" y="837"/>
                    <a:pt x="173" y="834"/>
                    <a:pt x="178" y="826"/>
                  </a:cubicBezTo>
                  <a:cubicBezTo>
                    <a:pt x="230" y="781"/>
                    <a:pt x="230" y="781"/>
                    <a:pt x="230" y="781"/>
                  </a:cubicBezTo>
                  <a:cubicBezTo>
                    <a:pt x="248" y="770"/>
                    <a:pt x="261" y="767"/>
                    <a:pt x="269" y="772"/>
                  </a:cubicBezTo>
                  <a:cubicBezTo>
                    <a:pt x="269" y="772"/>
                    <a:pt x="269" y="772"/>
                    <a:pt x="269" y="772"/>
                  </a:cubicBezTo>
                  <a:cubicBezTo>
                    <a:pt x="282" y="769"/>
                    <a:pt x="298" y="779"/>
                    <a:pt x="306" y="785"/>
                  </a:cubicBezTo>
                  <a:cubicBezTo>
                    <a:pt x="306" y="785"/>
                    <a:pt x="306" y="785"/>
                    <a:pt x="306" y="785"/>
                  </a:cubicBezTo>
                  <a:cubicBezTo>
                    <a:pt x="319" y="782"/>
                    <a:pt x="327" y="787"/>
                    <a:pt x="332" y="813"/>
                  </a:cubicBezTo>
                  <a:cubicBezTo>
                    <a:pt x="346" y="878"/>
                    <a:pt x="346" y="878"/>
                    <a:pt x="346" y="878"/>
                  </a:cubicBezTo>
                  <a:cubicBezTo>
                    <a:pt x="349" y="892"/>
                    <a:pt x="357" y="897"/>
                    <a:pt x="370" y="894"/>
                  </a:cubicBezTo>
                  <a:cubicBezTo>
                    <a:pt x="425" y="896"/>
                    <a:pt x="425" y="896"/>
                    <a:pt x="425" y="896"/>
                  </a:cubicBezTo>
                  <a:cubicBezTo>
                    <a:pt x="430" y="888"/>
                    <a:pt x="443" y="885"/>
                    <a:pt x="440" y="872"/>
                  </a:cubicBezTo>
                  <a:cubicBezTo>
                    <a:pt x="440" y="804"/>
                    <a:pt x="440" y="804"/>
                    <a:pt x="440" y="804"/>
                  </a:cubicBezTo>
                  <a:cubicBezTo>
                    <a:pt x="442" y="783"/>
                    <a:pt x="460" y="772"/>
                    <a:pt x="466" y="764"/>
                  </a:cubicBezTo>
                  <a:cubicBezTo>
                    <a:pt x="466" y="764"/>
                    <a:pt x="466" y="764"/>
                    <a:pt x="466" y="764"/>
                  </a:cubicBezTo>
                  <a:cubicBezTo>
                    <a:pt x="479" y="761"/>
                    <a:pt x="492" y="758"/>
                    <a:pt x="497" y="750"/>
                  </a:cubicBezTo>
                  <a:cubicBezTo>
                    <a:pt x="497" y="750"/>
                    <a:pt x="497" y="750"/>
                    <a:pt x="497" y="750"/>
                  </a:cubicBezTo>
                  <a:cubicBezTo>
                    <a:pt x="510" y="747"/>
                    <a:pt x="523" y="745"/>
                    <a:pt x="539" y="755"/>
                  </a:cubicBezTo>
                  <a:cubicBezTo>
                    <a:pt x="594" y="791"/>
                    <a:pt x="594" y="791"/>
                    <a:pt x="594" y="791"/>
                  </a:cubicBezTo>
                  <a:cubicBezTo>
                    <a:pt x="602" y="796"/>
                    <a:pt x="623" y="798"/>
                    <a:pt x="628" y="790"/>
                  </a:cubicBezTo>
                  <a:cubicBezTo>
                    <a:pt x="659" y="743"/>
                    <a:pt x="659" y="743"/>
                    <a:pt x="659" y="743"/>
                  </a:cubicBezTo>
                  <a:cubicBezTo>
                    <a:pt x="659" y="743"/>
                    <a:pt x="669" y="727"/>
                    <a:pt x="654" y="716"/>
                  </a:cubicBezTo>
                  <a:close/>
                  <a:moveTo>
                    <a:pt x="281" y="633"/>
                  </a:moveTo>
                  <a:cubicBezTo>
                    <a:pt x="223" y="584"/>
                    <a:pt x="219" y="502"/>
                    <a:pt x="263" y="452"/>
                  </a:cubicBezTo>
                  <a:cubicBezTo>
                    <a:pt x="313" y="393"/>
                    <a:pt x="399" y="382"/>
                    <a:pt x="457" y="431"/>
                  </a:cubicBezTo>
                  <a:cubicBezTo>
                    <a:pt x="507" y="475"/>
                    <a:pt x="518" y="561"/>
                    <a:pt x="469" y="619"/>
                  </a:cubicBezTo>
                  <a:cubicBezTo>
                    <a:pt x="420" y="678"/>
                    <a:pt x="339" y="682"/>
                    <a:pt x="281" y="633"/>
                  </a:cubicBezTo>
                  <a:close/>
                  <a:moveTo>
                    <a:pt x="1019" y="398"/>
                  </a:moveTo>
                  <a:cubicBezTo>
                    <a:pt x="1004" y="362"/>
                    <a:pt x="1004" y="362"/>
                    <a:pt x="1004" y="362"/>
                  </a:cubicBezTo>
                  <a:cubicBezTo>
                    <a:pt x="992" y="348"/>
                    <a:pt x="1002" y="340"/>
                    <a:pt x="1002" y="332"/>
                  </a:cubicBezTo>
                  <a:cubicBezTo>
                    <a:pt x="1002" y="332"/>
                    <a:pt x="1002" y="332"/>
                    <a:pt x="1002" y="332"/>
                  </a:cubicBezTo>
                  <a:cubicBezTo>
                    <a:pt x="1007" y="328"/>
                    <a:pt x="1011" y="324"/>
                    <a:pt x="1012" y="315"/>
                  </a:cubicBezTo>
                  <a:cubicBezTo>
                    <a:pt x="1021" y="307"/>
                    <a:pt x="1026" y="303"/>
                    <a:pt x="1043" y="304"/>
                  </a:cubicBezTo>
                  <a:cubicBezTo>
                    <a:pt x="1086" y="307"/>
                    <a:pt x="1086" y="307"/>
                    <a:pt x="1086" y="307"/>
                  </a:cubicBezTo>
                  <a:cubicBezTo>
                    <a:pt x="1095" y="308"/>
                    <a:pt x="1099" y="304"/>
                    <a:pt x="1100" y="295"/>
                  </a:cubicBezTo>
                  <a:cubicBezTo>
                    <a:pt x="1107" y="266"/>
                    <a:pt x="1107" y="266"/>
                    <a:pt x="1107" y="266"/>
                  </a:cubicBezTo>
                  <a:cubicBezTo>
                    <a:pt x="1107" y="257"/>
                    <a:pt x="1103" y="252"/>
                    <a:pt x="1095" y="243"/>
                  </a:cubicBezTo>
                  <a:cubicBezTo>
                    <a:pt x="1057" y="236"/>
                    <a:pt x="1057" y="236"/>
                    <a:pt x="1057" y="236"/>
                  </a:cubicBezTo>
                  <a:cubicBezTo>
                    <a:pt x="1044" y="231"/>
                    <a:pt x="1036" y="222"/>
                    <a:pt x="1037" y="213"/>
                  </a:cubicBezTo>
                  <a:cubicBezTo>
                    <a:pt x="1038" y="205"/>
                    <a:pt x="1034" y="200"/>
                    <a:pt x="1030" y="187"/>
                  </a:cubicBezTo>
                  <a:cubicBezTo>
                    <a:pt x="1031" y="178"/>
                    <a:pt x="1032" y="170"/>
                    <a:pt x="1041" y="162"/>
                  </a:cubicBezTo>
                  <a:cubicBezTo>
                    <a:pt x="1077" y="138"/>
                    <a:pt x="1077" y="138"/>
                    <a:pt x="1077" y="138"/>
                  </a:cubicBezTo>
                  <a:cubicBezTo>
                    <a:pt x="1082" y="134"/>
                    <a:pt x="1083" y="126"/>
                    <a:pt x="1079" y="121"/>
                  </a:cubicBezTo>
                  <a:cubicBezTo>
                    <a:pt x="1059" y="89"/>
                    <a:pt x="1059" y="89"/>
                    <a:pt x="1059" y="89"/>
                  </a:cubicBezTo>
                  <a:cubicBezTo>
                    <a:pt x="1055" y="85"/>
                    <a:pt x="1047" y="84"/>
                    <a:pt x="1038" y="83"/>
                  </a:cubicBezTo>
                  <a:cubicBezTo>
                    <a:pt x="1002" y="107"/>
                    <a:pt x="1002" y="107"/>
                    <a:pt x="1002" y="107"/>
                  </a:cubicBezTo>
                  <a:cubicBezTo>
                    <a:pt x="989" y="110"/>
                    <a:pt x="980" y="110"/>
                    <a:pt x="976" y="105"/>
                  </a:cubicBezTo>
                  <a:cubicBezTo>
                    <a:pt x="972" y="100"/>
                    <a:pt x="960" y="95"/>
                    <a:pt x="956" y="91"/>
                  </a:cubicBezTo>
                  <a:cubicBezTo>
                    <a:pt x="952" y="86"/>
                    <a:pt x="944" y="77"/>
                    <a:pt x="944" y="68"/>
                  </a:cubicBezTo>
                  <a:cubicBezTo>
                    <a:pt x="948" y="25"/>
                    <a:pt x="948" y="25"/>
                    <a:pt x="948" y="25"/>
                  </a:cubicBezTo>
                  <a:cubicBezTo>
                    <a:pt x="948" y="17"/>
                    <a:pt x="940" y="7"/>
                    <a:pt x="940" y="7"/>
                  </a:cubicBezTo>
                  <a:cubicBezTo>
                    <a:pt x="902" y="0"/>
                    <a:pt x="902" y="0"/>
                    <a:pt x="902" y="0"/>
                  </a:cubicBezTo>
                  <a:cubicBezTo>
                    <a:pt x="902" y="0"/>
                    <a:pt x="889" y="4"/>
                    <a:pt x="888" y="12"/>
                  </a:cubicBezTo>
                  <a:cubicBezTo>
                    <a:pt x="872" y="50"/>
                    <a:pt x="872" y="50"/>
                    <a:pt x="872" y="50"/>
                  </a:cubicBezTo>
                  <a:cubicBezTo>
                    <a:pt x="871" y="67"/>
                    <a:pt x="862" y="67"/>
                    <a:pt x="858" y="71"/>
                  </a:cubicBezTo>
                  <a:cubicBezTo>
                    <a:pt x="858" y="71"/>
                    <a:pt x="858" y="71"/>
                    <a:pt x="853" y="75"/>
                  </a:cubicBezTo>
                  <a:cubicBezTo>
                    <a:pt x="849" y="70"/>
                    <a:pt x="840" y="70"/>
                    <a:pt x="836" y="74"/>
                  </a:cubicBezTo>
                  <a:cubicBezTo>
                    <a:pt x="831" y="78"/>
                    <a:pt x="831" y="78"/>
                    <a:pt x="831" y="78"/>
                  </a:cubicBezTo>
                  <a:cubicBezTo>
                    <a:pt x="822" y="77"/>
                    <a:pt x="814" y="76"/>
                    <a:pt x="806" y="67"/>
                  </a:cubicBezTo>
                  <a:cubicBezTo>
                    <a:pt x="778" y="35"/>
                    <a:pt x="778" y="35"/>
                    <a:pt x="778" y="35"/>
                  </a:cubicBezTo>
                  <a:cubicBezTo>
                    <a:pt x="774" y="30"/>
                    <a:pt x="762" y="25"/>
                    <a:pt x="757" y="29"/>
                  </a:cubicBezTo>
                  <a:cubicBezTo>
                    <a:pt x="734" y="49"/>
                    <a:pt x="734" y="49"/>
                    <a:pt x="734" y="49"/>
                  </a:cubicBezTo>
                  <a:cubicBezTo>
                    <a:pt x="725" y="49"/>
                    <a:pt x="725" y="57"/>
                    <a:pt x="728" y="70"/>
                  </a:cubicBezTo>
                  <a:cubicBezTo>
                    <a:pt x="747" y="102"/>
                    <a:pt x="747" y="102"/>
                    <a:pt x="747" y="102"/>
                  </a:cubicBezTo>
                  <a:cubicBezTo>
                    <a:pt x="754" y="120"/>
                    <a:pt x="750" y="124"/>
                    <a:pt x="744" y="136"/>
                  </a:cubicBezTo>
                  <a:cubicBezTo>
                    <a:pt x="744" y="136"/>
                    <a:pt x="744" y="136"/>
                    <a:pt x="744" y="136"/>
                  </a:cubicBezTo>
                  <a:cubicBezTo>
                    <a:pt x="740" y="140"/>
                    <a:pt x="735" y="144"/>
                    <a:pt x="731" y="148"/>
                  </a:cubicBezTo>
                  <a:cubicBezTo>
                    <a:pt x="731" y="148"/>
                    <a:pt x="731" y="148"/>
                    <a:pt x="731" y="148"/>
                  </a:cubicBezTo>
                  <a:cubicBezTo>
                    <a:pt x="730" y="157"/>
                    <a:pt x="721" y="165"/>
                    <a:pt x="703" y="164"/>
                  </a:cubicBezTo>
                  <a:cubicBezTo>
                    <a:pt x="665" y="157"/>
                    <a:pt x="665" y="157"/>
                    <a:pt x="665" y="157"/>
                  </a:cubicBezTo>
                  <a:cubicBezTo>
                    <a:pt x="656" y="156"/>
                    <a:pt x="647" y="164"/>
                    <a:pt x="647" y="173"/>
                  </a:cubicBezTo>
                  <a:cubicBezTo>
                    <a:pt x="640" y="203"/>
                    <a:pt x="640" y="203"/>
                    <a:pt x="640" y="203"/>
                  </a:cubicBezTo>
                  <a:cubicBezTo>
                    <a:pt x="639" y="211"/>
                    <a:pt x="643" y="216"/>
                    <a:pt x="656" y="221"/>
                  </a:cubicBezTo>
                  <a:cubicBezTo>
                    <a:pt x="690" y="232"/>
                    <a:pt x="690" y="232"/>
                    <a:pt x="690" y="232"/>
                  </a:cubicBezTo>
                  <a:cubicBezTo>
                    <a:pt x="702" y="237"/>
                    <a:pt x="710" y="246"/>
                    <a:pt x="710" y="255"/>
                  </a:cubicBezTo>
                  <a:cubicBezTo>
                    <a:pt x="710" y="255"/>
                    <a:pt x="710" y="255"/>
                    <a:pt x="710" y="255"/>
                  </a:cubicBezTo>
                  <a:cubicBezTo>
                    <a:pt x="714" y="260"/>
                    <a:pt x="713" y="268"/>
                    <a:pt x="717" y="273"/>
                  </a:cubicBezTo>
                  <a:cubicBezTo>
                    <a:pt x="712" y="277"/>
                    <a:pt x="712" y="277"/>
                    <a:pt x="712" y="277"/>
                  </a:cubicBezTo>
                  <a:cubicBezTo>
                    <a:pt x="716" y="281"/>
                    <a:pt x="716" y="290"/>
                    <a:pt x="702" y="302"/>
                  </a:cubicBezTo>
                  <a:cubicBezTo>
                    <a:pt x="674" y="326"/>
                    <a:pt x="674" y="326"/>
                    <a:pt x="674" y="326"/>
                  </a:cubicBezTo>
                  <a:cubicBezTo>
                    <a:pt x="665" y="334"/>
                    <a:pt x="664" y="343"/>
                    <a:pt x="668" y="347"/>
                  </a:cubicBezTo>
                  <a:cubicBezTo>
                    <a:pt x="687" y="379"/>
                    <a:pt x="687" y="379"/>
                    <a:pt x="687" y="379"/>
                  </a:cubicBezTo>
                  <a:cubicBezTo>
                    <a:pt x="691" y="383"/>
                    <a:pt x="700" y="384"/>
                    <a:pt x="704" y="380"/>
                  </a:cubicBezTo>
                  <a:cubicBezTo>
                    <a:pt x="745" y="361"/>
                    <a:pt x="745" y="361"/>
                    <a:pt x="745" y="361"/>
                  </a:cubicBezTo>
                  <a:cubicBezTo>
                    <a:pt x="758" y="358"/>
                    <a:pt x="767" y="358"/>
                    <a:pt x="771" y="363"/>
                  </a:cubicBezTo>
                  <a:cubicBezTo>
                    <a:pt x="771" y="363"/>
                    <a:pt x="771" y="363"/>
                    <a:pt x="771" y="363"/>
                  </a:cubicBezTo>
                  <a:cubicBezTo>
                    <a:pt x="779" y="364"/>
                    <a:pt x="787" y="373"/>
                    <a:pt x="791" y="377"/>
                  </a:cubicBezTo>
                  <a:cubicBezTo>
                    <a:pt x="791" y="377"/>
                    <a:pt x="791" y="377"/>
                    <a:pt x="791" y="377"/>
                  </a:cubicBezTo>
                  <a:cubicBezTo>
                    <a:pt x="800" y="378"/>
                    <a:pt x="804" y="383"/>
                    <a:pt x="802" y="400"/>
                  </a:cubicBezTo>
                  <a:cubicBezTo>
                    <a:pt x="799" y="443"/>
                    <a:pt x="799" y="443"/>
                    <a:pt x="799" y="443"/>
                  </a:cubicBezTo>
                  <a:cubicBezTo>
                    <a:pt x="798" y="451"/>
                    <a:pt x="802" y="456"/>
                    <a:pt x="811" y="457"/>
                  </a:cubicBezTo>
                  <a:cubicBezTo>
                    <a:pt x="845" y="468"/>
                    <a:pt x="845" y="468"/>
                    <a:pt x="845" y="468"/>
                  </a:cubicBezTo>
                  <a:cubicBezTo>
                    <a:pt x="849" y="464"/>
                    <a:pt x="858" y="464"/>
                    <a:pt x="859" y="456"/>
                  </a:cubicBezTo>
                  <a:cubicBezTo>
                    <a:pt x="871" y="413"/>
                    <a:pt x="871" y="413"/>
                    <a:pt x="871" y="413"/>
                  </a:cubicBezTo>
                  <a:cubicBezTo>
                    <a:pt x="876" y="401"/>
                    <a:pt x="889" y="397"/>
                    <a:pt x="894" y="393"/>
                  </a:cubicBezTo>
                  <a:cubicBezTo>
                    <a:pt x="894" y="393"/>
                    <a:pt x="894" y="393"/>
                    <a:pt x="894" y="393"/>
                  </a:cubicBezTo>
                  <a:cubicBezTo>
                    <a:pt x="902" y="394"/>
                    <a:pt x="911" y="395"/>
                    <a:pt x="916" y="391"/>
                  </a:cubicBezTo>
                  <a:cubicBezTo>
                    <a:pt x="916" y="391"/>
                    <a:pt x="916" y="391"/>
                    <a:pt x="916" y="391"/>
                  </a:cubicBezTo>
                  <a:cubicBezTo>
                    <a:pt x="924" y="391"/>
                    <a:pt x="933" y="392"/>
                    <a:pt x="941" y="401"/>
                  </a:cubicBezTo>
                  <a:cubicBezTo>
                    <a:pt x="969" y="433"/>
                    <a:pt x="969" y="433"/>
                    <a:pt x="969" y="433"/>
                  </a:cubicBezTo>
                  <a:cubicBezTo>
                    <a:pt x="973" y="438"/>
                    <a:pt x="985" y="443"/>
                    <a:pt x="990" y="439"/>
                  </a:cubicBezTo>
                  <a:cubicBezTo>
                    <a:pt x="1018" y="415"/>
                    <a:pt x="1018" y="415"/>
                    <a:pt x="1018" y="415"/>
                  </a:cubicBezTo>
                  <a:cubicBezTo>
                    <a:pt x="1018" y="415"/>
                    <a:pt x="1027" y="407"/>
                    <a:pt x="1019" y="398"/>
                  </a:cubicBezTo>
                  <a:close/>
                  <a:moveTo>
                    <a:pt x="803" y="279"/>
                  </a:moveTo>
                  <a:cubicBezTo>
                    <a:pt x="776" y="238"/>
                    <a:pt x="788" y="187"/>
                    <a:pt x="825" y="164"/>
                  </a:cubicBezTo>
                  <a:cubicBezTo>
                    <a:pt x="866" y="136"/>
                    <a:pt x="921" y="144"/>
                    <a:pt x="948" y="185"/>
                  </a:cubicBezTo>
                  <a:cubicBezTo>
                    <a:pt x="972" y="221"/>
                    <a:pt x="963" y="277"/>
                    <a:pt x="922" y="304"/>
                  </a:cubicBezTo>
                  <a:cubicBezTo>
                    <a:pt x="881" y="332"/>
                    <a:pt x="830" y="320"/>
                    <a:pt x="803" y="279"/>
                  </a:cubicBezTo>
                  <a:close/>
                </a:path>
              </a:pathLst>
            </a:custGeom>
            <a:solidFill>
              <a:schemeClr val="tx1"/>
            </a:solidFill>
            <a:ln>
              <a:noFill/>
            </a:ln>
          </p:spPr>
          <p:txBody>
            <a:bodyPr vert="horz" wrap="square" lIns="68574" tIns="34287" rIns="68574" bIns="34287"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17346"/>
                </a:solidFill>
                <a:effectLst/>
                <a:uLnTx/>
                <a:uFillTx/>
                <a:latin typeface="Segoe UI"/>
                <a:ea typeface="+mn-ea"/>
                <a:cs typeface="+mn-cs"/>
              </a:endParaRPr>
            </a:p>
          </p:txBody>
        </p:sp>
        <p:sp>
          <p:nvSpPr>
            <p:cNvPr id="104" name="Freeform 103"/>
            <p:cNvSpPr>
              <a:spLocks noChangeAspect="1"/>
            </p:cNvSpPr>
            <p:nvPr/>
          </p:nvSpPr>
          <p:spPr bwMode="black">
            <a:xfrm>
              <a:off x="776985" y="4213905"/>
              <a:ext cx="342871" cy="335728"/>
            </a:xfrm>
            <a:custGeom>
              <a:avLst/>
              <a:gdLst>
                <a:gd name="connsiteX0" fmla="*/ 3713863 w 4893730"/>
                <a:gd name="connsiteY0" fmla="*/ 2130808 h 4791777"/>
                <a:gd name="connsiteX1" fmla="*/ 4426142 w 4893730"/>
                <a:gd name="connsiteY1" fmla="*/ 2130808 h 4791777"/>
                <a:gd name="connsiteX2" fmla="*/ 4598071 w 4893730"/>
                <a:gd name="connsiteY2" fmla="*/ 2301547 h 4791777"/>
                <a:gd name="connsiteX3" fmla="*/ 4598071 w 4893730"/>
                <a:gd name="connsiteY3" fmla="*/ 3886978 h 4791777"/>
                <a:gd name="connsiteX4" fmla="*/ 4426142 w 4893730"/>
                <a:gd name="connsiteY4" fmla="*/ 4057717 h 4791777"/>
                <a:gd name="connsiteX5" fmla="*/ 3713863 w 4893730"/>
                <a:gd name="connsiteY5" fmla="*/ 4057717 h 4791777"/>
                <a:gd name="connsiteX6" fmla="*/ 3517372 w 4893730"/>
                <a:gd name="connsiteY6" fmla="*/ 3886978 h 4791777"/>
                <a:gd name="connsiteX7" fmla="*/ 3517372 w 4893730"/>
                <a:gd name="connsiteY7" fmla="*/ 2301547 h 4791777"/>
                <a:gd name="connsiteX8" fmla="*/ 3713863 w 4893730"/>
                <a:gd name="connsiteY8" fmla="*/ 2130808 h 4791777"/>
                <a:gd name="connsiteX9" fmla="*/ 904368 w 4893730"/>
                <a:gd name="connsiteY9" fmla="*/ 1223432 h 4791777"/>
                <a:gd name="connsiteX10" fmla="*/ 1609930 w 4893730"/>
                <a:gd name="connsiteY10" fmla="*/ 1223432 h 4791777"/>
                <a:gd name="connsiteX11" fmla="*/ 1804567 w 4893730"/>
                <a:gd name="connsiteY11" fmla="*/ 1394467 h 4791777"/>
                <a:gd name="connsiteX12" fmla="*/ 1804567 w 4893730"/>
                <a:gd name="connsiteY12" fmla="*/ 3886683 h 4791777"/>
                <a:gd name="connsiteX13" fmla="*/ 1609930 w 4893730"/>
                <a:gd name="connsiteY13" fmla="*/ 4057717 h 4791777"/>
                <a:gd name="connsiteX14" fmla="*/ 904368 w 4893730"/>
                <a:gd name="connsiteY14" fmla="*/ 4057717 h 4791777"/>
                <a:gd name="connsiteX15" fmla="*/ 734060 w 4893730"/>
                <a:gd name="connsiteY15" fmla="*/ 3886683 h 4791777"/>
                <a:gd name="connsiteX16" fmla="*/ 734060 w 4893730"/>
                <a:gd name="connsiteY16" fmla="*/ 1394467 h 4791777"/>
                <a:gd name="connsiteX17" fmla="*/ 904368 w 4893730"/>
                <a:gd name="connsiteY17" fmla="*/ 1223432 h 4791777"/>
                <a:gd name="connsiteX18" fmla="*/ 2325453 w 4893730"/>
                <a:gd name="connsiteY18" fmla="*/ 316050 h 4791777"/>
                <a:gd name="connsiteX19" fmla="*/ 3031014 w 4893730"/>
                <a:gd name="connsiteY19" fmla="*/ 316050 h 4791777"/>
                <a:gd name="connsiteX20" fmla="*/ 3201322 w 4893730"/>
                <a:gd name="connsiteY20" fmla="*/ 487238 h 4791777"/>
                <a:gd name="connsiteX21" fmla="*/ 3201322 w 4893730"/>
                <a:gd name="connsiteY21" fmla="*/ 3886530 h 4791777"/>
                <a:gd name="connsiteX22" fmla="*/ 3031014 w 4893730"/>
                <a:gd name="connsiteY22" fmla="*/ 4057717 h 4791777"/>
                <a:gd name="connsiteX23" fmla="*/ 2325453 w 4893730"/>
                <a:gd name="connsiteY23" fmla="*/ 4057717 h 4791777"/>
                <a:gd name="connsiteX24" fmla="*/ 2130815 w 4893730"/>
                <a:gd name="connsiteY24" fmla="*/ 3886530 h 4791777"/>
                <a:gd name="connsiteX25" fmla="*/ 2130815 w 4893730"/>
                <a:gd name="connsiteY25" fmla="*/ 487238 h 4791777"/>
                <a:gd name="connsiteX26" fmla="*/ 2325453 w 4893730"/>
                <a:gd name="connsiteY26" fmla="*/ 316050 h 4791777"/>
                <a:gd name="connsiteX27" fmla="*/ 269155 w 4893730"/>
                <a:gd name="connsiteY27" fmla="*/ 0 h 4791777"/>
                <a:gd name="connsiteX28" fmla="*/ 538311 w 4893730"/>
                <a:gd name="connsiteY28" fmla="*/ 268927 h 4791777"/>
                <a:gd name="connsiteX29" fmla="*/ 538311 w 4893730"/>
                <a:gd name="connsiteY29" fmla="*/ 4253925 h 4791777"/>
                <a:gd name="connsiteX30" fmla="*/ 4624575 w 4893730"/>
                <a:gd name="connsiteY30" fmla="*/ 4253925 h 4791777"/>
                <a:gd name="connsiteX31" fmla="*/ 4893730 w 4893730"/>
                <a:gd name="connsiteY31" fmla="*/ 4522851 h 4791777"/>
                <a:gd name="connsiteX32" fmla="*/ 4624575 w 4893730"/>
                <a:gd name="connsiteY32" fmla="*/ 4791777 h 4791777"/>
                <a:gd name="connsiteX33" fmla="*/ 269155 w 4893730"/>
                <a:gd name="connsiteY33" fmla="*/ 4791777 h 4791777"/>
                <a:gd name="connsiteX34" fmla="*/ 0 w 4893730"/>
                <a:gd name="connsiteY34" fmla="*/ 4522851 h 4791777"/>
                <a:gd name="connsiteX35" fmla="*/ 0 w 4893730"/>
                <a:gd name="connsiteY35" fmla="*/ 268927 h 4791777"/>
                <a:gd name="connsiteX36" fmla="*/ 269155 w 4893730"/>
                <a:gd name="connsiteY36" fmla="*/ 0 h 4791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4893730" h="4791777">
                  <a:moveTo>
                    <a:pt x="3713863" y="2130808"/>
                  </a:moveTo>
                  <a:cubicBezTo>
                    <a:pt x="3713863" y="2130808"/>
                    <a:pt x="3713863" y="2130808"/>
                    <a:pt x="4426142" y="2130808"/>
                  </a:cubicBezTo>
                  <a:cubicBezTo>
                    <a:pt x="4524387" y="2130808"/>
                    <a:pt x="4598071" y="2203982"/>
                    <a:pt x="4598071" y="2301547"/>
                  </a:cubicBezTo>
                  <a:cubicBezTo>
                    <a:pt x="4598071" y="2301547"/>
                    <a:pt x="4598071" y="2301547"/>
                    <a:pt x="4598071" y="3886978"/>
                  </a:cubicBezTo>
                  <a:cubicBezTo>
                    <a:pt x="4598071" y="3984543"/>
                    <a:pt x="4524387" y="4057717"/>
                    <a:pt x="4426142" y="4057717"/>
                  </a:cubicBezTo>
                  <a:cubicBezTo>
                    <a:pt x="4426142" y="4057717"/>
                    <a:pt x="4426142" y="4057717"/>
                    <a:pt x="3713863" y="4057717"/>
                  </a:cubicBezTo>
                  <a:cubicBezTo>
                    <a:pt x="3615618" y="4057717"/>
                    <a:pt x="3517372" y="3984543"/>
                    <a:pt x="3517372" y="3886978"/>
                  </a:cubicBezTo>
                  <a:cubicBezTo>
                    <a:pt x="3517372" y="3886978"/>
                    <a:pt x="3517372" y="3886978"/>
                    <a:pt x="3517372" y="2301547"/>
                  </a:cubicBezTo>
                  <a:cubicBezTo>
                    <a:pt x="3517372" y="2203982"/>
                    <a:pt x="3615618" y="2130808"/>
                    <a:pt x="3713863" y="2130808"/>
                  </a:cubicBezTo>
                  <a:close/>
                  <a:moveTo>
                    <a:pt x="904368" y="1223432"/>
                  </a:moveTo>
                  <a:cubicBezTo>
                    <a:pt x="904368" y="1223432"/>
                    <a:pt x="904368" y="1223432"/>
                    <a:pt x="1609930" y="1223432"/>
                  </a:cubicBezTo>
                  <a:cubicBezTo>
                    <a:pt x="1731578" y="1223432"/>
                    <a:pt x="1804567" y="1296733"/>
                    <a:pt x="1804567" y="1394467"/>
                  </a:cubicBezTo>
                  <a:cubicBezTo>
                    <a:pt x="1804567" y="1394467"/>
                    <a:pt x="1804567" y="1394467"/>
                    <a:pt x="1804567" y="3886683"/>
                  </a:cubicBezTo>
                  <a:cubicBezTo>
                    <a:pt x="1804567" y="3984417"/>
                    <a:pt x="1731578" y="4057717"/>
                    <a:pt x="1609930" y="4057717"/>
                  </a:cubicBezTo>
                  <a:cubicBezTo>
                    <a:pt x="1609930" y="4057717"/>
                    <a:pt x="1609930" y="4057717"/>
                    <a:pt x="904368" y="4057717"/>
                  </a:cubicBezTo>
                  <a:cubicBezTo>
                    <a:pt x="807049" y="4057717"/>
                    <a:pt x="734060" y="3984417"/>
                    <a:pt x="734060" y="3886683"/>
                  </a:cubicBezTo>
                  <a:cubicBezTo>
                    <a:pt x="734060" y="3886683"/>
                    <a:pt x="734060" y="3886683"/>
                    <a:pt x="734060" y="1394467"/>
                  </a:cubicBezTo>
                  <a:cubicBezTo>
                    <a:pt x="734060" y="1296733"/>
                    <a:pt x="807049" y="1223432"/>
                    <a:pt x="904368" y="1223432"/>
                  </a:cubicBezTo>
                  <a:close/>
                  <a:moveTo>
                    <a:pt x="2325453" y="316050"/>
                  </a:moveTo>
                  <a:cubicBezTo>
                    <a:pt x="2325453" y="316050"/>
                    <a:pt x="2325453" y="316050"/>
                    <a:pt x="3031014" y="316050"/>
                  </a:cubicBezTo>
                  <a:cubicBezTo>
                    <a:pt x="3128333" y="316050"/>
                    <a:pt x="3201322" y="389416"/>
                    <a:pt x="3201322" y="487238"/>
                  </a:cubicBezTo>
                  <a:cubicBezTo>
                    <a:pt x="3201322" y="487238"/>
                    <a:pt x="3201322" y="487238"/>
                    <a:pt x="3201322" y="3886530"/>
                  </a:cubicBezTo>
                  <a:cubicBezTo>
                    <a:pt x="3201322" y="3984351"/>
                    <a:pt x="3128333" y="4057717"/>
                    <a:pt x="3031014" y="4057717"/>
                  </a:cubicBezTo>
                  <a:cubicBezTo>
                    <a:pt x="3031014" y="4057717"/>
                    <a:pt x="3031014" y="4057717"/>
                    <a:pt x="2325453" y="4057717"/>
                  </a:cubicBezTo>
                  <a:cubicBezTo>
                    <a:pt x="2203804" y="4057717"/>
                    <a:pt x="2130815" y="3984351"/>
                    <a:pt x="2130815" y="3886530"/>
                  </a:cubicBezTo>
                  <a:cubicBezTo>
                    <a:pt x="2130815" y="3886530"/>
                    <a:pt x="2130815" y="3886530"/>
                    <a:pt x="2130815" y="487238"/>
                  </a:cubicBezTo>
                  <a:cubicBezTo>
                    <a:pt x="2130815" y="389416"/>
                    <a:pt x="2203804" y="316050"/>
                    <a:pt x="2325453" y="316050"/>
                  </a:cubicBezTo>
                  <a:close/>
                  <a:moveTo>
                    <a:pt x="269155" y="0"/>
                  </a:moveTo>
                  <a:cubicBezTo>
                    <a:pt x="415967" y="0"/>
                    <a:pt x="538311" y="122239"/>
                    <a:pt x="538311" y="268927"/>
                  </a:cubicBezTo>
                  <a:cubicBezTo>
                    <a:pt x="538311" y="268927"/>
                    <a:pt x="538311" y="268927"/>
                    <a:pt x="538311" y="4253925"/>
                  </a:cubicBezTo>
                  <a:cubicBezTo>
                    <a:pt x="538311" y="4253925"/>
                    <a:pt x="538311" y="4253925"/>
                    <a:pt x="4624575" y="4253925"/>
                  </a:cubicBezTo>
                  <a:cubicBezTo>
                    <a:pt x="4771387" y="4253925"/>
                    <a:pt x="4893730" y="4376164"/>
                    <a:pt x="4893730" y="4522851"/>
                  </a:cubicBezTo>
                  <a:cubicBezTo>
                    <a:pt x="4893730" y="4669538"/>
                    <a:pt x="4771387" y="4791777"/>
                    <a:pt x="4624575" y="4791777"/>
                  </a:cubicBezTo>
                  <a:cubicBezTo>
                    <a:pt x="4624575" y="4791777"/>
                    <a:pt x="4624575" y="4791777"/>
                    <a:pt x="269155" y="4791777"/>
                  </a:cubicBezTo>
                  <a:cubicBezTo>
                    <a:pt x="122344" y="4791777"/>
                    <a:pt x="0" y="4669538"/>
                    <a:pt x="0" y="4522851"/>
                  </a:cubicBezTo>
                  <a:cubicBezTo>
                    <a:pt x="0" y="4522851"/>
                    <a:pt x="0" y="4522851"/>
                    <a:pt x="0" y="268927"/>
                  </a:cubicBezTo>
                  <a:cubicBezTo>
                    <a:pt x="0" y="122239"/>
                    <a:pt x="122344" y="0"/>
                    <a:pt x="269155"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37148" tIns="109719" rIns="137148" bIns="109719"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699261"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5" name="Rectangle 104"/>
            <p:cNvSpPr/>
            <p:nvPr/>
          </p:nvSpPr>
          <p:spPr bwMode="auto">
            <a:xfrm rot="2745734">
              <a:off x="886688" y="2210975"/>
              <a:ext cx="1598323" cy="1625795"/>
            </a:xfrm>
            <a:prstGeom prst="rect">
              <a:avLst/>
            </a:prstGeom>
            <a:solidFill>
              <a:schemeClr val="tx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6" name="Rectangle 105"/>
            <p:cNvSpPr/>
            <p:nvPr/>
          </p:nvSpPr>
          <p:spPr bwMode="auto">
            <a:xfrm rot="2745734">
              <a:off x="292433" y="3819160"/>
              <a:ext cx="1610349" cy="1235003"/>
            </a:xfrm>
            <a:prstGeom prst="rect">
              <a:avLst/>
            </a:prstGeom>
            <a:solidFill>
              <a:schemeClr val="tx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7" name="Rectangle 106"/>
            <p:cNvSpPr/>
            <p:nvPr/>
          </p:nvSpPr>
          <p:spPr bwMode="auto">
            <a:xfrm rot="2745734">
              <a:off x="1315610" y="4915701"/>
              <a:ext cx="1263370" cy="1255989"/>
            </a:xfrm>
            <a:prstGeom prst="rect">
              <a:avLst/>
            </a:prstGeom>
            <a:solidFill>
              <a:schemeClr val="tx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37" name="Title 10"/>
          <p:cNvSpPr txBox="1">
            <a:spLocks/>
          </p:cNvSpPr>
          <p:nvPr/>
        </p:nvSpPr>
        <p:spPr>
          <a:xfrm>
            <a:off x="2849060" y="0"/>
            <a:ext cx="9342940" cy="665151"/>
          </a:xfrm>
          <a:prstGeom prst="rect">
            <a:avLst/>
          </a:prstGeom>
          <a:noFill/>
        </p:spPr>
        <p:txBody>
          <a:bodyPr vert="horz" wrap="square" lIns="0" tIns="91440" rIns="0" bIns="91440" rtlCol="0" anchor="t">
            <a:noAutofit/>
          </a:bodyPr>
          <a:lstStyle>
            <a:lvl1pPr defTabSz="914367">
              <a:lnSpc>
                <a:spcPct val="90000"/>
              </a:lnSpc>
              <a:spcBef>
                <a:spcPct val="0"/>
              </a:spcBef>
              <a:buNone/>
              <a:defRPr lang="en-US" sz="5294" b="0" cap="none" spc="-100" baseline="0" dirty="0" smtClean="0">
                <a:ln w="3175">
                  <a:noFill/>
                </a:ln>
                <a:solidFill>
                  <a:schemeClr val="tx2"/>
                </a:solidFill>
                <a:effectLst/>
                <a:latin typeface="+mj-lt"/>
                <a:cs typeface="Segoe UI" pitchFamily="34" charset="0"/>
              </a:defRPr>
            </a:lvl1pPr>
          </a:lstStyle>
          <a:p>
            <a:pPr marL="168275" marR="0" lvl="0" indent="0" algn="l" defTabSz="914367" rtl="0" eaLnBrk="1" fontAlgn="auto" latinLnBrk="0" hangingPunct="1">
              <a:lnSpc>
                <a:spcPct val="90000"/>
              </a:lnSpc>
              <a:spcBef>
                <a:spcPct val="0"/>
              </a:spcBef>
              <a:spcAft>
                <a:spcPts val="0"/>
              </a:spcAft>
              <a:buClrTx/>
              <a:buSzTx/>
              <a:buFontTx/>
              <a:buNone/>
              <a:tabLst/>
              <a:defRPr/>
            </a:pPr>
            <a:r>
              <a:rPr kumimoji="0" lang="en-US" sz="3600" b="0" i="0" u="none" strike="noStrike" kern="1200" cap="none" spc="-100" normalizeH="0" baseline="0" noProof="0">
                <a:ln w="3175">
                  <a:noFill/>
                </a:ln>
                <a:solidFill>
                  <a:prstClr val="black"/>
                </a:solidFill>
                <a:effectLst/>
                <a:uLnTx/>
                <a:uFillTx/>
                <a:latin typeface="Segoe UI Light"/>
                <a:ea typeface="+mn-ea"/>
                <a:cs typeface="Segoe UI" pitchFamily="34" charset="0"/>
              </a:rPr>
              <a:t>Connecting to Data</a:t>
            </a:r>
            <a:endParaRPr kumimoji="0" lang="en-IN" sz="3600" b="0" i="0" u="none" strike="noStrike" kern="1200" cap="none" spc="-100" normalizeH="0" baseline="0" noProof="0">
              <a:ln w="3175">
                <a:noFill/>
              </a:ln>
              <a:solidFill>
                <a:prstClr val="black"/>
              </a:solidFill>
              <a:effectLst/>
              <a:uLnTx/>
              <a:uFillTx/>
              <a:latin typeface="Segoe UI Light"/>
              <a:ea typeface="+mn-ea"/>
              <a:cs typeface="Segoe UI" pitchFamily="34" charset="0"/>
            </a:endParaRPr>
          </a:p>
        </p:txBody>
      </p:sp>
      <p:sp>
        <p:nvSpPr>
          <p:cNvPr id="40" name="TextBox 39"/>
          <p:cNvSpPr txBox="1"/>
          <p:nvPr/>
        </p:nvSpPr>
        <p:spPr>
          <a:xfrm>
            <a:off x="3" y="51415"/>
            <a:ext cx="2849058" cy="430887"/>
          </a:xfrm>
          <a:prstGeom prst="rect">
            <a:avLst/>
          </a:prstGeom>
        </p:spPr>
        <p:txBody>
          <a:bodyPr wrap="square">
            <a:spAutoFit/>
          </a:bodyPr>
          <a:lstStyle>
            <a:defPPr>
              <a:defRPr lang="en-US"/>
            </a:defPPr>
            <a:lvl1pPr defTabSz="914192">
              <a:defRPr sz="2800" b="1" spc="-100">
                <a:ln w="3175">
                  <a:noFill/>
                </a:ln>
                <a:solidFill>
                  <a:srgbClr val="F2C812"/>
                </a:solidFill>
                <a:latin typeface="Segoe UI" panose="020B0502040204020203" pitchFamily="34" charset="0"/>
                <a:ea typeface="ＭＳ Ｐゴシック" charset="0"/>
                <a:cs typeface="Segoe UI" panose="020B0502040204020203" pitchFamily="34" charset="0"/>
              </a:defRPr>
            </a:lvl1pPr>
          </a:lstStyle>
          <a:p>
            <a:pPr marL="0" marR="0" lvl="0" indent="0" algn="l" defTabSz="914192" rtl="0" eaLnBrk="1" fontAlgn="auto" latinLnBrk="0" hangingPunct="1">
              <a:lnSpc>
                <a:spcPct val="100000"/>
              </a:lnSpc>
              <a:spcBef>
                <a:spcPts val="0"/>
              </a:spcBef>
              <a:spcAft>
                <a:spcPts val="0"/>
              </a:spcAft>
              <a:buClrTx/>
              <a:buSzTx/>
              <a:buFontTx/>
              <a:buNone/>
              <a:tabLst/>
              <a:defRPr/>
            </a:pPr>
            <a:r>
              <a:rPr kumimoji="0" lang="en-US" sz="2200" b="1" i="0" u="none" strike="noStrike" kern="1200" cap="none" spc="-100" normalizeH="0" baseline="0" noProof="0">
                <a:ln w="3175">
                  <a:noFill/>
                </a:ln>
                <a:solidFill>
                  <a:srgbClr val="F2C812"/>
                </a:solidFill>
                <a:effectLst/>
                <a:uLnTx/>
                <a:uFillTx/>
                <a:latin typeface="Segoe UI Light"/>
                <a:ea typeface="ＭＳ Ｐゴシック" charset="0"/>
                <a:cs typeface="Segoe UI" panose="020B0502040204020203" pitchFamily="34" charset="0"/>
              </a:rPr>
              <a:t>Power BI Desktop</a:t>
            </a:r>
          </a:p>
        </p:txBody>
      </p:sp>
      <p:pic>
        <p:nvPicPr>
          <p:cNvPr id="2" name="Picture 1"/>
          <p:cNvPicPr>
            <a:picLocks noChangeAspect="1"/>
          </p:cNvPicPr>
          <p:nvPr/>
        </p:nvPicPr>
        <p:blipFill>
          <a:blip r:embed="rId3"/>
          <a:stretch>
            <a:fillRect/>
          </a:stretch>
        </p:blipFill>
        <p:spPr>
          <a:xfrm>
            <a:off x="3531744" y="848283"/>
            <a:ext cx="2924175" cy="5505450"/>
          </a:xfrm>
          <a:prstGeom prst="rect">
            <a:avLst/>
          </a:prstGeom>
        </p:spPr>
      </p:pic>
      <p:sp>
        <p:nvSpPr>
          <p:cNvPr id="5" name="Rectangle 4"/>
          <p:cNvSpPr/>
          <p:nvPr/>
        </p:nvSpPr>
        <p:spPr bwMode="auto">
          <a:xfrm>
            <a:off x="4707468" y="1083734"/>
            <a:ext cx="564444" cy="880534"/>
          </a:xfrm>
          <a:prstGeom prst="rect">
            <a:avLst/>
          </a:prstGeom>
          <a:noFill/>
          <a:ln w="38100">
            <a:solidFill>
              <a:srgbClr val="FF00F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18609493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9" name="Table 3"/>
          <p:cNvGraphicFramePr>
            <a:graphicFrameLocks noGrp="1"/>
          </p:cNvGraphicFramePr>
          <p:nvPr/>
        </p:nvGraphicFramePr>
        <p:xfrm>
          <a:off x="2943252" y="1252294"/>
          <a:ext cx="9126828" cy="3774571"/>
        </p:xfrm>
        <a:graphic>
          <a:graphicData uri="http://schemas.openxmlformats.org/drawingml/2006/table">
            <a:tbl>
              <a:tblPr firstRow="1" bandRow="1">
                <a:tableStyleId>{7E9639D4-E3E2-4D34-9284-5A2195B3D0D7}</a:tableStyleId>
              </a:tblPr>
              <a:tblGrid>
                <a:gridCol w="1031837">
                  <a:extLst>
                    <a:ext uri="{9D8B030D-6E8A-4147-A177-3AD203B41FA5}">
                      <a16:colId xmlns:a16="http://schemas.microsoft.com/office/drawing/2014/main" val="20000"/>
                    </a:ext>
                  </a:extLst>
                </a:gridCol>
                <a:gridCol w="1386840">
                  <a:extLst>
                    <a:ext uri="{9D8B030D-6E8A-4147-A177-3AD203B41FA5}">
                      <a16:colId xmlns:a16="http://schemas.microsoft.com/office/drawing/2014/main" val="20001"/>
                    </a:ext>
                  </a:extLst>
                </a:gridCol>
                <a:gridCol w="1571148">
                  <a:extLst>
                    <a:ext uri="{9D8B030D-6E8A-4147-A177-3AD203B41FA5}">
                      <a16:colId xmlns:a16="http://schemas.microsoft.com/office/drawing/2014/main" val="20002"/>
                    </a:ext>
                  </a:extLst>
                </a:gridCol>
                <a:gridCol w="2043283">
                  <a:extLst>
                    <a:ext uri="{9D8B030D-6E8A-4147-A177-3AD203B41FA5}">
                      <a16:colId xmlns:a16="http://schemas.microsoft.com/office/drawing/2014/main" val="20003"/>
                    </a:ext>
                  </a:extLst>
                </a:gridCol>
                <a:gridCol w="1508760">
                  <a:extLst>
                    <a:ext uri="{9D8B030D-6E8A-4147-A177-3AD203B41FA5}">
                      <a16:colId xmlns:a16="http://schemas.microsoft.com/office/drawing/2014/main" val="1280211806"/>
                    </a:ext>
                  </a:extLst>
                </a:gridCol>
                <a:gridCol w="1584960">
                  <a:extLst>
                    <a:ext uri="{9D8B030D-6E8A-4147-A177-3AD203B41FA5}">
                      <a16:colId xmlns:a16="http://schemas.microsoft.com/office/drawing/2014/main" val="20004"/>
                    </a:ext>
                  </a:extLst>
                </a:gridCol>
              </a:tblGrid>
              <a:tr h="330331">
                <a:tc>
                  <a:txBody>
                    <a:bodyPr/>
                    <a:lstStyle/>
                    <a:p>
                      <a:pPr algn="l"/>
                      <a:r>
                        <a:rPr lang="en-US" sz="1200"/>
                        <a:t>File</a:t>
                      </a:r>
                      <a:endParaRPr lang="en-US" sz="1200" b="0">
                        <a:solidFill>
                          <a:schemeClr val="tx1"/>
                        </a:solidFill>
                        <a:latin typeface="+mj-lt"/>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a:r>
                        <a:rPr lang="en-US" sz="1200"/>
                        <a:t>Database </a:t>
                      </a:r>
                      <a:endParaRPr lang="en-US" sz="1200" b="0">
                        <a:solidFill>
                          <a:schemeClr val="tx1"/>
                        </a:solidFill>
                        <a:latin typeface="+mj-lt"/>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a:r>
                        <a:rPr lang="en-US" sz="1200"/>
                        <a:t>Azure</a:t>
                      </a:r>
                      <a:endParaRPr lang="en-US" sz="1200" b="0">
                        <a:solidFill>
                          <a:schemeClr val="tx1"/>
                        </a:solidFill>
                        <a:latin typeface="+mj-lt"/>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gridSpan="2">
                  <a:txBody>
                    <a:bodyPr/>
                    <a:lstStyle/>
                    <a:p>
                      <a:pPr algn="ctr"/>
                      <a:r>
                        <a:rPr lang="en-US" sz="1200"/>
                        <a:t>Online</a:t>
                      </a:r>
                      <a:r>
                        <a:rPr lang="en-US" sz="1200" baseline="0"/>
                        <a:t> Services</a:t>
                      </a:r>
                      <a:endParaRPr lang="en-US" sz="1200" b="0">
                        <a:solidFill>
                          <a:schemeClr val="tx1"/>
                        </a:solidFill>
                        <a:latin typeface="+mj-lt"/>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endParaRPr lang="en-GB"/>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a:r>
                        <a:rPr lang="en-US" sz="1200" b="1" kern="1200">
                          <a:solidFill>
                            <a:schemeClr val="bg1"/>
                          </a:solidFill>
                          <a:latin typeface="+mn-lt"/>
                          <a:ea typeface="+mn-ea"/>
                          <a:cs typeface="+mn-cs"/>
                        </a:rPr>
                        <a:t>   Other</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0"/>
                  </a:ext>
                </a:extLst>
              </a:tr>
              <a:tr h="2646611">
                <a:tc>
                  <a:txBody>
                    <a:bodyPr/>
                    <a:lstStyle/>
                    <a:p>
                      <a:pPr marL="166688" indent="-166688">
                        <a:buFont typeface="Arial" panose="020B0604020202020204" pitchFamily="34" charset="0"/>
                        <a:buChar char="•"/>
                      </a:pPr>
                      <a:r>
                        <a:rPr lang="en-US" sz="1100"/>
                        <a:t>Excel</a:t>
                      </a:r>
                    </a:p>
                    <a:p>
                      <a:pPr marL="166688" indent="-166688">
                        <a:buFont typeface="Arial" panose="020B0604020202020204" pitchFamily="34" charset="0"/>
                        <a:buChar char="•"/>
                      </a:pPr>
                      <a:r>
                        <a:rPr lang="en-US" sz="1100"/>
                        <a:t>Text / CSV</a:t>
                      </a:r>
                    </a:p>
                    <a:p>
                      <a:pPr marL="166688" indent="-166688">
                        <a:buFont typeface="Arial" panose="020B0604020202020204" pitchFamily="34" charset="0"/>
                        <a:buChar char="•"/>
                      </a:pPr>
                      <a:r>
                        <a:rPr lang="en-US" sz="1100"/>
                        <a:t>XML</a:t>
                      </a:r>
                    </a:p>
                    <a:p>
                      <a:pPr marL="166688" indent="-166688">
                        <a:buFont typeface="Arial" panose="020B0604020202020204" pitchFamily="34" charset="0"/>
                        <a:buChar char="•"/>
                      </a:pPr>
                      <a:r>
                        <a:rPr lang="en-US" sz="1100"/>
                        <a:t>JSON</a:t>
                      </a:r>
                    </a:p>
                    <a:p>
                      <a:pPr marL="166688" indent="-166688">
                        <a:buFont typeface="Arial" panose="020B0604020202020204" pitchFamily="34" charset="0"/>
                        <a:buChar char="•"/>
                      </a:pPr>
                      <a:r>
                        <a:rPr lang="en-US" sz="1100"/>
                        <a:t>Folder</a:t>
                      </a:r>
                    </a:p>
                    <a:p>
                      <a:pPr marL="166688" indent="-166688">
                        <a:buFont typeface="Arial" panose="020B0604020202020204" pitchFamily="34" charset="0"/>
                        <a:buChar char="•"/>
                      </a:pPr>
                      <a:r>
                        <a:rPr lang="en-US" sz="1100" b="0">
                          <a:solidFill>
                            <a:schemeClr val="tx1"/>
                          </a:solidFill>
                        </a:rPr>
                        <a:t>Sharepoint Folder</a:t>
                      </a:r>
                    </a:p>
                    <a:p>
                      <a:pPr marL="166688" indent="-166688">
                        <a:buFont typeface="Arial" panose="020B0604020202020204" pitchFamily="34" charset="0"/>
                        <a:buChar char="•"/>
                      </a:pPr>
                      <a:endParaRPr lang="en-US" sz="1100" b="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166688" lvl="0" indent="-166688" algn="l" defTabSz="914367" rtl="0" eaLnBrk="1" latinLnBrk="0" hangingPunct="1">
                        <a:buFont typeface="Arial" panose="020B0604020202020204" pitchFamily="34" charset="0"/>
                        <a:buChar char="•"/>
                      </a:pPr>
                      <a:r>
                        <a:rPr lang="en-US" sz="1100" kern="1200">
                          <a:solidFill>
                            <a:schemeClr val="tx1"/>
                          </a:solidFill>
                          <a:latin typeface="+mn-lt"/>
                          <a:ea typeface="+mn-ea"/>
                          <a:cs typeface="+mn-cs"/>
                        </a:rPr>
                        <a:t>SQL Server </a:t>
                      </a:r>
                      <a:r>
                        <a:rPr lang="en-US" sz="1100" b="1" kern="1200" baseline="0">
                          <a:solidFill>
                            <a:schemeClr val="tx1"/>
                          </a:solidFill>
                          <a:latin typeface="+mn-lt"/>
                          <a:ea typeface="+mn-ea"/>
                          <a:cs typeface="+mn-cs"/>
                        </a:rPr>
                        <a:t>(DQ)</a:t>
                      </a:r>
                      <a:endParaRPr lang="en-US" sz="1100" kern="1200">
                        <a:solidFill>
                          <a:schemeClr val="tx1"/>
                        </a:solidFill>
                        <a:latin typeface="+mn-lt"/>
                        <a:ea typeface="+mn-ea"/>
                        <a:cs typeface="+mn-cs"/>
                      </a:endParaRPr>
                    </a:p>
                    <a:p>
                      <a:pPr marL="166688" lvl="0" indent="-166688" algn="l" defTabSz="914367" rtl="0" eaLnBrk="1" latinLnBrk="0" hangingPunct="1">
                        <a:buFont typeface="Arial" panose="020B0604020202020204" pitchFamily="34" charset="0"/>
                        <a:buChar char="•"/>
                      </a:pPr>
                      <a:r>
                        <a:rPr lang="en-US" sz="1100" kern="1200">
                          <a:solidFill>
                            <a:schemeClr val="tx1"/>
                          </a:solidFill>
                          <a:latin typeface="+mn-lt"/>
                          <a:ea typeface="+mn-ea"/>
                          <a:cs typeface="+mn-cs"/>
                        </a:rPr>
                        <a:t>Access</a:t>
                      </a:r>
                    </a:p>
                    <a:p>
                      <a:pPr marL="166688" lvl="0" indent="-166688" algn="l" defTabSz="914367" rtl="0" eaLnBrk="1" latinLnBrk="0" hangingPunct="1">
                        <a:buFont typeface="Arial" panose="020B0604020202020204" pitchFamily="34" charset="0"/>
                        <a:buChar char="•"/>
                      </a:pPr>
                      <a:r>
                        <a:rPr lang="en-US" sz="1100" kern="1200">
                          <a:solidFill>
                            <a:schemeClr val="tx1"/>
                          </a:solidFill>
                          <a:latin typeface="+mn-lt"/>
                          <a:ea typeface="+mn-ea"/>
                          <a:cs typeface="+mn-cs"/>
                        </a:rPr>
                        <a:t>SQL Server Analysis Services </a:t>
                      </a:r>
                      <a:r>
                        <a:rPr lang="en-US" sz="1100" b="1" kern="1200" baseline="0">
                          <a:solidFill>
                            <a:schemeClr val="tx1"/>
                          </a:solidFill>
                          <a:latin typeface="+mn-lt"/>
                          <a:ea typeface="+mn-ea"/>
                          <a:cs typeface="+mn-cs"/>
                        </a:rPr>
                        <a:t>(LQ)</a:t>
                      </a:r>
                      <a:endParaRPr lang="en-US" sz="1100" kern="1200">
                        <a:solidFill>
                          <a:schemeClr val="tx1"/>
                        </a:solidFill>
                        <a:latin typeface="+mn-lt"/>
                        <a:ea typeface="+mn-ea"/>
                        <a:cs typeface="+mn-cs"/>
                      </a:endParaRPr>
                    </a:p>
                    <a:p>
                      <a:pPr marL="166688" lvl="0" indent="-166688" algn="l" defTabSz="914367" rtl="0" eaLnBrk="1" latinLnBrk="0" hangingPunct="1">
                        <a:buFont typeface="Arial" panose="020B0604020202020204" pitchFamily="34" charset="0"/>
                        <a:buChar char="•"/>
                      </a:pPr>
                      <a:r>
                        <a:rPr lang="en-US" sz="1100" kern="1200">
                          <a:solidFill>
                            <a:schemeClr val="tx1"/>
                          </a:solidFill>
                          <a:latin typeface="+mn-lt"/>
                          <a:ea typeface="+mn-ea"/>
                          <a:cs typeface="+mn-cs"/>
                        </a:rPr>
                        <a:t>Oracle </a:t>
                      </a:r>
                      <a:r>
                        <a:rPr lang="en-US" sz="1100" b="1" kern="1200">
                          <a:solidFill>
                            <a:schemeClr val="tx1"/>
                          </a:solidFill>
                          <a:latin typeface="+mn-lt"/>
                          <a:ea typeface="+mn-ea"/>
                          <a:cs typeface="+mn-cs"/>
                        </a:rPr>
                        <a:t>(DQ)</a:t>
                      </a:r>
                    </a:p>
                    <a:p>
                      <a:pPr marL="166688" lvl="0" indent="-166688" algn="l" defTabSz="914367" rtl="0" eaLnBrk="1" latinLnBrk="0" hangingPunct="1">
                        <a:buFont typeface="Arial" panose="020B0604020202020204" pitchFamily="34" charset="0"/>
                        <a:buChar char="•"/>
                      </a:pPr>
                      <a:r>
                        <a:rPr lang="en-US" sz="1100" kern="1200">
                          <a:solidFill>
                            <a:schemeClr val="tx1"/>
                          </a:solidFill>
                          <a:latin typeface="+mn-lt"/>
                          <a:ea typeface="+mn-ea"/>
                          <a:cs typeface="+mn-cs"/>
                        </a:rPr>
                        <a:t>IBM DB2</a:t>
                      </a:r>
                    </a:p>
                    <a:p>
                      <a:pPr marL="166688" lvl="0" indent="-166688" algn="l" defTabSz="914367" rtl="0" eaLnBrk="1" latinLnBrk="0" hangingPunct="1">
                        <a:buFont typeface="Arial" panose="020B0604020202020204" pitchFamily="34" charset="0"/>
                        <a:buChar char="•"/>
                      </a:pPr>
                      <a:r>
                        <a:rPr lang="en-US" sz="1100" kern="1200">
                          <a:solidFill>
                            <a:schemeClr val="tx1"/>
                          </a:solidFill>
                          <a:latin typeface="+mn-lt"/>
                          <a:ea typeface="+mn-ea"/>
                          <a:cs typeface="+mn-cs"/>
                        </a:rPr>
                        <a:t>MySQL</a:t>
                      </a:r>
                    </a:p>
                    <a:p>
                      <a:pPr marL="166688" lvl="0" indent="-166688" algn="l" defTabSz="914367" rtl="0" eaLnBrk="1" latinLnBrk="0" hangingPunct="1">
                        <a:buFont typeface="Arial" panose="020B0604020202020204" pitchFamily="34" charset="0"/>
                        <a:buChar char="•"/>
                      </a:pPr>
                      <a:r>
                        <a:rPr lang="en-US" sz="1100" kern="1200">
                          <a:solidFill>
                            <a:schemeClr val="tx1"/>
                          </a:solidFill>
                          <a:latin typeface="+mn-lt"/>
                          <a:ea typeface="+mn-ea"/>
                          <a:cs typeface="+mn-cs"/>
                        </a:rPr>
                        <a:t>PostgreSQL</a:t>
                      </a:r>
                    </a:p>
                    <a:p>
                      <a:pPr marL="166688" lvl="0" indent="-166688" algn="l" defTabSz="914367" rtl="0" eaLnBrk="1" latinLnBrk="0" hangingPunct="1">
                        <a:buFont typeface="Arial" panose="020B0604020202020204" pitchFamily="34" charset="0"/>
                        <a:buChar char="•"/>
                      </a:pPr>
                      <a:r>
                        <a:rPr lang="en-US" sz="1100" kern="1200"/>
                        <a:t>Sybase</a:t>
                      </a:r>
                    </a:p>
                    <a:p>
                      <a:pPr marL="166688" lvl="0" indent="-166688" algn="l" defTabSz="914367" rtl="0" eaLnBrk="1" latinLnBrk="0" hangingPunct="1">
                        <a:buFont typeface="Arial" panose="020B0604020202020204" pitchFamily="34" charset="0"/>
                        <a:buChar char="•"/>
                      </a:pPr>
                      <a:r>
                        <a:rPr lang="en-US" sz="1100" kern="1200"/>
                        <a:t>Teradata </a:t>
                      </a:r>
                      <a:r>
                        <a:rPr lang="en-US" sz="1100" b="1" kern="1200">
                          <a:solidFill>
                            <a:schemeClr val="tx1"/>
                          </a:solidFill>
                          <a:latin typeface="+mn-lt"/>
                          <a:ea typeface="+mn-ea"/>
                          <a:cs typeface="+mn-cs"/>
                        </a:rPr>
                        <a:t>(DQ)</a:t>
                      </a:r>
                      <a:endParaRPr lang="en-US" sz="1100" kern="1200"/>
                    </a:p>
                    <a:p>
                      <a:pPr marL="166688" lvl="0" indent="-166688" algn="l" defTabSz="914367" rtl="0" eaLnBrk="1" latinLnBrk="0" hangingPunct="1">
                        <a:buFont typeface="Arial" panose="020B0604020202020204" pitchFamily="34" charset="0"/>
                        <a:buChar char="•"/>
                      </a:pPr>
                      <a:r>
                        <a:rPr lang="en-US" sz="1100" kern="1200">
                          <a:solidFill>
                            <a:schemeClr val="tx1"/>
                          </a:solidFill>
                          <a:latin typeface="+mn-lt"/>
                          <a:ea typeface="+mn-ea"/>
                          <a:cs typeface="+mn-cs"/>
                        </a:rPr>
                        <a:t>SAP HANA</a:t>
                      </a:r>
                      <a:r>
                        <a:rPr lang="en-US" sz="1100" kern="1200" baseline="0">
                          <a:solidFill>
                            <a:schemeClr val="tx1"/>
                          </a:solidFill>
                          <a:latin typeface="+mn-lt"/>
                          <a:ea typeface="+mn-ea"/>
                          <a:cs typeface="+mn-cs"/>
                        </a:rPr>
                        <a:t> </a:t>
                      </a:r>
                      <a:r>
                        <a:rPr lang="en-US" sz="1100" b="1" kern="1200" baseline="0">
                          <a:solidFill>
                            <a:schemeClr val="tx1"/>
                          </a:solidFill>
                          <a:latin typeface="+mn-lt"/>
                          <a:ea typeface="+mn-ea"/>
                          <a:cs typeface="+mn-cs"/>
                        </a:rPr>
                        <a:t>(DQ)</a:t>
                      </a:r>
                    </a:p>
                    <a:p>
                      <a:pPr marL="166688" marR="0" lvl="0" indent="-166688"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b="0" kern="1200" baseline="0">
                          <a:solidFill>
                            <a:schemeClr val="tx1"/>
                          </a:solidFill>
                          <a:latin typeface="+mn-lt"/>
                          <a:ea typeface="+mn-ea"/>
                          <a:cs typeface="+mn-cs"/>
                        </a:rPr>
                        <a:t>IBM Informix database</a:t>
                      </a:r>
                      <a:r>
                        <a:rPr lang="en-US" sz="1100" kern="1200" baseline="30000">
                          <a:solidFill>
                            <a:schemeClr val="tx1"/>
                          </a:solidFill>
                          <a:latin typeface="+mn-lt"/>
                          <a:ea typeface="+mn-ea"/>
                          <a:cs typeface="+mn-cs"/>
                        </a:rPr>
                        <a:t>1</a:t>
                      </a:r>
                    </a:p>
                    <a:p>
                      <a:pPr marL="166688" marR="0" lvl="0" indent="-166688"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b="0" kern="1200" baseline="0">
                          <a:solidFill>
                            <a:schemeClr val="tx1"/>
                          </a:solidFill>
                          <a:latin typeface="+mn-lt"/>
                          <a:ea typeface="+mn-ea"/>
                          <a:cs typeface="+mn-cs"/>
                        </a:rPr>
                        <a:t>SAP BW</a:t>
                      </a:r>
                    </a:p>
                    <a:p>
                      <a:pPr marL="166688" lvl="0" indent="-166688" algn="l" defTabSz="914367" rtl="0" eaLnBrk="1" latinLnBrk="0" hangingPunct="1">
                        <a:buFont typeface="Arial" panose="020B0604020202020204" pitchFamily="34" charset="0"/>
                        <a:buChar char="•"/>
                      </a:pPr>
                      <a:r>
                        <a:rPr lang="en-US" sz="1100" b="0" kern="1200" baseline="0">
                          <a:solidFill>
                            <a:schemeClr val="tx1"/>
                          </a:solidFill>
                          <a:latin typeface="+mn-lt"/>
                          <a:ea typeface="+mn-ea"/>
                          <a:cs typeface="+mn-cs"/>
                        </a:rPr>
                        <a:t>Amazon Redshift</a:t>
                      </a:r>
                      <a:r>
                        <a:rPr lang="en-US" sz="1100" kern="1200" baseline="30000">
                          <a:solidFill>
                            <a:schemeClr val="tx1"/>
                          </a:solidFill>
                          <a:latin typeface="+mn-lt"/>
                          <a:ea typeface="+mn-ea"/>
                          <a:cs typeface="+mn-cs"/>
                        </a:rPr>
                        <a:t>1</a:t>
                      </a:r>
                      <a:endParaRPr lang="en-US" sz="1100" b="0" kern="1200" baseline="0">
                        <a:solidFill>
                          <a:schemeClr val="tx1"/>
                        </a:solidFill>
                        <a:latin typeface="+mn-lt"/>
                        <a:ea typeface="+mn-ea"/>
                        <a:cs typeface="+mn-cs"/>
                      </a:endParaRPr>
                    </a:p>
                    <a:p>
                      <a:pPr marL="166688" lvl="0" indent="-166688" algn="l" defTabSz="914367" rtl="0" eaLnBrk="1" latinLnBrk="0" hangingPunct="1">
                        <a:buFont typeface="Arial" panose="020B0604020202020204" pitchFamily="34" charset="0"/>
                        <a:buChar char="•"/>
                      </a:pPr>
                      <a:r>
                        <a:rPr lang="en-US" sz="1100" b="0" kern="1200" baseline="0">
                          <a:solidFill>
                            <a:schemeClr val="tx1"/>
                          </a:solidFill>
                          <a:latin typeface="+mn-lt"/>
                          <a:ea typeface="+mn-ea"/>
                          <a:cs typeface="+mn-cs"/>
                        </a:rPr>
                        <a:t>Impala</a:t>
                      </a:r>
                      <a:r>
                        <a:rPr lang="en-US" sz="1100" kern="1200" baseline="30000">
                          <a:solidFill>
                            <a:schemeClr val="tx1"/>
                          </a:solidFill>
                          <a:latin typeface="+mn-lt"/>
                          <a:ea typeface="+mn-ea"/>
                          <a:cs typeface="+mn-cs"/>
                        </a:rPr>
                        <a:t>1</a:t>
                      </a:r>
                      <a:endParaRPr lang="en-US" sz="1100" b="0" kern="1200" baseline="0">
                        <a:solidFill>
                          <a:schemeClr val="tx1"/>
                        </a:solidFill>
                        <a:latin typeface="+mn-lt"/>
                        <a:ea typeface="+mn-ea"/>
                        <a:cs typeface="+mn-cs"/>
                      </a:endParaRPr>
                    </a:p>
                    <a:p>
                      <a:pPr marL="166688" lvl="0" indent="-166688" algn="l" defTabSz="914367" rtl="0" eaLnBrk="1" latinLnBrk="0" hangingPunct="1">
                        <a:buFont typeface="Arial" panose="020B0604020202020204" pitchFamily="34" charset="0"/>
                        <a:buChar char="•"/>
                      </a:pPr>
                      <a:r>
                        <a:rPr lang="en-US" sz="1100" b="0" kern="1200" baseline="0">
                          <a:solidFill>
                            <a:schemeClr val="tx1"/>
                          </a:solidFill>
                          <a:latin typeface="+mn-lt"/>
                          <a:ea typeface="+mn-ea"/>
                          <a:cs typeface="+mn-cs"/>
                        </a:rPr>
                        <a:t>Snowflake</a:t>
                      </a:r>
                      <a:r>
                        <a:rPr lang="en-US" sz="1100" kern="1200" baseline="30000">
                          <a:solidFill>
                            <a:schemeClr val="tx1"/>
                          </a:solidFill>
                          <a:latin typeface="+mn-lt"/>
                          <a:ea typeface="+mn-ea"/>
                          <a:cs typeface="+mn-cs"/>
                        </a:rPr>
                        <a:t>1</a:t>
                      </a:r>
                      <a:endParaRPr lang="en-US" sz="1100" b="0" kern="1200" baseline="0">
                        <a:solidFill>
                          <a:schemeClr val="tx1"/>
                        </a:solidFill>
                        <a:latin typeface="+mn-lt"/>
                        <a:ea typeface="+mn-ea"/>
                        <a:cs typeface="+mn-cs"/>
                      </a:endParaRPr>
                    </a:p>
                    <a:p>
                      <a:pPr marL="166688" lvl="0" indent="-166688" algn="l" defTabSz="914367" rtl="0" eaLnBrk="1" latinLnBrk="0" hangingPunct="1">
                        <a:buFont typeface="Arial" panose="020B0604020202020204" pitchFamily="34" charset="0"/>
                        <a:buChar char="•"/>
                      </a:pPr>
                      <a:endParaRPr lang="en-US" sz="1100" b="0" kern="1200">
                        <a:solidFill>
                          <a:schemeClr val="tx1"/>
                        </a:solidFill>
                        <a:latin typeface="+mn-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166688" marR="0" lvl="0" indent="-166688"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kern="1200">
                          <a:solidFill>
                            <a:schemeClr val="tx1"/>
                          </a:solidFill>
                          <a:latin typeface="+mn-lt"/>
                          <a:ea typeface="+mn-ea"/>
                          <a:cs typeface="+mn-cs"/>
                        </a:rPr>
                        <a:t>SQL Database </a:t>
                      </a:r>
                      <a:r>
                        <a:rPr lang="en-US" sz="1100" b="1" kern="1200" baseline="0">
                          <a:solidFill>
                            <a:schemeClr val="tx1"/>
                          </a:solidFill>
                          <a:latin typeface="+mn-lt"/>
                          <a:ea typeface="+mn-ea"/>
                          <a:cs typeface="+mn-cs"/>
                        </a:rPr>
                        <a:t>(DQ)</a:t>
                      </a:r>
                      <a:endParaRPr lang="en-US" sz="1100" kern="1200">
                        <a:solidFill>
                          <a:schemeClr val="tx1"/>
                        </a:solidFill>
                        <a:latin typeface="+mn-lt"/>
                        <a:ea typeface="+mn-ea"/>
                        <a:cs typeface="+mn-cs"/>
                      </a:endParaRPr>
                    </a:p>
                    <a:p>
                      <a:pPr marL="166688" marR="0" lvl="0" indent="-166688"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kern="1200">
                          <a:solidFill>
                            <a:schemeClr val="tx1"/>
                          </a:solidFill>
                          <a:latin typeface="+mn-lt"/>
                          <a:ea typeface="+mn-ea"/>
                          <a:cs typeface="+mn-cs"/>
                        </a:rPr>
                        <a:t>SQL Data Warehouse </a:t>
                      </a:r>
                      <a:r>
                        <a:rPr lang="en-US" sz="1100" b="1" kern="1200" baseline="0">
                          <a:solidFill>
                            <a:schemeClr val="tx1"/>
                          </a:solidFill>
                          <a:latin typeface="+mn-lt"/>
                          <a:ea typeface="+mn-ea"/>
                          <a:cs typeface="+mn-cs"/>
                        </a:rPr>
                        <a:t>(DQ)</a:t>
                      </a:r>
                      <a:endParaRPr lang="en-US" sz="1100" kern="1200">
                        <a:solidFill>
                          <a:schemeClr val="tx1"/>
                        </a:solidFill>
                        <a:latin typeface="+mn-lt"/>
                        <a:ea typeface="+mn-ea"/>
                        <a:cs typeface="+mn-cs"/>
                      </a:endParaRPr>
                    </a:p>
                    <a:p>
                      <a:pPr marL="166688" lvl="0" indent="-166688" algn="l" defTabSz="914367" rtl="0" eaLnBrk="1" latinLnBrk="0" hangingPunct="1">
                        <a:buFont typeface="Arial" panose="020B0604020202020204" pitchFamily="34" charset="0"/>
                        <a:buChar char="•"/>
                      </a:pPr>
                      <a:r>
                        <a:rPr lang="en-US" sz="1100" kern="1200">
                          <a:solidFill>
                            <a:schemeClr val="tx1"/>
                          </a:solidFill>
                          <a:latin typeface="+mn-lt"/>
                          <a:ea typeface="+mn-ea"/>
                          <a:cs typeface="+mn-cs"/>
                        </a:rPr>
                        <a:t>Marketplace</a:t>
                      </a:r>
                    </a:p>
                    <a:p>
                      <a:pPr marL="166688" lvl="0" indent="-166688" algn="l" defTabSz="914367" rtl="0" eaLnBrk="1" latinLnBrk="0" hangingPunct="1">
                        <a:buFont typeface="Arial" panose="020B0604020202020204" pitchFamily="34" charset="0"/>
                        <a:buChar char="•"/>
                      </a:pPr>
                      <a:r>
                        <a:rPr lang="en-US" sz="1100" kern="1200">
                          <a:solidFill>
                            <a:schemeClr val="tx1"/>
                          </a:solidFill>
                          <a:latin typeface="+mn-lt"/>
                          <a:ea typeface="+mn-ea"/>
                          <a:cs typeface="+mn-cs"/>
                        </a:rPr>
                        <a:t>HDInsight</a:t>
                      </a:r>
                    </a:p>
                    <a:p>
                      <a:pPr marL="166688" lvl="0" indent="-166688" algn="l" defTabSz="914367" rtl="0" eaLnBrk="1" latinLnBrk="0" hangingPunct="1">
                        <a:buFont typeface="Arial" panose="020B0604020202020204" pitchFamily="34" charset="0"/>
                        <a:buChar char="•"/>
                      </a:pPr>
                      <a:r>
                        <a:rPr lang="en-US" sz="1100" kern="1200">
                          <a:solidFill>
                            <a:schemeClr val="tx1"/>
                          </a:solidFill>
                          <a:latin typeface="+mn-lt"/>
                          <a:ea typeface="+mn-ea"/>
                          <a:cs typeface="+mn-cs"/>
                        </a:rPr>
                        <a:t>Blob Storage</a:t>
                      </a:r>
                    </a:p>
                    <a:p>
                      <a:pPr marL="166688" lvl="0" indent="-166688" algn="l" defTabSz="914367" rtl="0" eaLnBrk="1" latinLnBrk="0" hangingPunct="1">
                        <a:buFont typeface="Arial" panose="020B0604020202020204" pitchFamily="34" charset="0"/>
                        <a:buChar char="•"/>
                      </a:pPr>
                      <a:r>
                        <a:rPr lang="en-US" sz="1100" kern="1200">
                          <a:solidFill>
                            <a:schemeClr val="tx1"/>
                          </a:solidFill>
                          <a:latin typeface="+mn-lt"/>
                          <a:ea typeface="+mn-ea"/>
                          <a:cs typeface="+mn-cs"/>
                        </a:rPr>
                        <a:t>Table Storage</a:t>
                      </a:r>
                    </a:p>
                    <a:p>
                      <a:pPr marL="166688" marR="0" lvl="0" indent="-166688"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kern="1200">
                          <a:solidFill>
                            <a:schemeClr val="tx1"/>
                          </a:solidFill>
                          <a:latin typeface="+mn-lt"/>
                          <a:ea typeface="+mn-ea"/>
                          <a:cs typeface="+mn-cs"/>
                        </a:rPr>
                        <a:t>HDInsight Spark</a:t>
                      </a:r>
                      <a:r>
                        <a:rPr lang="en-US" sz="1100" kern="1200" baseline="30000">
                          <a:solidFill>
                            <a:schemeClr val="tx1"/>
                          </a:solidFill>
                          <a:latin typeface="+mn-lt"/>
                          <a:ea typeface="+mn-ea"/>
                          <a:cs typeface="+mn-cs"/>
                        </a:rPr>
                        <a:t>1</a:t>
                      </a:r>
                      <a:endParaRPr lang="en-US" sz="1100" kern="1200">
                        <a:solidFill>
                          <a:schemeClr val="tx1"/>
                        </a:solidFill>
                        <a:latin typeface="+mn-lt"/>
                        <a:ea typeface="+mn-ea"/>
                        <a:cs typeface="+mn-cs"/>
                      </a:endParaRPr>
                    </a:p>
                    <a:p>
                      <a:pPr marL="166688" marR="0" lvl="0" indent="-166688"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kern="1200">
                          <a:solidFill>
                            <a:schemeClr val="tx1"/>
                          </a:solidFill>
                          <a:latin typeface="+mn-lt"/>
                          <a:ea typeface="+mn-ea"/>
                          <a:cs typeface="+mn-cs"/>
                        </a:rPr>
                        <a:t>DocumentDB</a:t>
                      </a:r>
                      <a:r>
                        <a:rPr lang="en-US" sz="1100" kern="1200" baseline="30000">
                          <a:solidFill>
                            <a:schemeClr val="tx1"/>
                          </a:solidFill>
                          <a:latin typeface="+mn-lt"/>
                          <a:ea typeface="+mn-ea"/>
                          <a:cs typeface="+mn-cs"/>
                        </a:rPr>
                        <a:t>1</a:t>
                      </a:r>
                      <a:endParaRPr lang="en-US" sz="1100" kern="1200">
                        <a:solidFill>
                          <a:schemeClr val="tx1"/>
                        </a:solidFill>
                        <a:latin typeface="+mn-lt"/>
                        <a:ea typeface="+mn-ea"/>
                        <a:cs typeface="+mn-cs"/>
                      </a:endParaRPr>
                    </a:p>
                    <a:p>
                      <a:pPr marL="166688" marR="0" lvl="0" indent="-166688"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kern="1200" baseline="0">
                          <a:solidFill>
                            <a:schemeClr val="tx1"/>
                          </a:solidFill>
                          <a:latin typeface="+mn-lt"/>
                          <a:ea typeface="+mn-ea"/>
                          <a:cs typeface="+mn-cs"/>
                        </a:rPr>
                        <a:t>Data Lake</a:t>
                      </a:r>
                      <a:r>
                        <a:rPr lang="en-US" sz="1100" kern="1200" baseline="30000">
                          <a:solidFill>
                            <a:schemeClr val="tx1"/>
                          </a:solidFill>
                          <a:latin typeface="+mn-lt"/>
                          <a:ea typeface="+mn-ea"/>
                          <a:cs typeface="+mn-cs"/>
                        </a:rPr>
                        <a:t>1</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171450" marR="0" lvl="0" indent="-17145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dirty="0"/>
                        <a:t>SharePoint Online List</a:t>
                      </a:r>
                    </a:p>
                    <a:p>
                      <a:pPr marL="171450" indent="-171450">
                        <a:buFont typeface="Arial" panose="020B0604020202020204" pitchFamily="34" charset="0"/>
                        <a:buChar char="•"/>
                      </a:pPr>
                      <a:r>
                        <a:rPr lang="en-US" sz="1100" dirty="0"/>
                        <a:t>Dynamics 365</a:t>
                      </a:r>
                    </a:p>
                    <a:p>
                      <a:pPr marL="171450" indent="-171450">
                        <a:buFont typeface="Arial" panose="020B0604020202020204" pitchFamily="34" charset="0"/>
                        <a:buChar char="•"/>
                      </a:pPr>
                      <a:r>
                        <a:rPr lang="en-US" sz="1100" dirty="0"/>
                        <a:t>PowerApps</a:t>
                      </a:r>
                    </a:p>
                    <a:p>
                      <a:pPr marL="171450" indent="-171450">
                        <a:buFont typeface="Arial" panose="020B0604020202020204" pitchFamily="34" charset="0"/>
                        <a:buChar char="•"/>
                      </a:pPr>
                      <a:r>
                        <a:rPr lang="en-US" sz="1100" dirty="0"/>
                        <a:t>Facebook</a:t>
                      </a:r>
                    </a:p>
                    <a:p>
                      <a:pPr marL="171450" indent="-171450">
                        <a:buFont typeface="Arial" panose="020B0604020202020204" pitchFamily="34" charset="0"/>
                        <a:buChar char="•"/>
                      </a:pPr>
                      <a:r>
                        <a:rPr lang="en-US" sz="1100" dirty="0"/>
                        <a:t>Salesforce Objects</a:t>
                      </a:r>
                    </a:p>
                    <a:p>
                      <a:pPr marL="171450" indent="-171450">
                        <a:buFont typeface="Arial" panose="020B0604020202020204" pitchFamily="34" charset="0"/>
                        <a:buChar char="•"/>
                      </a:pPr>
                      <a:r>
                        <a:rPr lang="en-US" sz="1100" dirty="0"/>
                        <a:t>Salesforce Reports</a:t>
                      </a:r>
                    </a:p>
                    <a:p>
                      <a:pPr marL="171450" marR="0" lvl="0" indent="-17145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dirty="0"/>
                        <a:t>Google Analytics</a:t>
                      </a:r>
                    </a:p>
                    <a:p>
                      <a:pPr marL="171450" indent="-171450">
                        <a:buFont typeface="Arial" panose="020B0604020202020204" pitchFamily="34" charset="0"/>
                        <a:buChar char="•"/>
                      </a:pPr>
                      <a:r>
                        <a:rPr lang="en-US" sz="1100" dirty="0"/>
                        <a:t>appFigures</a:t>
                      </a:r>
                      <a:r>
                        <a:rPr lang="en-US" sz="1100" kern="1200" baseline="30000" dirty="0">
                          <a:solidFill>
                            <a:schemeClr val="tx1"/>
                          </a:solidFill>
                          <a:latin typeface="+mn-lt"/>
                          <a:ea typeface="+mn-ea"/>
                          <a:cs typeface="+mn-cs"/>
                        </a:rPr>
                        <a:t>1</a:t>
                      </a:r>
                      <a:endParaRPr lang="en-US" sz="1100" dirty="0"/>
                    </a:p>
                    <a:p>
                      <a:pPr marL="171450" indent="-171450">
                        <a:buFont typeface="Arial" panose="020B0604020202020204" pitchFamily="34" charset="0"/>
                        <a:buChar char="•"/>
                      </a:pPr>
                      <a:r>
                        <a:rPr lang="en-US" sz="1100" dirty="0"/>
                        <a:t>Azure Enterprise</a:t>
                      </a:r>
                      <a:r>
                        <a:rPr lang="en-US" sz="1100" kern="1200" baseline="30000" dirty="0">
                          <a:solidFill>
                            <a:schemeClr val="tx1"/>
                          </a:solidFill>
                          <a:latin typeface="+mn-lt"/>
                          <a:ea typeface="+mn-ea"/>
                          <a:cs typeface="+mn-cs"/>
                        </a:rPr>
                        <a:t>1</a:t>
                      </a:r>
                      <a:endParaRPr lang="en-US" sz="1100" baseline="0" dirty="0"/>
                    </a:p>
                    <a:p>
                      <a:pPr marL="171450" indent="-171450">
                        <a:buFont typeface="Arial" panose="020B0604020202020204" pitchFamily="34" charset="0"/>
                        <a:buChar char="•"/>
                      </a:pPr>
                      <a:r>
                        <a:rPr lang="en-US" sz="1100" baseline="0" dirty="0"/>
                        <a:t>comScore Digital Analytix</a:t>
                      </a:r>
                      <a:r>
                        <a:rPr lang="en-US" sz="1100" kern="1200" baseline="30000" dirty="0">
                          <a:solidFill>
                            <a:schemeClr val="tx1"/>
                          </a:solidFill>
                          <a:latin typeface="+mn-lt"/>
                          <a:ea typeface="+mn-ea"/>
                          <a:cs typeface="+mn-cs"/>
                        </a:rPr>
                        <a:t>1</a:t>
                      </a:r>
                      <a:endParaRPr lang="en-US" sz="1100" dirty="0"/>
                    </a:p>
                    <a:p>
                      <a:pPr marL="171450" indent="-171450">
                        <a:buFont typeface="Arial" panose="020B0604020202020204" pitchFamily="34" charset="0"/>
                        <a:buChar char="•"/>
                      </a:pPr>
                      <a:r>
                        <a:rPr lang="en-US" sz="1100" dirty="0"/>
                        <a:t>GitHub</a:t>
                      </a:r>
                      <a:r>
                        <a:rPr lang="en-US" sz="1100" kern="1200" baseline="30000" dirty="0">
                          <a:solidFill>
                            <a:schemeClr val="tx1"/>
                          </a:solidFill>
                          <a:latin typeface="+mn-lt"/>
                          <a:ea typeface="+mn-ea"/>
                          <a:cs typeface="+mn-cs"/>
                        </a:rPr>
                        <a:t>1</a:t>
                      </a:r>
                      <a:endParaRPr lang="en-US" sz="1100" dirty="0"/>
                    </a:p>
                    <a:p>
                      <a:pPr marL="171450" indent="-171450">
                        <a:buFont typeface="Arial" panose="020B0604020202020204" pitchFamily="34" charset="0"/>
                        <a:buChar char="•"/>
                      </a:pPr>
                      <a:r>
                        <a:rPr lang="en-US" sz="1100" dirty="0"/>
                        <a:t>MailChimp</a:t>
                      </a:r>
                      <a:r>
                        <a:rPr lang="en-US" sz="1100" kern="1200" baseline="30000" dirty="0">
                          <a:solidFill>
                            <a:schemeClr val="tx1"/>
                          </a:solidFill>
                          <a:latin typeface="+mn-lt"/>
                          <a:ea typeface="+mn-ea"/>
                          <a:cs typeface="+mn-cs"/>
                        </a:rPr>
                        <a:t>1</a:t>
                      </a:r>
                      <a:endParaRPr lang="en-US" sz="1100" dirty="0"/>
                    </a:p>
                    <a:p>
                      <a:pPr marL="171450" indent="-171450">
                        <a:buFont typeface="Arial" panose="020B0604020202020204" pitchFamily="34" charset="0"/>
                        <a:buChar char="•"/>
                      </a:pPr>
                      <a:r>
                        <a:rPr lang="en-US" sz="1100" dirty="0"/>
                        <a:t>Marketo</a:t>
                      </a:r>
                      <a:r>
                        <a:rPr lang="en-US" sz="1100" kern="1200" baseline="30000" dirty="0">
                          <a:solidFill>
                            <a:schemeClr val="tx1"/>
                          </a:solidFill>
                          <a:latin typeface="+mn-lt"/>
                          <a:ea typeface="+mn-ea"/>
                          <a:cs typeface="+mn-cs"/>
                        </a:rPr>
                        <a:t>1</a:t>
                      </a:r>
                      <a:endParaRPr lang="en-US" sz="1100" dirty="0"/>
                    </a:p>
                    <a:p>
                      <a:pPr marL="171450" indent="-171450">
                        <a:buFont typeface="Arial" panose="020B0604020202020204" pitchFamily="34" charset="0"/>
                        <a:buChar char="•"/>
                      </a:pPr>
                      <a:r>
                        <a:rPr lang="en-US" sz="1100" dirty="0"/>
                        <a:t>Dynamics 365 for Financials</a:t>
                      </a:r>
                      <a:r>
                        <a:rPr lang="en-US" sz="1100" kern="1200" baseline="30000" dirty="0">
                          <a:solidFill>
                            <a:schemeClr val="tx1"/>
                          </a:solidFill>
                          <a:latin typeface="+mn-lt"/>
                          <a:ea typeface="+mn-ea"/>
                          <a:cs typeface="+mn-cs"/>
                        </a:rPr>
                        <a:t>1</a:t>
                      </a:r>
                      <a:endParaRPr lang="en-US" sz="1100" baseline="0" dirty="0"/>
                    </a:p>
                    <a:p>
                      <a:pPr marL="171450" indent="-171450">
                        <a:buFont typeface="Arial" panose="020B0604020202020204" pitchFamily="34" charset="0"/>
                        <a:buChar char="•"/>
                      </a:pPr>
                      <a:r>
                        <a:rPr lang="en-US" sz="1100" baseline="0" dirty="0"/>
                        <a:t>MixPanel</a:t>
                      </a:r>
                      <a:r>
                        <a:rPr lang="en-US" sz="1100" kern="1200" baseline="30000" dirty="0">
                          <a:solidFill>
                            <a:schemeClr val="tx1"/>
                          </a:solidFill>
                          <a:latin typeface="+mn-lt"/>
                          <a:ea typeface="+mn-ea"/>
                          <a:cs typeface="+mn-cs"/>
                        </a:rPr>
                        <a:t>1</a:t>
                      </a:r>
                      <a:endParaRPr lang="en-US" sz="1100" baseline="0" dirty="0"/>
                    </a:p>
                    <a:p>
                      <a:pPr marL="171450" indent="-171450">
                        <a:buFont typeface="Arial" panose="020B0604020202020204" pitchFamily="34" charset="0"/>
                        <a:buChar char="•"/>
                      </a:pPr>
                      <a:r>
                        <a:rPr lang="en-US" sz="1100" baseline="0" dirty="0"/>
                        <a:t>Planview Enterprise</a:t>
                      </a:r>
                      <a:r>
                        <a:rPr lang="en-US" sz="1100" kern="1200" baseline="30000" dirty="0">
                          <a:solidFill>
                            <a:schemeClr val="tx1"/>
                          </a:solidFill>
                          <a:latin typeface="+mn-lt"/>
                          <a:ea typeface="+mn-ea"/>
                          <a:cs typeface="+mn-cs"/>
                        </a:rPr>
                        <a:t>1</a:t>
                      </a:r>
                      <a:endParaRPr lang="en-US" sz="1100" baseline="0" dirty="0"/>
                    </a:p>
                    <a:p>
                      <a:pPr marL="171450" indent="-171450">
                        <a:buFont typeface="Arial" panose="020B0604020202020204" pitchFamily="34" charset="0"/>
                        <a:buChar char="•"/>
                      </a:pPr>
                      <a:r>
                        <a:rPr lang="en-US" sz="1100" baseline="0" dirty="0"/>
                        <a:t>Projectplace</a:t>
                      </a:r>
                      <a:r>
                        <a:rPr lang="en-US" sz="1100" kern="1200" baseline="30000" dirty="0">
                          <a:solidFill>
                            <a:schemeClr val="tx1"/>
                          </a:solidFill>
                          <a:latin typeface="+mn-lt"/>
                          <a:ea typeface="+mn-ea"/>
                          <a:cs typeface="+mn-cs"/>
                        </a:rPr>
                        <a:t>1</a:t>
                      </a:r>
                      <a:endParaRPr lang="en-US" sz="1100" dirty="0"/>
                    </a:p>
                    <a:p>
                      <a:pPr marL="171450" indent="-171450">
                        <a:buFont typeface="Arial" panose="020B0604020202020204" pitchFamily="34" charset="0"/>
                        <a:buChar char="•"/>
                      </a:pPr>
                      <a:r>
                        <a:rPr lang="en-US" sz="1100" dirty="0"/>
                        <a:t>QuickBooks Online</a:t>
                      </a:r>
                      <a:r>
                        <a:rPr lang="en-US" sz="1100" kern="1200" baseline="30000" dirty="0">
                          <a:solidFill>
                            <a:schemeClr val="tx1"/>
                          </a:solidFill>
                          <a:latin typeface="+mn-lt"/>
                          <a:ea typeface="+mn-ea"/>
                          <a:cs typeface="+mn-cs"/>
                        </a:rPr>
                        <a:t>1</a:t>
                      </a:r>
                      <a:endParaRPr lang="en-US" sz="1100" dirty="0"/>
                    </a:p>
                    <a:p>
                      <a:pPr marL="171450" indent="-171450">
                        <a:buFont typeface="Arial" panose="020B0604020202020204" pitchFamily="34" charset="0"/>
                        <a:buChar char="•"/>
                      </a:pPr>
                      <a:endParaRPr lang="en-US" sz="11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171450" indent="-171450">
                        <a:buFont typeface="Arial" panose="020B0604020202020204" pitchFamily="34" charset="0"/>
                        <a:buChar char="•"/>
                      </a:pPr>
                      <a:r>
                        <a:rPr lang="en-US" sz="1100"/>
                        <a:t>SparkPost</a:t>
                      </a:r>
                      <a:r>
                        <a:rPr lang="en-US" sz="1100" kern="1200" baseline="30000">
                          <a:solidFill>
                            <a:schemeClr val="tx1"/>
                          </a:solidFill>
                          <a:latin typeface="+mn-lt"/>
                          <a:ea typeface="+mn-ea"/>
                          <a:cs typeface="+mn-cs"/>
                        </a:rPr>
                        <a:t>1</a:t>
                      </a:r>
                      <a:endParaRPr lang="en-US" sz="1100" baseline="0"/>
                    </a:p>
                    <a:p>
                      <a:pPr marL="171450" indent="-171450">
                        <a:buFont typeface="Arial" panose="020B0604020202020204" pitchFamily="34" charset="0"/>
                        <a:buChar char="•"/>
                      </a:pPr>
                      <a:r>
                        <a:rPr lang="en-US" sz="1100"/>
                        <a:t>Smartsheet</a:t>
                      </a:r>
                    </a:p>
                    <a:p>
                      <a:pPr marL="171450" indent="-171450">
                        <a:buFont typeface="Arial" panose="020B0604020202020204" pitchFamily="34" charset="0"/>
                        <a:buChar char="•"/>
                      </a:pPr>
                      <a:r>
                        <a:rPr lang="en-US" sz="1100"/>
                        <a:t>SQL Sentry</a:t>
                      </a:r>
                      <a:r>
                        <a:rPr lang="en-US" sz="1100" kern="1200" baseline="30000">
                          <a:solidFill>
                            <a:schemeClr val="tx1"/>
                          </a:solidFill>
                          <a:latin typeface="+mn-lt"/>
                          <a:ea typeface="+mn-ea"/>
                          <a:cs typeface="+mn-cs"/>
                        </a:rPr>
                        <a:t>1</a:t>
                      </a:r>
                      <a:endParaRPr lang="en-US" sz="1100"/>
                    </a:p>
                    <a:p>
                      <a:pPr marL="171450" indent="-171450">
                        <a:buFont typeface="Arial" panose="020B0604020202020204" pitchFamily="34" charset="0"/>
                        <a:buChar char="•"/>
                      </a:pPr>
                      <a:r>
                        <a:rPr lang="en-US" sz="1100"/>
                        <a:t>Stripe</a:t>
                      </a:r>
                      <a:r>
                        <a:rPr lang="en-US" sz="1100" kern="1200" baseline="30000">
                          <a:solidFill>
                            <a:schemeClr val="tx1"/>
                          </a:solidFill>
                          <a:latin typeface="+mn-lt"/>
                          <a:ea typeface="+mn-ea"/>
                          <a:cs typeface="+mn-cs"/>
                        </a:rPr>
                        <a:t>1</a:t>
                      </a:r>
                      <a:endParaRPr lang="en-US" sz="1100"/>
                    </a:p>
                    <a:p>
                      <a:pPr marL="171450" indent="-171450">
                        <a:buFont typeface="Arial" panose="020B0604020202020204" pitchFamily="34" charset="0"/>
                        <a:buChar char="•"/>
                      </a:pPr>
                      <a:r>
                        <a:rPr lang="en-US" sz="1100"/>
                        <a:t>SweetIQ</a:t>
                      </a:r>
                      <a:r>
                        <a:rPr lang="en-US" sz="1100" kern="1200" baseline="30000">
                          <a:solidFill>
                            <a:schemeClr val="tx1"/>
                          </a:solidFill>
                          <a:latin typeface="+mn-lt"/>
                          <a:ea typeface="+mn-ea"/>
                          <a:cs typeface="+mn-cs"/>
                        </a:rPr>
                        <a:t>1</a:t>
                      </a:r>
                      <a:endParaRPr lang="en-US" sz="1100"/>
                    </a:p>
                    <a:p>
                      <a:pPr marL="171450" indent="-171450">
                        <a:buFont typeface="Arial" panose="020B0604020202020204" pitchFamily="34" charset="0"/>
                        <a:buChar char="•"/>
                      </a:pPr>
                      <a:r>
                        <a:rPr lang="en-US" sz="1100"/>
                        <a:t>Troux</a:t>
                      </a:r>
                      <a:r>
                        <a:rPr lang="en-US" sz="1100" kern="1200" baseline="30000">
                          <a:solidFill>
                            <a:schemeClr val="tx1"/>
                          </a:solidFill>
                          <a:latin typeface="+mn-lt"/>
                          <a:ea typeface="+mn-ea"/>
                          <a:cs typeface="+mn-cs"/>
                        </a:rPr>
                        <a:t>1</a:t>
                      </a:r>
                      <a:endParaRPr lang="en-US" sz="1100"/>
                    </a:p>
                    <a:p>
                      <a:pPr marL="171450" indent="-171450">
                        <a:buFont typeface="Arial" panose="020B0604020202020204" pitchFamily="34" charset="0"/>
                        <a:buChar char="•"/>
                      </a:pPr>
                      <a:r>
                        <a:rPr lang="en-US" sz="1100"/>
                        <a:t>Twilio</a:t>
                      </a:r>
                      <a:r>
                        <a:rPr lang="en-US" sz="1100" kern="1200" baseline="30000">
                          <a:solidFill>
                            <a:schemeClr val="tx1"/>
                          </a:solidFill>
                          <a:latin typeface="+mn-lt"/>
                          <a:ea typeface="+mn-ea"/>
                          <a:cs typeface="+mn-cs"/>
                        </a:rPr>
                        <a:t>1</a:t>
                      </a:r>
                      <a:endParaRPr lang="en-US" sz="1100"/>
                    </a:p>
                    <a:p>
                      <a:pPr marL="171450" indent="-171450">
                        <a:buFont typeface="Arial" panose="020B0604020202020204" pitchFamily="34" charset="0"/>
                        <a:buChar char="•"/>
                      </a:pPr>
                      <a:r>
                        <a:rPr lang="en-US" sz="1100"/>
                        <a:t>tyGraph</a:t>
                      </a:r>
                      <a:r>
                        <a:rPr lang="en-US" sz="1100" kern="1200" baseline="30000">
                          <a:solidFill>
                            <a:schemeClr val="tx1"/>
                          </a:solidFill>
                          <a:latin typeface="+mn-lt"/>
                          <a:ea typeface="+mn-ea"/>
                          <a:cs typeface="+mn-cs"/>
                        </a:rPr>
                        <a:t>1</a:t>
                      </a:r>
                      <a:endParaRPr lang="en-US" sz="1100"/>
                    </a:p>
                    <a:p>
                      <a:pPr marL="171450" indent="-171450">
                        <a:buFont typeface="Arial" panose="020B0604020202020204" pitchFamily="34" charset="0"/>
                        <a:buChar char="•"/>
                      </a:pPr>
                      <a:r>
                        <a:rPr lang="en-US" sz="1100"/>
                        <a:t>Visual Studio Team Services</a:t>
                      </a:r>
                      <a:r>
                        <a:rPr lang="en-US" sz="1100" kern="1200" baseline="30000">
                          <a:solidFill>
                            <a:schemeClr val="tx1"/>
                          </a:solidFill>
                          <a:latin typeface="+mn-lt"/>
                          <a:ea typeface="+mn-ea"/>
                          <a:cs typeface="+mn-cs"/>
                        </a:rPr>
                        <a:t>1</a:t>
                      </a:r>
                      <a:endParaRPr lang="en-US" sz="1100"/>
                    </a:p>
                    <a:p>
                      <a:pPr marL="171450" marR="0" lvl="0" indent="-17145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a:t>Webtrends</a:t>
                      </a:r>
                      <a:r>
                        <a:rPr lang="en-US" sz="1100" kern="1200" baseline="30000">
                          <a:solidFill>
                            <a:schemeClr val="tx1"/>
                          </a:solidFill>
                          <a:latin typeface="+mn-lt"/>
                          <a:ea typeface="+mn-ea"/>
                          <a:cs typeface="+mn-cs"/>
                        </a:rPr>
                        <a:t>1</a:t>
                      </a:r>
                      <a:endParaRPr lang="en-US" sz="1100"/>
                    </a:p>
                    <a:p>
                      <a:pPr marL="171450" indent="-171450">
                        <a:buFont typeface="Arial" panose="020B0604020202020204" pitchFamily="34" charset="0"/>
                        <a:buChar char="•"/>
                      </a:pPr>
                      <a:r>
                        <a:rPr lang="en-US" sz="1100"/>
                        <a:t>ZenDesk</a:t>
                      </a:r>
                      <a:r>
                        <a:rPr lang="en-US" sz="1100" kern="1200" baseline="30000">
                          <a:solidFill>
                            <a:schemeClr val="tx1"/>
                          </a:solidFill>
                          <a:latin typeface="+mn-lt"/>
                          <a:ea typeface="+mn-ea"/>
                          <a:cs typeface="+mn-cs"/>
                        </a:rPr>
                        <a:t>1</a:t>
                      </a:r>
                      <a:endParaRPr lang="en-US" sz="11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171450" indent="-171450">
                        <a:buFont typeface="Arial" panose="020B0604020202020204" pitchFamily="34" charset="0"/>
                        <a:buChar char="•"/>
                      </a:pPr>
                      <a:r>
                        <a:rPr lang="en-US" sz="1100" dirty="0"/>
                        <a:t>Web</a:t>
                      </a:r>
                    </a:p>
                    <a:p>
                      <a:pPr marL="171450" indent="-171450">
                        <a:buFont typeface="Arial" panose="020B0604020202020204" pitchFamily="34" charset="0"/>
                        <a:buChar char="•"/>
                      </a:pPr>
                      <a:r>
                        <a:rPr lang="en-US" sz="1100" dirty="0"/>
                        <a:t>SharePoint</a:t>
                      </a:r>
                      <a:r>
                        <a:rPr lang="en-US" sz="1100" baseline="0" dirty="0"/>
                        <a:t> List</a:t>
                      </a:r>
                      <a:endParaRPr lang="en-US" sz="1100" dirty="0"/>
                    </a:p>
                    <a:p>
                      <a:pPr marL="171450" indent="-171450">
                        <a:buFont typeface="Arial" panose="020B0604020202020204" pitchFamily="34" charset="0"/>
                        <a:buChar char="•"/>
                      </a:pPr>
                      <a:r>
                        <a:rPr lang="en-US" sz="1100" dirty="0"/>
                        <a:t>OData Feed</a:t>
                      </a:r>
                    </a:p>
                    <a:p>
                      <a:pPr marL="171450" indent="-171450">
                        <a:buFont typeface="Arial" panose="020B0604020202020204" pitchFamily="34" charset="0"/>
                        <a:buChar char="•"/>
                      </a:pPr>
                      <a:r>
                        <a:rPr lang="en-US" sz="1100" dirty="0"/>
                        <a:t>Hadoop File (HDFS)</a:t>
                      </a:r>
                    </a:p>
                    <a:p>
                      <a:pPr marL="171450" indent="-171450">
                        <a:buFont typeface="Arial" panose="020B0604020202020204" pitchFamily="34" charset="0"/>
                        <a:buChar char="•"/>
                      </a:pPr>
                      <a:r>
                        <a:rPr lang="en-US" sz="1100" dirty="0"/>
                        <a:t>Active Directory</a:t>
                      </a:r>
                    </a:p>
                    <a:p>
                      <a:pPr marL="171450" marR="0" lvl="0" indent="-17145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dirty="0"/>
                        <a:t>Microsoft Exchange</a:t>
                      </a:r>
                    </a:p>
                    <a:p>
                      <a:pPr marL="171450" indent="-171450">
                        <a:buFont typeface="Arial" panose="020B0604020202020204" pitchFamily="34" charset="0"/>
                        <a:buChar char="•"/>
                      </a:pPr>
                      <a:r>
                        <a:rPr lang="en-US" sz="1100" dirty="0"/>
                        <a:t>ODBC</a:t>
                      </a:r>
                    </a:p>
                    <a:p>
                      <a:pPr marL="171450" indent="-171450">
                        <a:buFont typeface="Arial" panose="020B0604020202020204" pitchFamily="34" charset="0"/>
                        <a:buChar char="•"/>
                      </a:pPr>
                      <a:r>
                        <a:rPr lang="en-US" sz="1100" dirty="0"/>
                        <a:t>OLE DB</a:t>
                      </a:r>
                    </a:p>
                    <a:p>
                      <a:pPr marL="171450" indent="-171450">
                        <a:buFont typeface="Arial" panose="020B0604020202020204" pitchFamily="34" charset="0"/>
                        <a:buChar char="•"/>
                      </a:pPr>
                      <a:r>
                        <a:rPr lang="en-US" sz="1100" dirty="0"/>
                        <a:t>R Script</a:t>
                      </a:r>
                    </a:p>
                    <a:p>
                      <a:pPr marL="171450" indent="-171450">
                        <a:buFont typeface="Arial" panose="020B0604020202020204" pitchFamily="34" charset="0"/>
                        <a:buChar char="•"/>
                      </a:pPr>
                      <a:r>
                        <a:rPr lang="en-US" sz="1100" dirty="0"/>
                        <a:t>Spark</a:t>
                      </a:r>
                      <a:r>
                        <a:rPr lang="en-US" sz="1100" kern="1200" baseline="30000" dirty="0">
                          <a:solidFill>
                            <a:schemeClr val="tx1"/>
                          </a:solidFill>
                          <a:latin typeface="+mn-lt"/>
                          <a:ea typeface="+mn-ea"/>
                          <a:cs typeface="+mn-cs"/>
                        </a:rPr>
                        <a:t>1</a:t>
                      </a:r>
                      <a:endParaRPr lang="en-US" sz="1100" dirty="0"/>
                    </a:p>
                    <a:p>
                      <a:pPr marL="171450" marR="0" lvl="0" indent="-17145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dirty="0"/>
                        <a:t>Blank Query</a:t>
                      </a:r>
                    </a:p>
                    <a:p>
                      <a:pPr marL="171450" marR="0" lvl="0" indent="-17145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100" dirty="0"/>
                    </a:p>
                    <a:p>
                      <a:pPr marL="171450" marR="0" lvl="0" indent="-17145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100" dirty="0"/>
                    </a:p>
                    <a:p>
                      <a:pPr marL="171450" marR="0" lvl="0" indent="-17145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100" dirty="0"/>
                    </a:p>
                    <a:p>
                      <a:pPr marL="171450" marR="0" lvl="0" indent="-17145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100" dirty="0"/>
                    </a:p>
                    <a:p>
                      <a:pPr marL="171450" marR="0" lvl="0" indent="-17145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100" dirty="0"/>
                    </a:p>
                    <a:p>
                      <a:pPr marL="171450" marR="0" lvl="0" indent="-17145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100" dirty="0"/>
                    </a:p>
                    <a:p>
                      <a:pPr marL="171450" marR="0" lvl="0" indent="-17145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100" dirty="0"/>
                    </a:p>
                    <a:p>
                      <a:pPr marL="171450" marR="0" lvl="0" indent="-17145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100" dirty="0"/>
                    </a:p>
                    <a:p>
                      <a:pPr marL="0" marR="0" lvl="0" indent="0" algn="l" defTabSz="914367"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100" kern="1200" baseline="30000" dirty="0">
                          <a:solidFill>
                            <a:schemeClr val="tx1"/>
                          </a:solidFill>
                          <a:latin typeface="+mn-lt"/>
                          <a:ea typeface="+mn-ea"/>
                          <a:cs typeface="+mn-cs"/>
                        </a:rPr>
                        <a:t>1</a:t>
                      </a:r>
                      <a:r>
                        <a:rPr lang="en-US" sz="1100" kern="1200" dirty="0">
                          <a:solidFill>
                            <a:schemeClr val="tx1"/>
                          </a:solidFill>
                          <a:latin typeface="+mn-lt"/>
                          <a:ea typeface="+mn-ea"/>
                          <a:cs typeface="+mn-cs"/>
                        </a:rPr>
                        <a:t> In Beta</a:t>
                      </a:r>
                      <a:endParaRPr lang="en-US" sz="11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1"/>
                  </a:ext>
                </a:extLst>
              </a:tr>
            </a:tbl>
          </a:graphicData>
        </a:graphic>
      </p:graphicFrame>
      <p:sp>
        <p:nvSpPr>
          <p:cNvPr id="3" name="Text Placeholder 2"/>
          <p:cNvSpPr>
            <a:spLocks noGrp="1"/>
          </p:cNvSpPr>
          <p:nvPr>
            <p:ph type="body" sz="quarter" idx="4294967295"/>
          </p:nvPr>
        </p:nvSpPr>
        <p:spPr>
          <a:xfrm>
            <a:off x="2974975" y="5168900"/>
            <a:ext cx="9217025" cy="2541588"/>
          </a:xfrm>
        </p:spPr>
        <p:txBody>
          <a:bodyPr vert="horz" wrap="square" lIns="182880" tIns="146304" rIns="182880" bIns="146304" rtlCol="0">
            <a:noAutofit/>
          </a:bodyPr>
          <a:lstStyle/>
          <a:p>
            <a:pPr marL="342900" indent="-342900" defTabSz="914400" fontAlgn="base">
              <a:lnSpc>
                <a:spcPct val="100000"/>
              </a:lnSpc>
              <a:spcBef>
                <a:spcPts val="0"/>
              </a:spcBef>
              <a:spcAft>
                <a:spcPts val="300"/>
              </a:spcAft>
              <a:buFont typeface="Symbol" panose="05050102010706020507" pitchFamily="18" charset="2"/>
              <a:buChar char=""/>
            </a:pPr>
            <a:r>
              <a:rPr lang="en-US" sz="1800">
                <a:solidFill>
                  <a:schemeClr val="tx1"/>
                </a:solidFill>
                <a:ea typeface="Calibri" panose="020F0502020204030204" pitchFamily="34" charset="0"/>
                <a:cs typeface="Times New Roman" panose="02020603050405020304" pitchFamily="18" charset="0"/>
              </a:rPr>
              <a:t>The available data sources are </a:t>
            </a:r>
            <a:r>
              <a:rPr lang="en-US" sz="1800" b="1">
                <a:solidFill>
                  <a:schemeClr val="tx1"/>
                </a:solidFill>
                <a:ea typeface="Calibri" panose="020F0502020204030204" pitchFamily="34" charset="0"/>
                <a:cs typeface="Times New Roman" panose="02020603050405020304" pitchFamily="18" charset="0"/>
              </a:rPr>
              <a:t>constantly evolving</a:t>
            </a:r>
          </a:p>
          <a:p>
            <a:pPr marL="342900" indent="-342900" defTabSz="914400" fontAlgn="base">
              <a:lnSpc>
                <a:spcPct val="100000"/>
              </a:lnSpc>
              <a:spcBef>
                <a:spcPts val="0"/>
              </a:spcBef>
              <a:spcAft>
                <a:spcPts val="300"/>
              </a:spcAft>
              <a:buFont typeface="Symbol" panose="05050102010706020507" pitchFamily="18" charset="2"/>
              <a:buChar char=""/>
            </a:pPr>
            <a:r>
              <a:rPr lang="en-US" sz="1800">
                <a:solidFill>
                  <a:schemeClr val="tx1"/>
                </a:solidFill>
                <a:ea typeface="Calibri" panose="020F0502020204030204" pitchFamily="34" charset="0"/>
                <a:cs typeface="Times New Roman" panose="02020603050405020304" pitchFamily="18" charset="0"/>
              </a:rPr>
              <a:t>Some of them support </a:t>
            </a:r>
            <a:r>
              <a:rPr lang="en-US" sz="1800" b="1">
                <a:solidFill>
                  <a:schemeClr val="tx1"/>
                </a:solidFill>
                <a:ea typeface="Calibri" panose="020F0502020204030204" pitchFamily="34" charset="0"/>
                <a:cs typeface="Times New Roman" panose="02020603050405020304" pitchFamily="18" charset="0"/>
              </a:rPr>
              <a:t>Direct Query (DQ). </a:t>
            </a:r>
            <a:r>
              <a:rPr lang="en-US" sz="1800">
                <a:solidFill>
                  <a:schemeClr val="tx1"/>
                </a:solidFill>
                <a:ea typeface="Calibri" panose="020F0502020204030204" pitchFamily="34" charset="0"/>
                <a:cs typeface="Times New Roman" panose="02020603050405020304" pitchFamily="18" charset="0"/>
              </a:rPr>
              <a:t>No data is imported but </a:t>
            </a:r>
            <a:r>
              <a:rPr lang="en-US" sz="1800" b="1">
                <a:solidFill>
                  <a:schemeClr val="tx1"/>
                </a:solidFill>
                <a:ea typeface="Calibri" panose="020F0502020204030204" pitchFamily="34" charset="0"/>
                <a:cs typeface="Times New Roman" panose="02020603050405020304" pitchFamily="18" charset="0"/>
              </a:rPr>
              <a:t>cannot mix import modes or data sources</a:t>
            </a:r>
            <a:endParaRPr lang="en-US" sz="1800">
              <a:solidFill>
                <a:schemeClr val="tx1"/>
              </a:solidFill>
              <a:ea typeface="Calibri" panose="020F0502020204030204" pitchFamily="34" charset="0"/>
              <a:cs typeface="Times New Roman" panose="02020603050405020304" pitchFamily="18" charset="0"/>
            </a:endParaRPr>
          </a:p>
          <a:p>
            <a:pPr marL="342900" indent="-342900" defTabSz="914400" fontAlgn="base">
              <a:lnSpc>
                <a:spcPct val="100000"/>
              </a:lnSpc>
              <a:spcBef>
                <a:spcPts val="0"/>
              </a:spcBef>
              <a:spcAft>
                <a:spcPts val="300"/>
              </a:spcAft>
              <a:buFont typeface="Symbol" panose="05050102010706020507" pitchFamily="18" charset="2"/>
              <a:buChar char=""/>
            </a:pPr>
            <a:r>
              <a:rPr lang="en-US" sz="1800">
                <a:solidFill>
                  <a:schemeClr val="tx1"/>
                </a:solidFill>
                <a:ea typeface="Calibri" panose="020F0502020204030204" pitchFamily="34" charset="0"/>
                <a:cs typeface="Times New Roman" panose="02020603050405020304" pitchFamily="18" charset="0"/>
              </a:rPr>
              <a:t>There are also some </a:t>
            </a:r>
            <a:r>
              <a:rPr lang="en-US" sz="1800" b="1">
                <a:solidFill>
                  <a:schemeClr val="tx1"/>
                </a:solidFill>
                <a:ea typeface="Calibri" panose="020F0502020204030204" pitchFamily="34" charset="0"/>
                <a:cs typeface="Times New Roman" panose="02020603050405020304" pitchFamily="18" charset="0"/>
              </a:rPr>
              <a:t>limitations on the transformations </a:t>
            </a:r>
            <a:r>
              <a:rPr lang="en-US" sz="1800">
                <a:solidFill>
                  <a:schemeClr val="tx1"/>
                </a:solidFill>
                <a:ea typeface="Calibri" panose="020F0502020204030204" pitchFamily="34" charset="0"/>
                <a:cs typeface="Times New Roman" panose="02020603050405020304" pitchFamily="18" charset="0"/>
              </a:rPr>
              <a:t>that can be done </a:t>
            </a:r>
            <a:r>
              <a:rPr lang="en-US" sz="1800" b="1">
                <a:solidFill>
                  <a:schemeClr val="tx1"/>
                </a:solidFill>
                <a:ea typeface="Calibri" panose="020F0502020204030204" pitchFamily="34" charset="0"/>
                <a:cs typeface="Times New Roman" panose="02020603050405020304" pitchFamily="18" charset="0"/>
              </a:rPr>
              <a:t>with DQ</a:t>
            </a:r>
          </a:p>
          <a:p>
            <a:pPr marL="342900" indent="-342900" defTabSz="914400" fontAlgn="base">
              <a:lnSpc>
                <a:spcPct val="100000"/>
              </a:lnSpc>
              <a:spcBef>
                <a:spcPts val="0"/>
              </a:spcBef>
              <a:spcAft>
                <a:spcPts val="300"/>
              </a:spcAft>
              <a:buFont typeface="Symbol" panose="05050102010706020507" pitchFamily="18" charset="2"/>
              <a:buChar char=""/>
            </a:pPr>
            <a:endParaRPr lang="en-US" sz="1800">
              <a:solidFill>
                <a:schemeClr val="tx1"/>
              </a:solidFill>
              <a:ea typeface="Calibri" panose="020F0502020204030204" pitchFamily="34" charset="0"/>
              <a:cs typeface="Times New Roman" panose="02020603050405020304" pitchFamily="18" charset="0"/>
            </a:endParaRPr>
          </a:p>
        </p:txBody>
      </p:sp>
      <p:sp>
        <p:nvSpPr>
          <p:cNvPr id="52" name="Rectangle 3"/>
          <p:cNvSpPr/>
          <p:nvPr/>
        </p:nvSpPr>
        <p:spPr bwMode="auto">
          <a:xfrm>
            <a:off x="3202216" y="665151"/>
            <a:ext cx="8105312" cy="44435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1" u="none" strike="noStrike" kern="1200" cap="none" spc="0" normalizeH="0" baseline="0" noProof="0">
                <a:ln>
                  <a:noFill/>
                </a:ln>
                <a:solidFill>
                  <a:prstClr val="black"/>
                </a:solidFill>
                <a:effectLst/>
                <a:uLnTx/>
                <a:uFillTx/>
                <a:latin typeface="Segoe UI Light"/>
                <a:ea typeface="+mn-ea"/>
                <a:cs typeface="+mn-cs"/>
              </a:rPr>
              <a:t>Data sources available through Power BI Desktop </a:t>
            </a:r>
            <a:r>
              <a:rPr kumimoji="0" lang="en-US" sz="1400" b="0" i="1" u="none" strike="noStrike" kern="1200" cap="none" spc="0" normalizeH="0" baseline="0" noProof="0">
                <a:ln>
                  <a:noFill/>
                </a:ln>
                <a:solidFill>
                  <a:prstClr val="black"/>
                </a:solidFill>
                <a:effectLst/>
                <a:uLnTx/>
                <a:uFillTx/>
                <a:latin typeface="Segoe UI Light"/>
                <a:ea typeface="+mn-ea"/>
                <a:cs typeface="+mn-cs"/>
              </a:rPr>
              <a:t>(not all listed)</a:t>
            </a:r>
            <a:endParaRPr kumimoji="0" lang="en-US" sz="2000" b="0" i="1" u="none" strike="noStrike" kern="1200" cap="none" spc="0" normalizeH="0" baseline="0" noProof="0">
              <a:ln>
                <a:noFill/>
              </a:ln>
              <a:solidFill>
                <a:prstClr val="black"/>
              </a:solidFill>
              <a:effectLst/>
              <a:uLnTx/>
              <a:uFillTx/>
              <a:latin typeface="Segoe UI Light"/>
              <a:ea typeface="+mn-ea"/>
              <a:cs typeface="+mn-cs"/>
            </a:endParaRPr>
          </a:p>
        </p:txBody>
      </p:sp>
      <p:grpSp>
        <p:nvGrpSpPr>
          <p:cNvPr id="4" name="Group 3"/>
          <p:cNvGrpSpPr/>
          <p:nvPr/>
        </p:nvGrpSpPr>
        <p:grpSpPr>
          <a:xfrm>
            <a:off x="-11149" y="0"/>
            <a:ext cx="2849058" cy="6858000"/>
            <a:chOff x="2" y="1"/>
            <a:chExt cx="2849058" cy="6858000"/>
          </a:xfrm>
        </p:grpSpPr>
        <p:sp>
          <p:nvSpPr>
            <p:cNvPr id="70" name="Rectangle 69"/>
            <p:cNvSpPr/>
            <p:nvPr/>
          </p:nvSpPr>
          <p:spPr bwMode="auto">
            <a:xfrm>
              <a:off x="2" y="1"/>
              <a:ext cx="2849058"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5" name="Oval 70"/>
            <p:cNvSpPr/>
            <p:nvPr/>
          </p:nvSpPr>
          <p:spPr>
            <a:xfrm>
              <a:off x="1413521" y="4951537"/>
              <a:ext cx="1119626" cy="1119626"/>
            </a:xfrm>
            <a:prstGeom prst="ellipse">
              <a:avLst/>
            </a:prstGeom>
            <a:solidFill>
              <a:srgbClr val="F2C812"/>
            </a:solidFill>
            <a:ln w="3175" cap="flat" cmpd="sng" algn="ctr">
              <a:noFill/>
              <a:prstDash val="solid"/>
            </a:ln>
            <a:effectLst/>
          </p:spPr>
          <p:txBody>
            <a:bodyPr vert="horz" wrap="none" lIns="0" tIns="45720" rIns="0" bIns="0" rtlCol="0" anchor="t"/>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Segoe UI"/>
                  <a:ea typeface="Segoe UI" pitchFamily="34" charset="0"/>
                  <a:cs typeface="Segoe UI" pitchFamily="34" charset="0"/>
                </a:rPr>
                <a:t>Share &amp;</a:t>
              </a:r>
            </a:p>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Segoe UI"/>
                  <a:ea typeface="Segoe UI" pitchFamily="34" charset="0"/>
                  <a:cs typeface="Segoe UI" pitchFamily="34" charset="0"/>
                </a:rPr>
                <a:t>collaborate </a:t>
              </a:r>
            </a:p>
          </p:txBody>
        </p:sp>
        <p:grpSp>
          <p:nvGrpSpPr>
            <p:cNvPr id="66" name="Group 38"/>
            <p:cNvGrpSpPr>
              <a:grpSpLocks noChangeAspect="1"/>
            </p:cNvGrpSpPr>
            <p:nvPr/>
          </p:nvGrpSpPr>
          <p:grpSpPr>
            <a:xfrm>
              <a:off x="676996" y="3930692"/>
              <a:ext cx="383905" cy="351536"/>
              <a:chOff x="4363684" y="5330386"/>
              <a:chExt cx="1409956" cy="1291077"/>
            </a:xfrm>
            <a:solidFill>
              <a:srgbClr val="217346"/>
            </a:solidFill>
          </p:grpSpPr>
          <p:sp>
            <p:nvSpPr>
              <p:cNvPr id="67" name="Donut 3"/>
              <p:cNvSpPr/>
              <p:nvPr/>
            </p:nvSpPr>
            <p:spPr bwMode="auto">
              <a:xfrm>
                <a:off x="4363684" y="5330386"/>
                <a:ext cx="1409956" cy="1291077"/>
              </a:xfrm>
              <a:custGeom>
                <a:avLst/>
                <a:gdLst/>
                <a:ahLst/>
                <a:cxnLst/>
                <a:rect l="l" t="t" r="r" b="b"/>
                <a:pathLst>
                  <a:path w="1409956" h="1291077">
                    <a:moveTo>
                      <a:pt x="956401" y="78410"/>
                    </a:moveTo>
                    <a:cubicBezTo>
                      <a:pt x="747518" y="78410"/>
                      <a:pt x="578184" y="247744"/>
                      <a:pt x="578184" y="456627"/>
                    </a:cubicBezTo>
                    <a:cubicBezTo>
                      <a:pt x="578184" y="665510"/>
                      <a:pt x="747518" y="834844"/>
                      <a:pt x="956401" y="834844"/>
                    </a:cubicBezTo>
                    <a:cubicBezTo>
                      <a:pt x="1165284" y="834844"/>
                      <a:pt x="1334618" y="665510"/>
                      <a:pt x="1334618" y="456627"/>
                    </a:cubicBezTo>
                    <a:cubicBezTo>
                      <a:pt x="1334618" y="247744"/>
                      <a:pt x="1165284" y="78410"/>
                      <a:pt x="956401" y="78410"/>
                    </a:cubicBezTo>
                    <a:close/>
                    <a:moveTo>
                      <a:pt x="952756" y="0"/>
                    </a:moveTo>
                    <a:cubicBezTo>
                      <a:pt x="1205261" y="0"/>
                      <a:pt x="1409956" y="204695"/>
                      <a:pt x="1409956" y="457200"/>
                    </a:cubicBezTo>
                    <a:cubicBezTo>
                      <a:pt x="1409956" y="709705"/>
                      <a:pt x="1205261" y="914400"/>
                      <a:pt x="952756" y="914400"/>
                    </a:cubicBezTo>
                    <a:cubicBezTo>
                      <a:pt x="862133" y="914400"/>
                      <a:pt x="777669" y="888034"/>
                      <a:pt x="707132" y="841746"/>
                    </a:cubicBezTo>
                    <a:lnTo>
                      <a:pt x="136495" y="1280102"/>
                    </a:lnTo>
                    <a:cubicBezTo>
                      <a:pt x="21896" y="1327168"/>
                      <a:pt x="-44029" y="1213730"/>
                      <a:pt x="33797" y="1113182"/>
                    </a:cubicBezTo>
                    <a:lnTo>
                      <a:pt x="568587" y="703518"/>
                    </a:lnTo>
                    <a:cubicBezTo>
                      <a:pt x="522087" y="632814"/>
                      <a:pt x="495556" y="548105"/>
                      <a:pt x="495556" y="457200"/>
                    </a:cubicBezTo>
                    <a:cubicBezTo>
                      <a:pt x="495556" y="204695"/>
                      <a:pt x="700251" y="0"/>
                      <a:pt x="952756" y="0"/>
                    </a:cubicBezTo>
                    <a:close/>
                  </a:path>
                </a:pathLst>
              </a:custGeom>
              <a:grpFill/>
              <a:ln>
                <a:solidFill>
                  <a:srgbClr val="21734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sp>
            <p:nvSpPr>
              <p:cNvPr id="68" name="Rectangle 4"/>
              <p:cNvSpPr/>
              <p:nvPr/>
            </p:nvSpPr>
            <p:spPr>
              <a:xfrm>
                <a:off x="5058389" y="5528247"/>
                <a:ext cx="490885" cy="490020"/>
              </a:xfrm>
              <a:custGeom>
                <a:avLst/>
                <a:gdLst/>
                <a:ahLst/>
                <a:cxnLst/>
                <a:rect l="l" t="t" r="r" b="b"/>
                <a:pathLst>
                  <a:path w="490885" h="490020">
                    <a:moveTo>
                      <a:pt x="240752" y="0"/>
                    </a:moveTo>
                    <a:cubicBezTo>
                      <a:pt x="253961" y="11844"/>
                      <a:pt x="293310" y="49692"/>
                      <a:pt x="337332" y="92439"/>
                    </a:cubicBezTo>
                    <a:lnTo>
                      <a:pt x="328342" y="81259"/>
                    </a:lnTo>
                    <a:cubicBezTo>
                      <a:pt x="356946" y="111282"/>
                      <a:pt x="377251" y="107167"/>
                      <a:pt x="382515" y="87941"/>
                    </a:cubicBezTo>
                    <a:cubicBezTo>
                      <a:pt x="383951" y="76921"/>
                      <a:pt x="384595" y="68732"/>
                      <a:pt x="396997" y="52239"/>
                    </a:cubicBezTo>
                    <a:cubicBezTo>
                      <a:pt x="420362" y="32084"/>
                      <a:pt x="442294" y="41736"/>
                      <a:pt x="454920" y="51330"/>
                    </a:cubicBezTo>
                    <a:cubicBezTo>
                      <a:pt x="467834" y="62761"/>
                      <a:pt x="477920" y="86882"/>
                      <a:pt x="460392" y="109714"/>
                    </a:cubicBezTo>
                    <a:cubicBezTo>
                      <a:pt x="451128" y="121912"/>
                      <a:pt x="437554" y="126838"/>
                      <a:pt x="425922" y="126505"/>
                    </a:cubicBezTo>
                    <a:cubicBezTo>
                      <a:pt x="424301" y="127609"/>
                      <a:pt x="382890" y="134974"/>
                      <a:pt x="427348" y="177672"/>
                    </a:cubicBezTo>
                    <a:lnTo>
                      <a:pt x="416886" y="169735"/>
                    </a:lnTo>
                    <a:cubicBezTo>
                      <a:pt x="450207" y="202177"/>
                      <a:pt x="478424" y="229744"/>
                      <a:pt x="490885" y="241900"/>
                    </a:cubicBezTo>
                    <a:lnTo>
                      <a:pt x="417150" y="317347"/>
                    </a:lnTo>
                    <a:cubicBezTo>
                      <a:pt x="417744" y="316535"/>
                      <a:pt x="418443" y="316123"/>
                      <a:pt x="419047" y="315822"/>
                    </a:cubicBezTo>
                    <a:cubicBezTo>
                      <a:pt x="389023" y="344426"/>
                      <a:pt x="393138" y="364731"/>
                      <a:pt x="412364" y="369995"/>
                    </a:cubicBezTo>
                    <a:cubicBezTo>
                      <a:pt x="423384" y="371431"/>
                      <a:pt x="431574" y="372075"/>
                      <a:pt x="448067" y="384477"/>
                    </a:cubicBezTo>
                    <a:cubicBezTo>
                      <a:pt x="468221" y="407842"/>
                      <a:pt x="458569" y="429774"/>
                      <a:pt x="448975" y="442400"/>
                    </a:cubicBezTo>
                    <a:cubicBezTo>
                      <a:pt x="437545" y="455314"/>
                      <a:pt x="413423" y="465400"/>
                      <a:pt x="390591" y="447872"/>
                    </a:cubicBezTo>
                    <a:cubicBezTo>
                      <a:pt x="378394" y="438608"/>
                      <a:pt x="373468" y="425034"/>
                      <a:pt x="373800" y="413402"/>
                    </a:cubicBezTo>
                    <a:cubicBezTo>
                      <a:pt x="372696" y="411781"/>
                      <a:pt x="365332" y="370370"/>
                      <a:pt x="322634" y="414828"/>
                    </a:cubicBezTo>
                    <a:lnTo>
                      <a:pt x="325243" y="411388"/>
                    </a:lnTo>
                    <a:lnTo>
                      <a:pt x="248395" y="490020"/>
                    </a:lnTo>
                    <a:cubicBezTo>
                      <a:pt x="208939" y="451897"/>
                      <a:pt x="199129" y="442073"/>
                      <a:pt x="174192" y="418236"/>
                    </a:cubicBezTo>
                    <a:cubicBezTo>
                      <a:pt x="145587" y="388212"/>
                      <a:pt x="125282" y="392327"/>
                      <a:pt x="120018" y="411553"/>
                    </a:cubicBezTo>
                    <a:cubicBezTo>
                      <a:pt x="118582" y="422573"/>
                      <a:pt x="117938" y="430763"/>
                      <a:pt x="105536" y="447256"/>
                    </a:cubicBezTo>
                    <a:cubicBezTo>
                      <a:pt x="82171" y="467410"/>
                      <a:pt x="60239" y="457758"/>
                      <a:pt x="47614" y="448164"/>
                    </a:cubicBezTo>
                    <a:cubicBezTo>
                      <a:pt x="34699" y="436734"/>
                      <a:pt x="24614" y="412612"/>
                      <a:pt x="42141" y="389780"/>
                    </a:cubicBezTo>
                    <a:cubicBezTo>
                      <a:pt x="51405" y="377583"/>
                      <a:pt x="64979" y="372657"/>
                      <a:pt x="76612" y="372989"/>
                    </a:cubicBezTo>
                    <a:cubicBezTo>
                      <a:pt x="78232" y="371886"/>
                      <a:pt x="119644" y="364521"/>
                      <a:pt x="75186" y="321823"/>
                    </a:cubicBezTo>
                    <a:cubicBezTo>
                      <a:pt x="58767" y="305402"/>
                      <a:pt x="23648" y="271235"/>
                      <a:pt x="0" y="248738"/>
                    </a:cubicBezTo>
                    <a:lnTo>
                      <a:pt x="77303" y="168146"/>
                    </a:lnTo>
                    <a:cubicBezTo>
                      <a:pt x="104269" y="140313"/>
                      <a:pt x="122130" y="156409"/>
                      <a:pt x="124388" y="175543"/>
                    </a:cubicBezTo>
                    <a:cubicBezTo>
                      <a:pt x="124457" y="182466"/>
                      <a:pt x="127106" y="193106"/>
                      <a:pt x="137575" y="203052"/>
                    </a:cubicBezTo>
                    <a:cubicBezTo>
                      <a:pt x="153931" y="220277"/>
                      <a:pt x="181252" y="217451"/>
                      <a:pt x="196721" y="201951"/>
                    </a:cubicBezTo>
                    <a:cubicBezTo>
                      <a:pt x="211961" y="185740"/>
                      <a:pt x="213057" y="157882"/>
                      <a:pt x="196146" y="142797"/>
                    </a:cubicBezTo>
                    <a:cubicBezTo>
                      <a:pt x="184301" y="132637"/>
                      <a:pt x="177155" y="131453"/>
                      <a:pt x="166513" y="129894"/>
                    </a:cubicBezTo>
                    <a:cubicBezTo>
                      <a:pt x="154522" y="129013"/>
                      <a:pt x="131185" y="112953"/>
                      <a:pt x="157905" y="85228"/>
                    </a:cubicBezTo>
                    <a:close/>
                  </a:path>
                </a:pathLst>
              </a:custGeom>
              <a:grpFill/>
              <a:ln>
                <a:solidFill>
                  <a:srgbClr val="21734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grpSp>
        <p:sp>
          <p:nvSpPr>
            <p:cNvPr id="69" name="Oval 47"/>
            <p:cNvSpPr/>
            <p:nvPr/>
          </p:nvSpPr>
          <p:spPr>
            <a:xfrm>
              <a:off x="388608" y="3710471"/>
              <a:ext cx="1119626" cy="1119626"/>
            </a:xfrm>
            <a:prstGeom prst="ellipse">
              <a:avLst/>
            </a:prstGeom>
            <a:solidFill>
              <a:srgbClr val="F2C812"/>
            </a:solidFill>
            <a:ln w="3175" cap="flat" cmpd="sng" algn="ctr">
              <a:noFill/>
              <a:prstDash val="solid"/>
            </a:ln>
            <a:effectLst/>
          </p:spPr>
          <p:txBody>
            <a:bodyPr vert="horz" wrap="none" lIns="0" tIns="45720" rIns="0" bIns="0" rtlCol="0" anchor="t"/>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Segoe UI"/>
                  <a:ea typeface="Segoe UI" pitchFamily="34" charset="0"/>
                  <a:cs typeface="Segoe UI" pitchFamily="34" charset="0"/>
                </a:rPr>
                <a:t>Report</a:t>
              </a:r>
            </a:p>
          </p:txBody>
        </p:sp>
        <p:sp>
          <p:nvSpPr>
            <p:cNvPr id="85" name="Oval 950"/>
            <p:cNvSpPr/>
            <p:nvPr/>
          </p:nvSpPr>
          <p:spPr>
            <a:xfrm>
              <a:off x="388608" y="1252295"/>
              <a:ext cx="1119626" cy="1119626"/>
            </a:xfrm>
            <a:prstGeom prst="ellipse">
              <a:avLst/>
            </a:prstGeom>
            <a:solidFill>
              <a:srgbClr val="F2C812"/>
            </a:solidFill>
            <a:ln w="3175" cap="flat" cmpd="sng" algn="ctr">
              <a:noFill/>
              <a:prstDash val="solid"/>
            </a:ln>
            <a:effectLst/>
          </p:spPr>
          <p:txBody>
            <a:bodyPr vert="horz" wrap="none" lIns="0" tIns="45720" rIns="0" bIns="0" rtlCol="0" anchor="t"/>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1" i="0" u="none" strike="noStrike" kern="1200" cap="none" spc="0" normalizeH="0" baseline="0" noProof="0">
                <a:ln>
                  <a:noFill/>
                </a:ln>
                <a:solidFill>
                  <a:srgbClr val="217346"/>
                </a:solidFill>
                <a:effectLst/>
                <a:uLnTx/>
                <a:uFillTx/>
                <a:latin typeface="Segoe UI"/>
                <a:ea typeface="Segoe UI" pitchFamily="34" charset="0"/>
                <a:cs typeface="Segoe UI" pitchFamily="34" charset="0"/>
              </a:endParaRPr>
            </a:p>
          </p:txBody>
        </p:sp>
        <p:grpSp>
          <p:nvGrpSpPr>
            <p:cNvPr id="86" name="Group 85"/>
            <p:cNvGrpSpPr/>
            <p:nvPr/>
          </p:nvGrpSpPr>
          <p:grpSpPr>
            <a:xfrm>
              <a:off x="1264851" y="3482890"/>
              <a:ext cx="292254" cy="354906"/>
              <a:chOff x="1296521" y="3253388"/>
              <a:chExt cx="292254" cy="354906"/>
            </a:xfrm>
            <a:solidFill>
              <a:srgbClr val="F2C812"/>
            </a:solidFill>
          </p:grpSpPr>
          <p:sp>
            <p:nvSpPr>
              <p:cNvPr id="87" name="Isosceles Triangle 86"/>
              <p:cNvSpPr/>
              <p:nvPr/>
            </p:nvSpPr>
            <p:spPr bwMode="auto">
              <a:xfrm rot="13636515">
                <a:off x="1461362" y="328936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8" name="Isosceles Triangle 87"/>
              <p:cNvSpPr/>
              <p:nvPr/>
            </p:nvSpPr>
            <p:spPr bwMode="auto">
              <a:xfrm rot="13636515">
                <a:off x="1357669" y="338258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9" name="Isosceles Triangle 88"/>
              <p:cNvSpPr/>
              <p:nvPr/>
            </p:nvSpPr>
            <p:spPr bwMode="auto">
              <a:xfrm rot="13636515">
                <a:off x="1260548" y="3480882"/>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90" name="Group 89"/>
            <p:cNvGrpSpPr/>
            <p:nvPr/>
          </p:nvGrpSpPr>
          <p:grpSpPr>
            <a:xfrm rot="15940603">
              <a:off x="1334576" y="2204404"/>
              <a:ext cx="292254" cy="354906"/>
              <a:chOff x="1296521" y="3253388"/>
              <a:chExt cx="292254" cy="354906"/>
            </a:xfrm>
            <a:solidFill>
              <a:srgbClr val="F2C812"/>
            </a:solidFill>
          </p:grpSpPr>
          <p:sp>
            <p:nvSpPr>
              <p:cNvPr id="91" name="Isosceles Triangle 90"/>
              <p:cNvSpPr/>
              <p:nvPr/>
            </p:nvSpPr>
            <p:spPr bwMode="auto">
              <a:xfrm rot="13636515">
                <a:off x="1461362" y="328936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2" name="Isosceles Triangle 91"/>
              <p:cNvSpPr/>
              <p:nvPr/>
            </p:nvSpPr>
            <p:spPr bwMode="auto">
              <a:xfrm rot="13636515">
                <a:off x="1357669" y="338258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3" name="Isosceles Triangle 92"/>
              <p:cNvSpPr/>
              <p:nvPr/>
            </p:nvSpPr>
            <p:spPr bwMode="auto">
              <a:xfrm rot="13636515">
                <a:off x="1260548" y="3480882"/>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94" name="Group 93"/>
            <p:cNvGrpSpPr/>
            <p:nvPr/>
          </p:nvGrpSpPr>
          <p:grpSpPr>
            <a:xfrm rot="16043978">
              <a:off x="1317220" y="4717577"/>
              <a:ext cx="292254" cy="354906"/>
              <a:chOff x="1296521" y="3253388"/>
              <a:chExt cx="292254" cy="354906"/>
            </a:xfrm>
            <a:solidFill>
              <a:srgbClr val="F2C812"/>
            </a:solidFill>
          </p:grpSpPr>
          <p:sp>
            <p:nvSpPr>
              <p:cNvPr id="95" name="Isosceles Triangle 94"/>
              <p:cNvSpPr/>
              <p:nvPr/>
            </p:nvSpPr>
            <p:spPr bwMode="auto">
              <a:xfrm rot="13636515">
                <a:off x="1461362" y="328936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6" name="Isosceles Triangle 95"/>
              <p:cNvSpPr/>
              <p:nvPr/>
            </p:nvSpPr>
            <p:spPr bwMode="auto">
              <a:xfrm rot="13636515">
                <a:off x="1357669" y="338258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7" name="Isosceles Triangle 96"/>
              <p:cNvSpPr/>
              <p:nvPr/>
            </p:nvSpPr>
            <p:spPr bwMode="auto">
              <a:xfrm rot="13636515">
                <a:off x="1260548" y="3480882"/>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98" name="Oval 36"/>
            <p:cNvSpPr/>
            <p:nvPr/>
          </p:nvSpPr>
          <p:spPr>
            <a:xfrm>
              <a:off x="1413521" y="2481383"/>
              <a:ext cx="1119626" cy="1119626"/>
            </a:xfrm>
            <a:prstGeom prst="ellipse">
              <a:avLst/>
            </a:prstGeom>
            <a:solidFill>
              <a:srgbClr val="F2C812"/>
            </a:solidFill>
            <a:ln w="3175" cap="flat" cmpd="sng" algn="ctr">
              <a:noFill/>
              <a:prstDash val="solid"/>
            </a:ln>
            <a:effectLst/>
          </p:spPr>
          <p:txBody>
            <a:bodyPr vert="horz" wrap="none" lIns="0" tIns="0" rIns="0" bIns="0" rtlCol="0" anchor="t"/>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400" b="1" i="0" u="none" strike="noStrike" kern="1200" cap="none" spc="0" normalizeH="0" baseline="0" noProof="0">
                <a:ln>
                  <a:noFill/>
                </a:ln>
                <a:solidFill>
                  <a:srgbClr val="217346"/>
                </a:solidFill>
                <a:effectLst/>
                <a:uLnTx/>
                <a:uFillTx/>
                <a:latin typeface="Segoe UI"/>
                <a:ea typeface="Segoe UI" pitchFamily="34" charset="0"/>
                <a:cs typeface="Segoe UI" pitchFamily="34" charset="0"/>
              </a:endParaRPr>
            </a:p>
          </p:txBody>
        </p:sp>
        <p:sp>
          <p:nvSpPr>
            <p:cNvPr id="99" name="Donut 3"/>
            <p:cNvSpPr/>
            <p:nvPr/>
          </p:nvSpPr>
          <p:spPr bwMode="auto">
            <a:xfrm>
              <a:off x="1742065" y="3002355"/>
              <a:ext cx="383905" cy="351537"/>
            </a:xfrm>
            <a:custGeom>
              <a:avLst/>
              <a:gdLst/>
              <a:ahLst/>
              <a:cxnLst/>
              <a:rect l="l" t="t" r="r" b="b"/>
              <a:pathLst>
                <a:path w="1409956" h="1291077">
                  <a:moveTo>
                    <a:pt x="956401" y="78410"/>
                  </a:moveTo>
                  <a:cubicBezTo>
                    <a:pt x="747518" y="78410"/>
                    <a:pt x="578184" y="247744"/>
                    <a:pt x="578184" y="456627"/>
                  </a:cubicBezTo>
                  <a:cubicBezTo>
                    <a:pt x="578184" y="665510"/>
                    <a:pt x="747518" y="834844"/>
                    <a:pt x="956401" y="834844"/>
                  </a:cubicBezTo>
                  <a:cubicBezTo>
                    <a:pt x="1165284" y="834844"/>
                    <a:pt x="1334618" y="665510"/>
                    <a:pt x="1334618" y="456627"/>
                  </a:cubicBezTo>
                  <a:cubicBezTo>
                    <a:pt x="1334618" y="247744"/>
                    <a:pt x="1165284" y="78410"/>
                    <a:pt x="956401" y="78410"/>
                  </a:cubicBezTo>
                  <a:close/>
                  <a:moveTo>
                    <a:pt x="952756" y="0"/>
                  </a:moveTo>
                  <a:cubicBezTo>
                    <a:pt x="1205261" y="0"/>
                    <a:pt x="1409956" y="204695"/>
                    <a:pt x="1409956" y="457200"/>
                  </a:cubicBezTo>
                  <a:cubicBezTo>
                    <a:pt x="1409956" y="709705"/>
                    <a:pt x="1205261" y="914400"/>
                    <a:pt x="952756" y="914400"/>
                  </a:cubicBezTo>
                  <a:cubicBezTo>
                    <a:pt x="862133" y="914400"/>
                    <a:pt x="777669" y="888034"/>
                    <a:pt x="707132" y="841746"/>
                  </a:cubicBezTo>
                  <a:lnTo>
                    <a:pt x="136495" y="1280102"/>
                  </a:lnTo>
                  <a:cubicBezTo>
                    <a:pt x="21896" y="1327168"/>
                    <a:pt x="-44029" y="1213730"/>
                    <a:pt x="33797" y="1113182"/>
                  </a:cubicBezTo>
                  <a:lnTo>
                    <a:pt x="568587" y="703518"/>
                  </a:lnTo>
                  <a:cubicBezTo>
                    <a:pt x="522087" y="632814"/>
                    <a:pt x="495556" y="548105"/>
                    <a:pt x="495556" y="457200"/>
                  </a:cubicBezTo>
                  <a:cubicBezTo>
                    <a:pt x="495556" y="204695"/>
                    <a:pt x="700251" y="0"/>
                    <a:pt x="952756" y="0"/>
                  </a:cubicBezTo>
                  <a:close/>
                </a:path>
              </a:pathLst>
            </a:cu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ysClr val="windowText" lastClr="000000"/>
                </a:solidFill>
                <a:effectLst/>
                <a:uLnTx/>
                <a:uFillTx/>
                <a:latin typeface="Segoe UI"/>
                <a:ea typeface="+mn-ea"/>
                <a:cs typeface="+mn-cs"/>
              </a:endParaRPr>
            </a:p>
          </p:txBody>
        </p:sp>
        <p:sp>
          <p:nvSpPr>
            <p:cNvPr id="100" name="Rectangle 99"/>
            <p:cNvSpPr/>
            <p:nvPr/>
          </p:nvSpPr>
          <p:spPr>
            <a:xfrm>
              <a:off x="1600398" y="2677430"/>
              <a:ext cx="820353" cy="307777"/>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Segoe UI"/>
                  <a:ea typeface="Segoe UI" pitchFamily="34" charset="0"/>
                  <a:cs typeface="Segoe UI" pitchFamily="34" charset="0"/>
                </a:rPr>
                <a:t>Explore</a:t>
              </a:r>
              <a:endParaRPr kumimoji="0" lang="en-US" sz="1600" b="0" i="0" u="none" strike="noStrike" kern="1200" cap="none" spc="0" normalizeH="0" baseline="0" noProof="0">
                <a:ln>
                  <a:noFill/>
                </a:ln>
                <a:solidFill>
                  <a:prstClr val="black"/>
                </a:solidFill>
                <a:effectLst/>
                <a:uLnTx/>
                <a:uFillTx/>
                <a:latin typeface="Segoe UI"/>
                <a:ea typeface="+mn-ea"/>
                <a:cs typeface="+mn-cs"/>
              </a:endParaRPr>
            </a:p>
          </p:txBody>
        </p:sp>
        <p:sp>
          <p:nvSpPr>
            <p:cNvPr id="101" name="Rectangle 100"/>
            <p:cNvSpPr/>
            <p:nvPr/>
          </p:nvSpPr>
          <p:spPr>
            <a:xfrm>
              <a:off x="509174" y="1475232"/>
              <a:ext cx="838756" cy="307777"/>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Segoe UI"/>
                  <a:ea typeface="Segoe UI" pitchFamily="34" charset="0"/>
                  <a:cs typeface="Segoe UI" pitchFamily="34" charset="0"/>
                </a:rPr>
                <a:t>Prepare</a:t>
              </a:r>
              <a:endParaRPr kumimoji="0" lang="en-US" sz="1400" b="0" i="0" u="none" strike="noStrike" kern="1200" cap="none" spc="0" normalizeH="0" baseline="0" noProof="0">
                <a:ln>
                  <a:noFill/>
                </a:ln>
                <a:solidFill>
                  <a:prstClr val="black"/>
                </a:solidFill>
                <a:effectLst/>
                <a:uLnTx/>
                <a:uFillTx/>
                <a:latin typeface="Segoe UI"/>
                <a:ea typeface="+mn-ea"/>
                <a:cs typeface="+mn-cs"/>
              </a:endParaRPr>
            </a:p>
          </p:txBody>
        </p:sp>
        <p:sp>
          <p:nvSpPr>
            <p:cNvPr id="102" name="Freeform 101"/>
            <p:cNvSpPr>
              <a:spLocks noChangeAspect="1"/>
            </p:cNvSpPr>
            <p:nvPr/>
          </p:nvSpPr>
          <p:spPr bwMode="black">
            <a:xfrm>
              <a:off x="1836174" y="5643069"/>
              <a:ext cx="274320" cy="284173"/>
            </a:xfrm>
            <a:custGeom>
              <a:avLst/>
              <a:gdLst>
                <a:gd name="T0" fmla="*/ 539 w 669"/>
                <a:gd name="T1" fmla="*/ 5 h 693"/>
                <a:gd name="T2" fmla="*/ 640 w 669"/>
                <a:gd name="T3" fmla="*/ 55 h 693"/>
                <a:gd name="T4" fmla="*/ 603 w 669"/>
                <a:gd name="T5" fmla="*/ 195 h 693"/>
                <a:gd name="T6" fmla="*/ 490 w 669"/>
                <a:gd name="T7" fmla="*/ 188 h 693"/>
                <a:gd name="T8" fmla="*/ 479 w 669"/>
                <a:gd name="T9" fmla="*/ 176 h 693"/>
                <a:gd name="T10" fmla="*/ 213 w 669"/>
                <a:gd name="T11" fmla="*/ 330 h 693"/>
                <a:gd name="T12" fmla="*/ 218 w 669"/>
                <a:gd name="T13" fmla="*/ 345 h 693"/>
                <a:gd name="T14" fmla="*/ 218 w 669"/>
                <a:gd name="T15" fmla="*/ 375 h 693"/>
                <a:gd name="T16" fmla="*/ 209 w 669"/>
                <a:gd name="T17" fmla="*/ 402 h 693"/>
                <a:gd name="T18" fmla="*/ 369 w 669"/>
                <a:gd name="T19" fmla="*/ 503 h 693"/>
                <a:gd name="T20" fmla="*/ 373 w 669"/>
                <a:gd name="T21" fmla="*/ 498 h 693"/>
                <a:gd name="T22" fmla="*/ 456 w 669"/>
                <a:gd name="T23" fmla="*/ 475 h 693"/>
                <a:gd name="T24" fmla="*/ 494 w 669"/>
                <a:gd name="T25" fmla="*/ 489 h 693"/>
                <a:gd name="T26" fmla="*/ 527 w 669"/>
                <a:gd name="T27" fmla="*/ 630 h 693"/>
                <a:gd name="T28" fmla="*/ 386 w 669"/>
                <a:gd name="T29" fmla="*/ 663 h 693"/>
                <a:gd name="T30" fmla="*/ 339 w 669"/>
                <a:gd name="T31" fmla="*/ 560 h 693"/>
                <a:gd name="T32" fmla="*/ 345 w 669"/>
                <a:gd name="T33" fmla="*/ 544 h 693"/>
                <a:gd name="T34" fmla="*/ 177 w 669"/>
                <a:gd name="T35" fmla="*/ 439 h 693"/>
                <a:gd name="T36" fmla="*/ 168 w 669"/>
                <a:gd name="T37" fmla="*/ 446 h 693"/>
                <a:gd name="T38" fmla="*/ 28 w 669"/>
                <a:gd name="T39" fmla="*/ 409 h 693"/>
                <a:gd name="T40" fmla="*/ 65 w 669"/>
                <a:gd name="T41" fmla="*/ 269 h 693"/>
                <a:gd name="T42" fmla="*/ 178 w 669"/>
                <a:gd name="T43" fmla="*/ 276 h 693"/>
                <a:gd name="T44" fmla="*/ 189 w 669"/>
                <a:gd name="T45" fmla="*/ 288 h 693"/>
                <a:gd name="T46" fmla="*/ 455 w 669"/>
                <a:gd name="T47" fmla="*/ 134 h 693"/>
                <a:gd name="T48" fmla="*/ 450 w 669"/>
                <a:gd name="T49" fmla="*/ 119 h 693"/>
                <a:gd name="T50" fmla="*/ 501 w 669"/>
                <a:gd name="T51" fmla="*/ 18 h 693"/>
                <a:gd name="T52" fmla="*/ 539 w 669"/>
                <a:gd name="T53" fmla="*/ 5 h 6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69" h="693">
                  <a:moveTo>
                    <a:pt x="539" y="5"/>
                  </a:moveTo>
                  <a:cubicBezTo>
                    <a:pt x="579" y="0"/>
                    <a:pt x="619" y="19"/>
                    <a:pt x="640" y="55"/>
                  </a:cubicBezTo>
                  <a:cubicBezTo>
                    <a:pt x="669" y="104"/>
                    <a:pt x="652" y="167"/>
                    <a:pt x="603" y="195"/>
                  </a:cubicBezTo>
                  <a:cubicBezTo>
                    <a:pt x="566" y="216"/>
                    <a:pt x="522" y="212"/>
                    <a:pt x="490" y="188"/>
                  </a:cubicBezTo>
                  <a:cubicBezTo>
                    <a:pt x="479" y="176"/>
                    <a:pt x="479" y="176"/>
                    <a:pt x="479" y="176"/>
                  </a:cubicBezTo>
                  <a:cubicBezTo>
                    <a:pt x="213" y="330"/>
                    <a:pt x="213" y="330"/>
                    <a:pt x="213" y="330"/>
                  </a:cubicBezTo>
                  <a:cubicBezTo>
                    <a:pt x="218" y="345"/>
                    <a:pt x="218" y="345"/>
                    <a:pt x="218" y="345"/>
                  </a:cubicBezTo>
                  <a:cubicBezTo>
                    <a:pt x="219" y="355"/>
                    <a:pt x="219" y="365"/>
                    <a:pt x="218" y="375"/>
                  </a:cubicBezTo>
                  <a:cubicBezTo>
                    <a:pt x="209" y="402"/>
                    <a:pt x="209" y="402"/>
                    <a:pt x="209" y="402"/>
                  </a:cubicBezTo>
                  <a:cubicBezTo>
                    <a:pt x="369" y="503"/>
                    <a:pt x="369" y="503"/>
                    <a:pt x="369" y="503"/>
                  </a:cubicBezTo>
                  <a:cubicBezTo>
                    <a:pt x="373" y="498"/>
                    <a:pt x="373" y="498"/>
                    <a:pt x="373" y="498"/>
                  </a:cubicBezTo>
                  <a:cubicBezTo>
                    <a:pt x="396" y="479"/>
                    <a:pt x="427" y="470"/>
                    <a:pt x="456" y="475"/>
                  </a:cubicBezTo>
                  <a:cubicBezTo>
                    <a:pt x="470" y="477"/>
                    <a:pt x="482" y="482"/>
                    <a:pt x="494" y="489"/>
                  </a:cubicBezTo>
                  <a:cubicBezTo>
                    <a:pt x="542" y="519"/>
                    <a:pt x="557" y="583"/>
                    <a:pt x="527" y="630"/>
                  </a:cubicBezTo>
                  <a:cubicBezTo>
                    <a:pt x="497" y="678"/>
                    <a:pt x="433" y="693"/>
                    <a:pt x="386" y="663"/>
                  </a:cubicBezTo>
                  <a:cubicBezTo>
                    <a:pt x="350" y="640"/>
                    <a:pt x="333" y="599"/>
                    <a:pt x="339" y="560"/>
                  </a:cubicBezTo>
                  <a:cubicBezTo>
                    <a:pt x="345" y="544"/>
                    <a:pt x="345" y="544"/>
                    <a:pt x="345" y="544"/>
                  </a:cubicBezTo>
                  <a:cubicBezTo>
                    <a:pt x="177" y="439"/>
                    <a:pt x="177" y="439"/>
                    <a:pt x="177" y="439"/>
                  </a:cubicBezTo>
                  <a:cubicBezTo>
                    <a:pt x="168" y="446"/>
                    <a:pt x="168" y="446"/>
                    <a:pt x="168" y="446"/>
                  </a:cubicBezTo>
                  <a:cubicBezTo>
                    <a:pt x="119" y="475"/>
                    <a:pt x="56" y="458"/>
                    <a:pt x="28" y="409"/>
                  </a:cubicBezTo>
                  <a:cubicBezTo>
                    <a:pt x="0" y="360"/>
                    <a:pt x="16" y="297"/>
                    <a:pt x="65" y="269"/>
                  </a:cubicBezTo>
                  <a:cubicBezTo>
                    <a:pt x="102" y="248"/>
                    <a:pt x="147" y="252"/>
                    <a:pt x="178" y="276"/>
                  </a:cubicBezTo>
                  <a:cubicBezTo>
                    <a:pt x="189" y="288"/>
                    <a:pt x="189" y="288"/>
                    <a:pt x="189" y="288"/>
                  </a:cubicBezTo>
                  <a:cubicBezTo>
                    <a:pt x="455" y="134"/>
                    <a:pt x="455" y="134"/>
                    <a:pt x="455" y="134"/>
                  </a:cubicBezTo>
                  <a:cubicBezTo>
                    <a:pt x="450" y="119"/>
                    <a:pt x="450" y="119"/>
                    <a:pt x="450" y="119"/>
                  </a:cubicBezTo>
                  <a:cubicBezTo>
                    <a:pt x="445" y="80"/>
                    <a:pt x="464" y="39"/>
                    <a:pt x="501" y="18"/>
                  </a:cubicBezTo>
                  <a:cubicBezTo>
                    <a:pt x="513" y="11"/>
                    <a:pt x="526" y="6"/>
                    <a:pt x="539" y="5"/>
                  </a:cubicBezTo>
                  <a:close/>
                </a:path>
              </a:pathLst>
            </a:custGeom>
            <a:solidFill>
              <a:schemeClr val="tx1"/>
            </a:solidFill>
            <a:ln>
              <a:noFill/>
            </a:ln>
          </p:spPr>
          <p:txBody>
            <a:bodyPr vert="horz" wrap="square" lIns="68574" tIns="34287" rIns="68574" bIns="34287"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Segoe UI"/>
                <a:ea typeface="+mn-ea"/>
                <a:cs typeface="+mn-cs"/>
              </a:endParaRPr>
            </a:p>
          </p:txBody>
        </p:sp>
        <p:sp>
          <p:nvSpPr>
            <p:cNvPr id="103" name="Freeform 102"/>
            <p:cNvSpPr>
              <a:spLocks noChangeAspect="1" noEditPoints="1"/>
            </p:cNvSpPr>
            <p:nvPr/>
          </p:nvSpPr>
          <p:spPr bwMode="black">
            <a:xfrm>
              <a:off x="722320" y="1783009"/>
              <a:ext cx="452202" cy="366660"/>
            </a:xfrm>
            <a:custGeom>
              <a:avLst/>
              <a:gdLst>
                <a:gd name="T0" fmla="*/ 600 w 1107"/>
                <a:gd name="T1" fmla="*/ 625 h 897"/>
                <a:gd name="T2" fmla="*/ 649 w 1107"/>
                <a:gd name="T3" fmla="*/ 567 h 897"/>
                <a:gd name="T4" fmla="*/ 727 w 1107"/>
                <a:gd name="T5" fmla="*/ 482 h 897"/>
                <a:gd name="T6" fmla="*/ 601 w 1107"/>
                <a:gd name="T7" fmla="*/ 434 h 897"/>
                <a:gd name="T8" fmla="*/ 628 w 1107"/>
                <a:gd name="T9" fmla="*/ 305 h 897"/>
                <a:gd name="T10" fmla="*/ 547 w 1107"/>
                <a:gd name="T11" fmla="*/ 240 h 897"/>
                <a:gd name="T12" fmla="*/ 427 w 1107"/>
                <a:gd name="T13" fmla="*/ 287 h 897"/>
                <a:gd name="T14" fmla="*/ 368 w 1107"/>
                <a:gd name="T15" fmla="*/ 170 h 897"/>
                <a:gd name="T16" fmla="*/ 285 w 1107"/>
                <a:gd name="T17" fmla="*/ 263 h 897"/>
                <a:gd name="T18" fmla="*/ 241 w 1107"/>
                <a:gd name="T19" fmla="*/ 313 h 897"/>
                <a:gd name="T20" fmla="*/ 139 w 1107"/>
                <a:gd name="T21" fmla="*/ 281 h 897"/>
                <a:gd name="T22" fmla="*/ 79 w 1107"/>
                <a:gd name="T23" fmla="*/ 355 h 897"/>
                <a:gd name="T24" fmla="*/ 132 w 1107"/>
                <a:gd name="T25" fmla="*/ 446 h 897"/>
                <a:gd name="T26" fmla="*/ 83 w 1107"/>
                <a:gd name="T27" fmla="*/ 505 h 897"/>
                <a:gd name="T28" fmla="*/ 5 w 1107"/>
                <a:gd name="T29" fmla="*/ 590 h 897"/>
                <a:gd name="T30" fmla="*/ 132 w 1107"/>
                <a:gd name="T31" fmla="*/ 638 h 897"/>
                <a:gd name="T32" fmla="*/ 145 w 1107"/>
                <a:gd name="T33" fmla="*/ 669 h 897"/>
                <a:gd name="T34" fmla="*/ 110 w 1107"/>
                <a:gd name="T35" fmla="*/ 793 h 897"/>
                <a:gd name="T36" fmla="*/ 230 w 1107"/>
                <a:gd name="T37" fmla="*/ 781 h 897"/>
                <a:gd name="T38" fmla="*/ 306 w 1107"/>
                <a:gd name="T39" fmla="*/ 785 h 897"/>
                <a:gd name="T40" fmla="*/ 346 w 1107"/>
                <a:gd name="T41" fmla="*/ 878 h 897"/>
                <a:gd name="T42" fmla="*/ 440 w 1107"/>
                <a:gd name="T43" fmla="*/ 872 h 897"/>
                <a:gd name="T44" fmla="*/ 466 w 1107"/>
                <a:gd name="T45" fmla="*/ 764 h 897"/>
                <a:gd name="T46" fmla="*/ 539 w 1107"/>
                <a:gd name="T47" fmla="*/ 755 h 897"/>
                <a:gd name="T48" fmla="*/ 659 w 1107"/>
                <a:gd name="T49" fmla="*/ 743 h 897"/>
                <a:gd name="T50" fmla="*/ 263 w 1107"/>
                <a:gd name="T51" fmla="*/ 452 h 897"/>
                <a:gd name="T52" fmla="*/ 281 w 1107"/>
                <a:gd name="T53" fmla="*/ 633 h 897"/>
                <a:gd name="T54" fmla="*/ 1002 w 1107"/>
                <a:gd name="T55" fmla="*/ 332 h 897"/>
                <a:gd name="T56" fmla="*/ 1043 w 1107"/>
                <a:gd name="T57" fmla="*/ 304 h 897"/>
                <a:gd name="T58" fmla="*/ 1107 w 1107"/>
                <a:gd name="T59" fmla="*/ 266 h 897"/>
                <a:gd name="T60" fmla="*/ 1037 w 1107"/>
                <a:gd name="T61" fmla="*/ 213 h 897"/>
                <a:gd name="T62" fmla="*/ 1077 w 1107"/>
                <a:gd name="T63" fmla="*/ 138 h 897"/>
                <a:gd name="T64" fmla="*/ 1038 w 1107"/>
                <a:gd name="T65" fmla="*/ 83 h 897"/>
                <a:gd name="T66" fmla="*/ 956 w 1107"/>
                <a:gd name="T67" fmla="*/ 91 h 897"/>
                <a:gd name="T68" fmla="*/ 940 w 1107"/>
                <a:gd name="T69" fmla="*/ 7 h 897"/>
                <a:gd name="T70" fmla="*/ 872 w 1107"/>
                <a:gd name="T71" fmla="*/ 50 h 897"/>
                <a:gd name="T72" fmla="*/ 836 w 1107"/>
                <a:gd name="T73" fmla="*/ 74 h 897"/>
                <a:gd name="T74" fmla="*/ 778 w 1107"/>
                <a:gd name="T75" fmla="*/ 35 h 897"/>
                <a:gd name="T76" fmla="*/ 728 w 1107"/>
                <a:gd name="T77" fmla="*/ 70 h 897"/>
                <a:gd name="T78" fmla="*/ 744 w 1107"/>
                <a:gd name="T79" fmla="*/ 136 h 897"/>
                <a:gd name="T80" fmla="*/ 703 w 1107"/>
                <a:gd name="T81" fmla="*/ 164 h 897"/>
                <a:gd name="T82" fmla="*/ 640 w 1107"/>
                <a:gd name="T83" fmla="*/ 203 h 897"/>
                <a:gd name="T84" fmla="*/ 710 w 1107"/>
                <a:gd name="T85" fmla="*/ 255 h 897"/>
                <a:gd name="T86" fmla="*/ 712 w 1107"/>
                <a:gd name="T87" fmla="*/ 277 h 897"/>
                <a:gd name="T88" fmla="*/ 668 w 1107"/>
                <a:gd name="T89" fmla="*/ 347 h 897"/>
                <a:gd name="T90" fmla="*/ 745 w 1107"/>
                <a:gd name="T91" fmla="*/ 361 h 897"/>
                <a:gd name="T92" fmla="*/ 791 w 1107"/>
                <a:gd name="T93" fmla="*/ 377 h 897"/>
                <a:gd name="T94" fmla="*/ 799 w 1107"/>
                <a:gd name="T95" fmla="*/ 443 h 897"/>
                <a:gd name="T96" fmla="*/ 859 w 1107"/>
                <a:gd name="T97" fmla="*/ 456 h 897"/>
                <a:gd name="T98" fmla="*/ 894 w 1107"/>
                <a:gd name="T99" fmla="*/ 393 h 897"/>
                <a:gd name="T100" fmla="*/ 941 w 1107"/>
                <a:gd name="T101" fmla="*/ 401 h 897"/>
                <a:gd name="T102" fmla="*/ 1018 w 1107"/>
                <a:gd name="T103" fmla="*/ 415 h 897"/>
                <a:gd name="T104" fmla="*/ 825 w 1107"/>
                <a:gd name="T105" fmla="*/ 164 h 897"/>
                <a:gd name="T106" fmla="*/ 803 w 1107"/>
                <a:gd name="T107" fmla="*/ 279 h 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107" h="897">
                  <a:moveTo>
                    <a:pt x="654" y="716"/>
                  </a:moveTo>
                  <a:cubicBezTo>
                    <a:pt x="616" y="670"/>
                    <a:pt x="616" y="670"/>
                    <a:pt x="616" y="670"/>
                  </a:cubicBezTo>
                  <a:cubicBezTo>
                    <a:pt x="593" y="654"/>
                    <a:pt x="603" y="638"/>
                    <a:pt x="600" y="625"/>
                  </a:cubicBezTo>
                  <a:cubicBezTo>
                    <a:pt x="600" y="625"/>
                    <a:pt x="600" y="625"/>
                    <a:pt x="600" y="625"/>
                  </a:cubicBezTo>
                  <a:cubicBezTo>
                    <a:pt x="605" y="617"/>
                    <a:pt x="611" y="609"/>
                    <a:pt x="608" y="596"/>
                  </a:cubicBezTo>
                  <a:cubicBezTo>
                    <a:pt x="618" y="580"/>
                    <a:pt x="623" y="572"/>
                    <a:pt x="649" y="567"/>
                  </a:cubicBezTo>
                  <a:cubicBezTo>
                    <a:pt x="715" y="553"/>
                    <a:pt x="715" y="553"/>
                    <a:pt x="715" y="553"/>
                  </a:cubicBezTo>
                  <a:cubicBezTo>
                    <a:pt x="728" y="550"/>
                    <a:pt x="733" y="542"/>
                    <a:pt x="730" y="529"/>
                  </a:cubicBezTo>
                  <a:cubicBezTo>
                    <a:pt x="727" y="482"/>
                    <a:pt x="727" y="482"/>
                    <a:pt x="727" y="482"/>
                  </a:cubicBezTo>
                  <a:cubicBezTo>
                    <a:pt x="724" y="469"/>
                    <a:pt x="717" y="463"/>
                    <a:pt x="701" y="453"/>
                  </a:cubicBezTo>
                  <a:cubicBezTo>
                    <a:pt x="641" y="459"/>
                    <a:pt x="641" y="459"/>
                    <a:pt x="641" y="459"/>
                  </a:cubicBezTo>
                  <a:cubicBezTo>
                    <a:pt x="620" y="457"/>
                    <a:pt x="604" y="447"/>
                    <a:pt x="601" y="434"/>
                  </a:cubicBezTo>
                  <a:cubicBezTo>
                    <a:pt x="598" y="421"/>
                    <a:pt x="590" y="416"/>
                    <a:pt x="580" y="397"/>
                  </a:cubicBezTo>
                  <a:cubicBezTo>
                    <a:pt x="577" y="384"/>
                    <a:pt x="574" y="371"/>
                    <a:pt x="584" y="355"/>
                  </a:cubicBezTo>
                  <a:cubicBezTo>
                    <a:pt x="628" y="305"/>
                    <a:pt x="628" y="305"/>
                    <a:pt x="628" y="305"/>
                  </a:cubicBezTo>
                  <a:cubicBezTo>
                    <a:pt x="634" y="297"/>
                    <a:pt x="631" y="284"/>
                    <a:pt x="623" y="279"/>
                  </a:cubicBezTo>
                  <a:cubicBezTo>
                    <a:pt x="581" y="240"/>
                    <a:pt x="581" y="240"/>
                    <a:pt x="581" y="240"/>
                  </a:cubicBezTo>
                  <a:cubicBezTo>
                    <a:pt x="573" y="235"/>
                    <a:pt x="560" y="238"/>
                    <a:pt x="547" y="240"/>
                  </a:cubicBezTo>
                  <a:cubicBezTo>
                    <a:pt x="503" y="291"/>
                    <a:pt x="503" y="291"/>
                    <a:pt x="503" y="291"/>
                  </a:cubicBezTo>
                  <a:cubicBezTo>
                    <a:pt x="484" y="302"/>
                    <a:pt x="471" y="304"/>
                    <a:pt x="463" y="299"/>
                  </a:cubicBezTo>
                  <a:cubicBezTo>
                    <a:pt x="456" y="294"/>
                    <a:pt x="435" y="292"/>
                    <a:pt x="427" y="287"/>
                  </a:cubicBezTo>
                  <a:cubicBezTo>
                    <a:pt x="419" y="282"/>
                    <a:pt x="403" y="271"/>
                    <a:pt x="400" y="258"/>
                  </a:cubicBezTo>
                  <a:cubicBezTo>
                    <a:pt x="386" y="193"/>
                    <a:pt x="386" y="193"/>
                    <a:pt x="386" y="193"/>
                  </a:cubicBezTo>
                  <a:cubicBezTo>
                    <a:pt x="384" y="180"/>
                    <a:pt x="368" y="170"/>
                    <a:pt x="368" y="170"/>
                  </a:cubicBezTo>
                  <a:cubicBezTo>
                    <a:pt x="308" y="176"/>
                    <a:pt x="308" y="176"/>
                    <a:pt x="308" y="176"/>
                  </a:cubicBezTo>
                  <a:cubicBezTo>
                    <a:pt x="308" y="176"/>
                    <a:pt x="289" y="187"/>
                    <a:pt x="292" y="200"/>
                  </a:cubicBezTo>
                  <a:cubicBezTo>
                    <a:pt x="285" y="263"/>
                    <a:pt x="285" y="263"/>
                    <a:pt x="285" y="263"/>
                  </a:cubicBezTo>
                  <a:cubicBezTo>
                    <a:pt x="291" y="289"/>
                    <a:pt x="277" y="292"/>
                    <a:pt x="272" y="300"/>
                  </a:cubicBezTo>
                  <a:cubicBezTo>
                    <a:pt x="272" y="300"/>
                    <a:pt x="272" y="300"/>
                    <a:pt x="267" y="308"/>
                  </a:cubicBezTo>
                  <a:cubicBezTo>
                    <a:pt x="259" y="302"/>
                    <a:pt x="246" y="305"/>
                    <a:pt x="241" y="313"/>
                  </a:cubicBezTo>
                  <a:cubicBezTo>
                    <a:pt x="236" y="321"/>
                    <a:pt x="236" y="321"/>
                    <a:pt x="236" y="321"/>
                  </a:cubicBezTo>
                  <a:cubicBezTo>
                    <a:pt x="223" y="324"/>
                    <a:pt x="210" y="327"/>
                    <a:pt x="194" y="317"/>
                  </a:cubicBezTo>
                  <a:cubicBezTo>
                    <a:pt x="139" y="281"/>
                    <a:pt x="139" y="281"/>
                    <a:pt x="139" y="281"/>
                  </a:cubicBezTo>
                  <a:cubicBezTo>
                    <a:pt x="131" y="276"/>
                    <a:pt x="110" y="273"/>
                    <a:pt x="104" y="281"/>
                  </a:cubicBezTo>
                  <a:cubicBezTo>
                    <a:pt x="79" y="321"/>
                    <a:pt x="79" y="321"/>
                    <a:pt x="79" y="321"/>
                  </a:cubicBezTo>
                  <a:cubicBezTo>
                    <a:pt x="66" y="324"/>
                    <a:pt x="68" y="337"/>
                    <a:pt x="79" y="355"/>
                  </a:cubicBezTo>
                  <a:cubicBezTo>
                    <a:pt x="121" y="394"/>
                    <a:pt x="121" y="394"/>
                    <a:pt x="121" y="394"/>
                  </a:cubicBezTo>
                  <a:cubicBezTo>
                    <a:pt x="140" y="417"/>
                    <a:pt x="135" y="425"/>
                    <a:pt x="132" y="446"/>
                  </a:cubicBezTo>
                  <a:cubicBezTo>
                    <a:pt x="132" y="446"/>
                    <a:pt x="132" y="446"/>
                    <a:pt x="132" y="446"/>
                  </a:cubicBezTo>
                  <a:cubicBezTo>
                    <a:pt x="127" y="454"/>
                    <a:pt x="122" y="462"/>
                    <a:pt x="117" y="470"/>
                  </a:cubicBezTo>
                  <a:cubicBezTo>
                    <a:pt x="117" y="470"/>
                    <a:pt x="117" y="470"/>
                    <a:pt x="117" y="470"/>
                  </a:cubicBezTo>
                  <a:cubicBezTo>
                    <a:pt x="120" y="483"/>
                    <a:pt x="109" y="499"/>
                    <a:pt x="83" y="505"/>
                  </a:cubicBezTo>
                  <a:cubicBezTo>
                    <a:pt x="23" y="511"/>
                    <a:pt x="23" y="511"/>
                    <a:pt x="23" y="511"/>
                  </a:cubicBezTo>
                  <a:cubicBezTo>
                    <a:pt x="10" y="514"/>
                    <a:pt x="0" y="529"/>
                    <a:pt x="2" y="543"/>
                  </a:cubicBezTo>
                  <a:cubicBezTo>
                    <a:pt x="5" y="590"/>
                    <a:pt x="5" y="590"/>
                    <a:pt x="5" y="590"/>
                  </a:cubicBezTo>
                  <a:cubicBezTo>
                    <a:pt x="8" y="603"/>
                    <a:pt x="16" y="608"/>
                    <a:pt x="37" y="610"/>
                  </a:cubicBezTo>
                  <a:cubicBezTo>
                    <a:pt x="92" y="612"/>
                    <a:pt x="92" y="612"/>
                    <a:pt x="92" y="612"/>
                  </a:cubicBezTo>
                  <a:cubicBezTo>
                    <a:pt x="113" y="614"/>
                    <a:pt x="129" y="625"/>
                    <a:pt x="132" y="638"/>
                  </a:cubicBezTo>
                  <a:cubicBezTo>
                    <a:pt x="132" y="638"/>
                    <a:pt x="132" y="638"/>
                    <a:pt x="132" y="638"/>
                  </a:cubicBezTo>
                  <a:cubicBezTo>
                    <a:pt x="140" y="643"/>
                    <a:pt x="142" y="656"/>
                    <a:pt x="150" y="661"/>
                  </a:cubicBezTo>
                  <a:cubicBezTo>
                    <a:pt x="145" y="669"/>
                    <a:pt x="145" y="669"/>
                    <a:pt x="145" y="669"/>
                  </a:cubicBezTo>
                  <a:cubicBezTo>
                    <a:pt x="153" y="674"/>
                    <a:pt x="156" y="687"/>
                    <a:pt x="140" y="711"/>
                  </a:cubicBezTo>
                  <a:cubicBezTo>
                    <a:pt x="109" y="759"/>
                    <a:pt x="109" y="759"/>
                    <a:pt x="109" y="759"/>
                  </a:cubicBezTo>
                  <a:cubicBezTo>
                    <a:pt x="99" y="775"/>
                    <a:pt x="102" y="788"/>
                    <a:pt x="110" y="793"/>
                  </a:cubicBezTo>
                  <a:cubicBezTo>
                    <a:pt x="152" y="832"/>
                    <a:pt x="152" y="832"/>
                    <a:pt x="152" y="832"/>
                  </a:cubicBezTo>
                  <a:cubicBezTo>
                    <a:pt x="160" y="837"/>
                    <a:pt x="173" y="834"/>
                    <a:pt x="178" y="826"/>
                  </a:cubicBezTo>
                  <a:cubicBezTo>
                    <a:pt x="230" y="781"/>
                    <a:pt x="230" y="781"/>
                    <a:pt x="230" y="781"/>
                  </a:cubicBezTo>
                  <a:cubicBezTo>
                    <a:pt x="248" y="770"/>
                    <a:pt x="261" y="767"/>
                    <a:pt x="269" y="772"/>
                  </a:cubicBezTo>
                  <a:cubicBezTo>
                    <a:pt x="269" y="772"/>
                    <a:pt x="269" y="772"/>
                    <a:pt x="269" y="772"/>
                  </a:cubicBezTo>
                  <a:cubicBezTo>
                    <a:pt x="282" y="769"/>
                    <a:pt x="298" y="779"/>
                    <a:pt x="306" y="785"/>
                  </a:cubicBezTo>
                  <a:cubicBezTo>
                    <a:pt x="306" y="785"/>
                    <a:pt x="306" y="785"/>
                    <a:pt x="306" y="785"/>
                  </a:cubicBezTo>
                  <a:cubicBezTo>
                    <a:pt x="319" y="782"/>
                    <a:pt x="327" y="787"/>
                    <a:pt x="332" y="813"/>
                  </a:cubicBezTo>
                  <a:cubicBezTo>
                    <a:pt x="346" y="878"/>
                    <a:pt x="346" y="878"/>
                    <a:pt x="346" y="878"/>
                  </a:cubicBezTo>
                  <a:cubicBezTo>
                    <a:pt x="349" y="892"/>
                    <a:pt x="357" y="897"/>
                    <a:pt x="370" y="894"/>
                  </a:cubicBezTo>
                  <a:cubicBezTo>
                    <a:pt x="425" y="896"/>
                    <a:pt x="425" y="896"/>
                    <a:pt x="425" y="896"/>
                  </a:cubicBezTo>
                  <a:cubicBezTo>
                    <a:pt x="430" y="888"/>
                    <a:pt x="443" y="885"/>
                    <a:pt x="440" y="872"/>
                  </a:cubicBezTo>
                  <a:cubicBezTo>
                    <a:pt x="440" y="804"/>
                    <a:pt x="440" y="804"/>
                    <a:pt x="440" y="804"/>
                  </a:cubicBezTo>
                  <a:cubicBezTo>
                    <a:pt x="442" y="783"/>
                    <a:pt x="460" y="772"/>
                    <a:pt x="466" y="764"/>
                  </a:cubicBezTo>
                  <a:cubicBezTo>
                    <a:pt x="466" y="764"/>
                    <a:pt x="466" y="764"/>
                    <a:pt x="466" y="764"/>
                  </a:cubicBezTo>
                  <a:cubicBezTo>
                    <a:pt x="479" y="761"/>
                    <a:pt x="492" y="758"/>
                    <a:pt x="497" y="750"/>
                  </a:cubicBezTo>
                  <a:cubicBezTo>
                    <a:pt x="497" y="750"/>
                    <a:pt x="497" y="750"/>
                    <a:pt x="497" y="750"/>
                  </a:cubicBezTo>
                  <a:cubicBezTo>
                    <a:pt x="510" y="747"/>
                    <a:pt x="523" y="745"/>
                    <a:pt x="539" y="755"/>
                  </a:cubicBezTo>
                  <a:cubicBezTo>
                    <a:pt x="594" y="791"/>
                    <a:pt x="594" y="791"/>
                    <a:pt x="594" y="791"/>
                  </a:cubicBezTo>
                  <a:cubicBezTo>
                    <a:pt x="602" y="796"/>
                    <a:pt x="623" y="798"/>
                    <a:pt x="628" y="790"/>
                  </a:cubicBezTo>
                  <a:cubicBezTo>
                    <a:pt x="659" y="743"/>
                    <a:pt x="659" y="743"/>
                    <a:pt x="659" y="743"/>
                  </a:cubicBezTo>
                  <a:cubicBezTo>
                    <a:pt x="659" y="743"/>
                    <a:pt x="669" y="727"/>
                    <a:pt x="654" y="716"/>
                  </a:cubicBezTo>
                  <a:close/>
                  <a:moveTo>
                    <a:pt x="281" y="633"/>
                  </a:moveTo>
                  <a:cubicBezTo>
                    <a:pt x="223" y="584"/>
                    <a:pt x="219" y="502"/>
                    <a:pt x="263" y="452"/>
                  </a:cubicBezTo>
                  <a:cubicBezTo>
                    <a:pt x="313" y="393"/>
                    <a:pt x="399" y="382"/>
                    <a:pt x="457" y="431"/>
                  </a:cubicBezTo>
                  <a:cubicBezTo>
                    <a:pt x="507" y="475"/>
                    <a:pt x="518" y="561"/>
                    <a:pt x="469" y="619"/>
                  </a:cubicBezTo>
                  <a:cubicBezTo>
                    <a:pt x="420" y="678"/>
                    <a:pt x="339" y="682"/>
                    <a:pt x="281" y="633"/>
                  </a:cubicBezTo>
                  <a:close/>
                  <a:moveTo>
                    <a:pt x="1019" y="398"/>
                  </a:moveTo>
                  <a:cubicBezTo>
                    <a:pt x="1004" y="362"/>
                    <a:pt x="1004" y="362"/>
                    <a:pt x="1004" y="362"/>
                  </a:cubicBezTo>
                  <a:cubicBezTo>
                    <a:pt x="992" y="348"/>
                    <a:pt x="1002" y="340"/>
                    <a:pt x="1002" y="332"/>
                  </a:cubicBezTo>
                  <a:cubicBezTo>
                    <a:pt x="1002" y="332"/>
                    <a:pt x="1002" y="332"/>
                    <a:pt x="1002" y="332"/>
                  </a:cubicBezTo>
                  <a:cubicBezTo>
                    <a:pt x="1007" y="328"/>
                    <a:pt x="1011" y="324"/>
                    <a:pt x="1012" y="315"/>
                  </a:cubicBezTo>
                  <a:cubicBezTo>
                    <a:pt x="1021" y="307"/>
                    <a:pt x="1026" y="303"/>
                    <a:pt x="1043" y="304"/>
                  </a:cubicBezTo>
                  <a:cubicBezTo>
                    <a:pt x="1086" y="307"/>
                    <a:pt x="1086" y="307"/>
                    <a:pt x="1086" y="307"/>
                  </a:cubicBezTo>
                  <a:cubicBezTo>
                    <a:pt x="1095" y="308"/>
                    <a:pt x="1099" y="304"/>
                    <a:pt x="1100" y="295"/>
                  </a:cubicBezTo>
                  <a:cubicBezTo>
                    <a:pt x="1107" y="266"/>
                    <a:pt x="1107" y="266"/>
                    <a:pt x="1107" y="266"/>
                  </a:cubicBezTo>
                  <a:cubicBezTo>
                    <a:pt x="1107" y="257"/>
                    <a:pt x="1103" y="252"/>
                    <a:pt x="1095" y="243"/>
                  </a:cubicBezTo>
                  <a:cubicBezTo>
                    <a:pt x="1057" y="236"/>
                    <a:pt x="1057" y="236"/>
                    <a:pt x="1057" y="236"/>
                  </a:cubicBezTo>
                  <a:cubicBezTo>
                    <a:pt x="1044" y="231"/>
                    <a:pt x="1036" y="222"/>
                    <a:pt x="1037" y="213"/>
                  </a:cubicBezTo>
                  <a:cubicBezTo>
                    <a:pt x="1038" y="205"/>
                    <a:pt x="1034" y="200"/>
                    <a:pt x="1030" y="187"/>
                  </a:cubicBezTo>
                  <a:cubicBezTo>
                    <a:pt x="1031" y="178"/>
                    <a:pt x="1032" y="170"/>
                    <a:pt x="1041" y="162"/>
                  </a:cubicBezTo>
                  <a:cubicBezTo>
                    <a:pt x="1077" y="138"/>
                    <a:pt x="1077" y="138"/>
                    <a:pt x="1077" y="138"/>
                  </a:cubicBezTo>
                  <a:cubicBezTo>
                    <a:pt x="1082" y="134"/>
                    <a:pt x="1083" y="126"/>
                    <a:pt x="1079" y="121"/>
                  </a:cubicBezTo>
                  <a:cubicBezTo>
                    <a:pt x="1059" y="89"/>
                    <a:pt x="1059" y="89"/>
                    <a:pt x="1059" y="89"/>
                  </a:cubicBezTo>
                  <a:cubicBezTo>
                    <a:pt x="1055" y="85"/>
                    <a:pt x="1047" y="84"/>
                    <a:pt x="1038" y="83"/>
                  </a:cubicBezTo>
                  <a:cubicBezTo>
                    <a:pt x="1002" y="107"/>
                    <a:pt x="1002" y="107"/>
                    <a:pt x="1002" y="107"/>
                  </a:cubicBezTo>
                  <a:cubicBezTo>
                    <a:pt x="989" y="110"/>
                    <a:pt x="980" y="110"/>
                    <a:pt x="976" y="105"/>
                  </a:cubicBezTo>
                  <a:cubicBezTo>
                    <a:pt x="972" y="100"/>
                    <a:pt x="960" y="95"/>
                    <a:pt x="956" y="91"/>
                  </a:cubicBezTo>
                  <a:cubicBezTo>
                    <a:pt x="952" y="86"/>
                    <a:pt x="944" y="77"/>
                    <a:pt x="944" y="68"/>
                  </a:cubicBezTo>
                  <a:cubicBezTo>
                    <a:pt x="948" y="25"/>
                    <a:pt x="948" y="25"/>
                    <a:pt x="948" y="25"/>
                  </a:cubicBezTo>
                  <a:cubicBezTo>
                    <a:pt x="948" y="17"/>
                    <a:pt x="940" y="7"/>
                    <a:pt x="940" y="7"/>
                  </a:cubicBezTo>
                  <a:cubicBezTo>
                    <a:pt x="902" y="0"/>
                    <a:pt x="902" y="0"/>
                    <a:pt x="902" y="0"/>
                  </a:cubicBezTo>
                  <a:cubicBezTo>
                    <a:pt x="902" y="0"/>
                    <a:pt x="889" y="4"/>
                    <a:pt x="888" y="12"/>
                  </a:cubicBezTo>
                  <a:cubicBezTo>
                    <a:pt x="872" y="50"/>
                    <a:pt x="872" y="50"/>
                    <a:pt x="872" y="50"/>
                  </a:cubicBezTo>
                  <a:cubicBezTo>
                    <a:pt x="871" y="67"/>
                    <a:pt x="862" y="67"/>
                    <a:pt x="858" y="71"/>
                  </a:cubicBezTo>
                  <a:cubicBezTo>
                    <a:pt x="858" y="71"/>
                    <a:pt x="858" y="71"/>
                    <a:pt x="853" y="75"/>
                  </a:cubicBezTo>
                  <a:cubicBezTo>
                    <a:pt x="849" y="70"/>
                    <a:pt x="840" y="70"/>
                    <a:pt x="836" y="74"/>
                  </a:cubicBezTo>
                  <a:cubicBezTo>
                    <a:pt x="831" y="78"/>
                    <a:pt x="831" y="78"/>
                    <a:pt x="831" y="78"/>
                  </a:cubicBezTo>
                  <a:cubicBezTo>
                    <a:pt x="822" y="77"/>
                    <a:pt x="814" y="76"/>
                    <a:pt x="806" y="67"/>
                  </a:cubicBezTo>
                  <a:cubicBezTo>
                    <a:pt x="778" y="35"/>
                    <a:pt x="778" y="35"/>
                    <a:pt x="778" y="35"/>
                  </a:cubicBezTo>
                  <a:cubicBezTo>
                    <a:pt x="774" y="30"/>
                    <a:pt x="762" y="25"/>
                    <a:pt x="757" y="29"/>
                  </a:cubicBezTo>
                  <a:cubicBezTo>
                    <a:pt x="734" y="49"/>
                    <a:pt x="734" y="49"/>
                    <a:pt x="734" y="49"/>
                  </a:cubicBezTo>
                  <a:cubicBezTo>
                    <a:pt x="725" y="49"/>
                    <a:pt x="725" y="57"/>
                    <a:pt x="728" y="70"/>
                  </a:cubicBezTo>
                  <a:cubicBezTo>
                    <a:pt x="747" y="102"/>
                    <a:pt x="747" y="102"/>
                    <a:pt x="747" y="102"/>
                  </a:cubicBezTo>
                  <a:cubicBezTo>
                    <a:pt x="754" y="120"/>
                    <a:pt x="750" y="124"/>
                    <a:pt x="744" y="136"/>
                  </a:cubicBezTo>
                  <a:cubicBezTo>
                    <a:pt x="744" y="136"/>
                    <a:pt x="744" y="136"/>
                    <a:pt x="744" y="136"/>
                  </a:cubicBezTo>
                  <a:cubicBezTo>
                    <a:pt x="740" y="140"/>
                    <a:pt x="735" y="144"/>
                    <a:pt x="731" y="148"/>
                  </a:cubicBezTo>
                  <a:cubicBezTo>
                    <a:pt x="731" y="148"/>
                    <a:pt x="731" y="148"/>
                    <a:pt x="731" y="148"/>
                  </a:cubicBezTo>
                  <a:cubicBezTo>
                    <a:pt x="730" y="157"/>
                    <a:pt x="721" y="165"/>
                    <a:pt x="703" y="164"/>
                  </a:cubicBezTo>
                  <a:cubicBezTo>
                    <a:pt x="665" y="157"/>
                    <a:pt x="665" y="157"/>
                    <a:pt x="665" y="157"/>
                  </a:cubicBezTo>
                  <a:cubicBezTo>
                    <a:pt x="656" y="156"/>
                    <a:pt x="647" y="164"/>
                    <a:pt x="647" y="173"/>
                  </a:cubicBezTo>
                  <a:cubicBezTo>
                    <a:pt x="640" y="203"/>
                    <a:pt x="640" y="203"/>
                    <a:pt x="640" y="203"/>
                  </a:cubicBezTo>
                  <a:cubicBezTo>
                    <a:pt x="639" y="211"/>
                    <a:pt x="643" y="216"/>
                    <a:pt x="656" y="221"/>
                  </a:cubicBezTo>
                  <a:cubicBezTo>
                    <a:pt x="690" y="232"/>
                    <a:pt x="690" y="232"/>
                    <a:pt x="690" y="232"/>
                  </a:cubicBezTo>
                  <a:cubicBezTo>
                    <a:pt x="702" y="237"/>
                    <a:pt x="710" y="246"/>
                    <a:pt x="710" y="255"/>
                  </a:cubicBezTo>
                  <a:cubicBezTo>
                    <a:pt x="710" y="255"/>
                    <a:pt x="710" y="255"/>
                    <a:pt x="710" y="255"/>
                  </a:cubicBezTo>
                  <a:cubicBezTo>
                    <a:pt x="714" y="260"/>
                    <a:pt x="713" y="268"/>
                    <a:pt x="717" y="273"/>
                  </a:cubicBezTo>
                  <a:cubicBezTo>
                    <a:pt x="712" y="277"/>
                    <a:pt x="712" y="277"/>
                    <a:pt x="712" y="277"/>
                  </a:cubicBezTo>
                  <a:cubicBezTo>
                    <a:pt x="716" y="281"/>
                    <a:pt x="716" y="290"/>
                    <a:pt x="702" y="302"/>
                  </a:cubicBezTo>
                  <a:cubicBezTo>
                    <a:pt x="674" y="326"/>
                    <a:pt x="674" y="326"/>
                    <a:pt x="674" y="326"/>
                  </a:cubicBezTo>
                  <a:cubicBezTo>
                    <a:pt x="665" y="334"/>
                    <a:pt x="664" y="343"/>
                    <a:pt x="668" y="347"/>
                  </a:cubicBezTo>
                  <a:cubicBezTo>
                    <a:pt x="687" y="379"/>
                    <a:pt x="687" y="379"/>
                    <a:pt x="687" y="379"/>
                  </a:cubicBezTo>
                  <a:cubicBezTo>
                    <a:pt x="691" y="383"/>
                    <a:pt x="700" y="384"/>
                    <a:pt x="704" y="380"/>
                  </a:cubicBezTo>
                  <a:cubicBezTo>
                    <a:pt x="745" y="361"/>
                    <a:pt x="745" y="361"/>
                    <a:pt x="745" y="361"/>
                  </a:cubicBezTo>
                  <a:cubicBezTo>
                    <a:pt x="758" y="358"/>
                    <a:pt x="767" y="358"/>
                    <a:pt x="771" y="363"/>
                  </a:cubicBezTo>
                  <a:cubicBezTo>
                    <a:pt x="771" y="363"/>
                    <a:pt x="771" y="363"/>
                    <a:pt x="771" y="363"/>
                  </a:cubicBezTo>
                  <a:cubicBezTo>
                    <a:pt x="779" y="364"/>
                    <a:pt x="787" y="373"/>
                    <a:pt x="791" y="377"/>
                  </a:cubicBezTo>
                  <a:cubicBezTo>
                    <a:pt x="791" y="377"/>
                    <a:pt x="791" y="377"/>
                    <a:pt x="791" y="377"/>
                  </a:cubicBezTo>
                  <a:cubicBezTo>
                    <a:pt x="800" y="378"/>
                    <a:pt x="804" y="383"/>
                    <a:pt x="802" y="400"/>
                  </a:cubicBezTo>
                  <a:cubicBezTo>
                    <a:pt x="799" y="443"/>
                    <a:pt x="799" y="443"/>
                    <a:pt x="799" y="443"/>
                  </a:cubicBezTo>
                  <a:cubicBezTo>
                    <a:pt x="798" y="451"/>
                    <a:pt x="802" y="456"/>
                    <a:pt x="811" y="457"/>
                  </a:cubicBezTo>
                  <a:cubicBezTo>
                    <a:pt x="845" y="468"/>
                    <a:pt x="845" y="468"/>
                    <a:pt x="845" y="468"/>
                  </a:cubicBezTo>
                  <a:cubicBezTo>
                    <a:pt x="849" y="464"/>
                    <a:pt x="858" y="464"/>
                    <a:pt x="859" y="456"/>
                  </a:cubicBezTo>
                  <a:cubicBezTo>
                    <a:pt x="871" y="413"/>
                    <a:pt x="871" y="413"/>
                    <a:pt x="871" y="413"/>
                  </a:cubicBezTo>
                  <a:cubicBezTo>
                    <a:pt x="876" y="401"/>
                    <a:pt x="889" y="397"/>
                    <a:pt x="894" y="393"/>
                  </a:cubicBezTo>
                  <a:cubicBezTo>
                    <a:pt x="894" y="393"/>
                    <a:pt x="894" y="393"/>
                    <a:pt x="894" y="393"/>
                  </a:cubicBezTo>
                  <a:cubicBezTo>
                    <a:pt x="902" y="394"/>
                    <a:pt x="911" y="395"/>
                    <a:pt x="916" y="391"/>
                  </a:cubicBezTo>
                  <a:cubicBezTo>
                    <a:pt x="916" y="391"/>
                    <a:pt x="916" y="391"/>
                    <a:pt x="916" y="391"/>
                  </a:cubicBezTo>
                  <a:cubicBezTo>
                    <a:pt x="924" y="391"/>
                    <a:pt x="933" y="392"/>
                    <a:pt x="941" y="401"/>
                  </a:cubicBezTo>
                  <a:cubicBezTo>
                    <a:pt x="969" y="433"/>
                    <a:pt x="969" y="433"/>
                    <a:pt x="969" y="433"/>
                  </a:cubicBezTo>
                  <a:cubicBezTo>
                    <a:pt x="973" y="438"/>
                    <a:pt x="985" y="443"/>
                    <a:pt x="990" y="439"/>
                  </a:cubicBezTo>
                  <a:cubicBezTo>
                    <a:pt x="1018" y="415"/>
                    <a:pt x="1018" y="415"/>
                    <a:pt x="1018" y="415"/>
                  </a:cubicBezTo>
                  <a:cubicBezTo>
                    <a:pt x="1018" y="415"/>
                    <a:pt x="1027" y="407"/>
                    <a:pt x="1019" y="398"/>
                  </a:cubicBezTo>
                  <a:close/>
                  <a:moveTo>
                    <a:pt x="803" y="279"/>
                  </a:moveTo>
                  <a:cubicBezTo>
                    <a:pt x="776" y="238"/>
                    <a:pt x="788" y="187"/>
                    <a:pt x="825" y="164"/>
                  </a:cubicBezTo>
                  <a:cubicBezTo>
                    <a:pt x="866" y="136"/>
                    <a:pt x="921" y="144"/>
                    <a:pt x="948" y="185"/>
                  </a:cubicBezTo>
                  <a:cubicBezTo>
                    <a:pt x="972" y="221"/>
                    <a:pt x="963" y="277"/>
                    <a:pt x="922" y="304"/>
                  </a:cubicBezTo>
                  <a:cubicBezTo>
                    <a:pt x="881" y="332"/>
                    <a:pt x="830" y="320"/>
                    <a:pt x="803" y="279"/>
                  </a:cubicBezTo>
                  <a:close/>
                </a:path>
              </a:pathLst>
            </a:custGeom>
            <a:solidFill>
              <a:schemeClr val="tx1"/>
            </a:solidFill>
            <a:ln>
              <a:noFill/>
            </a:ln>
          </p:spPr>
          <p:txBody>
            <a:bodyPr vert="horz" wrap="square" lIns="68574" tIns="34287" rIns="68574" bIns="34287"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17346"/>
                </a:solidFill>
                <a:effectLst/>
                <a:uLnTx/>
                <a:uFillTx/>
                <a:latin typeface="Segoe UI"/>
                <a:ea typeface="+mn-ea"/>
                <a:cs typeface="+mn-cs"/>
              </a:endParaRPr>
            </a:p>
          </p:txBody>
        </p:sp>
        <p:sp>
          <p:nvSpPr>
            <p:cNvPr id="104" name="Freeform 103"/>
            <p:cNvSpPr>
              <a:spLocks noChangeAspect="1"/>
            </p:cNvSpPr>
            <p:nvPr/>
          </p:nvSpPr>
          <p:spPr bwMode="black">
            <a:xfrm>
              <a:off x="776985" y="4213905"/>
              <a:ext cx="342871" cy="335728"/>
            </a:xfrm>
            <a:custGeom>
              <a:avLst/>
              <a:gdLst>
                <a:gd name="connsiteX0" fmla="*/ 3713863 w 4893730"/>
                <a:gd name="connsiteY0" fmla="*/ 2130808 h 4791777"/>
                <a:gd name="connsiteX1" fmla="*/ 4426142 w 4893730"/>
                <a:gd name="connsiteY1" fmla="*/ 2130808 h 4791777"/>
                <a:gd name="connsiteX2" fmla="*/ 4598071 w 4893730"/>
                <a:gd name="connsiteY2" fmla="*/ 2301547 h 4791777"/>
                <a:gd name="connsiteX3" fmla="*/ 4598071 w 4893730"/>
                <a:gd name="connsiteY3" fmla="*/ 3886978 h 4791777"/>
                <a:gd name="connsiteX4" fmla="*/ 4426142 w 4893730"/>
                <a:gd name="connsiteY4" fmla="*/ 4057717 h 4791777"/>
                <a:gd name="connsiteX5" fmla="*/ 3713863 w 4893730"/>
                <a:gd name="connsiteY5" fmla="*/ 4057717 h 4791777"/>
                <a:gd name="connsiteX6" fmla="*/ 3517372 w 4893730"/>
                <a:gd name="connsiteY6" fmla="*/ 3886978 h 4791777"/>
                <a:gd name="connsiteX7" fmla="*/ 3517372 w 4893730"/>
                <a:gd name="connsiteY7" fmla="*/ 2301547 h 4791777"/>
                <a:gd name="connsiteX8" fmla="*/ 3713863 w 4893730"/>
                <a:gd name="connsiteY8" fmla="*/ 2130808 h 4791777"/>
                <a:gd name="connsiteX9" fmla="*/ 904368 w 4893730"/>
                <a:gd name="connsiteY9" fmla="*/ 1223432 h 4791777"/>
                <a:gd name="connsiteX10" fmla="*/ 1609930 w 4893730"/>
                <a:gd name="connsiteY10" fmla="*/ 1223432 h 4791777"/>
                <a:gd name="connsiteX11" fmla="*/ 1804567 w 4893730"/>
                <a:gd name="connsiteY11" fmla="*/ 1394467 h 4791777"/>
                <a:gd name="connsiteX12" fmla="*/ 1804567 w 4893730"/>
                <a:gd name="connsiteY12" fmla="*/ 3886683 h 4791777"/>
                <a:gd name="connsiteX13" fmla="*/ 1609930 w 4893730"/>
                <a:gd name="connsiteY13" fmla="*/ 4057717 h 4791777"/>
                <a:gd name="connsiteX14" fmla="*/ 904368 w 4893730"/>
                <a:gd name="connsiteY14" fmla="*/ 4057717 h 4791777"/>
                <a:gd name="connsiteX15" fmla="*/ 734060 w 4893730"/>
                <a:gd name="connsiteY15" fmla="*/ 3886683 h 4791777"/>
                <a:gd name="connsiteX16" fmla="*/ 734060 w 4893730"/>
                <a:gd name="connsiteY16" fmla="*/ 1394467 h 4791777"/>
                <a:gd name="connsiteX17" fmla="*/ 904368 w 4893730"/>
                <a:gd name="connsiteY17" fmla="*/ 1223432 h 4791777"/>
                <a:gd name="connsiteX18" fmla="*/ 2325453 w 4893730"/>
                <a:gd name="connsiteY18" fmla="*/ 316050 h 4791777"/>
                <a:gd name="connsiteX19" fmla="*/ 3031014 w 4893730"/>
                <a:gd name="connsiteY19" fmla="*/ 316050 h 4791777"/>
                <a:gd name="connsiteX20" fmla="*/ 3201322 w 4893730"/>
                <a:gd name="connsiteY20" fmla="*/ 487238 h 4791777"/>
                <a:gd name="connsiteX21" fmla="*/ 3201322 w 4893730"/>
                <a:gd name="connsiteY21" fmla="*/ 3886530 h 4791777"/>
                <a:gd name="connsiteX22" fmla="*/ 3031014 w 4893730"/>
                <a:gd name="connsiteY22" fmla="*/ 4057717 h 4791777"/>
                <a:gd name="connsiteX23" fmla="*/ 2325453 w 4893730"/>
                <a:gd name="connsiteY23" fmla="*/ 4057717 h 4791777"/>
                <a:gd name="connsiteX24" fmla="*/ 2130815 w 4893730"/>
                <a:gd name="connsiteY24" fmla="*/ 3886530 h 4791777"/>
                <a:gd name="connsiteX25" fmla="*/ 2130815 w 4893730"/>
                <a:gd name="connsiteY25" fmla="*/ 487238 h 4791777"/>
                <a:gd name="connsiteX26" fmla="*/ 2325453 w 4893730"/>
                <a:gd name="connsiteY26" fmla="*/ 316050 h 4791777"/>
                <a:gd name="connsiteX27" fmla="*/ 269155 w 4893730"/>
                <a:gd name="connsiteY27" fmla="*/ 0 h 4791777"/>
                <a:gd name="connsiteX28" fmla="*/ 538311 w 4893730"/>
                <a:gd name="connsiteY28" fmla="*/ 268927 h 4791777"/>
                <a:gd name="connsiteX29" fmla="*/ 538311 w 4893730"/>
                <a:gd name="connsiteY29" fmla="*/ 4253925 h 4791777"/>
                <a:gd name="connsiteX30" fmla="*/ 4624575 w 4893730"/>
                <a:gd name="connsiteY30" fmla="*/ 4253925 h 4791777"/>
                <a:gd name="connsiteX31" fmla="*/ 4893730 w 4893730"/>
                <a:gd name="connsiteY31" fmla="*/ 4522851 h 4791777"/>
                <a:gd name="connsiteX32" fmla="*/ 4624575 w 4893730"/>
                <a:gd name="connsiteY32" fmla="*/ 4791777 h 4791777"/>
                <a:gd name="connsiteX33" fmla="*/ 269155 w 4893730"/>
                <a:gd name="connsiteY33" fmla="*/ 4791777 h 4791777"/>
                <a:gd name="connsiteX34" fmla="*/ 0 w 4893730"/>
                <a:gd name="connsiteY34" fmla="*/ 4522851 h 4791777"/>
                <a:gd name="connsiteX35" fmla="*/ 0 w 4893730"/>
                <a:gd name="connsiteY35" fmla="*/ 268927 h 4791777"/>
                <a:gd name="connsiteX36" fmla="*/ 269155 w 4893730"/>
                <a:gd name="connsiteY36" fmla="*/ 0 h 4791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4893730" h="4791777">
                  <a:moveTo>
                    <a:pt x="3713863" y="2130808"/>
                  </a:moveTo>
                  <a:cubicBezTo>
                    <a:pt x="3713863" y="2130808"/>
                    <a:pt x="3713863" y="2130808"/>
                    <a:pt x="4426142" y="2130808"/>
                  </a:cubicBezTo>
                  <a:cubicBezTo>
                    <a:pt x="4524387" y="2130808"/>
                    <a:pt x="4598071" y="2203982"/>
                    <a:pt x="4598071" y="2301547"/>
                  </a:cubicBezTo>
                  <a:cubicBezTo>
                    <a:pt x="4598071" y="2301547"/>
                    <a:pt x="4598071" y="2301547"/>
                    <a:pt x="4598071" y="3886978"/>
                  </a:cubicBezTo>
                  <a:cubicBezTo>
                    <a:pt x="4598071" y="3984543"/>
                    <a:pt x="4524387" y="4057717"/>
                    <a:pt x="4426142" y="4057717"/>
                  </a:cubicBezTo>
                  <a:cubicBezTo>
                    <a:pt x="4426142" y="4057717"/>
                    <a:pt x="4426142" y="4057717"/>
                    <a:pt x="3713863" y="4057717"/>
                  </a:cubicBezTo>
                  <a:cubicBezTo>
                    <a:pt x="3615618" y="4057717"/>
                    <a:pt x="3517372" y="3984543"/>
                    <a:pt x="3517372" y="3886978"/>
                  </a:cubicBezTo>
                  <a:cubicBezTo>
                    <a:pt x="3517372" y="3886978"/>
                    <a:pt x="3517372" y="3886978"/>
                    <a:pt x="3517372" y="2301547"/>
                  </a:cubicBezTo>
                  <a:cubicBezTo>
                    <a:pt x="3517372" y="2203982"/>
                    <a:pt x="3615618" y="2130808"/>
                    <a:pt x="3713863" y="2130808"/>
                  </a:cubicBezTo>
                  <a:close/>
                  <a:moveTo>
                    <a:pt x="904368" y="1223432"/>
                  </a:moveTo>
                  <a:cubicBezTo>
                    <a:pt x="904368" y="1223432"/>
                    <a:pt x="904368" y="1223432"/>
                    <a:pt x="1609930" y="1223432"/>
                  </a:cubicBezTo>
                  <a:cubicBezTo>
                    <a:pt x="1731578" y="1223432"/>
                    <a:pt x="1804567" y="1296733"/>
                    <a:pt x="1804567" y="1394467"/>
                  </a:cubicBezTo>
                  <a:cubicBezTo>
                    <a:pt x="1804567" y="1394467"/>
                    <a:pt x="1804567" y="1394467"/>
                    <a:pt x="1804567" y="3886683"/>
                  </a:cubicBezTo>
                  <a:cubicBezTo>
                    <a:pt x="1804567" y="3984417"/>
                    <a:pt x="1731578" y="4057717"/>
                    <a:pt x="1609930" y="4057717"/>
                  </a:cubicBezTo>
                  <a:cubicBezTo>
                    <a:pt x="1609930" y="4057717"/>
                    <a:pt x="1609930" y="4057717"/>
                    <a:pt x="904368" y="4057717"/>
                  </a:cubicBezTo>
                  <a:cubicBezTo>
                    <a:pt x="807049" y="4057717"/>
                    <a:pt x="734060" y="3984417"/>
                    <a:pt x="734060" y="3886683"/>
                  </a:cubicBezTo>
                  <a:cubicBezTo>
                    <a:pt x="734060" y="3886683"/>
                    <a:pt x="734060" y="3886683"/>
                    <a:pt x="734060" y="1394467"/>
                  </a:cubicBezTo>
                  <a:cubicBezTo>
                    <a:pt x="734060" y="1296733"/>
                    <a:pt x="807049" y="1223432"/>
                    <a:pt x="904368" y="1223432"/>
                  </a:cubicBezTo>
                  <a:close/>
                  <a:moveTo>
                    <a:pt x="2325453" y="316050"/>
                  </a:moveTo>
                  <a:cubicBezTo>
                    <a:pt x="2325453" y="316050"/>
                    <a:pt x="2325453" y="316050"/>
                    <a:pt x="3031014" y="316050"/>
                  </a:cubicBezTo>
                  <a:cubicBezTo>
                    <a:pt x="3128333" y="316050"/>
                    <a:pt x="3201322" y="389416"/>
                    <a:pt x="3201322" y="487238"/>
                  </a:cubicBezTo>
                  <a:cubicBezTo>
                    <a:pt x="3201322" y="487238"/>
                    <a:pt x="3201322" y="487238"/>
                    <a:pt x="3201322" y="3886530"/>
                  </a:cubicBezTo>
                  <a:cubicBezTo>
                    <a:pt x="3201322" y="3984351"/>
                    <a:pt x="3128333" y="4057717"/>
                    <a:pt x="3031014" y="4057717"/>
                  </a:cubicBezTo>
                  <a:cubicBezTo>
                    <a:pt x="3031014" y="4057717"/>
                    <a:pt x="3031014" y="4057717"/>
                    <a:pt x="2325453" y="4057717"/>
                  </a:cubicBezTo>
                  <a:cubicBezTo>
                    <a:pt x="2203804" y="4057717"/>
                    <a:pt x="2130815" y="3984351"/>
                    <a:pt x="2130815" y="3886530"/>
                  </a:cubicBezTo>
                  <a:cubicBezTo>
                    <a:pt x="2130815" y="3886530"/>
                    <a:pt x="2130815" y="3886530"/>
                    <a:pt x="2130815" y="487238"/>
                  </a:cubicBezTo>
                  <a:cubicBezTo>
                    <a:pt x="2130815" y="389416"/>
                    <a:pt x="2203804" y="316050"/>
                    <a:pt x="2325453" y="316050"/>
                  </a:cubicBezTo>
                  <a:close/>
                  <a:moveTo>
                    <a:pt x="269155" y="0"/>
                  </a:moveTo>
                  <a:cubicBezTo>
                    <a:pt x="415967" y="0"/>
                    <a:pt x="538311" y="122239"/>
                    <a:pt x="538311" y="268927"/>
                  </a:cubicBezTo>
                  <a:cubicBezTo>
                    <a:pt x="538311" y="268927"/>
                    <a:pt x="538311" y="268927"/>
                    <a:pt x="538311" y="4253925"/>
                  </a:cubicBezTo>
                  <a:cubicBezTo>
                    <a:pt x="538311" y="4253925"/>
                    <a:pt x="538311" y="4253925"/>
                    <a:pt x="4624575" y="4253925"/>
                  </a:cubicBezTo>
                  <a:cubicBezTo>
                    <a:pt x="4771387" y="4253925"/>
                    <a:pt x="4893730" y="4376164"/>
                    <a:pt x="4893730" y="4522851"/>
                  </a:cubicBezTo>
                  <a:cubicBezTo>
                    <a:pt x="4893730" y="4669538"/>
                    <a:pt x="4771387" y="4791777"/>
                    <a:pt x="4624575" y="4791777"/>
                  </a:cubicBezTo>
                  <a:cubicBezTo>
                    <a:pt x="4624575" y="4791777"/>
                    <a:pt x="4624575" y="4791777"/>
                    <a:pt x="269155" y="4791777"/>
                  </a:cubicBezTo>
                  <a:cubicBezTo>
                    <a:pt x="122344" y="4791777"/>
                    <a:pt x="0" y="4669538"/>
                    <a:pt x="0" y="4522851"/>
                  </a:cubicBezTo>
                  <a:cubicBezTo>
                    <a:pt x="0" y="4522851"/>
                    <a:pt x="0" y="4522851"/>
                    <a:pt x="0" y="268927"/>
                  </a:cubicBezTo>
                  <a:cubicBezTo>
                    <a:pt x="0" y="122239"/>
                    <a:pt x="122344" y="0"/>
                    <a:pt x="269155"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37148" tIns="109719" rIns="137148" bIns="109719"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699261"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5" name="Rectangle 104"/>
            <p:cNvSpPr/>
            <p:nvPr/>
          </p:nvSpPr>
          <p:spPr bwMode="auto">
            <a:xfrm rot="2745734">
              <a:off x="886688" y="2210975"/>
              <a:ext cx="1598323" cy="1625795"/>
            </a:xfrm>
            <a:prstGeom prst="rect">
              <a:avLst/>
            </a:prstGeom>
            <a:solidFill>
              <a:schemeClr val="tx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6" name="Rectangle 105"/>
            <p:cNvSpPr/>
            <p:nvPr/>
          </p:nvSpPr>
          <p:spPr bwMode="auto">
            <a:xfrm rot="2745734">
              <a:off x="292433" y="3819160"/>
              <a:ext cx="1610349" cy="1235003"/>
            </a:xfrm>
            <a:prstGeom prst="rect">
              <a:avLst/>
            </a:prstGeom>
            <a:solidFill>
              <a:schemeClr val="tx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7" name="Rectangle 106"/>
            <p:cNvSpPr/>
            <p:nvPr/>
          </p:nvSpPr>
          <p:spPr bwMode="auto">
            <a:xfrm rot="2745734">
              <a:off x="1315610" y="4915701"/>
              <a:ext cx="1263370" cy="1255989"/>
            </a:xfrm>
            <a:prstGeom prst="rect">
              <a:avLst/>
            </a:prstGeom>
            <a:solidFill>
              <a:schemeClr val="tx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37" name="Title 10"/>
          <p:cNvSpPr txBox="1">
            <a:spLocks/>
          </p:cNvSpPr>
          <p:nvPr/>
        </p:nvSpPr>
        <p:spPr>
          <a:xfrm>
            <a:off x="2849060" y="0"/>
            <a:ext cx="9342940" cy="665151"/>
          </a:xfrm>
          <a:prstGeom prst="rect">
            <a:avLst/>
          </a:prstGeom>
          <a:noFill/>
        </p:spPr>
        <p:txBody>
          <a:bodyPr vert="horz" wrap="square" lIns="0" tIns="91440" rIns="0" bIns="91440" rtlCol="0" anchor="t">
            <a:noAutofit/>
          </a:bodyPr>
          <a:lstStyle>
            <a:lvl1pPr defTabSz="914367">
              <a:lnSpc>
                <a:spcPct val="90000"/>
              </a:lnSpc>
              <a:spcBef>
                <a:spcPct val="0"/>
              </a:spcBef>
              <a:buNone/>
              <a:defRPr lang="en-US" sz="5294" b="0" cap="none" spc="-100" baseline="0" dirty="0" smtClean="0">
                <a:ln w="3175">
                  <a:noFill/>
                </a:ln>
                <a:solidFill>
                  <a:schemeClr val="tx2"/>
                </a:solidFill>
                <a:effectLst/>
                <a:latin typeface="+mj-lt"/>
                <a:cs typeface="Segoe UI" pitchFamily="34" charset="0"/>
              </a:defRPr>
            </a:lvl1pPr>
          </a:lstStyle>
          <a:p>
            <a:pPr marL="168275" marR="0" lvl="0" indent="0" algn="l" defTabSz="914367" rtl="0" eaLnBrk="1" fontAlgn="auto" latinLnBrk="0" hangingPunct="1">
              <a:lnSpc>
                <a:spcPct val="90000"/>
              </a:lnSpc>
              <a:spcBef>
                <a:spcPct val="0"/>
              </a:spcBef>
              <a:spcAft>
                <a:spcPts val="0"/>
              </a:spcAft>
              <a:buClrTx/>
              <a:buSzTx/>
              <a:buFontTx/>
              <a:buNone/>
              <a:tabLst/>
              <a:defRPr/>
            </a:pPr>
            <a:r>
              <a:rPr kumimoji="0" lang="en-US" sz="3600" b="0" i="0" u="none" strike="noStrike" kern="1200" cap="none" spc="-100" normalizeH="0" baseline="0" noProof="0">
                <a:ln w="3175">
                  <a:noFill/>
                </a:ln>
                <a:solidFill>
                  <a:prstClr val="black"/>
                </a:solidFill>
                <a:effectLst/>
                <a:uLnTx/>
                <a:uFillTx/>
                <a:latin typeface="Segoe UI Light"/>
                <a:ea typeface="+mn-ea"/>
                <a:cs typeface="Segoe UI" pitchFamily="34" charset="0"/>
              </a:rPr>
              <a:t>Connecting to Data</a:t>
            </a:r>
            <a:endParaRPr kumimoji="0" lang="en-IN" sz="3600" b="0" i="0" u="none" strike="noStrike" kern="1200" cap="none" spc="-100" normalizeH="0" baseline="0" noProof="0">
              <a:ln w="3175">
                <a:noFill/>
              </a:ln>
              <a:solidFill>
                <a:prstClr val="black"/>
              </a:solidFill>
              <a:effectLst/>
              <a:uLnTx/>
              <a:uFillTx/>
              <a:latin typeface="Segoe UI Light"/>
              <a:ea typeface="+mn-ea"/>
              <a:cs typeface="Segoe UI" pitchFamily="34" charset="0"/>
            </a:endParaRPr>
          </a:p>
        </p:txBody>
      </p:sp>
      <p:sp>
        <p:nvSpPr>
          <p:cNvPr id="40" name="TextBox 39"/>
          <p:cNvSpPr txBox="1"/>
          <p:nvPr/>
        </p:nvSpPr>
        <p:spPr>
          <a:xfrm>
            <a:off x="3" y="51415"/>
            <a:ext cx="2849058" cy="430887"/>
          </a:xfrm>
          <a:prstGeom prst="rect">
            <a:avLst/>
          </a:prstGeom>
        </p:spPr>
        <p:txBody>
          <a:bodyPr wrap="square">
            <a:spAutoFit/>
          </a:bodyPr>
          <a:lstStyle>
            <a:defPPr>
              <a:defRPr lang="en-US"/>
            </a:defPPr>
            <a:lvl1pPr defTabSz="914192">
              <a:defRPr sz="2800" b="1" spc="-100">
                <a:ln w="3175">
                  <a:noFill/>
                </a:ln>
                <a:solidFill>
                  <a:srgbClr val="F2C812"/>
                </a:solidFill>
                <a:latin typeface="Segoe UI" panose="020B0502040204020203" pitchFamily="34" charset="0"/>
                <a:ea typeface="ＭＳ Ｐゴシック" charset="0"/>
                <a:cs typeface="Segoe UI" panose="020B0502040204020203" pitchFamily="34" charset="0"/>
              </a:defRPr>
            </a:lvl1pPr>
          </a:lstStyle>
          <a:p>
            <a:pPr marL="0" marR="0" lvl="0" indent="0" algn="l" defTabSz="914192" rtl="0" eaLnBrk="1" fontAlgn="auto" latinLnBrk="0" hangingPunct="1">
              <a:lnSpc>
                <a:spcPct val="100000"/>
              </a:lnSpc>
              <a:spcBef>
                <a:spcPts val="0"/>
              </a:spcBef>
              <a:spcAft>
                <a:spcPts val="0"/>
              </a:spcAft>
              <a:buClrTx/>
              <a:buSzTx/>
              <a:buFontTx/>
              <a:buNone/>
              <a:tabLst/>
              <a:defRPr/>
            </a:pPr>
            <a:r>
              <a:rPr kumimoji="0" lang="en-US" sz="2200" b="1" i="0" u="none" strike="noStrike" kern="1200" cap="none" spc="-100" normalizeH="0" baseline="0" noProof="0">
                <a:ln w="3175">
                  <a:noFill/>
                </a:ln>
                <a:solidFill>
                  <a:srgbClr val="F2C812"/>
                </a:solidFill>
                <a:effectLst/>
                <a:uLnTx/>
                <a:uFillTx/>
                <a:latin typeface="Segoe UI Light"/>
                <a:ea typeface="ＭＳ Ｐゴシック" charset="0"/>
                <a:cs typeface="Segoe UI" panose="020B0502040204020203" pitchFamily="34" charset="0"/>
              </a:rPr>
              <a:t>Power BI Desktop</a:t>
            </a:r>
          </a:p>
        </p:txBody>
      </p:sp>
    </p:spTree>
    <p:extLst>
      <p:ext uri="{BB962C8B-B14F-4D97-AF65-F5344CB8AC3E}">
        <p14:creationId xmlns:p14="http://schemas.microsoft.com/office/powerpoint/2010/main" val="10714188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p:cNvGrpSpPr/>
          <p:nvPr/>
        </p:nvGrpSpPr>
        <p:grpSpPr>
          <a:xfrm>
            <a:off x="-11149" y="0"/>
            <a:ext cx="2849058" cy="6858000"/>
            <a:chOff x="2" y="1"/>
            <a:chExt cx="2849058" cy="6858000"/>
          </a:xfrm>
        </p:grpSpPr>
        <p:sp>
          <p:nvSpPr>
            <p:cNvPr id="70" name="Rectangle 69"/>
            <p:cNvSpPr/>
            <p:nvPr/>
          </p:nvSpPr>
          <p:spPr bwMode="auto">
            <a:xfrm>
              <a:off x="2" y="1"/>
              <a:ext cx="2849058"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5" name="Oval 70"/>
            <p:cNvSpPr/>
            <p:nvPr/>
          </p:nvSpPr>
          <p:spPr>
            <a:xfrm>
              <a:off x="1413521" y="4951537"/>
              <a:ext cx="1119626" cy="1119626"/>
            </a:xfrm>
            <a:prstGeom prst="ellipse">
              <a:avLst/>
            </a:prstGeom>
            <a:solidFill>
              <a:srgbClr val="F2C812"/>
            </a:solidFill>
            <a:ln w="3175" cap="flat" cmpd="sng" algn="ctr">
              <a:noFill/>
              <a:prstDash val="solid"/>
            </a:ln>
            <a:effectLst/>
          </p:spPr>
          <p:txBody>
            <a:bodyPr vert="horz" wrap="none" lIns="0" tIns="45720" rIns="0" bIns="0" rtlCol="0" anchor="t"/>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Segoe UI"/>
                  <a:ea typeface="Segoe UI" pitchFamily="34" charset="0"/>
                  <a:cs typeface="Segoe UI" pitchFamily="34" charset="0"/>
                </a:rPr>
                <a:t>Share &amp;</a:t>
              </a:r>
            </a:p>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Segoe UI"/>
                  <a:ea typeface="Segoe UI" pitchFamily="34" charset="0"/>
                  <a:cs typeface="Segoe UI" pitchFamily="34" charset="0"/>
                </a:rPr>
                <a:t>collaborate </a:t>
              </a:r>
            </a:p>
          </p:txBody>
        </p:sp>
        <p:grpSp>
          <p:nvGrpSpPr>
            <p:cNvPr id="66" name="Group 38"/>
            <p:cNvGrpSpPr>
              <a:grpSpLocks noChangeAspect="1"/>
            </p:cNvGrpSpPr>
            <p:nvPr/>
          </p:nvGrpSpPr>
          <p:grpSpPr>
            <a:xfrm>
              <a:off x="676996" y="3930692"/>
              <a:ext cx="383905" cy="351536"/>
              <a:chOff x="4363684" y="5330386"/>
              <a:chExt cx="1409956" cy="1291077"/>
            </a:xfrm>
            <a:solidFill>
              <a:srgbClr val="217346"/>
            </a:solidFill>
          </p:grpSpPr>
          <p:sp>
            <p:nvSpPr>
              <p:cNvPr id="67" name="Donut 3"/>
              <p:cNvSpPr/>
              <p:nvPr/>
            </p:nvSpPr>
            <p:spPr bwMode="auto">
              <a:xfrm>
                <a:off x="4363684" y="5330386"/>
                <a:ext cx="1409956" cy="1291077"/>
              </a:xfrm>
              <a:custGeom>
                <a:avLst/>
                <a:gdLst/>
                <a:ahLst/>
                <a:cxnLst/>
                <a:rect l="l" t="t" r="r" b="b"/>
                <a:pathLst>
                  <a:path w="1409956" h="1291077">
                    <a:moveTo>
                      <a:pt x="956401" y="78410"/>
                    </a:moveTo>
                    <a:cubicBezTo>
                      <a:pt x="747518" y="78410"/>
                      <a:pt x="578184" y="247744"/>
                      <a:pt x="578184" y="456627"/>
                    </a:cubicBezTo>
                    <a:cubicBezTo>
                      <a:pt x="578184" y="665510"/>
                      <a:pt x="747518" y="834844"/>
                      <a:pt x="956401" y="834844"/>
                    </a:cubicBezTo>
                    <a:cubicBezTo>
                      <a:pt x="1165284" y="834844"/>
                      <a:pt x="1334618" y="665510"/>
                      <a:pt x="1334618" y="456627"/>
                    </a:cubicBezTo>
                    <a:cubicBezTo>
                      <a:pt x="1334618" y="247744"/>
                      <a:pt x="1165284" y="78410"/>
                      <a:pt x="956401" y="78410"/>
                    </a:cubicBezTo>
                    <a:close/>
                    <a:moveTo>
                      <a:pt x="952756" y="0"/>
                    </a:moveTo>
                    <a:cubicBezTo>
                      <a:pt x="1205261" y="0"/>
                      <a:pt x="1409956" y="204695"/>
                      <a:pt x="1409956" y="457200"/>
                    </a:cubicBezTo>
                    <a:cubicBezTo>
                      <a:pt x="1409956" y="709705"/>
                      <a:pt x="1205261" y="914400"/>
                      <a:pt x="952756" y="914400"/>
                    </a:cubicBezTo>
                    <a:cubicBezTo>
                      <a:pt x="862133" y="914400"/>
                      <a:pt x="777669" y="888034"/>
                      <a:pt x="707132" y="841746"/>
                    </a:cubicBezTo>
                    <a:lnTo>
                      <a:pt x="136495" y="1280102"/>
                    </a:lnTo>
                    <a:cubicBezTo>
                      <a:pt x="21896" y="1327168"/>
                      <a:pt x="-44029" y="1213730"/>
                      <a:pt x="33797" y="1113182"/>
                    </a:cubicBezTo>
                    <a:lnTo>
                      <a:pt x="568587" y="703518"/>
                    </a:lnTo>
                    <a:cubicBezTo>
                      <a:pt x="522087" y="632814"/>
                      <a:pt x="495556" y="548105"/>
                      <a:pt x="495556" y="457200"/>
                    </a:cubicBezTo>
                    <a:cubicBezTo>
                      <a:pt x="495556" y="204695"/>
                      <a:pt x="700251" y="0"/>
                      <a:pt x="952756" y="0"/>
                    </a:cubicBezTo>
                    <a:close/>
                  </a:path>
                </a:pathLst>
              </a:custGeom>
              <a:grpFill/>
              <a:ln>
                <a:solidFill>
                  <a:srgbClr val="21734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sp>
            <p:nvSpPr>
              <p:cNvPr id="68" name="Rectangle 4"/>
              <p:cNvSpPr/>
              <p:nvPr/>
            </p:nvSpPr>
            <p:spPr>
              <a:xfrm>
                <a:off x="5058389" y="5528247"/>
                <a:ext cx="490885" cy="490020"/>
              </a:xfrm>
              <a:custGeom>
                <a:avLst/>
                <a:gdLst/>
                <a:ahLst/>
                <a:cxnLst/>
                <a:rect l="l" t="t" r="r" b="b"/>
                <a:pathLst>
                  <a:path w="490885" h="490020">
                    <a:moveTo>
                      <a:pt x="240752" y="0"/>
                    </a:moveTo>
                    <a:cubicBezTo>
                      <a:pt x="253961" y="11844"/>
                      <a:pt x="293310" y="49692"/>
                      <a:pt x="337332" y="92439"/>
                    </a:cubicBezTo>
                    <a:lnTo>
                      <a:pt x="328342" y="81259"/>
                    </a:lnTo>
                    <a:cubicBezTo>
                      <a:pt x="356946" y="111282"/>
                      <a:pt x="377251" y="107167"/>
                      <a:pt x="382515" y="87941"/>
                    </a:cubicBezTo>
                    <a:cubicBezTo>
                      <a:pt x="383951" y="76921"/>
                      <a:pt x="384595" y="68732"/>
                      <a:pt x="396997" y="52239"/>
                    </a:cubicBezTo>
                    <a:cubicBezTo>
                      <a:pt x="420362" y="32084"/>
                      <a:pt x="442294" y="41736"/>
                      <a:pt x="454920" y="51330"/>
                    </a:cubicBezTo>
                    <a:cubicBezTo>
                      <a:pt x="467834" y="62761"/>
                      <a:pt x="477920" y="86882"/>
                      <a:pt x="460392" y="109714"/>
                    </a:cubicBezTo>
                    <a:cubicBezTo>
                      <a:pt x="451128" y="121912"/>
                      <a:pt x="437554" y="126838"/>
                      <a:pt x="425922" y="126505"/>
                    </a:cubicBezTo>
                    <a:cubicBezTo>
                      <a:pt x="424301" y="127609"/>
                      <a:pt x="382890" y="134974"/>
                      <a:pt x="427348" y="177672"/>
                    </a:cubicBezTo>
                    <a:lnTo>
                      <a:pt x="416886" y="169735"/>
                    </a:lnTo>
                    <a:cubicBezTo>
                      <a:pt x="450207" y="202177"/>
                      <a:pt x="478424" y="229744"/>
                      <a:pt x="490885" y="241900"/>
                    </a:cubicBezTo>
                    <a:lnTo>
                      <a:pt x="417150" y="317347"/>
                    </a:lnTo>
                    <a:cubicBezTo>
                      <a:pt x="417744" y="316535"/>
                      <a:pt x="418443" y="316123"/>
                      <a:pt x="419047" y="315822"/>
                    </a:cubicBezTo>
                    <a:cubicBezTo>
                      <a:pt x="389023" y="344426"/>
                      <a:pt x="393138" y="364731"/>
                      <a:pt x="412364" y="369995"/>
                    </a:cubicBezTo>
                    <a:cubicBezTo>
                      <a:pt x="423384" y="371431"/>
                      <a:pt x="431574" y="372075"/>
                      <a:pt x="448067" y="384477"/>
                    </a:cubicBezTo>
                    <a:cubicBezTo>
                      <a:pt x="468221" y="407842"/>
                      <a:pt x="458569" y="429774"/>
                      <a:pt x="448975" y="442400"/>
                    </a:cubicBezTo>
                    <a:cubicBezTo>
                      <a:pt x="437545" y="455314"/>
                      <a:pt x="413423" y="465400"/>
                      <a:pt x="390591" y="447872"/>
                    </a:cubicBezTo>
                    <a:cubicBezTo>
                      <a:pt x="378394" y="438608"/>
                      <a:pt x="373468" y="425034"/>
                      <a:pt x="373800" y="413402"/>
                    </a:cubicBezTo>
                    <a:cubicBezTo>
                      <a:pt x="372696" y="411781"/>
                      <a:pt x="365332" y="370370"/>
                      <a:pt x="322634" y="414828"/>
                    </a:cubicBezTo>
                    <a:lnTo>
                      <a:pt x="325243" y="411388"/>
                    </a:lnTo>
                    <a:lnTo>
                      <a:pt x="248395" y="490020"/>
                    </a:lnTo>
                    <a:cubicBezTo>
                      <a:pt x="208939" y="451897"/>
                      <a:pt x="199129" y="442073"/>
                      <a:pt x="174192" y="418236"/>
                    </a:cubicBezTo>
                    <a:cubicBezTo>
                      <a:pt x="145587" y="388212"/>
                      <a:pt x="125282" y="392327"/>
                      <a:pt x="120018" y="411553"/>
                    </a:cubicBezTo>
                    <a:cubicBezTo>
                      <a:pt x="118582" y="422573"/>
                      <a:pt x="117938" y="430763"/>
                      <a:pt x="105536" y="447256"/>
                    </a:cubicBezTo>
                    <a:cubicBezTo>
                      <a:pt x="82171" y="467410"/>
                      <a:pt x="60239" y="457758"/>
                      <a:pt x="47614" y="448164"/>
                    </a:cubicBezTo>
                    <a:cubicBezTo>
                      <a:pt x="34699" y="436734"/>
                      <a:pt x="24614" y="412612"/>
                      <a:pt x="42141" y="389780"/>
                    </a:cubicBezTo>
                    <a:cubicBezTo>
                      <a:pt x="51405" y="377583"/>
                      <a:pt x="64979" y="372657"/>
                      <a:pt x="76612" y="372989"/>
                    </a:cubicBezTo>
                    <a:cubicBezTo>
                      <a:pt x="78232" y="371886"/>
                      <a:pt x="119644" y="364521"/>
                      <a:pt x="75186" y="321823"/>
                    </a:cubicBezTo>
                    <a:cubicBezTo>
                      <a:pt x="58767" y="305402"/>
                      <a:pt x="23648" y="271235"/>
                      <a:pt x="0" y="248738"/>
                    </a:cubicBezTo>
                    <a:lnTo>
                      <a:pt x="77303" y="168146"/>
                    </a:lnTo>
                    <a:cubicBezTo>
                      <a:pt x="104269" y="140313"/>
                      <a:pt x="122130" y="156409"/>
                      <a:pt x="124388" y="175543"/>
                    </a:cubicBezTo>
                    <a:cubicBezTo>
                      <a:pt x="124457" y="182466"/>
                      <a:pt x="127106" y="193106"/>
                      <a:pt x="137575" y="203052"/>
                    </a:cubicBezTo>
                    <a:cubicBezTo>
                      <a:pt x="153931" y="220277"/>
                      <a:pt x="181252" y="217451"/>
                      <a:pt x="196721" y="201951"/>
                    </a:cubicBezTo>
                    <a:cubicBezTo>
                      <a:pt x="211961" y="185740"/>
                      <a:pt x="213057" y="157882"/>
                      <a:pt x="196146" y="142797"/>
                    </a:cubicBezTo>
                    <a:cubicBezTo>
                      <a:pt x="184301" y="132637"/>
                      <a:pt x="177155" y="131453"/>
                      <a:pt x="166513" y="129894"/>
                    </a:cubicBezTo>
                    <a:cubicBezTo>
                      <a:pt x="154522" y="129013"/>
                      <a:pt x="131185" y="112953"/>
                      <a:pt x="157905" y="85228"/>
                    </a:cubicBezTo>
                    <a:close/>
                  </a:path>
                </a:pathLst>
              </a:custGeom>
              <a:grpFill/>
              <a:ln>
                <a:solidFill>
                  <a:srgbClr val="21734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grpSp>
        <p:sp>
          <p:nvSpPr>
            <p:cNvPr id="69" name="Oval 47"/>
            <p:cNvSpPr/>
            <p:nvPr/>
          </p:nvSpPr>
          <p:spPr>
            <a:xfrm>
              <a:off x="388608" y="3710471"/>
              <a:ext cx="1119626" cy="1119626"/>
            </a:xfrm>
            <a:prstGeom prst="ellipse">
              <a:avLst/>
            </a:prstGeom>
            <a:solidFill>
              <a:srgbClr val="F2C812"/>
            </a:solidFill>
            <a:ln w="3175" cap="flat" cmpd="sng" algn="ctr">
              <a:noFill/>
              <a:prstDash val="solid"/>
            </a:ln>
            <a:effectLst/>
          </p:spPr>
          <p:txBody>
            <a:bodyPr vert="horz" wrap="none" lIns="0" tIns="45720" rIns="0" bIns="0" rtlCol="0" anchor="t"/>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Segoe UI"/>
                  <a:ea typeface="Segoe UI" pitchFamily="34" charset="0"/>
                  <a:cs typeface="Segoe UI" pitchFamily="34" charset="0"/>
                </a:rPr>
                <a:t>Report</a:t>
              </a:r>
            </a:p>
          </p:txBody>
        </p:sp>
        <p:sp>
          <p:nvSpPr>
            <p:cNvPr id="85" name="Oval 950"/>
            <p:cNvSpPr/>
            <p:nvPr/>
          </p:nvSpPr>
          <p:spPr>
            <a:xfrm>
              <a:off x="388608" y="1252295"/>
              <a:ext cx="1119626" cy="1119626"/>
            </a:xfrm>
            <a:prstGeom prst="ellipse">
              <a:avLst/>
            </a:prstGeom>
            <a:solidFill>
              <a:srgbClr val="F2C812"/>
            </a:solidFill>
            <a:ln w="3175" cap="flat" cmpd="sng" algn="ctr">
              <a:noFill/>
              <a:prstDash val="solid"/>
            </a:ln>
            <a:effectLst/>
          </p:spPr>
          <p:txBody>
            <a:bodyPr vert="horz" wrap="none" lIns="0" tIns="45720" rIns="0" bIns="0" rtlCol="0" anchor="t"/>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1" i="0" u="none" strike="noStrike" kern="1200" cap="none" spc="0" normalizeH="0" baseline="0" noProof="0">
                <a:ln>
                  <a:noFill/>
                </a:ln>
                <a:solidFill>
                  <a:srgbClr val="217346"/>
                </a:solidFill>
                <a:effectLst/>
                <a:uLnTx/>
                <a:uFillTx/>
                <a:latin typeface="Segoe UI"/>
                <a:ea typeface="Segoe UI" pitchFamily="34" charset="0"/>
                <a:cs typeface="Segoe UI" pitchFamily="34" charset="0"/>
              </a:endParaRPr>
            </a:p>
          </p:txBody>
        </p:sp>
        <p:grpSp>
          <p:nvGrpSpPr>
            <p:cNvPr id="86" name="Group 85"/>
            <p:cNvGrpSpPr/>
            <p:nvPr/>
          </p:nvGrpSpPr>
          <p:grpSpPr>
            <a:xfrm>
              <a:off x="1264851" y="3482890"/>
              <a:ext cx="292254" cy="354906"/>
              <a:chOff x="1296521" y="3253388"/>
              <a:chExt cx="292254" cy="354906"/>
            </a:xfrm>
            <a:solidFill>
              <a:srgbClr val="F2C812"/>
            </a:solidFill>
          </p:grpSpPr>
          <p:sp>
            <p:nvSpPr>
              <p:cNvPr id="87" name="Isosceles Triangle 86"/>
              <p:cNvSpPr/>
              <p:nvPr/>
            </p:nvSpPr>
            <p:spPr bwMode="auto">
              <a:xfrm rot="13636515">
                <a:off x="1461362" y="328936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8" name="Isosceles Triangle 87"/>
              <p:cNvSpPr/>
              <p:nvPr/>
            </p:nvSpPr>
            <p:spPr bwMode="auto">
              <a:xfrm rot="13636515">
                <a:off x="1357669" y="338258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9" name="Isosceles Triangle 88"/>
              <p:cNvSpPr/>
              <p:nvPr/>
            </p:nvSpPr>
            <p:spPr bwMode="auto">
              <a:xfrm rot="13636515">
                <a:off x="1260548" y="3480882"/>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90" name="Group 89"/>
            <p:cNvGrpSpPr/>
            <p:nvPr/>
          </p:nvGrpSpPr>
          <p:grpSpPr>
            <a:xfrm rot="15940603">
              <a:off x="1334576" y="2204404"/>
              <a:ext cx="292254" cy="354906"/>
              <a:chOff x="1296521" y="3253388"/>
              <a:chExt cx="292254" cy="354906"/>
            </a:xfrm>
            <a:solidFill>
              <a:srgbClr val="F2C812"/>
            </a:solidFill>
          </p:grpSpPr>
          <p:sp>
            <p:nvSpPr>
              <p:cNvPr id="91" name="Isosceles Triangle 90"/>
              <p:cNvSpPr/>
              <p:nvPr/>
            </p:nvSpPr>
            <p:spPr bwMode="auto">
              <a:xfrm rot="13636515">
                <a:off x="1461362" y="328936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2" name="Isosceles Triangle 91"/>
              <p:cNvSpPr/>
              <p:nvPr/>
            </p:nvSpPr>
            <p:spPr bwMode="auto">
              <a:xfrm rot="13636515">
                <a:off x="1357669" y="338258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3" name="Isosceles Triangle 92"/>
              <p:cNvSpPr/>
              <p:nvPr/>
            </p:nvSpPr>
            <p:spPr bwMode="auto">
              <a:xfrm rot="13636515">
                <a:off x="1260548" y="3480882"/>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94" name="Group 93"/>
            <p:cNvGrpSpPr/>
            <p:nvPr/>
          </p:nvGrpSpPr>
          <p:grpSpPr>
            <a:xfrm rot="16043978">
              <a:off x="1317220" y="4717577"/>
              <a:ext cx="292254" cy="354906"/>
              <a:chOff x="1296521" y="3253388"/>
              <a:chExt cx="292254" cy="354906"/>
            </a:xfrm>
            <a:solidFill>
              <a:srgbClr val="F2C812"/>
            </a:solidFill>
          </p:grpSpPr>
          <p:sp>
            <p:nvSpPr>
              <p:cNvPr id="95" name="Isosceles Triangle 94"/>
              <p:cNvSpPr/>
              <p:nvPr/>
            </p:nvSpPr>
            <p:spPr bwMode="auto">
              <a:xfrm rot="13636515">
                <a:off x="1461362" y="328936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6" name="Isosceles Triangle 95"/>
              <p:cNvSpPr/>
              <p:nvPr/>
            </p:nvSpPr>
            <p:spPr bwMode="auto">
              <a:xfrm rot="13636515">
                <a:off x="1357669" y="338258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7" name="Isosceles Triangle 96"/>
              <p:cNvSpPr/>
              <p:nvPr/>
            </p:nvSpPr>
            <p:spPr bwMode="auto">
              <a:xfrm rot="13636515">
                <a:off x="1260548" y="3480882"/>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98" name="Oval 36"/>
            <p:cNvSpPr/>
            <p:nvPr/>
          </p:nvSpPr>
          <p:spPr>
            <a:xfrm>
              <a:off x="1413521" y="2481383"/>
              <a:ext cx="1119626" cy="1119626"/>
            </a:xfrm>
            <a:prstGeom prst="ellipse">
              <a:avLst/>
            </a:prstGeom>
            <a:solidFill>
              <a:srgbClr val="F2C812"/>
            </a:solidFill>
            <a:ln w="3175" cap="flat" cmpd="sng" algn="ctr">
              <a:noFill/>
              <a:prstDash val="solid"/>
            </a:ln>
            <a:effectLst/>
          </p:spPr>
          <p:txBody>
            <a:bodyPr vert="horz" wrap="none" lIns="0" tIns="0" rIns="0" bIns="0" rtlCol="0" anchor="t"/>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400" b="1" i="0" u="none" strike="noStrike" kern="1200" cap="none" spc="0" normalizeH="0" baseline="0" noProof="0">
                <a:ln>
                  <a:noFill/>
                </a:ln>
                <a:solidFill>
                  <a:srgbClr val="217346"/>
                </a:solidFill>
                <a:effectLst/>
                <a:uLnTx/>
                <a:uFillTx/>
                <a:latin typeface="Segoe UI"/>
                <a:ea typeface="Segoe UI" pitchFamily="34" charset="0"/>
                <a:cs typeface="Segoe UI" pitchFamily="34" charset="0"/>
              </a:endParaRPr>
            </a:p>
          </p:txBody>
        </p:sp>
        <p:sp>
          <p:nvSpPr>
            <p:cNvPr id="99" name="Donut 3"/>
            <p:cNvSpPr/>
            <p:nvPr/>
          </p:nvSpPr>
          <p:spPr bwMode="auto">
            <a:xfrm>
              <a:off x="1742065" y="3002355"/>
              <a:ext cx="383905" cy="351537"/>
            </a:xfrm>
            <a:custGeom>
              <a:avLst/>
              <a:gdLst/>
              <a:ahLst/>
              <a:cxnLst/>
              <a:rect l="l" t="t" r="r" b="b"/>
              <a:pathLst>
                <a:path w="1409956" h="1291077">
                  <a:moveTo>
                    <a:pt x="956401" y="78410"/>
                  </a:moveTo>
                  <a:cubicBezTo>
                    <a:pt x="747518" y="78410"/>
                    <a:pt x="578184" y="247744"/>
                    <a:pt x="578184" y="456627"/>
                  </a:cubicBezTo>
                  <a:cubicBezTo>
                    <a:pt x="578184" y="665510"/>
                    <a:pt x="747518" y="834844"/>
                    <a:pt x="956401" y="834844"/>
                  </a:cubicBezTo>
                  <a:cubicBezTo>
                    <a:pt x="1165284" y="834844"/>
                    <a:pt x="1334618" y="665510"/>
                    <a:pt x="1334618" y="456627"/>
                  </a:cubicBezTo>
                  <a:cubicBezTo>
                    <a:pt x="1334618" y="247744"/>
                    <a:pt x="1165284" y="78410"/>
                    <a:pt x="956401" y="78410"/>
                  </a:cubicBezTo>
                  <a:close/>
                  <a:moveTo>
                    <a:pt x="952756" y="0"/>
                  </a:moveTo>
                  <a:cubicBezTo>
                    <a:pt x="1205261" y="0"/>
                    <a:pt x="1409956" y="204695"/>
                    <a:pt x="1409956" y="457200"/>
                  </a:cubicBezTo>
                  <a:cubicBezTo>
                    <a:pt x="1409956" y="709705"/>
                    <a:pt x="1205261" y="914400"/>
                    <a:pt x="952756" y="914400"/>
                  </a:cubicBezTo>
                  <a:cubicBezTo>
                    <a:pt x="862133" y="914400"/>
                    <a:pt x="777669" y="888034"/>
                    <a:pt x="707132" y="841746"/>
                  </a:cubicBezTo>
                  <a:lnTo>
                    <a:pt x="136495" y="1280102"/>
                  </a:lnTo>
                  <a:cubicBezTo>
                    <a:pt x="21896" y="1327168"/>
                    <a:pt x="-44029" y="1213730"/>
                    <a:pt x="33797" y="1113182"/>
                  </a:cubicBezTo>
                  <a:lnTo>
                    <a:pt x="568587" y="703518"/>
                  </a:lnTo>
                  <a:cubicBezTo>
                    <a:pt x="522087" y="632814"/>
                    <a:pt x="495556" y="548105"/>
                    <a:pt x="495556" y="457200"/>
                  </a:cubicBezTo>
                  <a:cubicBezTo>
                    <a:pt x="495556" y="204695"/>
                    <a:pt x="700251" y="0"/>
                    <a:pt x="952756" y="0"/>
                  </a:cubicBezTo>
                  <a:close/>
                </a:path>
              </a:pathLst>
            </a:cu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ysClr val="windowText" lastClr="000000"/>
                </a:solidFill>
                <a:effectLst/>
                <a:uLnTx/>
                <a:uFillTx/>
                <a:latin typeface="Segoe UI"/>
                <a:ea typeface="+mn-ea"/>
                <a:cs typeface="+mn-cs"/>
              </a:endParaRPr>
            </a:p>
          </p:txBody>
        </p:sp>
        <p:sp>
          <p:nvSpPr>
            <p:cNvPr id="100" name="Rectangle 99"/>
            <p:cNvSpPr/>
            <p:nvPr/>
          </p:nvSpPr>
          <p:spPr>
            <a:xfrm>
              <a:off x="1600398" y="2677430"/>
              <a:ext cx="820353" cy="307777"/>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Segoe UI"/>
                  <a:ea typeface="Segoe UI" pitchFamily="34" charset="0"/>
                  <a:cs typeface="Segoe UI" pitchFamily="34" charset="0"/>
                </a:rPr>
                <a:t>Explore</a:t>
              </a:r>
              <a:endParaRPr kumimoji="0" lang="en-US" sz="1600" b="0" i="0" u="none" strike="noStrike" kern="1200" cap="none" spc="0" normalizeH="0" baseline="0" noProof="0">
                <a:ln>
                  <a:noFill/>
                </a:ln>
                <a:solidFill>
                  <a:prstClr val="black"/>
                </a:solidFill>
                <a:effectLst/>
                <a:uLnTx/>
                <a:uFillTx/>
                <a:latin typeface="Segoe UI"/>
                <a:ea typeface="+mn-ea"/>
                <a:cs typeface="+mn-cs"/>
              </a:endParaRPr>
            </a:p>
          </p:txBody>
        </p:sp>
        <p:sp>
          <p:nvSpPr>
            <p:cNvPr id="101" name="Rectangle 100"/>
            <p:cNvSpPr/>
            <p:nvPr/>
          </p:nvSpPr>
          <p:spPr>
            <a:xfrm>
              <a:off x="509174" y="1475232"/>
              <a:ext cx="838756" cy="307777"/>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Segoe UI"/>
                  <a:ea typeface="Segoe UI" pitchFamily="34" charset="0"/>
                  <a:cs typeface="Segoe UI" pitchFamily="34" charset="0"/>
                </a:rPr>
                <a:t>Prepare</a:t>
              </a:r>
              <a:endParaRPr kumimoji="0" lang="en-US" sz="1400" b="0" i="0" u="none" strike="noStrike" kern="1200" cap="none" spc="0" normalizeH="0" baseline="0" noProof="0">
                <a:ln>
                  <a:noFill/>
                </a:ln>
                <a:solidFill>
                  <a:prstClr val="black"/>
                </a:solidFill>
                <a:effectLst/>
                <a:uLnTx/>
                <a:uFillTx/>
                <a:latin typeface="Segoe UI"/>
                <a:ea typeface="+mn-ea"/>
                <a:cs typeface="+mn-cs"/>
              </a:endParaRPr>
            </a:p>
          </p:txBody>
        </p:sp>
        <p:sp>
          <p:nvSpPr>
            <p:cNvPr id="102" name="Freeform 101"/>
            <p:cNvSpPr>
              <a:spLocks noChangeAspect="1"/>
            </p:cNvSpPr>
            <p:nvPr/>
          </p:nvSpPr>
          <p:spPr bwMode="black">
            <a:xfrm>
              <a:off x="1836174" y="5643069"/>
              <a:ext cx="274320" cy="284173"/>
            </a:xfrm>
            <a:custGeom>
              <a:avLst/>
              <a:gdLst>
                <a:gd name="T0" fmla="*/ 539 w 669"/>
                <a:gd name="T1" fmla="*/ 5 h 693"/>
                <a:gd name="T2" fmla="*/ 640 w 669"/>
                <a:gd name="T3" fmla="*/ 55 h 693"/>
                <a:gd name="T4" fmla="*/ 603 w 669"/>
                <a:gd name="T5" fmla="*/ 195 h 693"/>
                <a:gd name="T6" fmla="*/ 490 w 669"/>
                <a:gd name="T7" fmla="*/ 188 h 693"/>
                <a:gd name="T8" fmla="*/ 479 w 669"/>
                <a:gd name="T9" fmla="*/ 176 h 693"/>
                <a:gd name="T10" fmla="*/ 213 w 669"/>
                <a:gd name="T11" fmla="*/ 330 h 693"/>
                <a:gd name="T12" fmla="*/ 218 w 669"/>
                <a:gd name="T13" fmla="*/ 345 h 693"/>
                <a:gd name="T14" fmla="*/ 218 w 669"/>
                <a:gd name="T15" fmla="*/ 375 h 693"/>
                <a:gd name="T16" fmla="*/ 209 w 669"/>
                <a:gd name="T17" fmla="*/ 402 h 693"/>
                <a:gd name="T18" fmla="*/ 369 w 669"/>
                <a:gd name="T19" fmla="*/ 503 h 693"/>
                <a:gd name="T20" fmla="*/ 373 w 669"/>
                <a:gd name="T21" fmla="*/ 498 h 693"/>
                <a:gd name="T22" fmla="*/ 456 w 669"/>
                <a:gd name="T23" fmla="*/ 475 h 693"/>
                <a:gd name="T24" fmla="*/ 494 w 669"/>
                <a:gd name="T25" fmla="*/ 489 h 693"/>
                <a:gd name="T26" fmla="*/ 527 w 669"/>
                <a:gd name="T27" fmla="*/ 630 h 693"/>
                <a:gd name="T28" fmla="*/ 386 w 669"/>
                <a:gd name="T29" fmla="*/ 663 h 693"/>
                <a:gd name="T30" fmla="*/ 339 w 669"/>
                <a:gd name="T31" fmla="*/ 560 h 693"/>
                <a:gd name="T32" fmla="*/ 345 w 669"/>
                <a:gd name="T33" fmla="*/ 544 h 693"/>
                <a:gd name="T34" fmla="*/ 177 w 669"/>
                <a:gd name="T35" fmla="*/ 439 h 693"/>
                <a:gd name="T36" fmla="*/ 168 w 669"/>
                <a:gd name="T37" fmla="*/ 446 h 693"/>
                <a:gd name="T38" fmla="*/ 28 w 669"/>
                <a:gd name="T39" fmla="*/ 409 h 693"/>
                <a:gd name="T40" fmla="*/ 65 w 669"/>
                <a:gd name="T41" fmla="*/ 269 h 693"/>
                <a:gd name="T42" fmla="*/ 178 w 669"/>
                <a:gd name="T43" fmla="*/ 276 h 693"/>
                <a:gd name="T44" fmla="*/ 189 w 669"/>
                <a:gd name="T45" fmla="*/ 288 h 693"/>
                <a:gd name="T46" fmla="*/ 455 w 669"/>
                <a:gd name="T47" fmla="*/ 134 h 693"/>
                <a:gd name="T48" fmla="*/ 450 w 669"/>
                <a:gd name="T49" fmla="*/ 119 h 693"/>
                <a:gd name="T50" fmla="*/ 501 w 669"/>
                <a:gd name="T51" fmla="*/ 18 h 693"/>
                <a:gd name="T52" fmla="*/ 539 w 669"/>
                <a:gd name="T53" fmla="*/ 5 h 6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69" h="693">
                  <a:moveTo>
                    <a:pt x="539" y="5"/>
                  </a:moveTo>
                  <a:cubicBezTo>
                    <a:pt x="579" y="0"/>
                    <a:pt x="619" y="19"/>
                    <a:pt x="640" y="55"/>
                  </a:cubicBezTo>
                  <a:cubicBezTo>
                    <a:pt x="669" y="104"/>
                    <a:pt x="652" y="167"/>
                    <a:pt x="603" y="195"/>
                  </a:cubicBezTo>
                  <a:cubicBezTo>
                    <a:pt x="566" y="216"/>
                    <a:pt x="522" y="212"/>
                    <a:pt x="490" y="188"/>
                  </a:cubicBezTo>
                  <a:cubicBezTo>
                    <a:pt x="479" y="176"/>
                    <a:pt x="479" y="176"/>
                    <a:pt x="479" y="176"/>
                  </a:cubicBezTo>
                  <a:cubicBezTo>
                    <a:pt x="213" y="330"/>
                    <a:pt x="213" y="330"/>
                    <a:pt x="213" y="330"/>
                  </a:cubicBezTo>
                  <a:cubicBezTo>
                    <a:pt x="218" y="345"/>
                    <a:pt x="218" y="345"/>
                    <a:pt x="218" y="345"/>
                  </a:cubicBezTo>
                  <a:cubicBezTo>
                    <a:pt x="219" y="355"/>
                    <a:pt x="219" y="365"/>
                    <a:pt x="218" y="375"/>
                  </a:cubicBezTo>
                  <a:cubicBezTo>
                    <a:pt x="209" y="402"/>
                    <a:pt x="209" y="402"/>
                    <a:pt x="209" y="402"/>
                  </a:cubicBezTo>
                  <a:cubicBezTo>
                    <a:pt x="369" y="503"/>
                    <a:pt x="369" y="503"/>
                    <a:pt x="369" y="503"/>
                  </a:cubicBezTo>
                  <a:cubicBezTo>
                    <a:pt x="373" y="498"/>
                    <a:pt x="373" y="498"/>
                    <a:pt x="373" y="498"/>
                  </a:cubicBezTo>
                  <a:cubicBezTo>
                    <a:pt x="396" y="479"/>
                    <a:pt x="427" y="470"/>
                    <a:pt x="456" y="475"/>
                  </a:cubicBezTo>
                  <a:cubicBezTo>
                    <a:pt x="470" y="477"/>
                    <a:pt x="482" y="482"/>
                    <a:pt x="494" y="489"/>
                  </a:cubicBezTo>
                  <a:cubicBezTo>
                    <a:pt x="542" y="519"/>
                    <a:pt x="557" y="583"/>
                    <a:pt x="527" y="630"/>
                  </a:cubicBezTo>
                  <a:cubicBezTo>
                    <a:pt x="497" y="678"/>
                    <a:pt x="433" y="693"/>
                    <a:pt x="386" y="663"/>
                  </a:cubicBezTo>
                  <a:cubicBezTo>
                    <a:pt x="350" y="640"/>
                    <a:pt x="333" y="599"/>
                    <a:pt x="339" y="560"/>
                  </a:cubicBezTo>
                  <a:cubicBezTo>
                    <a:pt x="345" y="544"/>
                    <a:pt x="345" y="544"/>
                    <a:pt x="345" y="544"/>
                  </a:cubicBezTo>
                  <a:cubicBezTo>
                    <a:pt x="177" y="439"/>
                    <a:pt x="177" y="439"/>
                    <a:pt x="177" y="439"/>
                  </a:cubicBezTo>
                  <a:cubicBezTo>
                    <a:pt x="168" y="446"/>
                    <a:pt x="168" y="446"/>
                    <a:pt x="168" y="446"/>
                  </a:cubicBezTo>
                  <a:cubicBezTo>
                    <a:pt x="119" y="475"/>
                    <a:pt x="56" y="458"/>
                    <a:pt x="28" y="409"/>
                  </a:cubicBezTo>
                  <a:cubicBezTo>
                    <a:pt x="0" y="360"/>
                    <a:pt x="16" y="297"/>
                    <a:pt x="65" y="269"/>
                  </a:cubicBezTo>
                  <a:cubicBezTo>
                    <a:pt x="102" y="248"/>
                    <a:pt x="147" y="252"/>
                    <a:pt x="178" y="276"/>
                  </a:cubicBezTo>
                  <a:cubicBezTo>
                    <a:pt x="189" y="288"/>
                    <a:pt x="189" y="288"/>
                    <a:pt x="189" y="288"/>
                  </a:cubicBezTo>
                  <a:cubicBezTo>
                    <a:pt x="455" y="134"/>
                    <a:pt x="455" y="134"/>
                    <a:pt x="455" y="134"/>
                  </a:cubicBezTo>
                  <a:cubicBezTo>
                    <a:pt x="450" y="119"/>
                    <a:pt x="450" y="119"/>
                    <a:pt x="450" y="119"/>
                  </a:cubicBezTo>
                  <a:cubicBezTo>
                    <a:pt x="445" y="80"/>
                    <a:pt x="464" y="39"/>
                    <a:pt x="501" y="18"/>
                  </a:cubicBezTo>
                  <a:cubicBezTo>
                    <a:pt x="513" y="11"/>
                    <a:pt x="526" y="6"/>
                    <a:pt x="539" y="5"/>
                  </a:cubicBezTo>
                  <a:close/>
                </a:path>
              </a:pathLst>
            </a:custGeom>
            <a:solidFill>
              <a:schemeClr val="tx1"/>
            </a:solidFill>
            <a:ln>
              <a:noFill/>
            </a:ln>
          </p:spPr>
          <p:txBody>
            <a:bodyPr vert="horz" wrap="square" lIns="68574" tIns="34287" rIns="68574" bIns="34287"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Segoe UI"/>
                <a:ea typeface="+mn-ea"/>
                <a:cs typeface="+mn-cs"/>
              </a:endParaRPr>
            </a:p>
          </p:txBody>
        </p:sp>
        <p:sp>
          <p:nvSpPr>
            <p:cNvPr id="103" name="Freeform 102"/>
            <p:cNvSpPr>
              <a:spLocks noChangeAspect="1" noEditPoints="1"/>
            </p:cNvSpPr>
            <p:nvPr/>
          </p:nvSpPr>
          <p:spPr bwMode="black">
            <a:xfrm>
              <a:off x="722320" y="1783009"/>
              <a:ext cx="452202" cy="366660"/>
            </a:xfrm>
            <a:custGeom>
              <a:avLst/>
              <a:gdLst>
                <a:gd name="T0" fmla="*/ 600 w 1107"/>
                <a:gd name="T1" fmla="*/ 625 h 897"/>
                <a:gd name="T2" fmla="*/ 649 w 1107"/>
                <a:gd name="T3" fmla="*/ 567 h 897"/>
                <a:gd name="T4" fmla="*/ 727 w 1107"/>
                <a:gd name="T5" fmla="*/ 482 h 897"/>
                <a:gd name="T6" fmla="*/ 601 w 1107"/>
                <a:gd name="T7" fmla="*/ 434 h 897"/>
                <a:gd name="T8" fmla="*/ 628 w 1107"/>
                <a:gd name="T9" fmla="*/ 305 h 897"/>
                <a:gd name="T10" fmla="*/ 547 w 1107"/>
                <a:gd name="T11" fmla="*/ 240 h 897"/>
                <a:gd name="T12" fmla="*/ 427 w 1107"/>
                <a:gd name="T13" fmla="*/ 287 h 897"/>
                <a:gd name="T14" fmla="*/ 368 w 1107"/>
                <a:gd name="T15" fmla="*/ 170 h 897"/>
                <a:gd name="T16" fmla="*/ 285 w 1107"/>
                <a:gd name="T17" fmla="*/ 263 h 897"/>
                <a:gd name="T18" fmla="*/ 241 w 1107"/>
                <a:gd name="T19" fmla="*/ 313 h 897"/>
                <a:gd name="T20" fmla="*/ 139 w 1107"/>
                <a:gd name="T21" fmla="*/ 281 h 897"/>
                <a:gd name="T22" fmla="*/ 79 w 1107"/>
                <a:gd name="T23" fmla="*/ 355 h 897"/>
                <a:gd name="T24" fmla="*/ 132 w 1107"/>
                <a:gd name="T25" fmla="*/ 446 h 897"/>
                <a:gd name="T26" fmla="*/ 83 w 1107"/>
                <a:gd name="T27" fmla="*/ 505 h 897"/>
                <a:gd name="T28" fmla="*/ 5 w 1107"/>
                <a:gd name="T29" fmla="*/ 590 h 897"/>
                <a:gd name="T30" fmla="*/ 132 w 1107"/>
                <a:gd name="T31" fmla="*/ 638 h 897"/>
                <a:gd name="T32" fmla="*/ 145 w 1107"/>
                <a:gd name="T33" fmla="*/ 669 h 897"/>
                <a:gd name="T34" fmla="*/ 110 w 1107"/>
                <a:gd name="T35" fmla="*/ 793 h 897"/>
                <a:gd name="T36" fmla="*/ 230 w 1107"/>
                <a:gd name="T37" fmla="*/ 781 h 897"/>
                <a:gd name="T38" fmla="*/ 306 w 1107"/>
                <a:gd name="T39" fmla="*/ 785 h 897"/>
                <a:gd name="T40" fmla="*/ 346 w 1107"/>
                <a:gd name="T41" fmla="*/ 878 h 897"/>
                <a:gd name="T42" fmla="*/ 440 w 1107"/>
                <a:gd name="T43" fmla="*/ 872 h 897"/>
                <a:gd name="T44" fmla="*/ 466 w 1107"/>
                <a:gd name="T45" fmla="*/ 764 h 897"/>
                <a:gd name="T46" fmla="*/ 539 w 1107"/>
                <a:gd name="T47" fmla="*/ 755 h 897"/>
                <a:gd name="T48" fmla="*/ 659 w 1107"/>
                <a:gd name="T49" fmla="*/ 743 h 897"/>
                <a:gd name="T50" fmla="*/ 263 w 1107"/>
                <a:gd name="T51" fmla="*/ 452 h 897"/>
                <a:gd name="T52" fmla="*/ 281 w 1107"/>
                <a:gd name="T53" fmla="*/ 633 h 897"/>
                <a:gd name="T54" fmla="*/ 1002 w 1107"/>
                <a:gd name="T55" fmla="*/ 332 h 897"/>
                <a:gd name="T56" fmla="*/ 1043 w 1107"/>
                <a:gd name="T57" fmla="*/ 304 h 897"/>
                <a:gd name="T58" fmla="*/ 1107 w 1107"/>
                <a:gd name="T59" fmla="*/ 266 h 897"/>
                <a:gd name="T60" fmla="*/ 1037 w 1107"/>
                <a:gd name="T61" fmla="*/ 213 h 897"/>
                <a:gd name="T62" fmla="*/ 1077 w 1107"/>
                <a:gd name="T63" fmla="*/ 138 h 897"/>
                <a:gd name="T64" fmla="*/ 1038 w 1107"/>
                <a:gd name="T65" fmla="*/ 83 h 897"/>
                <a:gd name="T66" fmla="*/ 956 w 1107"/>
                <a:gd name="T67" fmla="*/ 91 h 897"/>
                <a:gd name="T68" fmla="*/ 940 w 1107"/>
                <a:gd name="T69" fmla="*/ 7 h 897"/>
                <a:gd name="T70" fmla="*/ 872 w 1107"/>
                <a:gd name="T71" fmla="*/ 50 h 897"/>
                <a:gd name="T72" fmla="*/ 836 w 1107"/>
                <a:gd name="T73" fmla="*/ 74 h 897"/>
                <a:gd name="T74" fmla="*/ 778 w 1107"/>
                <a:gd name="T75" fmla="*/ 35 h 897"/>
                <a:gd name="T76" fmla="*/ 728 w 1107"/>
                <a:gd name="T77" fmla="*/ 70 h 897"/>
                <a:gd name="T78" fmla="*/ 744 w 1107"/>
                <a:gd name="T79" fmla="*/ 136 h 897"/>
                <a:gd name="T80" fmla="*/ 703 w 1107"/>
                <a:gd name="T81" fmla="*/ 164 h 897"/>
                <a:gd name="T82" fmla="*/ 640 w 1107"/>
                <a:gd name="T83" fmla="*/ 203 h 897"/>
                <a:gd name="T84" fmla="*/ 710 w 1107"/>
                <a:gd name="T85" fmla="*/ 255 h 897"/>
                <a:gd name="T86" fmla="*/ 712 w 1107"/>
                <a:gd name="T87" fmla="*/ 277 h 897"/>
                <a:gd name="T88" fmla="*/ 668 w 1107"/>
                <a:gd name="T89" fmla="*/ 347 h 897"/>
                <a:gd name="T90" fmla="*/ 745 w 1107"/>
                <a:gd name="T91" fmla="*/ 361 h 897"/>
                <a:gd name="T92" fmla="*/ 791 w 1107"/>
                <a:gd name="T93" fmla="*/ 377 h 897"/>
                <a:gd name="T94" fmla="*/ 799 w 1107"/>
                <a:gd name="T95" fmla="*/ 443 h 897"/>
                <a:gd name="T96" fmla="*/ 859 w 1107"/>
                <a:gd name="T97" fmla="*/ 456 h 897"/>
                <a:gd name="T98" fmla="*/ 894 w 1107"/>
                <a:gd name="T99" fmla="*/ 393 h 897"/>
                <a:gd name="T100" fmla="*/ 941 w 1107"/>
                <a:gd name="T101" fmla="*/ 401 h 897"/>
                <a:gd name="T102" fmla="*/ 1018 w 1107"/>
                <a:gd name="T103" fmla="*/ 415 h 897"/>
                <a:gd name="T104" fmla="*/ 825 w 1107"/>
                <a:gd name="T105" fmla="*/ 164 h 897"/>
                <a:gd name="T106" fmla="*/ 803 w 1107"/>
                <a:gd name="T107" fmla="*/ 279 h 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107" h="897">
                  <a:moveTo>
                    <a:pt x="654" y="716"/>
                  </a:moveTo>
                  <a:cubicBezTo>
                    <a:pt x="616" y="670"/>
                    <a:pt x="616" y="670"/>
                    <a:pt x="616" y="670"/>
                  </a:cubicBezTo>
                  <a:cubicBezTo>
                    <a:pt x="593" y="654"/>
                    <a:pt x="603" y="638"/>
                    <a:pt x="600" y="625"/>
                  </a:cubicBezTo>
                  <a:cubicBezTo>
                    <a:pt x="600" y="625"/>
                    <a:pt x="600" y="625"/>
                    <a:pt x="600" y="625"/>
                  </a:cubicBezTo>
                  <a:cubicBezTo>
                    <a:pt x="605" y="617"/>
                    <a:pt x="611" y="609"/>
                    <a:pt x="608" y="596"/>
                  </a:cubicBezTo>
                  <a:cubicBezTo>
                    <a:pt x="618" y="580"/>
                    <a:pt x="623" y="572"/>
                    <a:pt x="649" y="567"/>
                  </a:cubicBezTo>
                  <a:cubicBezTo>
                    <a:pt x="715" y="553"/>
                    <a:pt x="715" y="553"/>
                    <a:pt x="715" y="553"/>
                  </a:cubicBezTo>
                  <a:cubicBezTo>
                    <a:pt x="728" y="550"/>
                    <a:pt x="733" y="542"/>
                    <a:pt x="730" y="529"/>
                  </a:cubicBezTo>
                  <a:cubicBezTo>
                    <a:pt x="727" y="482"/>
                    <a:pt x="727" y="482"/>
                    <a:pt x="727" y="482"/>
                  </a:cubicBezTo>
                  <a:cubicBezTo>
                    <a:pt x="724" y="469"/>
                    <a:pt x="717" y="463"/>
                    <a:pt x="701" y="453"/>
                  </a:cubicBezTo>
                  <a:cubicBezTo>
                    <a:pt x="641" y="459"/>
                    <a:pt x="641" y="459"/>
                    <a:pt x="641" y="459"/>
                  </a:cubicBezTo>
                  <a:cubicBezTo>
                    <a:pt x="620" y="457"/>
                    <a:pt x="604" y="447"/>
                    <a:pt x="601" y="434"/>
                  </a:cubicBezTo>
                  <a:cubicBezTo>
                    <a:pt x="598" y="421"/>
                    <a:pt x="590" y="416"/>
                    <a:pt x="580" y="397"/>
                  </a:cubicBezTo>
                  <a:cubicBezTo>
                    <a:pt x="577" y="384"/>
                    <a:pt x="574" y="371"/>
                    <a:pt x="584" y="355"/>
                  </a:cubicBezTo>
                  <a:cubicBezTo>
                    <a:pt x="628" y="305"/>
                    <a:pt x="628" y="305"/>
                    <a:pt x="628" y="305"/>
                  </a:cubicBezTo>
                  <a:cubicBezTo>
                    <a:pt x="634" y="297"/>
                    <a:pt x="631" y="284"/>
                    <a:pt x="623" y="279"/>
                  </a:cubicBezTo>
                  <a:cubicBezTo>
                    <a:pt x="581" y="240"/>
                    <a:pt x="581" y="240"/>
                    <a:pt x="581" y="240"/>
                  </a:cubicBezTo>
                  <a:cubicBezTo>
                    <a:pt x="573" y="235"/>
                    <a:pt x="560" y="238"/>
                    <a:pt x="547" y="240"/>
                  </a:cubicBezTo>
                  <a:cubicBezTo>
                    <a:pt x="503" y="291"/>
                    <a:pt x="503" y="291"/>
                    <a:pt x="503" y="291"/>
                  </a:cubicBezTo>
                  <a:cubicBezTo>
                    <a:pt x="484" y="302"/>
                    <a:pt x="471" y="304"/>
                    <a:pt x="463" y="299"/>
                  </a:cubicBezTo>
                  <a:cubicBezTo>
                    <a:pt x="456" y="294"/>
                    <a:pt x="435" y="292"/>
                    <a:pt x="427" y="287"/>
                  </a:cubicBezTo>
                  <a:cubicBezTo>
                    <a:pt x="419" y="282"/>
                    <a:pt x="403" y="271"/>
                    <a:pt x="400" y="258"/>
                  </a:cubicBezTo>
                  <a:cubicBezTo>
                    <a:pt x="386" y="193"/>
                    <a:pt x="386" y="193"/>
                    <a:pt x="386" y="193"/>
                  </a:cubicBezTo>
                  <a:cubicBezTo>
                    <a:pt x="384" y="180"/>
                    <a:pt x="368" y="170"/>
                    <a:pt x="368" y="170"/>
                  </a:cubicBezTo>
                  <a:cubicBezTo>
                    <a:pt x="308" y="176"/>
                    <a:pt x="308" y="176"/>
                    <a:pt x="308" y="176"/>
                  </a:cubicBezTo>
                  <a:cubicBezTo>
                    <a:pt x="308" y="176"/>
                    <a:pt x="289" y="187"/>
                    <a:pt x="292" y="200"/>
                  </a:cubicBezTo>
                  <a:cubicBezTo>
                    <a:pt x="285" y="263"/>
                    <a:pt x="285" y="263"/>
                    <a:pt x="285" y="263"/>
                  </a:cubicBezTo>
                  <a:cubicBezTo>
                    <a:pt x="291" y="289"/>
                    <a:pt x="277" y="292"/>
                    <a:pt x="272" y="300"/>
                  </a:cubicBezTo>
                  <a:cubicBezTo>
                    <a:pt x="272" y="300"/>
                    <a:pt x="272" y="300"/>
                    <a:pt x="267" y="308"/>
                  </a:cubicBezTo>
                  <a:cubicBezTo>
                    <a:pt x="259" y="302"/>
                    <a:pt x="246" y="305"/>
                    <a:pt x="241" y="313"/>
                  </a:cubicBezTo>
                  <a:cubicBezTo>
                    <a:pt x="236" y="321"/>
                    <a:pt x="236" y="321"/>
                    <a:pt x="236" y="321"/>
                  </a:cubicBezTo>
                  <a:cubicBezTo>
                    <a:pt x="223" y="324"/>
                    <a:pt x="210" y="327"/>
                    <a:pt x="194" y="317"/>
                  </a:cubicBezTo>
                  <a:cubicBezTo>
                    <a:pt x="139" y="281"/>
                    <a:pt x="139" y="281"/>
                    <a:pt x="139" y="281"/>
                  </a:cubicBezTo>
                  <a:cubicBezTo>
                    <a:pt x="131" y="276"/>
                    <a:pt x="110" y="273"/>
                    <a:pt x="104" y="281"/>
                  </a:cubicBezTo>
                  <a:cubicBezTo>
                    <a:pt x="79" y="321"/>
                    <a:pt x="79" y="321"/>
                    <a:pt x="79" y="321"/>
                  </a:cubicBezTo>
                  <a:cubicBezTo>
                    <a:pt x="66" y="324"/>
                    <a:pt x="68" y="337"/>
                    <a:pt x="79" y="355"/>
                  </a:cubicBezTo>
                  <a:cubicBezTo>
                    <a:pt x="121" y="394"/>
                    <a:pt x="121" y="394"/>
                    <a:pt x="121" y="394"/>
                  </a:cubicBezTo>
                  <a:cubicBezTo>
                    <a:pt x="140" y="417"/>
                    <a:pt x="135" y="425"/>
                    <a:pt x="132" y="446"/>
                  </a:cubicBezTo>
                  <a:cubicBezTo>
                    <a:pt x="132" y="446"/>
                    <a:pt x="132" y="446"/>
                    <a:pt x="132" y="446"/>
                  </a:cubicBezTo>
                  <a:cubicBezTo>
                    <a:pt x="127" y="454"/>
                    <a:pt x="122" y="462"/>
                    <a:pt x="117" y="470"/>
                  </a:cubicBezTo>
                  <a:cubicBezTo>
                    <a:pt x="117" y="470"/>
                    <a:pt x="117" y="470"/>
                    <a:pt x="117" y="470"/>
                  </a:cubicBezTo>
                  <a:cubicBezTo>
                    <a:pt x="120" y="483"/>
                    <a:pt x="109" y="499"/>
                    <a:pt x="83" y="505"/>
                  </a:cubicBezTo>
                  <a:cubicBezTo>
                    <a:pt x="23" y="511"/>
                    <a:pt x="23" y="511"/>
                    <a:pt x="23" y="511"/>
                  </a:cubicBezTo>
                  <a:cubicBezTo>
                    <a:pt x="10" y="514"/>
                    <a:pt x="0" y="529"/>
                    <a:pt x="2" y="543"/>
                  </a:cubicBezTo>
                  <a:cubicBezTo>
                    <a:pt x="5" y="590"/>
                    <a:pt x="5" y="590"/>
                    <a:pt x="5" y="590"/>
                  </a:cubicBezTo>
                  <a:cubicBezTo>
                    <a:pt x="8" y="603"/>
                    <a:pt x="16" y="608"/>
                    <a:pt x="37" y="610"/>
                  </a:cubicBezTo>
                  <a:cubicBezTo>
                    <a:pt x="92" y="612"/>
                    <a:pt x="92" y="612"/>
                    <a:pt x="92" y="612"/>
                  </a:cubicBezTo>
                  <a:cubicBezTo>
                    <a:pt x="113" y="614"/>
                    <a:pt x="129" y="625"/>
                    <a:pt x="132" y="638"/>
                  </a:cubicBezTo>
                  <a:cubicBezTo>
                    <a:pt x="132" y="638"/>
                    <a:pt x="132" y="638"/>
                    <a:pt x="132" y="638"/>
                  </a:cubicBezTo>
                  <a:cubicBezTo>
                    <a:pt x="140" y="643"/>
                    <a:pt x="142" y="656"/>
                    <a:pt x="150" y="661"/>
                  </a:cubicBezTo>
                  <a:cubicBezTo>
                    <a:pt x="145" y="669"/>
                    <a:pt x="145" y="669"/>
                    <a:pt x="145" y="669"/>
                  </a:cubicBezTo>
                  <a:cubicBezTo>
                    <a:pt x="153" y="674"/>
                    <a:pt x="156" y="687"/>
                    <a:pt x="140" y="711"/>
                  </a:cubicBezTo>
                  <a:cubicBezTo>
                    <a:pt x="109" y="759"/>
                    <a:pt x="109" y="759"/>
                    <a:pt x="109" y="759"/>
                  </a:cubicBezTo>
                  <a:cubicBezTo>
                    <a:pt x="99" y="775"/>
                    <a:pt x="102" y="788"/>
                    <a:pt x="110" y="793"/>
                  </a:cubicBezTo>
                  <a:cubicBezTo>
                    <a:pt x="152" y="832"/>
                    <a:pt x="152" y="832"/>
                    <a:pt x="152" y="832"/>
                  </a:cubicBezTo>
                  <a:cubicBezTo>
                    <a:pt x="160" y="837"/>
                    <a:pt x="173" y="834"/>
                    <a:pt x="178" y="826"/>
                  </a:cubicBezTo>
                  <a:cubicBezTo>
                    <a:pt x="230" y="781"/>
                    <a:pt x="230" y="781"/>
                    <a:pt x="230" y="781"/>
                  </a:cubicBezTo>
                  <a:cubicBezTo>
                    <a:pt x="248" y="770"/>
                    <a:pt x="261" y="767"/>
                    <a:pt x="269" y="772"/>
                  </a:cubicBezTo>
                  <a:cubicBezTo>
                    <a:pt x="269" y="772"/>
                    <a:pt x="269" y="772"/>
                    <a:pt x="269" y="772"/>
                  </a:cubicBezTo>
                  <a:cubicBezTo>
                    <a:pt x="282" y="769"/>
                    <a:pt x="298" y="779"/>
                    <a:pt x="306" y="785"/>
                  </a:cubicBezTo>
                  <a:cubicBezTo>
                    <a:pt x="306" y="785"/>
                    <a:pt x="306" y="785"/>
                    <a:pt x="306" y="785"/>
                  </a:cubicBezTo>
                  <a:cubicBezTo>
                    <a:pt x="319" y="782"/>
                    <a:pt x="327" y="787"/>
                    <a:pt x="332" y="813"/>
                  </a:cubicBezTo>
                  <a:cubicBezTo>
                    <a:pt x="346" y="878"/>
                    <a:pt x="346" y="878"/>
                    <a:pt x="346" y="878"/>
                  </a:cubicBezTo>
                  <a:cubicBezTo>
                    <a:pt x="349" y="892"/>
                    <a:pt x="357" y="897"/>
                    <a:pt x="370" y="894"/>
                  </a:cubicBezTo>
                  <a:cubicBezTo>
                    <a:pt x="425" y="896"/>
                    <a:pt x="425" y="896"/>
                    <a:pt x="425" y="896"/>
                  </a:cubicBezTo>
                  <a:cubicBezTo>
                    <a:pt x="430" y="888"/>
                    <a:pt x="443" y="885"/>
                    <a:pt x="440" y="872"/>
                  </a:cubicBezTo>
                  <a:cubicBezTo>
                    <a:pt x="440" y="804"/>
                    <a:pt x="440" y="804"/>
                    <a:pt x="440" y="804"/>
                  </a:cubicBezTo>
                  <a:cubicBezTo>
                    <a:pt x="442" y="783"/>
                    <a:pt x="460" y="772"/>
                    <a:pt x="466" y="764"/>
                  </a:cubicBezTo>
                  <a:cubicBezTo>
                    <a:pt x="466" y="764"/>
                    <a:pt x="466" y="764"/>
                    <a:pt x="466" y="764"/>
                  </a:cubicBezTo>
                  <a:cubicBezTo>
                    <a:pt x="479" y="761"/>
                    <a:pt x="492" y="758"/>
                    <a:pt x="497" y="750"/>
                  </a:cubicBezTo>
                  <a:cubicBezTo>
                    <a:pt x="497" y="750"/>
                    <a:pt x="497" y="750"/>
                    <a:pt x="497" y="750"/>
                  </a:cubicBezTo>
                  <a:cubicBezTo>
                    <a:pt x="510" y="747"/>
                    <a:pt x="523" y="745"/>
                    <a:pt x="539" y="755"/>
                  </a:cubicBezTo>
                  <a:cubicBezTo>
                    <a:pt x="594" y="791"/>
                    <a:pt x="594" y="791"/>
                    <a:pt x="594" y="791"/>
                  </a:cubicBezTo>
                  <a:cubicBezTo>
                    <a:pt x="602" y="796"/>
                    <a:pt x="623" y="798"/>
                    <a:pt x="628" y="790"/>
                  </a:cubicBezTo>
                  <a:cubicBezTo>
                    <a:pt x="659" y="743"/>
                    <a:pt x="659" y="743"/>
                    <a:pt x="659" y="743"/>
                  </a:cubicBezTo>
                  <a:cubicBezTo>
                    <a:pt x="659" y="743"/>
                    <a:pt x="669" y="727"/>
                    <a:pt x="654" y="716"/>
                  </a:cubicBezTo>
                  <a:close/>
                  <a:moveTo>
                    <a:pt x="281" y="633"/>
                  </a:moveTo>
                  <a:cubicBezTo>
                    <a:pt x="223" y="584"/>
                    <a:pt x="219" y="502"/>
                    <a:pt x="263" y="452"/>
                  </a:cubicBezTo>
                  <a:cubicBezTo>
                    <a:pt x="313" y="393"/>
                    <a:pt x="399" y="382"/>
                    <a:pt x="457" y="431"/>
                  </a:cubicBezTo>
                  <a:cubicBezTo>
                    <a:pt x="507" y="475"/>
                    <a:pt x="518" y="561"/>
                    <a:pt x="469" y="619"/>
                  </a:cubicBezTo>
                  <a:cubicBezTo>
                    <a:pt x="420" y="678"/>
                    <a:pt x="339" y="682"/>
                    <a:pt x="281" y="633"/>
                  </a:cubicBezTo>
                  <a:close/>
                  <a:moveTo>
                    <a:pt x="1019" y="398"/>
                  </a:moveTo>
                  <a:cubicBezTo>
                    <a:pt x="1004" y="362"/>
                    <a:pt x="1004" y="362"/>
                    <a:pt x="1004" y="362"/>
                  </a:cubicBezTo>
                  <a:cubicBezTo>
                    <a:pt x="992" y="348"/>
                    <a:pt x="1002" y="340"/>
                    <a:pt x="1002" y="332"/>
                  </a:cubicBezTo>
                  <a:cubicBezTo>
                    <a:pt x="1002" y="332"/>
                    <a:pt x="1002" y="332"/>
                    <a:pt x="1002" y="332"/>
                  </a:cubicBezTo>
                  <a:cubicBezTo>
                    <a:pt x="1007" y="328"/>
                    <a:pt x="1011" y="324"/>
                    <a:pt x="1012" y="315"/>
                  </a:cubicBezTo>
                  <a:cubicBezTo>
                    <a:pt x="1021" y="307"/>
                    <a:pt x="1026" y="303"/>
                    <a:pt x="1043" y="304"/>
                  </a:cubicBezTo>
                  <a:cubicBezTo>
                    <a:pt x="1086" y="307"/>
                    <a:pt x="1086" y="307"/>
                    <a:pt x="1086" y="307"/>
                  </a:cubicBezTo>
                  <a:cubicBezTo>
                    <a:pt x="1095" y="308"/>
                    <a:pt x="1099" y="304"/>
                    <a:pt x="1100" y="295"/>
                  </a:cubicBezTo>
                  <a:cubicBezTo>
                    <a:pt x="1107" y="266"/>
                    <a:pt x="1107" y="266"/>
                    <a:pt x="1107" y="266"/>
                  </a:cubicBezTo>
                  <a:cubicBezTo>
                    <a:pt x="1107" y="257"/>
                    <a:pt x="1103" y="252"/>
                    <a:pt x="1095" y="243"/>
                  </a:cubicBezTo>
                  <a:cubicBezTo>
                    <a:pt x="1057" y="236"/>
                    <a:pt x="1057" y="236"/>
                    <a:pt x="1057" y="236"/>
                  </a:cubicBezTo>
                  <a:cubicBezTo>
                    <a:pt x="1044" y="231"/>
                    <a:pt x="1036" y="222"/>
                    <a:pt x="1037" y="213"/>
                  </a:cubicBezTo>
                  <a:cubicBezTo>
                    <a:pt x="1038" y="205"/>
                    <a:pt x="1034" y="200"/>
                    <a:pt x="1030" y="187"/>
                  </a:cubicBezTo>
                  <a:cubicBezTo>
                    <a:pt x="1031" y="178"/>
                    <a:pt x="1032" y="170"/>
                    <a:pt x="1041" y="162"/>
                  </a:cubicBezTo>
                  <a:cubicBezTo>
                    <a:pt x="1077" y="138"/>
                    <a:pt x="1077" y="138"/>
                    <a:pt x="1077" y="138"/>
                  </a:cubicBezTo>
                  <a:cubicBezTo>
                    <a:pt x="1082" y="134"/>
                    <a:pt x="1083" y="126"/>
                    <a:pt x="1079" y="121"/>
                  </a:cubicBezTo>
                  <a:cubicBezTo>
                    <a:pt x="1059" y="89"/>
                    <a:pt x="1059" y="89"/>
                    <a:pt x="1059" y="89"/>
                  </a:cubicBezTo>
                  <a:cubicBezTo>
                    <a:pt x="1055" y="85"/>
                    <a:pt x="1047" y="84"/>
                    <a:pt x="1038" y="83"/>
                  </a:cubicBezTo>
                  <a:cubicBezTo>
                    <a:pt x="1002" y="107"/>
                    <a:pt x="1002" y="107"/>
                    <a:pt x="1002" y="107"/>
                  </a:cubicBezTo>
                  <a:cubicBezTo>
                    <a:pt x="989" y="110"/>
                    <a:pt x="980" y="110"/>
                    <a:pt x="976" y="105"/>
                  </a:cubicBezTo>
                  <a:cubicBezTo>
                    <a:pt x="972" y="100"/>
                    <a:pt x="960" y="95"/>
                    <a:pt x="956" y="91"/>
                  </a:cubicBezTo>
                  <a:cubicBezTo>
                    <a:pt x="952" y="86"/>
                    <a:pt x="944" y="77"/>
                    <a:pt x="944" y="68"/>
                  </a:cubicBezTo>
                  <a:cubicBezTo>
                    <a:pt x="948" y="25"/>
                    <a:pt x="948" y="25"/>
                    <a:pt x="948" y="25"/>
                  </a:cubicBezTo>
                  <a:cubicBezTo>
                    <a:pt x="948" y="17"/>
                    <a:pt x="940" y="7"/>
                    <a:pt x="940" y="7"/>
                  </a:cubicBezTo>
                  <a:cubicBezTo>
                    <a:pt x="902" y="0"/>
                    <a:pt x="902" y="0"/>
                    <a:pt x="902" y="0"/>
                  </a:cubicBezTo>
                  <a:cubicBezTo>
                    <a:pt x="902" y="0"/>
                    <a:pt x="889" y="4"/>
                    <a:pt x="888" y="12"/>
                  </a:cubicBezTo>
                  <a:cubicBezTo>
                    <a:pt x="872" y="50"/>
                    <a:pt x="872" y="50"/>
                    <a:pt x="872" y="50"/>
                  </a:cubicBezTo>
                  <a:cubicBezTo>
                    <a:pt x="871" y="67"/>
                    <a:pt x="862" y="67"/>
                    <a:pt x="858" y="71"/>
                  </a:cubicBezTo>
                  <a:cubicBezTo>
                    <a:pt x="858" y="71"/>
                    <a:pt x="858" y="71"/>
                    <a:pt x="853" y="75"/>
                  </a:cubicBezTo>
                  <a:cubicBezTo>
                    <a:pt x="849" y="70"/>
                    <a:pt x="840" y="70"/>
                    <a:pt x="836" y="74"/>
                  </a:cubicBezTo>
                  <a:cubicBezTo>
                    <a:pt x="831" y="78"/>
                    <a:pt x="831" y="78"/>
                    <a:pt x="831" y="78"/>
                  </a:cubicBezTo>
                  <a:cubicBezTo>
                    <a:pt x="822" y="77"/>
                    <a:pt x="814" y="76"/>
                    <a:pt x="806" y="67"/>
                  </a:cubicBezTo>
                  <a:cubicBezTo>
                    <a:pt x="778" y="35"/>
                    <a:pt x="778" y="35"/>
                    <a:pt x="778" y="35"/>
                  </a:cubicBezTo>
                  <a:cubicBezTo>
                    <a:pt x="774" y="30"/>
                    <a:pt x="762" y="25"/>
                    <a:pt x="757" y="29"/>
                  </a:cubicBezTo>
                  <a:cubicBezTo>
                    <a:pt x="734" y="49"/>
                    <a:pt x="734" y="49"/>
                    <a:pt x="734" y="49"/>
                  </a:cubicBezTo>
                  <a:cubicBezTo>
                    <a:pt x="725" y="49"/>
                    <a:pt x="725" y="57"/>
                    <a:pt x="728" y="70"/>
                  </a:cubicBezTo>
                  <a:cubicBezTo>
                    <a:pt x="747" y="102"/>
                    <a:pt x="747" y="102"/>
                    <a:pt x="747" y="102"/>
                  </a:cubicBezTo>
                  <a:cubicBezTo>
                    <a:pt x="754" y="120"/>
                    <a:pt x="750" y="124"/>
                    <a:pt x="744" y="136"/>
                  </a:cubicBezTo>
                  <a:cubicBezTo>
                    <a:pt x="744" y="136"/>
                    <a:pt x="744" y="136"/>
                    <a:pt x="744" y="136"/>
                  </a:cubicBezTo>
                  <a:cubicBezTo>
                    <a:pt x="740" y="140"/>
                    <a:pt x="735" y="144"/>
                    <a:pt x="731" y="148"/>
                  </a:cubicBezTo>
                  <a:cubicBezTo>
                    <a:pt x="731" y="148"/>
                    <a:pt x="731" y="148"/>
                    <a:pt x="731" y="148"/>
                  </a:cubicBezTo>
                  <a:cubicBezTo>
                    <a:pt x="730" y="157"/>
                    <a:pt x="721" y="165"/>
                    <a:pt x="703" y="164"/>
                  </a:cubicBezTo>
                  <a:cubicBezTo>
                    <a:pt x="665" y="157"/>
                    <a:pt x="665" y="157"/>
                    <a:pt x="665" y="157"/>
                  </a:cubicBezTo>
                  <a:cubicBezTo>
                    <a:pt x="656" y="156"/>
                    <a:pt x="647" y="164"/>
                    <a:pt x="647" y="173"/>
                  </a:cubicBezTo>
                  <a:cubicBezTo>
                    <a:pt x="640" y="203"/>
                    <a:pt x="640" y="203"/>
                    <a:pt x="640" y="203"/>
                  </a:cubicBezTo>
                  <a:cubicBezTo>
                    <a:pt x="639" y="211"/>
                    <a:pt x="643" y="216"/>
                    <a:pt x="656" y="221"/>
                  </a:cubicBezTo>
                  <a:cubicBezTo>
                    <a:pt x="690" y="232"/>
                    <a:pt x="690" y="232"/>
                    <a:pt x="690" y="232"/>
                  </a:cubicBezTo>
                  <a:cubicBezTo>
                    <a:pt x="702" y="237"/>
                    <a:pt x="710" y="246"/>
                    <a:pt x="710" y="255"/>
                  </a:cubicBezTo>
                  <a:cubicBezTo>
                    <a:pt x="710" y="255"/>
                    <a:pt x="710" y="255"/>
                    <a:pt x="710" y="255"/>
                  </a:cubicBezTo>
                  <a:cubicBezTo>
                    <a:pt x="714" y="260"/>
                    <a:pt x="713" y="268"/>
                    <a:pt x="717" y="273"/>
                  </a:cubicBezTo>
                  <a:cubicBezTo>
                    <a:pt x="712" y="277"/>
                    <a:pt x="712" y="277"/>
                    <a:pt x="712" y="277"/>
                  </a:cubicBezTo>
                  <a:cubicBezTo>
                    <a:pt x="716" y="281"/>
                    <a:pt x="716" y="290"/>
                    <a:pt x="702" y="302"/>
                  </a:cubicBezTo>
                  <a:cubicBezTo>
                    <a:pt x="674" y="326"/>
                    <a:pt x="674" y="326"/>
                    <a:pt x="674" y="326"/>
                  </a:cubicBezTo>
                  <a:cubicBezTo>
                    <a:pt x="665" y="334"/>
                    <a:pt x="664" y="343"/>
                    <a:pt x="668" y="347"/>
                  </a:cubicBezTo>
                  <a:cubicBezTo>
                    <a:pt x="687" y="379"/>
                    <a:pt x="687" y="379"/>
                    <a:pt x="687" y="379"/>
                  </a:cubicBezTo>
                  <a:cubicBezTo>
                    <a:pt x="691" y="383"/>
                    <a:pt x="700" y="384"/>
                    <a:pt x="704" y="380"/>
                  </a:cubicBezTo>
                  <a:cubicBezTo>
                    <a:pt x="745" y="361"/>
                    <a:pt x="745" y="361"/>
                    <a:pt x="745" y="361"/>
                  </a:cubicBezTo>
                  <a:cubicBezTo>
                    <a:pt x="758" y="358"/>
                    <a:pt x="767" y="358"/>
                    <a:pt x="771" y="363"/>
                  </a:cubicBezTo>
                  <a:cubicBezTo>
                    <a:pt x="771" y="363"/>
                    <a:pt x="771" y="363"/>
                    <a:pt x="771" y="363"/>
                  </a:cubicBezTo>
                  <a:cubicBezTo>
                    <a:pt x="779" y="364"/>
                    <a:pt x="787" y="373"/>
                    <a:pt x="791" y="377"/>
                  </a:cubicBezTo>
                  <a:cubicBezTo>
                    <a:pt x="791" y="377"/>
                    <a:pt x="791" y="377"/>
                    <a:pt x="791" y="377"/>
                  </a:cubicBezTo>
                  <a:cubicBezTo>
                    <a:pt x="800" y="378"/>
                    <a:pt x="804" y="383"/>
                    <a:pt x="802" y="400"/>
                  </a:cubicBezTo>
                  <a:cubicBezTo>
                    <a:pt x="799" y="443"/>
                    <a:pt x="799" y="443"/>
                    <a:pt x="799" y="443"/>
                  </a:cubicBezTo>
                  <a:cubicBezTo>
                    <a:pt x="798" y="451"/>
                    <a:pt x="802" y="456"/>
                    <a:pt x="811" y="457"/>
                  </a:cubicBezTo>
                  <a:cubicBezTo>
                    <a:pt x="845" y="468"/>
                    <a:pt x="845" y="468"/>
                    <a:pt x="845" y="468"/>
                  </a:cubicBezTo>
                  <a:cubicBezTo>
                    <a:pt x="849" y="464"/>
                    <a:pt x="858" y="464"/>
                    <a:pt x="859" y="456"/>
                  </a:cubicBezTo>
                  <a:cubicBezTo>
                    <a:pt x="871" y="413"/>
                    <a:pt x="871" y="413"/>
                    <a:pt x="871" y="413"/>
                  </a:cubicBezTo>
                  <a:cubicBezTo>
                    <a:pt x="876" y="401"/>
                    <a:pt x="889" y="397"/>
                    <a:pt x="894" y="393"/>
                  </a:cubicBezTo>
                  <a:cubicBezTo>
                    <a:pt x="894" y="393"/>
                    <a:pt x="894" y="393"/>
                    <a:pt x="894" y="393"/>
                  </a:cubicBezTo>
                  <a:cubicBezTo>
                    <a:pt x="902" y="394"/>
                    <a:pt x="911" y="395"/>
                    <a:pt x="916" y="391"/>
                  </a:cubicBezTo>
                  <a:cubicBezTo>
                    <a:pt x="916" y="391"/>
                    <a:pt x="916" y="391"/>
                    <a:pt x="916" y="391"/>
                  </a:cubicBezTo>
                  <a:cubicBezTo>
                    <a:pt x="924" y="391"/>
                    <a:pt x="933" y="392"/>
                    <a:pt x="941" y="401"/>
                  </a:cubicBezTo>
                  <a:cubicBezTo>
                    <a:pt x="969" y="433"/>
                    <a:pt x="969" y="433"/>
                    <a:pt x="969" y="433"/>
                  </a:cubicBezTo>
                  <a:cubicBezTo>
                    <a:pt x="973" y="438"/>
                    <a:pt x="985" y="443"/>
                    <a:pt x="990" y="439"/>
                  </a:cubicBezTo>
                  <a:cubicBezTo>
                    <a:pt x="1018" y="415"/>
                    <a:pt x="1018" y="415"/>
                    <a:pt x="1018" y="415"/>
                  </a:cubicBezTo>
                  <a:cubicBezTo>
                    <a:pt x="1018" y="415"/>
                    <a:pt x="1027" y="407"/>
                    <a:pt x="1019" y="398"/>
                  </a:cubicBezTo>
                  <a:close/>
                  <a:moveTo>
                    <a:pt x="803" y="279"/>
                  </a:moveTo>
                  <a:cubicBezTo>
                    <a:pt x="776" y="238"/>
                    <a:pt x="788" y="187"/>
                    <a:pt x="825" y="164"/>
                  </a:cubicBezTo>
                  <a:cubicBezTo>
                    <a:pt x="866" y="136"/>
                    <a:pt x="921" y="144"/>
                    <a:pt x="948" y="185"/>
                  </a:cubicBezTo>
                  <a:cubicBezTo>
                    <a:pt x="972" y="221"/>
                    <a:pt x="963" y="277"/>
                    <a:pt x="922" y="304"/>
                  </a:cubicBezTo>
                  <a:cubicBezTo>
                    <a:pt x="881" y="332"/>
                    <a:pt x="830" y="320"/>
                    <a:pt x="803" y="279"/>
                  </a:cubicBezTo>
                  <a:close/>
                </a:path>
              </a:pathLst>
            </a:custGeom>
            <a:solidFill>
              <a:schemeClr val="tx1"/>
            </a:solidFill>
            <a:ln>
              <a:noFill/>
            </a:ln>
          </p:spPr>
          <p:txBody>
            <a:bodyPr vert="horz" wrap="square" lIns="68574" tIns="34287" rIns="68574" bIns="34287"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17346"/>
                </a:solidFill>
                <a:effectLst/>
                <a:uLnTx/>
                <a:uFillTx/>
                <a:latin typeface="Segoe UI"/>
                <a:ea typeface="+mn-ea"/>
                <a:cs typeface="+mn-cs"/>
              </a:endParaRPr>
            </a:p>
          </p:txBody>
        </p:sp>
        <p:sp>
          <p:nvSpPr>
            <p:cNvPr id="104" name="Freeform 103"/>
            <p:cNvSpPr>
              <a:spLocks noChangeAspect="1"/>
            </p:cNvSpPr>
            <p:nvPr/>
          </p:nvSpPr>
          <p:spPr bwMode="black">
            <a:xfrm>
              <a:off x="776985" y="4213905"/>
              <a:ext cx="342871" cy="335728"/>
            </a:xfrm>
            <a:custGeom>
              <a:avLst/>
              <a:gdLst>
                <a:gd name="connsiteX0" fmla="*/ 3713863 w 4893730"/>
                <a:gd name="connsiteY0" fmla="*/ 2130808 h 4791777"/>
                <a:gd name="connsiteX1" fmla="*/ 4426142 w 4893730"/>
                <a:gd name="connsiteY1" fmla="*/ 2130808 h 4791777"/>
                <a:gd name="connsiteX2" fmla="*/ 4598071 w 4893730"/>
                <a:gd name="connsiteY2" fmla="*/ 2301547 h 4791777"/>
                <a:gd name="connsiteX3" fmla="*/ 4598071 w 4893730"/>
                <a:gd name="connsiteY3" fmla="*/ 3886978 h 4791777"/>
                <a:gd name="connsiteX4" fmla="*/ 4426142 w 4893730"/>
                <a:gd name="connsiteY4" fmla="*/ 4057717 h 4791777"/>
                <a:gd name="connsiteX5" fmla="*/ 3713863 w 4893730"/>
                <a:gd name="connsiteY5" fmla="*/ 4057717 h 4791777"/>
                <a:gd name="connsiteX6" fmla="*/ 3517372 w 4893730"/>
                <a:gd name="connsiteY6" fmla="*/ 3886978 h 4791777"/>
                <a:gd name="connsiteX7" fmla="*/ 3517372 w 4893730"/>
                <a:gd name="connsiteY7" fmla="*/ 2301547 h 4791777"/>
                <a:gd name="connsiteX8" fmla="*/ 3713863 w 4893730"/>
                <a:gd name="connsiteY8" fmla="*/ 2130808 h 4791777"/>
                <a:gd name="connsiteX9" fmla="*/ 904368 w 4893730"/>
                <a:gd name="connsiteY9" fmla="*/ 1223432 h 4791777"/>
                <a:gd name="connsiteX10" fmla="*/ 1609930 w 4893730"/>
                <a:gd name="connsiteY10" fmla="*/ 1223432 h 4791777"/>
                <a:gd name="connsiteX11" fmla="*/ 1804567 w 4893730"/>
                <a:gd name="connsiteY11" fmla="*/ 1394467 h 4791777"/>
                <a:gd name="connsiteX12" fmla="*/ 1804567 w 4893730"/>
                <a:gd name="connsiteY12" fmla="*/ 3886683 h 4791777"/>
                <a:gd name="connsiteX13" fmla="*/ 1609930 w 4893730"/>
                <a:gd name="connsiteY13" fmla="*/ 4057717 h 4791777"/>
                <a:gd name="connsiteX14" fmla="*/ 904368 w 4893730"/>
                <a:gd name="connsiteY14" fmla="*/ 4057717 h 4791777"/>
                <a:gd name="connsiteX15" fmla="*/ 734060 w 4893730"/>
                <a:gd name="connsiteY15" fmla="*/ 3886683 h 4791777"/>
                <a:gd name="connsiteX16" fmla="*/ 734060 w 4893730"/>
                <a:gd name="connsiteY16" fmla="*/ 1394467 h 4791777"/>
                <a:gd name="connsiteX17" fmla="*/ 904368 w 4893730"/>
                <a:gd name="connsiteY17" fmla="*/ 1223432 h 4791777"/>
                <a:gd name="connsiteX18" fmla="*/ 2325453 w 4893730"/>
                <a:gd name="connsiteY18" fmla="*/ 316050 h 4791777"/>
                <a:gd name="connsiteX19" fmla="*/ 3031014 w 4893730"/>
                <a:gd name="connsiteY19" fmla="*/ 316050 h 4791777"/>
                <a:gd name="connsiteX20" fmla="*/ 3201322 w 4893730"/>
                <a:gd name="connsiteY20" fmla="*/ 487238 h 4791777"/>
                <a:gd name="connsiteX21" fmla="*/ 3201322 w 4893730"/>
                <a:gd name="connsiteY21" fmla="*/ 3886530 h 4791777"/>
                <a:gd name="connsiteX22" fmla="*/ 3031014 w 4893730"/>
                <a:gd name="connsiteY22" fmla="*/ 4057717 h 4791777"/>
                <a:gd name="connsiteX23" fmla="*/ 2325453 w 4893730"/>
                <a:gd name="connsiteY23" fmla="*/ 4057717 h 4791777"/>
                <a:gd name="connsiteX24" fmla="*/ 2130815 w 4893730"/>
                <a:gd name="connsiteY24" fmla="*/ 3886530 h 4791777"/>
                <a:gd name="connsiteX25" fmla="*/ 2130815 w 4893730"/>
                <a:gd name="connsiteY25" fmla="*/ 487238 h 4791777"/>
                <a:gd name="connsiteX26" fmla="*/ 2325453 w 4893730"/>
                <a:gd name="connsiteY26" fmla="*/ 316050 h 4791777"/>
                <a:gd name="connsiteX27" fmla="*/ 269155 w 4893730"/>
                <a:gd name="connsiteY27" fmla="*/ 0 h 4791777"/>
                <a:gd name="connsiteX28" fmla="*/ 538311 w 4893730"/>
                <a:gd name="connsiteY28" fmla="*/ 268927 h 4791777"/>
                <a:gd name="connsiteX29" fmla="*/ 538311 w 4893730"/>
                <a:gd name="connsiteY29" fmla="*/ 4253925 h 4791777"/>
                <a:gd name="connsiteX30" fmla="*/ 4624575 w 4893730"/>
                <a:gd name="connsiteY30" fmla="*/ 4253925 h 4791777"/>
                <a:gd name="connsiteX31" fmla="*/ 4893730 w 4893730"/>
                <a:gd name="connsiteY31" fmla="*/ 4522851 h 4791777"/>
                <a:gd name="connsiteX32" fmla="*/ 4624575 w 4893730"/>
                <a:gd name="connsiteY32" fmla="*/ 4791777 h 4791777"/>
                <a:gd name="connsiteX33" fmla="*/ 269155 w 4893730"/>
                <a:gd name="connsiteY33" fmla="*/ 4791777 h 4791777"/>
                <a:gd name="connsiteX34" fmla="*/ 0 w 4893730"/>
                <a:gd name="connsiteY34" fmla="*/ 4522851 h 4791777"/>
                <a:gd name="connsiteX35" fmla="*/ 0 w 4893730"/>
                <a:gd name="connsiteY35" fmla="*/ 268927 h 4791777"/>
                <a:gd name="connsiteX36" fmla="*/ 269155 w 4893730"/>
                <a:gd name="connsiteY36" fmla="*/ 0 h 4791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4893730" h="4791777">
                  <a:moveTo>
                    <a:pt x="3713863" y="2130808"/>
                  </a:moveTo>
                  <a:cubicBezTo>
                    <a:pt x="3713863" y="2130808"/>
                    <a:pt x="3713863" y="2130808"/>
                    <a:pt x="4426142" y="2130808"/>
                  </a:cubicBezTo>
                  <a:cubicBezTo>
                    <a:pt x="4524387" y="2130808"/>
                    <a:pt x="4598071" y="2203982"/>
                    <a:pt x="4598071" y="2301547"/>
                  </a:cubicBezTo>
                  <a:cubicBezTo>
                    <a:pt x="4598071" y="2301547"/>
                    <a:pt x="4598071" y="2301547"/>
                    <a:pt x="4598071" y="3886978"/>
                  </a:cubicBezTo>
                  <a:cubicBezTo>
                    <a:pt x="4598071" y="3984543"/>
                    <a:pt x="4524387" y="4057717"/>
                    <a:pt x="4426142" y="4057717"/>
                  </a:cubicBezTo>
                  <a:cubicBezTo>
                    <a:pt x="4426142" y="4057717"/>
                    <a:pt x="4426142" y="4057717"/>
                    <a:pt x="3713863" y="4057717"/>
                  </a:cubicBezTo>
                  <a:cubicBezTo>
                    <a:pt x="3615618" y="4057717"/>
                    <a:pt x="3517372" y="3984543"/>
                    <a:pt x="3517372" y="3886978"/>
                  </a:cubicBezTo>
                  <a:cubicBezTo>
                    <a:pt x="3517372" y="3886978"/>
                    <a:pt x="3517372" y="3886978"/>
                    <a:pt x="3517372" y="2301547"/>
                  </a:cubicBezTo>
                  <a:cubicBezTo>
                    <a:pt x="3517372" y="2203982"/>
                    <a:pt x="3615618" y="2130808"/>
                    <a:pt x="3713863" y="2130808"/>
                  </a:cubicBezTo>
                  <a:close/>
                  <a:moveTo>
                    <a:pt x="904368" y="1223432"/>
                  </a:moveTo>
                  <a:cubicBezTo>
                    <a:pt x="904368" y="1223432"/>
                    <a:pt x="904368" y="1223432"/>
                    <a:pt x="1609930" y="1223432"/>
                  </a:cubicBezTo>
                  <a:cubicBezTo>
                    <a:pt x="1731578" y="1223432"/>
                    <a:pt x="1804567" y="1296733"/>
                    <a:pt x="1804567" y="1394467"/>
                  </a:cubicBezTo>
                  <a:cubicBezTo>
                    <a:pt x="1804567" y="1394467"/>
                    <a:pt x="1804567" y="1394467"/>
                    <a:pt x="1804567" y="3886683"/>
                  </a:cubicBezTo>
                  <a:cubicBezTo>
                    <a:pt x="1804567" y="3984417"/>
                    <a:pt x="1731578" y="4057717"/>
                    <a:pt x="1609930" y="4057717"/>
                  </a:cubicBezTo>
                  <a:cubicBezTo>
                    <a:pt x="1609930" y="4057717"/>
                    <a:pt x="1609930" y="4057717"/>
                    <a:pt x="904368" y="4057717"/>
                  </a:cubicBezTo>
                  <a:cubicBezTo>
                    <a:pt x="807049" y="4057717"/>
                    <a:pt x="734060" y="3984417"/>
                    <a:pt x="734060" y="3886683"/>
                  </a:cubicBezTo>
                  <a:cubicBezTo>
                    <a:pt x="734060" y="3886683"/>
                    <a:pt x="734060" y="3886683"/>
                    <a:pt x="734060" y="1394467"/>
                  </a:cubicBezTo>
                  <a:cubicBezTo>
                    <a:pt x="734060" y="1296733"/>
                    <a:pt x="807049" y="1223432"/>
                    <a:pt x="904368" y="1223432"/>
                  </a:cubicBezTo>
                  <a:close/>
                  <a:moveTo>
                    <a:pt x="2325453" y="316050"/>
                  </a:moveTo>
                  <a:cubicBezTo>
                    <a:pt x="2325453" y="316050"/>
                    <a:pt x="2325453" y="316050"/>
                    <a:pt x="3031014" y="316050"/>
                  </a:cubicBezTo>
                  <a:cubicBezTo>
                    <a:pt x="3128333" y="316050"/>
                    <a:pt x="3201322" y="389416"/>
                    <a:pt x="3201322" y="487238"/>
                  </a:cubicBezTo>
                  <a:cubicBezTo>
                    <a:pt x="3201322" y="487238"/>
                    <a:pt x="3201322" y="487238"/>
                    <a:pt x="3201322" y="3886530"/>
                  </a:cubicBezTo>
                  <a:cubicBezTo>
                    <a:pt x="3201322" y="3984351"/>
                    <a:pt x="3128333" y="4057717"/>
                    <a:pt x="3031014" y="4057717"/>
                  </a:cubicBezTo>
                  <a:cubicBezTo>
                    <a:pt x="3031014" y="4057717"/>
                    <a:pt x="3031014" y="4057717"/>
                    <a:pt x="2325453" y="4057717"/>
                  </a:cubicBezTo>
                  <a:cubicBezTo>
                    <a:pt x="2203804" y="4057717"/>
                    <a:pt x="2130815" y="3984351"/>
                    <a:pt x="2130815" y="3886530"/>
                  </a:cubicBezTo>
                  <a:cubicBezTo>
                    <a:pt x="2130815" y="3886530"/>
                    <a:pt x="2130815" y="3886530"/>
                    <a:pt x="2130815" y="487238"/>
                  </a:cubicBezTo>
                  <a:cubicBezTo>
                    <a:pt x="2130815" y="389416"/>
                    <a:pt x="2203804" y="316050"/>
                    <a:pt x="2325453" y="316050"/>
                  </a:cubicBezTo>
                  <a:close/>
                  <a:moveTo>
                    <a:pt x="269155" y="0"/>
                  </a:moveTo>
                  <a:cubicBezTo>
                    <a:pt x="415967" y="0"/>
                    <a:pt x="538311" y="122239"/>
                    <a:pt x="538311" y="268927"/>
                  </a:cubicBezTo>
                  <a:cubicBezTo>
                    <a:pt x="538311" y="268927"/>
                    <a:pt x="538311" y="268927"/>
                    <a:pt x="538311" y="4253925"/>
                  </a:cubicBezTo>
                  <a:cubicBezTo>
                    <a:pt x="538311" y="4253925"/>
                    <a:pt x="538311" y="4253925"/>
                    <a:pt x="4624575" y="4253925"/>
                  </a:cubicBezTo>
                  <a:cubicBezTo>
                    <a:pt x="4771387" y="4253925"/>
                    <a:pt x="4893730" y="4376164"/>
                    <a:pt x="4893730" y="4522851"/>
                  </a:cubicBezTo>
                  <a:cubicBezTo>
                    <a:pt x="4893730" y="4669538"/>
                    <a:pt x="4771387" y="4791777"/>
                    <a:pt x="4624575" y="4791777"/>
                  </a:cubicBezTo>
                  <a:cubicBezTo>
                    <a:pt x="4624575" y="4791777"/>
                    <a:pt x="4624575" y="4791777"/>
                    <a:pt x="269155" y="4791777"/>
                  </a:cubicBezTo>
                  <a:cubicBezTo>
                    <a:pt x="122344" y="4791777"/>
                    <a:pt x="0" y="4669538"/>
                    <a:pt x="0" y="4522851"/>
                  </a:cubicBezTo>
                  <a:cubicBezTo>
                    <a:pt x="0" y="4522851"/>
                    <a:pt x="0" y="4522851"/>
                    <a:pt x="0" y="268927"/>
                  </a:cubicBezTo>
                  <a:cubicBezTo>
                    <a:pt x="0" y="122239"/>
                    <a:pt x="122344" y="0"/>
                    <a:pt x="269155"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37148" tIns="109719" rIns="137148" bIns="109719"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699261"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5" name="Rectangle 104"/>
            <p:cNvSpPr/>
            <p:nvPr/>
          </p:nvSpPr>
          <p:spPr bwMode="auto">
            <a:xfrm rot="2745734">
              <a:off x="886688" y="2210975"/>
              <a:ext cx="1598323" cy="1625795"/>
            </a:xfrm>
            <a:prstGeom prst="rect">
              <a:avLst/>
            </a:prstGeom>
            <a:solidFill>
              <a:schemeClr val="tx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6" name="Rectangle 105"/>
            <p:cNvSpPr/>
            <p:nvPr/>
          </p:nvSpPr>
          <p:spPr bwMode="auto">
            <a:xfrm rot="2745734">
              <a:off x="292433" y="3819160"/>
              <a:ext cx="1610349" cy="1235003"/>
            </a:xfrm>
            <a:prstGeom prst="rect">
              <a:avLst/>
            </a:prstGeom>
            <a:solidFill>
              <a:schemeClr val="tx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7" name="Rectangle 106"/>
            <p:cNvSpPr/>
            <p:nvPr/>
          </p:nvSpPr>
          <p:spPr bwMode="auto">
            <a:xfrm rot="2745734">
              <a:off x="1315610" y="4915701"/>
              <a:ext cx="1263370" cy="1255989"/>
            </a:xfrm>
            <a:prstGeom prst="rect">
              <a:avLst/>
            </a:prstGeom>
            <a:solidFill>
              <a:schemeClr val="tx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37" name="Title 10"/>
          <p:cNvSpPr txBox="1">
            <a:spLocks/>
          </p:cNvSpPr>
          <p:nvPr/>
        </p:nvSpPr>
        <p:spPr>
          <a:xfrm>
            <a:off x="2849060" y="0"/>
            <a:ext cx="9342940" cy="665151"/>
          </a:xfrm>
          <a:prstGeom prst="rect">
            <a:avLst/>
          </a:prstGeom>
          <a:noFill/>
        </p:spPr>
        <p:txBody>
          <a:bodyPr vert="horz" wrap="square" lIns="0" tIns="91440" rIns="0" bIns="91440" rtlCol="0" anchor="t">
            <a:noAutofit/>
          </a:bodyPr>
          <a:lstStyle>
            <a:lvl1pPr defTabSz="914367">
              <a:lnSpc>
                <a:spcPct val="90000"/>
              </a:lnSpc>
              <a:spcBef>
                <a:spcPct val="0"/>
              </a:spcBef>
              <a:buNone/>
              <a:defRPr lang="en-US" sz="5294" b="0" cap="none" spc="-100" baseline="0" dirty="0" smtClean="0">
                <a:ln w="3175">
                  <a:noFill/>
                </a:ln>
                <a:solidFill>
                  <a:schemeClr val="tx2"/>
                </a:solidFill>
                <a:effectLst/>
                <a:latin typeface="+mj-lt"/>
                <a:cs typeface="Segoe UI" pitchFamily="34" charset="0"/>
              </a:defRPr>
            </a:lvl1pPr>
          </a:lstStyle>
          <a:p>
            <a:pPr marL="168275" marR="0" lvl="0" indent="0" algn="l" defTabSz="914367" rtl="0" eaLnBrk="1" fontAlgn="auto" latinLnBrk="0" hangingPunct="1">
              <a:lnSpc>
                <a:spcPct val="90000"/>
              </a:lnSpc>
              <a:spcBef>
                <a:spcPct val="0"/>
              </a:spcBef>
              <a:spcAft>
                <a:spcPts val="0"/>
              </a:spcAft>
              <a:buClrTx/>
              <a:buSzTx/>
              <a:buFontTx/>
              <a:buNone/>
              <a:tabLst/>
              <a:defRPr/>
            </a:pPr>
            <a:r>
              <a:rPr kumimoji="0" lang="en-US" sz="3600" b="0" i="0" u="none" strike="noStrike" kern="1200" cap="none" spc="-100" normalizeH="0" baseline="0" noProof="0">
                <a:ln w="3175">
                  <a:noFill/>
                </a:ln>
                <a:solidFill>
                  <a:prstClr val="black"/>
                </a:solidFill>
                <a:effectLst/>
                <a:uLnTx/>
                <a:uFillTx/>
                <a:latin typeface="Segoe UI Light"/>
                <a:ea typeface="+mn-ea"/>
                <a:cs typeface="Segoe UI" pitchFamily="34" charset="0"/>
              </a:rPr>
              <a:t>Connecting to Data</a:t>
            </a:r>
            <a:endParaRPr kumimoji="0" lang="en-IN" sz="3600" b="0" i="0" u="none" strike="noStrike" kern="1200" cap="none" spc="-100" normalizeH="0" baseline="0" noProof="0">
              <a:ln w="3175">
                <a:noFill/>
              </a:ln>
              <a:solidFill>
                <a:prstClr val="black"/>
              </a:solidFill>
              <a:effectLst/>
              <a:uLnTx/>
              <a:uFillTx/>
              <a:latin typeface="Segoe UI Light"/>
              <a:ea typeface="+mn-ea"/>
              <a:cs typeface="Segoe UI" pitchFamily="34" charset="0"/>
            </a:endParaRPr>
          </a:p>
        </p:txBody>
      </p:sp>
      <p:sp>
        <p:nvSpPr>
          <p:cNvPr id="40" name="TextBox 39"/>
          <p:cNvSpPr txBox="1"/>
          <p:nvPr/>
        </p:nvSpPr>
        <p:spPr>
          <a:xfrm>
            <a:off x="3" y="51415"/>
            <a:ext cx="2849058" cy="430887"/>
          </a:xfrm>
          <a:prstGeom prst="rect">
            <a:avLst/>
          </a:prstGeom>
        </p:spPr>
        <p:txBody>
          <a:bodyPr wrap="square">
            <a:spAutoFit/>
          </a:bodyPr>
          <a:lstStyle>
            <a:defPPr>
              <a:defRPr lang="en-US"/>
            </a:defPPr>
            <a:lvl1pPr defTabSz="914192">
              <a:defRPr sz="2800" b="1" spc="-100">
                <a:ln w="3175">
                  <a:noFill/>
                </a:ln>
                <a:solidFill>
                  <a:srgbClr val="F2C812"/>
                </a:solidFill>
                <a:latin typeface="Segoe UI" panose="020B0502040204020203" pitchFamily="34" charset="0"/>
                <a:ea typeface="ＭＳ Ｐゴシック" charset="0"/>
                <a:cs typeface="Segoe UI" panose="020B0502040204020203" pitchFamily="34" charset="0"/>
              </a:defRPr>
            </a:lvl1pPr>
          </a:lstStyle>
          <a:p>
            <a:pPr marL="0" marR="0" lvl="0" indent="0" algn="l" defTabSz="914192" rtl="0" eaLnBrk="1" fontAlgn="auto" latinLnBrk="0" hangingPunct="1">
              <a:lnSpc>
                <a:spcPct val="100000"/>
              </a:lnSpc>
              <a:spcBef>
                <a:spcPts val="0"/>
              </a:spcBef>
              <a:spcAft>
                <a:spcPts val="0"/>
              </a:spcAft>
              <a:buClrTx/>
              <a:buSzTx/>
              <a:buFontTx/>
              <a:buNone/>
              <a:tabLst/>
              <a:defRPr/>
            </a:pPr>
            <a:r>
              <a:rPr kumimoji="0" lang="en-US" sz="2200" b="1" i="0" u="none" strike="noStrike" kern="1200" cap="none" spc="-100" normalizeH="0" baseline="0" noProof="0">
                <a:ln w="3175">
                  <a:noFill/>
                </a:ln>
                <a:solidFill>
                  <a:srgbClr val="F2C812"/>
                </a:solidFill>
                <a:effectLst/>
                <a:uLnTx/>
                <a:uFillTx/>
                <a:latin typeface="Segoe UI Light"/>
                <a:ea typeface="ＭＳ Ｐゴシック" charset="0"/>
                <a:cs typeface="Segoe UI" panose="020B0502040204020203" pitchFamily="34" charset="0"/>
              </a:rPr>
              <a:t>Power BI Desktop</a:t>
            </a:r>
          </a:p>
        </p:txBody>
      </p:sp>
      <p:sp>
        <p:nvSpPr>
          <p:cNvPr id="41" name="Text Placeholder 2"/>
          <p:cNvSpPr txBox="1">
            <a:spLocks/>
          </p:cNvSpPr>
          <p:nvPr/>
        </p:nvSpPr>
        <p:spPr>
          <a:xfrm>
            <a:off x="3183600" y="1344467"/>
            <a:ext cx="3690166" cy="5005340"/>
          </a:xfrm>
          <a:prstGeom prst="rect">
            <a:avLst/>
          </a:prstGeom>
        </p:spPr>
        <p:txBody>
          <a:bodyPr vert="horz" wrap="square" lIns="182880" tIns="146304" rIns="182880" bIns="146304" rtlCol="0">
            <a:noAutofit/>
          </a:bodyPr>
          <a:lstStyle>
            <a:lvl1pPr marL="182845" marR="0"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3921" kern="1200" spc="0" baseline="0">
                <a:gradFill>
                  <a:gsLst>
                    <a:gs pos="1250">
                      <a:schemeClr val="tx2"/>
                    </a:gs>
                    <a:gs pos="99000">
                      <a:schemeClr val="tx2"/>
                    </a:gs>
                  </a:gsLst>
                  <a:lin ang="5400000" scaled="0"/>
                </a:gradFill>
                <a:latin typeface="+mj-lt"/>
                <a:ea typeface="+mn-ea"/>
                <a:cs typeface="+mn-cs"/>
              </a:defRPr>
            </a:lvl1pPr>
            <a:lvl2pPr marL="365690" marR="0"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2400" kern="1200" spc="0" baseline="0">
                <a:solidFill>
                  <a:schemeClr val="tx2"/>
                </a:solidFill>
                <a:latin typeface="+mj-lt"/>
                <a:ea typeface="+mn-ea"/>
                <a:cs typeface="+mn-cs"/>
              </a:defRPr>
            </a:lvl2pPr>
            <a:lvl3pPr marL="548535" marR="0"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2000" kern="1200" spc="0" baseline="0">
                <a:solidFill>
                  <a:schemeClr val="tx2"/>
                </a:solidFill>
                <a:latin typeface="+mj-lt"/>
                <a:ea typeface="+mn-ea"/>
                <a:cs typeface="+mn-cs"/>
              </a:defRPr>
            </a:lvl3pPr>
            <a:lvl4pPr marL="733802" marR="0" indent="-28569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1765" kern="1200" spc="0" baseline="0">
                <a:solidFill>
                  <a:schemeClr val="tx2"/>
                </a:solidFill>
                <a:latin typeface="+mn-lt"/>
                <a:ea typeface="+mn-ea"/>
                <a:cs typeface="+mn-cs"/>
              </a:defRPr>
            </a:lvl4pPr>
            <a:lvl5pPr marL="957856" marR="0" indent="-28569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1765" kern="1200" spc="0" baseline="0">
                <a:solidFill>
                  <a:schemeClr val="tx2"/>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342900" marR="0" lvl="0" indent="-342900" algn="l" defTabSz="914400" rtl="0" eaLnBrk="1" fontAlgn="base" latinLnBrk="0" hangingPunct="1">
              <a:lnSpc>
                <a:spcPct val="100000"/>
              </a:lnSpc>
              <a:spcBef>
                <a:spcPts val="0"/>
              </a:spcBef>
              <a:spcAft>
                <a:spcPts val="300"/>
              </a:spcAft>
              <a:buClrTx/>
              <a:buSzPct val="90000"/>
              <a:buFont typeface="Symbol" panose="05050102010706020507" pitchFamily="18" charset="2"/>
              <a:buChar char=""/>
              <a:tabLst/>
              <a:defRPr/>
            </a:pPr>
            <a:r>
              <a:rPr kumimoji="0" lang="en-US" sz="1800" b="0" i="0" u="none" strike="noStrike" kern="1200" cap="none" spc="0" normalizeH="0" baseline="0" noProof="0">
                <a:ln>
                  <a:noFill/>
                </a:ln>
                <a:solidFill>
                  <a:prstClr val="black"/>
                </a:solidFill>
                <a:effectLst/>
                <a:uLnTx/>
                <a:uFillTx/>
                <a:latin typeface="Segoe UI Light"/>
                <a:ea typeface="Calibri" panose="020F0502020204030204" pitchFamily="34" charset="0"/>
                <a:cs typeface="Times New Roman" panose="02020603050405020304" pitchFamily="18" charset="0"/>
              </a:rPr>
              <a:t>Once </a:t>
            </a:r>
            <a:r>
              <a:rPr kumimoji="0" lang="en-US" sz="1800" b="1" i="0" u="none" strike="noStrike" kern="1200" cap="none" spc="0" normalizeH="0" baseline="0" noProof="0">
                <a:ln>
                  <a:noFill/>
                </a:ln>
                <a:solidFill>
                  <a:prstClr val="black"/>
                </a:solidFill>
                <a:effectLst/>
                <a:uLnTx/>
                <a:uFillTx/>
                <a:latin typeface="Segoe UI Light"/>
                <a:ea typeface="Calibri" panose="020F0502020204030204" pitchFamily="34" charset="0"/>
                <a:cs typeface="Times New Roman" panose="02020603050405020304" pitchFamily="18" charset="0"/>
              </a:rPr>
              <a:t>connections</a:t>
            </a:r>
            <a:r>
              <a:rPr kumimoji="0" lang="en-US" sz="1800" b="0" i="0" u="none" strike="noStrike" kern="1200" cap="none" spc="0" normalizeH="0" baseline="0" noProof="0">
                <a:ln>
                  <a:noFill/>
                </a:ln>
                <a:solidFill>
                  <a:prstClr val="black"/>
                </a:solidFill>
                <a:effectLst/>
                <a:uLnTx/>
                <a:uFillTx/>
                <a:latin typeface="Segoe UI Light"/>
                <a:ea typeface="Calibri" panose="020F0502020204030204" pitchFamily="34" charset="0"/>
                <a:cs typeface="Times New Roman" panose="02020603050405020304" pitchFamily="18" charset="0"/>
              </a:rPr>
              <a:t> are established, you can easily </a:t>
            </a:r>
            <a:r>
              <a:rPr kumimoji="0" lang="en-US" sz="1800" b="1" i="0" u="none" strike="noStrike" kern="1200" cap="none" spc="0" normalizeH="0" baseline="0" noProof="0">
                <a:ln>
                  <a:noFill/>
                </a:ln>
                <a:solidFill>
                  <a:prstClr val="black"/>
                </a:solidFill>
                <a:effectLst/>
                <a:uLnTx/>
                <a:uFillTx/>
                <a:latin typeface="Segoe UI Light"/>
                <a:ea typeface="Calibri" panose="020F0502020204030204" pitchFamily="34" charset="0"/>
                <a:cs typeface="Times New Roman" panose="02020603050405020304" pitchFamily="18" charset="0"/>
              </a:rPr>
              <a:t>change</a:t>
            </a:r>
            <a:r>
              <a:rPr kumimoji="0" lang="en-US" sz="1800" b="0" i="0" u="none" strike="noStrike" kern="1200" cap="none" spc="0" normalizeH="0" baseline="0" noProof="0">
                <a:ln>
                  <a:noFill/>
                </a:ln>
                <a:solidFill>
                  <a:prstClr val="black"/>
                </a:solidFill>
                <a:effectLst/>
                <a:uLnTx/>
                <a:uFillTx/>
                <a:latin typeface="Segoe UI Light"/>
                <a:ea typeface="Calibri" panose="020F0502020204030204" pitchFamily="34" charset="0"/>
                <a:cs typeface="Times New Roman" panose="02020603050405020304" pitchFamily="18" charset="0"/>
              </a:rPr>
              <a:t> them</a:t>
            </a:r>
          </a:p>
          <a:p>
            <a:pPr marL="342900" marR="0" lvl="0" indent="-342900" algn="l" defTabSz="914400" rtl="0" eaLnBrk="1" fontAlgn="base" latinLnBrk="0" hangingPunct="1">
              <a:lnSpc>
                <a:spcPct val="100000"/>
              </a:lnSpc>
              <a:spcBef>
                <a:spcPts val="0"/>
              </a:spcBef>
              <a:spcAft>
                <a:spcPts val="300"/>
              </a:spcAft>
              <a:buClrTx/>
              <a:buSzPct val="90000"/>
              <a:buFont typeface="Symbol" panose="05050102010706020507" pitchFamily="18" charset="2"/>
              <a:buChar char=""/>
              <a:tabLst/>
              <a:defRPr/>
            </a:pPr>
            <a:endParaRPr kumimoji="0" lang="en-US" sz="1800" b="0" i="0" u="none" strike="noStrike" kern="1200" cap="none" spc="0" normalizeH="0" baseline="0" noProof="0">
              <a:ln>
                <a:noFill/>
              </a:ln>
              <a:solidFill>
                <a:prstClr val="black"/>
              </a:solidFill>
              <a:effectLst/>
              <a:uLnTx/>
              <a:uFillTx/>
              <a:latin typeface="Segoe UI Light"/>
              <a:ea typeface="Calibri" panose="020F0502020204030204" pitchFamily="34" charset="0"/>
              <a:cs typeface="Times New Roman" panose="02020603050405020304" pitchFamily="18" charset="0"/>
            </a:endParaRPr>
          </a:p>
          <a:p>
            <a:pPr marL="342900" marR="0" lvl="0" indent="-342900" algn="l" defTabSz="914400" rtl="0" eaLnBrk="1" fontAlgn="base" latinLnBrk="0" hangingPunct="1">
              <a:lnSpc>
                <a:spcPct val="100000"/>
              </a:lnSpc>
              <a:spcBef>
                <a:spcPts val="0"/>
              </a:spcBef>
              <a:spcAft>
                <a:spcPts val="300"/>
              </a:spcAft>
              <a:buClrTx/>
              <a:buSzPct val="90000"/>
              <a:buFont typeface="Symbol" panose="05050102010706020507" pitchFamily="18" charset="2"/>
              <a:buChar char=""/>
              <a:tabLst/>
              <a:defRPr/>
            </a:pPr>
            <a:r>
              <a:rPr kumimoji="0" lang="en-US" sz="1800" b="0" i="0" u="none" strike="noStrike" kern="1200" cap="none" spc="0" normalizeH="0" baseline="0" noProof="0">
                <a:ln>
                  <a:noFill/>
                </a:ln>
                <a:solidFill>
                  <a:prstClr val="black"/>
                </a:solidFill>
                <a:effectLst/>
                <a:uLnTx/>
                <a:uFillTx/>
                <a:latin typeface="Segoe UI Light"/>
                <a:ea typeface="Calibri" panose="020F0502020204030204" pitchFamily="34" charset="0"/>
                <a:cs typeface="Times New Roman" panose="02020603050405020304" pitchFamily="18" charset="0"/>
              </a:rPr>
              <a:t>For instance change from Test to Production Environment</a:t>
            </a:r>
          </a:p>
          <a:p>
            <a:pPr marL="342900" marR="0" lvl="0" indent="-342900" algn="l" defTabSz="914400" rtl="0" eaLnBrk="1" fontAlgn="base" latinLnBrk="0" hangingPunct="1">
              <a:lnSpc>
                <a:spcPct val="100000"/>
              </a:lnSpc>
              <a:spcBef>
                <a:spcPts val="0"/>
              </a:spcBef>
              <a:spcAft>
                <a:spcPts val="300"/>
              </a:spcAft>
              <a:buClrTx/>
              <a:buSzPct val="90000"/>
              <a:buFont typeface="Symbol" panose="05050102010706020507" pitchFamily="18" charset="2"/>
              <a:buChar char=""/>
              <a:tabLst/>
              <a:defRPr/>
            </a:pPr>
            <a:endParaRPr kumimoji="0" lang="en-US" sz="1800" b="0" i="0" u="none" strike="noStrike" kern="1200" cap="none" spc="0" normalizeH="0" baseline="0" noProof="0">
              <a:ln>
                <a:noFill/>
              </a:ln>
              <a:solidFill>
                <a:prstClr val="black"/>
              </a:solidFill>
              <a:effectLst/>
              <a:uLnTx/>
              <a:uFillTx/>
              <a:latin typeface="Segoe UI Light"/>
              <a:ea typeface="Calibri" panose="020F0502020204030204" pitchFamily="34" charset="0"/>
              <a:cs typeface="Times New Roman" panose="02020603050405020304" pitchFamily="18" charset="0"/>
            </a:endParaRPr>
          </a:p>
          <a:p>
            <a:pPr marL="342900" marR="0" lvl="0" indent="-342900" algn="l" defTabSz="914400" rtl="0" eaLnBrk="1" fontAlgn="base" latinLnBrk="0" hangingPunct="1">
              <a:lnSpc>
                <a:spcPct val="100000"/>
              </a:lnSpc>
              <a:spcBef>
                <a:spcPts val="0"/>
              </a:spcBef>
              <a:spcAft>
                <a:spcPts val="300"/>
              </a:spcAft>
              <a:buClrTx/>
              <a:buSzPct val="90000"/>
              <a:buFont typeface="Symbol" panose="05050102010706020507" pitchFamily="18" charset="2"/>
              <a:buChar char=""/>
              <a:tabLst/>
              <a:defRPr/>
            </a:pPr>
            <a:r>
              <a:rPr kumimoji="0" lang="en-US" sz="1800" b="1" i="0" u="none" strike="noStrike" kern="1200" cap="none" spc="0" normalizeH="0" baseline="0" noProof="0">
                <a:ln>
                  <a:noFill/>
                </a:ln>
                <a:solidFill>
                  <a:prstClr val="black"/>
                </a:solidFill>
                <a:effectLst/>
                <a:uLnTx/>
                <a:uFillTx/>
                <a:latin typeface="Segoe UI Light"/>
                <a:ea typeface="Calibri" panose="020F0502020204030204" pitchFamily="34" charset="0"/>
                <a:cs typeface="Times New Roman" panose="02020603050405020304" pitchFamily="18" charset="0"/>
              </a:rPr>
              <a:t>Go to File -&gt; Options and Settings -&gt; Data Source Settings</a:t>
            </a:r>
          </a:p>
          <a:p>
            <a:pPr marL="342900" marR="0" lvl="0" indent="-342900" algn="l" defTabSz="914400" rtl="0" eaLnBrk="1" fontAlgn="base" latinLnBrk="0" hangingPunct="1">
              <a:lnSpc>
                <a:spcPct val="100000"/>
              </a:lnSpc>
              <a:spcBef>
                <a:spcPts val="0"/>
              </a:spcBef>
              <a:spcAft>
                <a:spcPts val="300"/>
              </a:spcAft>
              <a:buClrTx/>
              <a:buSzPct val="90000"/>
              <a:buFont typeface="Symbol" panose="05050102010706020507" pitchFamily="18" charset="2"/>
              <a:buChar char=""/>
              <a:tabLst/>
              <a:defRPr/>
            </a:pPr>
            <a:endParaRPr kumimoji="0" lang="en-US" sz="1800" b="1" i="0" u="none" strike="noStrike" kern="1200" cap="none" spc="0" normalizeH="0" baseline="0" noProof="0">
              <a:ln>
                <a:noFill/>
              </a:ln>
              <a:solidFill>
                <a:prstClr val="black"/>
              </a:solidFill>
              <a:effectLst/>
              <a:uLnTx/>
              <a:uFillTx/>
              <a:latin typeface="Segoe UI Light"/>
              <a:ea typeface="Calibri" panose="020F0502020204030204" pitchFamily="34" charset="0"/>
              <a:cs typeface="Times New Roman" panose="02020603050405020304" pitchFamily="18" charset="0"/>
            </a:endParaRPr>
          </a:p>
          <a:p>
            <a:pPr marL="342900" marR="0" lvl="0" indent="-342900" algn="l" defTabSz="914400" rtl="0" eaLnBrk="1" fontAlgn="base" latinLnBrk="0" hangingPunct="1">
              <a:lnSpc>
                <a:spcPct val="100000"/>
              </a:lnSpc>
              <a:spcBef>
                <a:spcPts val="0"/>
              </a:spcBef>
              <a:spcAft>
                <a:spcPts val="300"/>
              </a:spcAft>
              <a:buClrTx/>
              <a:buSzPct val="90000"/>
              <a:buFont typeface="Symbol" panose="05050102010706020507" pitchFamily="18" charset="2"/>
              <a:buChar char=""/>
              <a:tabLst/>
              <a:defRPr/>
            </a:pPr>
            <a:r>
              <a:rPr kumimoji="0" lang="en-US" sz="1800" b="0" i="0" u="none" strike="noStrike" kern="1200" cap="none" spc="0" normalizeH="0" baseline="0" noProof="0">
                <a:ln>
                  <a:noFill/>
                </a:ln>
                <a:solidFill>
                  <a:prstClr val="black"/>
                </a:solidFill>
                <a:effectLst/>
                <a:uLnTx/>
                <a:uFillTx/>
                <a:latin typeface="Segoe UI Light"/>
                <a:ea typeface="Calibri" panose="020F0502020204030204" pitchFamily="34" charset="0"/>
                <a:cs typeface="Times New Roman" panose="02020603050405020304" pitchFamily="18" charset="0"/>
              </a:rPr>
              <a:t>Specified</a:t>
            </a:r>
            <a:r>
              <a:rPr kumimoji="0" lang="en-US" sz="1800" b="1" i="0" u="none" strike="noStrike" kern="1200" cap="none" spc="0" normalizeH="0" baseline="0" noProof="0">
                <a:ln>
                  <a:noFill/>
                </a:ln>
                <a:solidFill>
                  <a:prstClr val="black"/>
                </a:solidFill>
                <a:effectLst/>
                <a:uLnTx/>
                <a:uFillTx/>
                <a:latin typeface="Segoe UI Light"/>
                <a:ea typeface="Calibri" panose="020F0502020204030204" pitchFamily="34" charset="0"/>
                <a:cs typeface="Times New Roman" panose="02020603050405020304" pitchFamily="18" charset="0"/>
              </a:rPr>
              <a:t> credentials can be cleared</a:t>
            </a:r>
          </a:p>
          <a:p>
            <a:pPr marL="342900" marR="0" lvl="0" indent="-342900" algn="l" defTabSz="914400" rtl="0" eaLnBrk="1" fontAlgn="base" latinLnBrk="0" hangingPunct="1">
              <a:lnSpc>
                <a:spcPct val="100000"/>
              </a:lnSpc>
              <a:spcBef>
                <a:spcPts val="0"/>
              </a:spcBef>
              <a:spcAft>
                <a:spcPts val="300"/>
              </a:spcAft>
              <a:buClrTx/>
              <a:buSzPct val="90000"/>
              <a:buFont typeface="Symbol" panose="05050102010706020507" pitchFamily="18" charset="2"/>
              <a:buChar char=""/>
              <a:tabLst/>
              <a:defRPr/>
            </a:pPr>
            <a:endParaRPr kumimoji="0" lang="en-US" sz="1800" b="0" i="0" u="none" strike="noStrike" kern="1200" cap="none" spc="0" normalizeH="0" baseline="0" noProof="0">
              <a:ln>
                <a:noFill/>
              </a:ln>
              <a:solidFill>
                <a:prstClr val="black"/>
              </a:solidFill>
              <a:effectLst/>
              <a:uLnTx/>
              <a:uFillTx/>
              <a:latin typeface="Segoe UI Light"/>
              <a:ea typeface="Calibri" panose="020F0502020204030204" pitchFamily="34" charset="0"/>
              <a:cs typeface="Times New Roman" panose="02020603050405020304" pitchFamily="18" charset="0"/>
            </a:endParaRPr>
          </a:p>
          <a:p>
            <a:pPr marL="342900" marR="0" lvl="0" indent="-342900" algn="l" defTabSz="914400" rtl="0" eaLnBrk="1" fontAlgn="base" latinLnBrk="0" hangingPunct="1">
              <a:lnSpc>
                <a:spcPct val="100000"/>
              </a:lnSpc>
              <a:spcBef>
                <a:spcPts val="0"/>
              </a:spcBef>
              <a:spcAft>
                <a:spcPts val="300"/>
              </a:spcAft>
              <a:buClrTx/>
              <a:buSzPct val="90000"/>
              <a:buFont typeface="Symbol" panose="05050102010706020507" pitchFamily="18" charset="2"/>
              <a:buChar char=""/>
              <a:tabLst/>
              <a:defRPr/>
            </a:pPr>
            <a:r>
              <a:rPr kumimoji="0" lang="en-US" sz="1800" b="0" i="0" u="none" strike="noStrike" kern="1200" cap="none" spc="0" normalizeH="0" baseline="0" noProof="0">
                <a:ln>
                  <a:noFill/>
                </a:ln>
                <a:solidFill>
                  <a:prstClr val="black"/>
                </a:solidFill>
                <a:effectLst/>
                <a:uLnTx/>
                <a:uFillTx/>
                <a:latin typeface="Segoe UI Light"/>
                <a:ea typeface="Calibri" panose="020F0502020204030204" pitchFamily="34" charset="0"/>
                <a:cs typeface="Times New Roman" panose="02020603050405020304" pitchFamily="18" charset="0"/>
              </a:rPr>
              <a:t>The scope can be current file or previous created connections</a:t>
            </a:r>
          </a:p>
          <a:p>
            <a:pPr marL="342900" marR="0" lvl="0" indent="-342900" algn="l" defTabSz="914400" rtl="0" eaLnBrk="1" fontAlgn="base" latinLnBrk="0" hangingPunct="1">
              <a:lnSpc>
                <a:spcPct val="100000"/>
              </a:lnSpc>
              <a:spcBef>
                <a:spcPts val="0"/>
              </a:spcBef>
              <a:spcAft>
                <a:spcPts val="300"/>
              </a:spcAft>
              <a:buClrTx/>
              <a:buSzPct val="90000"/>
              <a:buFont typeface="Symbol" panose="05050102010706020507" pitchFamily="18" charset="2"/>
              <a:buChar char=""/>
              <a:tabLst/>
              <a:defRPr/>
            </a:pPr>
            <a:endParaRPr kumimoji="0" lang="en-US" sz="1800" b="0" i="0" u="none" strike="noStrike" kern="1200" cap="none" spc="0" normalizeH="0" baseline="0" noProof="0">
              <a:ln>
                <a:noFill/>
              </a:ln>
              <a:solidFill>
                <a:prstClr val="black"/>
              </a:solidFill>
              <a:effectLst/>
              <a:uLnTx/>
              <a:uFillTx/>
              <a:latin typeface="Segoe UI Light"/>
              <a:ea typeface="Calibri" panose="020F0502020204030204" pitchFamily="34" charset="0"/>
              <a:cs typeface="Times New Roman" panose="02020603050405020304" pitchFamily="18" charset="0"/>
            </a:endParaRPr>
          </a:p>
        </p:txBody>
      </p:sp>
      <p:sp>
        <p:nvSpPr>
          <p:cNvPr id="36" name="Rectangle 3"/>
          <p:cNvSpPr/>
          <p:nvPr/>
        </p:nvSpPr>
        <p:spPr bwMode="auto">
          <a:xfrm>
            <a:off x="3202216" y="665151"/>
            <a:ext cx="8105312" cy="44435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1" u="none" strike="noStrike" kern="1200" cap="none" spc="0" normalizeH="0" baseline="0" noProof="0">
                <a:ln>
                  <a:noFill/>
                </a:ln>
                <a:solidFill>
                  <a:prstClr val="black"/>
                </a:solidFill>
                <a:effectLst/>
                <a:uLnTx/>
                <a:uFillTx/>
                <a:latin typeface="Segoe UI Light"/>
                <a:ea typeface="+mn-ea"/>
                <a:cs typeface="+mn-cs"/>
              </a:rPr>
              <a:t>Changing connections</a:t>
            </a:r>
          </a:p>
        </p:txBody>
      </p:sp>
      <p:pic>
        <p:nvPicPr>
          <p:cNvPr id="2" name="Picture 1"/>
          <p:cNvPicPr>
            <a:picLocks noChangeAspect="1"/>
          </p:cNvPicPr>
          <p:nvPr/>
        </p:nvPicPr>
        <p:blipFill>
          <a:blip r:embed="rId3"/>
          <a:stretch>
            <a:fillRect/>
          </a:stretch>
        </p:blipFill>
        <p:spPr>
          <a:xfrm>
            <a:off x="7095854" y="2031208"/>
            <a:ext cx="4623180" cy="3358523"/>
          </a:xfrm>
          <a:prstGeom prst="rect">
            <a:avLst/>
          </a:prstGeom>
          <a:ln>
            <a:noFill/>
          </a:ln>
          <a:effectLst>
            <a:outerShdw blurRad="190500" algn="tl" rotWithShape="0">
              <a:srgbClr val="000000">
                <a:alpha val="70000"/>
              </a:srgbClr>
            </a:outerShdw>
          </a:effectLst>
        </p:spPr>
      </p:pic>
    </p:spTree>
    <p:extLst>
      <p:ext uri="{BB962C8B-B14F-4D97-AF65-F5344CB8AC3E}">
        <p14:creationId xmlns:p14="http://schemas.microsoft.com/office/powerpoint/2010/main" val="7272281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bg>
      <p:bgPr>
        <a:solidFill>
          <a:srgbClr val="F2C81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solidFill>
                  <a:schemeClr val="bg1"/>
                </a:solidFill>
              </a:rPr>
              <a:t>Power BI Desktop:</a:t>
            </a:r>
            <a:br>
              <a:rPr lang="en-US">
                <a:solidFill>
                  <a:schemeClr val="bg1"/>
                </a:solidFill>
              </a:rPr>
            </a:br>
            <a:r>
              <a:rPr lang="en-US">
                <a:solidFill>
                  <a:schemeClr val="bg1"/>
                </a:solidFill>
              </a:rPr>
              <a:t>Preparing Data</a:t>
            </a:r>
          </a:p>
        </p:txBody>
      </p:sp>
    </p:spTree>
    <p:extLst>
      <p:ext uri="{BB962C8B-B14F-4D97-AF65-F5344CB8AC3E}">
        <p14:creationId xmlns:p14="http://schemas.microsoft.com/office/powerpoint/2010/main" val="14450456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p:cNvGrpSpPr/>
          <p:nvPr/>
        </p:nvGrpSpPr>
        <p:grpSpPr>
          <a:xfrm>
            <a:off x="-11149" y="0"/>
            <a:ext cx="2849058" cy="6858000"/>
            <a:chOff x="2" y="1"/>
            <a:chExt cx="2849058" cy="6858000"/>
          </a:xfrm>
        </p:grpSpPr>
        <p:sp>
          <p:nvSpPr>
            <p:cNvPr id="70" name="Rectangle 69"/>
            <p:cNvSpPr/>
            <p:nvPr/>
          </p:nvSpPr>
          <p:spPr bwMode="auto">
            <a:xfrm>
              <a:off x="2" y="1"/>
              <a:ext cx="2849058"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5" name="Oval 70"/>
            <p:cNvSpPr/>
            <p:nvPr/>
          </p:nvSpPr>
          <p:spPr>
            <a:xfrm>
              <a:off x="1413521" y="4951537"/>
              <a:ext cx="1119626" cy="1119626"/>
            </a:xfrm>
            <a:prstGeom prst="ellipse">
              <a:avLst/>
            </a:prstGeom>
            <a:solidFill>
              <a:srgbClr val="F2C812"/>
            </a:solidFill>
            <a:ln w="3175" cap="flat" cmpd="sng" algn="ctr">
              <a:noFill/>
              <a:prstDash val="solid"/>
            </a:ln>
            <a:effectLst/>
          </p:spPr>
          <p:txBody>
            <a:bodyPr vert="horz" wrap="none" lIns="0" tIns="45720" rIns="0" bIns="0" rtlCol="0" anchor="t"/>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Segoe UI"/>
                  <a:ea typeface="Segoe UI" pitchFamily="34" charset="0"/>
                  <a:cs typeface="Segoe UI" pitchFamily="34" charset="0"/>
                </a:rPr>
                <a:t>Share &amp;</a:t>
              </a:r>
            </a:p>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Segoe UI"/>
                  <a:ea typeface="Segoe UI" pitchFamily="34" charset="0"/>
                  <a:cs typeface="Segoe UI" pitchFamily="34" charset="0"/>
                </a:rPr>
                <a:t>collaborate </a:t>
              </a:r>
            </a:p>
          </p:txBody>
        </p:sp>
        <p:grpSp>
          <p:nvGrpSpPr>
            <p:cNvPr id="66" name="Group 38"/>
            <p:cNvGrpSpPr>
              <a:grpSpLocks noChangeAspect="1"/>
            </p:cNvGrpSpPr>
            <p:nvPr/>
          </p:nvGrpSpPr>
          <p:grpSpPr>
            <a:xfrm>
              <a:off x="676996" y="3930692"/>
              <a:ext cx="383905" cy="351536"/>
              <a:chOff x="4363684" y="5330386"/>
              <a:chExt cx="1409956" cy="1291077"/>
            </a:xfrm>
            <a:solidFill>
              <a:srgbClr val="217346"/>
            </a:solidFill>
          </p:grpSpPr>
          <p:sp>
            <p:nvSpPr>
              <p:cNvPr id="67" name="Donut 3"/>
              <p:cNvSpPr/>
              <p:nvPr/>
            </p:nvSpPr>
            <p:spPr bwMode="auto">
              <a:xfrm>
                <a:off x="4363684" y="5330386"/>
                <a:ext cx="1409956" cy="1291077"/>
              </a:xfrm>
              <a:custGeom>
                <a:avLst/>
                <a:gdLst/>
                <a:ahLst/>
                <a:cxnLst/>
                <a:rect l="l" t="t" r="r" b="b"/>
                <a:pathLst>
                  <a:path w="1409956" h="1291077">
                    <a:moveTo>
                      <a:pt x="956401" y="78410"/>
                    </a:moveTo>
                    <a:cubicBezTo>
                      <a:pt x="747518" y="78410"/>
                      <a:pt x="578184" y="247744"/>
                      <a:pt x="578184" y="456627"/>
                    </a:cubicBezTo>
                    <a:cubicBezTo>
                      <a:pt x="578184" y="665510"/>
                      <a:pt x="747518" y="834844"/>
                      <a:pt x="956401" y="834844"/>
                    </a:cubicBezTo>
                    <a:cubicBezTo>
                      <a:pt x="1165284" y="834844"/>
                      <a:pt x="1334618" y="665510"/>
                      <a:pt x="1334618" y="456627"/>
                    </a:cubicBezTo>
                    <a:cubicBezTo>
                      <a:pt x="1334618" y="247744"/>
                      <a:pt x="1165284" y="78410"/>
                      <a:pt x="956401" y="78410"/>
                    </a:cubicBezTo>
                    <a:close/>
                    <a:moveTo>
                      <a:pt x="952756" y="0"/>
                    </a:moveTo>
                    <a:cubicBezTo>
                      <a:pt x="1205261" y="0"/>
                      <a:pt x="1409956" y="204695"/>
                      <a:pt x="1409956" y="457200"/>
                    </a:cubicBezTo>
                    <a:cubicBezTo>
                      <a:pt x="1409956" y="709705"/>
                      <a:pt x="1205261" y="914400"/>
                      <a:pt x="952756" y="914400"/>
                    </a:cubicBezTo>
                    <a:cubicBezTo>
                      <a:pt x="862133" y="914400"/>
                      <a:pt x="777669" y="888034"/>
                      <a:pt x="707132" y="841746"/>
                    </a:cubicBezTo>
                    <a:lnTo>
                      <a:pt x="136495" y="1280102"/>
                    </a:lnTo>
                    <a:cubicBezTo>
                      <a:pt x="21896" y="1327168"/>
                      <a:pt x="-44029" y="1213730"/>
                      <a:pt x="33797" y="1113182"/>
                    </a:cubicBezTo>
                    <a:lnTo>
                      <a:pt x="568587" y="703518"/>
                    </a:lnTo>
                    <a:cubicBezTo>
                      <a:pt x="522087" y="632814"/>
                      <a:pt x="495556" y="548105"/>
                      <a:pt x="495556" y="457200"/>
                    </a:cubicBezTo>
                    <a:cubicBezTo>
                      <a:pt x="495556" y="204695"/>
                      <a:pt x="700251" y="0"/>
                      <a:pt x="952756" y="0"/>
                    </a:cubicBezTo>
                    <a:close/>
                  </a:path>
                </a:pathLst>
              </a:custGeom>
              <a:grpFill/>
              <a:ln>
                <a:solidFill>
                  <a:srgbClr val="21734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sp>
            <p:nvSpPr>
              <p:cNvPr id="68" name="Rectangle 4"/>
              <p:cNvSpPr/>
              <p:nvPr/>
            </p:nvSpPr>
            <p:spPr>
              <a:xfrm>
                <a:off x="5058389" y="5528247"/>
                <a:ext cx="490885" cy="490020"/>
              </a:xfrm>
              <a:custGeom>
                <a:avLst/>
                <a:gdLst/>
                <a:ahLst/>
                <a:cxnLst/>
                <a:rect l="l" t="t" r="r" b="b"/>
                <a:pathLst>
                  <a:path w="490885" h="490020">
                    <a:moveTo>
                      <a:pt x="240752" y="0"/>
                    </a:moveTo>
                    <a:cubicBezTo>
                      <a:pt x="253961" y="11844"/>
                      <a:pt x="293310" y="49692"/>
                      <a:pt x="337332" y="92439"/>
                    </a:cubicBezTo>
                    <a:lnTo>
                      <a:pt x="328342" y="81259"/>
                    </a:lnTo>
                    <a:cubicBezTo>
                      <a:pt x="356946" y="111282"/>
                      <a:pt x="377251" y="107167"/>
                      <a:pt x="382515" y="87941"/>
                    </a:cubicBezTo>
                    <a:cubicBezTo>
                      <a:pt x="383951" y="76921"/>
                      <a:pt x="384595" y="68732"/>
                      <a:pt x="396997" y="52239"/>
                    </a:cubicBezTo>
                    <a:cubicBezTo>
                      <a:pt x="420362" y="32084"/>
                      <a:pt x="442294" y="41736"/>
                      <a:pt x="454920" y="51330"/>
                    </a:cubicBezTo>
                    <a:cubicBezTo>
                      <a:pt x="467834" y="62761"/>
                      <a:pt x="477920" y="86882"/>
                      <a:pt x="460392" y="109714"/>
                    </a:cubicBezTo>
                    <a:cubicBezTo>
                      <a:pt x="451128" y="121912"/>
                      <a:pt x="437554" y="126838"/>
                      <a:pt x="425922" y="126505"/>
                    </a:cubicBezTo>
                    <a:cubicBezTo>
                      <a:pt x="424301" y="127609"/>
                      <a:pt x="382890" y="134974"/>
                      <a:pt x="427348" y="177672"/>
                    </a:cubicBezTo>
                    <a:lnTo>
                      <a:pt x="416886" y="169735"/>
                    </a:lnTo>
                    <a:cubicBezTo>
                      <a:pt x="450207" y="202177"/>
                      <a:pt x="478424" y="229744"/>
                      <a:pt x="490885" y="241900"/>
                    </a:cubicBezTo>
                    <a:lnTo>
                      <a:pt x="417150" y="317347"/>
                    </a:lnTo>
                    <a:cubicBezTo>
                      <a:pt x="417744" y="316535"/>
                      <a:pt x="418443" y="316123"/>
                      <a:pt x="419047" y="315822"/>
                    </a:cubicBezTo>
                    <a:cubicBezTo>
                      <a:pt x="389023" y="344426"/>
                      <a:pt x="393138" y="364731"/>
                      <a:pt x="412364" y="369995"/>
                    </a:cubicBezTo>
                    <a:cubicBezTo>
                      <a:pt x="423384" y="371431"/>
                      <a:pt x="431574" y="372075"/>
                      <a:pt x="448067" y="384477"/>
                    </a:cubicBezTo>
                    <a:cubicBezTo>
                      <a:pt x="468221" y="407842"/>
                      <a:pt x="458569" y="429774"/>
                      <a:pt x="448975" y="442400"/>
                    </a:cubicBezTo>
                    <a:cubicBezTo>
                      <a:pt x="437545" y="455314"/>
                      <a:pt x="413423" y="465400"/>
                      <a:pt x="390591" y="447872"/>
                    </a:cubicBezTo>
                    <a:cubicBezTo>
                      <a:pt x="378394" y="438608"/>
                      <a:pt x="373468" y="425034"/>
                      <a:pt x="373800" y="413402"/>
                    </a:cubicBezTo>
                    <a:cubicBezTo>
                      <a:pt x="372696" y="411781"/>
                      <a:pt x="365332" y="370370"/>
                      <a:pt x="322634" y="414828"/>
                    </a:cubicBezTo>
                    <a:lnTo>
                      <a:pt x="325243" y="411388"/>
                    </a:lnTo>
                    <a:lnTo>
                      <a:pt x="248395" y="490020"/>
                    </a:lnTo>
                    <a:cubicBezTo>
                      <a:pt x="208939" y="451897"/>
                      <a:pt x="199129" y="442073"/>
                      <a:pt x="174192" y="418236"/>
                    </a:cubicBezTo>
                    <a:cubicBezTo>
                      <a:pt x="145587" y="388212"/>
                      <a:pt x="125282" y="392327"/>
                      <a:pt x="120018" y="411553"/>
                    </a:cubicBezTo>
                    <a:cubicBezTo>
                      <a:pt x="118582" y="422573"/>
                      <a:pt x="117938" y="430763"/>
                      <a:pt x="105536" y="447256"/>
                    </a:cubicBezTo>
                    <a:cubicBezTo>
                      <a:pt x="82171" y="467410"/>
                      <a:pt x="60239" y="457758"/>
                      <a:pt x="47614" y="448164"/>
                    </a:cubicBezTo>
                    <a:cubicBezTo>
                      <a:pt x="34699" y="436734"/>
                      <a:pt x="24614" y="412612"/>
                      <a:pt x="42141" y="389780"/>
                    </a:cubicBezTo>
                    <a:cubicBezTo>
                      <a:pt x="51405" y="377583"/>
                      <a:pt x="64979" y="372657"/>
                      <a:pt x="76612" y="372989"/>
                    </a:cubicBezTo>
                    <a:cubicBezTo>
                      <a:pt x="78232" y="371886"/>
                      <a:pt x="119644" y="364521"/>
                      <a:pt x="75186" y="321823"/>
                    </a:cubicBezTo>
                    <a:cubicBezTo>
                      <a:pt x="58767" y="305402"/>
                      <a:pt x="23648" y="271235"/>
                      <a:pt x="0" y="248738"/>
                    </a:cubicBezTo>
                    <a:lnTo>
                      <a:pt x="77303" y="168146"/>
                    </a:lnTo>
                    <a:cubicBezTo>
                      <a:pt x="104269" y="140313"/>
                      <a:pt x="122130" y="156409"/>
                      <a:pt x="124388" y="175543"/>
                    </a:cubicBezTo>
                    <a:cubicBezTo>
                      <a:pt x="124457" y="182466"/>
                      <a:pt x="127106" y="193106"/>
                      <a:pt x="137575" y="203052"/>
                    </a:cubicBezTo>
                    <a:cubicBezTo>
                      <a:pt x="153931" y="220277"/>
                      <a:pt x="181252" y="217451"/>
                      <a:pt x="196721" y="201951"/>
                    </a:cubicBezTo>
                    <a:cubicBezTo>
                      <a:pt x="211961" y="185740"/>
                      <a:pt x="213057" y="157882"/>
                      <a:pt x="196146" y="142797"/>
                    </a:cubicBezTo>
                    <a:cubicBezTo>
                      <a:pt x="184301" y="132637"/>
                      <a:pt x="177155" y="131453"/>
                      <a:pt x="166513" y="129894"/>
                    </a:cubicBezTo>
                    <a:cubicBezTo>
                      <a:pt x="154522" y="129013"/>
                      <a:pt x="131185" y="112953"/>
                      <a:pt x="157905" y="85228"/>
                    </a:cubicBezTo>
                    <a:close/>
                  </a:path>
                </a:pathLst>
              </a:custGeom>
              <a:grpFill/>
              <a:ln>
                <a:solidFill>
                  <a:srgbClr val="21734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grpSp>
        <p:sp>
          <p:nvSpPr>
            <p:cNvPr id="69" name="Oval 47"/>
            <p:cNvSpPr/>
            <p:nvPr/>
          </p:nvSpPr>
          <p:spPr>
            <a:xfrm>
              <a:off x="388608" y="3710471"/>
              <a:ext cx="1119626" cy="1119626"/>
            </a:xfrm>
            <a:prstGeom prst="ellipse">
              <a:avLst/>
            </a:prstGeom>
            <a:solidFill>
              <a:srgbClr val="F2C812"/>
            </a:solidFill>
            <a:ln w="3175" cap="flat" cmpd="sng" algn="ctr">
              <a:noFill/>
              <a:prstDash val="solid"/>
            </a:ln>
            <a:effectLst/>
          </p:spPr>
          <p:txBody>
            <a:bodyPr vert="horz" wrap="none" lIns="0" tIns="45720" rIns="0" bIns="0" rtlCol="0" anchor="t"/>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Segoe UI"/>
                  <a:ea typeface="Segoe UI" pitchFamily="34" charset="0"/>
                  <a:cs typeface="Segoe UI" pitchFamily="34" charset="0"/>
                </a:rPr>
                <a:t>Report</a:t>
              </a:r>
            </a:p>
          </p:txBody>
        </p:sp>
        <p:sp>
          <p:nvSpPr>
            <p:cNvPr id="85" name="Oval 950"/>
            <p:cNvSpPr/>
            <p:nvPr/>
          </p:nvSpPr>
          <p:spPr>
            <a:xfrm>
              <a:off x="388608" y="1252295"/>
              <a:ext cx="1119626" cy="1119626"/>
            </a:xfrm>
            <a:prstGeom prst="ellipse">
              <a:avLst/>
            </a:prstGeom>
            <a:solidFill>
              <a:srgbClr val="F2C812"/>
            </a:solidFill>
            <a:ln w="3175" cap="flat" cmpd="sng" algn="ctr">
              <a:noFill/>
              <a:prstDash val="solid"/>
            </a:ln>
            <a:effectLst/>
          </p:spPr>
          <p:txBody>
            <a:bodyPr vert="horz" wrap="none" lIns="0" tIns="45720" rIns="0" bIns="0" rtlCol="0" anchor="t"/>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1" i="0" u="none" strike="noStrike" kern="1200" cap="none" spc="0" normalizeH="0" baseline="0" noProof="0">
                <a:ln>
                  <a:noFill/>
                </a:ln>
                <a:solidFill>
                  <a:srgbClr val="217346"/>
                </a:solidFill>
                <a:effectLst/>
                <a:uLnTx/>
                <a:uFillTx/>
                <a:latin typeface="Segoe UI"/>
                <a:ea typeface="Segoe UI" pitchFamily="34" charset="0"/>
                <a:cs typeface="Segoe UI" pitchFamily="34" charset="0"/>
              </a:endParaRPr>
            </a:p>
          </p:txBody>
        </p:sp>
        <p:grpSp>
          <p:nvGrpSpPr>
            <p:cNvPr id="86" name="Group 85"/>
            <p:cNvGrpSpPr/>
            <p:nvPr/>
          </p:nvGrpSpPr>
          <p:grpSpPr>
            <a:xfrm>
              <a:off x="1264851" y="3482890"/>
              <a:ext cx="292254" cy="354906"/>
              <a:chOff x="1296521" y="3253388"/>
              <a:chExt cx="292254" cy="354906"/>
            </a:xfrm>
            <a:solidFill>
              <a:srgbClr val="F2C812"/>
            </a:solidFill>
          </p:grpSpPr>
          <p:sp>
            <p:nvSpPr>
              <p:cNvPr id="87" name="Isosceles Triangle 86"/>
              <p:cNvSpPr/>
              <p:nvPr/>
            </p:nvSpPr>
            <p:spPr bwMode="auto">
              <a:xfrm rot="13636515">
                <a:off x="1461362" y="328936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8" name="Isosceles Triangle 87"/>
              <p:cNvSpPr/>
              <p:nvPr/>
            </p:nvSpPr>
            <p:spPr bwMode="auto">
              <a:xfrm rot="13636515">
                <a:off x="1357669" y="338258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9" name="Isosceles Triangle 88"/>
              <p:cNvSpPr/>
              <p:nvPr/>
            </p:nvSpPr>
            <p:spPr bwMode="auto">
              <a:xfrm rot="13636515">
                <a:off x="1260548" y="3480882"/>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90" name="Group 89"/>
            <p:cNvGrpSpPr/>
            <p:nvPr/>
          </p:nvGrpSpPr>
          <p:grpSpPr>
            <a:xfrm rot="15940603">
              <a:off x="1334576" y="2204404"/>
              <a:ext cx="292254" cy="354906"/>
              <a:chOff x="1296521" y="3253388"/>
              <a:chExt cx="292254" cy="354906"/>
            </a:xfrm>
            <a:solidFill>
              <a:srgbClr val="F2C812"/>
            </a:solidFill>
          </p:grpSpPr>
          <p:sp>
            <p:nvSpPr>
              <p:cNvPr id="91" name="Isosceles Triangle 90"/>
              <p:cNvSpPr/>
              <p:nvPr/>
            </p:nvSpPr>
            <p:spPr bwMode="auto">
              <a:xfrm rot="13636515">
                <a:off x="1461362" y="328936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2" name="Isosceles Triangle 91"/>
              <p:cNvSpPr/>
              <p:nvPr/>
            </p:nvSpPr>
            <p:spPr bwMode="auto">
              <a:xfrm rot="13636515">
                <a:off x="1357669" y="338258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3" name="Isosceles Triangle 92"/>
              <p:cNvSpPr/>
              <p:nvPr/>
            </p:nvSpPr>
            <p:spPr bwMode="auto">
              <a:xfrm rot="13636515">
                <a:off x="1260548" y="3480882"/>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94" name="Group 93"/>
            <p:cNvGrpSpPr/>
            <p:nvPr/>
          </p:nvGrpSpPr>
          <p:grpSpPr>
            <a:xfrm rot="16043978">
              <a:off x="1317220" y="4717577"/>
              <a:ext cx="292254" cy="354906"/>
              <a:chOff x="1296521" y="3253388"/>
              <a:chExt cx="292254" cy="354906"/>
            </a:xfrm>
            <a:solidFill>
              <a:srgbClr val="F2C812"/>
            </a:solidFill>
          </p:grpSpPr>
          <p:sp>
            <p:nvSpPr>
              <p:cNvPr id="95" name="Isosceles Triangle 94"/>
              <p:cNvSpPr/>
              <p:nvPr/>
            </p:nvSpPr>
            <p:spPr bwMode="auto">
              <a:xfrm rot="13636515">
                <a:off x="1461362" y="328936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6" name="Isosceles Triangle 95"/>
              <p:cNvSpPr/>
              <p:nvPr/>
            </p:nvSpPr>
            <p:spPr bwMode="auto">
              <a:xfrm rot="13636515">
                <a:off x="1357669" y="338258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7" name="Isosceles Triangle 96"/>
              <p:cNvSpPr/>
              <p:nvPr/>
            </p:nvSpPr>
            <p:spPr bwMode="auto">
              <a:xfrm rot="13636515">
                <a:off x="1260548" y="3480882"/>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98" name="Oval 36"/>
            <p:cNvSpPr/>
            <p:nvPr/>
          </p:nvSpPr>
          <p:spPr>
            <a:xfrm>
              <a:off x="1413521" y="2481383"/>
              <a:ext cx="1119626" cy="1119626"/>
            </a:xfrm>
            <a:prstGeom prst="ellipse">
              <a:avLst/>
            </a:prstGeom>
            <a:solidFill>
              <a:srgbClr val="F2C812"/>
            </a:solidFill>
            <a:ln w="3175" cap="flat" cmpd="sng" algn="ctr">
              <a:noFill/>
              <a:prstDash val="solid"/>
            </a:ln>
            <a:effectLst/>
          </p:spPr>
          <p:txBody>
            <a:bodyPr vert="horz" wrap="none" lIns="0" tIns="0" rIns="0" bIns="0" rtlCol="0" anchor="t"/>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400" b="1" i="0" u="none" strike="noStrike" kern="1200" cap="none" spc="0" normalizeH="0" baseline="0" noProof="0">
                <a:ln>
                  <a:noFill/>
                </a:ln>
                <a:solidFill>
                  <a:srgbClr val="217346"/>
                </a:solidFill>
                <a:effectLst/>
                <a:uLnTx/>
                <a:uFillTx/>
                <a:latin typeface="Segoe UI"/>
                <a:ea typeface="Segoe UI" pitchFamily="34" charset="0"/>
                <a:cs typeface="Segoe UI" pitchFamily="34" charset="0"/>
              </a:endParaRPr>
            </a:p>
          </p:txBody>
        </p:sp>
        <p:sp>
          <p:nvSpPr>
            <p:cNvPr id="99" name="Donut 3"/>
            <p:cNvSpPr/>
            <p:nvPr/>
          </p:nvSpPr>
          <p:spPr bwMode="auto">
            <a:xfrm>
              <a:off x="1742065" y="3002355"/>
              <a:ext cx="383905" cy="351537"/>
            </a:xfrm>
            <a:custGeom>
              <a:avLst/>
              <a:gdLst/>
              <a:ahLst/>
              <a:cxnLst/>
              <a:rect l="l" t="t" r="r" b="b"/>
              <a:pathLst>
                <a:path w="1409956" h="1291077">
                  <a:moveTo>
                    <a:pt x="956401" y="78410"/>
                  </a:moveTo>
                  <a:cubicBezTo>
                    <a:pt x="747518" y="78410"/>
                    <a:pt x="578184" y="247744"/>
                    <a:pt x="578184" y="456627"/>
                  </a:cubicBezTo>
                  <a:cubicBezTo>
                    <a:pt x="578184" y="665510"/>
                    <a:pt x="747518" y="834844"/>
                    <a:pt x="956401" y="834844"/>
                  </a:cubicBezTo>
                  <a:cubicBezTo>
                    <a:pt x="1165284" y="834844"/>
                    <a:pt x="1334618" y="665510"/>
                    <a:pt x="1334618" y="456627"/>
                  </a:cubicBezTo>
                  <a:cubicBezTo>
                    <a:pt x="1334618" y="247744"/>
                    <a:pt x="1165284" y="78410"/>
                    <a:pt x="956401" y="78410"/>
                  </a:cubicBezTo>
                  <a:close/>
                  <a:moveTo>
                    <a:pt x="952756" y="0"/>
                  </a:moveTo>
                  <a:cubicBezTo>
                    <a:pt x="1205261" y="0"/>
                    <a:pt x="1409956" y="204695"/>
                    <a:pt x="1409956" y="457200"/>
                  </a:cubicBezTo>
                  <a:cubicBezTo>
                    <a:pt x="1409956" y="709705"/>
                    <a:pt x="1205261" y="914400"/>
                    <a:pt x="952756" y="914400"/>
                  </a:cubicBezTo>
                  <a:cubicBezTo>
                    <a:pt x="862133" y="914400"/>
                    <a:pt x="777669" y="888034"/>
                    <a:pt x="707132" y="841746"/>
                  </a:cubicBezTo>
                  <a:lnTo>
                    <a:pt x="136495" y="1280102"/>
                  </a:lnTo>
                  <a:cubicBezTo>
                    <a:pt x="21896" y="1327168"/>
                    <a:pt x="-44029" y="1213730"/>
                    <a:pt x="33797" y="1113182"/>
                  </a:cubicBezTo>
                  <a:lnTo>
                    <a:pt x="568587" y="703518"/>
                  </a:lnTo>
                  <a:cubicBezTo>
                    <a:pt x="522087" y="632814"/>
                    <a:pt x="495556" y="548105"/>
                    <a:pt x="495556" y="457200"/>
                  </a:cubicBezTo>
                  <a:cubicBezTo>
                    <a:pt x="495556" y="204695"/>
                    <a:pt x="700251" y="0"/>
                    <a:pt x="952756" y="0"/>
                  </a:cubicBezTo>
                  <a:close/>
                </a:path>
              </a:pathLst>
            </a:cu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ysClr val="windowText" lastClr="000000"/>
                </a:solidFill>
                <a:effectLst/>
                <a:uLnTx/>
                <a:uFillTx/>
                <a:latin typeface="Segoe UI"/>
                <a:ea typeface="+mn-ea"/>
                <a:cs typeface="+mn-cs"/>
              </a:endParaRPr>
            </a:p>
          </p:txBody>
        </p:sp>
        <p:sp>
          <p:nvSpPr>
            <p:cNvPr id="100" name="Rectangle 99"/>
            <p:cNvSpPr/>
            <p:nvPr/>
          </p:nvSpPr>
          <p:spPr>
            <a:xfrm>
              <a:off x="1600398" y="2677430"/>
              <a:ext cx="820353" cy="307777"/>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Segoe UI"/>
                  <a:ea typeface="Segoe UI" pitchFamily="34" charset="0"/>
                  <a:cs typeface="Segoe UI" pitchFamily="34" charset="0"/>
                </a:rPr>
                <a:t>Explore</a:t>
              </a:r>
              <a:endParaRPr kumimoji="0" lang="en-US" sz="1600" b="0" i="0" u="none" strike="noStrike" kern="1200" cap="none" spc="0" normalizeH="0" baseline="0" noProof="0">
                <a:ln>
                  <a:noFill/>
                </a:ln>
                <a:solidFill>
                  <a:prstClr val="black"/>
                </a:solidFill>
                <a:effectLst/>
                <a:uLnTx/>
                <a:uFillTx/>
                <a:latin typeface="Segoe UI"/>
                <a:ea typeface="+mn-ea"/>
                <a:cs typeface="+mn-cs"/>
              </a:endParaRPr>
            </a:p>
          </p:txBody>
        </p:sp>
        <p:sp>
          <p:nvSpPr>
            <p:cNvPr id="101" name="Rectangle 100"/>
            <p:cNvSpPr/>
            <p:nvPr/>
          </p:nvSpPr>
          <p:spPr>
            <a:xfrm>
              <a:off x="509174" y="1475232"/>
              <a:ext cx="838756" cy="307777"/>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Segoe UI"/>
                  <a:ea typeface="Segoe UI" pitchFamily="34" charset="0"/>
                  <a:cs typeface="Segoe UI" pitchFamily="34" charset="0"/>
                </a:rPr>
                <a:t>Prepare</a:t>
              </a:r>
              <a:endParaRPr kumimoji="0" lang="en-US" sz="1400" b="0" i="0" u="none" strike="noStrike" kern="1200" cap="none" spc="0" normalizeH="0" baseline="0" noProof="0">
                <a:ln>
                  <a:noFill/>
                </a:ln>
                <a:solidFill>
                  <a:prstClr val="black"/>
                </a:solidFill>
                <a:effectLst/>
                <a:uLnTx/>
                <a:uFillTx/>
                <a:latin typeface="Segoe UI"/>
                <a:ea typeface="+mn-ea"/>
                <a:cs typeface="+mn-cs"/>
              </a:endParaRPr>
            </a:p>
          </p:txBody>
        </p:sp>
        <p:sp>
          <p:nvSpPr>
            <p:cNvPr id="102" name="Freeform 101"/>
            <p:cNvSpPr>
              <a:spLocks noChangeAspect="1"/>
            </p:cNvSpPr>
            <p:nvPr/>
          </p:nvSpPr>
          <p:spPr bwMode="black">
            <a:xfrm>
              <a:off x="1836174" y="5643069"/>
              <a:ext cx="274320" cy="284173"/>
            </a:xfrm>
            <a:custGeom>
              <a:avLst/>
              <a:gdLst>
                <a:gd name="T0" fmla="*/ 539 w 669"/>
                <a:gd name="T1" fmla="*/ 5 h 693"/>
                <a:gd name="T2" fmla="*/ 640 w 669"/>
                <a:gd name="T3" fmla="*/ 55 h 693"/>
                <a:gd name="T4" fmla="*/ 603 w 669"/>
                <a:gd name="T5" fmla="*/ 195 h 693"/>
                <a:gd name="T6" fmla="*/ 490 w 669"/>
                <a:gd name="T7" fmla="*/ 188 h 693"/>
                <a:gd name="T8" fmla="*/ 479 w 669"/>
                <a:gd name="T9" fmla="*/ 176 h 693"/>
                <a:gd name="T10" fmla="*/ 213 w 669"/>
                <a:gd name="T11" fmla="*/ 330 h 693"/>
                <a:gd name="T12" fmla="*/ 218 w 669"/>
                <a:gd name="T13" fmla="*/ 345 h 693"/>
                <a:gd name="T14" fmla="*/ 218 w 669"/>
                <a:gd name="T15" fmla="*/ 375 h 693"/>
                <a:gd name="T16" fmla="*/ 209 w 669"/>
                <a:gd name="T17" fmla="*/ 402 h 693"/>
                <a:gd name="T18" fmla="*/ 369 w 669"/>
                <a:gd name="T19" fmla="*/ 503 h 693"/>
                <a:gd name="T20" fmla="*/ 373 w 669"/>
                <a:gd name="T21" fmla="*/ 498 h 693"/>
                <a:gd name="T22" fmla="*/ 456 w 669"/>
                <a:gd name="T23" fmla="*/ 475 h 693"/>
                <a:gd name="T24" fmla="*/ 494 w 669"/>
                <a:gd name="T25" fmla="*/ 489 h 693"/>
                <a:gd name="T26" fmla="*/ 527 w 669"/>
                <a:gd name="T27" fmla="*/ 630 h 693"/>
                <a:gd name="T28" fmla="*/ 386 w 669"/>
                <a:gd name="T29" fmla="*/ 663 h 693"/>
                <a:gd name="T30" fmla="*/ 339 w 669"/>
                <a:gd name="T31" fmla="*/ 560 h 693"/>
                <a:gd name="T32" fmla="*/ 345 w 669"/>
                <a:gd name="T33" fmla="*/ 544 h 693"/>
                <a:gd name="T34" fmla="*/ 177 w 669"/>
                <a:gd name="T35" fmla="*/ 439 h 693"/>
                <a:gd name="T36" fmla="*/ 168 w 669"/>
                <a:gd name="T37" fmla="*/ 446 h 693"/>
                <a:gd name="T38" fmla="*/ 28 w 669"/>
                <a:gd name="T39" fmla="*/ 409 h 693"/>
                <a:gd name="T40" fmla="*/ 65 w 669"/>
                <a:gd name="T41" fmla="*/ 269 h 693"/>
                <a:gd name="T42" fmla="*/ 178 w 669"/>
                <a:gd name="T43" fmla="*/ 276 h 693"/>
                <a:gd name="T44" fmla="*/ 189 w 669"/>
                <a:gd name="T45" fmla="*/ 288 h 693"/>
                <a:gd name="T46" fmla="*/ 455 w 669"/>
                <a:gd name="T47" fmla="*/ 134 h 693"/>
                <a:gd name="T48" fmla="*/ 450 w 669"/>
                <a:gd name="T49" fmla="*/ 119 h 693"/>
                <a:gd name="T50" fmla="*/ 501 w 669"/>
                <a:gd name="T51" fmla="*/ 18 h 693"/>
                <a:gd name="T52" fmla="*/ 539 w 669"/>
                <a:gd name="T53" fmla="*/ 5 h 6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69" h="693">
                  <a:moveTo>
                    <a:pt x="539" y="5"/>
                  </a:moveTo>
                  <a:cubicBezTo>
                    <a:pt x="579" y="0"/>
                    <a:pt x="619" y="19"/>
                    <a:pt x="640" y="55"/>
                  </a:cubicBezTo>
                  <a:cubicBezTo>
                    <a:pt x="669" y="104"/>
                    <a:pt x="652" y="167"/>
                    <a:pt x="603" y="195"/>
                  </a:cubicBezTo>
                  <a:cubicBezTo>
                    <a:pt x="566" y="216"/>
                    <a:pt x="522" y="212"/>
                    <a:pt x="490" y="188"/>
                  </a:cubicBezTo>
                  <a:cubicBezTo>
                    <a:pt x="479" y="176"/>
                    <a:pt x="479" y="176"/>
                    <a:pt x="479" y="176"/>
                  </a:cubicBezTo>
                  <a:cubicBezTo>
                    <a:pt x="213" y="330"/>
                    <a:pt x="213" y="330"/>
                    <a:pt x="213" y="330"/>
                  </a:cubicBezTo>
                  <a:cubicBezTo>
                    <a:pt x="218" y="345"/>
                    <a:pt x="218" y="345"/>
                    <a:pt x="218" y="345"/>
                  </a:cubicBezTo>
                  <a:cubicBezTo>
                    <a:pt x="219" y="355"/>
                    <a:pt x="219" y="365"/>
                    <a:pt x="218" y="375"/>
                  </a:cubicBezTo>
                  <a:cubicBezTo>
                    <a:pt x="209" y="402"/>
                    <a:pt x="209" y="402"/>
                    <a:pt x="209" y="402"/>
                  </a:cubicBezTo>
                  <a:cubicBezTo>
                    <a:pt x="369" y="503"/>
                    <a:pt x="369" y="503"/>
                    <a:pt x="369" y="503"/>
                  </a:cubicBezTo>
                  <a:cubicBezTo>
                    <a:pt x="373" y="498"/>
                    <a:pt x="373" y="498"/>
                    <a:pt x="373" y="498"/>
                  </a:cubicBezTo>
                  <a:cubicBezTo>
                    <a:pt x="396" y="479"/>
                    <a:pt x="427" y="470"/>
                    <a:pt x="456" y="475"/>
                  </a:cubicBezTo>
                  <a:cubicBezTo>
                    <a:pt x="470" y="477"/>
                    <a:pt x="482" y="482"/>
                    <a:pt x="494" y="489"/>
                  </a:cubicBezTo>
                  <a:cubicBezTo>
                    <a:pt x="542" y="519"/>
                    <a:pt x="557" y="583"/>
                    <a:pt x="527" y="630"/>
                  </a:cubicBezTo>
                  <a:cubicBezTo>
                    <a:pt x="497" y="678"/>
                    <a:pt x="433" y="693"/>
                    <a:pt x="386" y="663"/>
                  </a:cubicBezTo>
                  <a:cubicBezTo>
                    <a:pt x="350" y="640"/>
                    <a:pt x="333" y="599"/>
                    <a:pt x="339" y="560"/>
                  </a:cubicBezTo>
                  <a:cubicBezTo>
                    <a:pt x="345" y="544"/>
                    <a:pt x="345" y="544"/>
                    <a:pt x="345" y="544"/>
                  </a:cubicBezTo>
                  <a:cubicBezTo>
                    <a:pt x="177" y="439"/>
                    <a:pt x="177" y="439"/>
                    <a:pt x="177" y="439"/>
                  </a:cubicBezTo>
                  <a:cubicBezTo>
                    <a:pt x="168" y="446"/>
                    <a:pt x="168" y="446"/>
                    <a:pt x="168" y="446"/>
                  </a:cubicBezTo>
                  <a:cubicBezTo>
                    <a:pt x="119" y="475"/>
                    <a:pt x="56" y="458"/>
                    <a:pt x="28" y="409"/>
                  </a:cubicBezTo>
                  <a:cubicBezTo>
                    <a:pt x="0" y="360"/>
                    <a:pt x="16" y="297"/>
                    <a:pt x="65" y="269"/>
                  </a:cubicBezTo>
                  <a:cubicBezTo>
                    <a:pt x="102" y="248"/>
                    <a:pt x="147" y="252"/>
                    <a:pt x="178" y="276"/>
                  </a:cubicBezTo>
                  <a:cubicBezTo>
                    <a:pt x="189" y="288"/>
                    <a:pt x="189" y="288"/>
                    <a:pt x="189" y="288"/>
                  </a:cubicBezTo>
                  <a:cubicBezTo>
                    <a:pt x="455" y="134"/>
                    <a:pt x="455" y="134"/>
                    <a:pt x="455" y="134"/>
                  </a:cubicBezTo>
                  <a:cubicBezTo>
                    <a:pt x="450" y="119"/>
                    <a:pt x="450" y="119"/>
                    <a:pt x="450" y="119"/>
                  </a:cubicBezTo>
                  <a:cubicBezTo>
                    <a:pt x="445" y="80"/>
                    <a:pt x="464" y="39"/>
                    <a:pt x="501" y="18"/>
                  </a:cubicBezTo>
                  <a:cubicBezTo>
                    <a:pt x="513" y="11"/>
                    <a:pt x="526" y="6"/>
                    <a:pt x="539" y="5"/>
                  </a:cubicBezTo>
                  <a:close/>
                </a:path>
              </a:pathLst>
            </a:custGeom>
            <a:solidFill>
              <a:schemeClr val="tx1"/>
            </a:solidFill>
            <a:ln>
              <a:noFill/>
            </a:ln>
          </p:spPr>
          <p:txBody>
            <a:bodyPr vert="horz" wrap="square" lIns="68574" tIns="34287" rIns="68574" bIns="34287"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Segoe UI"/>
                <a:ea typeface="+mn-ea"/>
                <a:cs typeface="+mn-cs"/>
              </a:endParaRPr>
            </a:p>
          </p:txBody>
        </p:sp>
        <p:sp>
          <p:nvSpPr>
            <p:cNvPr id="103" name="Freeform 102"/>
            <p:cNvSpPr>
              <a:spLocks noChangeAspect="1" noEditPoints="1"/>
            </p:cNvSpPr>
            <p:nvPr/>
          </p:nvSpPr>
          <p:spPr bwMode="black">
            <a:xfrm>
              <a:off x="722320" y="1783009"/>
              <a:ext cx="452202" cy="366660"/>
            </a:xfrm>
            <a:custGeom>
              <a:avLst/>
              <a:gdLst>
                <a:gd name="T0" fmla="*/ 600 w 1107"/>
                <a:gd name="T1" fmla="*/ 625 h 897"/>
                <a:gd name="T2" fmla="*/ 649 w 1107"/>
                <a:gd name="T3" fmla="*/ 567 h 897"/>
                <a:gd name="T4" fmla="*/ 727 w 1107"/>
                <a:gd name="T5" fmla="*/ 482 h 897"/>
                <a:gd name="T6" fmla="*/ 601 w 1107"/>
                <a:gd name="T7" fmla="*/ 434 h 897"/>
                <a:gd name="T8" fmla="*/ 628 w 1107"/>
                <a:gd name="T9" fmla="*/ 305 h 897"/>
                <a:gd name="T10" fmla="*/ 547 w 1107"/>
                <a:gd name="T11" fmla="*/ 240 h 897"/>
                <a:gd name="T12" fmla="*/ 427 w 1107"/>
                <a:gd name="T13" fmla="*/ 287 h 897"/>
                <a:gd name="T14" fmla="*/ 368 w 1107"/>
                <a:gd name="T15" fmla="*/ 170 h 897"/>
                <a:gd name="T16" fmla="*/ 285 w 1107"/>
                <a:gd name="T17" fmla="*/ 263 h 897"/>
                <a:gd name="T18" fmla="*/ 241 w 1107"/>
                <a:gd name="T19" fmla="*/ 313 h 897"/>
                <a:gd name="T20" fmla="*/ 139 w 1107"/>
                <a:gd name="T21" fmla="*/ 281 h 897"/>
                <a:gd name="T22" fmla="*/ 79 w 1107"/>
                <a:gd name="T23" fmla="*/ 355 h 897"/>
                <a:gd name="T24" fmla="*/ 132 w 1107"/>
                <a:gd name="T25" fmla="*/ 446 h 897"/>
                <a:gd name="T26" fmla="*/ 83 w 1107"/>
                <a:gd name="T27" fmla="*/ 505 h 897"/>
                <a:gd name="T28" fmla="*/ 5 w 1107"/>
                <a:gd name="T29" fmla="*/ 590 h 897"/>
                <a:gd name="T30" fmla="*/ 132 w 1107"/>
                <a:gd name="T31" fmla="*/ 638 h 897"/>
                <a:gd name="T32" fmla="*/ 145 w 1107"/>
                <a:gd name="T33" fmla="*/ 669 h 897"/>
                <a:gd name="T34" fmla="*/ 110 w 1107"/>
                <a:gd name="T35" fmla="*/ 793 h 897"/>
                <a:gd name="T36" fmla="*/ 230 w 1107"/>
                <a:gd name="T37" fmla="*/ 781 h 897"/>
                <a:gd name="T38" fmla="*/ 306 w 1107"/>
                <a:gd name="T39" fmla="*/ 785 h 897"/>
                <a:gd name="T40" fmla="*/ 346 w 1107"/>
                <a:gd name="T41" fmla="*/ 878 h 897"/>
                <a:gd name="T42" fmla="*/ 440 w 1107"/>
                <a:gd name="T43" fmla="*/ 872 h 897"/>
                <a:gd name="T44" fmla="*/ 466 w 1107"/>
                <a:gd name="T45" fmla="*/ 764 h 897"/>
                <a:gd name="T46" fmla="*/ 539 w 1107"/>
                <a:gd name="T47" fmla="*/ 755 h 897"/>
                <a:gd name="T48" fmla="*/ 659 w 1107"/>
                <a:gd name="T49" fmla="*/ 743 h 897"/>
                <a:gd name="T50" fmla="*/ 263 w 1107"/>
                <a:gd name="T51" fmla="*/ 452 h 897"/>
                <a:gd name="T52" fmla="*/ 281 w 1107"/>
                <a:gd name="T53" fmla="*/ 633 h 897"/>
                <a:gd name="T54" fmla="*/ 1002 w 1107"/>
                <a:gd name="T55" fmla="*/ 332 h 897"/>
                <a:gd name="T56" fmla="*/ 1043 w 1107"/>
                <a:gd name="T57" fmla="*/ 304 h 897"/>
                <a:gd name="T58" fmla="*/ 1107 w 1107"/>
                <a:gd name="T59" fmla="*/ 266 h 897"/>
                <a:gd name="T60" fmla="*/ 1037 w 1107"/>
                <a:gd name="T61" fmla="*/ 213 h 897"/>
                <a:gd name="T62" fmla="*/ 1077 w 1107"/>
                <a:gd name="T63" fmla="*/ 138 h 897"/>
                <a:gd name="T64" fmla="*/ 1038 w 1107"/>
                <a:gd name="T65" fmla="*/ 83 h 897"/>
                <a:gd name="T66" fmla="*/ 956 w 1107"/>
                <a:gd name="T67" fmla="*/ 91 h 897"/>
                <a:gd name="T68" fmla="*/ 940 w 1107"/>
                <a:gd name="T69" fmla="*/ 7 h 897"/>
                <a:gd name="T70" fmla="*/ 872 w 1107"/>
                <a:gd name="T71" fmla="*/ 50 h 897"/>
                <a:gd name="T72" fmla="*/ 836 w 1107"/>
                <a:gd name="T73" fmla="*/ 74 h 897"/>
                <a:gd name="T74" fmla="*/ 778 w 1107"/>
                <a:gd name="T75" fmla="*/ 35 h 897"/>
                <a:gd name="T76" fmla="*/ 728 w 1107"/>
                <a:gd name="T77" fmla="*/ 70 h 897"/>
                <a:gd name="T78" fmla="*/ 744 w 1107"/>
                <a:gd name="T79" fmla="*/ 136 h 897"/>
                <a:gd name="T80" fmla="*/ 703 w 1107"/>
                <a:gd name="T81" fmla="*/ 164 h 897"/>
                <a:gd name="T82" fmla="*/ 640 w 1107"/>
                <a:gd name="T83" fmla="*/ 203 h 897"/>
                <a:gd name="T84" fmla="*/ 710 w 1107"/>
                <a:gd name="T85" fmla="*/ 255 h 897"/>
                <a:gd name="T86" fmla="*/ 712 w 1107"/>
                <a:gd name="T87" fmla="*/ 277 h 897"/>
                <a:gd name="T88" fmla="*/ 668 w 1107"/>
                <a:gd name="T89" fmla="*/ 347 h 897"/>
                <a:gd name="T90" fmla="*/ 745 w 1107"/>
                <a:gd name="T91" fmla="*/ 361 h 897"/>
                <a:gd name="T92" fmla="*/ 791 w 1107"/>
                <a:gd name="T93" fmla="*/ 377 h 897"/>
                <a:gd name="T94" fmla="*/ 799 w 1107"/>
                <a:gd name="T95" fmla="*/ 443 h 897"/>
                <a:gd name="T96" fmla="*/ 859 w 1107"/>
                <a:gd name="T97" fmla="*/ 456 h 897"/>
                <a:gd name="T98" fmla="*/ 894 w 1107"/>
                <a:gd name="T99" fmla="*/ 393 h 897"/>
                <a:gd name="T100" fmla="*/ 941 w 1107"/>
                <a:gd name="T101" fmla="*/ 401 h 897"/>
                <a:gd name="T102" fmla="*/ 1018 w 1107"/>
                <a:gd name="T103" fmla="*/ 415 h 897"/>
                <a:gd name="T104" fmla="*/ 825 w 1107"/>
                <a:gd name="T105" fmla="*/ 164 h 897"/>
                <a:gd name="T106" fmla="*/ 803 w 1107"/>
                <a:gd name="T107" fmla="*/ 279 h 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107" h="897">
                  <a:moveTo>
                    <a:pt x="654" y="716"/>
                  </a:moveTo>
                  <a:cubicBezTo>
                    <a:pt x="616" y="670"/>
                    <a:pt x="616" y="670"/>
                    <a:pt x="616" y="670"/>
                  </a:cubicBezTo>
                  <a:cubicBezTo>
                    <a:pt x="593" y="654"/>
                    <a:pt x="603" y="638"/>
                    <a:pt x="600" y="625"/>
                  </a:cubicBezTo>
                  <a:cubicBezTo>
                    <a:pt x="600" y="625"/>
                    <a:pt x="600" y="625"/>
                    <a:pt x="600" y="625"/>
                  </a:cubicBezTo>
                  <a:cubicBezTo>
                    <a:pt x="605" y="617"/>
                    <a:pt x="611" y="609"/>
                    <a:pt x="608" y="596"/>
                  </a:cubicBezTo>
                  <a:cubicBezTo>
                    <a:pt x="618" y="580"/>
                    <a:pt x="623" y="572"/>
                    <a:pt x="649" y="567"/>
                  </a:cubicBezTo>
                  <a:cubicBezTo>
                    <a:pt x="715" y="553"/>
                    <a:pt x="715" y="553"/>
                    <a:pt x="715" y="553"/>
                  </a:cubicBezTo>
                  <a:cubicBezTo>
                    <a:pt x="728" y="550"/>
                    <a:pt x="733" y="542"/>
                    <a:pt x="730" y="529"/>
                  </a:cubicBezTo>
                  <a:cubicBezTo>
                    <a:pt x="727" y="482"/>
                    <a:pt x="727" y="482"/>
                    <a:pt x="727" y="482"/>
                  </a:cubicBezTo>
                  <a:cubicBezTo>
                    <a:pt x="724" y="469"/>
                    <a:pt x="717" y="463"/>
                    <a:pt x="701" y="453"/>
                  </a:cubicBezTo>
                  <a:cubicBezTo>
                    <a:pt x="641" y="459"/>
                    <a:pt x="641" y="459"/>
                    <a:pt x="641" y="459"/>
                  </a:cubicBezTo>
                  <a:cubicBezTo>
                    <a:pt x="620" y="457"/>
                    <a:pt x="604" y="447"/>
                    <a:pt x="601" y="434"/>
                  </a:cubicBezTo>
                  <a:cubicBezTo>
                    <a:pt x="598" y="421"/>
                    <a:pt x="590" y="416"/>
                    <a:pt x="580" y="397"/>
                  </a:cubicBezTo>
                  <a:cubicBezTo>
                    <a:pt x="577" y="384"/>
                    <a:pt x="574" y="371"/>
                    <a:pt x="584" y="355"/>
                  </a:cubicBezTo>
                  <a:cubicBezTo>
                    <a:pt x="628" y="305"/>
                    <a:pt x="628" y="305"/>
                    <a:pt x="628" y="305"/>
                  </a:cubicBezTo>
                  <a:cubicBezTo>
                    <a:pt x="634" y="297"/>
                    <a:pt x="631" y="284"/>
                    <a:pt x="623" y="279"/>
                  </a:cubicBezTo>
                  <a:cubicBezTo>
                    <a:pt x="581" y="240"/>
                    <a:pt x="581" y="240"/>
                    <a:pt x="581" y="240"/>
                  </a:cubicBezTo>
                  <a:cubicBezTo>
                    <a:pt x="573" y="235"/>
                    <a:pt x="560" y="238"/>
                    <a:pt x="547" y="240"/>
                  </a:cubicBezTo>
                  <a:cubicBezTo>
                    <a:pt x="503" y="291"/>
                    <a:pt x="503" y="291"/>
                    <a:pt x="503" y="291"/>
                  </a:cubicBezTo>
                  <a:cubicBezTo>
                    <a:pt x="484" y="302"/>
                    <a:pt x="471" y="304"/>
                    <a:pt x="463" y="299"/>
                  </a:cubicBezTo>
                  <a:cubicBezTo>
                    <a:pt x="456" y="294"/>
                    <a:pt x="435" y="292"/>
                    <a:pt x="427" y="287"/>
                  </a:cubicBezTo>
                  <a:cubicBezTo>
                    <a:pt x="419" y="282"/>
                    <a:pt x="403" y="271"/>
                    <a:pt x="400" y="258"/>
                  </a:cubicBezTo>
                  <a:cubicBezTo>
                    <a:pt x="386" y="193"/>
                    <a:pt x="386" y="193"/>
                    <a:pt x="386" y="193"/>
                  </a:cubicBezTo>
                  <a:cubicBezTo>
                    <a:pt x="384" y="180"/>
                    <a:pt x="368" y="170"/>
                    <a:pt x="368" y="170"/>
                  </a:cubicBezTo>
                  <a:cubicBezTo>
                    <a:pt x="308" y="176"/>
                    <a:pt x="308" y="176"/>
                    <a:pt x="308" y="176"/>
                  </a:cubicBezTo>
                  <a:cubicBezTo>
                    <a:pt x="308" y="176"/>
                    <a:pt x="289" y="187"/>
                    <a:pt x="292" y="200"/>
                  </a:cubicBezTo>
                  <a:cubicBezTo>
                    <a:pt x="285" y="263"/>
                    <a:pt x="285" y="263"/>
                    <a:pt x="285" y="263"/>
                  </a:cubicBezTo>
                  <a:cubicBezTo>
                    <a:pt x="291" y="289"/>
                    <a:pt x="277" y="292"/>
                    <a:pt x="272" y="300"/>
                  </a:cubicBezTo>
                  <a:cubicBezTo>
                    <a:pt x="272" y="300"/>
                    <a:pt x="272" y="300"/>
                    <a:pt x="267" y="308"/>
                  </a:cubicBezTo>
                  <a:cubicBezTo>
                    <a:pt x="259" y="302"/>
                    <a:pt x="246" y="305"/>
                    <a:pt x="241" y="313"/>
                  </a:cubicBezTo>
                  <a:cubicBezTo>
                    <a:pt x="236" y="321"/>
                    <a:pt x="236" y="321"/>
                    <a:pt x="236" y="321"/>
                  </a:cubicBezTo>
                  <a:cubicBezTo>
                    <a:pt x="223" y="324"/>
                    <a:pt x="210" y="327"/>
                    <a:pt x="194" y="317"/>
                  </a:cubicBezTo>
                  <a:cubicBezTo>
                    <a:pt x="139" y="281"/>
                    <a:pt x="139" y="281"/>
                    <a:pt x="139" y="281"/>
                  </a:cubicBezTo>
                  <a:cubicBezTo>
                    <a:pt x="131" y="276"/>
                    <a:pt x="110" y="273"/>
                    <a:pt x="104" y="281"/>
                  </a:cubicBezTo>
                  <a:cubicBezTo>
                    <a:pt x="79" y="321"/>
                    <a:pt x="79" y="321"/>
                    <a:pt x="79" y="321"/>
                  </a:cubicBezTo>
                  <a:cubicBezTo>
                    <a:pt x="66" y="324"/>
                    <a:pt x="68" y="337"/>
                    <a:pt x="79" y="355"/>
                  </a:cubicBezTo>
                  <a:cubicBezTo>
                    <a:pt x="121" y="394"/>
                    <a:pt x="121" y="394"/>
                    <a:pt x="121" y="394"/>
                  </a:cubicBezTo>
                  <a:cubicBezTo>
                    <a:pt x="140" y="417"/>
                    <a:pt x="135" y="425"/>
                    <a:pt x="132" y="446"/>
                  </a:cubicBezTo>
                  <a:cubicBezTo>
                    <a:pt x="132" y="446"/>
                    <a:pt x="132" y="446"/>
                    <a:pt x="132" y="446"/>
                  </a:cubicBezTo>
                  <a:cubicBezTo>
                    <a:pt x="127" y="454"/>
                    <a:pt x="122" y="462"/>
                    <a:pt x="117" y="470"/>
                  </a:cubicBezTo>
                  <a:cubicBezTo>
                    <a:pt x="117" y="470"/>
                    <a:pt x="117" y="470"/>
                    <a:pt x="117" y="470"/>
                  </a:cubicBezTo>
                  <a:cubicBezTo>
                    <a:pt x="120" y="483"/>
                    <a:pt x="109" y="499"/>
                    <a:pt x="83" y="505"/>
                  </a:cubicBezTo>
                  <a:cubicBezTo>
                    <a:pt x="23" y="511"/>
                    <a:pt x="23" y="511"/>
                    <a:pt x="23" y="511"/>
                  </a:cubicBezTo>
                  <a:cubicBezTo>
                    <a:pt x="10" y="514"/>
                    <a:pt x="0" y="529"/>
                    <a:pt x="2" y="543"/>
                  </a:cubicBezTo>
                  <a:cubicBezTo>
                    <a:pt x="5" y="590"/>
                    <a:pt x="5" y="590"/>
                    <a:pt x="5" y="590"/>
                  </a:cubicBezTo>
                  <a:cubicBezTo>
                    <a:pt x="8" y="603"/>
                    <a:pt x="16" y="608"/>
                    <a:pt x="37" y="610"/>
                  </a:cubicBezTo>
                  <a:cubicBezTo>
                    <a:pt x="92" y="612"/>
                    <a:pt x="92" y="612"/>
                    <a:pt x="92" y="612"/>
                  </a:cubicBezTo>
                  <a:cubicBezTo>
                    <a:pt x="113" y="614"/>
                    <a:pt x="129" y="625"/>
                    <a:pt x="132" y="638"/>
                  </a:cubicBezTo>
                  <a:cubicBezTo>
                    <a:pt x="132" y="638"/>
                    <a:pt x="132" y="638"/>
                    <a:pt x="132" y="638"/>
                  </a:cubicBezTo>
                  <a:cubicBezTo>
                    <a:pt x="140" y="643"/>
                    <a:pt x="142" y="656"/>
                    <a:pt x="150" y="661"/>
                  </a:cubicBezTo>
                  <a:cubicBezTo>
                    <a:pt x="145" y="669"/>
                    <a:pt x="145" y="669"/>
                    <a:pt x="145" y="669"/>
                  </a:cubicBezTo>
                  <a:cubicBezTo>
                    <a:pt x="153" y="674"/>
                    <a:pt x="156" y="687"/>
                    <a:pt x="140" y="711"/>
                  </a:cubicBezTo>
                  <a:cubicBezTo>
                    <a:pt x="109" y="759"/>
                    <a:pt x="109" y="759"/>
                    <a:pt x="109" y="759"/>
                  </a:cubicBezTo>
                  <a:cubicBezTo>
                    <a:pt x="99" y="775"/>
                    <a:pt x="102" y="788"/>
                    <a:pt x="110" y="793"/>
                  </a:cubicBezTo>
                  <a:cubicBezTo>
                    <a:pt x="152" y="832"/>
                    <a:pt x="152" y="832"/>
                    <a:pt x="152" y="832"/>
                  </a:cubicBezTo>
                  <a:cubicBezTo>
                    <a:pt x="160" y="837"/>
                    <a:pt x="173" y="834"/>
                    <a:pt x="178" y="826"/>
                  </a:cubicBezTo>
                  <a:cubicBezTo>
                    <a:pt x="230" y="781"/>
                    <a:pt x="230" y="781"/>
                    <a:pt x="230" y="781"/>
                  </a:cubicBezTo>
                  <a:cubicBezTo>
                    <a:pt x="248" y="770"/>
                    <a:pt x="261" y="767"/>
                    <a:pt x="269" y="772"/>
                  </a:cubicBezTo>
                  <a:cubicBezTo>
                    <a:pt x="269" y="772"/>
                    <a:pt x="269" y="772"/>
                    <a:pt x="269" y="772"/>
                  </a:cubicBezTo>
                  <a:cubicBezTo>
                    <a:pt x="282" y="769"/>
                    <a:pt x="298" y="779"/>
                    <a:pt x="306" y="785"/>
                  </a:cubicBezTo>
                  <a:cubicBezTo>
                    <a:pt x="306" y="785"/>
                    <a:pt x="306" y="785"/>
                    <a:pt x="306" y="785"/>
                  </a:cubicBezTo>
                  <a:cubicBezTo>
                    <a:pt x="319" y="782"/>
                    <a:pt x="327" y="787"/>
                    <a:pt x="332" y="813"/>
                  </a:cubicBezTo>
                  <a:cubicBezTo>
                    <a:pt x="346" y="878"/>
                    <a:pt x="346" y="878"/>
                    <a:pt x="346" y="878"/>
                  </a:cubicBezTo>
                  <a:cubicBezTo>
                    <a:pt x="349" y="892"/>
                    <a:pt x="357" y="897"/>
                    <a:pt x="370" y="894"/>
                  </a:cubicBezTo>
                  <a:cubicBezTo>
                    <a:pt x="425" y="896"/>
                    <a:pt x="425" y="896"/>
                    <a:pt x="425" y="896"/>
                  </a:cubicBezTo>
                  <a:cubicBezTo>
                    <a:pt x="430" y="888"/>
                    <a:pt x="443" y="885"/>
                    <a:pt x="440" y="872"/>
                  </a:cubicBezTo>
                  <a:cubicBezTo>
                    <a:pt x="440" y="804"/>
                    <a:pt x="440" y="804"/>
                    <a:pt x="440" y="804"/>
                  </a:cubicBezTo>
                  <a:cubicBezTo>
                    <a:pt x="442" y="783"/>
                    <a:pt x="460" y="772"/>
                    <a:pt x="466" y="764"/>
                  </a:cubicBezTo>
                  <a:cubicBezTo>
                    <a:pt x="466" y="764"/>
                    <a:pt x="466" y="764"/>
                    <a:pt x="466" y="764"/>
                  </a:cubicBezTo>
                  <a:cubicBezTo>
                    <a:pt x="479" y="761"/>
                    <a:pt x="492" y="758"/>
                    <a:pt x="497" y="750"/>
                  </a:cubicBezTo>
                  <a:cubicBezTo>
                    <a:pt x="497" y="750"/>
                    <a:pt x="497" y="750"/>
                    <a:pt x="497" y="750"/>
                  </a:cubicBezTo>
                  <a:cubicBezTo>
                    <a:pt x="510" y="747"/>
                    <a:pt x="523" y="745"/>
                    <a:pt x="539" y="755"/>
                  </a:cubicBezTo>
                  <a:cubicBezTo>
                    <a:pt x="594" y="791"/>
                    <a:pt x="594" y="791"/>
                    <a:pt x="594" y="791"/>
                  </a:cubicBezTo>
                  <a:cubicBezTo>
                    <a:pt x="602" y="796"/>
                    <a:pt x="623" y="798"/>
                    <a:pt x="628" y="790"/>
                  </a:cubicBezTo>
                  <a:cubicBezTo>
                    <a:pt x="659" y="743"/>
                    <a:pt x="659" y="743"/>
                    <a:pt x="659" y="743"/>
                  </a:cubicBezTo>
                  <a:cubicBezTo>
                    <a:pt x="659" y="743"/>
                    <a:pt x="669" y="727"/>
                    <a:pt x="654" y="716"/>
                  </a:cubicBezTo>
                  <a:close/>
                  <a:moveTo>
                    <a:pt x="281" y="633"/>
                  </a:moveTo>
                  <a:cubicBezTo>
                    <a:pt x="223" y="584"/>
                    <a:pt x="219" y="502"/>
                    <a:pt x="263" y="452"/>
                  </a:cubicBezTo>
                  <a:cubicBezTo>
                    <a:pt x="313" y="393"/>
                    <a:pt x="399" y="382"/>
                    <a:pt x="457" y="431"/>
                  </a:cubicBezTo>
                  <a:cubicBezTo>
                    <a:pt x="507" y="475"/>
                    <a:pt x="518" y="561"/>
                    <a:pt x="469" y="619"/>
                  </a:cubicBezTo>
                  <a:cubicBezTo>
                    <a:pt x="420" y="678"/>
                    <a:pt x="339" y="682"/>
                    <a:pt x="281" y="633"/>
                  </a:cubicBezTo>
                  <a:close/>
                  <a:moveTo>
                    <a:pt x="1019" y="398"/>
                  </a:moveTo>
                  <a:cubicBezTo>
                    <a:pt x="1004" y="362"/>
                    <a:pt x="1004" y="362"/>
                    <a:pt x="1004" y="362"/>
                  </a:cubicBezTo>
                  <a:cubicBezTo>
                    <a:pt x="992" y="348"/>
                    <a:pt x="1002" y="340"/>
                    <a:pt x="1002" y="332"/>
                  </a:cubicBezTo>
                  <a:cubicBezTo>
                    <a:pt x="1002" y="332"/>
                    <a:pt x="1002" y="332"/>
                    <a:pt x="1002" y="332"/>
                  </a:cubicBezTo>
                  <a:cubicBezTo>
                    <a:pt x="1007" y="328"/>
                    <a:pt x="1011" y="324"/>
                    <a:pt x="1012" y="315"/>
                  </a:cubicBezTo>
                  <a:cubicBezTo>
                    <a:pt x="1021" y="307"/>
                    <a:pt x="1026" y="303"/>
                    <a:pt x="1043" y="304"/>
                  </a:cubicBezTo>
                  <a:cubicBezTo>
                    <a:pt x="1086" y="307"/>
                    <a:pt x="1086" y="307"/>
                    <a:pt x="1086" y="307"/>
                  </a:cubicBezTo>
                  <a:cubicBezTo>
                    <a:pt x="1095" y="308"/>
                    <a:pt x="1099" y="304"/>
                    <a:pt x="1100" y="295"/>
                  </a:cubicBezTo>
                  <a:cubicBezTo>
                    <a:pt x="1107" y="266"/>
                    <a:pt x="1107" y="266"/>
                    <a:pt x="1107" y="266"/>
                  </a:cubicBezTo>
                  <a:cubicBezTo>
                    <a:pt x="1107" y="257"/>
                    <a:pt x="1103" y="252"/>
                    <a:pt x="1095" y="243"/>
                  </a:cubicBezTo>
                  <a:cubicBezTo>
                    <a:pt x="1057" y="236"/>
                    <a:pt x="1057" y="236"/>
                    <a:pt x="1057" y="236"/>
                  </a:cubicBezTo>
                  <a:cubicBezTo>
                    <a:pt x="1044" y="231"/>
                    <a:pt x="1036" y="222"/>
                    <a:pt x="1037" y="213"/>
                  </a:cubicBezTo>
                  <a:cubicBezTo>
                    <a:pt x="1038" y="205"/>
                    <a:pt x="1034" y="200"/>
                    <a:pt x="1030" y="187"/>
                  </a:cubicBezTo>
                  <a:cubicBezTo>
                    <a:pt x="1031" y="178"/>
                    <a:pt x="1032" y="170"/>
                    <a:pt x="1041" y="162"/>
                  </a:cubicBezTo>
                  <a:cubicBezTo>
                    <a:pt x="1077" y="138"/>
                    <a:pt x="1077" y="138"/>
                    <a:pt x="1077" y="138"/>
                  </a:cubicBezTo>
                  <a:cubicBezTo>
                    <a:pt x="1082" y="134"/>
                    <a:pt x="1083" y="126"/>
                    <a:pt x="1079" y="121"/>
                  </a:cubicBezTo>
                  <a:cubicBezTo>
                    <a:pt x="1059" y="89"/>
                    <a:pt x="1059" y="89"/>
                    <a:pt x="1059" y="89"/>
                  </a:cubicBezTo>
                  <a:cubicBezTo>
                    <a:pt x="1055" y="85"/>
                    <a:pt x="1047" y="84"/>
                    <a:pt x="1038" y="83"/>
                  </a:cubicBezTo>
                  <a:cubicBezTo>
                    <a:pt x="1002" y="107"/>
                    <a:pt x="1002" y="107"/>
                    <a:pt x="1002" y="107"/>
                  </a:cubicBezTo>
                  <a:cubicBezTo>
                    <a:pt x="989" y="110"/>
                    <a:pt x="980" y="110"/>
                    <a:pt x="976" y="105"/>
                  </a:cubicBezTo>
                  <a:cubicBezTo>
                    <a:pt x="972" y="100"/>
                    <a:pt x="960" y="95"/>
                    <a:pt x="956" y="91"/>
                  </a:cubicBezTo>
                  <a:cubicBezTo>
                    <a:pt x="952" y="86"/>
                    <a:pt x="944" y="77"/>
                    <a:pt x="944" y="68"/>
                  </a:cubicBezTo>
                  <a:cubicBezTo>
                    <a:pt x="948" y="25"/>
                    <a:pt x="948" y="25"/>
                    <a:pt x="948" y="25"/>
                  </a:cubicBezTo>
                  <a:cubicBezTo>
                    <a:pt x="948" y="17"/>
                    <a:pt x="940" y="7"/>
                    <a:pt x="940" y="7"/>
                  </a:cubicBezTo>
                  <a:cubicBezTo>
                    <a:pt x="902" y="0"/>
                    <a:pt x="902" y="0"/>
                    <a:pt x="902" y="0"/>
                  </a:cubicBezTo>
                  <a:cubicBezTo>
                    <a:pt x="902" y="0"/>
                    <a:pt x="889" y="4"/>
                    <a:pt x="888" y="12"/>
                  </a:cubicBezTo>
                  <a:cubicBezTo>
                    <a:pt x="872" y="50"/>
                    <a:pt x="872" y="50"/>
                    <a:pt x="872" y="50"/>
                  </a:cubicBezTo>
                  <a:cubicBezTo>
                    <a:pt x="871" y="67"/>
                    <a:pt x="862" y="67"/>
                    <a:pt x="858" y="71"/>
                  </a:cubicBezTo>
                  <a:cubicBezTo>
                    <a:pt x="858" y="71"/>
                    <a:pt x="858" y="71"/>
                    <a:pt x="853" y="75"/>
                  </a:cubicBezTo>
                  <a:cubicBezTo>
                    <a:pt x="849" y="70"/>
                    <a:pt x="840" y="70"/>
                    <a:pt x="836" y="74"/>
                  </a:cubicBezTo>
                  <a:cubicBezTo>
                    <a:pt x="831" y="78"/>
                    <a:pt x="831" y="78"/>
                    <a:pt x="831" y="78"/>
                  </a:cubicBezTo>
                  <a:cubicBezTo>
                    <a:pt x="822" y="77"/>
                    <a:pt x="814" y="76"/>
                    <a:pt x="806" y="67"/>
                  </a:cubicBezTo>
                  <a:cubicBezTo>
                    <a:pt x="778" y="35"/>
                    <a:pt x="778" y="35"/>
                    <a:pt x="778" y="35"/>
                  </a:cubicBezTo>
                  <a:cubicBezTo>
                    <a:pt x="774" y="30"/>
                    <a:pt x="762" y="25"/>
                    <a:pt x="757" y="29"/>
                  </a:cubicBezTo>
                  <a:cubicBezTo>
                    <a:pt x="734" y="49"/>
                    <a:pt x="734" y="49"/>
                    <a:pt x="734" y="49"/>
                  </a:cubicBezTo>
                  <a:cubicBezTo>
                    <a:pt x="725" y="49"/>
                    <a:pt x="725" y="57"/>
                    <a:pt x="728" y="70"/>
                  </a:cubicBezTo>
                  <a:cubicBezTo>
                    <a:pt x="747" y="102"/>
                    <a:pt x="747" y="102"/>
                    <a:pt x="747" y="102"/>
                  </a:cubicBezTo>
                  <a:cubicBezTo>
                    <a:pt x="754" y="120"/>
                    <a:pt x="750" y="124"/>
                    <a:pt x="744" y="136"/>
                  </a:cubicBezTo>
                  <a:cubicBezTo>
                    <a:pt x="744" y="136"/>
                    <a:pt x="744" y="136"/>
                    <a:pt x="744" y="136"/>
                  </a:cubicBezTo>
                  <a:cubicBezTo>
                    <a:pt x="740" y="140"/>
                    <a:pt x="735" y="144"/>
                    <a:pt x="731" y="148"/>
                  </a:cubicBezTo>
                  <a:cubicBezTo>
                    <a:pt x="731" y="148"/>
                    <a:pt x="731" y="148"/>
                    <a:pt x="731" y="148"/>
                  </a:cubicBezTo>
                  <a:cubicBezTo>
                    <a:pt x="730" y="157"/>
                    <a:pt x="721" y="165"/>
                    <a:pt x="703" y="164"/>
                  </a:cubicBezTo>
                  <a:cubicBezTo>
                    <a:pt x="665" y="157"/>
                    <a:pt x="665" y="157"/>
                    <a:pt x="665" y="157"/>
                  </a:cubicBezTo>
                  <a:cubicBezTo>
                    <a:pt x="656" y="156"/>
                    <a:pt x="647" y="164"/>
                    <a:pt x="647" y="173"/>
                  </a:cubicBezTo>
                  <a:cubicBezTo>
                    <a:pt x="640" y="203"/>
                    <a:pt x="640" y="203"/>
                    <a:pt x="640" y="203"/>
                  </a:cubicBezTo>
                  <a:cubicBezTo>
                    <a:pt x="639" y="211"/>
                    <a:pt x="643" y="216"/>
                    <a:pt x="656" y="221"/>
                  </a:cubicBezTo>
                  <a:cubicBezTo>
                    <a:pt x="690" y="232"/>
                    <a:pt x="690" y="232"/>
                    <a:pt x="690" y="232"/>
                  </a:cubicBezTo>
                  <a:cubicBezTo>
                    <a:pt x="702" y="237"/>
                    <a:pt x="710" y="246"/>
                    <a:pt x="710" y="255"/>
                  </a:cubicBezTo>
                  <a:cubicBezTo>
                    <a:pt x="710" y="255"/>
                    <a:pt x="710" y="255"/>
                    <a:pt x="710" y="255"/>
                  </a:cubicBezTo>
                  <a:cubicBezTo>
                    <a:pt x="714" y="260"/>
                    <a:pt x="713" y="268"/>
                    <a:pt x="717" y="273"/>
                  </a:cubicBezTo>
                  <a:cubicBezTo>
                    <a:pt x="712" y="277"/>
                    <a:pt x="712" y="277"/>
                    <a:pt x="712" y="277"/>
                  </a:cubicBezTo>
                  <a:cubicBezTo>
                    <a:pt x="716" y="281"/>
                    <a:pt x="716" y="290"/>
                    <a:pt x="702" y="302"/>
                  </a:cubicBezTo>
                  <a:cubicBezTo>
                    <a:pt x="674" y="326"/>
                    <a:pt x="674" y="326"/>
                    <a:pt x="674" y="326"/>
                  </a:cubicBezTo>
                  <a:cubicBezTo>
                    <a:pt x="665" y="334"/>
                    <a:pt x="664" y="343"/>
                    <a:pt x="668" y="347"/>
                  </a:cubicBezTo>
                  <a:cubicBezTo>
                    <a:pt x="687" y="379"/>
                    <a:pt x="687" y="379"/>
                    <a:pt x="687" y="379"/>
                  </a:cubicBezTo>
                  <a:cubicBezTo>
                    <a:pt x="691" y="383"/>
                    <a:pt x="700" y="384"/>
                    <a:pt x="704" y="380"/>
                  </a:cubicBezTo>
                  <a:cubicBezTo>
                    <a:pt x="745" y="361"/>
                    <a:pt x="745" y="361"/>
                    <a:pt x="745" y="361"/>
                  </a:cubicBezTo>
                  <a:cubicBezTo>
                    <a:pt x="758" y="358"/>
                    <a:pt x="767" y="358"/>
                    <a:pt x="771" y="363"/>
                  </a:cubicBezTo>
                  <a:cubicBezTo>
                    <a:pt x="771" y="363"/>
                    <a:pt x="771" y="363"/>
                    <a:pt x="771" y="363"/>
                  </a:cubicBezTo>
                  <a:cubicBezTo>
                    <a:pt x="779" y="364"/>
                    <a:pt x="787" y="373"/>
                    <a:pt x="791" y="377"/>
                  </a:cubicBezTo>
                  <a:cubicBezTo>
                    <a:pt x="791" y="377"/>
                    <a:pt x="791" y="377"/>
                    <a:pt x="791" y="377"/>
                  </a:cubicBezTo>
                  <a:cubicBezTo>
                    <a:pt x="800" y="378"/>
                    <a:pt x="804" y="383"/>
                    <a:pt x="802" y="400"/>
                  </a:cubicBezTo>
                  <a:cubicBezTo>
                    <a:pt x="799" y="443"/>
                    <a:pt x="799" y="443"/>
                    <a:pt x="799" y="443"/>
                  </a:cubicBezTo>
                  <a:cubicBezTo>
                    <a:pt x="798" y="451"/>
                    <a:pt x="802" y="456"/>
                    <a:pt x="811" y="457"/>
                  </a:cubicBezTo>
                  <a:cubicBezTo>
                    <a:pt x="845" y="468"/>
                    <a:pt x="845" y="468"/>
                    <a:pt x="845" y="468"/>
                  </a:cubicBezTo>
                  <a:cubicBezTo>
                    <a:pt x="849" y="464"/>
                    <a:pt x="858" y="464"/>
                    <a:pt x="859" y="456"/>
                  </a:cubicBezTo>
                  <a:cubicBezTo>
                    <a:pt x="871" y="413"/>
                    <a:pt x="871" y="413"/>
                    <a:pt x="871" y="413"/>
                  </a:cubicBezTo>
                  <a:cubicBezTo>
                    <a:pt x="876" y="401"/>
                    <a:pt x="889" y="397"/>
                    <a:pt x="894" y="393"/>
                  </a:cubicBezTo>
                  <a:cubicBezTo>
                    <a:pt x="894" y="393"/>
                    <a:pt x="894" y="393"/>
                    <a:pt x="894" y="393"/>
                  </a:cubicBezTo>
                  <a:cubicBezTo>
                    <a:pt x="902" y="394"/>
                    <a:pt x="911" y="395"/>
                    <a:pt x="916" y="391"/>
                  </a:cubicBezTo>
                  <a:cubicBezTo>
                    <a:pt x="916" y="391"/>
                    <a:pt x="916" y="391"/>
                    <a:pt x="916" y="391"/>
                  </a:cubicBezTo>
                  <a:cubicBezTo>
                    <a:pt x="924" y="391"/>
                    <a:pt x="933" y="392"/>
                    <a:pt x="941" y="401"/>
                  </a:cubicBezTo>
                  <a:cubicBezTo>
                    <a:pt x="969" y="433"/>
                    <a:pt x="969" y="433"/>
                    <a:pt x="969" y="433"/>
                  </a:cubicBezTo>
                  <a:cubicBezTo>
                    <a:pt x="973" y="438"/>
                    <a:pt x="985" y="443"/>
                    <a:pt x="990" y="439"/>
                  </a:cubicBezTo>
                  <a:cubicBezTo>
                    <a:pt x="1018" y="415"/>
                    <a:pt x="1018" y="415"/>
                    <a:pt x="1018" y="415"/>
                  </a:cubicBezTo>
                  <a:cubicBezTo>
                    <a:pt x="1018" y="415"/>
                    <a:pt x="1027" y="407"/>
                    <a:pt x="1019" y="398"/>
                  </a:cubicBezTo>
                  <a:close/>
                  <a:moveTo>
                    <a:pt x="803" y="279"/>
                  </a:moveTo>
                  <a:cubicBezTo>
                    <a:pt x="776" y="238"/>
                    <a:pt x="788" y="187"/>
                    <a:pt x="825" y="164"/>
                  </a:cubicBezTo>
                  <a:cubicBezTo>
                    <a:pt x="866" y="136"/>
                    <a:pt x="921" y="144"/>
                    <a:pt x="948" y="185"/>
                  </a:cubicBezTo>
                  <a:cubicBezTo>
                    <a:pt x="972" y="221"/>
                    <a:pt x="963" y="277"/>
                    <a:pt x="922" y="304"/>
                  </a:cubicBezTo>
                  <a:cubicBezTo>
                    <a:pt x="881" y="332"/>
                    <a:pt x="830" y="320"/>
                    <a:pt x="803" y="279"/>
                  </a:cubicBezTo>
                  <a:close/>
                </a:path>
              </a:pathLst>
            </a:custGeom>
            <a:solidFill>
              <a:schemeClr val="tx1"/>
            </a:solidFill>
            <a:ln>
              <a:noFill/>
            </a:ln>
          </p:spPr>
          <p:txBody>
            <a:bodyPr vert="horz" wrap="square" lIns="68574" tIns="34287" rIns="68574" bIns="34287"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17346"/>
                </a:solidFill>
                <a:effectLst/>
                <a:uLnTx/>
                <a:uFillTx/>
                <a:latin typeface="Segoe UI"/>
                <a:ea typeface="+mn-ea"/>
                <a:cs typeface="+mn-cs"/>
              </a:endParaRPr>
            </a:p>
          </p:txBody>
        </p:sp>
        <p:sp>
          <p:nvSpPr>
            <p:cNvPr id="104" name="Freeform 103"/>
            <p:cNvSpPr>
              <a:spLocks noChangeAspect="1"/>
            </p:cNvSpPr>
            <p:nvPr/>
          </p:nvSpPr>
          <p:spPr bwMode="black">
            <a:xfrm>
              <a:off x="776985" y="4213905"/>
              <a:ext cx="342871" cy="335728"/>
            </a:xfrm>
            <a:custGeom>
              <a:avLst/>
              <a:gdLst>
                <a:gd name="connsiteX0" fmla="*/ 3713863 w 4893730"/>
                <a:gd name="connsiteY0" fmla="*/ 2130808 h 4791777"/>
                <a:gd name="connsiteX1" fmla="*/ 4426142 w 4893730"/>
                <a:gd name="connsiteY1" fmla="*/ 2130808 h 4791777"/>
                <a:gd name="connsiteX2" fmla="*/ 4598071 w 4893730"/>
                <a:gd name="connsiteY2" fmla="*/ 2301547 h 4791777"/>
                <a:gd name="connsiteX3" fmla="*/ 4598071 w 4893730"/>
                <a:gd name="connsiteY3" fmla="*/ 3886978 h 4791777"/>
                <a:gd name="connsiteX4" fmla="*/ 4426142 w 4893730"/>
                <a:gd name="connsiteY4" fmla="*/ 4057717 h 4791777"/>
                <a:gd name="connsiteX5" fmla="*/ 3713863 w 4893730"/>
                <a:gd name="connsiteY5" fmla="*/ 4057717 h 4791777"/>
                <a:gd name="connsiteX6" fmla="*/ 3517372 w 4893730"/>
                <a:gd name="connsiteY6" fmla="*/ 3886978 h 4791777"/>
                <a:gd name="connsiteX7" fmla="*/ 3517372 w 4893730"/>
                <a:gd name="connsiteY7" fmla="*/ 2301547 h 4791777"/>
                <a:gd name="connsiteX8" fmla="*/ 3713863 w 4893730"/>
                <a:gd name="connsiteY8" fmla="*/ 2130808 h 4791777"/>
                <a:gd name="connsiteX9" fmla="*/ 904368 w 4893730"/>
                <a:gd name="connsiteY9" fmla="*/ 1223432 h 4791777"/>
                <a:gd name="connsiteX10" fmla="*/ 1609930 w 4893730"/>
                <a:gd name="connsiteY10" fmla="*/ 1223432 h 4791777"/>
                <a:gd name="connsiteX11" fmla="*/ 1804567 w 4893730"/>
                <a:gd name="connsiteY11" fmla="*/ 1394467 h 4791777"/>
                <a:gd name="connsiteX12" fmla="*/ 1804567 w 4893730"/>
                <a:gd name="connsiteY12" fmla="*/ 3886683 h 4791777"/>
                <a:gd name="connsiteX13" fmla="*/ 1609930 w 4893730"/>
                <a:gd name="connsiteY13" fmla="*/ 4057717 h 4791777"/>
                <a:gd name="connsiteX14" fmla="*/ 904368 w 4893730"/>
                <a:gd name="connsiteY14" fmla="*/ 4057717 h 4791777"/>
                <a:gd name="connsiteX15" fmla="*/ 734060 w 4893730"/>
                <a:gd name="connsiteY15" fmla="*/ 3886683 h 4791777"/>
                <a:gd name="connsiteX16" fmla="*/ 734060 w 4893730"/>
                <a:gd name="connsiteY16" fmla="*/ 1394467 h 4791777"/>
                <a:gd name="connsiteX17" fmla="*/ 904368 w 4893730"/>
                <a:gd name="connsiteY17" fmla="*/ 1223432 h 4791777"/>
                <a:gd name="connsiteX18" fmla="*/ 2325453 w 4893730"/>
                <a:gd name="connsiteY18" fmla="*/ 316050 h 4791777"/>
                <a:gd name="connsiteX19" fmla="*/ 3031014 w 4893730"/>
                <a:gd name="connsiteY19" fmla="*/ 316050 h 4791777"/>
                <a:gd name="connsiteX20" fmla="*/ 3201322 w 4893730"/>
                <a:gd name="connsiteY20" fmla="*/ 487238 h 4791777"/>
                <a:gd name="connsiteX21" fmla="*/ 3201322 w 4893730"/>
                <a:gd name="connsiteY21" fmla="*/ 3886530 h 4791777"/>
                <a:gd name="connsiteX22" fmla="*/ 3031014 w 4893730"/>
                <a:gd name="connsiteY22" fmla="*/ 4057717 h 4791777"/>
                <a:gd name="connsiteX23" fmla="*/ 2325453 w 4893730"/>
                <a:gd name="connsiteY23" fmla="*/ 4057717 h 4791777"/>
                <a:gd name="connsiteX24" fmla="*/ 2130815 w 4893730"/>
                <a:gd name="connsiteY24" fmla="*/ 3886530 h 4791777"/>
                <a:gd name="connsiteX25" fmla="*/ 2130815 w 4893730"/>
                <a:gd name="connsiteY25" fmla="*/ 487238 h 4791777"/>
                <a:gd name="connsiteX26" fmla="*/ 2325453 w 4893730"/>
                <a:gd name="connsiteY26" fmla="*/ 316050 h 4791777"/>
                <a:gd name="connsiteX27" fmla="*/ 269155 w 4893730"/>
                <a:gd name="connsiteY27" fmla="*/ 0 h 4791777"/>
                <a:gd name="connsiteX28" fmla="*/ 538311 w 4893730"/>
                <a:gd name="connsiteY28" fmla="*/ 268927 h 4791777"/>
                <a:gd name="connsiteX29" fmla="*/ 538311 w 4893730"/>
                <a:gd name="connsiteY29" fmla="*/ 4253925 h 4791777"/>
                <a:gd name="connsiteX30" fmla="*/ 4624575 w 4893730"/>
                <a:gd name="connsiteY30" fmla="*/ 4253925 h 4791777"/>
                <a:gd name="connsiteX31" fmla="*/ 4893730 w 4893730"/>
                <a:gd name="connsiteY31" fmla="*/ 4522851 h 4791777"/>
                <a:gd name="connsiteX32" fmla="*/ 4624575 w 4893730"/>
                <a:gd name="connsiteY32" fmla="*/ 4791777 h 4791777"/>
                <a:gd name="connsiteX33" fmla="*/ 269155 w 4893730"/>
                <a:gd name="connsiteY33" fmla="*/ 4791777 h 4791777"/>
                <a:gd name="connsiteX34" fmla="*/ 0 w 4893730"/>
                <a:gd name="connsiteY34" fmla="*/ 4522851 h 4791777"/>
                <a:gd name="connsiteX35" fmla="*/ 0 w 4893730"/>
                <a:gd name="connsiteY35" fmla="*/ 268927 h 4791777"/>
                <a:gd name="connsiteX36" fmla="*/ 269155 w 4893730"/>
                <a:gd name="connsiteY36" fmla="*/ 0 h 4791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4893730" h="4791777">
                  <a:moveTo>
                    <a:pt x="3713863" y="2130808"/>
                  </a:moveTo>
                  <a:cubicBezTo>
                    <a:pt x="3713863" y="2130808"/>
                    <a:pt x="3713863" y="2130808"/>
                    <a:pt x="4426142" y="2130808"/>
                  </a:cubicBezTo>
                  <a:cubicBezTo>
                    <a:pt x="4524387" y="2130808"/>
                    <a:pt x="4598071" y="2203982"/>
                    <a:pt x="4598071" y="2301547"/>
                  </a:cubicBezTo>
                  <a:cubicBezTo>
                    <a:pt x="4598071" y="2301547"/>
                    <a:pt x="4598071" y="2301547"/>
                    <a:pt x="4598071" y="3886978"/>
                  </a:cubicBezTo>
                  <a:cubicBezTo>
                    <a:pt x="4598071" y="3984543"/>
                    <a:pt x="4524387" y="4057717"/>
                    <a:pt x="4426142" y="4057717"/>
                  </a:cubicBezTo>
                  <a:cubicBezTo>
                    <a:pt x="4426142" y="4057717"/>
                    <a:pt x="4426142" y="4057717"/>
                    <a:pt x="3713863" y="4057717"/>
                  </a:cubicBezTo>
                  <a:cubicBezTo>
                    <a:pt x="3615618" y="4057717"/>
                    <a:pt x="3517372" y="3984543"/>
                    <a:pt x="3517372" y="3886978"/>
                  </a:cubicBezTo>
                  <a:cubicBezTo>
                    <a:pt x="3517372" y="3886978"/>
                    <a:pt x="3517372" y="3886978"/>
                    <a:pt x="3517372" y="2301547"/>
                  </a:cubicBezTo>
                  <a:cubicBezTo>
                    <a:pt x="3517372" y="2203982"/>
                    <a:pt x="3615618" y="2130808"/>
                    <a:pt x="3713863" y="2130808"/>
                  </a:cubicBezTo>
                  <a:close/>
                  <a:moveTo>
                    <a:pt x="904368" y="1223432"/>
                  </a:moveTo>
                  <a:cubicBezTo>
                    <a:pt x="904368" y="1223432"/>
                    <a:pt x="904368" y="1223432"/>
                    <a:pt x="1609930" y="1223432"/>
                  </a:cubicBezTo>
                  <a:cubicBezTo>
                    <a:pt x="1731578" y="1223432"/>
                    <a:pt x="1804567" y="1296733"/>
                    <a:pt x="1804567" y="1394467"/>
                  </a:cubicBezTo>
                  <a:cubicBezTo>
                    <a:pt x="1804567" y="1394467"/>
                    <a:pt x="1804567" y="1394467"/>
                    <a:pt x="1804567" y="3886683"/>
                  </a:cubicBezTo>
                  <a:cubicBezTo>
                    <a:pt x="1804567" y="3984417"/>
                    <a:pt x="1731578" y="4057717"/>
                    <a:pt x="1609930" y="4057717"/>
                  </a:cubicBezTo>
                  <a:cubicBezTo>
                    <a:pt x="1609930" y="4057717"/>
                    <a:pt x="1609930" y="4057717"/>
                    <a:pt x="904368" y="4057717"/>
                  </a:cubicBezTo>
                  <a:cubicBezTo>
                    <a:pt x="807049" y="4057717"/>
                    <a:pt x="734060" y="3984417"/>
                    <a:pt x="734060" y="3886683"/>
                  </a:cubicBezTo>
                  <a:cubicBezTo>
                    <a:pt x="734060" y="3886683"/>
                    <a:pt x="734060" y="3886683"/>
                    <a:pt x="734060" y="1394467"/>
                  </a:cubicBezTo>
                  <a:cubicBezTo>
                    <a:pt x="734060" y="1296733"/>
                    <a:pt x="807049" y="1223432"/>
                    <a:pt x="904368" y="1223432"/>
                  </a:cubicBezTo>
                  <a:close/>
                  <a:moveTo>
                    <a:pt x="2325453" y="316050"/>
                  </a:moveTo>
                  <a:cubicBezTo>
                    <a:pt x="2325453" y="316050"/>
                    <a:pt x="2325453" y="316050"/>
                    <a:pt x="3031014" y="316050"/>
                  </a:cubicBezTo>
                  <a:cubicBezTo>
                    <a:pt x="3128333" y="316050"/>
                    <a:pt x="3201322" y="389416"/>
                    <a:pt x="3201322" y="487238"/>
                  </a:cubicBezTo>
                  <a:cubicBezTo>
                    <a:pt x="3201322" y="487238"/>
                    <a:pt x="3201322" y="487238"/>
                    <a:pt x="3201322" y="3886530"/>
                  </a:cubicBezTo>
                  <a:cubicBezTo>
                    <a:pt x="3201322" y="3984351"/>
                    <a:pt x="3128333" y="4057717"/>
                    <a:pt x="3031014" y="4057717"/>
                  </a:cubicBezTo>
                  <a:cubicBezTo>
                    <a:pt x="3031014" y="4057717"/>
                    <a:pt x="3031014" y="4057717"/>
                    <a:pt x="2325453" y="4057717"/>
                  </a:cubicBezTo>
                  <a:cubicBezTo>
                    <a:pt x="2203804" y="4057717"/>
                    <a:pt x="2130815" y="3984351"/>
                    <a:pt x="2130815" y="3886530"/>
                  </a:cubicBezTo>
                  <a:cubicBezTo>
                    <a:pt x="2130815" y="3886530"/>
                    <a:pt x="2130815" y="3886530"/>
                    <a:pt x="2130815" y="487238"/>
                  </a:cubicBezTo>
                  <a:cubicBezTo>
                    <a:pt x="2130815" y="389416"/>
                    <a:pt x="2203804" y="316050"/>
                    <a:pt x="2325453" y="316050"/>
                  </a:cubicBezTo>
                  <a:close/>
                  <a:moveTo>
                    <a:pt x="269155" y="0"/>
                  </a:moveTo>
                  <a:cubicBezTo>
                    <a:pt x="415967" y="0"/>
                    <a:pt x="538311" y="122239"/>
                    <a:pt x="538311" y="268927"/>
                  </a:cubicBezTo>
                  <a:cubicBezTo>
                    <a:pt x="538311" y="268927"/>
                    <a:pt x="538311" y="268927"/>
                    <a:pt x="538311" y="4253925"/>
                  </a:cubicBezTo>
                  <a:cubicBezTo>
                    <a:pt x="538311" y="4253925"/>
                    <a:pt x="538311" y="4253925"/>
                    <a:pt x="4624575" y="4253925"/>
                  </a:cubicBezTo>
                  <a:cubicBezTo>
                    <a:pt x="4771387" y="4253925"/>
                    <a:pt x="4893730" y="4376164"/>
                    <a:pt x="4893730" y="4522851"/>
                  </a:cubicBezTo>
                  <a:cubicBezTo>
                    <a:pt x="4893730" y="4669538"/>
                    <a:pt x="4771387" y="4791777"/>
                    <a:pt x="4624575" y="4791777"/>
                  </a:cubicBezTo>
                  <a:cubicBezTo>
                    <a:pt x="4624575" y="4791777"/>
                    <a:pt x="4624575" y="4791777"/>
                    <a:pt x="269155" y="4791777"/>
                  </a:cubicBezTo>
                  <a:cubicBezTo>
                    <a:pt x="122344" y="4791777"/>
                    <a:pt x="0" y="4669538"/>
                    <a:pt x="0" y="4522851"/>
                  </a:cubicBezTo>
                  <a:cubicBezTo>
                    <a:pt x="0" y="4522851"/>
                    <a:pt x="0" y="4522851"/>
                    <a:pt x="0" y="268927"/>
                  </a:cubicBezTo>
                  <a:cubicBezTo>
                    <a:pt x="0" y="122239"/>
                    <a:pt x="122344" y="0"/>
                    <a:pt x="269155"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37148" tIns="109719" rIns="137148" bIns="109719"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699261"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5" name="Rectangle 104"/>
            <p:cNvSpPr/>
            <p:nvPr/>
          </p:nvSpPr>
          <p:spPr bwMode="auto">
            <a:xfrm rot="2745734">
              <a:off x="886688" y="2210975"/>
              <a:ext cx="1598323" cy="1625795"/>
            </a:xfrm>
            <a:prstGeom prst="rect">
              <a:avLst/>
            </a:prstGeom>
            <a:solidFill>
              <a:schemeClr val="tx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6" name="Rectangle 105"/>
            <p:cNvSpPr/>
            <p:nvPr/>
          </p:nvSpPr>
          <p:spPr bwMode="auto">
            <a:xfrm rot="2745734">
              <a:off x="292433" y="3819160"/>
              <a:ext cx="1610349" cy="1235003"/>
            </a:xfrm>
            <a:prstGeom prst="rect">
              <a:avLst/>
            </a:prstGeom>
            <a:solidFill>
              <a:schemeClr val="tx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7" name="Rectangle 106"/>
            <p:cNvSpPr/>
            <p:nvPr/>
          </p:nvSpPr>
          <p:spPr bwMode="auto">
            <a:xfrm rot="2745734">
              <a:off x="1315610" y="4915701"/>
              <a:ext cx="1263370" cy="1255989"/>
            </a:xfrm>
            <a:prstGeom prst="rect">
              <a:avLst/>
            </a:prstGeom>
            <a:solidFill>
              <a:schemeClr val="tx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40" name="TextBox 39"/>
          <p:cNvSpPr txBox="1"/>
          <p:nvPr/>
        </p:nvSpPr>
        <p:spPr>
          <a:xfrm>
            <a:off x="3" y="51415"/>
            <a:ext cx="2849058" cy="430887"/>
          </a:xfrm>
          <a:prstGeom prst="rect">
            <a:avLst/>
          </a:prstGeom>
        </p:spPr>
        <p:txBody>
          <a:bodyPr wrap="square">
            <a:spAutoFit/>
          </a:bodyPr>
          <a:lstStyle>
            <a:defPPr>
              <a:defRPr lang="en-US"/>
            </a:defPPr>
            <a:lvl1pPr defTabSz="914192">
              <a:defRPr sz="2800" b="1" spc="-100">
                <a:ln w="3175">
                  <a:noFill/>
                </a:ln>
                <a:solidFill>
                  <a:srgbClr val="F2C812"/>
                </a:solidFill>
                <a:latin typeface="Segoe UI" panose="020B0502040204020203" pitchFamily="34" charset="0"/>
                <a:ea typeface="ＭＳ Ｐゴシック" charset="0"/>
                <a:cs typeface="Segoe UI" panose="020B0502040204020203" pitchFamily="34" charset="0"/>
              </a:defRPr>
            </a:lvl1pPr>
          </a:lstStyle>
          <a:p>
            <a:pPr marL="0" marR="0" lvl="0" indent="0" algn="l" defTabSz="914192" rtl="0" eaLnBrk="1" fontAlgn="auto" latinLnBrk="0" hangingPunct="1">
              <a:lnSpc>
                <a:spcPct val="100000"/>
              </a:lnSpc>
              <a:spcBef>
                <a:spcPts val="0"/>
              </a:spcBef>
              <a:spcAft>
                <a:spcPts val="0"/>
              </a:spcAft>
              <a:buClrTx/>
              <a:buSzTx/>
              <a:buFontTx/>
              <a:buNone/>
              <a:tabLst/>
              <a:defRPr/>
            </a:pPr>
            <a:r>
              <a:rPr kumimoji="0" lang="en-US" sz="2200" b="1" i="0" u="none" strike="noStrike" kern="1200" cap="none" spc="-100" normalizeH="0" baseline="0" noProof="0">
                <a:ln w="3175">
                  <a:noFill/>
                </a:ln>
                <a:solidFill>
                  <a:srgbClr val="F2C812"/>
                </a:solidFill>
                <a:effectLst/>
                <a:uLnTx/>
                <a:uFillTx/>
                <a:latin typeface="Segoe UI Light"/>
                <a:ea typeface="ＭＳ Ｐゴシック" charset="0"/>
                <a:cs typeface="Segoe UI" panose="020B0502040204020203" pitchFamily="34" charset="0"/>
              </a:rPr>
              <a:t>Power BI Desktop</a:t>
            </a:r>
          </a:p>
        </p:txBody>
      </p:sp>
      <p:sp>
        <p:nvSpPr>
          <p:cNvPr id="41" name="Text Placeholder 2"/>
          <p:cNvSpPr txBox="1">
            <a:spLocks/>
          </p:cNvSpPr>
          <p:nvPr/>
        </p:nvSpPr>
        <p:spPr>
          <a:xfrm>
            <a:off x="3126297" y="1103755"/>
            <a:ext cx="8795476" cy="4739586"/>
          </a:xfrm>
          <a:prstGeom prst="rect">
            <a:avLst/>
          </a:prstGeom>
        </p:spPr>
        <p:txBody>
          <a:bodyPr vert="horz" wrap="square" lIns="182880" tIns="146304" rIns="182880" bIns="146304" rtlCol="0">
            <a:noAutofit/>
          </a:bodyPr>
          <a:lstStyle>
            <a:lvl1pPr marL="182845" marR="0"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3921" kern="1200" spc="0" baseline="0">
                <a:gradFill>
                  <a:gsLst>
                    <a:gs pos="1250">
                      <a:schemeClr val="tx2"/>
                    </a:gs>
                    <a:gs pos="99000">
                      <a:schemeClr val="tx2"/>
                    </a:gs>
                  </a:gsLst>
                  <a:lin ang="5400000" scaled="0"/>
                </a:gradFill>
                <a:latin typeface="+mj-lt"/>
                <a:ea typeface="+mn-ea"/>
                <a:cs typeface="+mn-cs"/>
              </a:defRPr>
            </a:lvl1pPr>
            <a:lvl2pPr marL="365690" marR="0"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2400" kern="1200" spc="0" baseline="0">
                <a:solidFill>
                  <a:schemeClr val="tx2"/>
                </a:solidFill>
                <a:latin typeface="+mj-lt"/>
                <a:ea typeface="+mn-ea"/>
                <a:cs typeface="+mn-cs"/>
              </a:defRPr>
            </a:lvl2pPr>
            <a:lvl3pPr marL="548535" marR="0"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2000" kern="1200" spc="0" baseline="0">
                <a:solidFill>
                  <a:schemeClr val="tx2"/>
                </a:solidFill>
                <a:latin typeface="+mj-lt"/>
                <a:ea typeface="+mn-ea"/>
                <a:cs typeface="+mn-cs"/>
              </a:defRPr>
            </a:lvl3pPr>
            <a:lvl4pPr marL="733802" marR="0" indent="-28569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1765" kern="1200" spc="0" baseline="0">
                <a:solidFill>
                  <a:schemeClr val="tx2"/>
                </a:solidFill>
                <a:latin typeface="+mn-lt"/>
                <a:ea typeface="+mn-ea"/>
                <a:cs typeface="+mn-cs"/>
              </a:defRPr>
            </a:lvl4pPr>
            <a:lvl5pPr marL="957856" marR="0" indent="-28569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1765" kern="1200" spc="0" baseline="0">
                <a:solidFill>
                  <a:schemeClr val="tx2"/>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342900" marR="0" lvl="0" indent="-342900" algn="l" defTabSz="914400" rtl="0" eaLnBrk="1" fontAlgn="base" latinLnBrk="0" hangingPunct="1">
              <a:lnSpc>
                <a:spcPct val="100000"/>
              </a:lnSpc>
              <a:spcBef>
                <a:spcPts val="0"/>
              </a:spcBef>
              <a:spcAft>
                <a:spcPts val="300"/>
              </a:spcAft>
              <a:buClrTx/>
              <a:buSzPct val="90000"/>
              <a:buFont typeface="Symbol" panose="05050102010706020507" pitchFamily="18" charset="2"/>
              <a:buChar char=""/>
              <a:tabLst/>
              <a:defRPr/>
            </a:pPr>
            <a:r>
              <a:rPr kumimoji="0" lang="en-US" sz="1800" b="0" i="0" u="none" strike="noStrike" kern="1200" cap="none" spc="0" normalizeH="0" baseline="0" noProof="0">
                <a:ln>
                  <a:noFill/>
                </a:ln>
                <a:solidFill>
                  <a:prstClr val="black"/>
                </a:solidFill>
                <a:effectLst/>
                <a:uLnTx/>
                <a:uFillTx/>
                <a:latin typeface="Segoe UI Light"/>
                <a:ea typeface="Calibri" panose="020F0502020204030204" pitchFamily="34" charset="0"/>
                <a:cs typeface="Times New Roman" panose="02020603050405020304" pitchFamily="18" charset="0"/>
              </a:rPr>
              <a:t>Shaping is the act of </a:t>
            </a:r>
            <a:r>
              <a:rPr kumimoji="0" lang="en-US" sz="1800" b="1" i="0" u="none" strike="noStrike" kern="1200" cap="none" spc="0" normalizeH="0" baseline="0" noProof="0">
                <a:ln>
                  <a:noFill/>
                </a:ln>
                <a:solidFill>
                  <a:prstClr val="black"/>
                </a:solidFill>
                <a:effectLst/>
                <a:uLnTx/>
                <a:uFillTx/>
                <a:latin typeface="Segoe UI Light"/>
                <a:ea typeface="Calibri" panose="020F0502020204030204" pitchFamily="34" charset="0"/>
                <a:cs typeface="Times New Roman" panose="02020603050405020304" pitchFamily="18" charset="0"/>
              </a:rPr>
              <a:t>transforming</a:t>
            </a:r>
            <a:r>
              <a:rPr kumimoji="0" lang="en-US" sz="1800" b="0" i="0" u="none" strike="noStrike" kern="1200" cap="none" spc="0" normalizeH="0" baseline="0" noProof="0">
                <a:ln>
                  <a:noFill/>
                </a:ln>
                <a:solidFill>
                  <a:prstClr val="black"/>
                </a:solidFill>
                <a:effectLst/>
                <a:uLnTx/>
                <a:uFillTx/>
                <a:latin typeface="Segoe UI Light"/>
                <a:ea typeface="Calibri" panose="020F0502020204030204" pitchFamily="34" charset="0"/>
                <a:cs typeface="Times New Roman" panose="02020603050405020304" pitchFamily="18" charset="0"/>
              </a:rPr>
              <a:t> the data to meet our </a:t>
            </a:r>
            <a:r>
              <a:rPr kumimoji="0" lang="en-US" sz="1800" b="1" i="0" u="none" strike="noStrike" kern="1200" cap="none" spc="0" normalizeH="0" baseline="0" noProof="0">
                <a:ln>
                  <a:noFill/>
                </a:ln>
                <a:solidFill>
                  <a:prstClr val="black"/>
                </a:solidFill>
                <a:effectLst/>
                <a:uLnTx/>
                <a:uFillTx/>
                <a:latin typeface="Segoe UI Light"/>
                <a:ea typeface="Calibri" panose="020F0502020204030204" pitchFamily="34" charset="0"/>
                <a:cs typeface="Times New Roman" panose="02020603050405020304" pitchFamily="18" charset="0"/>
              </a:rPr>
              <a:t>business requirements</a:t>
            </a:r>
          </a:p>
          <a:p>
            <a:pPr marL="342900" marR="0" lvl="0" indent="-342900" algn="l" defTabSz="914400" rtl="0" eaLnBrk="1" fontAlgn="base" latinLnBrk="0" hangingPunct="1">
              <a:lnSpc>
                <a:spcPct val="100000"/>
              </a:lnSpc>
              <a:spcBef>
                <a:spcPts val="0"/>
              </a:spcBef>
              <a:spcAft>
                <a:spcPts val="300"/>
              </a:spcAft>
              <a:buClrTx/>
              <a:buSzPct val="90000"/>
              <a:buFont typeface="Symbol" panose="05050102010706020507" pitchFamily="18" charset="2"/>
              <a:buChar char=""/>
              <a:tabLst/>
              <a:defRPr/>
            </a:pPr>
            <a:endParaRPr kumimoji="0" lang="en-US" sz="1800" b="1" i="0" u="none" strike="noStrike" kern="1200" cap="none" spc="0" normalizeH="0" baseline="0" noProof="0">
              <a:ln>
                <a:noFill/>
              </a:ln>
              <a:solidFill>
                <a:prstClr val="black"/>
              </a:solidFill>
              <a:effectLst/>
              <a:uLnTx/>
              <a:uFillTx/>
              <a:latin typeface="Segoe UI Light"/>
              <a:ea typeface="Calibri" panose="020F0502020204030204" pitchFamily="34" charset="0"/>
              <a:cs typeface="Times New Roman" panose="02020603050405020304" pitchFamily="18" charset="0"/>
            </a:endParaRPr>
          </a:p>
          <a:p>
            <a:pPr marL="342900" marR="0" lvl="0" indent="-342900" algn="l" defTabSz="914400" rtl="0" eaLnBrk="1" fontAlgn="base" latinLnBrk="0" hangingPunct="1">
              <a:lnSpc>
                <a:spcPct val="100000"/>
              </a:lnSpc>
              <a:spcBef>
                <a:spcPts val="0"/>
              </a:spcBef>
              <a:spcAft>
                <a:spcPts val="300"/>
              </a:spcAft>
              <a:buClrTx/>
              <a:buSzPct val="90000"/>
              <a:buFont typeface="Symbol" panose="05050102010706020507" pitchFamily="18" charset="2"/>
              <a:buChar char=""/>
              <a:tabLst/>
              <a:defRPr/>
            </a:pPr>
            <a:r>
              <a:rPr kumimoji="0" lang="en-US" sz="1800" b="0" i="0" u="none" strike="noStrike" kern="1200" cap="none" spc="0" normalizeH="0" baseline="0" noProof="0">
                <a:ln>
                  <a:noFill/>
                </a:ln>
                <a:solidFill>
                  <a:prstClr val="black"/>
                </a:solidFill>
                <a:effectLst/>
                <a:uLnTx/>
                <a:uFillTx/>
                <a:latin typeface="Segoe UI Light"/>
                <a:ea typeface="Calibri" panose="020F0502020204030204" pitchFamily="34" charset="0"/>
                <a:cs typeface="Times New Roman" panose="02020603050405020304" pitchFamily="18" charset="0"/>
              </a:rPr>
              <a:t>Apply </a:t>
            </a:r>
            <a:r>
              <a:rPr kumimoji="0" lang="en-US" sz="1800" b="1" i="0" u="none" strike="noStrike" kern="1200" cap="none" spc="0" normalizeH="0" baseline="0" noProof="0">
                <a:ln>
                  <a:noFill/>
                </a:ln>
                <a:solidFill>
                  <a:prstClr val="black"/>
                </a:solidFill>
                <a:effectLst/>
                <a:uLnTx/>
                <a:uFillTx/>
                <a:latin typeface="Segoe UI Light"/>
                <a:ea typeface="Calibri" panose="020F0502020204030204" pitchFamily="34" charset="0"/>
                <a:cs typeface="Times New Roman" panose="02020603050405020304" pitchFamily="18" charset="0"/>
              </a:rPr>
              <a:t>data cleaning operations </a:t>
            </a:r>
            <a:r>
              <a:rPr kumimoji="0" lang="en-US" sz="1800" b="0" i="0" u="none" strike="noStrike" kern="1200" cap="none" spc="0" normalizeH="0" baseline="0" noProof="0">
                <a:ln>
                  <a:noFill/>
                </a:ln>
                <a:solidFill>
                  <a:prstClr val="black"/>
                </a:solidFill>
                <a:effectLst/>
                <a:uLnTx/>
                <a:uFillTx/>
                <a:latin typeface="Segoe UI Light"/>
                <a:ea typeface="Calibri" panose="020F0502020204030204" pitchFamily="34" charset="0"/>
                <a:cs typeface="Times New Roman" panose="02020603050405020304" pitchFamily="18" charset="0"/>
              </a:rPr>
              <a:t>and correct/remove errors</a:t>
            </a:r>
          </a:p>
          <a:p>
            <a:pPr marL="342900" marR="0" lvl="0" indent="-342900" algn="l" defTabSz="914400" rtl="0" eaLnBrk="1" fontAlgn="base" latinLnBrk="0" hangingPunct="1">
              <a:lnSpc>
                <a:spcPct val="100000"/>
              </a:lnSpc>
              <a:spcBef>
                <a:spcPts val="0"/>
              </a:spcBef>
              <a:spcAft>
                <a:spcPts val="300"/>
              </a:spcAft>
              <a:buClrTx/>
              <a:buSzPct val="90000"/>
              <a:buFont typeface="Symbol" panose="05050102010706020507" pitchFamily="18" charset="2"/>
              <a:buChar char=""/>
              <a:tabLst/>
              <a:defRPr/>
            </a:pPr>
            <a:endParaRPr kumimoji="0" lang="en-US" sz="1800" b="1" i="0" u="none" strike="noStrike" kern="1200" cap="none" spc="0" normalizeH="0" baseline="0" noProof="0">
              <a:ln>
                <a:noFill/>
              </a:ln>
              <a:solidFill>
                <a:prstClr val="black"/>
              </a:solidFill>
              <a:effectLst/>
              <a:uLnTx/>
              <a:uFillTx/>
              <a:latin typeface="Segoe UI Light"/>
              <a:ea typeface="Calibri" panose="020F0502020204030204" pitchFamily="34" charset="0"/>
              <a:cs typeface="Times New Roman" panose="02020603050405020304" pitchFamily="18" charset="0"/>
            </a:endParaRPr>
          </a:p>
          <a:p>
            <a:pPr marL="342900" marR="0" lvl="0" indent="-342900" algn="l" defTabSz="914400" rtl="0" eaLnBrk="1" fontAlgn="base" latinLnBrk="0" hangingPunct="1">
              <a:lnSpc>
                <a:spcPct val="100000"/>
              </a:lnSpc>
              <a:spcBef>
                <a:spcPts val="0"/>
              </a:spcBef>
              <a:spcAft>
                <a:spcPts val="300"/>
              </a:spcAft>
              <a:buClrTx/>
              <a:buSzPct val="90000"/>
              <a:buFont typeface="Symbol" panose="05050102010706020507" pitchFamily="18" charset="2"/>
              <a:buChar char=""/>
              <a:tabLst/>
              <a:defRPr/>
            </a:pPr>
            <a:r>
              <a:rPr kumimoji="0" lang="en-US" sz="1800" b="1" i="0" u="none" strike="noStrike" kern="1200" cap="none" spc="0" normalizeH="0" baseline="0" noProof="0">
                <a:ln>
                  <a:noFill/>
                </a:ln>
                <a:solidFill>
                  <a:prstClr val="black"/>
                </a:solidFill>
                <a:effectLst/>
                <a:uLnTx/>
                <a:uFillTx/>
                <a:latin typeface="Segoe UI Light"/>
                <a:ea typeface="Calibri" panose="020F0502020204030204" pitchFamily="34" charset="0"/>
                <a:cs typeface="Times New Roman" panose="02020603050405020304" pitchFamily="18" charset="0"/>
              </a:rPr>
              <a:t>Rename the data </a:t>
            </a:r>
            <a:r>
              <a:rPr kumimoji="0" lang="en-US" sz="1800" b="0" i="0" u="none" strike="noStrike" kern="1200" cap="none" spc="0" normalizeH="0" baseline="0" noProof="0">
                <a:ln>
                  <a:noFill/>
                </a:ln>
                <a:solidFill>
                  <a:prstClr val="black"/>
                </a:solidFill>
                <a:effectLst/>
                <a:uLnTx/>
                <a:uFillTx/>
                <a:latin typeface="Segoe UI Light"/>
                <a:ea typeface="Calibri" panose="020F0502020204030204" pitchFamily="34" charset="0"/>
                <a:cs typeface="Times New Roman" panose="02020603050405020304" pitchFamily="18" charset="0"/>
              </a:rPr>
              <a:t>so it is more meaningful</a:t>
            </a:r>
          </a:p>
          <a:p>
            <a:pPr marL="342900" marR="0" lvl="0" indent="-342900" algn="l" defTabSz="914400" rtl="0" eaLnBrk="1" fontAlgn="base" latinLnBrk="0" hangingPunct="1">
              <a:lnSpc>
                <a:spcPct val="100000"/>
              </a:lnSpc>
              <a:spcBef>
                <a:spcPts val="0"/>
              </a:spcBef>
              <a:spcAft>
                <a:spcPts val="300"/>
              </a:spcAft>
              <a:buClrTx/>
              <a:buSzPct val="90000"/>
              <a:buFont typeface="Symbol" panose="05050102010706020507" pitchFamily="18" charset="2"/>
              <a:buChar char=""/>
              <a:tabLst/>
              <a:defRPr/>
            </a:pPr>
            <a:endParaRPr kumimoji="0" lang="en-US" sz="1800" b="0" i="0" u="none" strike="noStrike" kern="1200" cap="none" spc="0" normalizeH="0" baseline="0" noProof="0">
              <a:ln>
                <a:noFill/>
              </a:ln>
              <a:solidFill>
                <a:prstClr val="black"/>
              </a:solidFill>
              <a:effectLst/>
              <a:uLnTx/>
              <a:uFillTx/>
              <a:latin typeface="Segoe UI Light"/>
              <a:ea typeface="Calibri" panose="020F0502020204030204" pitchFamily="34" charset="0"/>
              <a:cs typeface="Times New Roman" panose="02020603050405020304" pitchFamily="18" charset="0"/>
            </a:endParaRPr>
          </a:p>
          <a:p>
            <a:pPr marL="342900" marR="0" lvl="0" indent="-342900" algn="l" defTabSz="914400" rtl="0" eaLnBrk="1" fontAlgn="base" latinLnBrk="0" hangingPunct="1">
              <a:lnSpc>
                <a:spcPct val="100000"/>
              </a:lnSpc>
              <a:spcBef>
                <a:spcPts val="0"/>
              </a:spcBef>
              <a:spcAft>
                <a:spcPts val="300"/>
              </a:spcAft>
              <a:buClrTx/>
              <a:buSzPct val="90000"/>
              <a:buFont typeface="Symbol" panose="05050102010706020507" pitchFamily="18" charset="2"/>
              <a:buChar char=""/>
              <a:tabLst/>
              <a:defRPr/>
            </a:pPr>
            <a:r>
              <a:rPr kumimoji="0" lang="en-US" sz="1800" b="1" i="0" u="none" strike="noStrike" kern="1200" cap="none" spc="0" normalizeH="0" baseline="0" noProof="0">
                <a:ln>
                  <a:noFill/>
                </a:ln>
                <a:solidFill>
                  <a:prstClr val="black"/>
                </a:solidFill>
                <a:effectLst/>
                <a:uLnTx/>
                <a:uFillTx/>
                <a:latin typeface="Segoe UI Light"/>
                <a:ea typeface="Calibri" panose="020F0502020204030204" pitchFamily="34" charset="0"/>
                <a:cs typeface="Times New Roman" panose="02020603050405020304" pitchFamily="18" charset="0"/>
              </a:rPr>
              <a:t>Combine data</a:t>
            </a:r>
            <a:r>
              <a:rPr kumimoji="0" lang="en-US" sz="1800" b="0" i="0" u="none" strike="noStrike" kern="1200" cap="none" spc="0" normalizeH="0" baseline="0" noProof="0">
                <a:ln>
                  <a:noFill/>
                </a:ln>
                <a:solidFill>
                  <a:prstClr val="black"/>
                </a:solidFill>
                <a:effectLst/>
                <a:uLnTx/>
                <a:uFillTx/>
                <a:latin typeface="Segoe UI Light"/>
                <a:ea typeface="Calibri" panose="020F0502020204030204" pitchFamily="34" charset="0"/>
                <a:cs typeface="Times New Roman" panose="02020603050405020304" pitchFamily="18" charset="0"/>
              </a:rPr>
              <a:t> from different data sources in a single table</a:t>
            </a:r>
          </a:p>
          <a:p>
            <a:pPr marL="342900" marR="0" lvl="0" indent="-342900" algn="l" defTabSz="914400" rtl="0" eaLnBrk="1" fontAlgn="base" latinLnBrk="0" hangingPunct="1">
              <a:lnSpc>
                <a:spcPct val="100000"/>
              </a:lnSpc>
              <a:spcBef>
                <a:spcPts val="0"/>
              </a:spcBef>
              <a:spcAft>
                <a:spcPts val="300"/>
              </a:spcAft>
              <a:buClrTx/>
              <a:buSzPct val="90000"/>
              <a:buFont typeface="Symbol" panose="05050102010706020507" pitchFamily="18" charset="2"/>
              <a:buChar char=""/>
              <a:tabLst/>
              <a:defRPr/>
            </a:pPr>
            <a:endParaRPr kumimoji="0" lang="en-US" sz="1800" b="0" i="0" u="none" strike="noStrike" kern="1200" cap="none" spc="0" normalizeH="0" baseline="0" noProof="0">
              <a:ln>
                <a:noFill/>
              </a:ln>
              <a:solidFill>
                <a:prstClr val="black"/>
              </a:solidFill>
              <a:effectLst/>
              <a:uLnTx/>
              <a:uFillTx/>
              <a:latin typeface="Segoe UI Light"/>
              <a:ea typeface="Calibri" panose="020F0502020204030204" pitchFamily="34" charset="0"/>
              <a:cs typeface="Times New Roman" panose="02020603050405020304" pitchFamily="18" charset="0"/>
            </a:endParaRPr>
          </a:p>
          <a:p>
            <a:pPr marL="342900" marR="0" lvl="0" indent="-342900" algn="l" defTabSz="914400" rtl="0" eaLnBrk="1" fontAlgn="base" latinLnBrk="0" hangingPunct="1">
              <a:lnSpc>
                <a:spcPct val="100000"/>
              </a:lnSpc>
              <a:spcBef>
                <a:spcPts val="0"/>
              </a:spcBef>
              <a:spcAft>
                <a:spcPts val="300"/>
              </a:spcAft>
              <a:buClrTx/>
              <a:buSzPct val="90000"/>
              <a:buFont typeface="Symbol" panose="05050102010706020507" pitchFamily="18" charset="2"/>
              <a:buChar char=""/>
              <a:tabLst/>
              <a:defRPr/>
            </a:pPr>
            <a:r>
              <a:rPr kumimoji="0" lang="en-US" sz="1800" b="0" i="0" u="none" strike="noStrike" kern="1200" cap="none" spc="0" normalizeH="0" baseline="0" noProof="0">
                <a:ln>
                  <a:noFill/>
                </a:ln>
                <a:solidFill>
                  <a:prstClr val="black"/>
                </a:solidFill>
                <a:effectLst/>
                <a:uLnTx/>
                <a:uFillTx/>
                <a:latin typeface="Segoe UI Light"/>
                <a:ea typeface="Calibri" panose="020F0502020204030204" pitchFamily="34" charset="0"/>
                <a:cs typeface="Times New Roman" panose="02020603050405020304" pitchFamily="18" charset="0"/>
              </a:rPr>
              <a:t>Create </a:t>
            </a:r>
            <a:r>
              <a:rPr kumimoji="0" lang="en-US" sz="1800" b="1" i="0" u="none" strike="noStrike" kern="1200" cap="none" spc="0" normalizeH="0" baseline="0" noProof="0">
                <a:ln>
                  <a:noFill/>
                </a:ln>
                <a:solidFill>
                  <a:prstClr val="black"/>
                </a:solidFill>
                <a:effectLst/>
                <a:uLnTx/>
                <a:uFillTx/>
                <a:latin typeface="Segoe UI Light"/>
                <a:ea typeface="Calibri" panose="020F0502020204030204" pitchFamily="34" charset="0"/>
                <a:cs typeface="Times New Roman" panose="02020603050405020304" pitchFamily="18" charset="0"/>
              </a:rPr>
              <a:t>personal </a:t>
            </a:r>
            <a:r>
              <a:rPr kumimoji="0" lang="en-US" sz="1800" b="0" i="0" u="none" strike="noStrike" kern="1200" cap="none" spc="0" normalizeH="0" baseline="0" noProof="0">
                <a:ln>
                  <a:noFill/>
                </a:ln>
                <a:solidFill>
                  <a:prstClr val="black"/>
                </a:solidFill>
                <a:effectLst/>
                <a:uLnTx/>
                <a:uFillTx/>
                <a:latin typeface="Segoe UI Light"/>
                <a:ea typeface="Calibri" panose="020F0502020204030204" pitchFamily="34" charset="0"/>
                <a:cs typeface="Times New Roman" panose="02020603050405020304" pitchFamily="18" charset="0"/>
              </a:rPr>
              <a:t>(reusable) </a:t>
            </a:r>
            <a:r>
              <a:rPr kumimoji="0" lang="en-US" sz="1800" b="1" i="0" u="none" strike="noStrike" kern="1200" cap="none" spc="0" normalizeH="0" baseline="0" noProof="0">
                <a:ln>
                  <a:noFill/>
                </a:ln>
                <a:solidFill>
                  <a:prstClr val="black"/>
                </a:solidFill>
                <a:effectLst/>
                <a:uLnTx/>
                <a:uFillTx/>
                <a:latin typeface="Segoe UI Light"/>
                <a:ea typeface="Calibri" panose="020F0502020204030204" pitchFamily="34" charset="0"/>
                <a:cs typeface="Times New Roman" panose="02020603050405020304" pitchFamily="18" charset="0"/>
              </a:rPr>
              <a:t>views </a:t>
            </a:r>
            <a:r>
              <a:rPr kumimoji="0" lang="en-US" sz="1800" b="0" i="0" u="none" strike="noStrike" kern="1200" cap="none" spc="0" normalizeH="0" baseline="0" noProof="0">
                <a:ln>
                  <a:noFill/>
                </a:ln>
                <a:solidFill>
                  <a:prstClr val="black"/>
                </a:solidFill>
                <a:effectLst/>
                <a:uLnTx/>
                <a:uFillTx/>
                <a:latin typeface="Segoe UI Light"/>
                <a:ea typeface="Calibri" panose="020F0502020204030204" pitchFamily="34" charset="0"/>
                <a:cs typeface="Times New Roman" panose="02020603050405020304" pitchFamily="18" charset="0"/>
              </a:rPr>
              <a:t>of the data</a:t>
            </a:r>
          </a:p>
          <a:p>
            <a:pPr marL="342900" marR="0" lvl="0" indent="-342900" algn="l" defTabSz="914400" rtl="0" eaLnBrk="1" fontAlgn="base" latinLnBrk="0" hangingPunct="1">
              <a:lnSpc>
                <a:spcPct val="100000"/>
              </a:lnSpc>
              <a:spcBef>
                <a:spcPts val="0"/>
              </a:spcBef>
              <a:spcAft>
                <a:spcPts val="300"/>
              </a:spcAft>
              <a:buClrTx/>
              <a:buSzPct val="90000"/>
              <a:buFont typeface="Symbol" panose="05050102010706020507" pitchFamily="18" charset="2"/>
              <a:buChar char=""/>
              <a:tabLst/>
              <a:defRPr/>
            </a:pPr>
            <a:endParaRPr kumimoji="0" lang="en-US" sz="1800" b="0" i="0" u="none" strike="noStrike" kern="1200" cap="none" spc="0" normalizeH="0" baseline="0" noProof="0">
              <a:ln>
                <a:noFill/>
              </a:ln>
              <a:solidFill>
                <a:prstClr val="black"/>
              </a:solidFill>
              <a:effectLst/>
              <a:uLnTx/>
              <a:uFillTx/>
              <a:latin typeface="Segoe UI Light"/>
              <a:ea typeface="Calibri" panose="020F0502020204030204" pitchFamily="34" charset="0"/>
              <a:cs typeface="Times New Roman" panose="02020603050405020304" pitchFamily="18" charset="0"/>
            </a:endParaRPr>
          </a:p>
          <a:p>
            <a:pPr marL="342900" marR="0" lvl="0" indent="-342900" algn="l" defTabSz="914400" rtl="0" eaLnBrk="1" fontAlgn="base" latinLnBrk="0" hangingPunct="1">
              <a:lnSpc>
                <a:spcPct val="100000"/>
              </a:lnSpc>
              <a:spcBef>
                <a:spcPts val="0"/>
              </a:spcBef>
              <a:spcAft>
                <a:spcPts val="300"/>
              </a:spcAft>
              <a:buClrTx/>
              <a:buSzPct val="90000"/>
              <a:buFont typeface="Symbol" panose="05050102010706020507" pitchFamily="18" charset="2"/>
              <a:buChar char=""/>
              <a:tabLst/>
              <a:defRPr/>
            </a:pPr>
            <a:r>
              <a:rPr kumimoji="0" lang="en-US" sz="1800" b="0" i="0" u="none" strike="noStrike" kern="1200" cap="none" spc="0" normalizeH="0" baseline="0" noProof="0">
                <a:ln>
                  <a:noFill/>
                </a:ln>
                <a:solidFill>
                  <a:prstClr val="black"/>
                </a:solidFill>
                <a:effectLst/>
                <a:uLnTx/>
                <a:uFillTx/>
                <a:latin typeface="Segoe UI Light"/>
                <a:ea typeface="Calibri" panose="020F0502020204030204" pitchFamily="34" charset="0"/>
                <a:cs typeface="Times New Roman" panose="02020603050405020304" pitchFamily="18" charset="0"/>
              </a:rPr>
              <a:t>A set of </a:t>
            </a:r>
            <a:r>
              <a:rPr kumimoji="0" lang="en-US" sz="1800" b="1" i="0" u="none" strike="noStrike" kern="1200" cap="none" spc="0" normalizeH="0" baseline="0" noProof="0">
                <a:ln>
                  <a:noFill/>
                </a:ln>
                <a:solidFill>
                  <a:prstClr val="black"/>
                </a:solidFill>
                <a:effectLst/>
                <a:uLnTx/>
                <a:uFillTx/>
                <a:latin typeface="Segoe UI Light"/>
                <a:ea typeface="Calibri" panose="020F0502020204030204" pitchFamily="34" charset="0"/>
                <a:cs typeface="Times New Roman" panose="02020603050405020304" pitchFamily="18" charset="0"/>
              </a:rPr>
              <a:t>out-of-the box transformations</a:t>
            </a:r>
            <a:r>
              <a:rPr kumimoji="0" lang="en-US" sz="1800" b="0" i="0" u="none" strike="noStrike" kern="1200" cap="none" spc="0" normalizeH="0" baseline="0" noProof="0">
                <a:ln>
                  <a:noFill/>
                </a:ln>
                <a:solidFill>
                  <a:prstClr val="black"/>
                </a:solidFill>
                <a:effectLst/>
                <a:uLnTx/>
                <a:uFillTx/>
                <a:latin typeface="Segoe UI Light"/>
                <a:ea typeface="Calibri" panose="020F0502020204030204" pitchFamily="34" charset="0"/>
                <a:cs typeface="Times New Roman" panose="02020603050405020304" pitchFamily="18" charset="0"/>
              </a:rPr>
              <a:t> are available to help</a:t>
            </a:r>
          </a:p>
          <a:p>
            <a:pPr marL="342900" marR="0" lvl="0" indent="-342900" algn="l" defTabSz="914400" rtl="0" eaLnBrk="1" fontAlgn="base" latinLnBrk="0" hangingPunct="1">
              <a:lnSpc>
                <a:spcPct val="100000"/>
              </a:lnSpc>
              <a:spcBef>
                <a:spcPts val="0"/>
              </a:spcBef>
              <a:spcAft>
                <a:spcPts val="300"/>
              </a:spcAft>
              <a:buClrTx/>
              <a:buSzPct val="90000"/>
              <a:buFont typeface="Symbol" panose="05050102010706020507" pitchFamily="18" charset="2"/>
              <a:buChar char=""/>
              <a:tabLst/>
              <a:defRPr/>
            </a:pPr>
            <a:endParaRPr kumimoji="0" lang="en-US" sz="1800" b="0" i="0" u="none" strike="noStrike" kern="1200" cap="none" spc="0" normalizeH="0" baseline="0" noProof="0">
              <a:ln>
                <a:noFill/>
              </a:ln>
              <a:solidFill>
                <a:prstClr val="black"/>
              </a:solidFill>
              <a:effectLst/>
              <a:uLnTx/>
              <a:uFillTx/>
              <a:latin typeface="Segoe UI Light"/>
              <a:ea typeface="Calibri" panose="020F0502020204030204" pitchFamily="34" charset="0"/>
              <a:cs typeface="Times New Roman" panose="02020603050405020304" pitchFamily="18" charset="0"/>
            </a:endParaRPr>
          </a:p>
          <a:p>
            <a:pPr marL="342900" marR="0" lvl="0" indent="-342900" algn="l" defTabSz="914400" rtl="0" eaLnBrk="1" fontAlgn="base" latinLnBrk="0" hangingPunct="1">
              <a:lnSpc>
                <a:spcPct val="100000"/>
              </a:lnSpc>
              <a:spcBef>
                <a:spcPts val="0"/>
              </a:spcBef>
              <a:spcAft>
                <a:spcPts val="300"/>
              </a:spcAft>
              <a:buClrTx/>
              <a:buSzPct val="90000"/>
              <a:buFont typeface="Symbol" panose="05050102010706020507" pitchFamily="18" charset="2"/>
              <a:buChar char=""/>
              <a:tabLst/>
              <a:defRPr/>
            </a:pPr>
            <a:r>
              <a:rPr kumimoji="0" lang="en-US" sz="1800" b="0" i="0" u="none" strike="noStrike" kern="1200" cap="none" spc="0" normalizeH="0" baseline="0" noProof="0">
                <a:ln>
                  <a:noFill/>
                </a:ln>
                <a:solidFill>
                  <a:prstClr val="black"/>
                </a:solidFill>
                <a:effectLst/>
                <a:uLnTx/>
                <a:uFillTx/>
                <a:latin typeface="Segoe UI Light"/>
                <a:ea typeface="Calibri" panose="020F0502020204030204" pitchFamily="34" charset="0"/>
                <a:cs typeface="Times New Roman" panose="02020603050405020304" pitchFamily="18" charset="0"/>
              </a:rPr>
              <a:t>A </a:t>
            </a:r>
            <a:r>
              <a:rPr kumimoji="0" lang="en-US" sz="1800" b="1" i="0" u="none" strike="noStrike" kern="1200" cap="none" spc="0" normalizeH="0" baseline="0" noProof="0">
                <a:ln>
                  <a:noFill/>
                </a:ln>
                <a:solidFill>
                  <a:prstClr val="black"/>
                </a:solidFill>
                <a:effectLst/>
                <a:uLnTx/>
                <a:uFillTx/>
                <a:latin typeface="Segoe UI Light"/>
                <a:ea typeface="Calibri" panose="020F0502020204030204" pitchFamily="34" charset="0"/>
                <a:cs typeface="Times New Roman" panose="02020603050405020304" pitchFamily="18" charset="0"/>
              </a:rPr>
              <a:t>programming language </a:t>
            </a:r>
            <a:r>
              <a:rPr kumimoji="0" lang="en-US" sz="1800" b="0" i="0" u="none" strike="noStrike" kern="1200" cap="none" spc="0" normalizeH="0" baseline="0" noProof="0">
                <a:ln>
                  <a:noFill/>
                </a:ln>
                <a:solidFill>
                  <a:prstClr val="black"/>
                </a:solidFill>
                <a:effectLst/>
                <a:uLnTx/>
                <a:uFillTx/>
                <a:latin typeface="Segoe UI Light"/>
                <a:ea typeface="Calibri" panose="020F0502020204030204" pitchFamily="34" charset="0"/>
                <a:cs typeface="Times New Roman" panose="02020603050405020304" pitchFamily="18" charset="0"/>
              </a:rPr>
              <a:t>is available for addressing more complex use-cases</a:t>
            </a:r>
          </a:p>
          <a:p>
            <a:pPr marL="342900" marR="0" lvl="0" indent="-342900" algn="l" defTabSz="914400" rtl="0" eaLnBrk="1" fontAlgn="base" latinLnBrk="0" hangingPunct="1">
              <a:lnSpc>
                <a:spcPct val="100000"/>
              </a:lnSpc>
              <a:spcBef>
                <a:spcPts val="0"/>
              </a:spcBef>
              <a:spcAft>
                <a:spcPts val="300"/>
              </a:spcAft>
              <a:buClrTx/>
              <a:buSzPct val="90000"/>
              <a:buFont typeface="Symbol" panose="05050102010706020507" pitchFamily="18" charset="2"/>
              <a:buChar char=""/>
              <a:tabLst/>
              <a:defRPr/>
            </a:pPr>
            <a:endParaRPr kumimoji="0" lang="en-US" sz="1800" b="0" i="0" u="none" strike="noStrike" kern="1200" cap="none" spc="0" normalizeH="0" baseline="0" noProof="0">
              <a:ln>
                <a:noFill/>
              </a:ln>
              <a:solidFill>
                <a:prstClr val="black"/>
              </a:solidFill>
              <a:effectLst/>
              <a:uLnTx/>
              <a:uFillTx/>
              <a:latin typeface="Segoe UI Light"/>
              <a:ea typeface="Calibri" panose="020F0502020204030204" pitchFamily="34" charset="0"/>
              <a:cs typeface="Times New Roman" panose="02020603050405020304" pitchFamily="18" charset="0"/>
            </a:endParaRPr>
          </a:p>
          <a:p>
            <a:pPr marL="342900" marR="0" lvl="0" indent="-342900" algn="l" defTabSz="914400" rtl="0" eaLnBrk="1" fontAlgn="base" latinLnBrk="0" hangingPunct="1">
              <a:lnSpc>
                <a:spcPct val="100000"/>
              </a:lnSpc>
              <a:spcBef>
                <a:spcPts val="0"/>
              </a:spcBef>
              <a:spcAft>
                <a:spcPts val="300"/>
              </a:spcAft>
              <a:buClrTx/>
              <a:buSzPct val="90000"/>
              <a:buFont typeface="Symbol" panose="05050102010706020507" pitchFamily="18" charset="2"/>
              <a:buChar char=""/>
              <a:tabLst/>
              <a:defRPr/>
            </a:pPr>
            <a:r>
              <a:rPr kumimoji="0" lang="en-US" sz="1800" b="1" i="0" u="none" strike="noStrike" kern="1200" cap="none" spc="0" normalizeH="0" baseline="0" noProof="0">
                <a:ln>
                  <a:noFill/>
                </a:ln>
                <a:solidFill>
                  <a:prstClr val="black"/>
                </a:solidFill>
                <a:effectLst/>
                <a:uLnTx/>
                <a:uFillTx/>
                <a:latin typeface="Segoe UI Light"/>
                <a:ea typeface="Calibri" panose="020F0502020204030204" pitchFamily="34" charset="0"/>
                <a:cs typeface="Times New Roman" panose="02020603050405020304" pitchFamily="18" charset="0"/>
              </a:rPr>
              <a:t>Source data is not changed</a:t>
            </a:r>
            <a:r>
              <a:rPr kumimoji="0" lang="en-US" sz="1800" b="0" i="0" u="none" strike="noStrike" kern="1200" cap="none" spc="0" normalizeH="0" baseline="0" noProof="0">
                <a:ln>
                  <a:noFill/>
                </a:ln>
                <a:solidFill>
                  <a:prstClr val="black"/>
                </a:solidFill>
                <a:effectLst/>
                <a:uLnTx/>
                <a:uFillTx/>
                <a:latin typeface="Segoe UI Light"/>
                <a:ea typeface="Calibri" panose="020F0502020204030204" pitchFamily="34" charset="0"/>
                <a:cs typeface="Times New Roman" panose="02020603050405020304" pitchFamily="18" charset="0"/>
              </a:rPr>
              <a:t>, all the transformations are applied on the Desktop engine</a:t>
            </a:r>
          </a:p>
        </p:txBody>
      </p:sp>
      <p:sp>
        <p:nvSpPr>
          <p:cNvPr id="36" name="Rectangle 3"/>
          <p:cNvSpPr/>
          <p:nvPr/>
        </p:nvSpPr>
        <p:spPr bwMode="auto">
          <a:xfrm>
            <a:off x="3202216" y="665151"/>
            <a:ext cx="8105312" cy="44435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1" u="none" strike="noStrike" kern="1200" cap="none" spc="0" normalizeH="0" baseline="0" noProof="0">
              <a:ln>
                <a:noFill/>
              </a:ln>
              <a:solidFill>
                <a:prstClr val="black"/>
              </a:solidFill>
              <a:effectLst/>
              <a:uLnTx/>
              <a:uFillTx/>
              <a:latin typeface="Segoe UI Light"/>
              <a:ea typeface="+mn-ea"/>
              <a:cs typeface="+mn-cs"/>
            </a:endParaRPr>
          </a:p>
        </p:txBody>
      </p:sp>
      <p:sp>
        <p:nvSpPr>
          <p:cNvPr id="5" name="Title 4"/>
          <p:cNvSpPr>
            <a:spLocks noGrp="1"/>
          </p:cNvSpPr>
          <p:nvPr>
            <p:ph type="title"/>
          </p:nvPr>
        </p:nvSpPr>
        <p:spPr/>
        <p:txBody>
          <a:bodyPr/>
          <a:lstStyle/>
          <a:p>
            <a:r>
              <a:rPr lang="en-GB"/>
              <a:t>Shaping Data</a:t>
            </a:r>
          </a:p>
        </p:txBody>
      </p:sp>
    </p:spTree>
    <p:extLst>
      <p:ext uri="{BB962C8B-B14F-4D97-AF65-F5344CB8AC3E}">
        <p14:creationId xmlns:p14="http://schemas.microsoft.com/office/powerpoint/2010/main" val="34099544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p:cNvGrpSpPr/>
          <p:nvPr/>
        </p:nvGrpSpPr>
        <p:grpSpPr>
          <a:xfrm>
            <a:off x="-11149" y="0"/>
            <a:ext cx="2849058" cy="6858000"/>
            <a:chOff x="2" y="1"/>
            <a:chExt cx="2849058" cy="6858000"/>
          </a:xfrm>
        </p:grpSpPr>
        <p:sp>
          <p:nvSpPr>
            <p:cNvPr id="70" name="Rectangle 69"/>
            <p:cNvSpPr/>
            <p:nvPr/>
          </p:nvSpPr>
          <p:spPr bwMode="auto">
            <a:xfrm>
              <a:off x="2" y="1"/>
              <a:ext cx="2849058"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5" name="Oval 70"/>
            <p:cNvSpPr/>
            <p:nvPr/>
          </p:nvSpPr>
          <p:spPr>
            <a:xfrm>
              <a:off x="1413521" y="4951537"/>
              <a:ext cx="1119626" cy="1119626"/>
            </a:xfrm>
            <a:prstGeom prst="ellipse">
              <a:avLst/>
            </a:prstGeom>
            <a:solidFill>
              <a:srgbClr val="F2C812"/>
            </a:solidFill>
            <a:ln w="3175" cap="flat" cmpd="sng" algn="ctr">
              <a:noFill/>
              <a:prstDash val="solid"/>
            </a:ln>
            <a:effectLst/>
          </p:spPr>
          <p:txBody>
            <a:bodyPr vert="horz" wrap="none" lIns="0" tIns="45720" rIns="0" bIns="0" rtlCol="0" anchor="t"/>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Segoe UI"/>
                  <a:ea typeface="Segoe UI" pitchFamily="34" charset="0"/>
                  <a:cs typeface="Segoe UI" pitchFamily="34" charset="0"/>
                </a:rPr>
                <a:t>Share &amp;</a:t>
              </a:r>
            </a:p>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Segoe UI"/>
                  <a:ea typeface="Segoe UI" pitchFamily="34" charset="0"/>
                  <a:cs typeface="Segoe UI" pitchFamily="34" charset="0"/>
                </a:rPr>
                <a:t>collaborate </a:t>
              </a:r>
            </a:p>
          </p:txBody>
        </p:sp>
        <p:grpSp>
          <p:nvGrpSpPr>
            <p:cNvPr id="66" name="Group 38"/>
            <p:cNvGrpSpPr>
              <a:grpSpLocks noChangeAspect="1"/>
            </p:cNvGrpSpPr>
            <p:nvPr/>
          </p:nvGrpSpPr>
          <p:grpSpPr>
            <a:xfrm>
              <a:off x="676996" y="3930692"/>
              <a:ext cx="383905" cy="351536"/>
              <a:chOff x="4363684" y="5330386"/>
              <a:chExt cx="1409956" cy="1291077"/>
            </a:xfrm>
            <a:solidFill>
              <a:srgbClr val="217346"/>
            </a:solidFill>
          </p:grpSpPr>
          <p:sp>
            <p:nvSpPr>
              <p:cNvPr id="67" name="Donut 3"/>
              <p:cNvSpPr/>
              <p:nvPr/>
            </p:nvSpPr>
            <p:spPr bwMode="auto">
              <a:xfrm>
                <a:off x="4363684" y="5330386"/>
                <a:ext cx="1409956" cy="1291077"/>
              </a:xfrm>
              <a:custGeom>
                <a:avLst/>
                <a:gdLst/>
                <a:ahLst/>
                <a:cxnLst/>
                <a:rect l="l" t="t" r="r" b="b"/>
                <a:pathLst>
                  <a:path w="1409956" h="1291077">
                    <a:moveTo>
                      <a:pt x="956401" y="78410"/>
                    </a:moveTo>
                    <a:cubicBezTo>
                      <a:pt x="747518" y="78410"/>
                      <a:pt x="578184" y="247744"/>
                      <a:pt x="578184" y="456627"/>
                    </a:cubicBezTo>
                    <a:cubicBezTo>
                      <a:pt x="578184" y="665510"/>
                      <a:pt x="747518" y="834844"/>
                      <a:pt x="956401" y="834844"/>
                    </a:cubicBezTo>
                    <a:cubicBezTo>
                      <a:pt x="1165284" y="834844"/>
                      <a:pt x="1334618" y="665510"/>
                      <a:pt x="1334618" y="456627"/>
                    </a:cubicBezTo>
                    <a:cubicBezTo>
                      <a:pt x="1334618" y="247744"/>
                      <a:pt x="1165284" y="78410"/>
                      <a:pt x="956401" y="78410"/>
                    </a:cubicBezTo>
                    <a:close/>
                    <a:moveTo>
                      <a:pt x="952756" y="0"/>
                    </a:moveTo>
                    <a:cubicBezTo>
                      <a:pt x="1205261" y="0"/>
                      <a:pt x="1409956" y="204695"/>
                      <a:pt x="1409956" y="457200"/>
                    </a:cubicBezTo>
                    <a:cubicBezTo>
                      <a:pt x="1409956" y="709705"/>
                      <a:pt x="1205261" y="914400"/>
                      <a:pt x="952756" y="914400"/>
                    </a:cubicBezTo>
                    <a:cubicBezTo>
                      <a:pt x="862133" y="914400"/>
                      <a:pt x="777669" y="888034"/>
                      <a:pt x="707132" y="841746"/>
                    </a:cubicBezTo>
                    <a:lnTo>
                      <a:pt x="136495" y="1280102"/>
                    </a:lnTo>
                    <a:cubicBezTo>
                      <a:pt x="21896" y="1327168"/>
                      <a:pt x="-44029" y="1213730"/>
                      <a:pt x="33797" y="1113182"/>
                    </a:cubicBezTo>
                    <a:lnTo>
                      <a:pt x="568587" y="703518"/>
                    </a:lnTo>
                    <a:cubicBezTo>
                      <a:pt x="522087" y="632814"/>
                      <a:pt x="495556" y="548105"/>
                      <a:pt x="495556" y="457200"/>
                    </a:cubicBezTo>
                    <a:cubicBezTo>
                      <a:pt x="495556" y="204695"/>
                      <a:pt x="700251" y="0"/>
                      <a:pt x="952756" y="0"/>
                    </a:cubicBezTo>
                    <a:close/>
                  </a:path>
                </a:pathLst>
              </a:custGeom>
              <a:grpFill/>
              <a:ln>
                <a:solidFill>
                  <a:srgbClr val="21734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sp>
            <p:nvSpPr>
              <p:cNvPr id="68" name="Rectangle 4"/>
              <p:cNvSpPr/>
              <p:nvPr/>
            </p:nvSpPr>
            <p:spPr>
              <a:xfrm>
                <a:off x="5058389" y="5528247"/>
                <a:ext cx="490885" cy="490020"/>
              </a:xfrm>
              <a:custGeom>
                <a:avLst/>
                <a:gdLst/>
                <a:ahLst/>
                <a:cxnLst/>
                <a:rect l="l" t="t" r="r" b="b"/>
                <a:pathLst>
                  <a:path w="490885" h="490020">
                    <a:moveTo>
                      <a:pt x="240752" y="0"/>
                    </a:moveTo>
                    <a:cubicBezTo>
                      <a:pt x="253961" y="11844"/>
                      <a:pt x="293310" y="49692"/>
                      <a:pt x="337332" y="92439"/>
                    </a:cubicBezTo>
                    <a:lnTo>
                      <a:pt x="328342" y="81259"/>
                    </a:lnTo>
                    <a:cubicBezTo>
                      <a:pt x="356946" y="111282"/>
                      <a:pt x="377251" y="107167"/>
                      <a:pt x="382515" y="87941"/>
                    </a:cubicBezTo>
                    <a:cubicBezTo>
                      <a:pt x="383951" y="76921"/>
                      <a:pt x="384595" y="68732"/>
                      <a:pt x="396997" y="52239"/>
                    </a:cubicBezTo>
                    <a:cubicBezTo>
                      <a:pt x="420362" y="32084"/>
                      <a:pt x="442294" y="41736"/>
                      <a:pt x="454920" y="51330"/>
                    </a:cubicBezTo>
                    <a:cubicBezTo>
                      <a:pt x="467834" y="62761"/>
                      <a:pt x="477920" y="86882"/>
                      <a:pt x="460392" y="109714"/>
                    </a:cubicBezTo>
                    <a:cubicBezTo>
                      <a:pt x="451128" y="121912"/>
                      <a:pt x="437554" y="126838"/>
                      <a:pt x="425922" y="126505"/>
                    </a:cubicBezTo>
                    <a:cubicBezTo>
                      <a:pt x="424301" y="127609"/>
                      <a:pt x="382890" y="134974"/>
                      <a:pt x="427348" y="177672"/>
                    </a:cubicBezTo>
                    <a:lnTo>
                      <a:pt x="416886" y="169735"/>
                    </a:lnTo>
                    <a:cubicBezTo>
                      <a:pt x="450207" y="202177"/>
                      <a:pt x="478424" y="229744"/>
                      <a:pt x="490885" y="241900"/>
                    </a:cubicBezTo>
                    <a:lnTo>
                      <a:pt x="417150" y="317347"/>
                    </a:lnTo>
                    <a:cubicBezTo>
                      <a:pt x="417744" y="316535"/>
                      <a:pt x="418443" y="316123"/>
                      <a:pt x="419047" y="315822"/>
                    </a:cubicBezTo>
                    <a:cubicBezTo>
                      <a:pt x="389023" y="344426"/>
                      <a:pt x="393138" y="364731"/>
                      <a:pt x="412364" y="369995"/>
                    </a:cubicBezTo>
                    <a:cubicBezTo>
                      <a:pt x="423384" y="371431"/>
                      <a:pt x="431574" y="372075"/>
                      <a:pt x="448067" y="384477"/>
                    </a:cubicBezTo>
                    <a:cubicBezTo>
                      <a:pt x="468221" y="407842"/>
                      <a:pt x="458569" y="429774"/>
                      <a:pt x="448975" y="442400"/>
                    </a:cubicBezTo>
                    <a:cubicBezTo>
                      <a:pt x="437545" y="455314"/>
                      <a:pt x="413423" y="465400"/>
                      <a:pt x="390591" y="447872"/>
                    </a:cubicBezTo>
                    <a:cubicBezTo>
                      <a:pt x="378394" y="438608"/>
                      <a:pt x="373468" y="425034"/>
                      <a:pt x="373800" y="413402"/>
                    </a:cubicBezTo>
                    <a:cubicBezTo>
                      <a:pt x="372696" y="411781"/>
                      <a:pt x="365332" y="370370"/>
                      <a:pt x="322634" y="414828"/>
                    </a:cubicBezTo>
                    <a:lnTo>
                      <a:pt x="325243" y="411388"/>
                    </a:lnTo>
                    <a:lnTo>
                      <a:pt x="248395" y="490020"/>
                    </a:lnTo>
                    <a:cubicBezTo>
                      <a:pt x="208939" y="451897"/>
                      <a:pt x="199129" y="442073"/>
                      <a:pt x="174192" y="418236"/>
                    </a:cubicBezTo>
                    <a:cubicBezTo>
                      <a:pt x="145587" y="388212"/>
                      <a:pt x="125282" y="392327"/>
                      <a:pt x="120018" y="411553"/>
                    </a:cubicBezTo>
                    <a:cubicBezTo>
                      <a:pt x="118582" y="422573"/>
                      <a:pt x="117938" y="430763"/>
                      <a:pt x="105536" y="447256"/>
                    </a:cubicBezTo>
                    <a:cubicBezTo>
                      <a:pt x="82171" y="467410"/>
                      <a:pt x="60239" y="457758"/>
                      <a:pt x="47614" y="448164"/>
                    </a:cubicBezTo>
                    <a:cubicBezTo>
                      <a:pt x="34699" y="436734"/>
                      <a:pt x="24614" y="412612"/>
                      <a:pt x="42141" y="389780"/>
                    </a:cubicBezTo>
                    <a:cubicBezTo>
                      <a:pt x="51405" y="377583"/>
                      <a:pt x="64979" y="372657"/>
                      <a:pt x="76612" y="372989"/>
                    </a:cubicBezTo>
                    <a:cubicBezTo>
                      <a:pt x="78232" y="371886"/>
                      <a:pt x="119644" y="364521"/>
                      <a:pt x="75186" y="321823"/>
                    </a:cubicBezTo>
                    <a:cubicBezTo>
                      <a:pt x="58767" y="305402"/>
                      <a:pt x="23648" y="271235"/>
                      <a:pt x="0" y="248738"/>
                    </a:cubicBezTo>
                    <a:lnTo>
                      <a:pt x="77303" y="168146"/>
                    </a:lnTo>
                    <a:cubicBezTo>
                      <a:pt x="104269" y="140313"/>
                      <a:pt x="122130" y="156409"/>
                      <a:pt x="124388" y="175543"/>
                    </a:cubicBezTo>
                    <a:cubicBezTo>
                      <a:pt x="124457" y="182466"/>
                      <a:pt x="127106" y="193106"/>
                      <a:pt x="137575" y="203052"/>
                    </a:cubicBezTo>
                    <a:cubicBezTo>
                      <a:pt x="153931" y="220277"/>
                      <a:pt x="181252" y="217451"/>
                      <a:pt x="196721" y="201951"/>
                    </a:cubicBezTo>
                    <a:cubicBezTo>
                      <a:pt x="211961" y="185740"/>
                      <a:pt x="213057" y="157882"/>
                      <a:pt x="196146" y="142797"/>
                    </a:cubicBezTo>
                    <a:cubicBezTo>
                      <a:pt x="184301" y="132637"/>
                      <a:pt x="177155" y="131453"/>
                      <a:pt x="166513" y="129894"/>
                    </a:cubicBezTo>
                    <a:cubicBezTo>
                      <a:pt x="154522" y="129013"/>
                      <a:pt x="131185" y="112953"/>
                      <a:pt x="157905" y="85228"/>
                    </a:cubicBezTo>
                    <a:close/>
                  </a:path>
                </a:pathLst>
              </a:custGeom>
              <a:grpFill/>
              <a:ln>
                <a:solidFill>
                  <a:srgbClr val="21734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grpSp>
        <p:sp>
          <p:nvSpPr>
            <p:cNvPr id="69" name="Oval 47"/>
            <p:cNvSpPr/>
            <p:nvPr/>
          </p:nvSpPr>
          <p:spPr>
            <a:xfrm>
              <a:off x="388608" y="3710471"/>
              <a:ext cx="1119626" cy="1119626"/>
            </a:xfrm>
            <a:prstGeom prst="ellipse">
              <a:avLst/>
            </a:prstGeom>
            <a:solidFill>
              <a:srgbClr val="F2C812"/>
            </a:solidFill>
            <a:ln w="3175" cap="flat" cmpd="sng" algn="ctr">
              <a:noFill/>
              <a:prstDash val="solid"/>
            </a:ln>
            <a:effectLst/>
          </p:spPr>
          <p:txBody>
            <a:bodyPr vert="horz" wrap="none" lIns="0" tIns="45720" rIns="0" bIns="0" rtlCol="0" anchor="t"/>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Segoe UI"/>
                  <a:ea typeface="Segoe UI" pitchFamily="34" charset="0"/>
                  <a:cs typeface="Segoe UI" pitchFamily="34" charset="0"/>
                </a:rPr>
                <a:t>Report</a:t>
              </a:r>
            </a:p>
          </p:txBody>
        </p:sp>
        <p:sp>
          <p:nvSpPr>
            <p:cNvPr id="85" name="Oval 950"/>
            <p:cNvSpPr/>
            <p:nvPr/>
          </p:nvSpPr>
          <p:spPr>
            <a:xfrm>
              <a:off x="388608" y="1252295"/>
              <a:ext cx="1119626" cy="1119626"/>
            </a:xfrm>
            <a:prstGeom prst="ellipse">
              <a:avLst/>
            </a:prstGeom>
            <a:solidFill>
              <a:srgbClr val="F2C812"/>
            </a:solidFill>
            <a:ln w="3175" cap="flat" cmpd="sng" algn="ctr">
              <a:noFill/>
              <a:prstDash val="solid"/>
            </a:ln>
            <a:effectLst/>
          </p:spPr>
          <p:txBody>
            <a:bodyPr vert="horz" wrap="none" lIns="0" tIns="45720" rIns="0" bIns="0" rtlCol="0" anchor="t"/>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1" i="0" u="none" strike="noStrike" kern="1200" cap="none" spc="0" normalizeH="0" baseline="0" noProof="0">
                <a:ln>
                  <a:noFill/>
                </a:ln>
                <a:solidFill>
                  <a:srgbClr val="217346"/>
                </a:solidFill>
                <a:effectLst/>
                <a:uLnTx/>
                <a:uFillTx/>
                <a:latin typeface="Segoe UI"/>
                <a:ea typeface="Segoe UI" pitchFamily="34" charset="0"/>
                <a:cs typeface="Segoe UI" pitchFamily="34" charset="0"/>
              </a:endParaRPr>
            </a:p>
          </p:txBody>
        </p:sp>
        <p:grpSp>
          <p:nvGrpSpPr>
            <p:cNvPr id="86" name="Group 85"/>
            <p:cNvGrpSpPr/>
            <p:nvPr/>
          </p:nvGrpSpPr>
          <p:grpSpPr>
            <a:xfrm>
              <a:off x="1264851" y="3482890"/>
              <a:ext cx="292254" cy="354906"/>
              <a:chOff x="1296521" y="3253388"/>
              <a:chExt cx="292254" cy="354906"/>
            </a:xfrm>
            <a:solidFill>
              <a:srgbClr val="F2C812"/>
            </a:solidFill>
          </p:grpSpPr>
          <p:sp>
            <p:nvSpPr>
              <p:cNvPr id="87" name="Isosceles Triangle 86"/>
              <p:cNvSpPr/>
              <p:nvPr/>
            </p:nvSpPr>
            <p:spPr bwMode="auto">
              <a:xfrm rot="13636515">
                <a:off x="1461362" y="328936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8" name="Isosceles Triangle 87"/>
              <p:cNvSpPr/>
              <p:nvPr/>
            </p:nvSpPr>
            <p:spPr bwMode="auto">
              <a:xfrm rot="13636515">
                <a:off x="1357669" y="338258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9" name="Isosceles Triangle 88"/>
              <p:cNvSpPr/>
              <p:nvPr/>
            </p:nvSpPr>
            <p:spPr bwMode="auto">
              <a:xfrm rot="13636515">
                <a:off x="1260548" y="3480882"/>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90" name="Group 89"/>
            <p:cNvGrpSpPr/>
            <p:nvPr/>
          </p:nvGrpSpPr>
          <p:grpSpPr>
            <a:xfrm rot="15940603">
              <a:off x="1334576" y="2204404"/>
              <a:ext cx="292254" cy="354906"/>
              <a:chOff x="1296521" y="3253388"/>
              <a:chExt cx="292254" cy="354906"/>
            </a:xfrm>
            <a:solidFill>
              <a:srgbClr val="F2C812"/>
            </a:solidFill>
          </p:grpSpPr>
          <p:sp>
            <p:nvSpPr>
              <p:cNvPr id="91" name="Isosceles Triangle 90"/>
              <p:cNvSpPr/>
              <p:nvPr/>
            </p:nvSpPr>
            <p:spPr bwMode="auto">
              <a:xfrm rot="13636515">
                <a:off x="1461362" y="328936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2" name="Isosceles Triangle 91"/>
              <p:cNvSpPr/>
              <p:nvPr/>
            </p:nvSpPr>
            <p:spPr bwMode="auto">
              <a:xfrm rot="13636515">
                <a:off x="1357669" y="338258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3" name="Isosceles Triangle 92"/>
              <p:cNvSpPr/>
              <p:nvPr/>
            </p:nvSpPr>
            <p:spPr bwMode="auto">
              <a:xfrm rot="13636515">
                <a:off x="1260548" y="3480882"/>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94" name="Group 93"/>
            <p:cNvGrpSpPr/>
            <p:nvPr/>
          </p:nvGrpSpPr>
          <p:grpSpPr>
            <a:xfrm rot="16043978">
              <a:off x="1317220" y="4717577"/>
              <a:ext cx="292254" cy="354906"/>
              <a:chOff x="1296521" y="3253388"/>
              <a:chExt cx="292254" cy="354906"/>
            </a:xfrm>
            <a:solidFill>
              <a:srgbClr val="F2C812"/>
            </a:solidFill>
          </p:grpSpPr>
          <p:sp>
            <p:nvSpPr>
              <p:cNvPr id="95" name="Isosceles Triangle 94"/>
              <p:cNvSpPr/>
              <p:nvPr/>
            </p:nvSpPr>
            <p:spPr bwMode="auto">
              <a:xfrm rot="13636515">
                <a:off x="1461362" y="328936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6" name="Isosceles Triangle 95"/>
              <p:cNvSpPr/>
              <p:nvPr/>
            </p:nvSpPr>
            <p:spPr bwMode="auto">
              <a:xfrm rot="13636515">
                <a:off x="1357669" y="338258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7" name="Isosceles Triangle 96"/>
              <p:cNvSpPr/>
              <p:nvPr/>
            </p:nvSpPr>
            <p:spPr bwMode="auto">
              <a:xfrm rot="13636515">
                <a:off x="1260548" y="3480882"/>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98" name="Oval 36"/>
            <p:cNvSpPr/>
            <p:nvPr/>
          </p:nvSpPr>
          <p:spPr>
            <a:xfrm>
              <a:off x="1413521" y="2481383"/>
              <a:ext cx="1119626" cy="1119626"/>
            </a:xfrm>
            <a:prstGeom prst="ellipse">
              <a:avLst/>
            </a:prstGeom>
            <a:solidFill>
              <a:srgbClr val="F2C812"/>
            </a:solidFill>
            <a:ln w="3175" cap="flat" cmpd="sng" algn="ctr">
              <a:noFill/>
              <a:prstDash val="solid"/>
            </a:ln>
            <a:effectLst/>
          </p:spPr>
          <p:txBody>
            <a:bodyPr vert="horz" wrap="none" lIns="0" tIns="0" rIns="0" bIns="0" rtlCol="0" anchor="t"/>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400" b="1" i="0" u="none" strike="noStrike" kern="1200" cap="none" spc="0" normalizeH="0" baseline="0" noProof="0">
                <a:ln>
                  <a:noFill/>
                </a:ln>
                <a:solidFill>
                  <a:srgbClr val="217346"/>
                </a:solidFill>
                <a:effectLst/>
                <a:uLnTx/>
                <a:uFillTx/>
                <a:latin typeface="Segoe UI"/>
                <a:ea typeface="Segoe UI" pitchFamily="34" charset="0"/>
                <a:cs typeface="Segoe UI" pitchFamily="34" charset="0"/>
              </a:endParaRPr>
            </a:p>
          </p:txBody>
        </p:sp>
        <p:sp>
          <p:nvSpPr>
            <p:cNvPr id="99" name="Donut 3"/>
            <p:cNvSpPr/>
            <p:nvPr/>
          </p:nvSpPr>
          <p:spPr bwMode="auto">
            <a:xfrm>
              <a:off x="1742065" y="3002355"/>
              <a:ext cx="383905" cy="351537"/>
            </a:xfrm>
            <a:custGeom>
              <a:avLst/>
              <a:gdLst/>
              <a:ahLst/>
              <a:cxnLst/>
              <a:rect l="l" t="t" r="r" b="b"/>
              <a:pathLst>
                <a:path w="1409956" h="1291077">
                  <a:moveTo>
                    <a:pt x="956401" y="78410"/>
                  </a:moveTo>
                  <a:cubicBezTo>
                    <a:pt x="747518" y="78410"/>
                    <a:pt x="578184" y="247744"/>
                    <a:pt x="578184" y="456627"/>
                  </a:cubicBezTo>
                  <a:cubicBezTo>
                    <a:pt x="578184" y="665510"/>
                    <a:pt x="747518" y="834844"/>
                    <a:pt x="956401" y="834844"/>
                  </a:cubicBezTo>
                  <a:cubicBezTo>
                    <a:pt x="1165284" y="834844"/>
                    <a:pt x="1334618" y="665510"/>
                    <a:pt x="1334618" y="456627"/>
                  </a:cubicBezTo>
                  <a:cubicBezTo>
                    <a:pt x="1334618" y="247744"/>
                    <a:pt x="1165284" y="78410"/>
                    <a:pt x="956401" y="78410"/>
                  </a:cubicBezTo>
                  <a:close/>
                  <a:moveTo>
                    <a:pt x="952756" y="0"/>
                  </a:moveTo>
                  <a:cubicBezTo>
                    <a:pt x="1205261" y="0"/>
                    <a:pt x="1409956" y="204695"/>
                    <a:pt x="1409956" y="457200"/>
                  </a:cubicBezTo>
                  <a:cubicBezTo>
                    <a:pt x="1409956" y="709705"/>
                    <a:pt x="1205261" y="914400"/>
                    <a:pt x="952756" y="914400"/>
                  </a:cubicBezTo>
                  <a:cubicBezTo>
                    <a:pt x="862133" y="914400"/>
                    <a:pt x="777669" y="888034"/>
                    <a:pt x="707132" y="841746"/>
                  </a:cubicBezTo>
                  <a:lnTo>
                    <a:pt x="136495" y="1280102"/>
                  </a:lnTo>
                  <a:cubicBezTo>
                    <a:pt x="21896" y="1327168"/>
                    <a:pt x="-44029" y="1213730"/>
                    <a:pt x="33797" y="1113182"/>
                  </a:cubicBezTo>
                  <a:lnTo>
                    <a:pt x="568587" y="703518"/>
                  </a:lnTo>
                  <a:cubicBezTo>
                    <a:pt x="522087" y="632814"/>
                    <a:pt x="495556" y="548105"/>
                    <a:pt x="495556" y="457200"/>
                  </a:cubicBezTo>
                  <a:cubicBezTo>
                    <a:pt x="495556" y="204695"/>
                    <a:pt x="700251" y="0"/>
                    <a:pt x="952756" y="0"/>
                  </a:cubicBezTo>
                  <a:close/>
                </a:path>
              </a:pathLst>
            </a:cu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ysClr val="windowText" lastClr="000000"/>
                </a:solidFill>
                <a:effectLst/>
                <a:uLnTx/>
                <a:uFillTx/>
                <a:latin typeface="Segoe UI"/>
                <a:ea typeface="+mn-ea"/>
                <a:cs typeface="+mn-cs"/>
              </a:endParaRPr>
            </a:p>
          </p:txBody>
        </p:sp>
        <p:sp>
          <p:nvSpPr>
            <p:cNvPr id="100" name="Rectangle 99"/>
            <p:cNvSpPr/>
            <p:nvPr/>
          </p:nvSpPr>
          <p:spPr>
            <a:xfrm>
              <a:off x="1600398" y="2677430"/>
              <a:ext cx="820353" cy="307777"/>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Segoe UI"/>
                  <a:ea typeface="Segoe UI" pitchFamily="34" charset="0"/>
                  <a:cs typeface="Segoe UI" pitchFamily="34" charset="0"/>
                </a:rPr>
                <a:t>Explore</a:t>
              </a:r>
              <a:endParaRPr kumimoji="0" lang="en-US" sz="1600" b="0" i="0" u="none" strike="noStrike" kern="1200" cap="none" spc="0" normalizeH="0" baseline="0" noProof="0">
                <a:ln>
                  <a:noFill/>
                </a:ln>
                <a:solidFill>
                  <a:prstClr val="black"/>
                </a:solidFill>
                <a:effectLst/>
                <a:uLnTx/>
                <a:uFillTx/>
                <a:latin typeface="Segoe UI"/>
                <a:ea typeface="+mn-ea"/>
                <a:cs typeface="+mn-cs"/>
              </a:endParaRPr>
            </a:p>
          </p:txBody>
        </p:sp>
        <p:sp>
          <p:nvSpPr>
            <p:cNvPr id="101" name="Rectangle 100"/>
            <p:cNvSpPr/>
            <p:nvPr/>
          </p:nvSpPr>
          <p:spPr>
            <a:xfrm>
              <a:off x="509174" y="1475232"/>
              <a:ext cx="838756" cy="307777"/>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Segoe UI"/>
                  <a:ea typeface="Segoe UI" pitchFamily="34" charset="0"/>
                  <a:cs typeface="Segoe UI" pitchFamily="34" charset="0"/>
                </a:rPr>
                <a:t>Prepare</a:t>
              </a:r>
              <a:endParaRPr kumimoji="0" lang="en-US" sz="1400" b="0" i="0" u="none" strike="noStrike" kern="1200" cap="none" spc="0" normalizeH="0" baseline="0" noProof="0">
                <a:ln>
                  <a:noFill/>
                </a:ln>
                <a:solidFill>
                  <a:prstClr val="black"/>
                </a:solidFill>
                <a:effectLst/>
                <a:uLnTx/>
                <a:uFillTx/>
                <a:latin typeface="Segoe UI"/>
                <a:ea typeface="+mn-ea"/>
                <a:cs typeface="+mn-cs"/>
              </a:endParaRPr>
            </a:p>
          </p:txBody>
        </p:sp>
        <p:sp>
          <p:nvSpPr>
            <p:cNvPr id="102" name="Freeform 101"/>
            <p:cNvSpPr>
              <a:spLocks noChangeAspect="1"/>
            </p:cNvSpPr>
            <p:nvPr/>
          </p:nvSpPr>
          <p:spPr bwMode="black">
            <a:xfrm>
              <a:off x="1836174" y="5643069"/>
              <a:ext cx="274320" cy="284173"/>
            </a:xfrm>
            <a:custGeom>
              <a:avLst/>
              <a:gdLst>
                <a:gd name="T0" fmla="*/ 539 w 669"/>
                <a:gd name="T1" fmla="*/ 5 h 693"/>
                <a:gd name="T2" fmla="*/ 640 w 669"/>
                <a:gd name="T3" fmla="*/ 55 h 693"/>
                <a:gd name="T4" fmla="*/ 603 w 669"/>
                <a:gd name="T5" fmla="*/ 195 h 693"/>
                <a:gd name="T6" fmla="*/ 490 w 669"/>
                <a:gd name="T7" fmla="*/ 188 h 693"/>
                <a:gd name="T8" fmla="*/ 479 w 669"/>
                <a:gd name="T9" fmla="*/ 176 h 693"/>
                <a:gd name="T10" fmla="*/ 213 w 669"/>
                <a:gd name="T11" fmla="*/ 330 h 693"/>
                <a:gd name="T12" fmla="*/ 218 w 669"/>
                <a:gd name="T13" fmla="*/ 345 h 693"/>
                <a:gd name="T14" fmla="*/ 218 w 669"/>
                <a:gd name="T15" fmla="*/ 375 h 693"/>
                <a:gd name="T16" fmla="*/ 209 w 669"/>
                <a:gd name="T17" fmla="*/ 402 h 693"/>
                <a:gd name="T18" fmla="*/ 369 w 669"/>
                <a:gd name="T19" fmla="*/ 503 h 693"/>
                <a:gd name="T20" fmla="*/ 373 w 669"/>
                <a:gd name="T21" fmla="*/ 498 h 693"/>
                <a:gd name="T22" fmla="*/ 456 w 669"/>
                <a:gd name="T23" fmla="*/ 475 h 693"/>
                <a:gd name="T24" fmla="*/ 494 w 669"/>
                <a:gd name="T25" fmla="*/ 489 h 693"/>
                <a:gd name="T26" fmla="*/ 527 w 669"/>
                <a:gd name="T27" fmla="*/ 630 h 693"/>
                <a:gd name="T28" fmla="*/ 386 w 669"/>
                <a:gd name="T29" fmla="*/ 663 h 693"/>
                <a:gd name="T30" fmla="*/ 339 w 669"/>
                <a:gd name="T31" fmla="*/ 560 h 693"/>
                <a:gd name="T32" fmla="*/ 345 w 669"/>
                <a:gd name="T33" fmla="*/ 544 h 693"/>
                <a:gd name="T34" fmla="*/ 177 w 669"/>
                <a:gd name="T35" fmla="*/ 439 h 693"/>
                <a:gd name="T36" fmla="*/ 168 w 669"/>
                <a:gd name="T37" fmla="*/ 446 h 693"/>
                <a:gd name="T38" fmla="*/ 28 w 669"/>
                <a:gd name="T39" fmla="*/ 409 h 693"/>
                <a:gd name="T40" fmla="*/ 65 w 669"/>
                <a:gd name="T41" fmla="*/ 269 h 693"/>
                <a:gd name="T42" fmla="*/ 178 w 669"/>
                <a:gd name="T43" fmla="*/ 276 h 693"/>
                <a:gd name="T44" fmla="*/ 189 w 669"/>
                <a:gd name="T45" fmla="*/ 288 h 693"/>
                <a:gd name="T46" fmla="*/ 455 w 669"/>
                <a:gd name="T47" fmla="*/ 134 h 693"/>
                <a:gd name="T48" fmla="*/ 450 w 669"/>
                <a:gd name="T49" fmla="*/ 119 h 693"/>
                <a:gd name="T50" fmla="*/ 501 w 669"/>
                <a:gd name="T51" fmla="*/ 18 h 693"/>
                <a:gd name="T52" fmla="*/ 539 w 669"/>
                <a:gd name="T53" fmla="*/ 5 h 6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69" h="693">
                  <a:moveTo>
                    <a:pt x="539" y="5"/>
                  </a:moveTo>
                  <a:cubicBezTo>
                    <a:pt x="579" y="0"/>
                    <a:pt x="619" y="19"/>
                    <a:pt x="640" y="55"/>
                  </a:cubicBezTo>
                  <a:cubicBezTo>
                    <a:pt x="669" y="104"/>
                    <a:pt x="652" y="167"/>
                    <a:pt x="603" y="195"/>
                  </a:cubicBezTo>
                  <a:cubicBezTo>
                    <a:pt x="566" y="216"/>
                    <a:pt x="522" y="212"/>
                    <a:pt x="490" y="188"/>
                  </a:cubicBezTo>
                  <a:cubicBezTo>
                    <a:pt x="479" y="176"/>
                    <a:pt x="479" y="176"/>
                    <a:pt x="479" y="176"/>
                  </a:cubicBezTo>
                  <a:cubicBezTo>
                    <a:pt x="213" y="330"/>
                    <a:pt x="213" y="330"/>
                    <a:pt x="213" y="330"/>
                  </a:cubicBezTo>
                  <a:cubicBezTo>
                    <a:pt x="218" y="345"/>
                    <a:pt x="218" y="345"/>
                    <a:pt x="218" y="345"/>
                  </a:cubicBezTo>
                  <a:cubicBezTo>
                    <a:pt x="219" y="355"/>
                    <a:pt x="219" y="365"/>
                    <a:pt x="218" y="375"/>
                  </a:cubicBezTo>
                  <a:cubicBezTo>
                    <a:pt x="209" y="402"/>
                    <a:pt x="209" y="402"/>
                    <a:pt x="209" y="402"/>
                  </a:cubicBezTo>
                  <a:cubicBezTo>
                    <a:pt x="369" y="503"/>
                    <a:pt x="369" y="503"/>
                    <a:pt x="369" y="503"/>
                  </a:cubicBezTo>
                  <a:cubicBezTo>
                    <a:pt x="373" y="498"/>
                    <a:pt x="373" y="498"/>
                    <a:pt x="373" y="498"/>
                  </a:cubicBezTo>
                  <a:cubicBezTo>
                    <a:pt x="396" y="479"/>
                    <a:pt x="427" y="470"/>
                    <a:pt x="456" y="475"/>
                  </a:cubicBezTo>
                  <a:cubicBezTo>
                    <a:pt x="470" y="477"/>
                    <a:pt x="482" y="482"/>
                    <a:pt x="494" y="489"/>
                  </a:cubicBezTo>
                  <a:cubicBezTo>
                    <a:pt x="542" y="519"/>
                    <a:pt x="557" y="583"/>
                    <a:pt x="527" y="630"/>
                  </a:cubicBezTo>
                  <a:cubicBezTo>
                    <a:pt x="497" y="678"/>
                    <a:pt x="433" y="693"/>
                    <a:pt x="386" y="663"/>
                  </a:cubicBezTo>
                  <a:cubicBezTo>
                    <a:pt x="350" y="640"/>
                    <a:pt x="333" y="599"/>
                    <a:pt x="339" y="560"/>
                  </a:cubicBezTo>
                  <a:cubicBezTo>
                    <a:pt x="345" y="544"/>
                    <a:pt x="345" y="544"/>
                    <a:pt x="345" y="544"/>
                  </a:cubicBezTo>
                  <a:cubicBezTo>
                    <a:pt x="177" y="439"/>
                    <a:pt x="177" y="439"/>
                    <a:pt x="177" y="439"/>
                  </a:cubicBezTo>
                  <a:cubicBezTo>
                    <a:pt x="168" y="446"/>
                    <a:pt x="168" y="446"/>
                    <a:pt x="168" y="446"/>
                  </a:cubicBezTo>
                  <a:cubicBezTo>
                    <a:pt x="119" y="475"/>
                    <a:pt x="56" y="458"/>
                    <a:pt x="28" y="409"/>
                  </a:cubicBezTo>
                  <a:cubicBezTo>
                    <a:pt x="0" y="360"/>
                    <a:pt x="16" y="297"/>
                    <a:pt x="65" y="269"/>
                  </a:cubicBezTo>
                  <a:cubicBezTo>
                    <a:pt x="102" y="248"/>
                    <a:pt x="147" y="252"/>
                    <a:pt x="178" y="276"/>
                  </a:cubicBezTo>
                  <a:cubicBezTo>
                    <a:pt x="189" y="288"/>
                    <a:pt x="189" y="288"/>
                    <a:pt x="189" y="288"/>
                  </a:cubicBezTo>
                  <a:cubicBezTo>
                    <a:pt x="455" y="134"/>
                    <a:pt x="455" y="134"/>
                    <a:pt x="455" y="134"/>
                  </a:cubicBezTo>
                  <a:cubicBezTo>
                    <a:pt x="450" y="119"/>
                    <a:pt x="450" y="119"/>
                    <a:pt x="450" y="119"/>
                  </a:cubicBezTo>
                  <a:cubicBezTo>
                    <a:pt x="445" y="80"/>
                    <a:pt x="464" y="39"/>
                    <a:pt x="501" y="18"/>
                  </a:cubicBezTo>
                  <a:cubicBezTo>
                    <a:pt x="513" y="11"/>
                    <a:pt x="526" y="6"/>
                    <a:pt x="539" y="5"/>
                  </a:cubicBezTo>
                  <a:close/>
                </a:path>
              </a:pathLst>
            </a:custGeom>
            <a:solidFill>
              <a:schemeClr val="tx1"/>
            </a:solidFill>
            <a:ln>
              <a:noFill/>
            </a:ln>
          </p:spPr>
          <p:txBody>
            <a:bodyPr vert="horz" wrap="square" lIns="68574" tIns="34287" rIns="68574" bIns="34287"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Segoe UI"/>
                <a:ea typeface="+mn-ea"/>
                <a:cs typeface="+mn-cs"/>
              </a:endParaRPr>
            </a:p>
          </p:txBody>
        </p:sp>
        <p:sp>
          <p:nvSpPr>
            <p:cNvPr id="103" name="Freeform 102"/>
            <p:cNvSpPr>
              <a:spLocks noChangeAspect="1" noEditPoints="1"/>
            </p:cNvSpPr>
            <p:nvPr/>
          </p:nvSpPr>
          <p:spPr bwMode="black">
            <a:xfrm>
              <a:off x="722320" y="1783009"/>
              <a:ext cx="452202" cy="366660"/>
            </a:xfrm>
            <a:custGeom>
              <a:avLst/>
              <a:gdLst>
                <a:gd name="T0" fmla="*/ 600 w 1107"/>
                <a:gd name="T1" fmla="*/ 625 h 897"/>
                <a:gd name="T2" fmla="*/ 649 w 1107"/>
                <a:gd name="T3" fmla="*/ 567 h 897"/>
                <a:gd name="T4" fmla="*/ 727 w 1107"/>
                <a:gd name="T5" fmla="*/ 482 h 897"/>
                <a:gd name="T6" fmla="*/ 601 w 1107"/>
                <a:gd name="T7" fmla="*/ 434 h 897"/>
                <a:gd name="T8" fmla="*/ 628 w 1107"/>
                <a:gd name="T9" fmla="*/ 305 h 897"/>
                <a:gd name="T10" fmla="*/ 547 w 1107"/>
                <a:gd name="T11" fmla="*/ 240 h 897"/>
                <a:gd name="T12" fmla="*/ 427 w 1107"/>
                <a:gd name="T13" fmla="*/ 287 h 897"/>
                <a:gd name="T14" fmla="*/ 368 w 1107"/>
                <a:gd name="T15" fmla="*/ 170 h 897"/>
                <a:gd name="T16" fmla="*/ 285 w 1107"/>
                <a:gd name="T17" fmla="*/ 263 h 897"/>
                <a:gd name="T18" fmla="*/ 241 w 1107"/>
                <a:gd name="T19" fmla="*/ 313 h 897"/>
                <a:gd name="T20" fmla="*/ 139 w 1107"/>
                <a:gd name="T21" fmla="*/ 281 h 897"/>
                <a:gd name="T22" fmla="*/ 79 w 1107"/>
                <a:gd name="T23" fmla="*/ 355 h 897"/>
                <a:gd name="T24" fmla="*/ 132 w 1107"/>
                <a:gd name="T25" fmla="*/ 446 h 897"/>
                <a:gd name="T26" fmla="*/ 83 w 1107"/>
                <a:gd name="T27" fmla="*/ 505 h 897"/>
                <a:gd name="T28" fmla="*/ 5 w 1107"/>
                <a:gd name="T29" fmla="*/ 590 h 897"/>
                <a:gd name="T30" fmla="*/ 132 w 1107"/>
                <a:gd name="T31" fmla="*/ 638 h 897"/>
                <a:gd name="T32" fmla="*/ 145 w 1107"/>
                <a:gd name="T33" fmla="*/ 669 h 897"/>
                <a:gd name="T34" fmla="*/ 110 w 1107"/>
                <a:gd name="T35" fmla="*/ 793 h 897"/>
                <a:gd name="T36" fmla="*/ 230 w 1107"/>
                <a:gd name="T37" fmla="*/ 781 h 897"/>
                <a:gd name="T38" fmla="*/ 306 w 1107"/>
                <a:gd name="T39" fmla="*/ 785 h 897"/>
                <a:gd name="T40" fmla="*/ 346 w 1107"/>
                <a:gd name="T41" fmla="*/ 878 h 897"/>
                <a:gd name="T42" fmla="*/ 440 w 1107"/>
                <a:gd name="T43" fmla="*/ 872 h 897"/>
                <a:gd name="T44" fmla="*/ 466 w 1107"/>
                <a:gd name="T45" fmla="*/ 764 h 897"/>
                <a:gd name="T46" fmla="*/ 539 w 1107"/>
                <a:gd name="T47" fmla="*/ 755 h 897"/>
                <a:gd name="T48" fmla="*/ 659 w 1107"/>
                <a:gd name="T49" fmla="*/ 743 h 897"/>
                <a:gd name="T50" fmla="*/ 263 w 1107"/>
                <a:gd name="T51" fmla="*/ 452 h 897"/>
                <a:gd name="T52" fmla="*/ 281 w 1107"/>
                <a:gd name="T53" fmla="*/ 633 h 897"/>
                <a:gd name="T54" fmla="*/ 1002 w 1107"/>
                <a:gd name="T55" fmla="*/ 332 h 897"/>
                <a:gd name="T56" fmla="*/ 1043 w 1107"/>
                <a:gd name="T57" fmla="*/ 304 h 897"/>
                <a:gd name="T58" fmla="*/ 1107 w 1107"/>
                <a:gd name="T59" fmla="*/ 266 h 897"/>
                <a:gd name="T60" fmla="*/ 1037 w 1107"/>
                <a:gd name="T61" fmla="*/ 213 h 897"/>
                <a:gd name="T62" fmla="*/ 1077 w 1107"/>
                <a:gd name="T63" fmla="*/ 138 h 897"/>
                <a:gd name="T64" fmla="*/ 1038 w 1107"/>
                <a:gd name="T65" fmla="*/ 83 h 897"/>
                <a:gd name="T66" fmla="*/ 956 w 1107"/>
                <a:gd name="T67" fmla="*/ 91 h 897"/>
                <a:gd name="T68" fmla="*/ 940 w 1107"/>
                <a:gd name="T69" fmla="*/ 7 h 897"/>
                <a:gd name="T70" fmla="*/ 872 w 1107"/>
                <a:gd name="T71" fmla="*/ 50 h 897"/>
                <a:gd name="T72" fmla="*/ 836 w 1107"/>
                <a:gd name="T73" fmla="*/ 74 h 897"/>
                <a:gd name="T74" fmla="*/ 778 w 1107"/>
                <a:gd name="T75" fmla="*/ 35 h 897"/>
                <a:gd name="T76" fmla="*/ 728 w 1107"/>
                <a:gd name="T77" fmla="*/ 70 h 897"/>
                <a:gd name="T78" fmla="*/ 744 w 1107"/>
                <a:gd name="T79" fmla="*/ 136 h 897"/>
                <a:gd name="T80" fmla="*/ 703 w 1107"/>
                <a:gd name="T81" fmla="*/ 164 h 897"/>
                <a:gd name="T82" fmla="*/ 640 w 1107"/>
                <a:gd name="T83" fmla="*/ 203 h 897"/>
                <a:gd name="T84" fmla="*/ 710 w 1107"/>
                <a:gd name="T85" fmla="*/ 255 h 897"/>
                <a:gd name="T86" fmla="*/ 712 w 1107"/>
                <a:gd name="T87" fmla="*/ 277 h 897"/>
                <a:gd name="T88" fmla="*/ 668 w 1107"/>
                <a:gd name="T89" fmla="*/ 347 h 897"/>
                <a:gd name="T90" fmla="*/ 745 w 1107"/>
                <a:gd name="T91" fmla="*/ 361 h 897"/>
                <a:gd name="T92" fmla="*/ 791 w 1107"/>
                <a:gd name="T93" fmla="*/ 377 h 897"/>
                <a:gd name="T94" fmla="*/ 799 w 1107"/>
                <a:gd name="T95" fmla="*/ 443 h 897"/>
                <a:gd name="T96" fmla="*/ 859 w 1107"/>
                <a:gd name="T97" fmla="*/ 456 h 897"/>
                <a:gd name="T98" fmla="*/ 894 w 1107"/>
                <a:gd name="T99" fmla="*/ 393 h 897"/>
                <a:gd name="T100" fmla="*/ 941 w 1107"/>
                <a:gd name="T101" fmla="*/ 401 h 897"/>
                <a:gd name="T102" fmla="*/ 1018 w 1107"/>
                <a:gd name="T103" fmla="*/ 415 h 897"/>
                <a:gd name="T104" fmla="*/ 825 w 1107"/>
                <a:gd name="T105" fmla="*/ 164 h 897"/>
                <a:gd name="T106" fmla="*/ 803 w 1107"/>
                <a:gd name="T107" fmla="*/ 279 h 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107" h="897">
                  <a:moveTo>
                    <a:pt x="654" y="716"/>
                  </a:moveTo>
                  <a:cubicBezTo>
                    <a:pt x="616" y="670"/>
                    <a:pt x="616" y="670"/>
                    <a:pt x="616" y="670"/>
                  </a:cubicBezTo>
                  <a:cubicBezTo>
                    <a:pt x="593" y="654"/>
                    <a:pt x="603" y="638"/>
                    <a:pt x="600" y="625"/>
                  </a:cubicBezTo>
                  <a:cubicBezTo>
                    <a:pt x="600" y="625"/>
                    <a:pt x="600" y="625"/>
                    <a:pt x="600" y="625"/>
                  </a:cubicBezTo>
                  <a:cubicBezTo>
                    <a:pt x="605" y="617"/>
                    <a:pt x="611" y="609"/>
                    <a:pt x="608" y="596"/>
                  </a:cubicBezTo>
                  <a:cubicBezTo>
                    <a:pt x="618" y="580"/>
                    <a:pt x="623" y="572"/>
                    <a:pt x="649" y="567"/>
                  </a:cubicBezTo>
                  <a:cubicBezTo>
                    <a:pt x="715" y="553"/>
                    <a:pt x="715" y="553"/>
                    <a:pt x="715" y="553"/>
                  </a:cubicBezTo>
                  <a:cubicBezTo>
                    <a:pt x="728" y="550"/>
                    <a:pt x="733" y="542"/>
                    <a:pt x="730" y="529"/>
                  </a:cubicBezTo>
                  <a:cubicBezTo>
                    <a:pt x="727" y="482"/>
                    <a:pt x="727" y="482"/>
                    <a:pt x="727" y="482"/>
                  </a:cubicBezTo>
                  <a:cubicBezTo>
                    <a:pt x="724" y="469"/>
                    <a:pt x="717" y="463"/>
                    <a:pt x="701" y="453"/>
                  </a:cubicBezTo>
                  <a:cubicBezTo>
                    <a:pt x="641" y="459"/>
                    <a:pt x="641" y="459"/>
                    <a:pt x="641" y="459"/>
                  </a:cubicBezTo>
                  <a:cubicBezTo>
                    <a:pt x="620" y="457"/>
                    <a:pt x="604" y="447"/>
                    <a:pt x="601" y="434"/>
                  </a:cubicBezTo>
                  <a:cubicBezTo>
                    <a:pt x="598" y="421"/>
                    <a:pt x="590" y="416"/>
                    <a:pt x="580" y="397"/>
                  </a:cubicBezTo>
                  <a:cubicBezTo>
                    <a:pt x="577" y="384"/>
                    <a:pt x="574" y="371"/>
                    <a:pt x="584" y="355"/>
                  </a:cubicBezTo>
                  <a:cubicBezTo>
                    <a:pt x="628" y="305"/>
                    <a:pt x="628" y="305"/>
                    <a:pt x="628" y="305"/>
                  </a:cubicBezTo>
                  <a:cubicBezTo>
                    <a:pt x="634" y="297"/>
                    <a:pt x="631" y="284"/>
                    <a:pt x="623" y="279"/>
                  </a:cubicBezTo>
                  <a:cubicBezTo>
                    <a:pt x="581" y="240"/>
                    <a:pt x="581" y="240"/>
                    <a:pt x="581" y="240"/>
                  </a:cubicBezTo>
                  <a:cubicBezTo>
                    <a:pt x="573" y="235"/>
                    <a:pt x="560" y="238"/>
                    <a:pt x="547" y="240"/>
                  </a:cubicBezTo>
                  <a:cubicBezTo>
                    <a:pt x="503" y="291"/>
                    <a:pt x="503" y="291"/>
                    <a:pt x="503" y="291"/>
                  </a:cubicBezTo>
                  <a:cubicBezTo>
                    <a:pt x="484" y="302"/>
                    <a:pt x="471" y="304"/>
                    <a:pt x="463" y="299"/>
                  </a:cubicBezTo>
                  <a:cubicBezTo>
                    <a:pt x="456" y="294"/>
                    <a:pt x="435" y="292"/>
                    <a:pt x="427" y="287"/>
                  </a:cubicBezTo>
                  <a:cubicBezTo>
                    <a:pt x="419" y="282"/>
                    <a:pt x="403" y="271"/>
                    <a:pt x="400" y="258"/>
                  </a:cubicBezTo>
                  <a:cubicBezTo>
                    <a:pt x="386" y="193"/>
                    <a:pt x="386" y="193"/>
                    <a:pt x="386" y="193"/>
                  </a:cubicBezTo>
                  <a:cubicBezTo>
                    <a:pt x="384" y="180"/>
                    <a:pt x="368" y="170"/>
                    <a:pt x="368" y="170"/>
                  </a:cubicBezTo>
                  <a:cubicBezTo>
                    <a:pt x="308" y="176"/>
                    <a:pt x="308" y="176"/>
                    <a:pt x="308" y="176"/>
                  </a:cubicBezTo>
                  <a:cubicBezTo>
                    <a:pt x="308" y="176"/>
                    <a:pt x="289" y="187"/>
                    <a:pt x="292" y="200"/>
                  </a:cubicBezTo>
                  <a:cubicBezTo>
                    <a:pt x="285" y="263"/>
                    <a:pt x="285" y="263"/>
                    <a:pt x="285" y="263"/>
                  </a:cubicBezTo>
                  <a:cubicBezTo>
                    <a:pt x="291" y="289"/>
                    <a:pt x="277" y="292"/>
                    <a:pt x="272" y="300"/>
                  </a:cubicBezTo>
                  <a:cubicBezTo>
                    <a:pt x="272" y="300"/>
                    <a:pt x="272" y="300"/>
                    <a:pt x="267" y="308"/>
                  </a:cubicBezTo>
                  <a:cubicBezTo>
                    <a:pt x="259" y="302"/>
                    <a:pt x="246" y="305"/>
                    <a:pt x="241" y="313"/>
                  </a:cubicBezTo>
                  <a:cubicBezTo>
                    <a:pt x="236" y="321"/>
                    <a:pt x="236" y="321"/>
                    <a:pt x="236" y="321"/>
                  </a:cubicBezTo>
                  <a:cubicBezTo>
                    <a:pt x="223" y="324"/>
                    <a:pt x="210" y="327"/>
                    <a:pt x="194" y="317"/>
                  </a:cubicBezTo>
                  <a:cubicBezTo>
                    <a:pt x="139" y="281"/>
                    <a:pt x="139" y="281"/>
                    <a:pt x="139" y="281"/>
                  </a:cubicBezTo>
                  <a:cubicBezTo>
                    <a:pt x="131" y="276"/>
                    <a:pt x="110" y="273"/>
                    <a:pt x="104" y="281"/>
                  </a:cubicBezTo>
                  <a:cubicBezTo>
                    <a:pt x="79" y="321"/>
                    <a:pt x="79" y="321"/>
                    <a:pt x="79" y="321"/>
                  </a:cubicBezTo>
                  <a:cubicBezTo>
                    <a:pt x="66" y="324"/>
                    <a:pt x="68" y="337"/>
                    <a:pt x="79" y="355"/>
                  </a:cubicBezTo>
                  <a:cubicBezTo>
                    <a:pt x="121" y="394"/>
                    <a:pt x="121" y="394"/>
                    <a:pt x="121" y="394"/>
                  </a:cubicBezTo>
                  <a:cubicBezTo>
                    <a:pt x="140" y="417"/>
                    <a:pt x="135" y="425"/>
                    <a:pt x="132" y="446"/>
                  </a:cubicBezTo>
                  <a:cubicBezTo>
                    <a:pt x="132" y="446"/>
                    <a:pt x="132" y="446"/>
                    <a:pt x="132" y="446"/>
                  </a:cubicBezTo>
                  <a:cubicBezTo>
                    <a:pt x="127" y="454"/>
                    <a:pt x="122" y="462"/>
                    <a:pt x="117" y="470"/>
                  </a:cubicBezTo>
                  <a:cubicBezTo>
                    <a:pt x="117" y="470"/>
                    <a:pt x="117" y="470"/>
                    <a:pt x="117" y="470"/>
                  </a:cubicBezTo>
                  <a:cubicBezTo>
                    <a:pt x="120" y="483"/>
                    <a:pt x="109" y="499"/>
                    <a:pt x="83" y="505"/>
                  </a:cubicBezTo>
                  <a:cubicBezTo>
                    <a:pt x="23" y="511"/>
                    <a:pt x="23" y="511"/>
                    <a:pt x="23" y="511"/>
                  </a:cubicBezTo>
                  <a:cubicBezTo>
                    <a:pt x="10" y="514"/>
                    <a:pt x="0" y="529"/>
                    <a:pt x="2" y="543"/>
                  </a:cubicBezTo>
                  <a:cubicBezTo>
                    <a:pt x="5" y="590"/>
                    <a:pt x="5" y="590"/>
                    <a:pt x="5" y="590"/>
                  </a:cubicBezTo>
                  <a:cubicBezTo>
                    <a:pt x="8" y="603"/>
                    <a:pt x="16" y="608"/>
                    <a:pt x="37" y="610"/>
                  </a:cubicBezTo>
                  <a:cubicBezTo>
                    <a:pt x="92" y="612"/>
                    <a:pt x="92" y="612"/>
                    <a:pt x="92" y="612"/>
                  </a:cubicBezTo>
                  <a:cubicBezTo>
                    <a:pt x="113" y="614"/>
                    <a:pt x="129" y="625"/>
                    <a:pt x="132" y="638"/>
                  </a:cubicBezTo>
                  <a:cubicBezTo>
                    <a:pt x="132" y="638"/>
                    <a:pt x="132" y="638"/>
                    <a:pt x="132" y="638"/>
                  </a:cubicBezTo>
                  <a:cubicBezTo>
                    <a:pt x="140" y="643"/>
                    <a:pt x="142" y="656"/>
                    <a:pt x="150" y="661"/>
                  </a:cubicBezTo>
                  <a:cubicBezTo>
                    <a:pt x="145" y="669"/>
                    <a:pt x="145" y="669"/>
                    <a:pt x="145" y="669"/>
                  </a:cubicBezTo>
                  <a:cubicBezTo>
                    <a:pt x="153" y="674"/>
                    <a:pt x="156" y="687"/>
                    <a:pt x="140" y="711"/>
                  </a:cubicBezTo>
                  <a:cubicBezTo>
                    <a:pt x="109" y="759"/>
                    <a:pt x="109" y="759"/>
                    <a:pt x="109" y="759"/>
                  </a:cubicBezTo>
                  <a:cubicBezTo>
                    <a:pt x="99" y="775"/>
                    <a:pt x="102" y="788"/>
                    <a:pt x="110" y="793"/>
                  </a:cubicBezTo>
                  <a:cubicBezTo>
                    <a:pt x="152" y="832"/>
                    <a:pt x="152" y="832"/>
                    <a:pt x="152" y="832"/>
                  </a:cubicBezTo>
                  <a:cubicBezTo>
                    <a:pt x="160" y="837"/>
                    <a:pt x="173" y="834"/>
                    <a:pt x="178" y="826"/>
                  </a:cubicBezTo>
                  <a:cubicBezTo>
                    <a:pt x="230" y="781"/>
                    <a:pt x="230" y="781"/>
                    <a:pt x="230" y="781"/>
                  </a:cubicBezTo>
                  <a:cubicBezTo>
                    <a:pt x="248" y="770"/>
                    <a:pt x="261" y="767"/>
                    <a:pt x="269" y="772"/>
                  </a:cubicBezTo>
                  <a:cubicBezTo>
                    <a:pt x="269" y="772"/>
                    <a:pt x="269" y="772"/>
                    <a:pt x="269" y="772"/>
                  </a:cubicBezTo>
                  <a:cubicBezTo>
                    <a:pt x="282" y="769"/>
                    <a:pt x="298" y="779"/>
                    <a:pt x="306" y="785"/>
                  </a:cubicBezTo>
                  <a:cubicBezTo>
                    <a:pt x="306" y="785"/>
                    <a:pt x="306" y="785"/>
                    <a:pt x="306" y="785"/>
                  </a:cubicBezTo>
                  <a:cubicBezTo>
                    <a:pt x="319" y="782"/>
                    <a:pt x="327" y="787"/>
                    <a:pt x="332" y="813"/>
                  </a:cubicBezTo>
                  <a:cubicBezTo>
                    <a:pt x="346" y="878"/>
                    <a:pt x="346" y="878"/>
                    <a:pt x="346" y="878"/>
                  </a:cubicBezTo>
                  <a:cubicBezTo>
                    <a:pt x="349" y="892"/>
                    <a:pt x="357" y="897"/>
                    <a:pt x="370" y="894"/>
                  </a:cubicBezTo>
                  <a:cubicBezTo>
                    <a:pt x="425" y="896"/>
                    <a:pt x="425" y="896"/>
                    <a:pt x="425" y="896"/>
                  </a:cubicBezTo>
                  <a:cubicBezTo>
                    <a:pt x="430" y="888"/>
                    <a:pt x="443" y="885"/>
                    <a:pt x="440" y="872"/>
                  </a:cubicBezTo>
                  <a:cubicBezTo>
                    <a:pt x="440" y="804"/>
                    <a:pt x="440" y="804"/>
                    <a:pt x="440" y="804"/>
                  </a:cubicBezTo>
                  <a:cubicBezTo>
                    <a:pt x="442" y="783"/>
                    <a:pt x="460" y="772"/>
                    <a:pt x="466" y="764"/>
                  </a:cubicBezTo>
                  <a:cubicBezTo>
                    <a:pt x="466" y="764"/>
                    <a:pt x="466" y="764"/>
                    <a:pt x="466" y="764"/>
                  </a:cubicBezTo>
                  <a:cubicBezTo>
                    <a:pt x="479" y="761"/>
                    <a:pt x="492" y="758"/>
                    <a:pt x="497" y="750"/>
                  </a:cubicBezTo>
                  <a:cubicBezTo>
                    <a:pt x="497" y="750"/>
                    <a:pt x="497" y="750"/>
                    <a:pt x="497" y="750"/>
                  </a:cubicBezTo>
                  <a:cubicBezTo>
                    <a:pt x="510" y="747"/>
                    <a:pt x="523" y="745"/>
                    <a:pt x="539" y="755"/>
                  </a:cubicBezTo>
                  <a:cubicBezTo>
                    <a:pt x="594" y="791"/>
                    <a:pt x="594" y="791"/>
                    <a:pt x="594" y="791"/>
                  </a:cubicBezTo>
                  <a:cubicBezTo>
                    <a:pt x="602" y="796"/>
                    <a:pt x="623" y="798"/>
                    <a:pt x="628" y="790"/>
                  </a:cubicBezTo>
                  <a:cubicBezTo>
                    <a:pt x="659" y="743"/>
                    <a:pt x="659" y="743"/>
                    <a:pt x="659" y="743"/>
                  </a:cubicBezTo>
                  <a:cubicBezTo>
                    <a:pt x="659" y="743"/>
                    <a:pt x="669" y="727"/>
                    <a:pt x="654" y="716"/>
                  </a:cubicBezTo>
                  <a:close/>
                  <a:moveTo>
                    <a:pt x="281" y="633"/>
                  </a:moveTo>
                  <a:cubicBezTo>
                    <a:pt x="223" y="584"/>
                    <a:pt x="219" y="502"/>
                    <a:pt x="263" y="452"/>
                  </a:cubicBezTo>
                  <a:cubicBezTo>
                    <a:pt x="313" y="393"/>
                    <a:pt x="399" y="382"/>
                    <a:pt x="457" y="431"/>
                  </a:cubicBezTo>
                  <a:cubicBezTo>
                    <a:pt x="507" y="475"/>
                    <a:pt x="518" y="561"/>
                    <a:pt x="469" y="619"/>
                  </a:cubicBezTo>
                  <a:cubicBezTo>
                    <a:pt x="420" y="678"/>
                    <a:pt x="339" y="682"/>
                    <a:pt x="281" y="633"/>
                  </a:cubicBezTo>
                  <a:close/>
                  <a:moveTo>
                    <a:pt x="1019" y="398"/>
                  </a:moveTo>
                  <a:cubicBezTo>
                    <a:pt x="1004" y="362"/>
                    <a:pt x="1004" y="362"/>
                    <a:pt x="1004" y="362"/>
                  </a:cubicBezTo>
                  <a:cubicBezTo>
                    <a:pt x="992" y="348"/>
                    <a:pt x="1002" y="340"/>
                    <a:pt x="1002" y="332"/>
                  </a:cubicBezTo>
                  <a:cubicBezTo>
                    <a:pt x="1002" y="332"/>
                    <a:pt x="1002" y="332"/>
                    <a:pt x="1002" y="332"/>
                  </a:cubicBezTo>
                  <a:cubicBezTo>
                    <a:pt x="1007" y="328"/>
                    <a:pt x="1011" y="324"/>
                    <a:pt x="1012" y="315"/>
                  </a:cubicBezTo>
                  <a:cubicBezTo>
                    <a:pt x="1021" y="307"/>
                    <a:pt x="1026" y="303"/>
                    <a:pt x="1043" y="304"/>
                  </a:cubicBezTo>
                  <a:cubicBezTo>
                    <a:pt x="1086" y="307"/>
                    <a:pt x="1086" y="307"/>
                    <a:pt x="1086" y="307"/>
                  </a:cubicBezTo>
                  <a:cubicBezTo>
                    <a:pt x="1095" y="308"/>
                    <a:pt x="1099" y="304"/>
                    <a:pt x="1100" y="295"/>
                  </a:cubicBezTo>
                  <a:cubicBezTo>
                    <a:pt x="1107" y="266"/>
                    <a:pt x="1107" y="266"/>
                    <a:pt x="1107" y="266"/>
                  </a:cubicBezTo>
                  <a:cubicBezTo>
                    <a:pt x="1107" y="257"/>
                    <a:pt x="1103" y="252"/>
                    <a:pt x="1095" y="243"/>
                  </a:cubicBezTo>
                  <a:cubicBezTo>
                    <a:pt x="1057" y="236"/>
                    <a:pt x="1057" y="236"/>
                    <a:pt x="1057" y="236"/>
                  </a:cubicBezTo>
                  <a:cubicBezTo>
                    <a:pt x="1044" y="231"/>
                    <a:pt x="1036" y="222"/>
                    <a:pt x="1037" y="213"/>
                  </a:cubicBezTo>
                  <a:cubicBezTo>
                    <a:pt x="1038" y="205"/>
                    <a:pt x="1034" y="200"/>
                    <a:pt x="1030" y="187"/>
                  </a:cubicBezTo>
                  <a:cubicBezTo>
                    <a:pt x="1031" y="178"/>
                    <a:pt x="1032" y="170"/>
                    <a:pt x="1041" y="162"/>
                  </a:cubicBezTo>
                  <a:cubicBezTo>
                    <a:pt x="1077" y="138"/>
                    <a:pt x="1077" y="138"/>
                    <a:pt x="1077" y="138"/>
                  </a:cubicBezTo>
                  <a:cubicBezTo>
                    <a:pt x="1082" y="134"/>
                    <a:pt x="1083" y="126"/>
                    <a:pt x="1079" y="121"/>
                  </a:cubicBezTo>
                  <a:cubicBezTo>
                    <a:pt x="1059" y="89"/>
                    <a:pt x="1059" y="89"/>
                    <a:pt x="1059" y="89"/>
                  </a:cubicBezTo>
                  <a:cubicBezTo>
                    <a:pt x="1055" y="85"/>
                    <a:pt x="1047" y="84"/>
                    <a:pt x="1038" y="83"/>
                  </a:cubicBezTo>
                  <a:cubicBezTo>
                    <a:pt x="1002" y="107"/>
                    <a:pt x="1002" y="107"/>
                    <a:pt x="1002" y="107"/>
                  </a:cubicBezTo>
                  <a:cubicBezTo>
                    <a:pt x="989" y="110"/>
                    <a:pt x="980" y="110"/>
                    <a:pt x="976" y="105"/>
                  </a:cubicBezTo>
                  <a:cubicBezTo>
                    <a:pt x="972" y="100"/>
                    <a:pt x="960" y="95"/>
                    <a:pt x="956" y="91"/>
                  </a:cubicBezTo>
                  <a:cubicBezTo>
                    <a:pt x="952" y="86"/>
                    <a:pt x="944" y="77"/>
                    <a:pt x="944" y="68"/>
                  </a:cubicBezTo>
                  <a:cubicBezTo>
                    <a:pt x="948" y="25"/>
                    <a:pt x="948" y="25"/>
                    <a:pt x="948" y="25"/>
                  </a:cubicBezTo>
                  <a:cubicBezTo>
                    <a:pt x="948" y="17"/>
                    <a:pt x="940" y="7"/>
                    <a:pt x="940" y="7"/>
                  </a:cubicBezTo>
                  <a:cubicBezTo>
                    <a:pt x="902" y="0"/>
                    <a:pt x="902" y="0"/>
                    <a:pt x="902" y="0"/>
                  </a:cubicBezTo>
                  <a:cubicBezTo>
                    <a:pt x="902" y="0"/>
                    <a:pt x="889" y="4"/>
                    <a:pt x="888" y="12"/>
                  </a:cubicBezTo>
                  <a:cubicBezTo>
                    <a:pt x="872" y="50"/>
                    <a:pt x="872" y="50"/>
                    <a:pt x="872" y="50"/>
                  </a:cubicBezTo>
                  <a:cubicBezTo>
                    <a:pt x="871" y="67"/>
                    <a:pt x="862" y="67"/>
                    <a:pt x="858" y="71"/>
                  </a:cubicBezTo>
                  <a:cubicBezTo>
                    <a:pt x="858" y="71"/>
                    <a:pt x="858" y="71"/>
                    <a:pt x="853" y="75"/>
                  </a:cubicBezTo>
                  <a:cubicBezTo>
                    <a:pt x="849" y="70"/>
                    <a:pt x="840" y="70"/>
                    <a:pt x="836" y="74"/>
                  </a:cubicBezTo>
                  <a:cubicBezTo>
                    <a:pt x="831" y="78"/>
                    <a:pt x="831" y="78"/>
                    <a:pt x="831" y="78"/>
                  </a:cubicBezTo>
                  <a:cubicBezTo>
                    <a:pt x="822" y="77"/>
                    <a:pt x="814" y="76"/>
                    <a:pt x="806" y="67"/>
                  </a:cubicBezTo>
                  <a:cubicBezTo>
                    <a:pt x="778" y="35"/>
                    <a:pt x="778" y="35"/>
                    <a:pt x="778" y="35"/>
                  </a:cubicBezTo>
                  <a:cubicBezTo>
                    <a:pt x="774" y="30"/>
                    <a:pt x="762" y="25"/>
                    <a:pt x="757" y="29"/>
                  </a:cubicBezTo>
                  <a:cubicBezTo>
                    <a:pt x="734" y="49"/>
                    <a:pt x="734" y="49"/>
                    <a:pt x="734" y="49"/>
                  </a:cubicBezTo>
                  <a:cubicBezTo>
                    <a:pt x="725" y="49"/>
                    <a:pt x="725" y="57"/>
                    <a:pt x="728" y="70"/>
                  </a:cubicBezTo>
                  <a:cubicBezTo>
                    <a:pt x="747" y="102"/>
                    <a:pt x="747" y="102"/>
                    <a:pt x="747" y="102"/>
                  </a:cubicBezTo>
                  <a:cubicBezTo>
                    <a:pt x="754" y="120"/>
                    <a:pt x="750" y="124"/>
                    <a:pt x="744" y="136"/>
                  </a:cubicBezTo>
                  <a:cubicBezTo>
                    <a:pt x="744" y="136"/>
                    <a:pt x="744" y="136"/>
                    <a:pt x="744" y="136"/>
                  </a:cubicBezTo>
                  <a:cubicBezTo>
                    <a:pt x="740" y="140"/>
                    <a:pt x="735" y="144"/>
                    <a:pt x="731" y="148"/>
                  </a:cubicBezTo>
                  <a:cubicBezTo>
                    <a:pt x="731" y="148"/>
                    <a:pt x="731" y="148"/>
                    <a:pt x="731" y="148"/>
                  </a:cubicBezTo>
                  <a:cubicBezTo>
                    <a:pt x="730" y="157"/>
                    <a:pt x="721" y="165"/>
                    <a:pt x="703" y="164"/>
                  </a:cubicBezTo>
                  <a:cubicBezTo>
                    <a:pt x="665" y="157"/>
                    <a:pt x="665" y="157"/>
                    <a:pt x="665" y="157"/>
                  </a:cubicBezTo>
                  <a:cubicBezTo>
                    <a:pt x="656" y="156"/>
                    <a:pt x="647" y="164"/>
                    <a:pt x="647" y="173"/>
                  </a:cubicBezTo>
                  <a:cubicBezTo>
                    <a:pt x="640" y="203"/>
                    <a:pt x="640" y="203"/>
                    <a:pt x="640" y="203"/>
                  </a:cubicBezTo>
                  <a:cubicBezTo>
                    <a:pt x="639" y="211"/>
                    <a:pt x="643" y="216"/>
                    <a:pt x="656" y="221"/>
                  </a:cubicBezTo>
                  <a:cubicBezTo>
                    <a:pt x="690" y="232"/>
                    <a:pt x="690" y="232"/>
                    <a:pt x="690" y="232"/>
                  </a:cubicBezTo>
                  <a:cubicBezTo>
                    <a:pt x="702" y="237"/>
                    <a:pt x="710" y="246"/>
                    <a:pt x="710" y="255"/>
                  </a:cubicBezTo>
                  <a:cubicBezTo>
                    <a:pt x="710" y="255"/>
                    <a:pt x="710" y="255"/>
                    <a:pt x="710" y="255"/>
                  </a:cubicBezTo>
                  <a:cubicBezTo>
                    <a:pt x="714" y="260"/>
                    <a:pt x="713" y="268"/>
                    <a:pt x="717" y="273"/>
                  </a:cubicBezTo>
                  <a:cubicBezTo>
                    <a:pt x="712" y="277"/>
                    <a:pt x="712" y="277"/>
                    <a:pt x="712" y="277"/>
                  </a:cubicBezTo>
                  <a:cubicBezTo>
                    <a:pt x="716" y="281"/>
                    <a:pt x="716" y="290"/>
                    <a:pt x="702" y="302"/>
                  </a:cubicBezTo>
                  <a:cubicBezTo>
                    <a:pt x="674" y="326"/>
                    <a:pt x="674" y="326"/>
                    <a:pt x="674" y="326"/>
                  </a:cubicBezTo>
                  <a:cubicBezTo>
                    <a:pt x="665" y="334"/>
                    <a:pt x="664" y="343"/>
                    <a:pt x="668" y="347"/>
                  </a:cubicBezTo>
                  <a:cubicBezTo>
                    <a:pt x="687" y="379"/>
                    <a:pt x="687" y="379"/>
                    <a:pt x="687" y="379"/>
                  </a:cubicBezTo>
                  <a:cubicBezTo>
                    <a:pt x="691" y="383"/>
                    <a:pt x="700" y="384"/>
                    <a:pt x="704" y="380"/>
                  </a:cubicBezTo>
                  <a:cubicBezTo>
                    <a:pt x="745" y="361"/>
                    <a:pt x="745" y="361"/>
                    <a:pt x="745" y="361"/>
                  </a:cubicBezTo>
                  <a:cubicBezTo>
                    <a:pt x="758" y="358"/>
                    <a:pt x="767" y="358"/>
                    <a:pt x="771" y="363"/>
                  </a:cubicBezTo>
                  <a:cubicBezTo>
                    <a:pt x="771" y="363"/>
                    <a:pt x="771" y="363"/>
                    <a:pt x="771" y="363"/>
                  </a:cubicBezTo>
                  <a:cubicBezTo>
                    <a:pt x="779" y="364"/>
                    <a:pt x="787" y="373"/>
                    <a:pt x="791" y="377"/>
                  </a:cubicBezTo>
                  <a:cubicBezTo>
                    <a:pt x="791" y="377"/>
                    <a:pt x="791" y="377"/>
                    <a:pt x="791" y="377"/>
                  </a:cubicBezTo>
                  <a:cubicBezTo>
                    <a:pt x="800" y="378"/>
                    <a:pt x="804" y="383"/>
                    <a:pt x="802" y="400"/>
                  </a:cubicBezTo>
                  <a:cubicBezTo>
                    <a:pt x="799" y="443"/>
                    <a:pt x="799" y="443"/>
                    <a:pt x="799" y="443"/>
                  </a:cubicBezTo>
                  <a:cubicBezTo>
                    <a:pt x="798" y="451"/>
                    <a:pt x="802" y="456"/>
                    <a:pt x="811" y="457"/>
                  </a:cubicBezTo>
                  <a:cubicBezTo>
                    <a:pt x="845" y="468"/>
                    <a:pt x="845" y="468"/>
                    <a:pt x="845" y="468"/>
                  </a:cubicBezTo>
                  <a:cubicBezTo>
                    <a:pt x="849" y="464"/>
                    <a:pt x="858" y="464"/>
                    <a:pt x="859" y="456"/>
                  </a:cubicBezTo>
                  <a:cubicBezTo>
                    <a:pt x="871" y="413"/>
                    <a:pt x="871" y="413"/>
                    <a:pt x="871" y="413"/>
                  </a:cubicBezTo>
                  <a:cubicBezTo>
                    <a:pt x="876" y="401"/>
                    <a:pt x="889" y="397"/>
                    <a:pt x="894" y="393"/>
                  </a:cubicBezTo>
                  <a:cubicBezTo>
                    <a:pt x="894" y="393"/>
                    <a:pt x="894" y="393"/>
                    <a:pt x="894" y="393"/>
                  </a:cubicBezTo>
                  <a:cubicBezTo>
                    <a:pt x="902" y="394"/>
                    <a:pt x="911" y="395"/>
                    <a:pt x="916" y="391"/>
                  </a:cubicBezTo>
                  <a:cubicBezTo>
                    <a:pt x="916" y="391"/>
                    <a:pt x="916" y="391"/>
                    <a:pt x="916" y="391"/>
                  </a:cubicBezTo>
                  <a:cubicBezTo>
                    <a:pt x="924" y="391"/>
                    <a:pt x="933" y="392"/>
                    <a:pt x="941" y="401"/>
                  </a:cubicBezTo>
                  <a:cubicBezTo>
                    <a:pt x="969" y="433"/>
                    <a:pt x="969" y="433"/>
                    <a:pt x="969" y="433"/>
                  </a:cubicBezTo>
                  <a:cubicBezTo>
                    <a:pt x="973" y="438"/>
                    <a:pt x="985" y="443"/>
                    <a:pt x="990" y="439"/>
                  </a:cubicBezTo>
                  <a:cubicBezTo>
                    <a:pt x="1018" y="415"/>
                    <a:pt x="1018" y="415"/>
                    <a:pt x="1018" y="415"/>
                  </a:cubicBezTo>
                  <a:cubicBezTo>
                    <a:pt x="1018" y="415"/>
                    <a:pt x="1027" y="407"/>
                    <a:pt x="1019" y="398"/>
                  </a:cubicBezTo>
                  <a:close/>
                  <a:moveTo>
                    <a:pt x="803" y="279"/>
                  </a:moveTo>
                  <a:cubicBezTo>
                    <a:pt x="776" y="238"/>
                    <a:pt x="788" y="187"/>
                    <a:pt x="825" y="164"/>
                  </a:cubicBezTo>
                  <a:cubicBezTo>
                    <a:pt x="866" y="136"/>
                    <a:pt x="921" y="144"/>
                    <a:pt x="948" y="185"/>
                  </a:cubicBezTo>
                  <a:cubicBezTo>
                    <a:pt x="972" y="221"/>
                    <a:pt x="963" y="277"/>
                    <a:pt x="922" y="304"/>
                  </a:cubicBezTo>
                  <a:cubicBezTo>
                    <a:pt x="881" y="332"/>
                    <a:pt x="830" y="320"/>
                    <a:pt x="803" y="279"/>
                  </a:cubicBezTo>
                  <a:close/>
                </a:path>
              </a:pathLst>
            </a:custGeom>
            <a:solidFill>
              <a:schemeClr val="tx1"/>
            </a:solidFill>
            <a:ln>
              <a:noFill/>
            </a:ln>
          </p:spPr>
          <p:txBody>
            <a:bodyPr vert="horz" wrap="square" lIns="68574" tIns="34287" rIns="68574" bIns="34287"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17346"/>
                </a:solidFill>
                <a:effectLst/>
                <a:uLnTx/>
                <a:uFillTx/>
                <a:latin typeface="Segoe UI"/>
                <a:ea typeface="+mn-ea"/>
                <a:cs typeface="+mn-cs"/>
              </a:endParaRPr>
            </a:p>
          </p:txBody>
        </p:sp>
        <p:sp>
          <p:nvSpPr>
            <p:cNvPr id="104" name="Freeform 103"/>
            <p:cNvSpPr>
              <a:spLocks noChangeAspect="1"/>
            </p:cNvSpPr>
            <p:nvPr/>
          </p:nvSpPr>
          <p:spPr bwMode="black">
            <a:xfrm>
              <a:off x="776985" y="4213905"/>
              <a:ext cx="342871" cy="335728"/>
            </a:xfrm>
            <a:custGeom>
              <a:avLst/>
              <a:gdLst>
                <a:gd name="connsiteX0" fmla="*/ 3713863 w 4893730"/>
                <a:gd name="connsiteY0" fmla="*/ 2130808 h 4791777"/>
                <a:gd name="connsiteX1" fmla="*/ 4426142 w 4893730"/>
                <a:gd name="connsiteY1" fmla="*/ 2130808 h 4791777"/>
                <a:gd name="connsiteX2" fmla="*/ 4598071 w 4893730"/>
                <a:gd name="connsiteY2" fmla="*/ 2301547 h 4791777"/>
                <a:gd name="connsiteX3" fmla="*/ 4598071 w 4893730"/>
                <a:gd name="connsiteY3" fmla="*/ 3886978 h 4791777"/>
                <a:gd name="connsiteX4" fmla="*/ 4426142 w 4893730"/>
                <a:gd name="connsiteY4" fmla="*/ 4057717 h 4791777"/>
                <a:gd name="connsiteX5" fmla="*/ 3713863 w 4893730"/>
                <a:gd name="connsiteY5" fmla="*/ 4057717 h 4791777"/>
                <a:gd name="connsiteX6" fmla="*/ 3517372 w 4893730"/>
                <a:gd name="connsiteY6" fmla="*/ 3886978 h 4791777"/>
                <a:gd name="connsiteX7" fmla="*/ 3517372 w 4893730"/>
                <a:gd name="connsiteY7" fmla="*/ 2301547 h 4791777"/>
                <a:gd name="connsiteX8" fmla="*/ 3713863 w 4893730"/>
                <a:gd name="connsiteY8" fmla="*/ 2130808 h 4791777"/>
                <a:gd name="connsiteX9" fmla="*/ 904368 w 4893730"/>
                <a:gd name="connsiteY9" fmla="*/ 1223432 h 4791777"/>
                <a:gd name="connsiteX10" fmla="*/ 1609930 w 4893730"/>
                <a:gd name="connsiteY10" fmla="*/ 1223432 h 4791777"/>
                <a:gd name="connsiteX11" fmla="*/ 1804567 w 4893730"/>
                <a:gd name="connsiteY11" fmla="*/ 1394467 h 4791777"/>
                <a:gd name="connsiteX12" fmla="*/ 1804567 w 4893730"/>
                <a:gd name="connsiteY12" fmla="*/ 3886683 h 4791777"/>
                <a:gd name="connsiteX13" fmla="*/ 1609930 w 4893730"/>
                <a:gd name="connsiteY13" fmla="*/ 4057717 h 4791777"/>
                <a:gd name="connsiteX14" fmla="*/ 904368 w 4893730"/>
                <a:gd name="connsiteY14" fmla="*/ 4057717 h 4791777"/>
                <a:gd name="connsiteX15" fmla="*/ 734060 w 4893730"/>
                <a:gd name="connsiteY15" fmla="*/ 3886683 h 4791777"/>
                <a:gd name="connsiteX16" fmla="*/ 734060 w 4893730"/>
                <a:gd name="connsiteY16" fmla="*/ 1394467 h 4791777"/>
                <a:gd name="connsiteX17" fmla="*/ 904368 w 4893730"/>
                <a:gd name="connsiteY17" fmla="*/ 1223432 h 4791777"/>
                <a:gd name="connsiteX18" fmla="*/ 2325453 w 4893730"/>
                <a:gd name="connsiteY18" fmla="*/ 316050 h 4791777"/>
                <a:gd name="connsiteX19" fmla="*/ 3031014 w 4893730"/>
                <a:gd name="connsiteY19" fmla="*/ 316050 h 4791777"/>
                <a:gd name="connsiteX20" fmla="*/ 3201322 w 4893730"/>
                <a:gd name="connsiteY20" fmla="*/ 487238 h 4791777"/>
                <a:gd name="connsiteX21" fmla="*/ 3201322 w 4893730"/>
                <a:gd name="connsiteY21" fmla="*/ 3886530 h 4791777"/>
                <a:gd name="connsiteX22" fmla="*/ 3031014 w 4893730"/>
                <a:gd name="connsiteY22" fmla="*/ 4057717 h 4791777"/>
                <a:gd name="connsiteX23" fmla="*/ 2325453 w 4893730"/>
                <a:gd name="connsiteY23" fmla="*/ 4057717 h 4791777"/>
                <a:gd name="connsiteX24" fmla="*/ 2130815 w 4893730"/>
                <a:gd name="connsiteY24" fmla="*/ 3886530 h 4791777"/>
                <a:gd name="connsiteX25" fmla="*/ 2130815 w 4893730"/>
                <a:gd name="connsiteY25" fmla="*/ 487238 h 4791777"/>
                <a:gd name="connsiteX26" fmla="*/ 2325453 w 4893730"/>
                <a:gd name="connsiteY26" fmla="*/ 316050 h 4791777"/>
                <a:gd name="connsiteX27" fmla="*/ 269155 w 4893730"/>
                <a:gd name="connsiteY27" fmla="*/ 0 h 4791777"/>
                <a:gd name="connsiteX28" fmla="*/ 538311 w 4893730"/>
                <a:gd name="connsiteY28" fmla="*/ 268927 h 4791777"/>
                <a:gd name="connsiteX29" fmla="*/ 538311 w 4893730"/>
                <a:gd name="connsiteY29" fmla="*/ 4253925 h 4791777"/>
                <a:gd name="connsiteX30" fmla="*/ 4624575 w 4893730"/>
                <a:gd name="connsiteY30" fmla="*/ 4253925 h 4791777"/>
                <a:gd name="connsiteX31" fmla="*/ 4893730 w 4893730"/>
                <a:gd name="connsiteY31" fmla="*/ 4522851 h 4791777"/>
                <a:gd name="connsiteX32" fmla="*/ 4624575 w 4893730"/>
                <a:gd name="connsiteY32" fmla="*/ 4791777 h 4791777"/>
                <a:gd name="connsiteX33" fmla="*/ 269155 w 4893730"/>
                <a:gd name="connsiteY33" fmla="*/ 4791777 h 4791777"/>
                <a:gd name="connsiteX34" fmla="*/ 0 w 4893730"/>
                <a:gd name="connsiteY34" fmla="*/ 4522851 h 4791777"/>
                <a:gd name="connsiteX35" fmla="*/ 0 w 4893730"/>
                <a:gd name="connsiteY35" fmla="*/ 268927 h 4791777"/>
                <a:gd name="connsiteX36" fmla="*/ 269155 w 4893730"/>
                <a:gd name="connsiteY36" fmla="*/ 0 h 4791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4893730" h="4791777">
                  <a:moveTo>
                    <a:pt x="3713863" y="2130808"/>
                  </a:moveTo>
                  <a:cubicBezTo>
                    <a:pt x="3713863" y="2130808"/>
                    <a:pt x="3713863" y="2130808"/>
                    <a:pt x="4426142" y="2130808"/>
                  </a:cubicBezTo>
                  <a:cubicBezTo>
                    <a:pt x="4524387" y="2130808"/>
                    <a:pt x="4598071" y="2203982"/>
                    <a:pt x="4598071" y="2301547"/>
                  </a:cubicBezTo>
                  <a:cubicBezTo>
                    <a:pt x="4598071" y="2301547"/>
                    <a:pt x="4598071" y="2301547"/>
                    <a:pt x="4598071" y="3886978"/>
                  </a:cubicBezTo>
                  <a:cubicBezTo>
                    <a:pt x="4598071" y="3984543"/>
                    <a:pt x="4524387" y="4057717"/>
                    <a:pt x="4426142" y="4057717"/>
                  </a:cubicBezTo>
                  <a:cubicBezTo>
                    <a:pt x="4426142" y="4057717"/>
                    <a:pt x="4426142" y="4057717"/>
                    <a:pt x="3713863" y="4057717"/>
                  </a:cubicBezTo>
                  <a:cubicBezTo>
                    <a:pt x="3615618" y="4057717"/>
                    <a:pt x="3517372" y="3984543"/>
                    <a:pt x="3517372" y="3886978"/>
                  </a:cubicBezTo>
                  <a:cubicBezTo>
                    <a:pt x="3517372" y="3886978"/>
                    <a:pt x="3517372" y="3886978"/>
                    <a:pt x="3517372" y="2301547"/>
                  </a:cubicBezTo>
                  <a:cubicBezTo>
                    <a:pt x="3517372" y="2203982"/>
                    <a:pt x="3615618" y="2130808"/>
                    <a:pt x="3713863" y="2130808"/>
                  </a:cubicBezTo>
                  <a:close/>
                  <a:moveTo>
                    <a:pt x="904368" y="1223432"/>
                  </a:moveTo>
                  <a:cubicBezTo>
                    <a:pt x="904368" y="1223432"/>
                    <a:pt x="904368" y="1223432"/>
                    <a:pt x="1609930" y="1223432"/>
                  </a:cubicBezTo>
                  <a:cubicBezTo>
                    <a:pt x="1731578" y="1223432"/>
                    <a:pt x="1804567" y="1296733"/>
                    <a:pt x="1804567" y="1394467"/>
                  </a:cubicBezTo>
                  <a:cubicBezTo>
                    <a:pt x="1804567" y="1394467"/>
                    <a:pt x="1804567" y="1394467"/>
                    <a:pt x="1804567" y="3886683"/>
                  </a:cubicBezTo>
                  <a:cubicBezTo>
                    <a:pt x="1804567" y="3984417"/>
                    <a:pt x="1731578" y="4057717"/>
                    <a:pt x="1609930" y="4057717"/>
                  </a:cubicBezTo>
                  <a:cubicBezTo>
                    <a:pt x="1609930" y="4057717"/>
                    <a:pt x="1609930" y="4057717"/>
                    <a:pt x="904368" y="4057717"/>
                  </a:cubicBezTo>
                  <a:cubicBezTo>
                    <a:pt x="807049" y="4057717"/>
                    <a:pt x="734060" y="3984417"/>
                    <a:pt x="734060" y="3886683"/>
                  </a:cubicBezTo>
                  <a:cubicBezTo>
                    <a:pt x="734060" y="3886683"/>
                    <a:pt x="734060" y="3886683"/>
                    <a:pt x="734060" y="1394467"/>
                  </a:cubicBezTo>
                  <a:cubicBezTo>
                    <a:pt x="734060" y="1296733"/>
                    <a:pt x="807049" y="1223432"/>
                    <a:pt x="904368" y="1223432"/>
                  </a:cubicBezTo>
                  <a:close/>
                  <a:moveTo>
                    <a:pt x="2325453" y="316050"/>
                  </a:moveTo>
                  <a:cubicBezTo>
                    <a:pt x="2325453" y="316050"/>
                    <a:pt x="2325453" y="316050"/>
                    <a:pt x="3031014" y="316050"/>
                  </a:cubicBezTo>
                  <a:cubicBezTo>
                    <a:pt x="3128333" y="316050"/>
                    <a:pt x="3201322" y="389416"/>
                    <a:pt x="3201322" y="487238"/>
                  </a:cubicBezTo>
                  <a:cubicBezTo>
                    <a:pt x="3201322" y="487238"/>
                    <a:pt x="3201322" y="487238"/>
                    <a:pt x="3201322" y="3886530"/>
                  </a:cubicBezTo>
                  <a:cubicBezTo>
                    <a:pt x="3201322" y="3984351"/>
                    <a:pt x="3128333" y="4057717"/>
                    <a:pt x="3031014" y="4057717"/>
                  </a:cubicBezTo>
                  <a:cubicBezTo>
                    <a:pt x="3031014" y="4057717"/>
                    <a:pt x="3031014" y="4057717"/>
                    <a:pt x="2325453" y="4057717"/>
                  </a:cubicBezTo>
                  <a:cubicBezTo>
                    <a:pt x="2203804" y="4057717"/>
                    <a:pt x="2130815" y="3984351"/>
                    <a:pt x="2130815" y="3886530"/>
                  </a:cubicBezTo>
                  <a:cubicBezTo>
                    <a:pt x="2130815" y="3886530"/>
                    <a:pt x="2130815" y="3886530"/>
                    <a:pt x="2130815" y="487238"/>
                  </a:cubicBezTo>
                  <a:cubicBezTo>
                    <a:pt x="2130815" y="389416"/>
                    <a:pt x="2203804" y="316050"/>
                    <a:pt x="2325453" y="316050"/>
                  </a:cubicBezTo>
                  <a:close/>
                  <a:moveTo>
                    <a:pt x="269155" y="0"/>
                  </a:moveTo>
                  <a:cubicBezTo>
                    <a:pt x="415967" y="0"/>
                    <a:pt x="538311" y="122239"/>
                    <a:pt x="538311" y="268927"/>
                  </a:cubicBezTo>
                  <a:cubicBezTo>
                    <a:pt x="538311" y="268927"/>
                    <a:pt x="538311" y="268927"/>
                    <a:pt x="538311" y="4253925"/>
                  </a:cubicBezTo>
                  <a:cubicBezTo>
                    <a:pt x="538311" y="4253925"/>
                    <a:pt x="538311" y="4253925"/>
                    <a:pt x="4624575" y="4253925"/>
                  </a:cubicBezTo>
                  <a:cubicBezTo>
                    <a:pt x="4771387" y="4253925"/>
                    <a:pt x="4893730" y="4376164"/>
                    <a:pt x="4893730" y="4522851"/>
                  </a:cubicBezTo>
                  <a:cubicBezTo>
                    <a:pt x="4893730" y="4669538"/>
                    <a:pt x="4771387" y="4791777"/>
                    <a:pt x="4624575" y="4791777"/>
                  </a:cubicBezTo>
                  <a:cubicBezTo>
                    <a:pt x="4624575" y="4791777"/>
                    <a:pt x="4624575" y="4791777"/>
                    <a:pt x="269155" y="4791777"/>
                  </a:cubicBezTo>
                  <a:cubicBezTo>
                    <a:pt x="122344" y="4791777"/>
                    <a:pt x="0" y="4669538"/>
                    <a:pt x="0" y="4522851"/>
                  </a:cubicBezTo>
                  <a:cubicBezTo>
                    <a:pt x="0" y="4522851"/>
                    <a:pt x="0" y="4522851"/>
                    <a:pt x="0" y="268927"/>
                  </a:cubicBezTo>
                  <a:cubicBezTo>
                    <a:pt x="0" y="122239"/>
                    <a:pt x="122344" y="0"/>
                    <a:pt x="269155"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37148" tIns="109719" rIns="137148" bIns="109719"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699261"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5" name="Rectangle 104"/>
            <p:cNvSpPr/>
            <p:nvPr/>
          </p:nvSpPr>
          <p:spPr bwMode="auto">
            <a:xfrm rot="2745734">
              <a:off x="886688" y="2210975"/>
              <a:ext cx="1598323" cy="1625795"/>
            </a:xfrm>
            <a:prstGeom prst="rect">
              <a:avLst/>
            </a:prstGeom>
            <a:solidFill>
              <a:schemeClr val="tx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6" name="Rectangle 105"/>
            <p:cNvSpPr/>
            <p:nvPr/>
          </p:nvSpPr>
          <p:spPr bwMode="auto">
            <a:xfrm rot="2745734">
              <a:off x="292433" y="3819160"/>
              <a:ext cx="1610349" cy="1235003"/>
            </a:xfrm>
            <a:prstGeom prst="rect">
              <a:avLst/>
            </a:prstGeom>
            <a:solidFill>
              <a:schemeClr val="tx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7" name="Rectangle 106"/>
            <p:cNvSpPr/>
            <p:nvPr/>
          </p:nvSpPr>
          <p:spPr bwMode="auto">
            <a:xfrm rot="2745734">
              <a:off x="1315610" y="4915701"/>
              <a:ext cx="1263370" cy="1255989"/>
            </a:xfrm>
            <a:prstGeom prst="rect">
              <a:avLst/>
            </a:prstGeom>
            <a:solidFill>
              <a:schemeClr val="tx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40" name="TextBox 39"/>
          <p:cNvSpPr txBox="1"/>
          <p:nvPr/>
        </p:nvSpPr>
        <p:spPr>
          <a:xfrm>
            <a:off x="3" y="51415"/>
            <a:ext cx="2849058" cy="430887"/>
          </a:xfrm>
          <a:prstGeom prst="rect">
            <a:avLst/>
          </a:prstGeom>
        </p:spPr>
        <p:txBody>
          <a:bodyPr wrap="square">
            <a:spAutoFit/>
          </a:bodyPr>
          <a:lstStyle>
            <a:defPPr>
              <a:defRPr lang="en-US"/>
            </a:defPPr>
            <a:lvl1pPr defTabSz="914192">
              <a:defRPr sz="2800" b="1" spc="-100">
                <a:ln w="3175">
                  <a:noFill/>
                </a:ln>
                <a:solidFill>
                  <a:srgbClr val="F2C812"/>
                </a:solidFill>
                <a:latin typeface="Segoe UI" panose="020B0502040204020203" pitchFamily="34" charset="0"/>
                <a:ea typeface="ＭＳ Ｐゴシック" charset="0"/>
                <a:cs typeface="Segoe UI" panose="020B0502040204020203" pitchFamily="34" charset="0"/>
              </a:defRPr>
            </a:lvl1pPr>
          </a:lstStyle>
          <a:p>
            <a:pPr marL="0" marR="0" lvl="0" indent="0" algn="l" defTabSz="914192" rtl="0" eaLnBrk="1" fontAlgn="auto" latinLnBrk="0" hangingPunct="1">
              <a:lnSpc>
                <a:spcPct val="100000"/>
              </a:lnSpc>
              <a:spcBef>
                <a:spcPts val="0"/>
              </a:spcBef>
              <a:spcAft>
                <a:spcPts val="0"/>
              </a:spcAft>
              <a:buClrTx/>
              <a:buSzTx/>
              <a:buFontTx/>
              <a:buNone/>
              <a:tabLst/>
              <a:defRPr/>
            </a:pPr>
            <a:r>
              <a:rPr kumimoji="0" lang="en-US" sz="2200" b="1" i="0" u="none" strike="noStrike" kern="1200" cap="none" spc="-100" normalizeH="0" baseline="0" noProof="0">
                <a:ln w="3175">
                  <a:noFill/>
                </a:ln>
                <a:solidFill>
                  <a:srgbClr val="F2C812"/>
                </a:solidFill>
                <a:effectLst/>
                <a:uLnTx/>
                <a:uFillTx/>
                <a:latin typeface="Segoe UI Light"/>
                <a:ea typeface="ＭＳ Ｐゴシック" charset="0"/>
                <a:cs typeface="Segoe UI" panose="020B0502040204020203" pitchFamily="34" charset="0"/>
              </a:rPr>
              <a:t>Power BI Desktop</a:t>
            </a:r>
          </a:p>
        </p:txBody>
      </p:sp>
      <p:sp>
        <p:nvSpPr>
          <p:cNvPr id="41" name="Text Placeholder 2"/>
          <p:cNvSpPr txBox="1">
            <a:spLocks/>
          </p:cNvSpPr>
          <p:nvPr/>
        </p:nvSpPr>
        <p:spPr>
          <a:xfrm>
            <a:off x="7124525" y="1463777"/>
            <a:ext cx="4673601" cy="1521429"/>
          </a:xfrm>
          <a:prstGeom prst="rect">
            <a:avLst/>
          </a:prstGeom>
        </p:spPr>
        <p:txBody>
          <a:bodyPr vert="horz" wrap="square" lIns="182880" tIns="146304" rIns="182880" bIns="146304" rtlCol="0">
            <a:noAutofit/>
          </a:bodyPr>
          <a:lstStyle>
            <a:lvl1pPr marL="182845" marR="0"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3921" kern="1200" spc="0" baseline="0">
                <a:gradFill>
                  <a:gsLst>
                    <a:gs pos="1250">
                      <a:schemeClr val="tx2"/>
                    </a:gs>
                    <a:gs pos="99000">
                      <a:schemeClr val="tx2"/>
                    </a:gs>
                  </a:gsLst>
                  <a:lin ang="5400000" scaled="0"/>
                </a:gradFill>
                <a:latin typeface="+mj-lt"/>
                <a:ea typeface="+mn-ea"/>
                <a:cs typeface="+mn-cs"/>
              </a:defRPr>
            </a:lvl1pPr>
            <a:lvl2pPr marL="365690" marR="0"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2400" kern="1200" spc="0" baseline="0">
                <a:solidFill>
                  <a:schemeClr val="tx2"/>
                </a:solidFill>
                <a:latin typeface="+mj-lt"/>
                <a:ea typeface="+mn-ea"/>
                <a:cs typeface="+mn-cs"/>
              </a:defRPr>
            </a:lvl2pPr>
            <a:lvl3pPr marL="548535" marR="0"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2000" kern="1200" spc="0" baseline="0">
                <a:solidFill>
                  <a:schemeClr val="tx2"/>
                </a:solidFill>
                <a:latin typeface="+mj-lt"/>
                <a:ea typeface="+mn-ea"/>
                <a:cs typeface="+mn-cs"/>
              </a:defRPr>
            </a:lvl3pPr>
            <a:lvl4pPr marL="733802" marR="0" indent="-28569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1765" kern="1200" spc="0" baseline="0">
                <a:solidFill>
                  <a:schemeClr val="tx2"/>
                </a:solidFill>
                <a:latin typeface="+mn-lt"/>
                <a:ea typeface="+mn-ea"/>
                <a:cs typeface="+mn-cs"/>
              </a:defRPr>
            </a:lvl4pPr>
            <a:lvl5pPr marL="957856" marR="0" indent="-28569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1765" kern="1200" spc="0" baseline="0">
                <a:solidFill>
                  <a:schemeClr val="tx2"/>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342900" marR="0" lvl="0" indent="-342900" algn="l" defTabSz="914400" rtl="0" eaLnBrk="1" fontAlgn="base" latinLnBrk="0" hangingPunct="1">
              <a:lnSpc>
                <a:spcPct val="100000"/>
              </a:lnSpc>
              <a:spcBef>
                <a:spcPts val="0"/>
              </a:spcBef>
              <a:spcAft>
                <a:spcPts val="300"/>
              </a:spcAft>
              <a:buClrTx/>
              <a:buSzPct val="90000"/>
              <a:buFont typeface="Symbol" panose="05050102010706020507" pitchFamily="18" charset="2"/>
              <a:buChar char=""/>
              <a:tabLst/>
              <a:defRPr/>
            </a:pPr>
            <a:r>
              <a:rPr kumimoji="0" lang="en-US" sz="1800" b="0" i="0" u="none" strike="noStrike" kern="1200" cap="none" spc="0" normalizeH="0" baseline="0" noProof="0">
                <a:ln>
                  <a:noFill/>
                </a:ln>
                <a:solidFill>
                  <a:prstClr val="black"/>
                </a:solidFill>
                <a:effectLst/>
                <a:uLnTx/>
                <a:uFillTx/>
                <a:latin typeface="Segoe UI Light"/>
                <a:ea typeface="Calibri" panose="020F0502020204030204" pitchFamily="34" charset="0"/>
                <a:cs typeface="Times New Roman" panose="02020603050405020304" pitchFamily="18" charset="0"/>
              </a:rPr>
              <a:t>Once the data is loaded or referenced into Power BI Desktop, the </a:t>
            </a:r>
            <a:r>
              <a:rPr kumimoji="0" lang="en-US" sz="1800" b="1" i="0" u="none" strike="noStrike" kern="1200" cap="none" spc="0" normalizeH="0" baseline="0" noProof="0">
                <a:ln>
                  <a:noFill/>
                </a:ln>
                <a:solidFill>
                  <a:prstClr val="black"/>
                </a:solidFill>
                <a:effectLst/>
                <a:uLnTx/>
                <a:uFillTx/>
                <a:latin typeface="Segoe UI Light"/>
                <a:ea typeface="Calibri" panose="020F0502020204030204" pitchFamily="34" charset="0"/>
                <a:cs typeface="Times New Roman" panose="02020603050405020304" pitchFamily="18" charset="0"/>
              </a:rPr>
              <a:t>“Edit Queries” </a:t>
            </a:r>
            <a:r>
              <a:rPr kumimoji="0" lang="en-US" sz="1800" b="0" i="0" u="none" strike="noStrike" kern="1200" cap="none" spc="0" normalizeH="0" baseline="0" noProof="0">
                <a:ln>
                  <a:noFill/>
                </a:ln>
                <a:solidFill>
                  <a:prstClr val="black"/>
                </a:solidFill>
                <a:effectLst/>
                <a:uLnTx/>
                <a:uFillTx/>
                <a:latin typeface="Segoe UI Light"/>
                <a:ea typeface="Calibri" panose="020F0502020204030204" pitchFamily="34" charset="0"/>
                <a:cs typeface="Times New Roman" panose="02020603050405020304" pitchFamily="18" charset="0"/>
              </a:rPr>
              <a:t>option in the “Home” ribbon allows the edition of the imported entities</a:t>
            </a:r>
          </a:p>
          <a:p>
            <a:pPr marL="342900" marR="0" lvl="0" indent="-342900" algn="l" defTabSz="914400" rtl="0" eaLnBrk="1" fontAlgn="base" latinLnBrk="0" hangingPunct="1">
              <a:lnSpc>
                <a:spcPct val="100000"/>
              </a:lnSpc>
              <a:spcBef>
                <a:spcPts val="0"/>
              </a:spcBef>
              <a:spcAft>
                <a:spcPts val="300"/>
              </a:spcAft>
              <a:buClrTx/>
              <a:buSzPct val="90000"/>
              <a:buFont typeface="Symbol" panose="05050102010706020507" pitchFamily="18" charset="2"/>
              <a:buChar char=""/>
              <a:tabLst/>
              <a:defRPr/>
            </a:pPr>
            <a:endParaRPr kumimoji="0" lang="en-US" sz="1800" b="0" i="0" u="none" strike="noStrike" kern="1200" cap="none" spc="0" normalizeH="0" baseline="0" noProof="0">
              <a:ln>
                <a:noFill/>
              </a:ln>
              <a:solidFill>
                <a:prstClr val="black"/>
              </a:solidFill>
              <a:effectLst/>
              <a:uLnTx/>
              <a:uFillTx/>
              <a:latin typeface="Segoe UI Light"/>
              <a:ea typeface="Calibri" panose="020F0502020204030204" pitchFamily="34" charset="0"/>
              <a:cs typeface="Times New Roman" panose="02020603050405020304" pitchFamily="18" charset="0"/>
            </a:endParaRPr>
          </a:p>
          <a:p>
            <a:pPr marL="342900" marR="0" lvl="0" indent="-342900" algn="l" defTabSz="914400" rtl="0" eaLnBrk="1" fontAlgn="base" latinLnBrk="0" hangingPunct="1">
              <a:lnSpc>
                <a:spcPct val="100000"/>
              </a:lnSpc>
              <a:spcBef>
                <a:spcPts val="0"/>
              </a:spcBef>
              <a:spcAft>
                <a:spcPts val="300"/>
              </a:spcAft>
              <a:buClrTx/>
              <a:buSzPct val="90000"/>
              <a:buFont typeface="Symbol" panose="05050102010706020507" pitchFamily="18" charset="2"/>
              <a:buChar char=""/>
              <a:tabLst/>
              <a:defRPr/>
            </a:pPr>
            <a:endParaRPr kumimoji="0" lang="en-US" sz="1800" b="1" i="0" u="none" strike="noStrike" kern="1200" cap="none" spc="0" normalizeH="0" baseline="0" noProof="0">
              <a:ln>
                <a:noFill/>
              </a:ln>
              <a:solidFill>
                <a:prstClr val="black"/>
              </a:solidFill>
              <a:effectLst/>
              <a:uLnTx/>
              <a:uFillTx/>
              <a:latin typeface="Segoe UI Light"/>
              <a:ea typeface="Calibri" panose="020F0502020204030204" pitchFamily="34" charset="0"/>
              <a:cs typeface="Times New Roman" panose="02020603050405020304" pitchFamily="18" charset="0"/>
            </a:endParaRPr>
          </a:p>
        </p:txBody>
      </p:sp>
      <p:pic>
        <p:nvPicPr>
          <p:cNvPr id="6" name="Picture 5"/>
          <p:cNvPicPr>
            <a:picLocks noChangeAspect="1"/>
          </p:cNvPicPr>
          <p:nvPr/>
        </p:nvPicPr>
        <p:blipFill rotWithShape="1">
          <a:blip r:embed="rId3">
            <a:extLst>
              <a:ext uri="{28A0092B-C50C-407E-A947-70E740481C1C}">
                <a14:useLocalDpi xmlns:a14="http://schemas.microsoft.com/office/drawing/2010/main" val="0"/>
              </a:ext>
            </a:extLst>
          </a:blip>
          <a:srcRect r="15635" b="17361"/>
          <a:stretch/>
        </p:blipFill>
        <p:spPr>
          <a:xfrm>
            <a:off x="3103013" y="1603955"/>
            <a:ext cx="3872759" cy="2762502"/>
          </a:xfrm>
          <a:prstGeom prst="rect">
            <a:avLst/>
          </a:prstGeom>
          <a:ln>
            <a:noFill/>
          </a:ln>
          <a:effectLst>
            <a:outerShdw blurRad="190500" algn="tl" rotWithShape="0">
              <a:srgbClr val="000000">
                <a:alpha val="70000"/>
              </a:srgbClr>
            </a:outerShdw>
          </a:effectLst>
        </p:spPr>
      </p:pic>
      <p:pic>
        <p:nvPicPr>
          <p:cNvPr id="7" name="Picture 6"/>
          <p:cNvPicPr>
            <a:picLocks noChangeAspect="1"/>
          </p:cNvPicPr>
          <p:nvPr/>
        </p:nvPicPr>
        <p:blipFill>
          <a:blip r:embed="rId4"/>
          <a:stretch>
            <a:fillRect/>
          </a:stretch>
        </p:blipFill>
        <p:spPr>
          <a:xfrm>
            <a:off x="5039392" y="3119035"/>
            <a:ext cx="3030324" cy="3643871"/>
          </a:xfrm>
          <a:prstGeom prst="rect">
            <a:avLst/>
          </a:prstGeom>
          <a:ln>
            <a:noFill/>
          </a:ln>
          <a:effectLst>
            <a:outerShdw blurRad="190500" algn="tl" rotWithShape="0">
              <a:srgbClr val="000000">
                <a:alpha val="70000"/>
              </a:srgbClr>
            </a:outerShdw>
          </a:effectLst>
        </p:spPr>
      </p:pic>
      <p:sp>
        <p:nvSpPr>
          <p:cNvPr id="42" name="Text Placeholder 2"/>
          <p:cNvSpPr txBox="1">
            <a:spLocks/>
          </p:cNvSpPr>
          <p:nvPr/>
        </p:nvSpPr>
        <p:spPr>
          <a:xfrm>
            <a:off x="8192021" y="3580855"/>
            <a:ext cx="3720231" cy="2970257"/>
          </a:xfrm>
          <a:prstGeom prst="rect">
            <a:avLst/>
          </a:prstGeom>
        </p:spPr>
        <p:txBody>
          <a:bodyPr vert="horz" wrap="square" lIns="182880" tIns="146304" rIns="182880" bIns="146304" rtlCol="0">
            <a:noAutofit/>
          </a:bodyPr>
          <a:lstStyle>
            <a:lvl1pPr marL="182845" marR="0"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3921" kern="1200" spc="0" baseline="0">
                <a:gradFill>
                  <a:gsLst>
                    <a:gs pos="1250">
                      <a:schemeClr val="tx2"/>
                    </a:gs>
                    <a:gs pos="99000">
                      <a:schemeClr val="tx2"/>
                    </a:gs>
                  </a:gsLst>
                  <a:lin ang="5400000" scaled="0"/>
                </a:gradFill>
                <a:latin typeface="+mj-lt"/>
                <a:ea typeface="+mn-ea"/>
                <a:cs typeface="+mn-cs"/>
              </a:defRPr>
            </a:lvl1pPr>
            <a:lvl2pPr marL="365690" marR="0"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2400" kern="1200" spc="0" baseline="0">
                <a:solidFill>
                  <a:schemeClr val="tx2"/>
                </a:solidFill>
                <a:latin typeface="+mj-lt"/>
                <a:ea typeface="+mn-ea"/>
                <a:cs typeface="+mn-cs"/>
              </a:defRPr>
            </a:lvl2pPr>
            <a:lvl3pPr marL="548535" marR="0"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2000" kern="1200" spc="0" baseline="0">
                <a:solidFill>
                  <a:schemeClr val="tx2"/>
                </a:solidFill>
                <a:latin typeface="+mj-lt"/>
                <a:ea typeface="+mn-ea"/>
                <a:cs typeface="+mn-cs"/>
              </a:defRPr>
            </a:lvl3pPr>
            <a:lvl4pPr marL="733802" marR="0" indent="-28569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1765" kern="1200" spc="0" baseline="0">
                <a:solidFill>
                  <a:schemeClr val="tx2"/>
                </a:solidFill>
                <a:latin typeface="+mn-lt"/>
                <a:ea typeface="+mn-ea"/>
                <a:cs typeface="+mn-cs"/>
              </a:defRPr>
            </a:lvl4pPr>
            <a:lvl5pPr marL="957856" marR="0" indent="-28569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1765" kern="1200" spc="0" baseline="0">
                <a:solidFill>
                  <a:schemeClr val="tx2"/>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342900" marR="0" lvl="0" indent="-342900" algn="l" defTabSz="914400" rtl="0" eaLnBrk="1" fontAlgn="base" latinLnBrk="0" hangingPunct="1">
              <a:lnSpc>
                <a:spcPct val="100000"/>
              </a:lnSpc>
              <a:spcBef>
                <a:spcPts val="0"/>
              </a:spcBef>
              <a:spcAft>
                <a:spcPts val="300"/>
              </a:spcAft>
              <a:buClrTx/>
              <a:buSzPct val="90000"/>
              <a:buFont typeface="Symbol" panose="05050102010706020507" pitchFamily="18" charset="2"/>
              <a:buChar char=""/>
              <a:tabLst/>
              <a:defRPr/>
            </a:pPr>
            <a:r>
              <a:rPr kumimoji="0" lang="en-US" sz="1800" b="1" i="0" u="none" strike="noStrike" kern="1200" cap="none" spc="0" normalizeH="0" baseline="0" noProof="0">
                <a:ln>
                  <a:noFill/>
                </a:ln>
                <a:solidFill>
                  <a:prstClr val="black"/>
                </a:solidFill>
                <a:effectLst/>
                <a:uLnTx/>
                <a:uFillTx/>
                <a:latin typeface="Segoe UI Light"/>
                <a:ea typeface="Calibri" panose="020F0502020204030204" pitchFamily="34" charset="0"/>
                <a:cs typeface="Times New Roman" panose="02020603050405020304" pitchFamily="18" charset="0"/>
              </a:rPr>
              <a:t>Each entity </a:t>
            </a:r>
            <a:r>
              <a:rPr kumimoji="0" lang="en-US" sz="1800" b="0" i="0" u="none" strike="noStrike" kern="1200" cap="none" spc="0" normalizeH="0" baseline="0" noProof="0">
                <a:ln>
                  <a:noFill/>
                </a:ln>
                <a:solidFill>
                  <a:prstClr val="black"/>
                </a:solidFill>
                <a:effectLst/>
                <a:uLnTx/>
                <a:uFillTx/>
                <a:latin typeface="Segoe UI Light"/>
                <a:ea typeface="Calibri" panose="020F0502020204030204" pitchFamily="34" charset="0"/>
                <a:cs typeface="Times New Roman" panose="02020603050405020304" pitchFamily="18" charset="0"/>
              </a:rPr>
              <a:t>that was loaded from each data source will generate a </a:t>
            </a:r>
            <a:r>
              <a:rPr kumimoji="0" lang="en-US" sz="1800" b="1" i="0" u="none" strike="noStrike" kern="1200" cap="none" spc="0" normalizeH="0" baseline="0" noProof="0">
                <a:ln>
                  <a:noFill/>
                </a:ln>
                <a:solidFill>
                  <a:prstClr val="black"/>
                </a:solidFill>
                <a:effectLst/>
                <a:uLnTx/>
                <a:uFillTx/>
                <a:latin typeface="Segoe UI Light"/>
                <a:ea typeface="Calibri" panose="020F0502020204030204" pitchFamily="34" charset="0"/>
                <a:cs typeface="Times New Roman" panose="02020603050405020304" pitchFamily="18" charset="0"/>
              </a:rPr>
              <a:t>separate query</a:t>
            </a:r>
            <a:endParaRPr kumimoji="0" lang="en-US" sz="1800" b="0" i="0" u="none" strike="noStrike" kern="1200" cap="none" spc="0" normalizeH="0" baseline="0" noProof="0">
              <a:ln>
                <a:noFill/>
              </a:ln>
              <a:solidFill>
                <a:prstClr val="black"/>
              </a:solidFill>
              <a:effectLst/>
              <a:uLnTx/>
              <a:uFillTx/>
              <a:latin typeface="Segoe UI Light"/>
              <a:ea typeface="Calibri" panose="020F0502020204030204" pitchFamily="34" charset="0"/>
              <a:cs typeface="Times New Roman" panose="02020603050405020304" pitchFamily="18" charset="0"/>
            </a:endParaRPr>
          </a:p>
          <a:p>
            <a:pPr marL="342900" marR="0" lvl="0" indent="-342900" algn="l" defTabSz="914400" rtl="0" eaLnBrk="1" fontAlgn="base" latinLnBrk="0" hangingPunct="1">
              <a:lnSpc>
                <a:spcPct val="100000"/>
              </a:lnSpc>
              <a:spcBef>
                <a:spcPts val="0"/>
              </a:spcBef>
              <a:spcAft>
                <a:spcPts val="300"/>
              </a:spcAft>
              <a:buClrTx/>
              <a:buSzPct val="90000"/>
              <a:buFont typeface="Symbol" panose="05050102010706020507" pitchFamily="18" charset="2"/>
              <a:buChar char=""/>
              <a:tabLst/>
              <a:defRPr/>
            </a:pPr>
            <a:endParaRPr kumimoji="0" lang="en-US" sz="1800" b="0" i="0" u="none" strike="noStrike" kern="1200" cap="none" spc="0" normalizeH="0" baseline="0" noProof="0">
              <a:ln>
                <a:noFill/>
              </a:ln>
              <a:solidFill>
                <a:prstClr val="black"/>
              </a:solidFill>
              <a:effectLst/>
              <a:uLnTx/>
              <a:uFillTx/>
              <a:latin typeface="Segoe UI Light"/>
              <a:ea typeface="Calibri" panose="020F0502020204030204" pitchFamily="34" charset="0"/>
              <a:cs typeface="Times New Roman" panose="02020603050405020304" pitchFamily="18" charset="0"/>
            </a:endParaRPr>
          </a:p>
          <a:p>
            <a:pPr marL="342900" marR="0" lvl="0" indent="-342900" algn="l" defTabSz="914400" rtl="0" eaLnBrk="1" fontAlgn="base" latinLnBrk="0" hangingPunct="1">
              <a:lnSpc>
                <a:spcPct val="100000"/>
              </a:lnSpc>
              <a:spcBef>
                <a:spcPts val="0"/>
              </a:spcBef>
              <a:spcAft>
                <a:spcPts val="300"/>
              </a:spcAft>
              <a:buClrTx/>
              <a:buSzPct val="90000"/>
              <a:buFont typeface="Symbol" panose="05050102010706020507" pitchFamily="18" charset="2"/>
              <a:buChar char=""/>
              <a:tabLst/>
              <a:defRPr/>
            </a:pPr>
            <a:r>
              <a:rPr kumimoji="0" lang="en-US" sz="1800" b="1" i="0" u="none" strike="noStrike" kern="1200" cap="none" spc="0" normalizeH="0" baseline="0" noProof="0">
                <a:ln>
                  <a:noFill/>
                </a:ln>
                <a:solidFill>
                  <a:prstClr val="black"/>
                </a:solidFill>
                <a:effectLst/>
                <a:uLnTx/>
                <a:uFillTx/>
                <a:latin typeface="Segoe UI Light"/>
                <a:ea typeface="Calibri" panose="020F0502020204030204" pitchFamily="34" charset="0"/>
                <a:cs typeface="Times New Roman" panose="02020603050405020304" pitchFamily="18" charset="0"/>
              </a:rPr>
              <a:t>Transformations</a:t>
            </a:r>
            <a:r>
              <a:rPr kumimoji="0" lang="en-US" sz="1800" b="0" i="0" u="none" strike="noStrike" kern="1200" cap="none" spc="0" normalizeH="0" baseline="0" noProof="0">
                <a:ln>
                  <a:noFill/>
                </a:ln>
                <a:solidFill>
                  <a:prstClr val="black"/>
                </a:solidFill>
                <a:effectLst/>
                <a:uLnTx/>
                <a:uFillTx/>
                <a:latin typeface="Segoe UI Light"/>
                <a:ea typeface="Calibri" panose="020F0502020204030204" pitchFamily="34" charset="0"/>
                <a:cs typeface="Times New Roman" panose="02020603050405020304" pitchFamily="18" charset="0"/>
              </a:rPr>
              <a:t> are applied </a:t>
            </a:r>
            <a:r>
              <a:rPr kumimoji="0" lang="en-US" sz="1800" b="1" i="0" u="none" strike="noStrike" kern="1200" cap="none" spc="0" normalizeH="0" baseline="0" noProof="0">
                <a:ln>
                  <a:noFill/>
                </a:ln>
                <a:solidFill>
                  <a:prstClr val="black"/>
                </a:solidFill>
                <a:effectLst/>
                <a:uLnTx/>
                <a:uFillTx/>
                <a:latin typeface="Segoe UI Light"/>
                <a:ea typeface="Calibri" panose="020F0502020204030204" pitchFamily="34" charset="0"/>
                <a:cs typeface="Times New Roman" panose="02020603050405020304" pitchFamily="18" charset="0"/>
              </a:rPr>
              <a:t>per-entity</a:t>
            </a:r>
            <a:r>
              <a:rPr kumimoji="0" lang="en-US" sz="1800" b="0" i="0" u="none" strike="noStrike" kern="1200" cap="none" spc="0" normalizeH="0" baseline="0" noProof="0">
                <a:ln>
                  <a:noFill/>
                </a:ln>
                <a:solidFill>
                  <a:prstClr val="black"/>
                </a:solidFill>
                <a:effectLst/>
                <a:uLnTx/>
                <a:uFillTx/>
                <a:latin typeface="Segoe UI Light"/>
                <a:ea typeface="Calibri" panose="020F0502020204030204" pitchFamily="34" charset="0"/>
                <a:cs typeface="Times New Roman" panose="02020603050405020304" pitchFamily="18" charset="0"/>
              </a:rPr>
              <a:t>, although it is possible to combine them.</a:t>
            </a:r>
            <a:endParaRPr kumimoji="0" lang="en-US" sz="1800" b="1" i="0" u="none" strike="noStrike" kern="1200" cap="none" spc="0" normalizeH="0" baseline="0" noProof="0">
              <a:ln>
                <a:noFill/>
              </a:ln>
              <a:solidFill>
                <a:prstClr val="black"/>
              </a:solidFill>
              <a:effectLst/>
              <a:uLnTx/>
              <a:uFillTx/>
              <a:latin typeface="Segoe UI Light"/>
              <a:ea typeface="Calibri" panose="020F0502020204030204" pitchFamily="34" charset="0"/>
              <a:cs typeface="Times New Roman" panose="02020603050405020304" pitchFamily="18" charset="0"/>
            </a:endParaRPr>
          </a:p>
        </p:txBody>
      </p:sp>
      <p:sp>
        <p:nvSpPr>
          <p:cNvPr id="5" name="Title 4"/>
          <p:cNvSpPr>
            <a:spLocks noGrp="1"/>
          </p:cNvSpPr>
          <p:nvPr>
            <p:ph type="title"/>
          </p:nvPr>
        </p:nvSpPr>
        <p:spPr/>
        <p:txBody>
          <a:bodyPr/>
          <a:lstStyle/>
          <a:p>
            <a:r>
              <a:rPr lang="en-US" i="1">
                <a:solidFill>
                  <a:schemeClr val="tx1"/>
                </a:solidFill>
              </a:rPr>
              <a:t>Query Editor</a:t>
            </a:r>
            <a:endParaRPr lang="en-GB"/>
          </a:p>
        </p:txBody>
      </p:sp>
    </p:spTree>
    <p:extLst>
      <p:ext uri="{BB962C8B-B14F-4D97-AF65-F5344CB8AC3E}">
        <p14:creationId xmlns:p14="http://schemas.microsoft.com/office/powerpoint/2010/main" val="22676410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p:cNvGrpSpPr/>
          <p:nvPr/>
        </p:nvGrpSpPr>
        <p:grpSpPr>
          <a:xfrm>
            <a:off x="-11149" y="0"/>
            <a:ext cx="2849058" cy="6858000"/>
            <a:chOff x="2" y="1"/>
            <a:chExt cx="2849058" cy="6858000"/>
          </a:xfrm>
        </p:grpSpPr>
        <p:sp>
          <p:nvSpPr>
            <p:cNvPr id="70" name="Rectangle 69"/>
            <p:cNvSpPr/>
            <p:nvPr/>
          </p:nvSpPr>
          <p:spPr bwMode="auto">
            <a:xfrm>
              <a:off x="2" y="1"/>
              <a:ext cx="2849058"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5" name="Oval 70"/>
            <p:cNvSpPr/>
            <p:nvPr/>
          </p:nvSpPr>
          <p:spPr>
            <a:xfrm>
              <a:off x="1413521" y="4951537"/>
              <a:ext cx="1119626" cy="1119626"/>
            </a:xfrm>
            <a:prstGeom prst="ellipse">
              <a:avLst/>
            </a:prstGeom>
            <a:solidFill>
              <a:srgbClr val="F2C812"/>
            </a:solidFill>
            <a:ln w="3175" cap="flat" cmpd="sng" algn="ctr">
              <a:noFill/>
              <a:prstDash val="solid"/>
            </a:ln>
            <a:effectLst/>
          </p:spPr>
          <p:txBody>
            <a:bodyPr vert="horz" wrap="none" lIns="0" tIns="45720" rIns="0" bIns="0" rtlCol="0" anchor="t"/>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Segoe UI"/>
                  <a:ea typeface="Segoe UI" pitchFamily="34" charset="0"/>
                  <a:cs typeface="Segoe UI" pitchFamily="34" charset="0"/>
                </a:rPr>
                <a:t>Share &amp;</a:t>
              </a:r>
            </a:p>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Segoe UI"/>
                  <a:ea typeface="Segoe UI" pitchFamily="34" charset="0"/>
                  <a:cs typeface="Segoe UI" pitchFamily="34" charset="0"/>
                </a:rPr>
                <a:t>collaborate </a:t>
              </a:r>
            </a:p>
          </p:txBody>
        </p:sp>
        <p:grpSp>
          <p:nvGrpSpPr>
            <p:cNvPr id="66" name="Group 38"/>
            <p:cNvGrpSpPr>
              <a:grpSpLocks noChangeAspect="1"/>
            </p:cNvGrpSpPr>
            <p:nvPr/>
          </p:nvGrpSpPr>
          <p:grpSpPr>
            <a:xfrm>
              <a:off x="676996" y="3930692"/>
              <a:ext cx="383905" cy="351536"/>
              <a:chOff x="4363684" y="5330386"/>
              <a:chExt cx="1409956" cy="1291077"/>
            </a:xfrm>
            <a:solidFill>
              <a:srgbClr val="217346"/>
            </a:solidFill>
          </p:grpSpPr>
          <p:sp>
            <p:nvSpPr>
              <p:cNvPr id="67" name="Donut 3"/>
              <p:cNvSpPr/>
              <p:nvPr/>
            </p:nvSpPr>
            <p:spPr bwMode="auto">
              <a:xfrm>
                <a:off x="4363684" y="5330386"/>
                <a:ext cx="1409956" cy="1291077"/>
              </a:xfrm>
              <a:custGeom>
                <a:avLst/>
                <a:gdLst/>
                <a:ahLst/>
                <a:cxnLst/>
                <a:rect l="l" t="t" r="r" b="b"/>
                <a:pathLst>
                  <a:path w="1409956" h="1291077">
                    <a:moveTo>
                      <a:pt x="956401" y="78410"/>
                    </a:moveTo>
                    <a:cubicBezTo>
                      <a:pt x="747518" y="78410"/>
                      <a:pt x="578184" y="247744"/>
                      <a:pt x="578184" y="456627"/>
                    </a:cubicBezTo>
                    <a:cubicBezTo>
                      <a:pt x="578184" y="665510"/>
                      <a:pt x="747518" y="834844"/>
                      <a:pt x="956401" y="834844"/>
                    </a:cubicBezTo>
                    <a:cubicBezTo>
                      <a:pt x="1165284" y="834844"/>
                      <a:pt x="1334618" y="665510"/>
                      <a:pt x="1334618" y="456627"/>
                    </a:cubicBezTo>
                    <a:cubicBezTo>
                      <a:pt x="1334618" y="247744"/>
                      <a:pt x="1165284" y="78410"/>
                      <a:pt x="956401" y="78410"/>
                    </a:cubicBezTo>
                    <a:close/>
                    <a:moveTo>
                      <a:pt x="952756" y="0"/>
                    </a:moveTo>
                    <a:cubicBezTo>
                      <a:pt x="1205261" y="0"/>
                      <a:pt x="1409956" y="204695"/>
                      <a:pt x="1409956" y="457200"/>
                    </a:cubicBezTo>
                    <a:cubicBezTo>
                      <a:pt x="1409956" y="709705"/>
                      <a:pt x="1205261" y="914400"/>
                      <a:pt x="952756" y="914400"/>
                    </a:cubicBezTo>
                    <a:cubicBezTo>
                      <a:pt x="862133" y="914400"/>
                      <a:pt x="777669" y="888034"/>
                      <a:pt x="707132" y="841746"/>
                    </a:cubicBezTo>
                    <a:lnTo>
                      <a:pt x="136495" y="1280102"/>
                    </a:lnTo>
                    <a:cubicBezTo>
                      <a:pt x="21896" y="1327168"/>
                      <a:pt x="-44029" y="1213730"/>
                      <a:pt x="33797" y="1113182"/>
                    </a:cubicBezTo>
                    <a:lnTo>
                      <a:pt x="568587" y="703518"/>
                    </a:lnTo>
                    <a:cubicBezTo>
                      <a:pt x="522087" y="632814"/>
                      <a:pt x="495556" y="548105"/>
                      <a:pt x="495556" y="457200"/>
                    </a:cubicBezTo>
                    <a:cubicBezTo>
                      <a:pt x="495556" y="204695"/>
                      <a:pt x="700251" y="0"/>
                      <a:pt x="952756" y="0"/>
                    </a:cubicBezTo>
                    <a:close/>
                  </a:path>
                </a:pathLst>
              </a:custGeom>
              <a:grpFill/>
              <a:ln>
                <a:solidFill>
                  <a:srgbClr val="21734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sp>
            <p:nvSpPr>
              <p:cNvPr id="68" name="Rectangle 4"/>
              <p:cNvSpPr/>
              <p:nvPr/>
            </p:nvSpPr>
            <p:spPr>
              <a:xfrm>
                <a:off x="5058389" y="5528247"/>
                <a:ext cx="490885" cy="490020"/>
              </a:xfrm>
              <a:custGeom>
                <a:avLst/>
                <a:gdLst/>
                <a:ahLst/>
                <a:cxnLst/>
                <a:rect l="l" t="t" r="r" b="b"/>
                <a:pathLst>
                  <a:path w="490885" h="490020">
                    <a:moveTo>
                      <a:pt x="240752" y="0"/>
                    </a:moveTo>
                    <a:cubicBezTo>
                      <a:pt x="253961" y="11844"/>
                      <a:pt x="293310" y="49692"/>
                      <a:pt x="337332" y="92439"/>
                    </a:cubicBezTo>
                    <a:lnTo>
                      <a:pt x="328342" y="81259"/>
                    </a:lnTo>
                    <a:cubicBezTo>
                      <a:pt x="356946" y="111282"/>
                      <a:pt x="377251" y="107167"/>
                      <a:pt x="382515" y="87941"/>
                    </a:cubicBezTo>
                    <a:cubicBezTo>
                      <a:pt x="383951" y="76921"/>
                      <a:pt x="384595" y="68732"/>
                      <a:pt x="396997" y="52239"/>
                    </a:cubicBezTo>
                    <a:cubicBezTo>
                      <a:pt x="420362" y="32084"/>
                      <a:pt x="442294" y="41736"/>
                      <a:pt x="454920" y="51330"/>
                    </a:cubicBezTo>
                    <a:cubicBezTo>
                      <a:pt x="467834" y="62761"/>
                      <a:pt x="477920" y="86882"/>
                      <a:pt x="460392" y="109714"/>
                    </a:cubicBezTo>
                    <a:cubicBezTo>
                      <a:pt x="451128" y="121912"/>
                      <a:pt x="437554" y="126838"/>
                      <a:pt x="425922" y="126505"/>
                    </a:cubicBezTo>
                    <a:cubicBezTo>
                      <a:pt x="424301" y="127609"/>
                      <a:pt x="382890" y="134974"/>
                      <a:pt x="427348" y="177672"/>
                    </a:cubicBezTo>
                    <a:lnTo>
                      <a:pt x="416886" y="169735"/>
                    </a:lnTo>
                    <a:cubicBezTo>
                      <a:pt x="450207" y="202177"/>
                      <a:pt x="478424" y="229744"/>
                      <a:pt x="490885" y="241900"/>
                    </a:cubicBezTo>
                    <a:lnTo>
                      <a:pt x="417150" y="317347"/>
                    </a:lnTo>
                    <a:cubicBezTo>
                      <a:pt x="417744" y="316535"/>
                      <a:pt x="418443" y="316123"/>
                      <a:pt x="419047" y="315822"/>
                    </a:cubicBezTo>
                    <a:cubicBezTo>
                      <a:pt x="389023" y="344426"/>
                      <a:pt x="393138" y="364731"/>
                      <a:pt x="412364" y="369995"/>
                    </a:cubicBezTo>
                    <a:cubicBezTo>
                      <a:pt x="423384" y="371431"/>
                      <a:pt x="431574" y="372075"/>
                      <a:pt x="448067" y="384477"/>
                    </a:cubicBezTo>
                    <a:cubicBezTo>
                      <a:pt x="468221" y="407842"/>
                      <a:pt x="458569" y="429774"/>
                      <a:pt x="448975" y="442400"/>
                    </a:cubicBezTo>
                    <a:cubicBezTo>
                      <a:pt x="437545" y="455314"/>
                      <a:pt x="413423" y="465400"/>
                      <a:pt x="390591" y="447872"/>
                    </a:cubicBezTo>
                    <a:cubicBezTo>
                      <a:pt x="378394" y="438608"/>
                      <a:pt x="373468" y="425034"/>
                      <a:pt x="373800" y="413402"/>
                    </a:cubicBezTo>
                    <a:cubicBezTo>
                      <a:pt x="372696" y="411781"/>
                      <a:pt x="365332" y="370370"/>
                      <a:pt x="322634" y="414828"/>
                    </a:cubicBezTo>
                    <a:lnTo>
                      <a:pt x="325243" y="411388"/>
                    </a:lnTo>
                    <a:lnTo>
                      <a:pt x="248395" y="490020"/>
                    </a:lnTo>
                    <a:cubicBezTo>
                      <a:pt x="208939" y="451897"/>
                      <a:pt x="199129" y="442073"/>
                      <a:pt x="174192" y="418236"/>
                    </a:cubicBezTo>
                    <a:cubicBezTo>
                      <a:pt x="145587" y="388212"/>
                      <a:pt x="125282" y="392327"/>
                      <a:pt x="120018" y="411553"/>
                    </a:cubicBezTo>
                    <a:cubicBezTo>
                      <a:pt x="118582" y="422573"/>
                      <a:pt x="117938" y="430763"/>
                      <a:pt x="105536" y="447256"/>
                    </a:cubicBezTo>
                    <a:cubicBezTo>
                      <a:pt x="82171" y="467410"/>
                      <a:pt x="60239" y="457758"/>
                      <a:pt x="47614" y="448164"/>
                    </a:cubicBezTo>
                    <a:cubicBezTo>
                      <a:pt x="34699" y="436734"/>
                      <a:pt x="24614" y="412612"/>
                      <a:pt x="42141" y="389780"/>
                    </a:cubicBezTo>
                    <a:cubicBezTo>
                      <a:pt x="51405" y="377583"/>
                      <a:pt x="64979" y="372657"/>
                      <a:pt x="76612" y="372989"/>
                    </a:cubicBezTo>
                    <a:cubicBezTo>
                      <a:pt x="78232" y="371886"/>
                      <a:pt x="119644" y="364521"/>
                      <a:pt x="75186" y="321823"/>
                    </a:cubicBezTo>
                    <a:cubicBezTo>
                      <a:pt x="58767" y="305402"/>
                      <a:pt x="23648" y="271235"/>
                      <a:pt x="0" y="248738"/>
                    </a:cubicBezTo>
                    <a:lnTo>
                      <a:pt x="77303" y="168146"/>
                    </a:lnTo>
                    <a:cubicBezTo>
                      <a:pt x="104269" y="140313"/>
                      <a:pt x="122130" y="156409"/>
                      <a:pt x="124388" y="175543"/>
                    </a:cubicBezTo>
                    <a:cubicBezTo>
                      <a:pt x="124457" y="182466"/>
                      <a:pt x="127106" y="193106"/>
                      <a:pt x="137575" y="203052"/>
                    </a:cubicBezTo>
                    <a:cubicBezTo>
                      <a:pt x="153931" y="220277"/>
                      <a:pt x="181252" y="217451"/>
                      <a:pt x="196721" y="201951"/>
                    </a:cubicBezTo>
                    <a:cubicBezTo>
                      <a:pt x="211961" y="185740"/>
                      <a:pt x="213057" y="157882"/>
                      <a:pt x="196146" y="142797"/>
                    </a:cubicBezTo>
                    <a:cubicBezTo>
                      <a:pt x="184301" y="132637"/>
                      <a:pt x="177155" y="131453"/>
                      <a:pt x="166513" y="129894"/>
                    </a:cubicBezTo>
                    <a:cubicBezTo>
                      <a:pt x="154522" y="129013"/>
                      <a:pt x="131185" y="112953"/>
                      <a:pt x="157905" y="85228"/>
                    </a:cubicBezTo>
                    <a:close/>
                  </a:path>
                </a:pathLst>
              </a:custGeom>
              <a:grpFill/>
              <a:ln>
                <a:solidFill>
                  <a:srgbClr val="21734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grpSp>
        <p:sp>
          <p:nvSpPr>
            <p:cNvPr id="69" name="Oval 47"/>
            <p:cNvSpPr/>
            <p:nvPr/>
          </p:nvSpPr>
          <p:spPr>
            <a:xfrm>
              <a:off x="388608" y="3710471"/>
              <a:ext cx="1119626" cy="1119626"/>
            </a:xfrm>
            <a:prstGeom prst="ellipse">
              <a:avLst/>
            </a:prstGeom>
            <a:solidFill>
              <a:srgbClr val="F2C812"/>
            </a:solidFill>
            <a:ln w="3175" cap="flat" cmpd="sng" algn="ctr">
              <a:noFill/>
              <a:prstDash val="solid"/>
            </a:ln>
            <a:effectLst/>
          </p:spPr>
          <p:txBody>
            <a:bodyPr vert="horz" wrap="none" lIns="0" tIns="45720" rIns="0" bIns="0" rtlCol="0" anchor="t"/>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Segoe UI"/>
                  <a:ea typeface="Segoe UI" pitchFamily="34" charset="0"/>
                  <a:cs typeface="Segoe UI" pitchFamily="34" charset="0"/>
                </a:rPr>
                <a:t>Report</a:t>
              </a:r>
            </a:p>
          </p:txBody>
        </p:sp>
        <p:sp>
          <p:nvSpPr>
            <p:cNvPr id="85" name="Oval 950"/>
            <p:cNvSpPr/>
            <p:nvPr/>
          </p:nvSpPr>
          <p:spPr>
            <a:xfrm>
              <a:off x="388608" y="1252295"/>
              <a:ext cx="1119626" cy="1119626"/>
            </a:xfrm>
            <a:prstGeom prst="ellipse">
              <a:avLst/>
            </a:prstGeom>
            <a:solidFill>
              <a:srgbClr val="F2C812"/>
            </a:solidFill>
            <a:ln w="3175" cap="flat" cmpd="sng" algn="ctr">
              <a:noFill/>
              <a:prstDash val="solid"/>
            </a:ln>
            <a:effectLst/>
          </p:spPr>
          <p:txBody>
            <a:bodyPr vert="horz" wrap="none" lIns="0" tIns="45720" rIns="0" bIns="0" rtlCol="0" anchor="t"/>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1" i="0" u="none" strike="noStrike" kern="1200" cap="none" spc="0" normalizeH="0" baseline="0" noProof="0">
                <a:ln>
                  <a:noFill/>
                </a:ln>
                <a:solidFill>
                  <a:srgbClr val="217346"/>
                </a:solidFill>
                <a:effectLst/>
                <a:uLnTx/>
                <a:uFillTx/>
                <a:latin typeface="Segoe UI"/>
                <a:ea typeface="Segoe UI" pitchFamily="34" charset="0"/>
                <a:cs typeface="Segoe UI" pitchFamily="34" charset="0"/>
              </a:endParaRPr>
            </a:p>
          </p:txBody>
        </p:sp>
        <p:grpSp>
          <p:nvGrpSpPr>
            <p:cNvPr id="86" name="Group 85"/>
            <p:cNvGrpSpPr/>
            <p:nvPr/>
          </p:nvGrpSpPr>
          <p:grpSpPr>
            <a:xfrm>
              <a:off x="1264851" y="3482890"/>
              <a:ext cx="292254" cy="354906"/>
              <a:chOff x="1296521" y="3253388"/>
              <a:chExt cx="292254" cy="354906"/>
            </a:xfrm>
            <a:solidFill>
              <a:srgbClr val="F2C812"/>
            </a:solidFill>
          </p:grpSpPr>
          <p:sp>
            <p:nvSpPr>
              <p:cNvPr id="87" name="Isosceles Triangle 86"/>
              <p:cNvSpPr/>
              <p:nvPr/>
            </p:nvSpPr>
            <p:spPr bwMode="auto">
              <a:xfrm rot="13636515">
                <a:off x="1461362" y="328936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8" name="Isosceles Triangle 87"/>
              <p:cNvSpPr/>
              <p:nvPr/>
            </p:nvSpPr>
            <p:spPr bwMode="auto">
              <a:xfrm rot="13636515">
                <a:off x="1357669" y="338258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9" name="Isosceles Triangle 88"/>
              <p:cNvSpPr/>
              <p:nvPr/>
            </p:nvSpPr>
            <p:spPr bwMode="auto">
              <a:xfrm rot="13636515">
                <a:off x="1260548" y="3480882"/>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90" name="Group 89"/>
            <p:cNvGrpSpPr/>
            <p:nvPr/>
          </p:nvGrpSpPr>
          <p:grpSpPr>
            <a:xfrm rot="15940603">
              <a:off x="1334576" y="2204404"/>
              <a:ext cx="292254" cy="354906"/>
              <a:chOff x="1296521" y="3253388"/>
              <a:chExt cx="292254" cy="354906"/>
            </a:xfrm>
            <a:solidFill>
              <a:srgbClr val="F2C812"/>
            </a:solidFill>
          </p:grpSpPr>
          <p:sp>
            <p:nvSpPr>
              <p:cNvPr id="91" name="Isosceles Triangle 90"/>
              <p:cNvSpPr/>
              <p:nvPr/>
            </p:nvSpPr>
            <p:spPr bwMode="auto">
              <a:xfrm rot="13636515">
                <a:off x="1461362" y="328936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2" name="Isosceles Triangle 91"/>
              <p:cNvSpPr/>
              <p:nvPr/>
            </p:nvSpPr>
            <p:spPr bwMode="auto">
              <a:xfrm rot="13636515">
                <a:off x="1357669" y="338258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3" name="Isosceles Triangle 92"/>
              <p:cNvSpPr/>
              <p:nvPr/>
            </p:nvSpPr>
            <p:spPr bwMode="auto">
              <a:xfrm rot="13636515">
                <a:off x="1260548" y="3480882"/>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94" name="Group 93"/>
            <p:cNvGrpSpPr/>
            <p:nvPr/>
          </p:nvGrpSpPr>
          <p:grpSpPr>
            <a:xfrm rot="16043978">
              <a:off x="1317220" y="4717577"/>
              <a:ext cx="292254" cy="354906"/>
              <a:chOff x="1296521" y="3253388"/>
              <a:chExt cx="292254" cy="354906"/>
            </a:xfrm>
            <a:solidFill>
              <a:srgbClr val="F2C812"/>
            </a:solidFill>
          </p:grpSpPr>
          <p:sp>
            <p:nvSpPr>
              <p:cNvPr id="95" name="Isosceles Triangle 94"/>
              <p:cNvSpPr/>
              <p:nvPr/>
            </p:nvSpPr>
            <p:spPr bwMode="auto">
              <a:xfrm rot="13636515">
                <a:off x="1461362" y="328936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6" name="Isosceles Triangle 95"/>
              <p:cNvSpPr/>
              <p:nvPr/>
            </p:nvSpPr>
            <p:spPr bwMode="auto">
              <a:xfrm rot="13636515">
                <a:off x="1357669" y="338258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7" name="Isosceles Triangle 96"/>
              <p:cNvSpPr/>
              <p:nvPr/>
            </p:nvSpPr>
            <p:spPr bwMode="auto">
              <a:xfrm rot="13636515">
                <a:off x="1260548" y="3480882"/>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98" name="Oval 36"/>
            <p:cNvSpPr/>
            <p:nvPr/>
          </p:nvSpPr>
          <p:spPr>
            <a:xfrm>
              <a:off x="1413521" y="2481383"/>
              <a:ext cx="1119626" cy="1119626"/>
            </a:xfrm>
            <a:prstGeom prst="ellipse">
              <a:avLst/>
            </a:prstGeom>
            <a:solidFill>
              <a:srgbClr val="F2C812"/>
            </a:solidFill>
            <a:ln w="3175" cap="flat" cmpd="sng" algn="ctr">
              <a:noFill/>
              <a:prstDash val="solid"/>
            </a:ln>
            <a:effectLst/>
          </p:spPr>
          <p:txBody>
            <a:bodyPr vert="horz" wrap="none" lIns="0" tIns="0" rIns="0" bIns="0" rtlCol="0" anchor="t"/>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400" b="1" i="0" u="none" strike="noStrike" kern="1200" cap="none" spc="0" normalizeH="0" baseline="0" noProof="0">
                <a:ln>
                  <a:noFill/>
                </a:ln>
                <a:solidFill>
                  <a:srgbClr val="217346"/>
                </a:solidFill>
                <a:effectLst/>
                <a:uLnTx/>
                <a:uFillTx/>
                <a:latin typeface="Segoe UI"/>
                <a:ea typeface="Segoe UI" pitchFamily="34" charset="0"/>
                <a:cs typeface="Segoe UI" pitchFamily="34" charset="0"/>
              </a:endParaRPr>
            </a:p>
          </p:txBody>
        </p:sp>
        <p:sp>
          <p:nvSpPr>
            <p:cNvPr id="99" name="Donut 3"/>
            <p:cNvSpPr/>
            <p:nvPr/>
          </p:nvSpPr>
          <p:spPr bwMode="auto">
            <a:xfrm>
              <a:off x="1742065" y="3002355"/>
              <a:ext cx="383905" cy="351537"/>
            </a:xfrm>
            <a:custGeom>
              <a:avLst/>
              <a:gdLst/>
              <a:ahLst/>
              <a:cxnLst/>
              <a:rect l="l" t="t" r="r" b="b"/>
              <a:pathLst>
                <a:path w="1409956" h="1291077">
                  <a:moveTo>
                    <a:pt x="956401" y="78410"/>
                  </a:moveTo>
                  <a:cubicBezTo>
                    <a:pt x="747518" y="78410"/>
                    <a:pt x="578184" y="247744"/>
                    <a:pt x="578184" y="456627"/>
                  </a:cubicBezTo>
                  <a:cubicBezTo>
                    <a:pt x="578184" y="665510"/>
                    <a:pt x="747518" y="834844"/>
                    <a:pt x="956401" y="834844"/>
                  </a:cubicBezTo>
                  <a:cubicBezTo>
                    <a:pt x="1165284" y="834844"/>
                    <a:pt x="1334618" y="665510"/>
                    <a:pt x="1334618" y="456627"/>
                  </a:cubicBezTo>
                  <a:cubicBezTo>
                    <a:pt x="1334618" y="247744"/>
                    <a:pt x="1165284" y="78410"/>
                    <a:pt x="956401" y="78410"/>
                  </a:cubicBezTo>
                  <a:close/>
                  <a:moveTo>
                    <a:pt x="952756" y="0"/>
                  </a:moveTo>
                  <a:cubicBezTo>
                    <a:pt x="1205261" y="0"/>
                    <a:pt x="1409956" y="204695"/>
                    <a:pt x="1409956" y="457200"/>
                  </a:cubicBezTo>
                  <a:cubicBezTo>
                    <a:pt x="1409956" y="709705"/>
                    <a:pt x="1205261" y="914400"/>
                    <a:pt x="952756" y="914400"/>
                  </a:cubicBezTo>
                  <a:cubicBezTo>
                    <a:pt x="862133" y="914400"/>
                    <a:pt x="777669" y="888034"/>
                    <a:pt x="707132" y="841746"/>
                  </a:cubicBezTo>
                  <a:lnTo>
                    <a:pt x="136495" y="1280102"/>
                  </a:lnTo>
                  <a:cubicBezTo>
                    <a:pt x="21896" y="1327168"/>
                    <a:pt x="-44029" y="1213730"/>
                    <a:pt x="33797" y="1113182"/>
                  </a:cubicBezTo>
                  <a:lnTo>
                    <a:pt x="568587" y="703518"/>
                  </a:lnTo>
                  <a:cubicBezTo>
                    <a:pt x="522087" y="632814"/>
                    <a:pt x="495556" y="548105"/>
                    <a:pt x="495556" y="457200"/>
                  </a:cubicBezTo>
                  <a:cubicBezTo>
                    <a:pt x="495556" y="204695"/>
                    <a:pt x="700251" y="0"/>
                    <a:pt x="952756" y="0"/>
                  </a:cubicBezTo>
                  <a:close/>
                </a:path>
              </a:pathLst>
            </a:cu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ysClr val="windowText" lastClr="000000"/>
                </a:solidFill>
                <a:effectLst/>
                <a:uLnTx/>
                <a:uFillTx/>
                <a:latin typeface="Segoe UI"/>
                <a:ea typeface="+mn-ea"/>
                <a:cs typeface="+mn-cs"/>
              </a:endParaRPr>
            </a:p>
          </p:txBody>
        </p:sp>
        <p:sp>
          <p:nvSpPr>
            <p:cNvPr id="100" name="Rectangle 99"/>
            <p:cNvSpPr/>
            <p:nvPr/>
          </p:nvSpPr>
          <p:spPr>
            <a:xfrm>
              <a:off x="1600398" y="2677430"/>
              <a:ext cx="820353" cy="307777"/>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Segoe UI"/>
                  <a:ea typeface="Segoe UI" pitchFamily="34" charset="0"/>
                  <a:cs typeface="Segoe UI" pitchFamily="34" charset="0"/>
                </a:rPr>
                <a:t>Explore</a:t>
              </a:r>
              <a:endParaRPr kumimoji="0" lang="en-US" sz="1600" b="0" i="0" u="none" strike="noStrike" kern="1200" cap="none" spc="0" normalizeH="0" baseline="0" noProof="0">
                <a:ln>
                  <a:noFill/>
                </a:ln>
                <a:solidFill>
                  <a:prstClr val="black"/>
                </a:solidFill>
                <a:effectLst/>
                <a:uLnTx/>
                <a:uFillTx/>
                <a:latin typeface="Segoe UI"/>
                <a:ea typeface="+mn-ea"/>
                <a:cs typeface="+mn-cs"/>
              </a:endParaRPr>
            </a:p>
          </p:txBody>
        </p:sp>
        <p:sp>
          <p:nvSpPr>
            <p:cNvPr id="101" name="Rectangle 100"/>
            <p:cNvSpPr/>
            <p:nvPr/>
          </p:nvSpPr>
          <p:spPr>
            <a:xfrm>
              <a:off x="509174" y="1475232"/>
              <a:ext cx="838756" cy="307777"/>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Segoe UI"/>
                  <a:ea typeface="Segoe UI" pitchFamily="34" charset="0"/>
                  <a:cs typeface="Segoe UI" pitchFamily="34" charset="0"/>
                </a:rPr>
                <a:t>Prepare</a:t>
              </a:r>
              <a:endParaRPr kumimoji="0" lang="en-US" sz="1400" b="0" i="0" u="none" strike="noStrike" kern="1200" cap="none" spc="0" normalizeH="0" baseline="0" noProof="0">
                <a:ln>
                  <a:noFill/>
                </a:ln>
                <a:solidFill>
                  <a:prstClr val="black"/>
                </a:solidFill>
                <a:effectLst/>
                <a:uLnTx/>
                <a:uFillTx/>
                <a:latin typeface="Segoe UI"/>
                <a:ea typeface="+mn-ea"/>
                <a:cs typeface="+mn-cs"/>
              </a:endParaRPr>
            </a:p>
          </p:txBody>
        </p:sp>
        <p:sp>
          <p:nvSpPr>
            <p:cNvPr id="102" name="Freeform 101"/>
            <p:cNvSpPr>
              <a:spLocks noChangeAspect="1"/>
            </p:cNvSpPr>
            <p:nvPr/>
          </p:nvSpPr>
          <p:spPr bwMode="black">
            <a:xfrm>
              <a:off x="1836174" y="5643069"/>
              <a:ext cx="274320" cy="284173"/>
            </a:xfrm>
            <a:custGeom>
              <a:avLst/>
              <a:gdLst>
                <a:gd name="T0" fmla="*/ 539 w 669"/>
                <a:gd name="T1" fmla="*/ 5 h 693"/>
                <a:gd name="T2" fmla="*/ 640 w 669"/>
                <a:gd name="T3" fmla="*/ 55 h 693"/>
                <a:gd name="T4" fmla="*/ 603 w 669"/>
                <a:gd name="T5" fmla="*/ 195 h 693"/>
                <a:gd name="T6" fmla="*/ 490 w 669"/>
                <a:gd name="T7" fmla="*/ 188 h 693"/>
                <a:gd name="T8" fmla="*/ 479 w 669"/>
                <a:gd name="T9" fmla="*/ 176 h 693"/>
                <a:gd name="T10" fmla="*/ 213 w 669"/>
                <a:gd name="T11" fmla="*/ 330 h 693"/>
                <a:gd name="T12" fmla="*/ 218 w 669"/>
                <a:gd name="T13" fmla="*/ 345 h 693"/>
                <a:gd name="T14" fmla="*/ 218 w 669"/>
                <a:gd name="T15" fmla="*/ 375 h 693"/>
                <a:gd name="T16" fmla="*/ 209 w 669"/>
                <a:gd name="T17" fmla="*/ 402 h 693"/>
                <a:gd name="T18" fmla="*/ 369 w 669"/>
                <a:gd name="T19" fmla="*/ 503 h 693"/>
                <a:gd name="T20" fmla="*/ 373 w 669"/>
                <a:gd name="T21" fmla="*/ 498 h 693"/>
                <a:gd name="T22" fmla="*/ 456 w 669"/>
                <a:gd name="T23" fmla="*/ 475 h 693"/>
                <a:gd name="T24" fmla="*/ 494 w 669"/>
                <a:gd name="T25" fmla="*/ 489 h 693"/>
                <a:gd name="T26" fmla="*/ 527 w 669"/>
                <a:gd name="T27" fmla="*/ 630 h 693"/>
                <a:gd name="T28" fmla="*/ 386 w 669"/>
                <a:gd name="T29" fmla="*/ 663 h 693"/>
                <a:gd name="T30" fmla="*/ 339 w 669"/>
                <a:gd name="T31" fmla="*/ 560 h 693"/>
                <a:gd name="T32" fmla="*/ 345 w 669"/>
                <a:gd name="T33" fmla="*/ 544 h 693"/>
                <a:gd name="T34" fmla="*/ 177 w 669"/>
                <a:gd name="T35" fmla="*/ 439 h 693"/>
                <a:gd name="T36" fmla="*/ 168 w 669"/>
                <a:gd name="T37" fmla="*/ 446 h 693"/>
                <a:gd name="T38" fmla="*/ 28 w 669"/>
                <a:gd name="T39" fmla="*/ 409 h 693"/>
                <a:gd name="T40" fmla="*/ 65 w 669"/>
                <a:gd name="T41" fmla="*/ 269 h 693"/>
                <a:gd name="T42" fmla="*/ 178 w 669"/>
                <a:gd name="T43" fmla="*/ 276 h 693"/>
                <a:gd name="T44" fmla="*/ 189 w 669"/>
                <a:gd name="T45" fmla="*/ 288 h 693"/>
                <a:gd name="T46" fmla="*/ 455 w 669"/>
                <a:gd name="T47" fmla="*/ 134 h 693"/>
                <a:gd name="T48" fmla="*/ 450 w 669"/>
                <a:gd name="T49" fmla="*/ 119 h 693"/>
                <a:gd name="T50" fmla="*/ 501 w 669"/>
                <a:gd name="T51" fmla="*/ 18 h 693"/>
                <a:gd name="T52" fmla="*/ 539 w 669"/>
                <a:gd name="T53" fmla="*/ 5 h 6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69" h="693">
                  <a:moveTo>
                    <a:pt x="539" y="5"/>
                  </a:moveTo>
                  <a:cubicBezTo>
                    <a:pt x="579" y="0"/>
                    <a:pt x="619" y="19"/>
                    <a:pt x="640" y="55"/>
                  </a:cubicBezTo>
                  <a:cubicBezTo>
                    <a:pt x="669" y="104"/>
                    <a:pt x="652" y="167"/>
                    <a:pt x="603" y="195"/>
                  </a:cubicBezTo>
                  <a:cubicBezTo>
                    <a:pt x="566" y="216"/>
                    <a:pt x="522" y="212"/>
                    <a:pt x="490" y="188"/>
                  </a:cubicBezTo>
                  <a:cubicBezTo>
                    <a:pt x="479" y="176"/>
                    <a:pt x="479" y="176"/>
                    <a:pt x="479" y="176"/>
                  </a:cubicBezTo>
                  <a:cubicBezTo>
                    <a:pt x="213" y="330"/>
                    <a:pt x="213" y="330"/>
                    <a:pt x="213" y="330"/>
                  </a:cubicBezTo>
                  <a:cubicBezTo>
                    <a:pt x="218" y="345"/>
                    <a:pt x="218" y="345"/>
                    <a:pt x="218" y="345"/>
                  </a:cubicBezTo>
                  <a:cubicBezTo>
                    <a:pt x="219" y="355"/>
                    <a:pt x="219" y="365"/>
                    <a:pt x="218" y="375"/>
                  </a:cubicBezTo>
                  <a:cubicBezTo>
                    <a:pt x="209" y="402"/>
                    <a:pt x="209" y="402"/>
                    <a:pt x="209" y="402"/>
                  </a:cubicBezTo>
                  <a:cubicBezTo>
                    <a:pt x="369" y="503"/>
                    <a:pt x="369" y="503"/>
                    <a:pt x="369" y="503"/>
                  </a:cubicBezTo>
                  <a:cubicBezTo>
                    <a:pt x="373" y="498"/>
                    <a:pt x="373" y="498"/>
                    <a:pt x="373" y="498"/>
                  </a:cubicBezTo>
                  <a:cubicBezTo>
                    <a:pt x="396" y="479"/>
                    <a:pt x="427" y="470"/>
                    <a:pt x="456" y="475"/>
                  </a:cubicBezTo>
                  <a:cubicBezTo>
                    <a:pt x="470" y="477"/>
                    <a:pt x="482" y="482"/>
                    <a:pt x="494" y="489"/>
                  </a:cubicBezTo>
                  <a:cubicBezTo>
                    <a:pt x="542" y="519"/>
                    <a:pt x="557" y="583"/>
                    <a:pt x="527" y="630"/>
                  </a:cubicBezTo>
                  <a:cubicBezTo>
                    <a:pt x="497" y="678"/>
                    <a:pt x="433" y="693"/>
                    <a:pt x="386" y="663"/>
                  </a:cubicBezTo>
                  <a:cubicBezTo>
                    <a:pt x="350" y="640"/>
                    <a:pt x="333" y="599"/>
                    <a:pt x="339" y="560"/>
                  </a:cubicBezTo>
                  <a:cubicBezTo>
                    <a:pt x="345" y="544"/>
                    <a:pt x="345" y="544"/>
                    <a:pt x="345" y="544"/>
                  </a:cubicBezTo>
                  <a:cubicBezTo>
                    <a:pt x="177" y="439"/>
                    <a:pt x="177" y="439"/>
                    <a:pt x="177" y="439"/>
                  </a:cubicBezTo>
                  <a:cubicBezTo>
                    <a:pt x="168" y="446"/>
                    <a:pt x="168" y="446"/>
                    <a:pt x="168" y="446"/>
                  </a:cubicBezTo>
                  <a:cubicBezTo>
                    <a:pt x="119" y="475"/>
                    <a:pt x="56" y="458"/>
                    <a:pt x="28" y="409"/>
                  </a:cubicBezTo>
                  <a:cubicBezTo>
                    <a:pt x="0" y="360"/>
                    <a:pt x="16" y="297"/>
                    <a:pt x="65" y="269"/>
                  </a:cubicBezTo>
                  <a:cubicBezTo>
                    <a:pt x="102" y="248"/>
                    <a:pt x="147" y="252"/>
                    <a:pt x="178" y="276"/>
                  </a:cubicBezTo>
                  <a:cubicBezTo>
                    <a:pt x="189" y="288"/>
                    <a:pt x="189" y="288"/>
                    <a:pt x="189" y="288"/>
                  </a:cubicBezTo>
                  <a:cubicBezTo>
                    <a:pt x="455" y="134"/>
                    <a:pt x="455" y="134"/>
                    <a:pt x="455" y="134"/>
                  </a:cubicBezTo>
                  <a:cubicBezTo>
                    <a:pt x="450" y="119"/>
                    <a:pt x="450" y="119"/>
                    <a:pt x="450" y="119"/>
                  </a:cubicBezTo>
                  <a:cubicBezTo>
                    <a:pt x="445" y="80"/>
                    <a:pt x="464" y="39"/>
                    <a:pt x="501" y="18"/>
                  </a:cubicBezTo>
                  <a:cubicBezTo>
                    <a:pt x="513" y="11"/>
                    <a:pt x="526" y="6"/>
                    <a:pt x="539" y="5"/>
                  </a:cubicBezTo>
                  <a:close/>
                </a:path>
              </a:pathLst>
            </a:custGeom>
            <a:solidFill>
              <a:schemeClr val="tx1"/>
            </a:solidFill>
            <a:ln>
              <a:noFill/>
            </a:ln>
          </p:spPr>
          <p:txBody>
            <a:bodyPr vert="horz" wrap="square" lIns="68574" tIns="34287" rIns="68574" bIns="34287"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Segoe UI"/>
                <a:ea typeface="+mn-ea"/>
                <a:cs typeface="+mn-cs"/>
              </a:endParaRPr>
            </a:p>
          </p:txBody>
        </p:sp>
        <p:sp>
          <p:nvSpPr>
            <p:cNvPr id="103" name="Freeform 102"/>
            <p:cNvSpPr>
              <a:spLocks noChangeAspect="1" noEditPoints="1"/>
            </p:cNvSpPr>
            <p:nvPr/>
          </p:nvSpPr>
          <p:spPr bwMode="black">
            <a:xfrm>
              <a:off x="722320" y="1783009"/>
              <a:ext cx="452202" cy="366660"/>
            </a:xfrm>
            <a:custGeom>
              <a:avLst/>
              <a:gdLst>
                <a:gd name="T0" fmla="*/ 600 w 1107"/>
                <a:gd name="T1" fmla="*/ 625 h 897"/>
                <a:gd name="T2" fmla="*/ 649 w 1107"/>
                <a:gd name="T3" fmla="*/ 567 h 897"/>
                <a:gd name="T4" fmla="*/ 727 w 1107"/>
                <a:gd name="T5" fmla="*/ 482 h 897"/>
                <a:gd name="T6" fmla="*/ 601 w 1107"/>
                <a:gd name="T7" fmla="*/ 434 h 897"/>
                <a:gd name="T8" fmla="*/ 628 w 1107"/>
                <a:gd name="T9" fmla="*/ 305 h 897"/>
                <a:gd name="T10" fmla="*/ 547 w 1107"/>
                <a:gd name="T11" fmla="*/ 240 h 897"/>
                <a:gd name="T12" fmla="*/ 427 w 1107"/>
                <a:gd name="T13" fmla="*/ 287 h 897"/>
                <a:gd name="T14" fmla="*/ 368 w 1107"/>
                <a:gd name="T15" fmla="*/ 170 h 897"/>
                <a:gd name="T16" fmla="*/ 285 w 1107"/>
                <a:gd name="T17" fmla="*/ 263 h 897"/>
                <a:gd name="T18" fmla="*/ 241 w 1107"/>
                <a:gd name="T19" fmla="*/ 313 h 897"/>
                <a:gd name="T20" fmla="*/ 139 w 1107"/>
                <a:gd name="T21" fmla="*/ 281 h 897"/>
                <a:gd name="T22" fmla="*/ 79 w 1107"/>
                <a:gd name="T23" fmla="*/ 355 h 897"/>
                <a:gd name="T24" fmla="*/ 132 w 1107"/>
                <a:gd name="T25" fmla="*/ 446 h 897"/>
                <a:gd name="T26" fmla="*/ 83 w 1107"/>
                <a:gd name="T27" fmla="*/ 505 h 897"/>
                <a:gd name="T28" fmla="*/ 5 w 1107"/>
                <a:gd name="T29" fmla="*/ 590 h 897"/>
                <a:gd name="T30" fmla="*/ 132 w 1107"/>
                <a:gd name="T31" fmla="*/ 638 h 897"/>
                <a:gd name="T32" fmla="*/ 145 w 1107"/>
                <a:gd name="T33" fmla="*/ 669 h 897"/>
                <a:gd name="T34" fmla="*/ 110 w 1107"/>
                <a:gd name="T35" fmla="*/ 793 h 897"/>
                <a:gd name="T36" fmla="*/ 230 w 1107"/>
                <a:gd name="T37" fmla="*/ 781 h 897"/>
                <a:gd name="T38" fmla="*/ 306 w 1107"/>
                <a:gd name="T39" fmla="*/ 785 h 897"/>
                <a:gd name="T40" fmla="*/ 346 w 1107"/>
                <a:gd name="T41" fmla="*/ 878 h 897"/>
                <a:gd name="T42" fmla="*/ 440 w 1107"/>
                <a:gd name="T43" fmla="*/ 872 h 897"/>
                <a:gd name="T44" fmla="*/ 466 w 1107"/>
                <a:gd name="T45" fmla="*/ 764 h 897"/>
                <a:gd name="T46" fmla="*/ 539 w 1107"/>
                <a:gd name="T47" fmla="*/ 755 h 897"/>
                <a:gd name="T48" fmla="*/ 659 w 1107"/>
                <a:gd name="T49" fmla="*/ 743 h 897"/>
                <a:gd name="T50" fmla="*/ 263 w 1107"/>
                <a:gd name="T51" fmla="*/ 452 h 897"/>
                <a:gd name="T52" fmla="*/ 281 w 1107"/>
                <a:gd name="T53" fmla="*/ 633 h 897"/>
                <a:gd name="T54" fmla="*/ 1002 w 1107"/>
                <a:gd name="T55" fmla="*/ 332 h 897"/>
                <a:gd name="T56" fmla="*/ 1043 w 1107"/>
                <a:gd name="T57" fmla="*/ 304 h 897"/>
                <a:gd name="T58" fmla="*/ 1107 w 1107"/>
                <a:gd name="T59" fmla="*/ 266 h 897"/>
                <a:gd name="T60" fmla="*/ 1037 w 1107"/>
                <a:gd name="T61" fmla="*/ 213 h 897"/>
                <a:gd name="T62" fmla="*/ 1077 w 1107"/>
                <a:gd name="T63" fmla="*/ 138 h 897"/>
                <a:gd name="T64" fmla="*/ 1038 w 1107"/>
                <a:gd name="T65" fmla="*/ 83 h 897"/>
                <a:gd name="T66" fmla="*/ 956 w 1107"/>
                <a:gd name="T67" fmla="*/ 91 h 897"/>
                <a:gd name="T68" fmla="*/ 940 w 1107"/>
                <a:gd name="T69" fmla="*/ 7 h 897"/>
                <a:gd name="T70" fmla="*/ 872 w 1107"/>
                <a:gd name="T71" fmla="*/ 50 h 897"/>
                <a:gd name="T72" fmla="*/ 836 w 1107"/>
                <a:gd name="T73" fmla="*/ 74 h 897"/>
                <a:gd name="T74" fmla="*/ 778 w 1107"/>
                <a:gd name="T75" fmla="*/ 35 h 897"/>
                <a:gd name="T76" fmla="*/ 728 w 1107"/>
                <a:gd name="T77" fmla="*/ 70 h 897"/>
                <a:gd name="T78" fmla="*/ 744 w 1107"/>
                <a:gd name="T79" fmla="*/ 136 h 897"/>
                <a:gd name="T80" fmla="*/ 703 w 1107"/>
                <a:gd name="T81" fmla="*/ 164 h 897"/>
                <a:gd name="T82" fmla="*/ 640 w 1107"/>
                <a:gd name="T83" fmla="*/ 203 h 897"/>
                <a:gd name="T84" fmla="*/ 710 w 1107"/>
                <a:gd name="T85" fmla="*/ 255 h 897"/>
                <a:gd name="T86" fmla="*/ 712 w 1107"/>
                <a:gd name="T87" fmla="*/ 277 h 897"/>
                <a:gd name="T88" fmla="*/ 668 w 1107"/>
                <a:gd name="T89" fmla="*/ 347 h 897"/>
                <a:gd name="T90" fmla="*/ 745 w 1107"/>
                <a:gd name="T91" fmla="*/ 361 h 897"/>
                <a:gd name="T92" fmla="*/ 791 w 1107"/>
                <a:gd name="T93" fmla="*/ 377 h 897"/>
                <a:gd name="T94" fmla="*/ 799 w 1107"/>
                <a:gd name="T95" fmla="*/ 443 h 897"/>
                <a:gd name="T96" fmla="*/ 859 w 1107"/>
                <a:gd name="T97" fmla="*/ 456 h 897"/>
                <a:gd name="T98" fmla="*/ 894 w 1107"/>
                <a:gd name="T99" fmla="*/ 393 h 897"/>
                <a:gd name="T100" fmla="*/ 941 w 1107"/>
                <a:gd name="T101" fmla="*/ 401 h 897"/>
                <a:gd name="T102" fmla="*/ 1018 w 1107"/>
                <a:gd name="T103" fmla="*/ 415 h 897"/>
                <a:gd name="T104" fmla="*/ 825 w 1107"/>
                <a:gd name="T105" fmla="*/ 164 h 897"/>
                <a:gd name="T106" fmla="*/ 803 w 1107"/>
                <a:gd name="T107" fmla="*/ 279 h 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107" h="897">
                  <a:moveTo>
                    <a:pt x="654" y="716"/>
                  </a:moveTo>
                  <a:cubicBezTo>
                    <a:pt x="616" y="670"/>
                    <a:pt x="616" y="670"/>
                    <a:pt x="616" y="670"/>
                  </a:cubicBezTo>
                  <a:cubicBezTo>
                    <a:pt x="593" y="654"/>
                    <a:pt x="603" y="638"/>
                    <a:pt x="600" y="625"/>
                  </a:cubicBezTo>
                  <a:cubicBezTo>
                    <a:pt x="600" y="625"/>
                    <a:pt x="600" y="625"/>
                    <a:pt x="600" y="625"/>
                  </a:cubicBezTo>
                  <a:cubicBezTo>
                    <a:pt x="605" y="617"/>
                    <a:pt x="611" y="609"/>
                    <a:pt x="608" y="596"/>
                  </a:cubicBezTo>
                  <a:cubicBezTo>
                    <a:pt x="618" y="580"/>
                    <a:pt x="623" y="572"/>
                    <a:pt x="649" y="567"/>
                  </a:cubicBezTo>
                  <a:cubicBezTo>
                    <a:pt x="715" y="553"/>
                    <a:pt x="715" y="553"/>
                    <a:pt x="715" y="553"/>
                  </a:cubicBezTo>
                  <a:cubicBezTo>
                    <a:pt x="728" y="550"/>
                    <a:pt x="733" y="542"/>
                    <a:pt x="730" y="529"/>
                  </a:cubicBezTo>
                  <a:cubicBezTo>
                    <a:pt x="727" y="482"/>
                    <a:pt x="727" y="482"/>
                    <a:pt x="727" y="482"/>
                  </a:cubicBezTo>
                  <a:cubicBezTo>
                    <a:pt x="724" y="469"/>
                    <a:pt x="717" y="463"/>
                    <a:pt x="701" y="453"/>
                  </a:cubicBezTo>
                  <a:cubicBezTo>
                    <a:pt x="641" y="459"/>
                    <a:pt x="641" y="459"/>
                    <a:pt x="641" y="459"/>
                  </a:cubicBezTo>
                  <a:cubicBezTo>
                    <a:pt x="620" y="457"/>
                    <a:pt x="604" y="447"/>
                    <a:pt x="601" y="434"/>
                  </a:cubicBezTo>
                  <a:cubicBezTo>
                    <a:pt x="598" y="421"/>
                    <a:pt x="590" y="416"/>
                    <a:pt x="580" y="397"/>
                  </a:cubicBezTo>
                  <a:cubicBezTo>
                    <a:pt x="577" y="384"/>
                    <a:pt x="574" y="371"/>
                    <a:pt x="584" y="355"/>
                  </a:cubicBezTo>
                  <a:cubicBezTo>
                    <a:pt x="628" y="305"/>
                    <a:pt x="628" y="305"/>
                    <a:pt x="628" y="305"/>
                  </a:cubicBezTo>
                  <a:cubicBezTo>
                    <a:pt x="634" y="297"/>
                    <a:pt x="631" y="284"/>
                    <a:pt x="623" y="279"/>
                  </a:cubicBezTo>
                  <a:cubicBezTo>
                    <a:pt x="581" y="240"/>
                    <a:pt x="581" y="240"/>
                    <a:pt x="581" y="240"/>
                  </a:cubicBezTo>
                  <a:cubicBezTo>
                    <a:pt x="573" y="235"/>
                    <a:pt x="560" y="238"/>
                    <a:pt x="547" y="240"/>
                  </a:cubicBezTo>
                  <a:cubicBezTo>
                    <a:pt x="503" y="291"/>
                    <a:pt x="503" y="291"/>
                    <a:pt x="503" y="291"/>
                  </a:cubicBezTo>
                  <a:cubicBezTo>
                    <a:pt x="484" y="302"/>
                    <a:pt x="471" y="304"/>
                    <a:pt x="463" y="299"/>
                  </a:cubicBezTo>
                  <a:cubicBezTo>
                    <a:pt x="456" y="294"/>
                    <a:pt x="435" y="292"/>
                    <a:pt x="427" y="287"/>
                  </a:cubicBezTo>
                  <a:cubicBezTo>
                    <a:pt x="419" y="282"/>
                    <a:pt x="403" y="271"/>
                    <a:pt x="400" y="258"/>
                  </a:cubicBezTo>
                  <a:cubicBezTo>
                    <a:pt x="386" y="193"/>
                    <a:pt x="386" y="193"/>
                    <a:pt x="386" y="193"/>
                  </a:cubicBezTo>
                  <a:cubicBezTo>
                    <a:pt x="384" y="180"/>
                    <a:pt x="368" y="170"/>
                    <a:pt x="368" y="170"/>
                  </a:cubicBezTo>
                  <a:cubicBezTo>
                    <a:pt x="308" y="176"/>
                    <a:pt x="308" y="176"/>
                    <a:pt x="308" y="176"/>
                  </a:cubicBezTo>
                  <a:cubicBezTo>
                    <a:pt x="308" y="176"/>
                    <a:pt x="289" y="187"/>
                    <a:pt x="292" y="200"/>
                  </a:cubicBezTo>
                  <a:cubicBezTo>
                    <a:pt x="285" y="263"/>
                    <a:pt x="285" y="263"/>
                    <a:pt x="285" y="263"/>
                  </a:cubicBezTo>
                  <a:cubicBezTo>
                    <a:pt x="291" y="289"/>
                    <a:pt x="277" y="292"/>
                    <a:pt x="272" y="300"/>
                  </a:cubicBezTo>
                  <a:cubicBezTo>
                    <a:pt x="272" y="300"/>
                    <a:pt x="272" y="300"/>
                    <a:pt x="267" y="308"/>
                  </a:cubicBezTo>
                  <a:cubicBezTo>
                    <a:pt x="259" y="302"/>
                    <a:pt x="246" y="305"/>
                    <a:pt x="241" y="313"/>
                  </a:cubicBezTo>
                  <a:cubicBezTo>
                    <a:pt x="236" y="321"/>
                    <a:pt x="236" y="321"/>
                    <a:pt x="236" y="321"/>
                  </a:cubicBezTo>
                  <a:cubicBezTo>
                    <a:pt x="223" y="324"/>
                    <a:pt x="210" y="327"/>
                    <a:pt x="194" y="317"/>
                  </a:cubicBezTo>
                  <a:cubicBezTo>
                    <a:pt x="139" y="281"/>
                    <a:pt x="139" y="281"/>
                    <a:pt x="139" y="281"/>
                  </a:cubicBezTo>
                  <a:cubicBezTo>
                    <a:pt x="131" y="276"/>
                    <a:pt x="110" y="273"/>
                    <a:pt x="104" y="281"/>
                  </a:cubicBezTo>
                  <a:cubicBezTo>
                    <a:pt x="79" y="321"/>
                    <a:pt x="79" y="321"/>
                    <a:pt x="79" y="321"/>
                  </a:cubicBezTo>
                  <a:cubicBezTo>
                    <a:pt x="66" y="324"/>
                    <a:pt x="68" y="337"/>
                    <a:pt x="79" y="355"/>
                  </a:cubicBezTo>
                  <a:cubicBezTo>
                    <a:pt x="121" y="394"/>
                    <a:pt x="121" y="394"/>
                    <a:pt x="121" y="394"/>
                  </a:cubicBezTo>
                  <a:cubicBezTo>
                    <a:pt x="140" y="417"/>
                    <a:pt x="135" y="425"/>
                    <a:pt x="132" y="446"/>
                  </a:cubicBezTo>
                  <a:cubicBezTo>
                    <a:pt x="132" y="446"/>
                    <a:pt x="132" y="446"/>
                    <a:pt x="132" y="446"/>
                  </a:cubicBezTo>
                  <a:cubicBezTo>
                    <a:pt x="127" y="454"/>
                    <a:pt x="122" y="462"/>
                    <a:pt x="117" y="470"/>
                  </a:cubicBezTo>
                  <a:cubicBezTo>
                    <a:pt x="117" y="470"/>
                    <a:pt x="117" y="470"/>
                    <a:pt x="117" y="470"/>
                  </a:cubicBezTo>
                  <a:cubicBezTo>
                    <a:pt x="120" y="483"/>
                    <a:pt x="109" y="499"/>
                    <a:pt x="83" y="505"/>
                  </a:cubicBezTo>
                  <a:cubicBezTo>
                    <a:pt x="23" y="511"/>
                    <a:pt x="23" y="511"/>
                    <a:pt x="23" y="511"/>
                  </a:cubicBezTo>
                  <a:cubicBezTo>
                    <a:pt x="10" y="514"/>
                    <a:pt x="0" y="529"/>
                    <a:pt x="2" y="543"/>
                  </a:cubicBezTo>
                  <a:cubicBezTo>
                    <a:pt x="5" y="590"/>
                    <a:pt x="5" y="590"/>
                    <a:pt x="5" y="590"/>
                  </a:cubicBezTo>
                  <a:cubicBezTo>
                    <a:pt x="8" y="603"/>
                    <a:pt x="16" y="608"/>
                    <a:pt x="37" y="610"/>
                  </a:cubicBezTo>
                  <a:cubicBezTo>
                    <a:pt x="92" y="612"/>
                    <a:pt x="92" y="612"/>
                    <a:pt x="92" y="612"/>
                  </a:cubicBezTo>
                  <a:cubicBezTo>
                    <a:pt x="113" y="614"/>
                    <a:pt x="129" y="625"/>
                    <a:pt x="132" y="638"/>
                  </a:cubicBezTo>
                  <a:cubicBezTo>
                    <a:pt x="132" y="638"/>
                    <a:pt x="132" y="638"/>
                    <a:pt x="132" y="638"/>
                  </a:cubicBezTo>
                  <a:cubicBezTo>
                    <a:pt x="140" y="643"/>
                    <a:pt x="142" y="656"/>
                    <a:pt x="150" y="661"/>
                  </a:cubicBezTo>
                  <a:cubicBezTo>
                    <a:pt x="145" y="669"/>
                    <a:pt x="145" y="669"/>
                    <a:pt x="145" y="669"/>
                  </a:cubicBezTo>
                  <a:cubicBezTo>
                    <a:pt x="153" y="674"/>
                    <a:pt x="156" y="687"/>
                    <a:pt x="140" y="711"/>
                  </a:cubicBezTo>
                  <a:cubicBezTo>
                    <a:pt x="109" y="759"/>
                    <a:pt x="109" y="759"/>
                    <a:pt x="109" y="759"/>
                  </a:cubicBezTo>
                  <a:cubicBezTo>
                    <a:pt x="99" y="775"/>
                    <a:pt x="102" y="788"/>
                    <a:pt x="110" y="793"/>
                  </a:cubicBezTo>
                  <a:cubicBezTo>
                    <a:pt x="152" y="832"/>
                    <a:pt x="152" y="832"/>
                    <a:pt x="152" y="832"/>
                  </a:cubicBezTo>
                  <a:cubicBezTo>
                    <a:pt x="160" y="837"/>
                    <a:pt x="173" y="834"/>
                    <a:pt x="178" y="826"/>
                  </a:cubicBezTo>
                  <a:cubicBezTo>
                    <a:pt x="230" y="781"/>
                    <a:pt x="230" y="781"/>
                    <a:pt x="230" y="781"/>
                  </a:cubicBezTo>
                  <a:cubicBezTo>
                    <a:pt x="248" y="770"/>
                    <a:pt x="261" y="767"/>
                    <a:pt x="269" y="772"/>
                  </a:cubicBezTo>
                  <a:cubicBezTo>
                    <a:pt x="269" y="772"/>
                    <a:pt x="269" y="772"/>
                    <a:pt x="269" y="772"/>
                  </a:cubicBezTo>
                  <a:cubicBezTo>
                    <a:pt x="282" y="769"/>
                    <a:pt x="298" y="779"/>
                    <a:pt x="306" y="785"/>
                  </a:cubicBezTo>
                  <a:cubicBezTo>
                    <a:pt x="306" y="785"/>
                    <a:pt x="306" y="785"/>
                    <a:pt x="306" y="785"/>
                  </a:cubicBezTo>
                  <a:cubicBezTo>
                    <a:pt x="319" y="782"/>
                    <a:pt x="327" y="787"/>
                    <a:pt x="332" y="813"/>
                  </a:cubicBezTo>
                  <a:cubicBezTo>
                    <a:pt x="346" y="878"/>
                    <a:pt x="346" y="878"/>
                    <a:pt x="346" y="878"/>
                  </a:cubicBezTo>
                  <a:cubicBezTo>
                    <a:pt x="349" y="892"/>
                    <a:pt x="357" y="897"/>
                    <a:pt x="370" y="894"/>
                  </a:cubicBezTo>
                  <a:cubicBezTo>
                    <a:pt x="425" y="896"/>
                    <a:pt x="425" y="896"/>
                    <a:pt x="425" y="896"/>
                  </a:cubicBezTo>
                  <a:cubicBezTo>
                    <a:pt x="430" y="888"/>
                    <a:pt x="443" y="885"/>
                    <a:pt x="440" y="872"/>
                  </a:cubicBezTo>
                  <a:cubicBezTo>
                    <a:pt x="440" y="804"/>
                    <a:pt x="440" y="804"/>
                    <a:pt x="440" y="804"/>
                  </a:cubicBezTo>
                  <a:cubicBezTo>
                    <a:pt x="442" y="783"/>
                    <a:pt x="460" y="772"/>
                    <a:pt x="466" y="764"/>
                  </a:cubicBezTo>
                  <a:cubicBezTo>
                    <a:pt x="466" y="764"/>
                    <a:pt x="466" y="764"/>
                    <a:pt x="466" y="764"/>
                  </a:cubicBezTo>
                  <a:cubicBezTo>
                    <a:pt x="479" y="761"/>
                    <a:pt x="492" y="758"/>
                    <a:pt x="497" y="750"/>
                  </a:cubicBezTo>
                  <a:cubicBezTo>
                    <a:pt x="497" y="750"/>
                    <a:pt x="497" y="750"/>
                    <a:pt x="497" y="750"/>
                  </a:cubicBezTo>
                  <a:cubicBezTo>
                    <a:pt x="510" y="747"/>
                    <a:pt x="523" y="745"/>
                    <a:pt x="539" y="755"/>
                  </a:cubicBezTo>
                  <a:cubicBezTo>
                    <a:pt x="594" y="791"/>
                    <a:pt x="594" y="791"/>
                    <a:pt x="594" y="791"/>
                  </a:cubicBezTo>
                  <a:cubicBezTo>
                    <a:pt x="602" y="796"/>
                    <a:pt x="623" y="798"/>
                    <a:pt x="628" y="790"/>
                  </a:cubicBezTo>
                  <a:cubicBezTo>
                    <a:pt x="659" y="743"/>
                    <a:pt x="659" y="743"/>
                    <a:pt x="659" y="743"/>
                  </a:cubicBezTo>
                  <a:cubicBezTo>
                    <a:pt x="659" y="743"/>
                    <a:pt x="669" y="727"/>
                    <a:pt x="654" y="716"/>
                  </a:cubicBezTo>
                  <a:close/>
                  <a:moveTo>
                    <a:pt x="281" y="633"/>
                  </a:moveTo>
                  <a:cubicBezTo>
                    <a:pt x="223" y="584"/>
                    <a:pt x="219" y="502"/>
                    <a:pt x="263" y="452"/>
                  </a:cubicBezTo>
                  <a:cubicBezTo>
                    <a:pt x="313" y="393"/>
                    <a:pt x="399" y="382"/>
                    <a:pt x="457" y="431"/>
                  </a:cubicBezTo>
                  <a:cubicBezTo>
                    <a:pt x="507" y="475"/>
                    <a:pt x="518" y="561"/>
                    <a:pt x="469" y="619"/>
                  </a:cubicBezTo>
                  <a:cubicBezTo>
                    <a:pt x="420" y="678"/>
                    <a:pt x="339" y="682"/>
                    <a:pt x="281" y="633"/>
                  </a:cubicBezTo>
                  <a:close/>
                  <a:moveTo>
                    <a:pt x="1019" y="398"/>
                  </a:moveTo>
                  <a:cubicBezTo>
                    <a:pt x="1004" y="362"/>
                    <a:pt x="1004" y="362"/>
                    <a:pt x="1004" y="362"/>
                  </a:cubicBezTo>
                  <a:cubicBezTo>
                    <a:pt x="992" y="348"/>
                    <a:pt x="1002" y="340"/>
                    <a:pt x="1002" y="332"/>
                  </a:cubicBezTo>
                  <a:cubicBezTo>
                    <a:pt x="1002" y="332"/>
                    <a:pt x="1002" y="332"/>
                    <a:pt x="1002" y="332"/>
                  </a:cubicBezTo>
                  <a:cubicBezTo>
                    <a:pt x="1007" y="328"/>
                    <a:pt x="1011" y="324"/>
                    <a:pt x="1012" y="315"/>
                  </a:cubicBezTo>
                  <a:cubicBezTo>
                    <a:pt x="1021" y="307"/>
                    <a:pt x="1026" y="303"/>
                    <a:pt x="1043" y="304"/>
                  </a:cubicBezTo>
                  <a:cubicBezTo>
                    <a:pt x="1086" y="307"/>
                    <a:pt x="1086" y="307"/>
                    <a:pt x="1086" y="307"/>
                  </a:cubicBezTo>
                  <a:cubicBezTo>
                    <a:pt x="1095" y="308"/>
                    <a:pt x="1099" y="304"/>
                    <a:pt x="1100" y="295"/>
                  </a:cubicBezTo>
                  <a:cubicBezTo>
                    <a:pt x="1107" y="266"/>
                    <a:pt x="1107" y="266"/>
                    <a:pt x="1107" y="266"/>
                  </a:cubicBezTo>
                  <a:cubicBezTo>
                    <a:pt x="1107" y="257"/>
                    <a:pt x="1103" y="252"/>
                    <a:pt x="1095" y="243"/>
                  </a:cubicBezTo>
                  <a:cubicBezTo>
                    <a:pt x="1057" y="236"/>
                    <a:pt x="1057" y="236"/>
                    <a:pt x="1057" y="236"/>
                  </a:cubicBezTo>
                  <a:cubicBezTo>
                    <a:pt x="1044" y="231"/>
                    <a:pt x="1036" y="222"/>
                    <a:pt x="1037" y="213"/>
                  </a:cubicBezTo>
                  <a:cubicBezTo>
                    <a:pt x="1038" y="205"/>
                    <a:pt x="1034" y="200"/>
                    <a:pt x="1030" y="187"/>
                  </a:cubicBezTo>
                  <a:cubicBezTo>
                    <a:pt x="1031" y="178"/>
                    <a:pt x="1032" y="170"/>
                    <a:pt x="1041" y="162"/>
                  </a:cubicBezTo>
                  <a:cubicBezTo>
                    <a:pt x="1077" y="138"/>
                    <a:pt x="1077" y="138"/>
                    <a:pt x="1077" y="138"/>
                  </a:cubicBezTo>
                  <a:cubicBezTo>
                    <a:pt x="1082" y="134"/>
                    <a:pt x="1083" y="126"/>
                    <a:pt x="1079" y="121"/>
                  </a:cubicBezTo>
                  <a:cubicBezTo>
                    <a:pt x="1059" y="89"/>
                    <a:pt x="1059" y="89"/>
                    <a:pt x="1059" y="89"/>
                  </a:cubicBezTo>
                  <a:cubicBezTo>
                    <a:pt x="1055" y="85"/>
                    <a:pt x="1047" y="84"/>
                    <a:pt x="1038" y="83"/>
                  </a:cubicBezTo>
                  <a:cubicBezTo>
                    <a:pt x="1002" y="107"/>
                    <a:pt x="1002" y="107"/>
                    <a:pt x="1002" y="107"/>
                  </a:cubicBezTo>
                  <a:cubicBezTo>
                    <a:pt x="989" y="110"/>
                    <a:pt x="980" y="110"/>
                    <a:pt x="976" y="105"/>
                  </a:cubicBezTo>
                  <a:cubicBezTo>
                    <a:pt x="972" y="100"/>
                    <a:pt x="960" y="95"/>
                    <a:pt x="956" y="91"/>
                  </a:cubicBezTo>
                  <a:cubicBezTo>
                    <a:pt x="952" y="86"/>
                    <a:pt x="944" y="77"/>
                    <a:pt x="944" y="68"/>
                  </a:cubicBezTo>
                  <a:cubicBezTo>
                    <a:pt x="948" y="25"/>
                    <a:pt x="948" y="25"/>
                    <a:pt x="948" y="25"/>
                  </a:cubicBezTo>
                  <a:cubicBezTo>
                    <a:pt x="948" y="17"/>
                    <a:pt x="940" y="7"/>
                    <a:pt x="940" y="7"/>
                  </a:cubicBezTo>
                  <a:cubicBezTo>
                    <a:pt x="902" y="0"/>
                    <a:pt x="902" y="0"/>
                    <a:pt x="902" y="0"/>
                  </a:cubicBezTo>
                  <a:cubicBezTo>
                    <a:pt x="902" y="0"/>
                    <a:pt x="889" y="4"/>
                    <a:pt x="888" y="12"/>
                  </a:cubicBezTo>
                  <a:cubicBezTo>
                    <a:pt x="872" y="50"/>
                    <a:pt x="872" y="50"/>
                    <a:pt x="872" y="50"/>
                  </a:cubicBezTo>
                  <a:cubicBezTo>
                    <a:pt x="871" y="67"/>
                    <a:pt x="862" y="67"/>
                    <a:pt x="858" y="71"/>
                  </a:cubicBezTo>
                  <a:cubicBezTo>
                    <a:pt x="858" y="71"/>
                    <a:pt x="858" y="71"/>
                    <a:pt x="853" y="75"/>
                  </a:cubicBezTo>
                  <a:cubicBezTo>
                    <a:pt x="849" y="70"/>
                    <a:pt x="840" y="70"/>
                    <a:pt x="836" y="74"/>
                  </a:cubicBezTo>
                  <a:cubicBezTo>
                    <a:pt x="831" y="78"/>
                    <a:pt x="831" y="78"/>
                    <a:pt x="831" y="78"/>
                  </a:cubicBezTo>
                  <a:cubicBezTo>
                    <a:pt x="822" y="77"/>
                    <a:pt x="814" y="76"/>
                    <a:pt x="806" y="67"/>
                  </a:cubicBezTo>
                  <a:cubicBezTo>
                    <a:pt x="778" y="35"/>
                    <a:pt x="778" y="35"/>
                    <a:pt x="778" y="35"/>
                  </a:cubicBezTo>
                  <a:cubicBezTo>
                    <a:pt x="774" y="30"/>
                    <a:pt x="762" y="25"/>
                    <a:pt x="757" y="29"/>
                  </a:cubicBezTo>
                  <a:cubicBezTo>
                    <a:pt x="734" y="49"/>
                    <a:pt x="734" y="49"/>
                    <a:pt x="734" y="49"/>
                  </a:cubicBezTo>
                  <a:cubicBezTo>
                    <a:pt x="725" y="49"/>
                    <a:pt x="725" y="57"/>
                    <a:pt x="728" y="70"/>
                  </a:cubicBezTo>
                  <a:cubicBezTo>
                    <a:pt x="747" y="102"/>
                    <a:pt x="747" y="102"/>
                    <a:pt x="747" y="102"/>
                  </a:cubicBezTo>
                  <a:cubicBezTo>
                    <a:pt x="754" y="120"/>
                    <a:pt x="750" y="124"/>
                    <a:pt x="744" y="136"/>
                  </a:cubicBezTo>
                  <a:cubicBezTo>
                    <a:pt x="744" y="136"/>
                    <a:pt x="744" y="136"/>
                    <a:pt x="744" y="136"/>
                  </a:cubicBezTo>
                  <a:cubicBezTo>
                    <a:pt x="740" y="140"/>
                    <a:pt x="735" y="144"/>
                    <a:pt x="731" y="148"/>
                  </a:cubicBezTo>
                  <a:cubicBezTo>
                    <a:pt x="731" y="148"/>
                    <a:pt x="731" y="148"/>
                    <a:pt x="731" y="148"/>
                  </a:cubicBezTo>
                  <a:cubicBezTo>
                    <a:pt x="730" y="157"/>
                    <a:pt x="721" y="165"/>
                    <a:pt x="703" y="164"/>
                  </a:cubicBezTo>
                  <a:cubicBezTo>
                    <a:pt x="665" y="157"/>
                    <a:pt x="665" y="157"/>
                    <a:pt x="665" y="157"/>
                  </a:cubicBezTo>
                  <a:cubicBezTo>
                    <a:pt x="656" y="156"/>
                    <a:pt x="647" y="164"/>
                    <a:pt x="647" y="173"/>
                  </a:cubicBezTo>
                  <a:cubicBezTo>
                    <a:pt x="640" y="203"/>
                    <a:pt x="640" y="203"/>
                    <a:pt x="640" y="203"/>
                  </a:cubicBezTo>
                  <a:cubicBezTo>
                    <a:pt x="639" y="211"/>
                    <a:pt x="643" y="216"/>
                    <a:pt x="656" y="221"/>
                  </a:cubicBezTo>
                  <a:cubicBezTo>
                    <a:pt x="690" y="232"/>
                    <a:pt x="690" y="232"/>
                    <a:pt x="690" y="232"/>
                  </a:cubicBezTo>
                  <a:cubicBezTo>
                    <a:pt x="702" y="237"/>
                    <a:pt x="710" y="246"/>
                    <a:pt x="710" y="255"/>
                  </a:cubicBezTo>
                  <a:cubicBezTo>
                    <a:pt x="710" y="255"/>
                    <a:pt x="710" y="255"/>
                    <a:pt x="710" y="255"/>
                  </a:cubicBezTo>
                  <a:cubicBezTo>
                    <a:pt x="714" y="260"/>
                    <a:pt x="713" y="268"/>
                    <a:pt x="717" y="273"/>
                  </a:cubicBezTo>
                  <a:cubicBezTo>
                    <a:pt x="712" y="277"/>
                    <a:pt x="712" y="277"/>
                    <a:pt x="712" y="277"/>
                  </a:cubicBezTo>
                  <a:cubicBezTo>
                    <a:pt x="716" y="281"/>
                    <a:pt x="716" y="290"/>
                    <a:pt x="702" y="302"/>
                  </a:cubicBezTo>
                  <a:cubicBezTo>
                    <a:pt x="674" y="326"/>
                    <a:pt x="674" y="326"/>
                    <a:pt x="674" y="326"/>
                  </a:cubicBezTo>
                  <a:cubicBezTo>
                    <a:pt x="665" y="334"/>
                    <a:pt x="664" y="343"/>
                    <a:pt x="668" y="347"/>
                  </a:cubicBezTo>
                  <a:cubicBezTo>
                    <a:pt x="687" y="379"/>
                    <a:pt x="687" y="379"/>
                    <a:pt x="687" y="379"/>
                  </a:cubicBezTo>
                  <a:cubicBezTo>
                    <a:pt x="691" y="383"/>
                    <a:pt x="700" y="384"/>
                    <a:pt x="704" y="380"/>
                  </a:cubicBezTo>
                  <a:cubicBezTo>
                    <a:pt x="745" y="361"/>
                    <a:pt x="745" y="361"/>
                    <a:pt x="745" y="361"/>
                  </a:cubicBezTo>
                  <a:cubicBezTo>
                    <a:pt x="758" y="358"/>
                    <a:pt x="767" y="358"/>
                    <a:pt x="771" y="363"/>
                  </a:cubicBezTo>
                  <a:cubicBezTo>
                    <a:pt x="771" y="363"/>
                    <a:pt x="771" y="363"/>
                    <a:pt x="771" y="363"/>
                  </a:cubicBezTo>
                  <a:cubicBezTo>
                    <a:pt x="779" y="364"/>
                    <a:pt x="787" y="373"/>
                    <a:pt x="791" y="377"/>
                  </a:cubicBezTo>
                  <a:cubicBezTo>
                    <a:pt x="791" y="377"/>
                    <a:pt x="791" y="377"/>
                    <a:pt x="791" y="377"/>
                  </a:cubicBezTo>
                  <a:cubicBezTo>
                    <a:pt x="800" y="378"/>
                    <a:pt x="804" y="383"/>
                    <a:pt x="802" y="400"/>
                  </a:cubicBezTo>
                  <a:cubicBezTo>
                    <a:pt x="799" y="443"/>
                    <a:pt x="799" y="443"/>
                    <a:pt x="799" y="443"/>
                  </a:cubicBezTo>
                  <a:cubicBezTo>
                    <a:pt x="798" y="451"/>
                    <a:pt x="802" y="456"/>
                    <a:pt x="811" y="457"/>
                  </a:cubicBezTo>
                  <a:cubicBezTo>
                    <a:pt x="845" y="468"/>
                    <a:pt x="845" y="468"/>
                    <a:pt x="845" y="468"/>
                  </a:cubicBezTo>
                  <a:cubicBezTo>
                    <a:pt x="849" y="464"/>
                    <a:pt x="858" y="464"/>
                    <a:pt x="859" y="456"/>
                  </a:cubicBezTo>
                  <a:cubicBezTo>
                    <a:pt x="871" y="413"/>
                    <a:pt x="871" y="413"/>
                    <a:pt x="871" y="413"/>
                  </a:cubicBezTo>
                  <a:cubicBezTo>
                    <a:pt x="876" y="401"/>
                    <a:pt x="889" y="397"/>
                    <a:pt x="894" y="393"/>
                  </a:cubicBezTo>
                  <a:cubicBezTo>
                    <a:pt x="894" y="393"/>
                    <a:pt x="894" y="393"/>
                    <a:pt x="894" y="393"/>
                  </a:cubicBezTo>
                  <a:cubicBezTo>
                    <a:pt x="902" y="394"/>
                    <a:pt x="911" y="395"/>
                    <a:pt x="916" y="391"/>
                  </a:cubicBezTo>
                  <a:cubicBezTo>
                    <a:pt x="916" y="391"/>
                    <a:pt x="916" y="391"/>
                    <a:pt x="916" y="391"/>
                  </a:cubicBezTo>
                  <a:cubicBezTo>
                    <a:pt x="924" y="391"/>
                    <a:pt x="933" y="392"/>
                    <a:pt x="941" y="401"/>
                  </a:cubicBezTo>
                  <a:cubicBezTo>
                    <a:pt x="969" y="433"/>
                    <a:pt x="969" y="433"/>
                    <a:pt x="969" y="433"/>
                  </a:cubicBezTo>
                  <a:cubicBezTo>
                    <a:pt x="973" y="438"/>
                    <a:pt x="985" y="443"/>
                    <a:pt x="990" y="439"/>
                  </a:cubicBezTo>
                  <a:cubicBezTo>
                    <a:pt x="1018" y="415"/>
                    <a:pt x="1018" y="415"/>
                    <a:pt x="1018" y="415"/>
                  </a:cubicBezTo>
                  <a:cubicBezTo>
                    <a:pt x="1018" y="415"/>
                    <a:pt x="1027" y="407"/>
                    <a:pt x="1019" y="398"/>
                  </a:cubicBezTo>
                  <a:close/>
                  <a:moveTo>
                    <a:pt x="803" y="279"/>
                  </a:moveTo>
                  <a:cubicBezTo>
                    <a:pt x="776" y="238"/>
                    <a:pt x="788" y="187"/>
                    <a:pt x="825" y="164"/>
                  </a:cubicBezTo>
                  <a:cubicBezTo>
                    <a:pt x="866" y="136"/>
                    <a:pt x="921" y="144"/>
                    <a:pt x="948" y="185"/>
                  </a:cubicBezTo>
                  <a:cubicBezTo>
                    <a:pt x="972" y="221"/>
                    <a:pt x="963" y="277"/>
                    <a:pt x="922" y="304"/>
                  </a:cubicBezTo>
                  <a:cubicBezTo>
                    <a:pt x="881" y="332"/>
                    <a:pt x="830" y="320"/>
                    <a:pt x="803" y="279"/>
                  </a:cubicBezTo>
                  <a:close/>
                </a:path>
              </a:pathLst>
            </a:custGeom>
            <a:solidFill>
              <a:schemeClr val="tx1"/>
            </a:solidFill>
            <a:ln>
              <a:noFill/>
            </a:ln>
          </p:spPr>
          <p:txBody>
            <a:bodyPr vert="horz" wrap="square" lIns="68574" tIns="34287" rIns="68574" bIns="34287"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17346"/>
                </a:solidFill>
                <a:effectLst/>
                <a:uLnTx/>
                <a:uFillTx/>
                <a:latin typeface="Segoe UI"/>
                <a:ea typeface="+mn-ea"/>
                <a:cs typeface="+mn-cs"/>
              </a:endParaRPr>
            </a:p>
          </p:txBody>
        </p:sp>
        <p:sp>
          <p:nvSpPr>
            <p:cNvPr id="104" name="Freeform 103"/>
            <p:cNvSpPr>
              <a:spLocks noChangeAspect="1"/>
            </p:cNvSpPr>
            <p:nvPr/>
          </p:nvSpPr>
          <p:spPr bwMode="black">
            <a:xfrm>
              <a:off x="776985" y="4213905"/>
              <a:ext cx="342871" cy="335728"/>
            </a:xfrm>
            <a:custGeom>
              <a:avLst/>
              <a:gdLst>
                <a:gd name="connsiteX0" fmla="*/ 3713863 w 4893730"/>
                <a:gd name="connsiteY0" fmla="*/ 2130808 h 4791777"/>
                <a:gd name="connsiteX1" fmla="*/ 4426142 w 4893730"/>
                <a:gd name="connsiteY1" fmla="*/ 2130808 h 4791777"/>
                <a:gd name="connsiteX2" fmla="*/ 4598071 w 4893730"/>
                <a:gd name="connsiteY2" fmla="*/ 2301547 h 4791777"/>
                <a:gd name="connsiteX3" fmla="*/ 4598071 w 4893730"/>
                <a:gd name="connsiteY3" fmla="*/ 3886978 h 4791777"/>
                <a:gd name="connsiteX4" fmla="*/ 4426142 w 4893730"/>
                <a:gd name="connsiteY4" fmla="*/ 4057717 h 4791777"/>
                <a:gd name="connsiteX5" fmla="*/ 3713863 w 4893730"/>
                <a:gd name="connsiteY5" fmla="*/ 4057717 h 4791777"/>
                <a:gd name="connsiteX6" fmla="*/ 3517372 w 4893730"/>
                <a:gd name="connsiteY6" fmla="*/ 3886978 h 4791777"/>
                <a:gd name="connsiteX7" fmla="*/ 3517372 w 4893730"/>
                <a:gd name="connsiteY7" fmla="*/ 2301547 h 4791777"/>
                <a:gd name="connsiteX8" fmla="*/ 3713863 w 4893730"/>
                <a:gd name="connsiteY8" fmla="*/ 2130808 h 4791777"/>
                <a:gd name="connsiteX9" fmla="*/ 904368 w 4893730"/>
                <a:gd name="connsiteY9" fmla="*/ 1223432 h 4791777"/>
                <a:gd name="connsiteX10" fmla="*/ 1609930 w 4893730"/>
                <a:gd name="connsiteY10" fmla="*/ 1223432 h 4791777"/>
                <a:gd name="connsiteX11" fmla="*/ 1804567 w 4893730"/>
                <a:gd name="connsiteY11" fmla="*/ 1394467 h 4791777"/>
                <a:gd name="connsiteX12" fmla="*/ 1804567 w 4893730"/>
                <a:gd name="connsiteY12" fmla="*/ 3886683 h 4791777"/>
                <a:gd name="connsiteX13" fmla="*/ 1609930 w 4893730"/>
                <a:gd name="connsiteY13" fmla="*/ 4057717 h 4791777"/>
                <a:gd name="connsiteX14" fmla="*/ 904368 w 4893730"/>
                <a:gd name="connsiteY14" fmla="*/ 4057717 h 4791777"/>
                <a:gd name="connsiteX15" fmla="*/ 734060 w 4893730"/>
                <a:gd name="connsiteY15" fmla="*/ 3886683 h 4791777"/>
                <a:gd name="connsiteX16" fmla="*/ 734060 w 4893730"/>
                <a:gd name="connsiteY16" fmla="*/ 1394467 h 4791777"/>
                <a:gd name="connsiteX17" fmla="*/ 904368 w 4893730"/>
                <a:gd name="connsiteY17" fmla="*/ 1223432 h 4791777"/>
                <a:gd name="connsiteX18" fmla="*/ 2325453 w 4893730"/>
                <a:gd name="connsiteY18" fmla="*/ 316050 h 4791777"/>
                <a:gd name="connsiteX19" fmla="*/ 3031014 w 4893730"/>
                <a:gd name="connsiteY19" fmla="*/ 316050 h 4791777"/>
                <a:gd name="connsiteX20" fmla="*/ 3201322 w 4893730"/>
                <a:gd name="connsiteY20" fmla="*/ 487238 h 4791777"/>
                <a:gd name="connsiteX21" fmla="*/ 3201322 w 4893730"/>
                <a:gd name="connsiteY21" fmla="*/ 3886530 h 4791777"/>
                <a:gd name="connsiteX22" fmla="*/ 3031014 w 4893730"/>
                <a:gd name="connsiteY22" fmla="*/ 4057717 h 4791777"/>
                <a:gd name="connsiteX23" fmla="*/ 2325453 w 4893730"/>
                <a:gd name="connsiteY23" fmla="*/ 4057717 h 4791777"/>
                <a:gd name="connsiteX24" fmla="*/ 2130815 w 4893730"/>
                <a:gd name="connsiteY24" fmla="*/ 3886530 h 4791777"/>
                <a:gd name="connsiteX25" fmla="*/ 2130815 w 4893730"/>
                <a:gd name="connsiteY25" fmla="*/ 487238 h 4791777"/>
                <a:gd name="connsiteX26" fmla="*/ 2325453 w 4893730"/>
                <a:gd name="connsiteY26" fmla="*/ 316050 h 4791777"/>
                <a:gd name="connsiteX27" fmla="*/ 269155 w 4893730"/>
                <a:gd name="connsiteY27" fmla="*/ 0 h 4791777"/>
                <a:gd name="connsiteX28" fmla="*/ 538311 w 4893730"/>
                <a:gd name="connsiteY28" fmla="*/ 268927 h 4791777"/>
                <a:gd name="connsiteX29" fmla="*/ 538311 w 4893730"/>
                <a:gd name="connsiteY29" fmla="*/ 4253925 h 4791777"/>
                <a:gd name="connsiteX30" fmla="*/ 4624575 w 4893730"/>
                <a:gd name="connsiteY30" fmla="*/ 4253925 h 4791777"/>
                <a:gd name="connsiteX31" fmla="*/ 4893730 w 4893730"/>
                <a:gd name="connsiteY31" fmla="*/ 4522851 h 4791777"/>
                <a:gd name="connsiteX32" fmla="*/ 4624575 w 4893730"/>
                <a:gd name="connsiteY32" fmla="*/ 4791777 h 4791777"/>
                <a:gd name="connsiteX33" fmla="*/ 269155 w 4893730"/>
                <a:gd name="connsiteY33" fmla="*/ 4791777 h 4791777"/>
                <a:gd name="connsiteX34" fmla="*/ 0 w 4893730"/>
                <a:gd name="connsiteY34" fmla="*/ 4522851 h 4791777"/>
                <a:gd name="connsiteX35" fmla="*/ 0 w 4893730"/>
                <a:gd name="connsiteY35" fmla="*/ 268927 h 4791777"/>
                <a:gd name="connsiteX36" fmla="*/ 269155 w 4893730"/>
                <a:gd name="connsiteY36" fmla="*/ 0 h 4791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4893730" h="4791777">
                  <a:moveTo>
                    <a:pt x="3713863" y="2130808"/>
                  </a:moveTo>
                  <a:cubicBezTo>
                    <a:pt x="3713863" y="2130808"/>
                    <a:pt x="3713863" y="2130808"/>
                    <a:pt x="4426142" y="2130808"/>
                  </a:cubicBezTo>
                  <a:cubicBezTo>
                    <a:pt x="4524387" y="2130808"/>
                    <a:pt x="4598071" y="2203982"/>
                    <a:pt x="4598071" y="2301547"/>
                  </a:cubicBezTo>
                  <a:cubicBezTo>
                    <a:pt x="4598071" y="2301547"/>
                    <a:pt x="4598071" y="2301547"/>
                    <a:pt x="4598071" y="3886978"/>
                  </a:cubicBezTo>
                  <a:cubicBezTo>
                    <a:pt x="4598071" y="3984543"/>
                    <a:pt x="4524387" y="4057717"/>
                    <a:pt x="4426142" y="4057717"/>
                  </a:cubicBezTo>
                  <a:cubicBezTo>
                    <a:pt x="4426142" y="4057717"/>
                    <a:pt x="4426142" y="4057717"/>
                    <a:pt x="3713863" y="4057717"/>
                  </a:cubicBezTo>
                  <a:cubicBezTo>
                    <a:pt x="3615618" y="4057717"/>
                    <a:pt x="3517372" y="3984543"/>
                    <a:pt x="3517372" y="3886978"/>
                  </a:cubicBezTo>
                  <a:cubicBezTo>
                    <a:pt x="3517372" y="3886978"/>
                    <a:pt x="3517372" y="3886978"/>
                    <a:pt x="3517372" y="2301547"/>
                  </a:cubicBezTo>
                  <a:cubicBezTo>
                    <a:pt x="3517372" y="2203982"/>
                    <a:pt x="3615618" y="2130808"/>
                    <a:pt x="3713863" y="2130808"/>
                  </a:cubicBezTo>
                  <a:close/>
                  <a:moveTo>
                    <a:pt x="904368" y="1223432"/>
                  </a:moveTo>
                  <a:cubicBezTo>
                    <a:pt x="904368" y="1223432"/>
                    <a:pt x="904368" y="1223432"/>
                    <a:pt x="1609930" y="1223432"/>
                  </a:cubicBezTo>
                  <a:cubicBezTo>
                    <a:pt x="1731578" y="1223432"/>
                    <a:pt x="1804567" y="1296733"/>
                    <a:pt x="1804567" y="1394467"/>
                  </a:cubicBezTo>
                  <a:cubicBezTo>
                    <a:pt x="1804567" y="1394467"/>
                    <a:pt x="1804567" y="1394467"/>
                    <a:pt x="1804567" y="3886683"/>
                  </a:cubicBezTo>
                  <a:cubicBezTo>
                    <a:pt x="1804567" y="3984417"/>
                    <a:pt x="1731578" y="4057717"/>
                    <a:pt x="1609930" y="4057717"/>
                  </a:cubicBezTo>
                  <a:cubicBezTo>
                    <a:pt x="1609930" y="4057717"/>
                    <a:pt x="1609930" y="4057717"/>
                    <a:pt x="904368" y="4057717"/>
                  </a:cubicBezTo>
                  <a:cubicBezTo>
                    <a:pt x="807049" y="4057717"/>
                    <a:pt x="734060" y="3984417"/>
                    <a:pt x="734060" y="3886683"/>
                  </a:cubicBezTo>
                  <a:cubicBezTo>
                    <a:pt x="734060" y="3886683"/>
                    <a:pt x="734060" y="3886683"/>
                    <a:pt x="734060" y="1394467"/>
                  </a:cubicBezTo>
                  <a:cubicBezTo>
                    <a:pt x="734060" y="1296733"/>
                    <a:pt x="807049" y="1223432"/>
                    <a:pt x="904368" y="1223432"/>
                  </a:cubicBezTo>
                  <a:close/>
                  <a:moveTo>
                    <a:pt x="2325453" y="316050"/>
                  </a:moveTo>
                  <a:cubicBezTo>
                    <a:pt x="2325453" y="316050"/>
                    <a:pt x="2325453" y="316050"/>
                    <a:pt x="3031014" y="316050"/>
                  </a:cubicBezTo>
                  <a:cubicBezTo>
                    <a:pt x="3128333" y="316050"/>
                    <a:pt x="3201322" y="389416"/>
                    <a:pt x="3201322" y="487238"/>
                  </a:cubicBezTo>
                  <a:cubicBezTo>
                    <a:pt x="3201322" y="487238"/>
                    <a:pt x="3201322" y="487238"/>
                    <a:pt x="3201322" y="3886530"/>
                  </a:cubicBezTo>
                  <a:cubicBezTo>
                    <a:pt x="3201322" y="3984351"/>
                    <a:pt x="3128333" y="4057717"/>
                    <a:pt x="3031014" y="4057717"/>
                  </a:cubicBezTo>
                  <a:cubicBezTo>
                    <a:pt x="3031014" y="4057717"/>
                    <a:pt x="3031014" y="4057717"/>
                    <a:pt x="2325453" y="4057717"/>
                  </a:cubicBezTo>
                  <a:cubicBezTo>
                    <a:pt x="2203804" y="4057717"/>
                    <a:pt x="2130815" y="3984351"/>
                    <a:pt x="2130815" y="3886530"/>
                  </a:cubicBezTo>
                  <a:cubicBezTo>
                    <a:pt x="2130815" y="3886530"/>
                    <a:pt x="2130815" y="3886530"/>
                    <a:pt x="2130815" y="487238"/>
                  </a:cubicBezTo>
                  <a:cubicBezTo>
                    <a:pt x="2130815" y="389416"/>
                    <a:pt x="2203804" y="316050"/>
                    <a:pt x="2325453" y="316050"/>
                  </a:cubicBezTo>
                  <a:close/>
                  <a:moveTo>
                    <a:pt x="269155" y="0"/>
                  </a:moveTo>
                  <a:cubicBezTo>
                    <a:pt x="415967" y="0"/>
                    <a:pt x="538311" y="122239"/>
                    <a:pt x="538311" y="268927"/>
                  </a:cubicBezTo>
                  <a:cubicBezTo>
                    <a:pt x="538311" y="268927"/>
                    <a:pt x="538311" y="268927"/>
                    <a:pt x="538311" y="4253925"/>
                  </a:cubicBezTo>
                  <a:cubicBezTo>
                    <a:pt x="538311" y="4253925"/>
                    <a:pt x="538311" y="4253925"/>
                    <a:pt x="4624575" y="4253925"/>
                  </a:cubicBezTo>
                  <a:cubicBezTo>
                    <a:pt x="4771387" y="4253925"/>
                    <a:pt x="4893730" y="4376164"/>
                    <a:pt x="4893730" y="4522851"/>
                  </a:cubicBezTo>
                  <a:cubicBezTo>
                    <a:pt x="4893730" y="4669538"/>
                    <a:pt x="4771387" y="4791777"/>
                    <a:pt x="4624575" y="4791777"/>
                  </a:cubicBezTo>
                  <a:cubicBezTo>
                    <a:pt x="4624575" y="4791777"/>
                    <a:pt x="4624575" y="4791777"/>
                    <a:pt x="269155" y="4791777"/>
                  </a:cubicBezTo>
                  <a:cubicBezTo>
                    <a:pt x="122344" y="4791777"/>
                    <a:pt x="0" y="4669538"/>
                    <a:pt x="0" y="4522851"/>
                  </a:cubicBezTo>
                  <a:cubicBezTo>
                    <a:pt x="0" y="4522851"/>
                    <a:pt x="0" y="4522851"/>
                    <a:pt x="0" y="268927"/>
                  </a:cubicBezTo>
                  <a:cubicBezTo>
                    <a:pt x="0" y="122239"/>
                    <a:pt x="122344" y="0"/>
                    <a:pt x="269155"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37148" tIns="109719" rIns="137148" bIns="109719"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699261"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5" name="Rectangle 104"/>
            <p:cNvSpPr/>
            <p:nvPr/>
          </p:nvSpPr>
          <p:spPr bwMode="auto">
            <a:xfrm rot="2745734">
              <a:off x="886688" y="2210975"/>
              <a:ext cx="1598323" cy="1625795"/>
            </a:xfrm>
            <a:prstGeom prst="rect">
              <a:avLst/>
            </a:prstGeom>
            <a:solidFill>
              <a:schemeClr val="tx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6" name="Rectangle 105"/>
            <p:cNvSpPr/>
            <p:nvPr/>
          </p:nvSpPr>
          <p:spPr bwMode="auto">
            <a:xfrm rot="2745734">
              <a:off x="292433" y="3819160"/>
              <a:ext cx="1610349" cy="1235003"/>
            </a:xfrm>
            <a:prstGeom prst="rect">
              <a:avLst/>
            </a:prstGeom>
            <a:solidFill>
              <a:schemeClr val="tx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7" name="Rectangle 106"/>
            <p:cNvSpPr/>
            <p:nvPr/>
          </p:nvSpPr>
          <p:spPr bwMode="auto">
            <a:xfrm rot="2745734">
              <a:off x="1315610" y="4915701"/>
              <a:ext cx="1263370" cy="1255989"/>
            </a:xfrm>
            <a:prstGeom prst="rect">
              <a:avLst/>
            </a:prstGeom>
            <a:solidFill>
              <a:schemeClr val="tx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40" name="TextBox 39"/>
          <p:cNvSpPr txBox="1"/>
          <p:nvPr/>
        </p:nvSpPr>
        <p:spPr>
          <a:xfrm>
            <a:off x="3" y="51415"/>
            <a:ext cx="2849058" cy="430887"/>
          </a:xfrm>
          <a:prstGeom prst="rect">
            <a:avLst/>
          </a:prstGeom>
        </p:spPr>
        <p:txBody>
          <a:bodyPr wrap="square">
            <a:spAutoFit/>
          </a:bodyPr>
          <a:lstStyle>
            <a:defPPr>
              <a:defRPr lang="en-US"/>
            </a:defPPr>
            <a:lvl1pPr defTabSz="914192">
              <a:defRPr sz="2800" b="1" spc="-100">
                <a:ln w="3175">
                  <a:noFill/>
                </a:ln>
                <a:solidFill>
                  <a:srgbClr val="F2C812"/>
                </a:solidFill>
                <a:latin typeface="Segoe UI" panose="020B0502040204020203" pitchFamily="34" charset="0"/>
                <a:ea typeface="ＭＳ Ｐゴシック" charset="0"/>
                <a:cs typeface="Segoe UI" panose="020B0502040204020203" pitchFamily="34" charset="0"/>
              </a:defRPr>
            </a:lvl1pPr>
          </a:lstStyle>
          <a:p>
            <a:pPr marL="0" marR="0" lvl="0" indent="0" algn="l" defTabSz="914192" rtl="0" eaLnBrk="1" fontAlgn="auto" latinLnBrk="0" hangingPunct="1">
              <a:lnSpc>
                <a:spcPct val="100000"/>
              </a:lnSpc>
              <a:spcBef>
                <a:spcPts val="0"/>
              </a:spcBef>
              <a:spcAft>
                <a:spcPts val="0"/>
              </a:spcAft>
              <a:buClrTx/>
              <a:buSzTx/>
              <a:buFontTx/>
              <a:buNone/>
              <a:tabLst/>
              <a:defRPr/>
            </a:pPr>
            <a:r>
              <a:rPr kumimoji="0" lang="en-US" sz="2200" b="1" i="0" u="none" strike="noStrike" kern="1200" cap="none" spc="-100" normalizeH="0" baseline="0" noProof="0">
                <a:ln w="3175">
                  <a:noFill/>
                </a:ln>
                <a:solidFill>
                  <a:srgbClr val="F2C812"/>
                </a:solidFill>
                <a:effectLst/>
                <a:uLnTx/>
                <a:uFillTx/>
                <a:latin typeface="Segoe UI Light"/>
                <a:ea typeface="ＭＳ Ｐゴシック" charset="0"/>
                <a:cs typeface="Segoe UI" panose="020B0502040204020203" pitchFamily="34" charset="0"/>
              </a:rPr>
              <a:t>Power BI Desktop</a:t>
            </a:r>
          </a:p>
        </p:txBody>
      </p:sp>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894587" y="1348358"/>
            <a:ext cx="6858506" cy="4800955"/>
          </a:xfrm>
          <a:prstGeom prst="rect">
            <a:avLst/>
          </a:prstGeom>
          <a:ln>
            <a:noFill/>
          </a:ln>
          <a:effectLst>
            <a:outerShdw blurRad="190500" algn="tl" rotWithShape="0">
              <a:srgbClr val="000000">
                <a:alpha val="70000"/>
              </a:srgbClr>
            </a:outerShdw>
          </a:effectLst>
        </p:spPr>
      </p:pic>
      <p:sp>
        <p:nvSpPr>
          <p:cNvPr id="3" name="Oval 2"/>
          <p:cNvSpPr/>
          <p:nvPr/>
        </p:nvSpPr>
        <p:spPr bwMode="auto">
          <a:xfrm>
            <a:off x="3156164" y="6295894"/>
            <a:ext cx="338667" cy="313805"/>
          </a:xfrm>
          <a:prstGeom prst="ellipse">
            <a:avLst/>
          </a:prstGeom>
          <a:solidFill>
            <a:srgbClr val="FF00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1</a:t>
            </a:r>
          </a:p>
        </p:txBody>
      </p:sp>
      <p:sp>
        <p:nvSpPr>
          <p:cNvPr id="44" name="Text Placeholder 2"/>
          <p:cNvSpPr txBox="1">
            <a:spLocks/>
          </p:cNvSpPr>
          <p:nvPr/>
        </p:nvSpPr>
        <p:spPr>
          <a:xfrm>
            <a:off x="3494831" y="6162929"/>
            <a:ext cx="1725964" cy="265930"/>
          </a:xfrm>
          <a:prstGeom prst="rect">
            <a:avLst/>
          </a:prstGeom>
        </p:spPr>
        <p:txBody>
          <a:bodyPr vert="horz" wrap="square" lIns="182880" tIns="146304" rIns="182880" bIns="146304" rtlCol="0">
            <a:noAutofit/>
          </a:bodyPr>
          <a:lstStyle>
            <a:lvl1pPr marL="182845" marR="0"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3921" kern="1200" spc="0" baseline="0">
                <a:gradFill>
                  <a:gsLst>
                    <a:gs pos="1250">
                      <a:schemeClr val="tx2"/>
                    </a:gs>
                    <a:gs pos="99000">
                      <a:schemeClr val="tx2"/>
                    </a:gs>
                  </a:gsLst>
                  <a:lin ang="5400000" scaled="0"/>
                </a:gradFill>
                <a:latin typeface="+mj-lt"/>
                <a:ea typeface="+mn-ea"/>
                <a:cs typeface="+mn-cs"/>
              </a:defRPr>
            </a:lvl1pPr>
            <a:lvl2pPr marL="365690" marR="0"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2400" kern="1200" spc="0" baseline="0">
                <a:solidFill>
                  <a:schemeClr val="tx2"/>
                </a:solidFill>
                <a:latin typeface="+mj-lt"/>
                <a:ea typeface="+mn-ea"/>
                <a:cs typeface="+mn-cs"/>
              </a:defRPr>
            </a:lvl2pPr>
            <a:lvl3pPr marL="548535" marR="0"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2000" kern="1200" spc="0" baseline="0">
                <a:solidFill>
                  <a:schemeClr val="tx2"/>
                </a:solidFill>
                <a:latin typeface="+mj-lt"/>
                <a:ea typeface="+mn-ea"/>
                <a:cs typeface="+mn-cs"/>
              </a:defRPr>
            </a:lvl3pPr>
            <a:lvl4pPr marL="733802" marR="0" indent="-28569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1765" kern="1200" spc="0" baseline="0">
                <a:solidFill>
                  <a:schemeClr val="tx2"/>
                </a:solidFill>
                <a:latin typeface="+mn-lt"/>
                <a:ea typeface="+mn-ea"/>
                <a:cs typeface="+mn-cs"/>
              </a:defRPr>
            </a:lvl4pPr>
            <a:lvl5pPr marL="957856" marR="0" indent="-28569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1765" kern="1200" spc="0" baseline="0">
                <a:solidFill>
                  <a:schemeClr val="tx2"/>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ts val="0"/>
              </a:spcBef>
              <a:spcAft>
                <a:spcPts val="300"/>
              </a:spcAft>
              <a:buClrTx/>
              <a:buSzPct val="90000"/>
              <a:buFont typeface="Arial" panose="020B0604020202020204" pitchFamily="34" charset="0"/>
              <a:buNone/>
              <a:tabLst/>
              <a:defRPr/>
            </a:pPr>
            <a:r>
              <a:rPr kumimoji="0" lang="en-US" sz="1800" b="1" i="0" u="none" strike="noStrike" kern="1200" cap="none" spc="0" normalizeH="0" baseline="0" noProof="0">
                <a:ln>
                  <a:noFill/>
                </a:ln>
                <a:solidFill>
                  <a:prstClr val="black"/>
                </a:solidFill>
                <a:effectLst/>
                <a:uLnTx/>
                <a:uFillTx/>
                <a:latin typeface="Segoe UI Light"/>
                <a:ea typeface="Calibri" panose="020F0502020204030204" pitchFamily="34" charset="0"/>
                <a:cs typeface="Times New Roman" panose="02020603050405020304" pitchFamily="18" charset="0"/>
              </a:rPr>
              <a:t>Query Ribbon</a:t>
            </a:r>
          </a:p>
        </p:txBody>
      </p:sp>
      <p:sp>
        <p:nvSpPr>
          <p:cNvPr id="45" name="Oval 44"/>
          <p:cNvSpPr/>
          <p:nvPr/>
        </p:nvSpPr>
        <p:spPr bwMode="auto">
          <a:xfrm>
            <a:off x="5220795" y="6295894"/>
            <a:ext cx="338667" cy="313805"/>
          </a:xfrm>
          <a:prstGeom prst="ellipse">
            <a:avLst/>
          </a:prstGeom>
          <a:solidFill>
            <a:srgbClr val="FF00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2</a:t>
            </a:r>
          </a:p>
        </p:txBody>
      </p:sp>
      <p:sp>
        <p:nvSpPr>
          <p:cNvPr id="46" name="Text Placeholder 2"/>
          <p:cNvSpPr txBox="1">
            <a:spLocks/>
          </p:cNvSpPr>
          <p:nvPr/>
        </p:nvSpPr>
        <p:spPr>
          <a:xfrm>
            <a:off x="5559462" y="6162929"/>
            <a:ext cx="1725964" cy="265930"/>
          </a:xfrm>
          <a:prstGeom prst="rect">
            <a:avLst/>
          </a:prstGeom>
        </p:spPr>
        <p:txBody>
          <a:bodyPr vert="horz" wrap="square" lIns="182880" tIns="146304" rIns="182880" bIns="146304" rtlCol="0">
            <a:noAutofit/>
          </a:bodyPr>
          <a:lstStyle>
            <a:lvl1pPr marL="182845" marR="0"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3921" kern="1200" spc="0" baseline="0">
                <a:gradFill>
                  <a:gsLst>
                    <a:gs pos="1250">
                      <a:schemeClr val="tx2"/>
                    </a:gs>
                    <a:gs pos="99000">
                      <a:schemeClr val="tx2"/>
                    </a:gs>
                  </a:gsLst>
                  <a:lin ang="5400000" scaled="0"/>
                </a:gradFill>
                <a:latin typeface="+mj-lt"/>
                <a:ea typeface="+mn-ea"/>
                <a:cs typeface="+mn-cs"/>
              </a:defRPr>
            </a:lvl1pPr>
            <a:lvl2pPr marL="365690" marR="0"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2400" kern="1200" spc="0" baseline="0">
                <a:solidFill>
                  <a:schemeClr val="tx2"/>
                </a:solidFill>
                <a:latin typeface="+mj-lt"/>
                <a:ea typeface="+mn-ea"/>
                <a:cs typeface="+mn-cs"/>
              </a:defRPr>
            </a:lvl2pPr>
            <a:lvl3pPr marL="548535" marR="0"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2000" kern="1200" spc="0" baseline="0">
                <a:solidFill>
                  <a:schemeClr val="tx2"/>
                </a:solidFill>
                <a:latin typeface="+mj-lt"/>
                <a:ea typeface="+mn-ea"/>
                <a:cs typeface="+mn-cs"/>
              </a:defRPr>
            </a:lvl3pPr>
            <a:lvl4pPr marL="733802" marR="0" indent="-28569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1765" kern="1200" spc="0" baseline="0">
                <a:solidFill>
                  <a:schemeClr val="tx2"/>
                </a:solidFill>
                <a:latin typeface="+mn-lt"/>
                <a:ea typeface="+mn-ea"/>
                <a:cs typeface="+mn-cs"/>
              </a:defRPr>
            </a:lvl4pPr>
            <a:lvl5pPr marL="957856" marR="0" indent="-28569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1765" kern="1200" spc="0" baseline="0">
                <a:solidFill>
                  <a:schemeClr val="tx2"/>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ts val="0"/>
              </a:spcBef>
              <a:spcAft>
                <a:spcPts val="300"/>
              </a:spcAft>
              <a:buClrTx/>
              <a:buSzPct val="90000"/>
              <a:buFont typeface="Arial" panose="020B0604020202020204" pitchFamily="34" charset="0"/>
              <a:buNone/>
              <a:tabLst/>
              <a:defRPr/>
            </a:pPr>
            <a:r>
              <a:rPr kumimoji="0" lang="en-US" sz="1800" b="1" i="0" u="none" strike="noStrike" kern="1200" cap="none" spc="0" normalizeH="0" baseline="0" noProof="0">
                <a:ln>
                  <a:noFill/>
                </a:ln>
                <a:solidFill>
                  <a:prstClr val="black"/>
                </a:solidFill>
                <a:effectLst/>
                <a:uLnTx/>
                <a:uFillTx/>
                <a:latin typeface="Segoe UI Light"/>
                <a:ea typeface="Calibri" panose="020F0502020204030204" pitchFamily="34" charset="0"/>
                <a:cs typeface="Times New Roman" panose="02020603050405020304" pitchFamily="18" charset="0"/>
              </a:rPr>
              <a:t>The Left Pane</a:t>
            </a:r>
          </a:p>
        </p:txBody>
      </p:sp>
      <p:sp>
        <p:nvSpPr>
          <p:cNvPr id="49" name="Oval 48"/>
          <p:cNvSpPr/>
          <p:nvPr/>
        </p:nvSpPr>
        <p:spPr bwMode="auto">
          <a:xfrm>
            <a:off x="7285426" y="6300930"/>
            <a:ext cx="338667" cy="313805"/>
          </a:xfrm>
          <a:prstGeom prst="ellipse">
            <a:avLst/>
          </a:prstGeom>
          <a:solidFill>
            <a:srgbClr val="FF00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3</a:t>
            </a:r>
          </a:p>
        </p:txBody>
      </p:sp>
      <p:sp>
        <p:nvSpPr>
          <p:cNvPr id="50" name="Text Placeholder 2"/>
          <p:cNvSpPr txBox="1">
            <a:spLocks/>
          </p:cNvSpPr>
          <p:nvPr/>
        </p:nvSpPr>
        <p:spPr>
          <a:xfrm>
            <a:off x="7624093" y="6167965"/>
            <a:ext cx="2039142" cy="255857"/>
          </a:xfrm>
          <a:prstGeom prst="rect">
            <a:avLst/>
          </a:prstGeom>
        </p:spPr>
        <p:txBody>
          <a:bodyPr vert="horz" wrap="square" lIns="182880" tIns="146304" rIns="182880" bIns="146304" rtlCol="0">
            <a:noAutofit/>
          </a:bodyPr>
          <a:lstStyle>
            <a:lvl1pPr marL="182845" marR="0"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3921" kern="1200" spc="0" baseline="0">
                <a:gradFill>
                  <a:gsLst>
                    <a:gs pos="1250">
                      <a:schemeClr val="tx2"/>
                    </a:gs>
                    <a:gs pos="99000">
                      <a:schemeClr val="tx2"/>
                    </a:gs>
                  </a:gsLst>
                  <a:lin ang="5400000" scaled="0"/>
                </a:gradFill>
                <a:latin typeface="+mj-lt"/>
                <a:ea typeface="+mn-ea"/>
                <a:cs typeface="+mn-cs"/>
              </a:defRPr>
            </a:lvl1pPr>
            <a:lvl2pPr marL="365690" marR="0"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2400" kern="1200" spc="0" baseline="0">
                <a:solidFill>
                  <a:schemeClr val="tx2"/>
                </a:solidFill>
                <a:latin typeface="+mj-lt"/>
                <a:ea typeface="+mn-ea"/>
                <a:cs typeface="+mn-cs"/>
              </a:defRPr>
            </a:lvl2pPr>
            <a:lvl3pPr marL="548535" marR="0"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2000" kern="1200" spc="0" baseline="0">
                <a:solidFill>
                  <a:schemeClr val="tx2"/>
                </a:solidFill>
                <a:latin typeface="+mj-lt"/>
                <a:ea typeface="+mn-ea"/>
                <a:cs typeface="+mn-cs"/>
              </a:defRPr>
            </a:lvl3pPr>
            <a:lvl4pPr marL="733802" marR="0" indent="-28569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1765" kern="1200" spc="0" baseline="0">
                <a:solidFill>
                  <a:schemeClr val="tx2"/>
                </a:solidFill>
                <a:latin typeface="+mn-lt"/>
                <a:ea typeface="+mn-ea"/>
                <a:cs typeface="+mn-cs"/>
              </a:defRPr>
            </a:lvl4pPr>
            <a:lvl5pPr marL="957856" marR="0" indent="-28569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1765" kern="1200" spc="0" baseline="0">
                <a:solidFill>
                  <a:schemeClr val="tx2"/>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ts val="0"/>
              </a:spcBef>
              <a:spcAft>
                <a:spcPts val="300"/>
              </a:spcAft>
              <a:buClrTx/>
              <a:buSzPct val="90000"/>
              <a:buFont typeface="Arial" panose="020B0604020202020204" pitchFamily="34" charset="0"/>
              <a:buNone/>
              <a:tabLst/>
              <a:defRPr/>
            </a:pPr>
            <a:r>
              <a:rPr kumimoji="0" lang="en-US" sz="1800" b="1" i="0" u="none" strike="noStrike" kern="1200" cap="none" spc="0" normalizeH="0" baseline="0" noProof="0">
                <a:ln>
                  <a:noFill/>
                </a:ln>
                <a:solidFill>
                  <a:prstClr val="black"/>
                </a:solidFill>
                <a:effectLst/>
                <a:uLnTx/>
                <a:uFillTx/>
                <a:latin typeface="Segoe UI Light"/>
                <a:ea typeface="Calibri" panose="020F0502020204030204" pitchFamily="34" charset="0"/>
                <a:cs typeface="Times New Roman" panose="02020603050405020304" pitchFamily="18" charset="0"/>
              </a:rPr>
              <a:t>The Center Pane</a:t>
            </a:r>
          </a:p>
        </p:txBody>
      </p:sp>
      <p:sp>
        <p:nvSpPr>
          <p:cNvPr id="51" name="Oval 50"/>
          <p:cNvSpPr/>
          <p:nvPr/>
        </p:nvSpPr>
        <p:spPr bwMode="auto">
          <a:xfrm>
            <a:off x="9663235" y="6300930"/>
            <a:ext cx="397487" cy="326753"/>
          </a:xfrm>
          <a:prstGeom prst="ellipse">
            <a:avLst/>
          </a:prstGeom>
          <a:solidFill>
            <a:srgbClr val="FF00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4</a:t>
            </a:r>
          </a:p>
        </p:txBody>
      </p:sp>
      <p:sp>
        <p:nvSpPr>
          <p:cNvPr id="52" name="Text Placeholder 2"/>
          <p:cNvSpPr txBox="1">
            <a:spLocks/>
          </p:cNvSpPr>
          <p:nvPr/>
        </p:nvSpPr>
        <p:spPr>
          <a:xfrm>
            <a:off x="10001901" y="6167965"/>
            <a:ext cx="2393299" cy="266414"/>
          </a:xfrm>
          <a:prstGeom prst="rect">
            <a:avLst/>
          </a:prstGeom>
        </p:spPr>
        <p:txBody>
          <a:bodyPr vert="horz" wrap="square" lIns="182880" tIns="146304" rIns="182880" bIns="146304" rtlCol="0">
            <a:noAutofit/>
          </a:bodyPr>
          <a:lstStyle>
            <a:lvl1pPr marL="182845" marR="0"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3921" kern="1200" spc="0" baseline="0">
                <a:gradFill>
                  <a:gsLst>
                    <a:gs pos="1250">
                      <a:schemeClr val="tx2"/>
                    </a:gs>
                    <a:gs pos="99000">
                      <a:schemeClr val="tx2"/>
                    </a:gs>
                  </a:gsLst>
                  <a:lin ang="5400000" scaled="0"/>
                </a:gradFill>
                <a:latin typeface="+mj-lt"/>
                <a:ea typeface="+mn-ea"/>
                <a:cs typeface="+mn-cs"/>
              </a:defRPr>
            </a:lvl1pPr>
            <a:lvl2pPr marL="365690" marR="0"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2400" kern="1200" spc="0" baseline="0">
                <a:solidFill>
                  <a:schemeClr val="tx2"/>
                </a:solidFill>
                <a:latin typeface="+mj-lt"/>
                <a:ea typeface="+mn-ea"/>
                <a:cs typeface="+mn-cs"/>
              </a:defRPr>
            </a:lvl2pPr>
            <a:lvl3pPr marL="548535" marR="0"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2000" kern="1200" spc="0" baseline="0">
                <a:solidFill>
                  <a:schemeClr val="tx2"/>
                </a:solidFill>
                <a:latin typeface="+mj-lt"/>
                <a:ea typeface="+mn-ea"/>
                <a:cs typeface="+mn-cs"/>
              </a:defRPr>
            </a:lvl3pPr>
            <a:lvl4pPr marL="733802" marR="0" indent="-28569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1765" kern="1200" spc="0" baseline="0">
                <a:solidFill>
                  <a:schemeClr val="tx2"/>
                </a:solidFill>
                <a:latin typeface="+mn-lt"/>
                <a:ea typeface="+mn-ea"/>
                <a:cs typeface="+mn-cs"/>
              </a:defRPr>
            </a:lvl4pPr>
            <a:lvl5pPr marL="957856" marR="0" indent="-28569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1765" kern="1200" spc="0" baseline="0">
                <a:solidFill>
                  <a:schemeClr val="tx2"/>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ts val="0"/>
              </a:spcBef>
              <a:spcAft>
                <a:spcPts val="300"/>
              </a:spcAft>
              <a:buClrTx/>
              <a:buSzPct val="90000"/>
              <a:buFont typeface="Arial" panose="020B0604020202020204" pitchFamily="34" charset="0"/>
              <a:buNone/>
              <a:tabLst/>
              <a:defRPr/>
            </a:pPr>
            <a:r>
              <a:rPr kumimoji="0" lang="en-US" sz="1800" b="1" i="0" u="none" strike="noStrike" kern="1200" cap="none" spc="0" normalizeH="0" baseline="0" noProof="0">
                <a:ln>
                  <a:noFill/>
                </a:ln>
                <a:solidFill>
                  <a:prstClr val="black"/>
                </a:solidFill>
                <a:effectLst/>
                <a:uLnTx/>
                <a:uFillTx/>
                <a:latin typeface="Segoe UI Light"/>
                <a:ea typeface="Calibri" panose="020F0502020204030204" pitchFamily="34" charset="0"/>
                <a:cs typeface="Times New Roman" panose="02020603050405020304" pitchFamily="18" charset="0"/>
              </a:rPr>
              <a:t>The Query Settings Pane</a:t>
            </a:r>
          </a:p>
        </p:txBody>
      </p:sp>
      <p:sp>
        <p:nvSpPr>
          <p:cNvPr id="7" name="Title 6"/>
          <p:cNvSpPr>
            <a:spLocks noGrp="1"/>
          </p:cNvSpPr>
          <p:nvPr>
            <p:ph type="title"/>
          </p:nvPr>
        </p:nvSpPr>
        <p:spPr/>
        <p:txBody>
          <a:bodyPr/>
          <a:lstStyle/>
          <a:p>
            <a:r>
              <a:rPr lang="en-US" i="1">
                <a:solidFill>
                  <a:schemeClr val="tx1"/>
                </a:solidFill>
              </a:rPr>
              <a:t>Query Editor</a:t>
            </a:r>
            <a:endParaRPr lang="en-GB"/>
          </a:p>
        </p:txBody>
      </p:sp>
    </p:spTree>
    <p:extLst>
      <p:ext uri="{BB962C8B-B14F-4D97-AF65-F5344CB8AC3E}">
        <p14:creationId xmlns:p14="http://schemas.microsoft.com/office/powerpoint/2010/main" val="4122279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p:cNvGrpSpPr/>
          <p:nvPr/>
        </p:nvGrpSpPr>
        <p:grpSpPr>
          <a:xfrm>
            <a:off x="-11149" y="0"/>
            <a:ext cx="2849058" cy="6858000"/>
            <a:chOff x="2" y="1"/>
            <a:chExt cx="2849058" cy="6858000"/>
          </a:xfrm>
        </p:grpSpPr>
        <p:sp>
          <p:nvSpPr>
            <p:cNvPr id="70" name="Rectangle 69"/>
            <p:cNvSpPr/>
            <p:nvPr/>
          </p:nvSpPr>
          <p:spPr bwMode="auto">
            <a:xfrm>
              <a:off x="2" y="1"/>
              <a:ext cx="2849058"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5" name="Oval 70"/>
            <p:cNvSpPr/>
            <p:nvPr/>
          </p:nvSpPr>
          <p:spPr>
            <a:xfrm>
              <a:off x="1413521" y="4951537"/>
              <a:ext cx="1119626" cy="1119626"/>
            </a:xfrm>
            <a:prstGeom prst="ellipse">
              <a:avLst/>
            </a:prstGeom>
            <a:solidFill>
              <a:srgbClr val="F2C812"/>
            </a:solidFill>
            <a:ln w="3175" cap="flat" cmpd="sng" algn="ctr">
              <a:noFill/>
              <a:prstDash val="solid"/>
            </a:ln>
            <a:effectLst/>
          </p:spPr>
          <p:txBody>
            <a:bodyPr vert="horz" wrap="none" lIns="0" tIns="45720" rIns="0" bIns="0" rtlCol="0" anchor="t"/>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Segoe UI"/>
                  <a:ea typeface="Segoe UI" pitchFamily="34" charset="0"/>
                  <a:cs typeface="Segoe UI" pitchFamily="34" charset="0"/>
                </a:rPr>
                <a:t>Share &amp;</a:t>
              </a:r>
            </a:p>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Segoe UI"/>
                  <a:ea typeface="Segoe UI" pitchFamily="34" charset="0"/>
                  <a:cs typeface="Segoe UI" pitchFamily="34" charset="0"/>
                </a:rPr>
                <a:t>collaborate </a:t>
              </a:r>
            </a:p>
          </p:txBody>
        </p:sp>
        <p:grpSp>
          <p:nvGrpSpPr>
            <p:cNvPr id="66" name="Group 38"/>
            <p:cNvGrpSpPr>
              <a:grpSpLocks noChangeAspect="1"/>
            </p:cNvGrpSpPr>
            <p:nvPr/>
          </p:nvGrpSpPr>
          <p:grpSpPr>
            <a:xfrm>
              <a:off x="676996" y="3930692"/>
              <a:ext cx="383905" cy="351536"/>
              <a:chOff x="4363684" y="5330386"/>
              <a:chExt cx="1409956" cy="1291077"/>
            </a:xfrm>
            <a:solidFill>
              <a:srgbClr val="217346"/>
            </a:solidFill>
          </p:grpSpPr>
          <p:sp>
            <p:nvSpPr>
              <p:cNvPr id="67" name="Donut 3"/>
              <p:cNvSpPr/>
              <p:nvPr/>
            </p:nvSpPr>
            <p:spPr bwMode="auto">
              <a:xfrm>
                <a:off x="4363684" y="5330386"/>
                <a:ext cx="1409956" cy="1291077"/>
              </a:xfrm>
              <a:custGeom>
                <a:avLst/>
                <a:gdLst/>
                <a:ahLst/>
                <a:cxnLst/>
                <a:rect l="l" t="t" r="r" b="b"/>
                <a:pathLst>
                  <a:path w="1409956" h="1291077">
                    <a:moveTo>
                      <a:pt x="956401" y="78410"/>
                    </a:moveTo>
                    <a:cubicBezTo>
                      <a:pt x="747518" y="78410"/>
                      <a:pt x="578184" y="247744"/>
                      <a:pt x="578184" y="456627"/>
                    </a:cubicBezTo>
                    <a:cubicBezTo>
                      <a:pt x="578184" y="665510"/>
                      <a:pt x="747518" y="834844"/>
                      <a:pt x="956401" y="834844"/>
                    </a:cubicBezTo>
                    <a:cubicBezTo>
                      <a:pt x="1165284" y="834844"/>
                      <a:pt x="1334618" y="665510"/>
                      <a:pt x="1334618" y="456627"/>
                    </a:cubicBezTo>
                    <a:cubicBezTo>
                      <a:pt x="1334618" y="247744"/>
                      <a:pt x="1165284" y="78410"/>
                      <a:pt x="956401" y="78410"/>
                    </a:cubicBezTo>
                    <a:close/>
                    <a:moveTo>
                      <a:pt x="952756" y="0"/>
                    </a:moveTo>
                    <a:cubicBezTo>
                      <a:pt x="1205261" y="0"/>
                      <a:pt x="1409956" y="204695"/>
                      <a:pt x="1409956" y="457200"/>
                    </a:cubicBezTo>
                    <a:cubicBezTo>
                      <a:pt x="1409956" y="709705"/>
                      <a:pt x="1205261" y="914400"/>
                      <a:pt x="952756" y="914400"/>
                    </a:cubicBezTo>
                    <a:cubicBezTo>
                      <a:pt x="862133" y="914400"/>
                      <a:pt x="777669" y="888034"/>
                      <a:pt x="707132" y="841746"/>
                    </a:cubicBezTo>
                    <a:lnTo>
                      <a:pt x="136495" y="1280102"/>
                    </a:lnTo>
                    <a:cubicBezTo>
                      <a:pt x="21896" y="1327168"/>
                      <a:pt x="-44029" y="1213730"/>
                      <a:pt x="33797" y="1113182"/>
                    </a:cubicBezTo>
                    <a:lnTo>
                      <a:pt x="568587" y="703518"/>
                    </a:lnTo>
                    <a:cubicBezTo>
                      <a:pt x="522087" y="632814"/>
                      <a:pt x="495556" y="548105"/>
                      <a:pt x="495556" y="457200"/>
                    </a:cubicBezTo>
                    <a:cubicBezTo>
                      <a:pt x="495556" y="204695"/>
                      <a:pt x="700251" y="0"/>
                      <a:pt x="952756" y="0"/>
                    </a:cubicBezTo>
                    <a:close/>
                  </a:path>
                </a:pathLst>
              </a:custGeom>
              <a:grpFill/>
              <a:ln>
                <a:solidFill>
                  <a:srgbClr val="21734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sp>
            <p:nvSpPr>
              <p:cNvPr id="68" name="Rectangle 4"/>
              <p:cNvSpPr/>
              <p:nvPr/>
            </p:nvSpPr>
            <p:spPr>
              <a:xfrm>
                <a:off x="5058389" y="5528247"/>
                <a:ext cx="490885" cy="490020"/>
              </a:xfrm>
              <a:custGeom>
                <a:avLst/>
                <a:gdLst/>
                <a:ahLst/>
                <a:cxnLst/>
                <a:rect l="l" t="t" r="r" b="b"/>
                <a:pathLst>
                  <a:path w="490885" h="490020">
                    <a:moveTo>
                      <a:pt x="240752" y="0"/>
                    </a:moveTo>
                    <a:cubicBezTo>
                      <a:pt x="253961" y="11844"/>
                      <a:pt x="293310" y="49692"/>
                      <a:pt x="337332" y="92439"/>
                    </a:cubicBezTo>
                    <a:lnTo>
                      <a:pt x="328342" y="81259"/>
                    </a:lnTo>
                    <a:cubicBezTo>
                      <a:pt x="356946" y="111282"/>
                      <a:pt x="377251" y="107167"/>
                      <a:pt x="382515" y="87941"/>
                    </a:cubicBezTo>
                    <a:cubicBezTo>
                      <a:pt x="383951" y="76921"/>
                      <a:pt x="384595" y="68732"/>
                      <a:pt x="396997" y="52239"/>
                    </a:cubicBezTo>
                    <a:cubicBezTo>
                      <a:pt x="420362" y="32084"/>
                      <a:pt x="442294" y="41736"/>
                      <a:pt x="454920" y="51330"/>
                    </a:cubicBezTo>
                    <a:cubicBezTo>
                      <a:pt x="467834" y="62761"/>
                      <a:pt x="477920" y="86882"/>
                      <a:pt x="460392" y="109714"/>
                    </a:cubicBezTo>
                    <a:cubicBezTo>
                      <a:pt x="451128" y="121912"/>
                      <a:pt x="437554" y="126838"/>
                      <a:pt x="425922" y="126505"/>
                    </a:cubicBezTo>
                    <a:cubicBezTo>
                      <a:pt x="424301" y="127609"/>
                      <a:pt x="382890" y="134974"/>
                      <a:pt x="427348" y="177672"/>
                    </a:cubicBezTo>
                    <a:lnTo>
                      <a:pt x="416886" y="169735"/>
                    </a:lnTo>
                    <a:cubicBezTo>
                      <a:pt x="450207" y="202177"/>
                      <a:pt x="478424" y="229744"/>
                      <a:pt x="490885" y="241900"/>
                    </a:cubicBezTo>
                    <a:lnTo>
                      <a:pt x="417150" y="317347"/>
                    </a:lnTo>
                    <a:cubicBezTo>
                      <a:pt x="417744" y="316535"/>
                      <a:pt x="418443" y="316123"/>
                      <a:pt x="419047" y="315822"/>
                    </a:cubicBezTo>
                    <a:cubicBezTo>
                      <a:pt x="389023" y="344426"/>
                      <a:pt x="393138" y="364731"/>
                      <a:pt x="412364" y="369995"/>
                    </a:cubicBezTo>
                    <a:cubicBezTo>
                      <a:pt x="423384" y="371431"/>
                      <a:pt x="431574" y="372075"/>
                      <a:pt x="448067" y="384477"/>
                    </a:cubicBezTo>
                    <a:cubicBezTo>
                      <a:pt x="468221" y="407842"/>
                      <a:pt x="458569" y="429774"/>
                      <a:pt x="448975" y="442400"/>
                    </a:cubicBezTo>
                    <a:cubicBezTo>
                      <a:pt x="437545" y="455314"/>
                      <a:pt x="413423" y="465400"/>
                      <a:pt x="390591" y="447872"/>
                    </a:cubicBezTo>
                    <a:cubicBezTo>
                      <a:pt x="378394" y="438608"/>
                      <a:pt x="373468" y="425034"/>
                      <a:pt x="373800" y="413402"/>
                    </a:cubicBezTo>
                    <a:cubicBezTo>
                      <a:pt x="372696" y="411781"/>
                      <a:pt x="365332" y="370370"/>
                      <a:pt x="322634" y="414828"/>
                    </a:cubicBezTo>
                    <a:lnTo>
                      <a:pt x="325243" y="411388"/>
                    </a:lnTo>
                    <a:lnTo>
                      <a:pt x="248395" y="490020"/>
                    </a:lnTo>
                    <a:cubicBezTo>
                      <a:pt x="208939" y="451897"/>
                      <a:pt x="199129" y="442073"/>
                      <a:pt x="174192" y="418236"/>
                    </a:cubicBezTo>
                    <a:cubicBezTo>
                      <a:pt x="145587" y="388212"/>
                      <a:pt x="125282" y="392327"/>
                      <a:pt x="120018" y="411553"/>
                    </a:cubicBezTo>
                    <a:cubicBezTo>
                      <a:pt x="118582" y="422573"/>
                      <a:pt x="117938" y="430763"/>
                      <a:pt x="105536" y="447256"/>
                    </a:cubicBezTo>
                    <a:cubicBezTo>
                      <a:pt x="82171" y="467410"/>
                      <a:pt x="60239" y="457758"/>
                      <a:pt x="47614" y="448164"/>
                    </a:cubicBezTo>
                    <a:cubicBezTo>
                      <a:pt x="34699" y="436734"/>
                      <a:pt x="24614" y="412612"/>
                      <a:pt x="42141" y="389780"/>
                    </a:cubicBezTo>
                    <a:cubicBezTo>
                      <a:pt x="51405" y="377583"/>
                      <a:pt x="64979" y="372657"/>
                      <a:pt x="76612" y="372989"/>
                    </a:cubicBezTo>
                    <a:cubicBezTo>
                      <a:pt x="78232" y="371886"/>
                      <a:pt x="119644" y="364521"/>
                      <a:pt x="75186" y="321823"/>
                    </a:cubicBezTo>
                    <a:cubicBezTo>
                      <a:pt x="58767" y="305402"/>
                      <a:pt x="23648" y="271235"/>
                      <a:pt x="0" y="248738"/>
                    </a:cubicBezTo>
                    <a:lnTo>
                      <a:pt x="77303" y="168146"/>
                    </a:lnTo>
                    <a:cubicBezTo>
                      <a:pt x="104269" y="140313"/>
                      <a:pt x="122130" y="156409"/>
                      <a:pt x="124388" y="175543"/>
                    </a:cubicBezTo>
                    <a:cubicBezTo>
                      <a:pt x="124457" y="182466"/>
                      <a:pt x="127106" y="193106"/>
                      <a:pt x="137575" y="203052"/>
                    </a:cubicBezTo>
                    <a:cubicBezTo>
                      <a:pt x="153931" y="220277"/>
                      <a:pt x="181252" y="217451"/>
                      <a:pt x="196721" y="201951"/>
                    </a:cubicBezTo>
                    <a:cubicBezTo>
                      <a:pt x="211961" y="185740"/>
                      <a:pt x="213057" y="157882"/>
                      <a:pt x="196146" y="142797"/>
                    </a:cubicBezTo>
                    <a:cubicBezTo>
                      <a:pt x="184301" y="132637"/>
                      <a:pt x="177155" y="131453"/>
                      <a:pt x="166513" y="129894"/>
                    </a:cubicBezTo>
                    <a:cubicBezTo>
                      <a:pt x="154522" y="129013"/>
                      <a:pt x="131185" y="112953"/>
                      <a:pt x="157905" y="85228"/>
                    </a:cubicBezTo>
                    <a:close/>
                  </a:path>
                </a:pathLst>
              </a:custGeom>
              <a:grpFill/>
              <a:ln>
                <a:solidFill>
                  <a:srgbClr val="21734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grpSp>
        <p:sp>
          <p:nvSpPr>
            <p:cNvPr id="69" name="Oval 47"/>
            <p:cNvSpPr/>
            <p:nvPr/>
          </p:nvSpPr>
          <p:spPr>
            <a:xfrm>
              <a:off x="388608" y="3710471"/>
              <a:ext cx="1119626" cy="1119626"/>
            </a:xfrm>
            <a:prstGeom prst="ellipse">
              <a:avLst/>
            </a:prstGeom>
            <a:solidFill>
              <a:srgbClr val="F2C812"/>
            </a:solidFill>
            <a:ln w="3175" cap="flat" cmpd="sng" algn="ctr">
              <a:noFill/>
              <a:prstDash val="solid"/>
            </a:ln>
            <a:effectLst/>
          </p:spPr>
          <p:txBody>
            <a:bodyPr vert="horz" wrap="none" lIns="0" tIns="45720" rIns="0" bIns="0" rtlCol="0" anchor="t"/>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Segoe UI"/>
                  <a:ea typeface="Segoe UI" pitchFamily="34" charset="0"/>
                  <a:cs typeface="Segoe UI" pitchFamily="34" charset="0"/>
                </a:rPr>
                <a:t>Report</a:t>
              </a:r>
            </a:p>
          </p:txBody>
        </p:sp>
        <p:sp>
          <p:nvSpPr>
            <p:cNvPr id="85" name="Oval 950"/>
            <p:cNvSpPr/>
            <p:nvPr/>
          </p:nvSpPr>
          <p:spPr>
            <a:xfrm>
              <a:off x="388608" y="1252295"/>
              <a:ext cx="1119626" cy="1119626"/>
            </a:xfrm>
            <a:prstGeom prst="ellipse">
              <a:avLst/>
            </a:prstGeom>
            <a:solidFill>
              <a:srgbClr val="F2C812"/>
            </a:solidFill>
            <a:ln w="3175" cap="flat" cmpd="sng" algn="ctr">
              <a:noFill/>
              <a:prstDash val="solid"/>
            </a:ln>
            <a:effectLst/>
          </p:spPr>
          <p:txBody>
            <a:bodyPr vert="horz" wrap="none" lIns="0" tIns="45720" rIns="0" bIns="0" rtlCol="0" anchor="t"/>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1" i="0" u="none" strike="noStrike" kern="1200" cap="none" spc="0" normalizeH="0" baseline="0" noProof="0">
                <a:ln>
                  <a:noFill/>
                </a:ln>
                <a:solidFill>
                  <a:srgbClr val="217346"/>
                </a:solidFill>
                <a:effectLst/>
                <a:uLnTx/>
                <a:uFillTx/>
                <a:latin typeface="Segoe UI"/>
                <a:ea typeface="Segoe UI" pitchFamily="34" charset="0"/>
                <a:cs typeface="Segoe UI" pitchFamily="34" charset="0"/>
              </a:endParaRPr>
            </a:p>
          </p:txBody>
        </p:sp>
        <p:grpSp>
          <p:nvGrpSpPr>
            <p:cNvPr id="86" name="Group 85"/>
            <p:cNvGrpSpPr/>
            <p:nvPr/>
          </p:nvGrpSpPr>
          <p:grpSpPr>
            <a:xfrm>
              <a:off x="1264851" y="3482890"/>
              <a:ext cx="292254" cy="354906"/>
              <a:chOff x="1296521" y="3253388"/>
              <a:chExt cx="292254" cy="354906"/>
            </a:xfrm>
            <a:solidFill>
              <a:srgbClr val="F2C812"/>
            </a:solidFill>
          </p:grpSpPr>
          <p:sp>
            <p:nvSpPr>
              <p:cNvPr id="87" name="Isosceles Triangle 86"/>
              <p:cNvSpPr/>
              <p:nvPr/>
            </p:nvSpPr>
            <p:spPr bwMode="auto">
              <a:xfrm rot="13636515">
                <a:off x="1461362" y="328936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8" name="Isosceles Triangle 87"/>
              <p:cNvSpPr/>
              <p:nvPr/>
            </p:nvSpPr>
            <p:spPr bwMode="auto">
              <a:xfrm rot="13636515">
                <a:off x="1357669" y="338258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9" name="Isosceles Triangle 88"/>
              <p:cNvSpPr/>
              <p:nvPr/>
            </p:nvSpPr>
            <p:spPr bwMode="auto">
              <a:xfrm rot="13636515">
                <a:off x="1260548" y="3480882"/>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90" name="Group 89"/>
            <p:cNvGrpSpPr/>
            <p:nvPr/>
          </p:nvGrpSpPr>
          <p:grpSpPr>
            <a:xfrm rot="15940603">
              <a:off x="1334576" y="2204404"/>
              <a:ext cx="292254" cy="354906"/>
              <a:chOff x="1296521" y="3253388"/>
              <a:chExt cx="292254" cy="354906"/>
            </a:xfrm>
            <a:solidFill>
              <a:srgbClr val="F2C812"/>
            </a:solidFill>
          </p:grpSpPr>
          <p:sp>
            <p:nvSpPr>
              <p:cNvPr id="91" name="Isosceles Triangle 90"/>
              <p:cNvSpPr/>
              <p:nvPr/>
            </p:nvSpPr>
            <p:spPr bwMode="auto">
              <a:xfrm rot="13636515">
                <a:off x="1461362" y="328936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2" name="Isosceles Triangle 91"/>
              <p:cNvSpPr/>
              <p:nvPr/>
            </p:nvSpPr>
            <p:spPr bwMode="auto">
              <a:xfrm rot="13636515">
                <a:off x="1357669" y="338258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3" name="Isosceles Triangle 92"/>
              <p:cNvSpPr/>
              <p:nvPr/>
            </p:nvSpPr>
            <p:spPr bwMode="auto">
              <a:xfrm rot="13636515">
                <a:off x="1260548" y="3480882"/>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94" name="Group 93"/>
            <p:cNvGrpSpPr/>
            <p:nvPr/>
          </p:nvGrpSpPr>
          <p:grpSpPr>
            <a:xfrm rot="16043978">
              <a:off x="1317220" y="4717577"/>
              <a:ext cx="292254" cy="354906"/>
              <a:chOff x="1296521" y="3253388"/>
              <a:chExt cx="292254" cy="354906"/>
            </a:xfrm>
            <a:solidFill>
              <a:srgbClr val="F2C812"/>
            </a:solidFill>
          </p:grpSpPr>
          <p:sp>
            <p:nvSpPr>
              <p:cNvPr id="95" name="Isosceles Triangle 94"/>
              <p:cNvSpPr/>
              <p:nvPr/>
            </p:nvSpPr>
            <p:spPr bwMode="auto">
              <a:xfrm rot="13636515">
                <a:off x="1461362" y="328936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6" name="Isosceles Triangle 95"/>
              <p:cNvSpPr/>
              <p:nvPr/>
            </p:nvSpPr>
            <p:spPr bwMode="auto">
              <a:xfrm rot="13636515">
                <a:off x="1357669" y="338258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7" name="Isosceles Triangle 96"/>
              <p:cNvSpPr/>
              <p:nvPr/>
            </p:nvSpPr>
            <p:spPr bwMode="auto">
              <a:xfrm rot="13636515">
                <a:off x="1260548" y="3480882"/>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98" name="Oval 36"/>
            <p:cNvSpPr/>
            <p:nvPr/>
          </p:nvSpPr>
          <p:spPr>
            <a:xfrm>
              <a:off x="1413521" y="2481383"/>
              <a:ext cx="1119626" cy="1119626"/>
            </a:xfrm>
            <a:prstGeom prst="ellipse">
              <a:avLst/>
            </a:prstGeom>
            <a:solidFill>
              <a:srgbClr val="F2C812"/>
            </a:solidFill>
            <a:ln w="3175" cap="flat" cmpd="sng" algn="ctr">
              <a:noFill/>
              <a:prstDash val="solid"/>
            </a:ln>
            <a:effectLst/>
          </p:spPr>
          <p:txBody>
            <a:bodyPr vert="horz" wrap="none" lIns="0" tIns="0" rIns="0" bIns="0" rtlCol="0" anchor="t"/>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400" b="1" i="0" u="none" strike="noStrike" kern="1200" cap="none" spc="0" normalizeH="0" baseline="0" noProof="0">
                <a:ln>
                  <a:noFill/>
                </a:ln>
                <a:solidFill>
                  <a:srgbClr val="217346"/>
                </a:solidFill>
                <a:effectLst/>
                <a:uLnTx/>
                <a:uFillTx/>
                <a:latin typeface="Segoe UI"/>
                <a:ea typeface="Segoe UI" pitchFamily="34" charset="0"/>
                <a:cs typeface="Segoe UI" pitchFamily="34" charset="0"/>
              </a:endParaRPr>
            </a:p>
          </p:txBody>
        </p:sp>
        <p:sp>
          <p:nvSpPr>
            <p:cNvPr id="99" name="Donut 3"/>
            <p:cNvSpPr/>
            <p:nvPr/>
          </p:nvSpPr>
          <p:spPr bwMode="auto">
            <a:xfrm>
              <a:off x="1742065" y="3002355"/>
              <a:ext cx="383905" cy="351537"/>
            </a:xfrm>
            <a:custGeom>
              <a:avLst/>
              <a:gdLst/>
              <a:ahLst/>
              <a:cxnLst/>
              <a:rect l="l" t="t" r="r" b="b"/>
              <a:pathLst>
                <a:path w="1409956" h="1291077">
                  <a:moveTo>
                    <a:pt x="956401" y="78410"/>
                  </a:moveTo>
                  <a:cubicBezTo>
                    <a:pt x="747518" y="78410"/>
                    <a:pt x="578184" y="247744"/>
                    <a:pt x="578184" y="456627"/>
                  </a:cubicBezTo>
                  <a:cubicBezTo>
                    <a:pt x="578184" y="665510"/>
                    <a:pt x="747518" y="834844"/>
                    <a:pt x="956401" y="834844"/>
                  </a:cubicBezTo>
                  <a:cubicBezTo>
                    <a:pt x="1165284" y="834844"/>
                    <a:pt x="1334618" y="665510"/>
                    <a:pt x="1334618" y="456627"/>
                  </a:cubicBezTo>
                  <a:cubicBezTo>
                    <a:pt x="1334618" y="247744"/>
                    <a:pt x="1165284" y="78410"/>
                    <a:pt x="956401" y="78410"/>
                  </a:cubicBezTo>
                  <a:close/>
                  <a:moveTo>
                    <a:pt x="952756" y="0"/>
                  </a:moveTo>
                  <a:cubicBezTo>
                    <a:pt x="1205261" y="0"/>
                    <a:pt x="1409956" y="204695"/>
                    <a:pt x="1409956" y="457200"/>
                  </a:cubicBezTo>
                  <a:cubicBezTo>
                    <a:pt x="1409956" y="709705"/>
                    <a:pt x="1205261" y="914400"/>
                    <a:pt x="952756" y="914400"/>
                  </a:cubicBezTo>
                  <a:cubicBezTo>
                    <a:pt x="862133" y="914400"/>
                    <a:pt x="777669" y="888034"/>
                    <a:pt x="707132" y="841746"/>
                  </a:cubicBezTo>
                  <a:lnTo>
                    <a:pt x="136495" y="1280102"/>
                  </a:lnTo>
                  <a:cubicBezTo>
                    <a:pt x="21896" y="1327168"/>
                    <a:pt x="-44029" y="1213730"/>
                    <a:pt x="33797" y="1113182"/>
                  </a:cubicBezTo>
                  <a:lnTo>
                    <a:pt x="568587" y="703518"/>
                  </a:lnTo>
                  <a:cubicBezTo>
                    <a:pt x="522087" y="632814"/>
                    <a:pt x="495556" y="548105"/>
                    <a:pt x="495556" y="457200"/>
                  </a:cubicBezTo>
                  <a:cubicBezTo>
                    <a:pt x="495556" y="204695"/>
                    <a:pt x="700251" y="0"/>
                    <a:pt x="952756" y="0"/>
                  </a:cubicBezTo>
                  <a:close/>
                </a:path>
              </a:pathLst>
            </a:cu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ysClr val="windowText" lastClr="000000"/>
                </a:solidFill>
                <a:effectLst/>
                <a:uLnTx/>
                <a:uFillTx/>
                <a:latin typeface="Segoe UI"/>
                <a:ea typeface="+mn-ea"/>
                <a:cs typeface="+mn-cs"/>
              </a:endParaRPr>
            </a:p>
          </p:txBody>
        </p:sp>
        <p:sp>
          <p:nvSpPr>
            <p:cNvPr id="100" name="Rectangle 99"/>
            <p:cNvSpPr/>
            <p:nvPr/>
          </p:nvSpPr>
          <p:spPr>
            <a:xfrm>
              <a:off x="1600398" y="2677430"/>
              <a:ext cx="820353" cy="307777"/>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Segoe UI"/>
                  <a:ea typeface="Segoe UI" pitchFamily="34" charset="0"/>
                  <a:cs typeface="Segoe UI" pitchFamily="34" charset="0"/>
                </a:rPr>
                <a:t>Explore</a:t>
              </a:r>
              <a:endParaRPr kumimoji="0" lang="en-US" sz="1600" b="0" i="0" u="none" strike="noStrike" kern="1200" cap="none" spc="0" normalizeH="0" baseline="0" noProof="0">
                <a:ln>
                  <a:noFill/>
                </a:ln>
                <a:solidFill>
                  <a:prstClr val="black"/>
                </a:solidFill>
                <a:effectLst/>
                <a:uLnTx/>
                <a:uFillTx/>
                <a:latin typeface="Segoe UI"/>
                <a:ea typeface="+mn-ea"/>
                <a:cs typeface="+mn-cs"/>
              </a:endParaRPr>
            </a:p>
          </p:txBody>
        </p:sp>
        <p:sp>
          <p:nvSpPr>
            <p:cNvPr id="101" name="Rectangle 100"/>
            <p:cNvSpPr/>
            <p:nvPr/>
          </p:nvSpPr>
          <p:spPr>
            <a:xfrm>
              <a:off x="509174" y="1475232"/>
              <a:ext cx="838756" cy="307777"/>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Segoe UI"/>
                  <a:ea typeface="Segoe UI" pitchFamily="34" charset="0"/>
                  <a:cs typeface="Segoe UI" pitchFamily="34" charset="0"/>
                </a:rPr>
                <a:t>Prepare</a:t>
              </a:r>
              <a:endParaRPr kumimoji="0" lang="en-US" sz="1400" b="0" i="0" u="none" strike="noStrike" kern="1200" cap="none" spc="0" normalizeH="0" baseline="0" noProof="0">
                <a:ln>
                  <a:noFill/>
                </a:ln>
                <a:solidFill>
                  <a:prstClr val="black"/>
                </a:solidFill>
                <a:effectLst/>
                <a:uLnTx/>
                <a:uFillTx/>
                <a:latin typeface="Segoe UI"/>
                <a:ea typeface="+mn-ea"/>
                <a:cs typeface="+mn-cs"/>
              </a:endParaRPr>
            </a:p>
          </p:txBody>
        </p:sp>
        <p:sp>
          <p:nvSpPr>
            <p:cNvPr id="102" name="Freeform 101"/>
            <p:cNvSpPr>
              <a:spLocks noChangeAspect="1"/>
            </p:cNvSpPr>
            <p:nvPr/>
          </p:nvSpPr>
          <p:spPr bwMode="black">
            <a:xfrm>
              <a:off x="1836174" y="5643069"/>
              <a:ext cx="274320" cy="284173"/>
            </a:xfrm>
            <a:custGeom>
              <a:avLst/>
              <a:gdLst>
                <a:gd name="T0" fmla="*/ 539 w 669"/>
                <a:gd name="T1" fmla="*/ 5 h 693"/>
                <a:gd name="T2" fmla="*/ 640 w 669"/>
                <a:gd name="T3" fmla="*/ 55 h 693"/>
                <a:gd name="T4" fmla="*/ 603 w 669"/>
                <a:gd name="T5" fmla="*/ 195 h 693"/>
                <a:gd name="T6" fmla="*/ 490 w 669"/>
                <a:gd name="T7" fmla="*/ 188 h 693"/>
                <a:gd name="T8" fmla="*/ 479 w 669"/>
                <a:gd name="T9" fmla="*/ 176 h 693"/>
                <a:gd name="T10" fmla="*/ 213 w 669"/>
                <a:gd name="T11" fmla="*/ 330 h 693"/>
                <a:gd name="T12" fmla="*/ 218 w 669"/>
                <a:gd name="T13" fmla="*/ 345 h 693"/>
                <a:gd name="T14" fmla="*/ 218 w 669"/>
                <a:gd name="T15" fmla="*/ 375 h 693"/>
                <a:gd name="T16" fmla="*/ 209 w 669"/>
                <a:gd name="T17" fmla="*/ 402 h 693"/>
                <a:gd name="T18" fmla="*/ 369 w 669"/>
                <a:gd name="T19" fmla="*/ 503 h 693"/>
                <a:gd name="T20" fmla="*/ 373 w 669"/>
                <a:gd name="T21" fmla="*/ 498 h 693"/>
                <a:gd name="T22" fmla="*/ 456 w 669"/>
                <a:gd name="T23" fmla="*/ 475 h 693"/>
                <a:gd name="T24" fmla="*/ 494 w 669"/>
                <a:gd name="T25" fmla="*/ 489 h 693"/>
                <a:gd name="T26" fmla="*/ 527 w 669"/>
                <a:gd name="T27" fmla="*/ 630 h 693"/>
                <a:gd name="T28" fmla="*/ 386 w 669"/>
                <a:gd name="T29" fmla="*/ 663 h 693"/>
                <a:gd name="T30" fmla="*/ 339 w 669"/>
                <a:gd name="T31" fmla="*/ 560 h 693"/>
                <a:gd name="T32" fmla="*/ 345 w 669"/>
                <a:gd name="T33" fmla="*/ 544 h 693"/>
                <a:gd name="T34" fmla="*/ 177 w 669"/>
                <a:gd name="T35" fmla="*/ 439 h 693"/>
                <a:gd name="T36" fmla="*/ 168 w 669"/>
                <a:gd name="T37" fmla="*/ 446 h 693"/>
                <a:gd name="T38" fmla="*/ 28 w 669"/>
                <a:gd name="T39" fmla="*/ 409 h 693"/>
                <a:gd name="T40" fmla="*/ 65 w 669"/>
                <a:gd name="T41" fmla="*/ 269 h 693"/>
                <a:gd name="T42" fmla="*/ 178 w 669"/>
                <a:gd name="T43" fmla="*/ 276 h 693"/>
                <a:gd name="T44" fmla="*/ 189 w 669"/>
                <a:gd name="T45" fmla="*/ 288 h 693"/>
                <a:gd name="T46" fmla="*/ 455 w 669"/>
                <a:gd name="T47" fmla="*/ 134 h 693"/>
                <a:gd name="T48" fmla="*/ 450 w 669"/>
                <a:gd name="T49" fmla="*/ 119 h 693"/>
                <a:gd name="T50" fmla="*/ 501 w 669"/>
                <a:gd name="T51" fmla="*/ 18 h 693"/>
                <a:gd name="T52" fmla="*/ 539 w 669"/>
                <a:gd name="T53" fmla="*/ 5 h 6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69" h="693">
                  <a:moveTo>
                    <a:pt x="539" y="5"/>
                  </a:moveTo>
                  <a:cubicBezTo>
                    <a:pt x="579" y="0"/>
                    <a:pt x="619" y="19"/>
                    <a:pt x="640" y="55"/>
                  </a:cubicBezTo>
                  <a:cubicBezTo>
                    <a:pt x="669" y="104"/>
                    <a:pt x="652" y="167"/>
                    <a:pt x="603" y="195"/>
                  </a:cubicBezTo>
                  <a:cubicBezTo>
                    <a:pt x="566" y="216"/>
                    <a:pt x="522" y="212"/>
                    <a:pt x="490" y="188"/>
                  </a:cubicBezTo>
                  <a:cubicBezTo>
                    <a:pt x="479" y="176"/>
                    <a:pt x="479" y="176"/>
                    <a:pt x="479" y="176"/>
                  </a:cubicBezTo>
                  <a:cubicBezTo>
                    <a:pt x="213" y="330"/>
                    <a:pt x="213" y="330"/>
                    <a:pt x="213" y="330"/>
                  </a:cubicBezTo>
                  <a:cubicBezTo>
                    <a:pt x="218" y="345"/>
                    <a:pt x="218" y="345"/>
                    <a:pt x="218" y="345"/>
                  </a:cubicBezTo>
                  <a:cubicBezTo>
                    <a:pt x="219" y="355"/>
                    <a:pt x="219" y="365"/>
                    <a:pt x="218" y="375"/>
                  </a:cubicBezTo>
                  <a:cubicBezTo>
                    <a:pt x="209" y="402"/>
                    <a:pt x="209" y="402"/>
                    <a:pt x="209" y="402"/>
                  </a:cubicBezTo>
                  <a:cubicBezTo>
                    <a:pt x="369" y="503"/>
                    <a:pt x="369" y="503"/>
                    <a:pt x="369" y="503"/>
                  </a:cubicBezTo>
                  <a:cubicBezTo>
                    <a:pt x="373" y="498"/>
                    <a:pt x="373" y="498"/>
                    <a:pt x="373" y="498"/>
                  </a:cubicBezTo>
                  <a:cubicBezTo>
                    <a:pt x="396" y="479"/>
                    <a:pt x="427" y="470"/>
                    <a:pt x="456" y="475"/>
                  </a:cubicBezTo>
                  <a:cubicBezTo>
                    <a:pt x="470" y="477"/>
                    <a:pt x="482" y="482"/>
                    <a:pt x="494" y="489"/>
                  </a:cubicBezTo>
                  <a:cubicBezTo>
                    <a:pt x="542" y="519"/>
                    <a:pt x="557" y="583"/>
                    <a:pt x="527" y="630"/>
                  </a:cubicBezTo>
                  <a:cubicBezTo>
                    <a:pt x="497" y="678"/>
                    <a:pt x="433" y="693"/>
                    <a:pt x="386" y="663"/>
                  </a:cubicBezTo>
                  <a:cubicBezTo>
                    <a:pt x="350" y="640"/>
                    <a:pt x="333" y="599"/>
                    <a:pt x="339" y="560"/>
                  </a:cubicBezTo>
                  <a:cubicBezTo>
                    <a:pt x="345" y="544"/>
                    <a:pt x="345" y="544"/>
                    <a:pt x="345" y="544"/>
                  </a:cubicBezTo>
                  <a:cubicBezTo>
                    <a:pt x="177" y="439"/>
                    <a:pt x="177" y="439"/>
                    <a:pt x="177" y="439"/>
                  </a:cubicBezTo>
                  <a:cubicBezTo>
                    <a:pt x="168" y="446"/>
                    <a:pt x="168" y="446"/>
                    <a:pt x="168" y="446"/>
                  </a:cubicBezTo>
                  <a:cubicBezTo>
                    <a:pt x="119" y="475"/>
                    <a:pt x="56" y="458"/>
                    <a:pt x="28" y="409"/>
                  </a:cubicBezTo>
                  <a:cubicBezTo>
                    <a:pt x="0" y="360"/>
                    <a:pt x="16" y="297"/>
                    <a:pt x="65" y="269"/>
                  </a:cubicBezTo>
                  <a:cubicBezTo>
                    <a:pt x="102" y="248"/>
                    <a:pt x="147" y="252"/>
                    <a:pt x="178" y="276"/>
                  </a:cubicBezTo>
                  <a:cubicBezTo>
                    <a:pt x="189" y="288"/>
                    <a:pt x="189" y="288"/>
                    <a:pt x="189" y="288"/>
                  </a:cubicBezTo>
                  <a:cubicBezTo>
                    <a:pt x="455" y="134"/>
                    <a:pt x="455" y="134"/>
                    <a:pt x="455" y="134"/>
                  </a:cubicBezTo>
                  <a:cubicBezTo>
                    <a:pt x="450" y="119"/>
                    <a:pt x="450" y="119"/>
                    <a:pt x="450" y="119"/>
                  </a:cubicBezTo>
                  <a:cubicBezTo>
                    <a:pt x="445" y="80"/>
                    <a:pt x="464" y="39"/>
                    <a:pt x="501" y="18"/>
                  </a:cubicBezTo>
                  <a:cubicBezTo>
                    <a:pt x="513" y="11"/>
                    <a:pt x="526" y="6"/>
                    <a:pt x="539" y="5"/>
                  </a:cubicBezTo>
                  <a:close/>
                </a:path>
              </a:pathLst>
            </a:custGeom>
            <a:solidFill>
              <a:schemeClr val="tx1"/>
            </a:solidFill>
            <a:ln>
              <a:noFill/>
            </a:ln>
          </p:spPr>
          <p:txBody>
            <a:bodyPr vert="horz" wrap="square" lIns="68574" tIns="34287" rIns="68574" bIns="34287"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Segoe UI"/>
                <a:ea typeface="+mn-ea"/>
                <a:cs typeface="+mn-cs"/>
              </a:endParaRPr>
            </a:p>
          </p:txBody>
        </p:sp>
        <p:sp>
          <p:nvSpPr>
            <p:cNvPr id="103" name="Freeform 102"/>
            <p:cNvSpPr>
              <a:spLocks noChangeAspect="1" noEditPoints="1"/>
            </p:cNvSpPr>
            <p:nvPr/>
          </p:nvSpPr>
          <p:spPr bwMode="black">
            <a:xfrm>
              <a:off x="722320" y="1783009"/>
              <a:ext cx="452202" cy="366660"/>
            </a:xfrm>
            <a:custGeom>
              <a:avLst/>
              <a:gdLst>
                <a:gd name="T0" fmla="*/ 600 w 1107"/>
                <a:gd name="T1" fmla="*/ 625 h 897"/>
                <a:gd name="T2" fmla="*/ 649 w 1107"/>
                <a:gd name="T3" fmla="*/ 567 h 897"/>
                <a:gd name="T4" fmla="*/ 727 w 1107"/>
                <a:gd name="T5" fmla="*/ 482 h 897"/>
                <a:gd name="T6" fmla="*/ 601 w 1107"/>
                <a:gd name="T7" fmla="*/ 434 h 897"/>
                <a:gd name="T8" fmla="*/ 628 w 1107"/>
                <a:gd name="T9" fmla="*/ 305 h 897"/>
                <a:gd name="T10" fmla="*/ 547 w 1107"/>
                <a:gd name="T11" fmla="*/ 240 h 897"/>
                <a:gd name="T12" fmla="*/ 427 w 1107"/>
                <a:gd name="T13" fmla="*/ 287 h 897"/>
                <a:gd name="T14" fmla="*/ 368 w 1107"/>
                <a:gd name="T15" fmla="*/ 170 h 897"/>
                <a:gd name="T16" fmla="*/ 285 w 1107"/>
                <a:gd name="T17" fmla="*/ 263 h 897"/>
                <a:gd name="T18" fmla="*/ 241 w 1107"/>
                <a:gd name="T19" fmla="*/ 313 h 897"/>
                <a:gd name="T20" fmla="*/ 139 w 1107"/>
                <a:gd name="T21" fmla="*/ 281 h 897"/>
                <a:gd name="T22" fmla="*/ 79 w 1107"/>
                <a:gd name="T23" fmla="*/ 355 h 897"/>
                <a:gd name="T24" fmla="*/ 132 w 1107"/>
                <a:gd name="T25" fmla="*/ 446 h 897"/>
                <a:gd name="T26" fmla="*/ 83 w 1107"/>
                <a:gd name="T27" fmla="*/ 505 h 897"/>
                <a:gd name="T28" fmla="*/ 5 w 1107"/>
                <a:gd name="T29" fmla="*/ 590 h 897"/>
                <a:gd name="T30" fmla="*/ 132 w 1107"/>
                <a:gd name="T31" fmla="*/ 638 h 897"/>
                <a:gd name="T32" fmla="*/ 145 w 1107"/>
                <a:gd name="T33" fmla="*/ 669 h 897"/>
                <a:gd name="T34" fmla="*/ 110 w 1107"/>
                <a:gd name="T35" fmla="*/ 793 h 897"/>
                <a:gd name="T36" fmla="*/ 230 w 1107"/>
                <a:gd name="T37" fmla="*/ 781 h 897"/>
                <a:gd name="T38" fmla="*/ 306 w 1107"/>
                <a:gd name="T39" fmla="*/ 785 h 897"/>
                <a:gd name="T40" fmla="*/ 346 w 1107"/>
                <a:gd name="T41" fmla="*/ 878 h 897"/>
                <a:gd name="T42" fmla="*/ 440 w 1107"/>
                <a:gd name="T43" fmla="*/ 872 h 897"/>
                <a:gd name="T44" fmla="*/ 466 w 1107"/>
                <a:gd name="T45" fmla="*/ 764 h 897"/>
                <a:gd name="T46" fmla="*/ 539 w 1107"/>
                <a:gd name="T47" fmla="*/ 755 h 897"/>
                <a:gd name="T48" fmla="*/ 659 w 1107"/>
                <a:gd name="T49" fmla="*/ 743 h 897"/>
                <a:gd name="T50" fmla="*/ 263 w 1107"/>
                <a:gd name="T51" fmla="*/ 452 h 897"/>
                <a:gd name="T52" fmla="*/ 281 w 1107"/>
                <a:gd name="T53" fmla="*/ 633 h 897"/>
                <a:gd name="T54" fmla="*/ 1002 w 1107"/>
                <a:gd name="T55" fmla="*/ 332 h 897"/>
                <a:gd name="T56" fmla="*/ 1043 w 1107"/>
                <a:gd name="T57" fmla="*/ 304 h 897"/>
                <a:gd name="T58" fmla="*/ 1107 w 1107"/>
                <a:gd name="T59" fmla="*/ 266 h 897"/>
                <a:gd name="T60" fmla="*/ 1037 w 1107"/>
                <a:gd name="T61" fmla="*/ 213 h 897"/>
                <a:gd name="T62" fmla="*/ 1077 w 1107"/>
                <a:gd name="T63" fmla="*/ 138 h 897"/>
                <a:gd name="T64" fmla="*/ 1038 w 1107"/>
                <a:gd name="T65" fmla="*/ 83 h 897"/>
                <a:gd name="T66" fmla="*/ 956 w 1107"/>
                <a:gd name="T67" fmla="*/ 91 h 897"/>
                <a:gd name="T68" fmla="*/ 940 w 1107"/>
                <a:gd name="T69" fmla="*/ 7 h 897"/>
                <a:gd name="T70" fmla="*/ 872 w 1107"/>
                <a:gd name="T71" fmla="*/ 50 h 897"/>
                <a:gd name="T72" fmla="*/ 836 w 1107"/>
                <a:gd name="T73" fmla="*/ 74 h 897"/>
                <a:gd name="T74" fmla="*/ 778 w 1107"/>
                <a:gd name="T75" fmla="*/ 35 h 897"/>
                <a:gd name="T76" fmla="*/ 728 w 1107"/>
                <a:gd name="T77" fmla="*/ 70 h 897"/>
                <a:gd name="T78" fmla="*/ 744 w 1107"/>
                <a:gd name="T79" fmla="*/ 136 h 897"/>
                <a:gd name="T80" fmla="*/ 703 w 1107"/>
                <a:gd name="T81" fmla="*/ 164 h 897"/>
                <a:gd name="T82" fmla="*/ 640 w 1107"/>
                <a:gd name="T83" fmla="*/ 203 h 897"/>
                <a:gd name="T84" fmla="*/ 710 w 1107"/>
                <a:gd name="T85" fmla="*/ 255 h 897"/>
                <a:gd name="T86" fmla="*/ 712 w 1107"/>
                <a:gd name="T87" fmla="*/ 277 h 897"/>
                <a:gd name="T88" fmla="*/ 668 w 1107"/>
                <a:gd name="T89" fmla="*/ 347 h 897"/>
                <a:gd name="T90" fmla="*/ 745 w 1107"/>
                <a:gd name="T91" fmla="*/ 361 h 897"/>
                <a:gd name="T92" fmla="*/ 791 w 1107"/>
                <a:gd name="T93" fmla="*/ 377 h 897"/>
                <a:gd name="T94" fmla="*/ 799 w 1107"/>
                <a:gd name="T95" fmla="*/ 443 h 897"/>
                <a:gd name="T96" fmla="*/ 859 w 1107"/>
                <a:gd name="T97" fmla="*/ 456 h 897"/>
                <a:gd name="T98" fmla="*/ 894 w 1107"/>
                <a:gd name="T99" fmla="*/ 393 h 897"/>
                <a:gd name="T100" fmla="*/ 941 w 1107"/>
                <a:gd name="T101" fmla="*/ 401 h 897"/>
                <a:gd name="T102" fmla="*/ 1018 w 1107"/>
                <a:gd name="T103" fmla="*/ 415 h 897"/>
                <a:gd name="T104" fmla="*/ 825 w 1107"/>
                <a:gd name="T105" fmla="*/ 164 h 897"/>
                <a:gd name="T106" fmla="*/ 803 w 1107"/>
                <a:gd name="T107" fmla="*/ 279 h 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107" h="897">
                  <a:moveTo>
                    <a:pt x="654" y="716"/>
                  </a:moveTo>
                  <a:cubicBezTo>
                    <a:pt x="616" y="670"/>
                    <a:pt x="616" y="670"/>
                    <a:pt x="616" y="670"/>
                  </a:cubicBezTo>
                  <a:cubicBezTo>
                    <a:pt x="593" y="654"/>
                    <a:pt x="603" y="638"/>
                    <a:pt x="600" y="625"/>
                  </a:cubicBezTo>
                  <a:cubicBezTo>
                    <a:pt x="600" y="625"/>
                    <a:pt x="600" y="625"/>
                    <a:pt x="600" y="625"/>
                  </a:cubicBezTo>
                  <a:cubicBezTo>
                    <a:pt x="605" y="617"/>
                    <a:pt x="611" y="609"/>
                    <a:pt x="608" y="596"/>
                  </a:cubicBezTo>
                  <a:cubicBezTo>
                    <a:pt x="618" y="580"/>
                    <a:pt x="623" y="572"/>
                    <a:pt x="649" y="567"/>
                  </a:cubicBezTo>
                  <a:cubicBezTo>
                    <a:pt x="715" y="553"/>
                    <a:pt x="715" y="553"/>
                    <a:pt x="715" y="553"/>
                  </a:cubicBezTo>
                  <a:cubicBezTo>
                    <a:pt x="728" y="550"/>
                    <a:pt x="733" y="542"/>
                    <a:pt x="730" y="529"/>
                  </a:cubicBezTo>
                  <a:cubicBezTo>
                    <a:pt x="727" y="482"/>
                    <a:pt x="727" y="482"/>
                    <a:pt x="727" y="482"/>
                  </a:cubicBezTo>
                  <a:cubicBezTo>
                    <a:pt x="724" y="469"/>
                    <a:pt x="717" y="463"/>
                    <a:pt x="701" y="453"/>
                  </a:cubicBezTo>
                  <a:cubicBezTo>
                    <a:pt x="641" y="459"/>
                    <a:pt x="641" y="459"/>
                    <a:pt x="641" y="459"/>
                  </a:cubicBezTo>
                  <a:cubicBezTo>
                    <a:pt x="620" y="457"/>
                    <a:pt x="604" y="447"/>
                    <a:pt x="601" y="434"/>
                  </a:cubicBezTo>
                  <a:cubicBezTo>
                    <a:pt x="598" y="421"/>
                    <a:pt x="590" y="416"/>
                    <a:pt x="580" y="397"/>
                  </a:cubicBezTo>
                  <a:cubicBezTo>
                    <a:pt x="577" y="384"/>
                    <a:pt x="574" y="371"/>
                    <a:pt x="584" y="355"/>
                  </a:cubicBezTo>
                  <a:cubicBezTo>
                    <a:pt x="628" y="305"/>
                    <a:pt x="628" y="305"/>
                    <a:pt x="628" y="305"/>
                  </a:cubicBezTo>
                  <a:cubicBezTo>
                    <a:pt x="634" y="297"/>
                    <a:pt x="631" y="284"/>
                    <a:pt x="623" y="279"/>
                  </a:cubicBezTo>
                  <a:cubicBezTo>
                    <a:pt x="581" y="240"/>
                    <a:pt x="581" y="240"/>
                    <a:pt x="581" y="240"/>
                  </a:cubicBezTo>
                  <a:cubicBezTo>
                    <a:pt x="573" y="235"/>
                    <a:pt x="560" y="238"/>
                    <a:pt x="547" y="240"/>
                  </a:cubicBezTo>
                  <a:cubicBezTo>
                    <a:pt x="503" y="291"/>
                    <a:pt x="503" y="291"/>
                    <a:pt x="503" y="291"/>
                  </a:cubicBezTo>
                  <a:cubicBezTo>
                    <a:pt x="484" y="302"/>
                    <a:pt x="471" y="304"/>
                    <a:pt x="463" y="299"/>
                  </a:cubicBezTo>
                  <a:cubicBezTo>
                    <a:pt x="456" y="294"/>
                    <a:pt x="435" y="292"/>
                    <a:pt x="427" y="287"/>
                  </a:cubicBezTo>
                  <a:cubicBezTo>
                    <a:pt x="419" y="282"/>
                    <a:pt x="403" y="271"/>
                    <a:pt x="400" y="258"/>
                  </a:cubicBezTo>
                  <a:cubicBezTo>
                    <a:pt x="386" y="193"/>
                    <a:pt x="386" y="193"/>
                    <a:pt x="386" y="193"/>
                  </a:cubicBezTo>
                  <a:cubicBezTo>
                    <a:pt x="384" y="180"/>
                    <a:pt x="368" y="170"/>
                    <a:pt x="368" y="170"/>
                  </a:cubicBezTo>
                  <a:cubicBezTo>
                    <a:pt x="308" y="176"/>
                    <a:pt x="308" y="176"/>
                    <a:pt x="308" y="176"/>
                  </a:cubicBezTo>
                  <a:cubicBezTo>
                    <a:pt x="308" y="176"/>
                    <a:pt x="289" y="187"/>
                    <a:pt x="292" y="200"/>
                  </a:cubicBezTo>
                  <a:cubicBezTo>
                    <a:pt x="285" y="263"/>
                    <a:pt x="285" y="263"/>
                    <a:pt x="285" y="263"/>
                  </a:cubicBezTo>
                  <a:cubicBezTo>
                    <a:pt x="291" y="289"/>
                    <a:pt x="277" y="292"/>
                    <a:pt x="272" y="300"/>
                  </a:cubicBezTo>
                  <a:cubicBezTo>
                    <a:pt x="272" y="300"/>
                    <a:pt x="272" y="300"/>
                    <a:pt x="267" y="308"/>
                  </a:cubicBezTo>
                  <a:cubicBezTo>
                    <a:pt x="259" y="302"/>
                    <a:pt x="246" y="305"/>
                    <a:pt x="241" y="313"/>
                  </a:cubicBezTo>
                  <a:cubicBezTo>
                    <a:pt x="236" y="321"/>
                    <a:pt x="236" y="321"/>
                    <a:pt x="236" y="321"/>
                  </a:cubicBezTo>
                  <a:cubicBezTo>
                    <a:pt x="223" y="324"/>
                    <a:pt x="210" y="327"/>
                    <a:pt x="194" y="317"/>
                  </a:cubicBezTo>
                  <a:cubicBezTo>
                    <a:pt x="139" y="281"/>
                    <a:pt x="139" y="281"/>
                    <a:pt x="139" y="281"/>
                  </a:cubicBezTo>
                  <a:cubicBezTo>
                    <a:pt x="131" y="276"/>
                    <a:pt x="110" y="273"/>
                    <a:pt x="104" y="281"/>
                  </a:cubicBezTo>
                  <a:cubicBezTo>
                    <a:pt x="79" y="321"/>
                    <a:pt x="79" y="321"/>
                    <a:pt x="79" y="321"/>
                  </a:cubicBezTo>
                  <a:cubicBezTo>
                    <a:pt x="66" y="324"/>
                    <a:pt x="68" y="337"/>
                    <a:pt x="79" y="355"/>
                  </a:cubicBezTo>
                  <a:cubicBezTo>
                    <a:pt x="121" y="394"/>
                    <a:pt x="121" y="394"/>
                    <a:pt x="121" y="394"/>
                  </a:cubicBezTo>
                  <a:cubicBezTo>
                    <a:pt x="140" y="417"/>
                    <a:pt x="135" y="425"/>
                    <a:pt x="132" y="446"/>
                  </a:cubicBezTo>
                  <a:cubicBezTo>
                    <a:pt x="132" y="446"/>
                    <a:pt x="132" y="446"/>
                    <a:pt x="132" y="446"/>
                  </a:cubicBezTo>
                  <a:cubicBezTo>
                    <a:pt x="127" y="454"/>
                    <a:pt x="122" y="462"/>
                    <a:pt x="117" y="470"/>
                  </a:cubicBezTo>
                  <a:cubicBezTo>
                    <a:pt x="117" y="470"/>
                    <a:pt x="117" y="470"/>
                    <a:pt x="117" y="470"/>
                  </a:cubicBezTo>
                  <a:cubicBezTo>
                    <a:pt x="120" y="483"/>
                    <a:pt x="109" y="499"/>
                    <a:pt x="83" y="505"/>
                  </a:cubicBezTo>
                  <a:cubicBezTo>
                    <a:pt x="23" y="511"/>
                    <a:pt x="23" y="511"/>
                    <a:pt x="23" y="511"/>
                  </a:cubicBezTo>
                  <a:cubicBezTo>
                    <a:pt x="10" y="514"/>
                    <a:pt x="0" y="529"/>
                    <a:pt x="2" y="543"/>
                  </a:cubicBezTo>
                  <a:cubicBezTo>
                    <a:pt x="5" y="590"/>
                    <a:pt x="5" y="590"/>
                    <a:pt x="5" y="590"/>
                  </a:cubicBezTo>
                  <a:cubicBezTo>
                    <a:pt x="8" y="603"/>
                    <a:pt x="16" y="608"/>
                    <a:pt x="37" y="610"/>
                  </a:cubicBezTo>
                  <a:cubicBezTo>
                    <a:pt x="92" y="612"/>
                    <a:pt x="92" y="612"/>
                    <a:pt x="92" y="612"/>
                  </a:cubicBezTo>
                  <a:cubicBezTo>
                    <a:pt x="113" y="614"/>
                    <a:pt x="129" y="625"/>
                    <a:pt x="132" y="638"/>
                  </a:cubicBezTo>
                  <a:cubicBezTo>
                    <a:pt x="132" y="638"/>
                    <a:pt x="132" y="638"/>
                    <a:pt x="132" y="638"/>
                  </a:cubicBezTo>
                  <a:cubicBezTo>
                    <a:pt x="140" y="643"/>
                    <a:pt x="142" y="656"/>
                    <a:pt x="150" y="661"/>
                  </a:cubicBezTo>
                  <a:cubicBezTo>
                    <a:pt x="145" y="669"/>
                    <a:pt x="145" y="669"/>
                    <a:pt x="145" y="669"/>
                  </a:cubicBezTo>
                  <a:cubicBezTo>
                    <a:pt x="153" y="674"/>
                    <a:pt x="156" y="687"/>
                    <a:pt x="140" y="711"/>
                  </a:cubicBezTo>
                  <a:cubicBezTo>
                    <a:pt x="109" y="759"/>
                    <a:pt x="109" y="759"/>
                    <a:pt x="109" y="759"/>
                  </a:cubicBezTo>
                  <a:cubicBezTo>
                    <a:pt x="99" y="775"/>
                    <a:pt x="102" y="788"/>
                    <a:pt x="110" y="793"/>
                  </a:cubicBezTo>
                  <a:cubicBezTo>
                    <a:pt x="152" y="832"/>
                    <a:pt x="152" y="832"/>
                    <a:pt x="152" y="832"/>
                  </a:cubicBezTo>
                  <a:cubicBezTo>
                    <a:pt x="160" y="837"/>
                    <a:pt x="173" y="834"/>
                    <a:pt x="178" y="826"/>
                  </a:cubicBezTo>
                  <a:cubicBezTo>
                    <a:pt x="230" y="781"/>
                    <a:pt x="230" y="781"/>
                    <a:pt x="230" y="781"/>
                  </a:cubicBezTo>
                  <a:cubicBezTo>
                    <a:pt x="248" y="770"/>
                    <a:pt x="261" y="767"/>
                    <a:pt x="269" y="772"/>
                  </a:cubicBezTo>
                  <a:cubicBezTo>
                    <a:pt x="269" y="772"/>
                    <a:pt x="269" y="772"/>
                    <a:pt x="269" y="772"/>
                  </a:cubicBezTo>
                  <a:cubicBezTo>
                    <a:pt x="282" y="769"/>
                    <a:pt x="298" y="779"/>
                    <a:pt x="306" y="785"/>
                  </a:cubicBezTo>
                  <a:cubicBezTo>
                    <a:pt x="306" y="785"/>
                    <a:pt x="306" y="785"/>
                    <a:pt x="306" y="785"/>
                  </a:cubicBezTo>
                  <a:cubicBezTo>
                    <a:pt x="319" y="782"/>
                    <a:pt x="327" y="787"/>
                    <a:pt x="332" y="813"/>
                  </a:cubicBezTo>
                  <a:cubicBezTo>
                    <a:pt x="346" y="878"/>
                    <a:pt x="346" y="878"/>
                    <a:pt x="346" y="878"/>
                  </a:cubicBezTo>
                  <a:cubicBezTo>
                    <a:pt x="349" y="892"/>
                    <a:pt x="357" y="897"/>
                    <a:pt x="370" y="894"/>
                  </a:cubicBezTo>
                  <a:cubicBezTo>
                    <a:pt x="425" y="896"/>
                    <a:pt x="425" y="896"/>
                    <a:pt x="425" y="896"/>
                  </a:cubicBezTo>
                  <a:cubicBezTo>
                    <a:pt x="430" y="888"/>
                    <a:pt x="443" y="885"/>
                    <a:pt x="440" y="872"/>
                  </a:cubicBezTo>
                  <a:cubicBezTo>
                    <a:pt x="440" y="804"/>
                    <a:pt x="440" y="804"/>
                    <a:pt x="440" y="804"/>
                  </a:cubicBezTo>
                  <a:cubicBezTo>
                    <a:pt x="442" y="783"/>
                    <a:pt x="460" y="772"/>
                    <a:pt x="466" y="764"/>
                  </a:cubicBezTo>
                  <a:cubicBezTo>
                    <a:pt x="466" y="764"/>
                    <a:pt x="466" y="764"/>
                    <a:pt x="466" y="764"/>
                  </a:cubicBezTo>
                  <a:cubicBezTo>
                    <a:pt x="479" y="761"/>
                    <a:pt x="492" y="758"/>
                    <a:pt x="497" y="750"/>
                  </a:cubicBezTo>
                  <a:cubicBezTo>
                    <a:pt x="497" y="750"/>
                    <a:pt x="497" y="750"/>
                    <a:pt x="497" y="750"/>
                  </a:cubicBezTo>
                  <a:cubicBezTo>
                    <a:pt x="510" y="747"/>
                    <a:pt x="523" y="745"/>
                    <a:pt x="539" y="755"/>
                  </a:cubicBezTo>
                  <a:cubicBezTo>
                    <a:pt x="594" y="791"/>
                    <a:pt x="594" y="791"/>
                    <a:pt x="594" y="791"/>
                  </a:cubicBezTo>
                  <a:cubicBezTo>
                    <a:pt x="602" y="796"/>
                    <a:pt x="623" y="798"/>
                    <a:pt x="628" y="790"/>
                  </a:cubicBezTo>
                  <a:cubicBezTo>
                    <a:pt x="659" y="743"/>
                    <a:pt x="659" y="743"/>
                    <a:pt x="659" y="743"/>
                  </a:cubicBezTo>
                  <a:cubicBezTo>
                    <a:pt x="659" y="743"/>
                    <a:pt x="669" y="727"/>
                    <a:pt x="654" y="716"/>
                  </a:cubicBezTo>
                  <a:close/>
                  <a:moveTo>
                    <a:pt x="281" y="633"/>
                  </a:moveTo>
                  <a:cubicBezTo>
                    <a:pt x="223" y="584"/>
                    <a:pt x="219" y="502"/>
                    <a:pt x="263" y="452"/>
                  </a:cubicBezTo>
                  <a:cubicBezTo>
                    <a:pt x="313" y="393"/>
                    <a:pt x="399" y="382"/>
                    <a:pt x="457" y="431"/>
                  </a:cubicBezTo>
                  <a:cubicBezTo>
                    <a:pt x="507" y="475"/>
                    <a:pt x="518" y="561"/>
                    <a:pt x="469" y="619"/>
                  </a:cubicBezTo>
                  <a:cubicBezTo>
                    <a:pt x="420" y="678"/>
                    <a:pt x="339" y="682"/>
                    <a:pt x="281" y="633"/>
                  </a:cubicBezTo>
                  <a:close/>
                  <a:moveTo>
                    <a:pt x="1019" y="398"/>
                  </a:moveTo>
                  <a:cubicBezTo>
                    <a:pt x="1004" y="362"/>
                    <a:pt x="1004" y="362"/>
                    <a:pt x="1004" y="362"/>
                  </a:cubicBezTo>
                  <a:cubicBezTo>
                    <a:pt x="992" y="348"/>
                    <a:pt x="1002" y="340"/>
                    <a:pt x="1002" y="332"/>
                  </a:cubicBezTo>
                  <a:cubicBezTo>
                    <a:pt x="1002" y="332"/>
                    <a:pt x="1002" y="332"/>
                    <a:pt x="1002" y="332"/>
                  </a:cubicBezTo>
                  <a:cubicBezTo>
                    <a:pt x="1007" y="328"/>
                    <a:pt x="1011" y="324"/>
                    <a:pt x="1012" y="315"/>
                  </a:cubicBezTo>
                  <a:cubicBezTo>
                    <a:pt x="1021" y="307"/>
                    <a:pt x="1026" y="303"/>
                    <a:pt x="1043" y="304"/>
                  </a:cubicBezTo>
                  <a:cubicBezTo>
                    <a:pt x="1086" y="307"/>
                    <a:pt x="1086" y="307"/>
                    <a:pt x="1086" y="307"/>
                  </a:cubicBezTo>
                  <a:cubicBezTo>
                    <a:pt x="1095" y="308"/>
                    <a:pt x="1099" y="304"/>
                    <a:pt x="1100" y="295"/>
                  </a:cubicBezTo>
                  <a:cubicBezTo>
                    <a:pt x="1107" y="266"/>
                    <a:pt x="1107" y="266"/>
                    <a:pt x="1107" y="266"/>
                  </a:cubicBezTo>
                  <a:cubicBezTo>
                    <a:pt x="1107" y="257"/>
                    <a:pt x="1103" y="252"/>
                    <a:pt x="1095" y="243"/>
                  </a:cubicBezTo>
                  <a:cubicBezTo>
                    <a:pt x="1057" y="236"/>
                    <a:pt x="1057" y="236"/>
                    <a:pt x="1057" y="236"/>
                  </a:cubicBezTo>
                  <a:cubicBezTo>
                    <a:pt x="1044" y="231"/>
                    <a:pt x="1036" y="222"/>
                    <a:pt x="1037" y="213"/>
                  </a:cubicBezTo>
                  <a:cubicBezTo>
                    <a:pt x="1038" y="205"/>
                    <a:pt x="1034" y="200"/>
                    <a:pt x="1030" y="187"/>
                  </a:cubicBezTo>
                  <a:cubicBezTo>
                    <a:pt x="1031" y="178"/>
                    <a:pt x="1032" y="170"/>
                    <a:pt x="1041" y="162"/>
                  </a:cubicBezTo>
                  <a:cubicBezTo>
                    <a:pt x="1077" y="138"/>
                    <a:pt x="1077" y="138"/>
                    <a:pt x="1077" y="138"/>
                  </a:cubicBezTo>
                  <a:cubicBezTo>
                    <a:pt x="1082" y="134"/>
                    <a:pt x="1083" y="126"/>
                    <a:pt x="1079" y="121"/>
                  </a:cubicBezTo>
                  <a:cubicBezTo>
                    <a:pt x="1059" y="89"/>
                    <a:pt x="1059" y="89"/>
                    <a:pt x="1059" y="89"/>
                  </a:cubicBezTo>
                  <a:cubicBezTo>
                    <a:pt x="1055" y="85"/>
                    <a:pt x="1047" y="84"/>
                    <a:pt x="1038" y="83"/>
                  </a:cubicBezTo>
                  <a:cubicBezTo>
                    <a:pt x="1002" y="107"/>
                    <a:pt x="1002" y="107"/>
                    <a:pt x="1002" y="107"/>
                  </a:cubicBezTo>
                  <a:cubicBezTo>
                    <a:pt x="989" y="110"/>
                    <a:pt x="980" y="110"/>
                    <a:pt x="976" y="105"/>
                  </a:cubicBezTo>
                  <a:cubicBezTo>
                    <a:pt x="972" y="100"/>
                    <a:pt x="960" y="95"/>
                    <a:pt x="956" y="91"/>
                  </a:cubicBezTo>
                  <a:cubicBezTo>
                    <a:pt x="952" y="86"/>
                    <a:pt x="944" y="77"/>
                    <a:pt x="944" y="68"/>
                  </a:cubicBezTo>
                  <a:cubicBezTo>
                    <a:pt x="948" y="25"/>
                    <a:pt x="948" y="25"/>
                    <a:pt x="948" y="25"/>
                  </a:cubicBezTo>
                  <a:cubicBezTo>
                    <a:pt x="948" y="17"/>
                    <a:pt x="940" y="7"/>
                    <a:pt x="940" y="7"/>
                  </a:cubicBezTo>
                  <a:cubicBezTo>
                    <a:pt x="902" y="0"/>
                    <a:pt x="902" y="0"/>
                    <a:pt x="902" y="0"/>
                  </a:cubicBezTo>
                  <a:cubicBezTo>
                    <a:pt x="902" y="0"/>
                    <a:pt x="889" y="4"/>
                    <a:pt x="888" y="12"/>
                  </a:cubicBezTo>
                  <a:cubicBezTo>
                    <a:pt x="872" y="50"/>
                    <a:pt x="872" y="50"/>
                    <a:pt x="872" y="50"/>
                  </a:cubicBezTo>
                  <a:cubicBezTo>
                    <a:pt x="871" y="67"/>
                    <a:pt x="862" y="67"/>
                    <a:pt x="858" y="71"/>
                  </a:cubicBezTo>
                  <a:cubicBezTo>
                    <a:pt x="858" y="71"/>
                    <a:pt x="858" y="71"/>
                    <a:pt x="853" y="75"/>
                  </a:cubicBezTo>
                  <a:cubicBezTo>
                    <a:pt x="849" y="70"/>
                    <a:pt x="840" y="70"/>
                    <a:pt x="836" y="74"/>
                  </a:cubicBezTo>
                  <a:cubicBezTo>
                    <a:pt x="831" y="78"/>
                    <a:pt x="831" y="78"/>
                    <a:pt x="831" y="78"/>
                  </a:cubicBezTo>
                  <a:cubicBezTo>
                    <a:pt x="822" y="77"/>
                    <a:pt x="814" y="76"/>
                    <a:pt x="806" y="67"/>
                  </a:cubicBezTo>
                  <a:cubicBezTo>
                    <a:pt x="778" y="35"/>
                    <a:pt x="778" y="35"/>
                    <a:pt x="778" y="35"/>
                  </a:cubicBezTo>
                  <a:cubicBezTo>
                    <a:pt x="774" y="30"/>
                    <a:pt x="762" y="25"/>
                    <a:pt x="757" y="29"/>
                  </a:cubicBezTo>
                  <a:cubicBezTo>
                    <a:pt x="734" y="49"/>
                    <a:pt x="734" y="49"/>
                    <a:pt x="734" y="49"/>
                  </a:cubicBezTo>
                  <a:cubicBezTo>
                    <a:pt x="725" y="49"/>
                    <a:pt x="725" y="57"/>
                    <a:pt x="728" y="70"/>
                  </a:cubicBezTo>
                  <a:cubicBezTo>
                    <a:pt x="747" y="102"/>
                    <a:pt x="747" y="102"/>
                    <a:pt x="747" y="102"/>
                  </a:cubicBezTo>
                  <a:cubicBezTo>
                    <a:pt x="754" y="120"/>
                    <a:pt x="750" y="124"/>
                    <a:pt x="744" y="136"/>
                  </a:cubicBezTo>
                  <a:cubicBezTo>
                    <a:pt x="744" y="136"/>
                    <a:pt x="744" y="136"/>
                    <a:pt x="744" y="136"/>
                  </a:cubicBezTo>
                  <a:cubicBezTo>
                    <a:pt x="740" y="140"/>
                    <a:pt x="735" y="144"/>
                    <a:pt x="731" y="148"/>
                  </a:cubicBezTo>
                  <a:cubicBezTo>
                    <a:pt x="731" y="148"/>
                    <a:pt x="731" y="148"/>
                    <a:pt x="731" y="148"/>
                  </a:cubicBezTo>
                  <a:cubicBezTo>
                    <a:pt x="730" y="157"/>
                    <a:pt x="721" y="165"/>
                    <a:pt x="703" y="164"/>
                  </a:cubicBezTo>
                  <a:cubicBezTo>
                    <a:pt x="665" y="157"/>
                    <a:pt x="665" y="157"/>
                    <a:pt x="665" y="157"/>
                  </a:cubicBezTo>
                  <a:cubicBezTo>
                    <a:pt x="656" y="156"/>
                    <a:pt x="647" y="164"/>
                    <a:pt x="647" y="173"/>
                  </a:cubicBezTo>
                  <a:cubicBezTo>
                    <a:pt x="640" y="203"/>
                    <a:pt x="640" y="203"/>
                    <a:pt x="640" y="203"/>
                  </a:cubicBezTo>
                  <a:cubicBezTo>
                    <a:pt x="639" y="211"/>
                    <a:pt x="643" y="216"/>
                    <a:pt x="656" y="221"/>
                  </a:cubicBezTo>
                  <a:cubicBezTo>
                    <a:pt x="690" y="232"/>
                    <a:pt x="690" y="232"/>
                    <a:pt x="690" y="232"/>
                  </a:cubicBezTo>
                  <a:cubicBezTo>
                    <a:pt x="702" y="237"/>
                    <a:pt x="710" y="246"/>
                    <a:pt x="710" y="255"/>
                  </a:cubicBezTo>
                  <a:cubicBezTo>
                    <a:pt x="710" y="255"/>
                    <a:pt x="710" y="255"/>
                    <a:pt x="710" y="255"/>
                  </a:cubicBezTo>
                  <a:cubicBezTo>
                    <a:pt x="714" y="260"/>
                    <a:pt x="713" y="268"/>
                    <a:pt x="717" y="273"/>
                  </a:cubicBezTo>
                  <a:cubicBezTo>
                    <a:pt x="712" y="277"/>
                    <a:pt x="712" y="277"/>
                    <a:pt x="712" y="277"/>
                  </a:cubicBezTo>
                  <a:cubicBezTo>
                    <a:pt x="716" y="281"/>
                    <a:pt x="716" y="290"/>
                    <a:pt x="702" y="302"/>
                  </a:cubicBezTo>
                  <a:cubicBezTo>
                    <a:pt x="674" y="326"/>
                    <a:pt x="674" y="326"/>
                    <a:pt x="674" y="326"/>
                  </a:cubicBezTo>
                  <a:cubicBezTo>
                    <a:pt x="665" y="334"/>
                    <a:pt x="664" y="343"/>
                    <a:pt x="668" y="347"/>
                  </a:cubicBezTo>
                  <a:cubicBezTo>
                    <a:pt x="687" y="379"/>
                    <a:pt x="687" y="379"/>
                    <a:pt x="687" y="379"/>
                  </a:cubicBezTo>
                  <a:cubicBezTo>
                    <a:pt x="691" y="383"/>
                    <a:pt x="700" y="384"/>
                    <a:pt x="704" y="380"/>
                  </a:cubicBezTo>
                  <a:cubicBezTo>
                    <a:pt x="745" y="361"/>
                    <a:pt x="745" y="361"/>
                    <a:pt x="745" y="361"/>
                  </a:cubicBezTo>
                  <a:cubicBezTo>
                    <a:pt x="758" y="358"/>
                    <a:pt x="767" y="358"/>
                    <a:pt x="771" y="363"/>
                  </a:cubicBezTo>
                  <a:cubicBezTo>
                    <a:pt x="771" y="363"/>
                    <a:pt x="771" y="363"/>
                    <a:pt x="771" y="363"/>
                  </a:cubicBezTo>
                  <a:cubicBezTo>
                    <a:pt x="779" y="364"/>
                    <a:pt x="787" y="373"/>
                    <a:pt x="791" y="377"/>
                  </a:cubicBezTo>
                  <a:cubicBezTo>
                    <a:pt x="791" y="377"/>
                    <a:pt x="791" y="377"/>
                    <a:pt x="791" y="377"/>
                  </a:cubicBezTo>
                  <a:cubicBezTo>
                    <a:pt x="800" y="378"/>
                    <a:pt x="804" y="383"/>
                    <a:pt x="802" y="400"/>
                  </a:cubicBezTo>
                  <a:cubicBezTo>
                    <a:pt x="799" y="443"/>
                    <a:pt x="799" y="443"/>
                    <a:pt x="799" y="443"/>
                  </a:cubicBezTo>
                  <a:cubicBezTo>
                    <a:pt x="798" y="451"/>
                    <a:pt x="802" y="456"/>
                    <a:pt x="811" y="457"/>
                  </a:cubicBezTo>
                  <a:cubicBezTo>
                    <a:pt x="845" y="468"/>
                    <a:pt x="845" y="468"/>
                    <a:pt x="845" y="468"/>
                  </a:cubicBezTo>
                  <a:cubicBezTo>
                    <a:pt x="849" y="464"/>
                    <a:pt x="858" y="464"/>
                    <a:pt x="859" y="456"/>
                  </a:cubicBezTo>
                  <a:cubicBezTo>
                    <a:pt x="871" y="413"/>
                    <a:pt x="871" y="413"/>
                    <a:pt x="871" y="413"/>
                  </a:cubicBezTo>
                  <a:cubicBezTo>
                    <a:pt x="876" y="401"/>
                    <a:pt x="889" y="397"/>
                    <a:pt x="894" y="393"/>
                  </a:cubicBezTo>
                  <a:cubicBezTo>
                    <a:pt x="894" y="393"/>
                    <a:pt x="894" y="393"/>
                    <a:pt x="894" y="393"/>
                  </a:cubicBezTo>
                  <a:cubicBezTo>
                    <a:pt x="902" y="394"/>
                    <a:pt x="911" y="395"/>
                    <a:pt x="916" y="391"/>
                  </a:cubicBezTo>
                  <a:cubicBezTo>
                    <a:pt x="916" y="391"/>
                    <a:pt x="916" y="391"/>
                    <a:pt x="916" y="391"/>
                  </a:cubicBezTo>
                  <a:cubicBezTo>
                    <a:pt x="924" y="391"/>
                    <a:pt x="933" y="392"/>
                    <a:pt x="941" y="401"/>
                  </a:cubicBezTo>
                  <a:cubicBezTo>
                    <a:pt x="969" y="433"/>
                    <a:pt x="969" y="433"/>
                    <a:pt x="969" y="433"/>
                  </a:cubicBezTo>
                  <a:cubicBezTo>
                    <a:pt x="973" y="438"/>
                    <a:pt x="985" y="443"/>
                    <a:pt x="990" y="439"/>
                  </a:cubicBezTo>
                  <a:cubicBezTo>
                    <a:pt x="1018" y="415"/>
                    <a:pt x="1018" y="415"/>
                    <a:pt x="1018" y="415"/>
                  </a:cubicBezTo>
                  <a:cubicBezTo>
                    <a:pt x="1018" y="415"/>
                    <a:pt x="1027" y="407"/>
                    <a:pt x="1019" y="398"/>
                  </a:cubicBezTo>
                  <a:close/>
                  <a:moveTo>
                    <a:pt x="803" y="279"/>
                  </a:moveTo>
                  <a:cubicBezTo>
                    <a:pt x="776" y="238"/>
                    <a:pt x="788" y="187"/>
                    <a:pt x="825" y="164"/>
                  </a:cubicBezTo>
                  <a:cubicBezTo>
                    <a:pt x="866" y="136"/>
                    <a:pt x="921" y="144"/>
                    <a:pt x="948" y="185"/>
                  </a:cubicBezTo>
                  <a:cubicBezTo>
                    <a:pt x="972" y="221"/>
                    <a:pt x="963" y="277"/>
                    <a:pt x="922" y="304"/>
                  </a:cubicBezTo>
                  <a:cubicBezTo>
                    <a:pt x="881" y="332"/>
                    <a:pt x="830" y="320"/>
                    <a:pt x="803" y="279"/>
                  </a:cubicBezTo>
                  <a:close/>
                </a:path>
              </a:pathLst>
            </a:custGeom>
            <a:solidFill>
              <a:schemeClr val="tx1"/>
            </a:solidFill>
            <a:ln>
              <a:noFill/>
            </a:ln>
          </p:spPr>
          <p:txBody>
            <a:bodyPr vert="horz" wrap="square" lIns="68574" tIns="34287" rIns="68574" bIns="34287"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17346"/>
                </a:solidFill>
                <a:effectLst/>
                <a:uLnTx/>
                <a:uFillTx/>
                <a:latin typeface="Segoe UI"/>
                <a:ea typeface="+mn-ea"/>
                <a:cs typeface="+mn-cs"/>
              </a:endParaRPr>
            </a:p>
          </p:txBody>
        </p:sp>
        <p:sp>
          <p:nvSpPr>
            <p:cNvPr id="104" name="Freeform 103"/>
            <p:cNvSpPr>
              <a:spLocks noChangeAspect="1"/>
            </p:cNvSpPr>
            <p:nvPr/>
          </p:nvSpPr>
          <p:spPr bwMode="black">
            <a:xfrm>
              <a:off x="776985" y="4213905"/>
              <a:ext cx="342871" cy="335728"/>
            </a:xfrm>
            <a:custGeom>
              <a:avLst/>
              <a:gdLst>
                <a:gd name="connsiteX0" fmla="*/ 3713863 w 4893730"/>
                <a:gd name="connsiteY0" fmla="*/ 2130808 h 4791777"/>
                <a:gd name="connsiteX1" fmla="*/ 4426142 w 4893730"/>
                <a:gd name="connsiteY1" fmla="*/ 2130808 h 4791777"/>
                <a:gd name="connsiteX2" fmla="*/ 4598071 w 4893730"/>
                <a:gd name="connsiteY2" fmla="*/ 2301547 h 4791777"/>
                <a:gd name="connsiteX3" fmla="*/ 4598071 w 4893730"/>
                <a:gd name="connsiteY3" fmla="*/ 3886978 h 4791777"/>
                <a:gd name="connsiteX4" fmla="*/ 4426142 w 4893730"/>
                <a:gd name="connsiteY4" fmla="*/ 4057717 h 4791777"/>
                <a:gd name="connsiteX5" fmla="*/ 3713863 w 4893730"/>
                <a:gd name="connsiteY5" fmla="*/ 4057717 h 4791777"/>
                <a:gd name="connsiteX6" fmla="*/ 3517372 w 4893730"/>
                <a:gd name="connsiteY6" fmla="*/ 3886978 h 4791777"/>
                <a:gd name="connsiteX7" fmla="*/ 3517372 w 4893730"/>
                <a:gd name="connsiteY7" fmla="*/ 2301547 h 4791777"/>
                <a:gd name="connsiteX8" fmla="*/ 3713863 w 4893730"/>
                <a:gd name="connsiteY8" fmla="*/ 2130808 h 4791777"/>
                <a:gd name="connsiteX9" fmla="*/ 904368 w 4893730"/>
                <a:gd name="connsiteY9" fmla="*/ 1223432 h 4791777"/>
                <a:gd name="connsiteX10" fmla="*/ 1609930 w 4893730"/>
                <a:gd name="connsiteY10" fmla="*/ 1223432 h 4791777"/>
                <a:gd name="connsiteX11" fmla="*/ 1804567 w 4893730"/>
                <a:gd name="connsiteY11" fmla="*/ 1394467 h 4791777"/>
                <a:gd name="connsiteX12" fmla="*/ 1804567 w 4893730"/>
                <a:gd name="connsiteY12" fmla="*/ 3886683 h 4791777"/>
                <a:gd name="connsiteX13" fmla="*/ 1609930 w 4893730"/>
                <a:gd name="connsiteY13" fmla="*/ 4057717 h 4791777"/>
                <a:gd name="connsiteX14" fmla="*/ 904368 w 4893730"/>
                <a:gd name="connsiteY14" fmla="*/ 4057717 h 4791777"/>
                <a:gd name="connsiteX15" fmla="*/ 734060 w 4893730"/>
                <a:gd name="connsiteY15" fmla="*/ 3886683 h 4791777"/>
                <a:gd name="connsiteX16" fmla="*/ 734060 w 4893730"/>
                <a:gd name="connsiteY16" fmla="*/ 1394467 h 4791777"/>
                <a:gd name="connsiteX17" fmla="*/ 904368 w 4893730"/>
                <a:gd name="connsiteY17" fmla="*/ 1223432 h 4791777"/>
                <a:gd name="connsiteX18" fmla="*/ 2325453 w 4893730"/>
                <a:gd name="connsiteY18" fmla="*/ 316050 h 4791777"/>
                <a:gd name="connsiteX19" fmla="*/ 3031014 w 4893730"/>
                <a:gd name="connsiteY19" fmla="*/ 316050 h 4791777"/>
                <a:gd name="connsiteX20" fmla="*/ 3201322 w 4893730"/>
                <a:gd name="connsiteY20" fmla="*/ 487238 h 4791777"/>
                <a:gd name="connsiteX21" fmla="*/ 3201322 w 4893730"/>
                <a:gd name="connsiteY21" fmla="*/ 3886530 h 4791777"/>
                <a:gd name="connsiteX22" fmla="*/ 3031014 w 4893730"/>
                <a:gd name="connsiteY22" fmla="*/ 4057717 h 4791777"/>
                <a:gd name="connsiteX23" fmla="*/ 2325453 w 4893730"/>
                <a:gd name="connsiteY23" fmla="*/ 4057717 h 4791777"/>
                <a:gd name="connsiteX24" fmla="*/ 2130815 w 4893730"/>
                <a:gd name="connsiteY24" fmla="*/ 3886530 h 4791777"/>
                <a:gd name="connsiteX25" fmla="*/ 2130815 w 4893730"/>
                <a:gd name="connsiteY25" fmla="*/ 487238 h 4791777"/>
                <a:gd name="connsiteX26" fmla="*/ 2325453 w 4893730"/>
                <a:gd name="connsiteY26" fmla="*/ 316050 h 4791777"/>
                <a:gd name="connsiteX27" fmla="*/ 269155 w 4893730"/>
                <a:gd name="connsiteY27" fmla="*/ 0 h 4791777"/>
                <a:gd name="connsiteX28" fmla="*/ 538311 w 4893730"/>
                <a:gd name="connsiteY28" fmla="*/ 268927 h 4791777"/>
                <a:gd name="connsiteX29" fmla="*/ 538311 w 4893730"/>
                <a:gd name="connsiteY29" fmla="*/ 4253925 h 4791777"/>
                <a:gd name="connsiteX30" fmla="*/ 4624575 w 4893730"/>
                <a:gd name="connsiteY30" fmla="*/ 4253925 h 4791777"/>
                <a:gd name="connsiteX31" fmla="*/ 4893730 w 4893730"/>
                <a:gd name="connsiteY31" fmla="*/ 4522851 h 4791777"/>
                <a:gd name="connsiteX32" fmla="*/ 4624575 w 4893730"/>
                <a:gd name="connsiteY32" fmla="*/ 4791777 h 4791777"/>
                <a:gd name="connsiteX33" fmla="*/ 269155 w 4893730"/>
                <a:gd name="connsiteY33" fmla="*/ 4791777 h 4791777"/>
                <a:gd name="connsiteX34" fmla="*/ 0 w 4893730"/>
                <a:gd name="connsiteY34" fmla="*/ 4522851 h 4791777"/>
                <a:gd name="connsiteX35" fmla="*/ 0 w 4893730"/>
                <a:gd name="connsiteY35" fmla="*/ 268927 h 4791777"/>
                <a:gd name="connsiteX36" fmla="*/ 269155 w 4893730"/>
                <a:gd name="connsiteY36" fmla="*/ 0 h 4791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4893730" h="4791777">
                  <a:moveTo>
                    <a:pt x="3713863" y="2130808"/>
                  </a:moveTo>
                  <a:cubicBezTo>
                    <a:pt x="3713863" y="2130808"/>
                    <a:pt x="3713863" y="2130808"/>
                    <a:pt x="4426142" y="2130808"/>
                  </a:cubicBezTo>
                  <a:cubicBezTo>
                    <a:pt x="4524387" y="2130808"/>
                    <a:pt x="4598071" y="2203982"/>
                    <a:pt x="4598071" y="2301547"/>
                  </a:cubicBezTo>
                  <a:cubicBezTo>
                    <a:pt x="4598071" y="2301547"/>
                    <a:pt x="4598071" y="2301547"/>
                    <a:pt x="4598071" y="3886978"/>
                  </a:cubicBezTo>
                  <a:cubicBezTo>
                    <a:pt x="4598071" y="3984543"/>
                    <a:pt x="4524387" y="4057717"/>
                    <a:pt x="4426142" y="4057717"/>
                  </a:cubicBezTo>
                  <a:cubicBezTo>
                    <a:pt x="4426142" y="4057717"/>
                    <a:pt x="4426142" y="4057717"/>
                    <a:pt x="3713863" y="4057717"/>
                  </a:cubicBezTo>
                  <a:cubicBezTo>
                    <a:pt x="3615618" y="4057717"/>
                    <a:pt x="3517372" y="3984543"/>
                    <a:pt x="3517372" y="3886978"/>
                  </a:cubicBezTo>
                  <a:cubicBezTo>
                    <a:pt x="3517372" y="3886978"/>
                    <a:pt x="3517372" y="3886978"/>
                    <a:pt x="3517372" y="2301547"/>
                  </a:cubicBezTo>
                  <a:cubicBezTo>
                    <a:pt x="3517372" y="2203982"/>
                    <a:pt x="3615618" y="2130808"/>
                    <a:pt x="3713863" y="2130808"/>
                  </a:cubicBezTo>
                  <a:close/>
                  <a:moveTo>
                    <a:pt x="904368" y="1223432"/>
                  </a:moveTo>
                  <a:cubicBezTo>
                    <a:pt x="904368" y="1223432"/>
                    <a:pt x="904368" y="1223432"/>
                    <a:pt x="1609930" y="1223432"/>
                  </a:cubicBezTo>
                  <a:cubicBezTo>
                    <a:pt x="1731578" y="1223432"/>
                    <a:pt x="1804567" y="1296733"/>
                    <a:pt x="1804567" y="1394467"/>
                  </a:cubicBezTo>
                  <a:cubicBezTo>
                    <a:pt x="1804567" y="1394467"/>
                    <a:pt x="1804567" y="1394467"/>
                    <a:pt x="1804567" y="3886683"/>
                  </a:cubicBezTo>
                  <a:cubicBezTo>
                    <a:pt x="1804567" y="3984417"/>
                    <a:pt x="1731578" y="4057717"/>
                    <a:pt x="1609930" y="4057717"/>
                  </a:cubicBezTo>
                  <a:cubicBezTo>
                    <a:pt x="1609930" y="4057717"/>
                    <a:pt x="1609930" y="4057717"/>
                    <a:pt x="904368" y="4057717"/>
                  </a:cubicBezTo>
                  <a:cubicBezTo>
                    <a:pt x="807049" y="4057717"/>
                    <a:pt x="734060" y="3984417"/>
                    <a:pt x="734060" y="3886683"/>
                  </a:cubicBezTo>
                  <a:cubicBezTo>
                    <a:pt x="734060" y="3886683"/>
                    <a:pt x="734060" y="3886683"/>
                    <a:pt x="734060" y="1394467"/>
                  </a:cubicBezTo>
                  <a:cubicBezTo>
                    <a:pt x="734060" y="1296733"/>
                    <a:pt x="807049" y="1223432"/>
                    <a:pt x="904368" y="1223432"/>
                  </a:cubicBezTo>
                  <a:close/>
                  <a:moveTo>
                    <a:pt x="2325453" y="316050"/>
                  </a:moveTo>
                  <a:cubicBezTo>
                    <a:pt x="2325453" y="316050"/>
                    <a:pt x="2325453" y="316050"/>
                    <a:pt x="3031014" y="316050"/>
                  </a:cubicBezTo>
                  <a:cubicBezTo>
                    <a:pt x="3128333" y="316050"/>
                    <a:pt x="3201322" y="389416"/>
                    <a:pt x="3201322" y="487238"/>
                  </a:cubicBezTo>
                  <a:cubicBezTo>
                    <a:pt x="3201322" y="487238"/>
                    <a:pt x="3201322" y="487238"/>
                    <a:pt x="3201322" y="3886530"/>
                  </a:cubicBezTo>
                  <a:cubicBezTo>
                    <a:pt x="3201322" y="3984351"/>
                    <a:pt x="3128333" y="4057717"/>
                    <a:pt x="3031014" y="4057717"/>
                  </a:cubicBezTo>
                  <a:cubicBezTo>
                    <a:pt x="3031014" y="4057717"/>
                    <a:pt x="3031014" y="4057717"/>
                    <a:pt x="2325453" y="4057717"/>
                  </a:cubicBezTo>
                  <a:cubicBezTo>
                    <a:pt x="2203804" y="4057717"/>
                    <a:pt x="2130815" y="3984351"/>
                    <a:pt x="2130815" y="3886530"/>
                  </a:cubicBezTo>
                  <a:cubicBezTo>
                    <a:pt x="2130815" y="3886530"/>
                    <a:pt x="2130815" y="3886530"/>
                    <a:pt x="2130815" y="487238"/>
                  </a:cubicBezTo>
                  <a:cubicBezTo>
                    <a:pt x="2130815" y="389416"/>
                    <a:pt x="2203804" y="316050"/>
                    <a:pt x="2325453" y="316050"/>
                  </a:cubicBezTo>
                  <a:close/>
                  <a:moveTo>
                    <a:pt x="269155" y="0"/>
                  </a:moveTo>
                  <a:cubicBezTo>
                    <a:pt x="415967" y="0"/>
                    <a:pt x="538311" y="122239"/>
                    <a:pt x="538311" y="268927"/>
                  </a:cubicBezTo>
                  <a:cubicBezTo>
                    <a:pt x="538311" y="268927"/>
                    <a:pt x="538311" y="268927"/>
                    <a:pt x="538311" y="4253925"/>
                  </a:cubicBezTo>
                  <a:cubicBezTo>
                    <a:pt x="538311" y="4253925"/>
                    <a:pt x="538311" y="4253925"/>
                    <a:pt x="4624575" y="4253925"/>
                  </a:cubicBezTo>
                  <a:cubicBezTo>
                    <a:pt x="4771387" y="4253925"/>
                    <a:pt x="4893730" y="4376164"/>
                    <a:pt x="4893730" y="4522851"/>
                  </a:cubicBezTo>
                  <a:cubicBezTo>
                    <a:pt x="4893730" y="4669538"/>
                    <a:pt x="4771387" y="4791777"/>
                    <a:pt x="4624575" y="4791777"/>
                  </a:cubicBezTo>
                  <a:cubicBezTo>
                    <a:pt x="4624575" y="4791777"/>
                    <a:pt x="4624575" y="4791777"/>
                    <a:pt x="269155" y="4791777"/>
                  </a:cubicBezTo>
                  <a:cubicBezTo>
                    <a:pt x="122344" y="4791777"/>
                    <a:pt x="0" y="4669538"/>
                    <a:pt x="0" y="4522851"/>
                  </a:cubicBezTo>
                  <a:cubicBezTo>
                    <a:pt x="0" y="4522851"/>
                    <a:pt x="0" y="4522851"/>
                    <a:pt x="0" y="268927"/>
                  </a:cubicBezTo>
                  <a:cubicBezTo>
                    <a:pt x="0" y="122239"/>
                    <a:pt x="122344" y="0"/>
                    <a:pt x="269155"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37148" tIns="109719" rIns="137148" bIns="109719"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699261"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5" name="Rectangle 104"/>
            <p:cNvSpPr/>
            <p:nvPr/>
          </p:nvSpPr>
          <p:spPr bwMode="auto">
            <a:xfrm rot="2745734">
              <a:off x="886688" y="2210975"/>
              <a:ext cx="1598323" cy="1625795"/>
            </a:xfrm>
            <a:prstGeom prst="rect">
              <a:avLst/>
            </a:prstGeom>
            <a:solidFill>
              <a:schemeClr val="tx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6" name="Rectangle 105"/>
            <p:cNvSpPr/>
            <p:nvPr/>
          </p:nvSpPr>
          <p:spPr bwMode="auto">
            <a:xfrm rot="2745734">
              <a:off x="292433" y="3819160"/>
              <a:ext cx="1610349" cy="1235003"/>
            </a:xfrm>
            <a:prstGeom prst="rect">
              <a:avLst/>
            </a:prstGeom>
            <a:solidFill>
              <a:schemeClr val="tx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7" name="Rectangle 106"/>
            <p:cNvSpPr/>
            <p:nvPr/>
          </p:nvSpPr>
          <p:spPr bwMode="auto">
            <a:xfrm rot="2745734">
              <a:off x="1315610" y="4915701"/>
              <a:ext cx="1263370" cy="1255989"/>
            </a:xfrm>
            <a:prstGeom prst="rect">
              <a:avLst/>
            </a:prstGeom>
            <a:solidFill>
              <a:schemeClr val="tx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40" name="TextBox 39"/>
          <p:cNvSpPr txBox="1"/>
          <p:nvPr/>
        </p:nvSpPr>
        <p:spPr>
          <a:xfrm>
            <a:off x="3" y="51415"/>
            <a:ext cx="2849058" cy="430887"/>
          </a:xfrm>
          <a:prstGeom prst="rect">
            <a:avLst/>
          </a:prstGeom>
        </p:spPr>
        <p:txBody>
          <a:bodyPr wrap="square">
            <a:spAutoFit/>
          </a:bodyPr>
          <a:lstStyle>
            <a:defPPr>
              <a:defRPr lang="en-US"/>
            </a:defPPr>
            <a:lvl1pPr defTabSz="914192">
              <a:defRPr sz="2800" b="1" spc="-100">
                <a:ln w="3175">
                  <a:noFill/>
                </a:ln>
                <a:solidFill>
                  <a:srgbClr val="F2C812"/>
                </a:solidFill>
                <a:latin typeface="Segoe UI" panose="020B0502040204020203" pitchFamily="34" charset="0"/>
                <a:ea typeface="ＭＳ Ｐゴシック" charset="0"/>
                <a:cs typeface="Segoe UI" panose="020B0502040204020203" pitchFamily="34" charset="0"/>
              </a:defRPr>
            </a:lvl1pPr>
          </a:lstStyle>
          <a:p>
            <a:pPr marL="0" marR="0" lvl="0" indent="0" algn="l" defTabSz="914192" rtl="0" eaLnBrk="1" fontAlgn="auto" latinLnBrk="0" hangingPunct="1">
              <a:lnSpc>
                <a:spcPct val="100000"/>
              </a:lnSpc>
              <a:spcBef>
                <a:spcPts val="0"/>
              </a:spcBef>
              <a:spcAft>
                <a:spcPts val="0"/>
              </a:spcAft>
              <a:buClrTx/>
              <a:buSzTx/>
              <a:buFontTx/>
              <a:buNone/>
              <a:tabLst/>
              <a:defRPr/>
            </a:pPr>
            <a:r>
              <a:rPr kumimoji="0" lang="en-US" sz="2200" b="1" i="0" u="none" strike="noStrike" kern="1200" cap="none" spc="-100" normalizeH="0" baseline="0" noProof="0">
                <a:ln w="3175">
                  <a:noFill/>
                </a:ln>
                <a:solidFill>
                  <a:srgbClr val="F2C812"/>
                </a:solidFill>
                <a:effectLst/>
                <a:uLnTx/>
                <a:uFillTx/>
                <a:latin typeface="Segoe UI Light"/>
                <a:ea typeface="ＭＳ Ｐゴシック" charset="0"/>
                <a:cs typeface="Segoe UI" panose="020B0502040204020203" pitchFamily="34" charset="0"/>
              </a:rPr>
              <a:t>Power BI Desktop</a:t>
            </a:r>
          </a:p>
        </p:txBody>
      </p:sp>
      <p:sp>
        <p:nvSpPr>
          <p:cNvPr id="41" name="Text Placeholder 2"/>
          <p:cNvSpPr txBox="1">
            <a:spLocks/>
          </p:cNvSpPr>
          <p:nvPr/>
        </p:nvSpPr>
        <p:spPr>
          <a:xfrm>
            <a:off x="3123008" y="3522271"/>
            <a:ext cx="9079770" cy="944045"/>
          </a:xfrm>
          <a:prstGeom prst="rect">
            <a:avLst/>
          </a:prstGeom>
        </p:spPr>
        <p:txBody>
          <a:bodyPr vert="horz" wrap="square" lIns="182880" tIns="146304" rIns="182880" bIns="146304" rtlCol="0">
            <a:noAutofit/>
          </a:bodyPr>
          <a:lstStyle>
            <a:lvl1pPr marL="182845" marR="0"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3921" kern="1200" spc="0" baseline="0">
                <a:gradFill>
                  <a:gsLst>
                    <a:gs pos="1250">
                      <a:schemeClr val="tx2"/>
                    </a:gs>
                    <a:gs pos="99000">
                      <a:schemeClr val="tx2"/>
                    </a:gs>
                  </a:gsLst>
                  <a:lin ang="5400000" scaled="0"/>
                </a:gradFill>
                <a:latin typeface="+mj-lt"/>
                <a:ea typeface="+mn-ea"/>
                <a:cs typeface="+mn-cs"/>
              </a:defRPr>
            </a:lvl1pPr>
            <a:lvl2pPr marL="365690" marR="0"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2400" kern="1200" spc="0" baseline="0">
                <a:solidFill>
                  <a:schemeClr val="tx2"/>
                </a:solidFill>
                <a:latin typeface="+mj-lt"/>
                <a:ea typeface="+mn-ea"/>
                <a:cs typeface="+mn-cs"/>
              </a:defRPr>
            </a:lvl2pPr>
            <a:lvl3pPr marL="548535" marR="0"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2000" kern="1200" spc="0" baseline="0">
                <a:solidFill>
                  <a:schemeClr val="tx2"/>
                </a:solidFill>
                <a:latin typeface="+mj-lt"/>
                <a:ea typeface="+mn-ea"/>
                <a:cs typeface="+mn-cs"/>
              </a:defRPr>
            </a:lvl3pPr>
            <a:lvl4pPr marL="733802" marR="0" indent="-28569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1765" kern="1200" spc="0" baseline="0">
                <a:solidFill>
                  <a:schemeClr val="tx2"/>
                </a:solidFill>
                <a:latin typeface="+mn-lt"/>
                <a:ea typeface="+mn-ea"/>
                <a:cs typeface="+mn-cs"/>
              </a:defRPr>
            </a:lvl4pPr>
            <a:lvl5pPr marL="957856" marR="0" indent="-28569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1765" kern="1200" spc="0" baseline="0">
                <a:solidFill>
                  <a:schemeClr val="tx2"/>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342900" marR="0" lvl="0" indent="-342900" algn="l" defTabSz="914400" rtl="0" eaLnBrk="1" fontAlgn="base" latinLnBrk="0" hangingPunct="1">
              <a:lnSpc>
                <a:spcPct val="100000"/>
              </a:lnSpc>
              <a:spcBef>
                <a:spcPts val="0"/>
              </a:spcBef>
              <a:spcAft>
                <a:spcPts val="300"/>
              </a:spcAft>
              <a:buClrTx/>
              <a:buSzPct val="90000"/>
              <a:buFont typeface="Symbol" panose="05050102010706020507" pitchFamily="18" charset="2"/>
              <a:buChar char=""/>
              <a:tabLst/>
              <a:defRPr/>
            </a:pPr>
            <a:r>
              <a:rPr kumimoji="0" lang="en-US" sz="1800" b="0" i="0" u="none" strike="noStrike" kern="1200" cap="none" spc="0" normalizeH="0" baseline="0" noProof="0">
                <a:ln>
                  <a:noFill/>
                </a:ln>
                <a:solidFill>
                  <a:prstClr val="black"/>
                </a:solidFill>
                <a:effectLst/>
                <a:uLnTx/>
                <a:uFillTx/>
                <a:latin typeface="Segoe UI Light"/>
                <a:ea typeface="Calibri" panose="020F0502020204030204" pitchFamily="34" charset="0"/>
                <a:cs typeface="Times New Roman" panose="02020603050405020304" pitchFamily="18" charset="0"/>
              </a:rPr>
              <a:t>The </a:t>
            </a:r>
            <a:r>
              <a:rPr kumimoji="0" lang="en-US" sz="1800" b="1" i="0" u="none" strike="noStrike" kern="1200" cap="none" spc="0" normalizeH="0" baseline="0" noProof="0">
                <a:ln>
                  <a:noFill/>
                </a:ln>
                <a:solidFill>
                  <a:prstClr val="black"/>
                </a:solidFill>
                <a:effectLst/>
                <a:uLnTx/>
                <a:uFillTx/>
                <a:latin typeface="Segoe UI Light"/>
                <a:ea typeface="Calibri" panose="020F0502020204030204" pitchFamily="34" charset="0"/>
                <a:cs typeface="Times New Roman" panose="02020603050405020304" pitchFamily="18" charset="0"/>
              </a:rPr>
              <a:t>“Transform”</a:t>
            </a:r>
            <a:r>
              <a:rPr kumimoji="0" lang="en-US" sz="1800" b="0" i="0" u="none" strike="noStrike" kern="1200" cap="none" spc="0" normalizeH="0" baseline="0" noProof="0">
                <a:ln>
                  <a:noFill/>
                </a:ln>
                <a:solidFill>
                  <a:prstClr val="black"/>
                </a:solidFill>
                <a:effectLst/>
                <a:uLnTx/>
                <a:uFillTx/>
                <a:latin typeface="Segoe UI Light"/>
                <a:ea typeface="Calibri" panose="020F0502020204030204" pitchFamily="34" charset="0"/>
                <a:cs typeface="Times New Roman" panose="02020603050405020304" pitchFamily="18" charset="0"/>
              </a:rPr>
              <a:t> tab provides access to </a:t>
            </a:r>
            <a:r>
              <a:rPr kumimoji="0" lang="en-US" sz="1800" b="1" i="0" u="none" strike="noStrike" kern="1200" cap="none" spc="0" normalizeH="0" baseline="0" noProof="0">
                <a:ln>
                  <a:noFill/>
                </a:ln>
                <a:solidFill>
                  <a:prstClr val="black"/>
                </a:solidFill>
                <a:effectLst/>
                <a:uLnTx/>
                <a:uFillTx/>
                <a:latin typeface="Segoe UI Light"/>
                <a:ea typeface="Calibri" panose="020F0502020204030204" pitchFamily="34" charset="0"/>
                <a:cs typeface="Times New Roman" panose="02020603050405020304" pitchFamily="18" charset="0"/>
              </a:rPr>
              <a:t>common data transformation tasks</a:t>
            </a:r>
            <a:r>
              <a:rPr kumimoji="0" lang="en-US" sz="1800" b="0" i="0" u="none" strike="noStrike" kern="1200" cap="none" spc="0" normalizeH="0" baseline="0" noProof="0">
                <a:ln>
                  <a:noFill/>
                </a:ln>
                <a:solidFill>
                  <a:prstClr val="black"/>
                </a:solidFill>
                <a:effectLst/>
                <a:uLnTx/>
                <a:uFillTx/>
                <a:latin typeface="Segoe UI Light"/>
                <a:ea typeface="Calibri" panose="020F0502020204030204" pitchFamily="34" charset="0"/>
                <a:cs typeface="Times New Roman" panose="02020603050405020304" pitchFamily="18" charset="0"/>
              </a:rPr>
              <a:t>, such as adding or removing columns, changing data types, splitting columns, and other data-driven tasks</a:t>
            </a:r>
          </a:p>
          <a:p>
            <a:pPr marL="342900" marR="0" lvl="0" indent="-342900" algn="l" defTabSz="914400" rtl="0" eaLnBrk="1" fontAlgn="base" latinLnBrk="0" hangingPunct="1">
              <a:lnSpc>
                <a:spcPct val="100000"/>
              </a:lnSpc>
              <a:spcBef>
                <a:spcPts val="0"/>
              </a:spcBef>
              <a:spcAft>
                <a:spcPts val="300"/>
              </a:spcAft>
              <a:buClrTx/>
              <a:buSzPct val="90000"/>
              <a:buFont typeface="Symbol" panose="05050102010706020507" pitchFamily="18" charset="2"/>
              <a:buChar char=""/>
              <a:tabLst/>
              <a:defRPr/>
            </a:pPr>
            <a:endParaRPr kumimoji="0" lang="en-US" sz="1800" b="1" i="0" u="none" strike="noStrike" kern="1200" cap="none" spc="0" normalizeH="0" baseline="0" noProof="0">
              <a:ln>
                <a:noFill/>
              </a:ln>
              <a:solidFill>
                <a:prstClr val="black"/>
              </a:solidFill>
              <a:effectLst/>
              <a:uLnTx/>
              <a:uFillTx/>
              <a:latin typeface="Segoe UI Light"/>
              <a:ea typeface="Calibri" panose="020F0502020204030204" pitchFamily="34" charset="0"/>
              <a:cs typeface="Times New Roman" panose="02020603050405020304" pitchFamily="18" charset="0"/>
            </a:endParaRPr>
          </a:p>
        </p:txBody>
      </p:sp>
      <p:pic>
        <p:nvPicPr>
          <p:cNvPr id="2" name="Picture 1"/>
          <p:cNvPicPr>
            <a:picLocks noChangeAspect="1"/>
          </p:cNvPicPr>
          <p:nvPr/>
        </p:nvPicPr>
        <p:blipFill>
          <a:blip r:embed="rId3"/>
          <a:stretch>
            <a:fillRect/>
          </a:stretch>
        </p:blipFill>
        <p:spPr>
          <a:xfrm>
            <a:off x="3061868" y="2307300"/>
            <a:ext cx="9020256" cy="1026638"/>
          </a:xfrm>
          <a:prstGeom prst="rect">
            <a:avLst/>
          </a:prstGeom>
          <a:ln>
            <a:noFill/>
          </a:ln>
          <a:effectLst>
            <a:outerShdw blurRad="190500" algn="tl" rotWithShape="0">
              <a:srgbClr val="000000">
                <a:alpha val="70000"/>
              </a:srgbClr>
            </a:outerShdw>
          </a:effectLst>
        </p:spPr>
      </p:pic>
      <p:sp>
        <p:nvSpPr>
          <p:cNvPr id="43" name="Text Placeholder 2"/>
          <p:cNvSpPr txBox="1">
            <a:spLocks/>
          </p:cNvSpPr>
          <p:nvPr/>
        </p:nvSpPr>
        <p:spPr>
          <a:xfrm>
            <a:off x="3061868" y="1358023"/>
            <a:ext cx="9079770" cy="944045"/>
          </a:xfrm>
          <a:prstGeom prst="rect">
            <a:avLst/>
          </a:prstGeom>
        </p:spPr>
        <p:txBody>
          <a:bodyPr vert="horz" wrap="square" lIns="182880" tIns="146304" rIns="182880" bIns="146304" rtlCol="0">
            <a:noAutofit/>
          </a:bodyPr>
          <a:lstStyle>
            <a:lvl1pPr marL="182845" marR="0"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3921" kern="1200" spc="0" baseline="0">
                <a:gradFill>
                  <a:gsLst>
                    <a:gs pos="1250">
                      <a:schemeClr val="tx2"/>
                    </a:gs>
                    <a:gs pos="99000">
                      <a:schemeClr val="tx2"/>
                    </a:gs>
                  </a:gsLst>
                  <a:lin ang="5400000" scaled="0"/>
                </a:gradFill>
                <a:latin typeface="+mj-lt"/>
                <a:ea typeface="+mn-ea"/>
                <a:cs typeface="+mn-cs"/>
              </a:defRPr>
            </a:lvl1pPr>
            <a:lvl2pPr marL="365690" marR="0"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2400" kern="1200" spc="0" baseline="0">
                <a:solidFill>
                  <a:schemeClr val="tx2"/>
                </a:solidFill>
                <a:latin typeface="+mj-lt"/>
                <a:ea typeface="+mn-ea"/>
                <a:cs typeface="+mn-cs"/>
              </a:defRPr>
            </a:lvl2pPr>
            <a:lvl3pPr marL="548535" marR="0"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2000" kern="1200" spc="0" baseline="0">
                <a:solidFill>
                  <a:schemeClr val="tx2"/>
                </a:solidFill>
                <a:latin typeface="+mj-lt"/>
                <a:ea typeface="+mn-ea"/>
                <a:cs typeface="+mn-cs"/>
              </a:defRPr>
            </a:lvl3pPr>
            <a:lvl4pPr marL="733802" marR="0" indent="-28569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1765" kern="1200" spc="0" baseline="0">
                <a:solidFill>
                  <a:schemeClr val="tx2"/>
                </a:solidFill>
                <a:latin typeface="+mn-lt"/>
                <a:ea typeface="+mn-ea"/>
                <a:cs typeface="+mn-cs"/>
              </a:defRPr>
            </a:lvl4pPr>
            <a:lvl5pPr marL="957856" marR="0" indent="-28569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1765" kern="1200" spc="0" baseline="0">
                <a:solidFill>
                  <a:schemeClr val="tx2"/>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342900" marR="0" lvl="0" indent="-342900" algn="l" defTabSz="914400" rtl="0" eaLnBrk="1" fontAlgn="base" latinLnBrk="0" hangingPunct="1">
              <a:lnSpc>
                <a:spcPct val="100000"/>
              </a:lnSpc>
              <a:spcBef>
                <a:spcPts val="0"/>
              </a:spcBef>
              <a:spcAft>
                <a:spcPts val="300"/>
              </a:spcAft>
              <a:buClrTx/>
              <a:buSzPct val="90000"/>
              <a:buFont typeface="Symbol" panose="05050102010706020507" pitchFamily="18" charset="2"/>
              <a:buChar char=""/>
              <a:tabLst/>
              <a:defRPr/>
            </a:pPr>
            <a:r>
              <a:rPr kumimoji="0" lang="en-US" sz="1800" b="0" i="0" u="none" strike="noStrike" kern="1200" cap="none" spc="0" normalizeH="0" baseline="0" noProof="0">
                <a:ln>
                  <a:noFill/>
                </a:ln>
                <a:solidFill>
                  <a:prstClr val="black"/>
                </a:solidFill>
                <a:effectLst/>
                <a:uLnTx/>
                <a:uFillTx/>
                <a:latin typeface="Segoe UI Light"/>
                <a:ea typeface="Calibri" panose="020F0502020204030204" pitchFamily="34" charset="0"/>
                <a:cs typeface="Times New Roman" panose="02020603050405020304" pitchFamily="18" charset="0"/>
              </a:rPr>
              <a:t>The </a:t>
            </a:r>
            <a:r>
              <a:rPr kumimoji="0" lang="en-US" sz="1800" b="1" i="0" u="none" strike="noStrike" kern="1200" cap="none" spc="0" normalizeH="0" baseline="0" noProof="0">
                <a:ln>
                  <a:noFill/>
                </a:ln>
                <a:solidFill>
                  <a:prstClr val="black"/>
                </a:solidFill>
                <a:effectLst/>
                <a:uLnTx/>
                <a:uFillTx/>
                <a:latin typeface="Segoe UI Light"/>
                <a:ea typeface="Calibri" panose="020F0502020204030204" pitchFamily="34" charset="0"/>
                <a:cs typeface="Times New Roman" panose="02020603050405020304" pitchFamily="18" charset="0"/>
              </a:rPr>
              <a:t>“Home”</a:t>
            </a:r>
            <a:r>
              <a:rPr kumimoji="0" lang="en-US" sz="1800" b="0" i="0" u="none" strike="noStrike" kern="1200" cap="none" spc="0" normalizeH="0" baseline="0" noProof="0">
                <a:ln>
                  <a:noFill/>
                </a:ln>
                <a:solidFill>
                  <a:prstClr val="black"/>
                </a:solidFill>
                <a:effectLst/>
                <a:uLnTx/>
                <a:uFillTx/>
                <a:latin typeface="Segoe UI Light"/>
                <a:ea typeface="Calibri" panose="020F0502020204030204" pitchFamily="34" charset="0"/>
                <a:cs typeface="Times New Roman" panose="02020603050405020304" pitchFamily="18" charset="0"/>
              </a:rPr>
              <a:t> tab contains the common query tasks including the combination of queries</a:t>
            </a:r>
          </a:p>
          <a:p>
            <a:pPr marL="342900" marR="0" lvl="0" indent="-342900" algn="l" defTabSz="914400" rtl="0" eaLnBrk="1" fontAlgn="base" latinLnBrk="0" hangingPunct="1">
              <a:lnSpc>
                <a:spcPct val="100000"/>
              </a:lnSpc>
              <a:spcBef>
                <a:spcPts val="0"/>
              </a:spcBef>
              <a:spcAft>
                <a:spcPts val="300"/>
              </a:spcAft>
              <a:buClrTx/>
              <a:buSzPct val="90000"/>
              <a:buFont typeface="Symbol" panose="05050102010706020507" pitchFamily="18" charset="2"/>
              <a:buChar char=""/>
              <a:tabLst/>
              <a:defRPr/>
            </a:pPr>
            <a:endParaRPr kumimoji="0" lang="en-US" sz="1800" b="0" i="0" u="none" strike="noStrike" kern="1200" cap="none" spc="0" normalizeH="0" baseline="0" noProof="0">
              <a:ln>
                <a:noFill/>
              </a:ln>
              <a:solidFill>
                <a:prstClr val="black"/>
              </a:solidFill>
              <a:effectLst/>
              <a:uLnTx/>
              <a:uFillTx/>
              <a:latin typeface="Segoe UI Light"/>
              <a:ea typeface="Calibri" panose="020F0502020204030204" pitchFamily="34" charset="0"/>
              <a:cs typeface="Times New Roman" panose="02020603050405020304" pitchFamily="18" charset="0"/>
            </a:endParaRPr>
          </a:p>
          <a:p>
            <a:pPr marL="342900" marR="0" lvl="0" indent="-342900" algn="l" defTabSz="914400" rtl="0" eaLnBrk="1" fontAlgn="base" latinLnBrk="0" hangingPunct="1">
              <a:lnSpc>
                <a:spcPct val="100000"/>
              </a:lnSpc>
              <a:spcBef>
                <a:spcPts val="0"/>
              </a:spcBef>
              <a:spcAft>
                <a:spcPts val="300"/>
              </a:spcAft>
              <a:buClrTx/>
              <a:buSzPct val="90000"/>
              <a:buFont typeface="Symbol" panose="05050102010706020507" pitchFamily="18" charset="2"/>
              <a:buChar char=""/>
              <a:tabLst/>
              <a:defRPr/>
            </a:pPr>
            <a:endParaRPr kumimoji="0" lang="en-US" sz="1800" b="1" i="0" u="none" strike="noStrike" kern="1200" cap="none" spc="0" normalizeH="0" baseline="0" noProof="0">
              <a:ln>
                <a:noFill/>
              </a:ln>
              <a:solidFill>
                <a:prstClr val="black"/>
              </a:solidFill>
              <a:effectLst/>
              <a:uLnTx/>
              <a:uFillTx/>
              <a:latin typeface="Segoe UI Light"/>
              <a:ea typeface="Calibri" panose="020F0502020204030204" pitchFamily="34" charset="0"/>
              <a:cs typeface="Times New Roman" panose="02020603050405020304" pitchFamily="18" charset="0"/>
            </a:endParaRPr>
          </a:p>
        </p:txBody>
      </p:sp>
      <p:pic>
        <p:nvPicPr>
          <p:cNvPr id="3" name="Picture 2"/>
          <p:cNvPicPr>
            <a:picLocks noChangeAspect="1"/>
          </p:cNvPicPr>
          <p:nvPr/>
        </p:nvPicPr>
        <p:blipFill>
          <a:blip r:embed="rId4"/>
          <a:stretch>
            <a:fillRect/>
          </a:stretch>
        </p:blipFill>
        <p:spPr>
          <a:xfrm>
            <a:off x="3114928" y="4708832"/>
            <a:ext cx="9021600" cy="852526"/>
          </a:xfrm>
          <a:prstGeom prst="rect">
            <a:avLst/>
          </a:prstGeom>
          <a:ln>
            <a:noFill/>
          </a:ln>
          <a:effectLst>
            <a:outerShdw blurRad="190500" algn="tl" rotWithShape="0">
              <a:srgbClr val="000000">
                <a:alpha val="70000"/>
              </a:srgbClr>
            </a:outerShdw>
          </a:effectLst>
        </p:spPr>
      </p:pic>
      <p:sp>
        <p:nvSpPr>
          <p:cNvPr id="7" name="Title 6"/>
          <p:cNvSpPr>
            <a:spLocks noGrp="1"/>
          </p:cNvSpPr>
          <p:nvPr>
            <p:ph type="title"/>
          </p:nvPr>
        </p:nvSpPr>
        <p:spPr/>
        <p:txBody>
          <a:bodyPr/>
          <a:lstStyle/>
          <a:p>
            <a:r>
              <a:rPr lang="en-US" i="1">
                <a:solidFill>
                  <a:schemeClr val="tx1"/>
                </a:solidFill>
              </a:rPr>
              <a:t>Query Editor - Query Ribbon</a:t>
            </a:r>
            <a:br>
              <a:rPr lang="en-US" i="1">
                <a:solidFill>
                  <a:schemeClr val="tx1"/>
                </a:solidFill>
              </a:rPr>
            </a:br>
            <a:endParaRPr lang="en-GB"/>
          </a:p>
        </p:txBody>
      </p:sp>
    </p:spTree>
    <p:extLst>
      <p:ext uri="{BB962C8B-B14F-4D97-AF65-F5344CB8AC3E}">
        <p14:creationId xmlns:p14="http://schemas.microsoft.com/office/powerpoint/2010/main" val="1594158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p:cNvGrpSpPr/>
          <p:nvPr/>
        </p:nvGrpSpPr>
        <p:grpSpPr>
          <a:xfrm>
            <a:off x="-11149" y="0"/>
            <a:ext cx="2849058" cy="6858000"/>
            <a:chOff x="2" y="1"/>
            <a:chExt cx="2849058" cy="6858000"/>
          </a:xfrm>
        </p:grpSpPr>
        <p:sp>
          <p:nvSpPr>
            <p:cNvPr id="70" name="Rectangle 69"/>
            <p:cNvSpPr/>
            <p:nvPr/>
          </p:nvSpPr>
          <p:spPr bwMode="auto">
            <a:xfrm>
              <a:off x="2" y="1"/>
              <a:ext cx="2849058"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5" name="Oval 70"/>
            <p:cNvSpPr/>
            <p:nvPr/>
          </p:nvSpPr>
          <p:spPr>
            <a:xfrm>
              <a:off x="1413521" y="4951537"/>
              <a:ext cx="1119626" cy="1119626"/>
            </a:xfrm>
            <a:prstGeom prst="ellipse">
              <a:avLst/>
            </a:prstGeom>
            <a:solidFill>
              <a:srgbClr val="F2C812"/>
            </a:solidFill>
            <a:ln w="3175" cap="flat" cmpd="sng" algn="ctr">
              <a:noFill/>
              <a:prstDash val="solid"/>
            </a:ln>
            <a:effectLst/>
          </p:spPr>
          <p:txBody>
            <a:bodyPr vert="horz" wrap="none" lIns="0" tIns="45720" rIns="0" bIns="0" rtlCol="0" anchor="t"/>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Segoe UI"/>
                  <a:ea typeface="Segoe UI" pitchFamily="34" charset="0"/>
                  <a:cs typeface="Segoe UI" pitchFamily="34" charset="0"/>
                </a:rPr>
                <a:t>Share &amp;</a:t>
              </a:r>
            </a:p>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Segoe UI"/>
                  <a:ea typeface="Segoe UI" pitchFamily="34" charset="0"/>
                  <a:cs typeface="Segoe UI" pitchFamily="34" charset="0"/>
                </a:rPr>
                <a:t>collaborate </a:t>
              </a:r>
            </a:p>
          </p:txBody>
        </p:sp>
        <p:grpSp>
          <p:nvGrpSpPr>
            <p:cNvPr id="66" name="Group 38"/>
            <p:cNvGrpSpPr>
              <a:grpSpLocks noChangeAspect="1"/>
            </p:cNvGrpSpPr>
            <p:nvPr/>
          </p:nvGrpSpPr>
          <p:grpSpPr>
            <a:xfrm>
              <a:off x="676996" y="3930692"/>
              <a:ext cx="383905" cy="351536"/>
              <a:chOff x="4363684" y="5330386"/>
              <a:chExt cx="1409956" cy="1291077"/>
            </a:xfrm>
            <a:solidFill>
              <a:srgbClr val="217346"/>
            </a:solidFill>
          </p:grpSpPr>
          <p:sp>
            <p:nvSpPr>
              <p:cNvPr id="67" name="Donut 3"/>
              <p:cNvSpPr/>
              <p:nvPr/>
            </p:nvSpPr>
            <p:spPr bwMode="auto">
              <a:xfrm>
                <a:off x="4363684" y="5330386"/>
                <a:ext cx="1409956" cy="1291077"/>
              </a:xfrm>
              <a:custGeom>
                <a:avLst/>
                <a:gdLst/>
                <a:ahLst/>
                <a:cxnLst/>
                <a:rect l="l" t="t" r="r" b="b"/>
                <a:pathLst>
                  <a:path w="1409956" h="1291077">
                    <a:moveTo>
                      <a:pt x="956401" y="78410"/>
                    </a:moveTo>
                    <a:cubicBezTo>
                      <a:pt x="747518" y="78410"/>
                      <a:pt x="578184" y="247744"/>
                      <a:pt x="578184" y="456627"/>
                    </a:cubicBezTo>
                    <a:cubicBezTo>
                      <a:pt x="578184" y="665510"/>
                      <a:pt x="747518" y="834844"/>
                      <a:pt x="956401" y="834844"/>
                    </a:cubicBezTo>
                    <a:cubicBezTo>
                      <a:pt x="1165284" y="834844"/>
                      <a:pt x="1334618" y="665510"/>
                      <a:pt x="1334618" y="456627"/>
                    </a:cubicBezTo>
                    <a:cubicBezTo>
                      <a:pt x="1334618" y="247744"/>
                      <a:pt x="1165284" y="78410"/>
                      <a:pt x="956401" y="78410"/>
                    </a:cubicBezTo>
                    <a:close/>
                    <a:moveTo>
                      <a:pt x="952756" y="0"/>
                    </a:moveTo>
                    <a:cubicBezTo>
                      <a:pt x="1205261" y="0"/>
                      <a:pt x="1409956" y="204695"/>
                      <a:pt x="1409956" y="457200"/>
                    </a:cubicBezTo>
                    <a:cubicBezTo>
                      <a:pt x="1409956" y="709705"/>
                      <a:pt x="1205261" y="914400"/>
                      <a:pt x="952756" y="914400"/>
                    </a:cubicBezTo>
                    <a:cubicBezTo>
                      <a:pt x="862133" y="914400"/>
                      <a:pt x="777669" y="888034"/>
                      <a:pt x="707132" y="841746"/>
                    </a:cubicBezTo>
                    <a:lnTo>
                      <a:pt x="136495" y="1280102"/>
                    </a:lnTo>
                    <a:cubicBezTo>
                      <a:pt x="21896" y="1327168"/>
                      <a:pt x="-44029" y="1213730"/>
                      <a:pt x="33797" y="1113182"/>
                    </a:cubicBezTo>
                    <a:lnTo>
                      <a:pt x="568587" y="703518"/>
                    </a:lnTo>
                    <a:cubicBezTo>
                      <a:pt x="522087" y="632814"/>
                      <a:pt x="495556" y="548105"/>
                      <a:pt x="495556" y="457200"/>
                    </a:cubicBezTo>
                    <a:cubicBezTo>
                      <a:pt x="495556" y="204695"/>
                      <a:pt x="700251" y="0"/>
                      <a:pt x="952756" y="0"/>
                    </a:cubicBezTo>
                    <a:close/>
                  </a:path>
                </a:pathLst>
              </a:custGeom>
              <a:grpFill/>
              <a:ln>
                <a:solidFill>
                  <a:srgbClr val="21734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sp>
            <p:nvSpPr>
              <p:cNvPr id="68" name="Rectangle 4"/>
              <p:cNvSpPr/>
              <p:nvPr/>
            </p:nvSpPr>
            <p:spPr>
              <a:xfrm>
                <a:off x="5058389" y="5528247"/>
                <a:ext cx="490885" cy="490020"/>
              </a:xfrm>
              <a:custGeom>
                <a:avLst/>
                <a:gdLst/>
                <a:ahLst/>
                <a:cxnLst/>
                <a:rect l="l" t="t" r="r" b="b"/>
                <a:pathLst>
                  <a:path w="490885" h="490020">
                    <a:moveTo>
                      <a:pt x="240752" y="0"/>
                    </a:moveTo>
                    <a:cubicBezTo>
                      <a:pt x="253961" y="11844"/>
                      <a:pt x="293310" y="49692"/>
                      <a:pt x="337332" y="92439"/>
                    </a:cubicBezTo>
                    <a:lnTo>
                      <a:pt x="328342" y="81259"/>
                    </a:lnTo>
                    <a:cubicBezTo>
                      <a:pt x="356946" y="111282"/>
                      <a:pt x="377251" y="107167"/>
                      <a:pt x="382515" y="87941"/>
                    </a:cubicBezTo>
                    <a:cubicBezTo>
                      <a:pt x="383951" y="76921"/>
                      <a:pt x="384595" y="68732"/>
                      <a:pt x="396997" y="52239"/>
                    </a:cubicBezTo>
                    <a:cubicBezTo>
                      <a:pt x="420362" y="32084"/>
                      <a:pt x="442294" y="41736"/>
                      <a:pt x="454920" y="51330"/>
                    </a:cubicBezTo>
                    <a:cubicBezTo>
                      <a:pt x="467834" y="62761"/>
                      <a:pt x="477920" y="86882"/>
                      <a:pt x="460392" y="109714"/>
                    </a:cubicBezTo>
                    <a:cubicBezTo>
                      <a:pt x="451128" y="121912"/>
                      <a:pt x="437554" y="126838"/>
                      <a:pt x="425922" y="126505"/>
                    </a:cubicBezTo>
                    <a:cubicBezTo>
                      <a:pt x="424301" y="127609"/>
                      <a:pt x="382890" y="134974"/>
                      <a:pt x="427348" y="177672"/>
                    </a:cubicBezTo>
                    <a:lnTo>
                      <a:pt x="416886" y="169735"/>
                    </a:lnTo>
                    <a:cubicBezTo>
                      <a:pt x="450207" y="202177"/>
                      <a:pt x="478424" y="229744"/>
                      <a:pt x="490885" y="241900"/>
                    </a:cubicBezTo>
                    <a:lnTo>
                      <a:pt x="417150" y="317347"/>
                    </a:lnTo>
                    <a:cubicBezTo>
                      <a:pt x="417744" y="316535"/>
                      <a:pt x="418443" y="316123"/>
                      <a:pt x="419047" y="315822"/>
                    </a:cubicBezTo>
                    <a:cubicBezTo>
                      <a:pt x="389023" y="344426"/>
                      <a:pt x="393138" y="364731"/>
                      <a:pt x="412364" y="369995"/>
                    </a:cubicBezTo>
                    <a:cubicBezTo>
                      <a:pt x="423384" y="371431"/>
                      <a:pt x="431574" y="372075"/>
                      <a:pt x="448067" y="384477"/>
                    </a:cubicBezTo>
                    <a:cubicBezTo>
                      <a:pt x="468221" y="407842"/>
                      <a:pt x="458569" y="429774"/>
                      <a:pt x="448975" y="442400"/>
                    </a:cubicBezTo>
                    <a:cubicBezTo>
                      <a:pt x="437545" y="455314"/>
                      <a:pt x="413423" y="465400"/>
                      <a:pt x="390591" y="447872"/>
                    </a:cubicBezTo>
                    <a:cubicBezTo>
                      <a:pt x="378394" y="438608"/>
                      <a:pt x="373468" y="425034"/>
                      <a:pt x="373800" y="413402"/>
                    </a:cubicBezTo>
                    <a:cubicBezTo>
                      <a:pt x="372696" y="411781"/>
                      <a:pt x="365332" y="370370"/>
                      <a:pt x="322634" y="414828"/>
                    </a:cubicBezTo>
                    <a:lnTo>
                      <a:pt x="325243" y="411388"/>
                    </a:lnTo>
                    <a:lnTo>
                      <a:pt x="248395" y="490020"/>
                    </a:lnTo>
                    <a:cubicBezTo>
                      <a:pt x="208939" y="451897"/>
                      <a:pt x="199129" y="442073"/>
                      <a:pt x="174192" y="418236"/>
                    </a:cubicBezTo>
                    <a:cubicBezTo>
                      <a:pt x="145587" y="388212"/>
                      <a:pt x="125282" y="392327"/>
                      <a:pt x="120018" y="411553"/>
                    </a:cubicBezTo>
                    <a:cubicBezTo>
                      <a:pt x="118582" y="422573"/>
                      <a:pt x="117938" y="430763"/>
                      <a:pt x="105536" y="447256"/>
                    </a:cubicBezTo>
                    <a:cubicBezTo>
                      <a:pt x="82171" y="467410"/>
                      <a:pt x="60239" y="457758"/>
                      <a:pt x="47614" y="448164"/>
                    </a:cubicBezTo>
                    <a:cubicBezTo>
                      <a:pt x="34699" y="436734"/>
                      <a:pt x="24614" y="412612"/>
                      <a:pt x="42141" y="389780"/>
                    </a:cubicBezTo>
                    <a:cubicBezTo>
                      <a:pt x="51405" y="377583"/>
                      <a:pt x="64979" y="372657"/>
                      <a:pt x="76612" y="372989"/>
                    </a:cubicBezTo>
                    <a:cubicBezTo>
                      <a:pt x="78232" y="371886"/>
                      <a:pt x="119644" y="364521"/>
                      <a:pt x="75186" y="321823"/>
                    </a:cubicBezTo>
                    <a:cubicBezTo>
                      <a:pt x="58767" y="305402"/>
                      <a:pt x="23648" y="271235"/>
                      <a:pt x="0" y="248738"/>
                    </a:cubicBezTo>
                    <a:lnTo>
                      <a:pt x="77303" y="168146"/>
                    </a:lnTo>
                    <a:cubicBezTo>
                      <a:pt x="104269" y="140313"/>
                      <a:pt x="122130" y="156409"/>
                      <a:pt x="124388" y="175543"/>
                    </a:cubicBezTo>
                    <a:cubicBezTo>
                      <a:pt x="124457" y="182466"/>
                      <a:pt x="127106" y="193106"/>
                      <a:pt x="137575" y="203052"/>
                    </a:cubicBezTo>
                    <a:cubicBezTo>
                      <a:pt x="153931" y="220277"/>
                      <a:pt x="181252" y="217451"/>
                      <a:pt x="196721" y="201951"/>
                    </a:cubicBezTo>
                    <a:cubicBezTo>
                      <a:pt x="211961" y="185740"/>
                      <a:pt x="213057" y="157882"/>
                      <a:pt x="196146" y="142797"/>
                    </a:cubicBezTo>
                    <a:cubicBezTo>
                      <a:pt x="184301" y="132637"/>
                      <a:pt x="177155" y="131453"/>
                      <a:pt x="166513" y="129894"/>
                    </a:cubicBezTo>
                    <a:cubicBezTo>
                      <a:pt x="154522" y="129013"/>
                      <a:pt x="131185" y="112953"/>
                      <a:pt x="157905" y="85228"/>
                    </a:cubicBezTo>
                    <a:close/>
                  </a:path>
                </a:pathLst>
              </a:custGeom>
              <a:grpFill/>
              <a:ln>
                <a:solidFill>
                  <a:srgbClr val="21734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grpSp>
        <p:sp>
          <p:nvSpPr>
            <p:cNvPr id="69" name="Oval 47"/>
            <p:cNvSpPr/>
            <p:nvPr/>
          </p:nvSpPr>
          <p:spPr>
            <a:xfrm>
              <a:off x="388608" y="3710471"/>
              <a:ext cx="1119626" cy="1119626"/>
            </a:xfrm>
            <a:prstGeom prst="ellipse">
              <a:avLst/>
            </a:prstGeom>
            <a:solidFill>
              <a:srgbClr val="F2C812"/>
            </a:solidFill>
            <a:ln w="3175" cap="flat" cmpd="sng" algn="ctr">
              <a:noFill/>
              <a:prstDash val="solid"/>
            </a:ln>
            <a:effectLst/>
          </p:spPr>
          <p:txBody>
            <a:bodyPr vert="horz" wrap="none" lIns="0" tIns="45720" rIns="0" bIns="0" rtlCol="0" anchor="t"/>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Segoe UI"/>
                  <a:ea typeface="Segoe UI" pitchFamily="34" charset="0"/>
                  <a:cs typeface="Segoe UI" pitchFamily="34" charset="0"/>
                </a:rPr>
                <a:t>Report</a:t>
              </a:r>
            </a:p>
          </p:txBody>
        </p:sp>
        <p:sp>
          <p:nvSpPr>
            <p:cNvPr id="85" name="Oval 950"/>
            <p:cNvSpPr/>
            <p:nvPr/>
          </p:nvSpPr>
          <p:spPr>
            <a:xfrm>
              <a:off x="388608" y="1252295"/>
              <a:ext cx="1119626" cy="1119626"/>
            </a:xfrm>
            <a:prstGeom prst="ellipse">
              <a:avLst/>
            </a:prstGeom>
            <a:solidFill>
              <a:srgbClr val="F2C812"/>
            </a:solidFill>
            <a:ln w="3175" cap="flat" cmpd="sng" algn="ctr">
              <a:noFill/>
              <a:prstDash val="solid"/>
            </a:ln>
            <a:effectLst/>
          </p:spPr>
          <p:txBody>
            <a:bodyPr vert="horz" wrap="none" lIns="0" tIns="45720" rIns="0" bIns="0" rtlCol="0" anchor="t"/>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1" i="0" u="none" strike="noStrike" kern="1200" cap="none" spc="0" normalizeH="0" baseline="0" noProof="0">
                <a:ln>
                  <a:noFill/>
                </a:ln>
                <a:solidFill>
                  <a:srgbClr val="217346"/>
                </a:solidFill>
                <a:effectLst/>
                <a:uLnTx/>
                <a:uFillTx/>
                <a:latin typeface="Segoe UI"/>
                <a:ea typeface="Segoe UI" pitchFamily="34" charset="0"/>
                <a:cs typeface="Segoe UI" pitchFamily="34" charset="0"/>
              </a:endParaRPr>
            </a:p>
          </p:txBody>
        </p:sp>
        <p:grpSp>
          <p:nvGrpSpPr>
            <p:cNvPr id="86" name="Group 85"/>
            <p:cNvGrpSpPr/>
            <p:nvPr/>
          </p:nvGrpSpPr>
          <p:grpSpPr>
            <a:xfrm>
              <a:off x="1264851" y="3482890"/>
              <a:ext cx="292254" cy="354906"/>
              <a:chOff x="1296521" y="3253388"/>
              <a:chExt cx="292254" cy="354906"/>
            </a:xfrm>
            <a:solidFill>
              <a:srgbClr val="F2C812"/>
            </a:solidFill>
          </p:grpSpPr>
          <p:sp>
            <p:nvSpPr>
              <p:cNvPr id="87" name="Isosceles Triangle 86"/>
              <p:cNvSpPr/>
              <p:nvPr/>
            </p:nvSpPr>
            <p:spPr bwMode="auto">
              <a:xfrm rot="13636515">
                <a:off x="1461362" y="328936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8" name="Isosceles Triangle 87"/>
              <p:cNvSpPr/>
              <p:nvPr/>
            </p:nvSpPr>
            <p:spPr bwMode="auto">
              <a:xfrm rot="13636515">
                <a:off x="1357669" y="338258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9" name="Isosceles Triangle 88"/>
              <p:cNvSpPr/>
              <p:nvPr/>
            </p:nvSpPr>
            <p:spPr bwMode="auto">
              <a:xfrm rot="13636515">
                <a:off x="1260548" y="3480882"/>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90" name="Group 89"/>
            <p:cNvGrpSpPr/>
            <p:nvPr/>
          </p:nvGrpSpPr>
          <p:grpSpPr>
            <a:xfrm rot="15940603">
              <a:off x="1334576" y="2204404"/>
              <a:ext cx="292254" cy="354906"/>
              <a:chOff x="1296521" y="3253388"/>
              <a:chExt cx="292254" cy="354906"/>
            </a:xfrm>
            <a:solidFill>
              <a:srgbClr val="F2C812"/>
            </a:solidFill>
          </p:grpSpPr>
          <p:sp>
            <p:nvSpPr>
              <p:cNvPr id="91" name="Isosceles Triangle 90"/>
              <p:cNvSpPr/>
              <p:nvPr/>
            </p:nvSpPr>
            <p:spPr bwMode="auto">
              <a:xfrm rot="13636515">
                <a:off x="1461362" y="328936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2" name="Isosceles Triangle 91"/>
              <p:cNvSpPr/>
              <p:nvPr/>
            </p:nvSpPr>
            <p:spPr bwMode="auto">
              <a:xfrm rot="13636515">
                <a:off x="1357669" y="338258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3" name="Isosceles Triangle 92"/>
              <p:cNvSpPr/>
              <p:nvPr/>
            </p:nvSpPr>
            <p:spPr bwMode="auto">
              <a:xfrm rot="13636515">
                <a:off x="1260548" y="3480882"/>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94" name="Group 93"/>
            <p:cNvGrpSpPr/>
            <p:nvPr/>
          </p:nvGrpSpPr>
          <p:grpSpPr>
            <a:xfrm rot="16043978">
              <a:off x="1317220" y="4717577"/>
              <a:ext cx="292254" cy="354906"/>
              <a:chOff x="1296521" y="3253388"/>
              <a:chExt cx="292254" cy="354906"/>
            </a:xfrm>
            <a:solidFill>
              <a:srgbClr val="F2C812"/>
            </a:solidFill>
          </p:grpSpPr>
          <p:sp>
            <p:nvSpPr>
              <p:cNvPr id="95" name="Isosceles Triangle 94"/>
              <p:cNvSpPr/>
              <p:nvPr/>
            </p:nvSpPr>
            <p:spPr bwMode="auto">
              <a:xfrm rot="13636515">
                <a:off x="1461362" y="328936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6" name="Isosceles Triangle 95"/>
              <p:cNvSpPr/>
              <p:nvPr/>
            </p:nvSpPr>
            <p:spPr bwMode="auto">
              <a:xfrm rot="13636515">
                <a:off x="1357669" y="338258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7" name="Isosceles Triangle 96"/>
              <p:cNvSpPr/>
              <p:nvPr/>
            </p:nvSpPr>
            <p:spPr bwMode="auto">
              <a:xfrm rot="13636515">
                <a:off x="1260548" y="3480882"/>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98" name="Oval 36"/>
            <p:cNvSpPr/>
            <p:nvPr/>
          </p:nvSpPr>
          <p:spPr>
            <a:xfrm>
              <a:off x="1413521" y="2481383"/>
              <a:ext cx="1119626" cy="1119626"/>
            </a:xfrm>
            <a:prstGeom prst="ellipse">
              <a:avLst/>
            </a:prstGeom>
            <a:solidFill>
              <a:srgbClr val="F2C812"/>
            </a:solidFill>
            <a:ln w="3175" cap="flat" cmpd="sng" algn="ctr">
              <a:noFill/>
              <a:prstDash val="solid"/>
            </a:ln>
            <a:effectLst/>
          </p:spPr>
          <p:txBody>
            <a:bodyPr vert="horz" wrap="none" lIns="0" tIns="0" rIns="0" bIns="0" rtlCol="0" anchor="t"/>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400" b="1" i="0" u="none" strike="noStrike" kern="1200" cap="none" spc="0" normalizeH="0" baseline="0" noProof="0">
                <a:ln>
                  <a:noFill/>
                </a:ln>
                <a:solidFill>
                  <a:srgbClr val="217346"/>
                </a:solidFill>
                <a:effectLst/>
                <a:uLnTx/>
                <a:uFillTx/>
                <a:latin typeface="Segoe UI"/>
                <a:ea typeface="Segoe UI" pitchFamily="34" charset="0"/>
                <a:cs typeface="Segoe UI" pitchFamily="34" charset="0"/>
              </a:endParaRPr>
            </a:p>
          </p:txBody>
        </p:sp>
        <p:sp>
          <p:nvSpPr>
            <p:cNvPr id="99" name="Donut 3"/>
            <p:cNvSpPr/>
            <p:nvPr/>
          </p:nvSpPr>
          <p:spPr bwMode="auto">
            <a:xfrm>
              <a:off x="1742065" y="3002355"/>
              <a:ext cx="383905" cy="351537"/>
            </a:xfrm>
            <a:custGeom>
              <a:avLst/>
              <a:gdLst/>
              <a:ahLst/>
              <a:cxnLst/>
              <a:rect l="l" t="t" r="r" b="b"/>
              <a:pathLst>
                <a:path w="1409956" h="1291077">
                  <a:moveTo>
                    <a:pt x="956401" y="78410"/>
                  </a:moveTo>
                  <a:cubicBezTo>
                    <a:pt x="747518" y="78410"/>
                    <a:pt x="578184" y="247744"/>
                    <a:pt x="578184" y="456627"/>
                  </a:cubicBezTo>
                  <a:cubicBezTo>
                    <a:pt x="578184" y="665510"/>
                    <a:pt x="747518" y="834844"/>
                    <a:pt x="956401" y="834844"/>
                  </a:cubicBezTo>
                  <a:cubicBezTo>
                    <a:pt x="1165284" y="834844"/>
                    <a:pt x="1334618" y="665510"/>
                    <a:pt x="1334618" y="456627"/>
                  </a:cubicBezTo>
                  <a:cubicBezTo>
                    <a:pt x="1334618" y="247744"/>
                    <a:pt x="1165284" y="78410"/>
                    <a:pt x="956401" y="78410"/>
                  </a:cubicBezTo>
                  <a:close/>
                  <a:moveTo>
                    <a:pt x="952756" y="0"/>
                  </a:moveTo>
                  <a:cubicBezTo>
                    <a:pt x="1205261" y="0"/>
                    <a:pt x="1409956" y="204695"/>
                    <a:pt x="1409956" y="457200"/>
                  </a:cubicBezTo>
                  <a:cubicBezTo>
                    <a:pt x="1409956" y="709705"/>
                    <a:pt x="1205261" y="914400"/>
                    <a:pt x="952756" y="914400"/>
                  </a:cubicBezTo>
                  <a:cubicBezTo>
                    <a:pt x="862133" y="914400"/>
                    <a:pt x="777669" y="888034"/>
                    <a:pt x="707132" y="841746"/>
                  </a:cubicBezTo>
                  <a:lnTo>
                    <a:pt x="136495" y="1280102"/>
                  </a:lnTo>
                  <a:cubicBezTo>
                    <a:pt x="21896" y="1327168"/>
                    <a:pt x="-44029" y="1213730"/>
                    <a:pt x="33797" y="1113182"/>
                  </a:cubicBezTo>
                  <a:lnTo>
                    <a:pt x="568587" y="703518"/>
                  </a:lnTo>
                  <a:cubicBezTo>
                    <a:pt x="522087" y="632814"/>
                    <a:pt x="495556" y="548105"/>
                    <a:pt x="495556" y="457200"/>
                  </a:cubicBezTo>
                  <a:cubicBezTo>
                    <a:pt x="495556" y="204695"/>
                    <a:pt x="700251" y="0"/>
                    <a:pt x="952756" y="0"/>
                  </a:cubicBezTo>
                  <a:close/>
                </a:path>
              </a:pathLst>
            </a:cu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ysClr val="windowText" lastClr="000000"/>
                </a:solidFill>
                <a:effectLst/>
                <a:uLnTx/>
                <a:uFillTx/>
                <a:latin typeface="Segoe UI"/>
                <a:ea typeface="+mn-ea"/>
                <a:cs typeface="+mn-cs"/>
              </a:endParaRPr>
            </a:p>
          </p:txBody>
        </p:sp>
        <p:sp>
          <p:nvSpPr>
            <p:cNvPr id="100" name="Rectangle 99"/>
            <p:cNvSpPr/>
            <p:nvPr/>
          </p:nvSpPr>
          <p:spPr>
            <a:xfrm>
              <a:off x="1600398" y="2677430"/>
              <a:ext cx="820353" cy="307777"/>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Segoe UI"/>
                  <a:ea typeface="Segoe UI" pitchFamily="34" charset="0"/>
                  <a:cs typeface="Segoe UI" pitchFamily="34" charset="0"/>
                </a:rPr>
                <a:t>Explore</a:t>
              </a:r>
              <a:endParaRPr kumimoji="0" lang="en-US" sz="1600" b="0" i="0" u="none" strike="noStrike" kern="1200" cap="none" spc="0" normalizeH="0" baseline="0" noProof="0">
                <a:ln>
                  <a:noFill/>
                </a:ln>
                <a:solidFill>
                  <a:prstClr val="black"/>
                </a:solidFill>
                <a:effectLst/>
                <a:uLnTx/>
                <a:uFillTx/>
                <a:latin typeface="Segoe UI"/>
                <a:ea typeface="+mn-ea"/>
                <a:cs typeface="+mn-cs"/>
              </a:endParaRPr>
            </a:p>
          </p:txBody>
        </p:sp>
        <p:sp>
          <p:nvSpPr>
            <p:cNvPr id="101" name="Rectangle 100"/>
            <p:cNvSpPr/>
            <p:nvPr/>
          </p:nvSpPr>
          <p:spPr>
            <a:xfrm>
              <a:off x="509174" y="1475232"/>
              <a:ext cx="838756" cy="307777"/>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Segoe UI"/>
                  <a:ea typeface="Segoe UI" pitchFamily="34" charset="0"/>
                  <a:cs typeface="Segoe UI" pitchFamily="34" charset="0"/>
                </a:rPr>
                <a:t>Prepare</a:t>
              </a:r>
              <a:endParaRPr kumimoji="0" lang="en-US" sz="1400" b="0" i="0" u="none" strike="noStrike" kern="1200" cap="none" spc="0" normalizeH="0" baseline="0" noProof="0">
                <a:ln>
                  <a:noFill/>
                </a:ln>
                <a:solidFill>
                  <a:prstClr val="black"/>
                </a:solidFill>
                <a:effectLst/>
                <a:uLnTx/>
                <a:uFillTx/>
                <a:latin typeface="Segoe UI"/>
                <a:ea typeface="+mn-ea"/>
                <a:cs typeface="+mn-cs"/>
              </a:endParaRPr>
            </a:p>
          </p:txBody>
        </p:sp>
        <p:sp>
          <p:nvSpPr>
            <p:cNvPr id="102" name="Freeform 101"/>
            <p:cNvSpPr>
              <a:spLocks noChangeAspect="1"/>
            </p:cNvSpPr>
            <p:nvPr/>
          </p:nvSpPr>
          <p:spPr bwMode="black">
            <a:xfrm>
              <a:off x="1836174" y="5643069"/>
              <a:ext cx="274320" cy="284173"/>
            </a:xfrm>
            <a:custGeom>
              <a:avLst/>
              <a:gdLst>
                <a:gd name="T0" fmla="*/ 539 w 669"/>
                <a:gd name="T1" fmla="*/ 5 h 693"/>
                <a:gd name="T2" fmla="*/ 640 w 669"/>
                <a:gd name="T3" fmla="*/ 55 h 693"/>
                <a:gd name="T4" fmla="*/ 603 w 669"/>
                <a:gd name="T5" fmla="*/ 195 h 693"/>
                <a:gd name="T6" fmla="*/ 490 w 669"/>
                <a:gd name="T7" fmla="*/ 188 h 693"/>
                <a:gd name="T8" fmla="*/ 479 w 669"/>
                <a:gd name="T9" fmla="*/ 176 h 693"/>
                <a:gd name="T10" fmla="*/ 213 w 669"/>
                <a:gd name="T11" fmla="*/ 330 h 693"/>
                <a:gd name="T12" fmla="*/ 218 w 669"/>
                <a:gd name="T13" fmla="*/ 345 h 693"/>
                <a:gd name="T14" fmla="*/ 218 w 669"/>
                <a:gd name="T15" fmla="*/ 375 h 693"/>
                <a:gd name="T16" fmla="*/ 209 w 669"/>
                <a:gd name="T17" fmla="*/ 402 h 693"/>
                <a:gd name="T18" fmla="*/ 369 w 669"/>
                <a:gd name="T19" fmla="*/ 503 h 693"/>
                <a:gd name="T20" fmla="*/ 373 w 669"/>
                <a:gd name="T21" fmla="*/ 498 h 693"/>
                <a:gd name="T22" fmla="*/ 456 w 669"/>
                <a:gd name="T23" fmla="*/ 475 h 693"/>
                <a:gd name="T24" fmla="*/ 494 w 669"/>
                <a:gd name="T25" fmla="*/ 489 h 693"/>
                <a:gd name="T26" fmla="*/ 527 w 669"/>
                <a:gd name="T27" fmla="*/ 630 h 693"/>
                <a:gd name="T28" fmla="*/ 386 w 669"/>
                <a:gd name="T29" fmla="*/ 663 h 693"/>
                <a:gd name="T30" fmla="*/ 339 w 669"/>
                <a:gd name="T31" fmla="*/ 560 h 693"/>
                <a:gd name="T32" fmla="*/ 345 w 669"/>
                <a:gd name="T33" fmla="*/ 544 h 693"/>
                <a:gd name="T34" fmla="*/ 177 w 669"/>
                <a:gd name="T35" fmla="*/ 439 h 693"/>
                <a:gd name="T36" fmla="*/ 168 w 669"/>
                <a:gd name="T37" fmla="*/ 446 h 693"/>
                <a:gd name="T38" fmla="*/ 28 w 669"/>
                <a:gd name="T39" fmla="*/ 409 h 693"/>
                <a:gd name="T40" fmla="*/ 65 w 669"/>
                <a:gd name="T41" fmla="*/ 269 h 693"/>
                <a:gd name="T42" fmla="*/ 178 w 669"/>
                <a:gd name="T43" fmla="*/ 276 h 693"/>
                <a:gd name="T44" fmla="*/ 189 w 669"/>
                <a:gd name="T45" fmla="*/ 288 h 693"/>
                <a:gd name="T46" fmla="*/ 455 w 669"/>
                <a:gd name="T47" fmla="*/ 134 h 693"/>
                <a:gd name="T48" fmla="*/ 450 w 669"/>
                <a:gd name="T49" fmla="*/ 119 h 693"/>
                <a:gd name="T50" fmla="*/ 501 w 669"/>
                <a:gd name="T51" fmla="*/ 18 h 693"/>
                <a:gd name="T52" fmla="*/ 539 w 669"/>
                <a:gd name="T53" fmla="*/ 5 h 6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69" h="693">
                  <a:moveTo>
                    <a:pt x="539" y="5"/>
                  </a:moveTo>
                  <a:cubicBezTo>
                    <a:pt x="579" y="0"/>
                    <a:pt x="619" y="19"/>
                    <a:pt x="640" y="55"/>
                  </a:cubicBezTo>
                  <a:cubicBezTo>
                    <a:pt x="669" y="104"/>
                    <a:pt x="652" y="167"/>
                    <a:pt x="603" y="195"/>
                  </a:cubicBezTo>
                  <a:cubicBezTo>
                    <a:pt x="566" y="216"/>
                    <a:pt x="522" y="212"/>
                    <a:pt x="490" y="188"/>
                  </a:cubicBezTo>
                  <a:cubicBezTo>
                    <a:pt x="479" y="176"/>
                    <a:pt x="479" y="176"/>
                    <a:pt x="479" y="176"/>
                  </a:cubicBezTo>
                  <a:cubicBezTo>
                    <a:pt x="213" y="330"/>
                    <a:pt x="213" y="330"/>
                    <a:pt x="213" y="330"/>
                  </a:cubicBezTo>
                  <a:cubicBezTo>
                    <a:pt x="218" y="345"/>
                    <a:pt x="218" y="345"/>
                    <a:pt x="218" y="345"/>
                  </a:cubicBezTo>
                  <a:cubicBezTo>
                    <a:pt x="219" y="355"/>
                    <a:pt x="219" y="365"/>
                    <a:pt x="218" y="375"/>
                  </a:cubicBezTo>
                  <a:cubicBezTo>
                    <a:pt x="209" y="402"/>
                    <a:pt x="209" y="402"/>
                    <a:pt x="209" y="402"/>
                  </a:cubicBezTo>
                  <a:cubicBezTo>
                    <a:pt x="369" y="503"/>
                    <a:pt x="369" y="503"/>
                    <a:pt x="369" y="503"/>
                  </a:cubicBezTo>
                  <a:cubicBezTo>
                    <a:pt x="373" y="498"/>
                    <a:pt x="373" y="498"/>
                    <a:pt x="373" y="498"/>
                  </a:cubicBezTo>
                  <a:cubicBezTo>
                    <a:pt x="396" y="479"/>
                    <a:pt x="427" y="470"/>
                    <a:pt x="456" y="475"/>
                  </a:cubicBezTo>
                  <a:cubicBezTo>
                    <a:pt x="470" y="477"/>
                    <a:pt x="482" y="482"/>
                    <a:pt x="494" y="489"/>
                  </a:cubicBezTo>
                  <a:cubicBezTo>
                    <a:pt x="542" y="519"/>
                    <a:pt x="557" y="583"/>
                    <a:pt x="527" y="630"/>
                  </a:cubicBezTo>
                  <a:cubicBezTo>
                    <a:pt x="497" y="678"/>
                    <a:pt x="433" y="693"/>
                    <a:pt x="386" y="663"/>
                  </a:cubicBezTo>
                  <a:cubicBezTo>
                    <a:pt x="350" y="640"/>
                    <a:pt x="333" y="599"/>
                    <a:pt x="339" y="560"/>
                  </a:cubicBezTo>
                  <a:cubicBezTo>
                    <a:pt x="345" y="544"/>
                    <a:pt x="345" y="544"/>
                    <a:pt x="345" y="544"/>
                  </a:cubicBezTo>
                  <a:cubicBezTo>
                    <a:pt x="177" y="439"/>
                    <a:pt x="177" y="439"/>
                    <a:pt x="177" y="439"/>
                  </a:cubicBezTo>
                  <a:cubicBezTo>
                    <a:pt x="168" y="446"/>
                    <a:pt x="168" y="446"/>
                    <a:pt x="168" y="446"/>
                  </a:cubicBezTo>
                  <a:cubicBezTo>
                    <a:pt x="119" y="475"/>
                    <a:pt x="56" y="458"/>
                    <a:pt x="28" y="409"/>
                  </a:cubicBezTo>
                  <a:cubicBezTo>
                    <a:pt x="0" y="360"/>
                    <a:pt x="16" y="297"/>
                    <a:pt x="65" y="269"/>
                  </a:cubicBezTo>
                  <a:cubicBezTo>
                    <a:pt x="102" y="248"/>
                    <a:pt x="147" y="252"/>
                    <a:pt x="178" y="276"/>
                  </a:cubicBezTo>
                  <a:cubicBezTo>
                    <a:pt x="189" y="288"/>
                    <a:pt x="189" y="288"/>
                    <a:pt x="189" y="288"/>
                  </a:cubicBezTo>
                  <a:cubicBezTo>
                    <a:pt x="455" y="134"/>
                    <a:pt x="455" y="134"/>
                    <a:pt x="455" y="134"/>
                  </a:cubicBezTo>
                  <a:cubicBezTo>
                    <a:pt x="450" y="119"/>
                    <a:pt x="450" y="119"/>
                    <a:pt x="450" y="119"/>
                  </a:cubicBezTo>
                  <a:cubicBezTo>
                    <a:pt x="445" y="80"/>
                    <a:pt x="464" y="39"/>
                    <a:pt x="501" y="18"/>
                  </a:cubicBezTo>
                  <a:cubicBezTo>
                    <a:pt x="513" y="11"/>
                    <a:pt x="526" y="6"/>
                    <a:pt x="539" y="5"/>
                  </a:cubicBezTo>
                  <a:close/>
                </a:path>
              </a:pathLst>
            </a:custGeom>
            <a:solidFill>
              <a:schemeClr val="tx1"/>
            </a:solidFill>
            <a:ln>
              <a:noFill/>
            </a:ln>
          </p:spPr>
          <p:txBody>
            <a:bodyPr vert="horz" wrap="square" lIns="68574" tIns="34287" rIns="68574" bIns="34287"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Segoe UI"/>
                <a:ea typeface="+mn-ea"/>
                <a:cs typeface="+mn-cs"/>
              </a:endParaRPr>
            </a:p>
          </p:txBody>
        </p:sp>
        <p:sp>
          <p:nvSpPr>
            <p:cNvPr id="103" name="Freeform 102"/>
            <p:cNvSpPr>
              <a:spLocks noChangeAspect="1" noEditPoints="1"/>
            </p:cNvSpPr>
            <p:nvPr/>
          </p:nvSpPr>
          <p:spPr bwMode="black">
            <a:xfrm>
              <a:off x="722320" y="1783009"/>
              <a:ext cx="452202" cy="366660"/>
            </a:xfrm>
            <a:custGeom>
              <a:avLst/>
              <a:gdLst>
                <a:gd name="T0" fmla="*/ 600 w 1107"/>
                <a:gd name="T1" fmla="*/ 625 h 897"/>
                <a:gd name="T2" fmla="*/ 649 w 1107"/>
                <a:gd name="T3" fmla="*/ 567 h 897"/>
                <a:gd name="T4" fmla="*/ 727 w 1107"/>
                <a:gd name="T5" fmla="*/ 482 h 897"/>
                <a:gd name="T6" fmla="*/ 601 w 1107"/>
                <a:gd name="T7" fmla="*/ 434 h 897"/>
                <a:gd name="T8" fmla="*/ 628 w 1107"/>
                <a:gd name="T9" fmla="*/ 305 h 897"/>
                <a:gd name="T10" fmla="*/ 547 w 1107"/>
                <a:gd name="T11" fmla="*/ 240 h 897"/>
                <a:gd name="T12" fmla="*/ 427 w 1107"/>
                <a:gd name="T13" fmla="*/ 287 h 897"/>
                <a:gd name="T14" fmla="*/ 368 w 1107"/>
                <a:gd name="T15" fmla="*/ 170 h 897"/>
                <a:gd name="T16" fmla="*/ 285 w 1107"/>
                <a:gd name="T17" fmla="*/ 263 h 897"/>
                <a:gd name="T18" fmla="*/ 241 w 1107"/>
                <a:gd name="T19" fmla="*/ 313 h 897"/>
                <a:gd name="T20" fmla="*/ 139 w 1107"/>
                <a:gd name="T21" fmla="*/ 281 h 897"/>
                <a:gd name="T22" fmla="*/ 79 w 1107"/>
                <a:gd name="T23" fmla="*/ 355 h 897"/>
                <a:gd name="T24" fmla="*/ 132 w 1107"/>
                <a:gd name="T25" fmla="*/ 446 h 897"/>
                <a:gd name="T26" fmla="*/ 83 w 1107"/>
                <a:gd name="T27" fmla="*/ 505 h 897"/>
                <a:gd name="T28" fmla="*/ 5 w 1107"/>
                <a:gd name="T29" fmla="*/ 590 h 897"/>
                <a:gd name="T30" fmla="*/ 132 w 1107"/>
                <a:gd name="T31" fmla="*/ 638 h 897"/>
                <a:gd name="T32" fmla="*/ 145 w 1107"/>
                <a:gd name="T33" fmla="*/ 669 h 897"/>
                <a:gd name="T34" fmla="*/ 110 w 1107"/>
                <a:gd name="T35" fmla="*/ 793 h 897"/>
                <a:gd name="T36" fmla="*/ 230 w 1107"/>
                <a:gd name="T37" fmla="*/ 781 h 897"/>
                <a:gd name="T38" fmla="*/ 306 w 1107"/>
                <a:gd name="T39" fmla="*/ 785 h 897"/>
                <a:gd name="T40" fmla="*/ 346 w 1107"/>
                <a:gd name="T41" fmla="*/ 878 h 897"/>
                <a:gd name="T42" fmla="*/ 440 w 1107"/>
                <a:gd name="T43" fmla="*/ 872 h 897"/>
                <a:gd name="T44" fmla="*/ 466 w 1107"/>
                <a:gd name="T45" fmla="*/ 764 h 897"/>
                <a:gd name="T46" fmla="*/ 539 w 1107"/>
                <a:gd name="T47" fmla="*/ 755 h 897"/>
                <a:gd name="T48" fmla="*/ 659 w 1107"/>
                <a:gd name="T49" fmla="*/ 743 h 897"/>
                <a:gd name="T50" fmla="*/ 263 w 1107"/>
                <a:gd name="T51" fmla="*/ 452 h 897"/>
                <a:gd name="T52" fmla="*/ 281 w 1107"/>
                <a:gd name="T53" fmla="*/ 633 h 897"/>
                <a:gd name="T54" fmla="*/ 1002 w 1107"/>
                <a:gd name="T55" fmla="*/ 332 h 897"/>
                <a:gd name="T56" fmla="*/ 1043 w 1107"/>
                <a:gd name="T57" fmla="*/ 304 h 897"/>
                <a:gd name="T58" fmla="*/ 1107 w 1107"/>
                <a:gd name="T59" fmla="*/ 266 h 897"/>
                <a:gd name="T60" fmla="*/ 1037 w 1107"/>
                <a:gd name="T61" fmla="*/ 213 h 897"/>
                <a:gd name="T62" fmla="*/ 1077 w 1107"/>
                <a:gd name="T63" fmla="*/ 138 h 897"/>
                <a:gd name="T64" fmla="*/ 1038 w 1107"/>
                <a:gd name="T65" fmla="*/ 83 h 897"/>
                <a:gd name="T66" fmla="*/ 956 w 1107"/>
                <a:gd name="T67" fmla="*/ 91 h 897"/>
                <a:gd name="T68" fmla="*/ 940 w 1107"/>
                <a:gd name="T69" fmla="*/ 7 h 897"/>
                <a:gd name="T70" fmla="*/ 872 w 1107"/>
                <a:gd name="T71" fmla="*/ 50 h 897"/>
                <a:gd name="T72" fmla="*/ 836 w 1107"/>
                <a:gd name="T73" fmla="*/ 74 h 897"/>
                <a:gd name="T74" fmla="*/ 778 w 1107"/>
                <a:gd name="T75" fmla="*/ 35 h 897"/>
                <a:gd name="T76" fmla="*/ 728 w 1107"/>
                <a:gd name="T77" fmla="*/ 70 h 897"/>
                <a:gd name="T78" fmla="*/ 744 w 1107"/>
                <a:gd name="T79" fmla="*/ 136 h 897"/>
                <a:gd name="T80" fmla="*/ 703 w 1107"/>
                <a:gd name="T81" fmla="*/ 164 h 897"/>
                <a:gd name="T82" fmla="*/ 640 w 1107"/>
                <a:gd name="T83" fmla="*/ 203 h 897"/>
                <a:gd name="T84" fmla="*/ 710 w 1107"/>
                <a:gd name="T85" fmla="*/ 255 h 897"/>
                <a:gd name="T86" fmla="*/ 712 w 1107"/>
                <a:gd name="T87" fmla="*/ 277 h 897"/>
                <a:gd name="T88" fmla="*/ 668 w 1107"/>
                <a:gd name="T89" fmla="*/ 347 h 897"/>
                <a:gd name="T90" fmla="*/ 745 w 1107"/>
                <a:gd name="T91" fmla="*/ 361 h 897"/>
                <a:gd name="T92" fmla="*/ 791 w 1107"/>
                <a:gd name="T93" fmla="*/ 377 h 897"/>
                <a:gd name="T94" fmla="*/ 799 w 1107"/>
                <a:gd name="T95" fmla="*/ 443 h 897"/>
                <a:gd name="T96" fmla="*/ 859 w 1107"/>
                <a:gd name="T97" fmla="*/ 456 h 897"/>
                <a:gd name="T98" fmla="*/ 894 w 1107"/>
                <a:gd name="T99" fmla="*/ 393 h 897"/>
                <a:gd name="T100" fmla="*/ 941 w 1107"/>
                <a:gd name="T101" fmla="*/ 401 h 897"/>
                <a:gd name="T102" fmla="*/ 1018 w 1107"/>
                <a:gd name="T103" fmla="*/ 415 h 897"/>
                <a:gd name="T104" fmla="*/ 825 w 1107"/>
                <a:gd name="T105" fmla="*/ 164 h 897"/>
                <a:gd name="T106" fmla="*/ 803 w 1107"/>
                <a:gd name="T107" fmla="*/ 279 h 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107" h="897">
                  <a:moveTo>
                    <a:pt x="654" y="716"/>
                  </a:moveTo>
                  <a:cubicBezTo>
                    <a:pt x="616" y="670"/>
                    <a:pt x="616" y="670"/>
                    <a:pt x="616" y="670"/>
                  </a:cubicBezTo>
                  <a:cubicBezTo>
                    <a:pt x="593" y="654"/>
                    <a:pt x="603" y="638"/>
                    <a:pt x="600" y="625"/>
                  </a:cubicBezTo>
                  <a:cubicBezTo>
                    <a:pt x="600" y="625"/>
                    <a:pt x="600" y="625"/>
                    <a:pt x="600" y="625"/>
                  </a:cubicBezTo>
                  <a:cubicBezTo>
                    <a:pt x="605" y="617"/>
                    <a:pt x="611" y="609"/>
                    <a:pt x="608" y="596"/>
                  </a:cubicBezTo>
                  <a:cubicBezTo>
                    <a:pt x="618" y="580"/>
                    <a:pt x="623" y="572"/>
                    <a:pt x="649" y="567"/>
                  </a:cubicBezTo>
                  <a:cubicBezTo>
                    <a:pt x="715" y="553"/>
                    <a:pt x="715" y="553"/>
                    <a:pt x="715" y="553"/>
                  </a:cubicBezTo>
                  <a:cubicBezTo>
                    <a:pt x="728" y="550"/>
                    <a:pt x="733" y="542"/>
                    <a:pt x="730" y="529"/>
                  </a:cubicBezTo>
                  <a:cubicBezTo>
                    <a:pt x="727" y="482"/>
                    <a:pt x="727" y="482"/>
                    <a:pt x="727" y="482"/>
                  </a:cubicBezTo>
                  <a:cubicBezTo>
                    <a:pt x="724" y="469"/>
                    <a:pt x="717" y="463"/>
                    <a:pt x="701" y="453"/>
                  </a:cubicBezTo>
                  <a:cubicBezTo>
                    <a:pt x="641" y="459"/>
                    <a:pt x="641" y="459"/>
                    <a:pt x="641" y="459"/>
                  </a:cubicBezTo>
                  <a:cubicBezTo>
                    <a:pt x="620" y="457"/>
                    <a:pt x="604" y="447"/>
                    <a:pt x="601" y="434"/>
                  </a:cubicBezTo>
                  <a:cubicBezTo>
                    <a:pt x="598" y="421"/>
                    <a:pt x="590" y="416"/>
                    <a:pt x="580" y="397"/>
                  </a:cubicBezTo>
                  <a:cubicBezTo>
                    <a:pt x="577" y="384"/>
                    <a:pt x="574" y="371"/>
                    <a:pt x="584" y="355"/>
                  </a:cubicBezTo>
                  <a:cubicBezTo>
                    <a:pt x="628" y="305"/>
                    <a:pt x="628" y="305"/>
                    <a:pt x="628" y="305"/>
                  </a:cubicBezTo>
                  <a:cubicBezTo>
                    <a:pt x="634" y="297"/>
                    <a:pt x="631" y="284"/>
                    <a:pt x="623" y="279"/>
                  </a:cubicBezTo>
                  <a:cubicBezTo>
                    <a:pt x="581" y="240"/>
                    <a:pt x="581" y="240"/>
                    <a:pt x="581" y="240"/>
                  </a:cubicBezTo>
                  <a:cubicBezTo>
                    <a:pt x="573" y="235"/>
                    <a:pt x="560" y="238"/>
                    <a:pt x="547" y="240"/>
                  </a:cubicBezTo>
                  <a:cubicBezTo>
                    <a:pt x="503" y="291"/>
                    <a:pt x="503" y="291"/>
                    <a:pt x="503" y="291"/>
                  </a:cubicBezTo>
                  <a:cubicBezTo>
                    <a:pt x="484" y="302"/>
                    <a:pt x="471" y="304"/>
                    <a:pt x="463" y="299"/>
                  </a:cubicBezTo>
                  <a:cubicBezTo>
                    <a:pt x="456" y="294"/>
                    <a:pt x="435" y="292"/>
                    <a:pt x="427" y="287"/>
                  </a:cubicBezTo>
                  <a:cubicBezTo>
                    <a:pt x="419" y="282"/>
                    <a:pt x="403" y="271"/>
                    <a:pt x="400" y="258"/>
                  </a:cubicBezTo>
                  <a:cubicBezTo>
                    <a:pt x="386" y="193"/>
                    <a:pt x="386" y="193"/>
                    <a:pt x="386" y="193"/>
                  </a:cubicBezTo>
                  <a:cubicBezTo>
                    <a:pt x="384" y="180"/>
                    <a:pt x="368" y="170"/>
                    <a:pt x="368" y="170"/>
                  </a:cubicBezTo>
                  <a:cubicBezTo>
                    <a:pt x="308" y="176"/>
                    <a:pt x="308" y="176"/>
                    <a:pt x="308" y="176"/>
                  </a:cubicBezTo>
                  <a:cubicBezTo>
                    <a:pt x="308" y="176"/>
                    <a:pt x="289" y="187"/>
                    <a:pt x="292" y="200"/>
                  </a:cubicBezTo>
                  <a:cubicBezTo>
                    <a:pt x="285" y="263"/>
                    <a:pt x="285" y="263"/>
                    <a:pt x="285" y="263"/>
                  </a:cubicBezTo>
                  <a:cubicBezTo>
                    <a:pt x="291" y="289"/>
                    <a:pt x="277" y="292"/>
                    <a:pt x="272" y="300"/>
                  </a:cubicBezTo>
                  <a:cubicBezTo>
                    <a:pt x="272" y="300"/>
                    <a:pt x="272" y="300"/>
                    <a:pt x="267" y="308"/>
                  </a:cubicBezTo>
                  <a:cubicBezTo>
                    <a:pt x="259" y="302"/>
                    <a:pt x="246" y="305"/>
                    <a:pt x="241" y="313"/>
                  </a:cubicBezTo>
                  <a:cubicBezTo>
                    <a:pt x="236" y="321"/>
                    <a:pt x="236" y="321"/>
                    <a:pt x="236" y="321"/>
                  </a:cubicBezTo>
                  <a:cubicBezTo>
                    <a:pt x="223" y="324"/>
                    <a:pt x="210" y="327"/>
                    <a:pt x="194" y="317"/>
                  </a:cubicBezTo>
                  <a:cubicBezTo>
                    <a:pt x="139" y="281"/>
                    <a:pt x="139" y="281"/>
                    <a:pt x="139" y="281"/>
                  </a:cubicBezTo>
                  <a:cubicBezTo>
                    <a:pt x="131" y="276"/>
                    <a:pt x="110" y="273"/>
                    <a:pt x="104" y="281"/>
                  </a:cubicBezTo>
                  <a:cubicBezTo>
                    <a:pt x="79" y="321"/>
                    <a:pt x="79" y="321"/>
                    <a:pt x="79" y="321"/>
                  </a:cubicBezTo>
                  <a:cubicBezTo>
                    <a:pt x="66" y="324"/>
                    <a:pt x="68" y="337"/>
                    <a:pt x="79" y="355"/>
                  </a:cubicBezTo>
                  <a:cubicBezTo>
                    <a:pt x="121" y="394"/>
                    <a:pt x="121" y="394"/>
                    <a:pt x="121" y="394"/>
                  </a:cubicBezTo>
                  <a:cubicBezTo>
                    <a:pt x="140" y="417"/>
                    <a:pt x="135" y="425"/>
                    <a:pt x="132" y="446"/>
                  </a:cubicBezTo>
                  <a:cubicBezTo>
                    <a:pt x="132" y="446"/>
                    <a:pt x="132" y="446"/>
                    <a:pt x="132" y="446"/>
                  </a:cubicBezTo>
                  <a:cubicBezTo>
                    <a:pt x="127" y="454"/>
                    <a:pt x="122" y="462"/>
                    <a:pt x="117" y="470"/>
                  </a:cubicBezTo>
                  <a:cubicBezTo>
                    <a:pt x="117" y="470"/>
                    <a:pt x="117" y="470"/>
                    <a:pt x="117" y="470"/>
                  </a:cubicBezTo>
                  <a:cubicBezTo>
                    <a:pt x="120" y="483"/>
                    <a:pt x="109" y="499"/>
                    <a:pt x="83" y="505"/>
                  </a:cubicBezTo>
                  <a:cubicBezTo>
                    <a:pt x="23" y="511"/>
                    <a:pt x="23" y="511"/>
                    <a:pt x="23" y="511"/>
                  </a:cubicBezTo>
                  <a:cubicBezTo>
                    <a:pt x="10" y="514"/>
                    <a:pt x="0" y="529"/>
                    <a:pt x="2" y="543"/>
                  </a:cubicBezTo>
                  <a:cubicBezTo>
                    <a:pt x="5" y="590"/>
                    <a:pt x="5" y="590"/>
                    <a:pt x="5" y="590"/>
                  </a:cubicBezTo>
                  <a:cubicBezTo>
                    <a:pt x="8" y="603"/>
                    <a:pt x="16" y="608"/>
                    <a:pt x="37" y="610"/>
                  </a:cubicBezTo>
                  <a:cubicBezTo>
                    <a:pt x="92" y="612"/>
                    <a:pt x="92" y="612"/>
                    <a:pt x="92" y="612"/>
                  </a:cubicBezTo>
                  <a:cubicBezTo>
                    <a:pt x="113" y="614"/>
                    <a:pt x="129" y="625"/>
                    <a:pt x="132" y="638"/>
                  </a:cubicBezTo>
                  <a:cubicBezTo>
                    <a:pt x="132" y="638"/>
                    <a:pt x="132" y="638"/>
                    <a:pt x="132" y="638"/>
                  </a:cubicBezTo>
                  <a:cubicBezTo>
                    <a:pt x="140" y="643"/>
                    <a:pt x="142" y="656"/>
                    <a:pt x="150" y="661"/>
                  </a:cubicBezTo>
                  <a:cubicBezTo>
                    <a:pt x="145" y="669"/>
                    <a:pt x="145" y="669"/>
                    <a:pt x="145" y="669"/>
                  </a:cubicBezTo>
                  <a:cubicBezTo>
                    <a:pt x="153" y="674"/>
                    <a:pt x="156" y="687"/>
                    <a:pt x="140" y="711"/>
                  </a:cubicBezTo>
                  <a:cubicBezTo>
                    <a:pt x="109" y="759"/>
                    <a:pt x="109" y="759"/>
                    <a:pt x="109" y="759"/>
                  </a:cubicBezTo>
                  <a:cubicBezTo>
                    <a:pt x="99" y="775"/>
                    <a:pt x="102" y="788"/>
                    <a:pt x="110" y="793"/>
                  </a:cubicBezTo>
                  <a:cubicBezTo>
                    <a:pt x="152" y="832"/>
                    <a:pt x="152" y="832"/>
                    <a:pt x="152" y="832"/>
                  </a:cubicBezTo>
                  <a:cubicBezTo>
                    <a:pt x="160" y="837"/>
                    <a:pt x="173" y="834"/>
                    <a:pt x="178" y="826"/>
                  </a:cubicBezTo>
                  <a:cubicBezTo>
                    <a:pt x="230" y="781"/>
                    <a:pt x="230" y="781"/>
                    <a:pt x="230" y="781"/>
                  </a:cubicBezTo>
                  <a:cubicBezTo>
                    <a:pt x="248" y="770"/>
                    <a:pt x="261" y="767"/>
                    <a:pt x="269" y="772"/>
                  </a:cubicBezTo>
                  <a:cubicBezTo>
                    <a:pt x="269" y="772"/>
                    <a:pt x="269" y="772"/>
                    <a:pt x="269" y="772"/>
                  </a:cubicBezTo>
                  <a:cubicBezTo>
                    <a:pt x="282" y="769"/>
                    <a:pt x="298" y="779"/>
                    <a:pt x="306" y="785"/>
                  </a:cubicBezTo>
                  <a:cubicBezTo>
                    <a:pt x="306" y="785"/>
                    <a:pt x="306" y="785"/>
                    <a:pt x="306" y="785"/>
                  </a:cubicBezTo>
                  <a:cubicBezTo>
                    <a:pt x="319" y="782"/>
                    <a:pt x="327" y="787"/>
                    <a:pt x="332" y="813"/>
                  </a:cubicBezTo>
                  <a:cubicBezTo>
                    <a:pt x="346" y="878"/>
                    <a:pt x="346" y="878"/>
                    <a:pt x="346" y="878"/>
                  </a:cubicBezTo>
                  <a:cubicBezTo>
                    <a:pt x="349" y="892"/>
                    <a:pt x="357" y="897"/>
                    <a:pt x="370" y="894"/>
                  </a:cubicBezTo>
                  <a:cubicBezTo>
                    <a:pt x="425" y="896"/>
                    <a:pt x="425" y="896"/>
                    <a:pt x="425" y="896"/>
                  </a:cubicBezTo>
                  <a:cubicBezTo>
                    <a:pt x="430" y="888"/>
                    <a:pt x="443" y="885"/>
                    <a:pt x="440" y="872"/>
                  </a:cubicBezTo>
                  <a:cubicBezTo>
                    <a:pt x="440" y="804"/>
                    <a:pt x="440" y="804"/>
                    <a:pt x="440" y="804"/>
                  </a:cubicBezTo>
                  <a:cubicBezTo>
                    <a:pt x="442" y="783"/>
                    <a:pt x="460" y="772"/>
                    <a:pt x="466" y="764"/>
                  </a:cubicBezTo>
                  <a:cubicBezTo>
                    <a:pt x="466" y="764"/>
                    <a:pt x="466" y="764"/>
                    <a:pt x="466" y="764"/>
                  </a:cubicBezTo>
                  <a:cubicBezTo>
                    <a:pt x="479" y="761"/>
                    <a:pt x="492" y="758"/>
                    <a:pt x="497" y="750"/>
                  </a:cubicBezTo>
                  <a:cubicBezTo>
                    <a:pt x="497" y="750"/>
                    <a:pt x="497" y="750"/>
                    <a:pt x="497" y="750"/>
                  </a:cubicBezTo>
                  <a:cubicBezTo>
                    <a:pt x="510" y="747"/>
                    <a:pt x="523" y="745"/>
                    <a:pt x="539" y="755"/>
                  </a:cubicBezTo>
                  <a:cubicBezTo>
                    <a:pt x="594" y="791"/>
                    <a:pt x="594" y="791"/>
                    <a:pt x="594" y="791"/>
                  </a:cubicBezTo>
                  <a:cubicBezTo>
                    <a:pt x="602" y="796"/>
                    <a:pt x="623" y="798"/>
                    <a:pt x="628" y="790"/>
                  </a:cubicBezTo>
                  <a:cubicBezTo>
                    <a:pt x="659" y="743"/>
                    <a:pt x="659" y="743"/>
                    <a:pt x="659" y="743"/>
                  </a:cubicBezTo>
                  <a:cubicBezTo>
                    <a:pt x="659" y="743"/>
                    <a:pt x="669" y="727"/>
                    <a:pt x="654" y="716"/>
                  </a:cubicBezTo>
                  <a:close/>
                  <a:moveTo>
                    <a:pt x="281" y="633"/>
                  </a:moveTo>
                  <a:cubicBezTo>
                    <a:pt x="223" y="584"/>
                    <a:pt x="219" y="502"/>
                    <a:pt x="263" y="452"/>
                  </a:cubicBezTo>
                  <a:cubicBezTo>
                    <a:pt x="313" y="393"/>
                    <a:pt x="399" y="382"/>
                    <a:pt x="457" y="431"/>
                  </a:cubicBezTo>
                  <a:cubicBezTo>
                    <a:pt x="507" y="475"/>
                    <a:pt x="518" y="561"/>
                    <a:pt x="469" y="619"/>
                  </a:cubicBezTo>
                  <a:cubicBezTo>
                    <a:pt x="420" y="678"/>
                    <a:pt x="339" y="682"/>
                    <a:pt x="281" y="633"/>
                  </a:cubicBezTo>
                  <a:close/>
                  <a:moveTo>
                    <a:pt x="1019" y="398"/>
                  </a:moveTo>
                  <a:cubicBezTo>
                    <a:pt x="1004" y="362"/>
                    <a:pt x="1004" y="362"/>
                    <a:pt x="1004" y="362"/>
                  </a:cubicBezTo>
                  <a:cubicBezTo>
                    <a:pt x="992" y="348"/>
                    <a:pt x="1002" y="340"/>
                    <a:pt x="1002" y="332"/>
                  </a:cubicBezTo>
                  <a:cubicBezTo>
                    <a:pt x="1002" y="332"/>
                    <a:pt x="1002" y="332"/>
                    <a:pt x="1002" y="332"/>
                  </a:cubicBezTo>
                  <a:cubicBezTo>
                    <a:pt x="1007" y="328"/>
                    <a:pt x="1011" y="324"/>
                    <a:pt x="1012" y="315"/>
                  </a:cubicBezTo>
                  <a:cubicBezTo>
                    <a:pt x="1021" y="307"/>
                    <a:pt x="1026" y="303"/>
                    <a:pt x="1043" y="304"/>
                  </a:cubicBezTo>
                  <a:cubicBezTo>
                    <a:pt x="1086" y="307"/>
                    <a:pt x="1086" y="307"/>
                    <a:pt x="1086" y="307"/>
                  </a:cubicBezTo>
                  <a:cubicBezTo>
                    <a:pt x="1095" y="308"/>
                    <a:pt x="1099" y="304"/>
                    <a:pt x="1100" y="295"/>
                  </a:cubicBezTo>
                  <a:cubicBezTo>
                    <a:pt x="1107" y="266"/>
                    <a:pt x="1107" y="266"/>
                    <a:pt x="1107" y="266"/>
                  </a:cubicBezTo>
                  <a:cubicBezTo>
                    <a:pt x="1107" y="257"/>
                    <a:pt x="1103" y="252"/>
                    <a:pt x="1095" y="243"/>
                  </a:cubicBezTo>
                  <a:cubicBezTo>
                    <a:pt x="1057" y="236"/>
                    <a:pt x="1057" y="236"/>
                    <a:pt x="1057" y="236"/>
                  </a:cubicBezTo>
                  <a:cubicBezTo>
                    <a:pt x="1044" y="231"/>
                    <a:pt x="1036" y="222"/>
                    <a:pt x="1037" y="213"/>
                  </a:cubicBezTo>
                  <a:cubicBezTo>
                    <a:pt x="1038" y="205"/>
                    <a:pt x="1034" y="200"/>
                    <a:pt x="1030" y="187"/>
                  </a:cubicBezTo>
                  <a:cubicBezTo>
                    <a:pt x="1031" y="178"/>
                    <a:pt x="1032" y="170"/>
                    <a:pt x="1041" y="162"/>
                  </a:cubicBezTo>
                  <a:cubicBezTo>
                    <a:pt x="1077" y="138"/>
                    <a:pt x="1077" y="138"/>
                    <a:pt x="1077" y="138"/>
                  </a:cubicBezTo>
                  <a:cubicBezTo>
                    <a:pt x="1082" y="134"/>
                    <a:pt x="1083" y="126"/>
                    <a:pt x="1079" y="121"/>
                  </a:cubicBezTo>
                  <a:cubicBezTo>
                    <a:pt x="1059" y="89"/>
                    <a:pt x="1059" y="89"/>
                    <a:pt x="1059" y="89"/>
                  </a:cubicBezTo>
                  <a:cubicBezTo>
                    <a:pt x="1055" y="85"/>
                    <a:pt x="1047" y="84"/>
                    <a:pt x="1038" y="83"/>
                  </a:cubicBezTo>
                  <a:cubicBezTo>
                    <a:pt x="1002" y="107"/>
                    <a:pt x="1002" y="107"/>
                    <a:pt x="1002" y="107"/>
                  </a:cubicBezTo>
                  <a:cubicBezTo>
                    <a:pt x="989" y="110"/>
                    <a:pt x="980" y="110"/>
                    <a:pt x="976" y="105"/>
                  </a:cubicBezTo>
                  <a:cubicBezTo>
                    <a:pt x="972" y="100"/>
                    <a:pt x="960" y="95"/>
                    <a:pt x="956" y="91"/>
                  </a:cubicBezTo>
                  <a:cubicBezTo>
                    <a:pt x="952" y="86"/>
                    <a:pt x="944" y="77"/>
                    <a:pt x="944" y="68"/>
                  </a:cubicBezTo>
                  <a:cubicBezTo>
                    <a:pt x="948" y="25"/>
                    <a:pt x="948" y="25"/>
                    <a:pt x="948" y="25"/>
                  </a:cubicBezTo>
                  <a:cubicBezTo>
                    <a:pt x="948" y="17"/>
                    <a:pt x="940" y="7"/>
                    <a:pt x="940" y="7"/>
                  </a:cubicBezTo>
                  <a:cubicBezTo>
                    <a:pt x="902" y="0"/>
                    <a:pt x="902" y="0"/>
                    <a:pt x="902" y="0"/>
                  </a:cubicBezTo>
                  <a:cubicBezTo>
                    <a:pt x="902" y="0"/>
                    <a:pt x="889" y="4"/>
                    <a:pt x="888" y="12"/>
                  </a:cubicBezTo>
                  <a:cubicBezTo>
                    <a:pt x="872" y="50"/>
                    <a:pt x="872" y="50"/>
                    <a:pt x="872" y="50"/>
                  </a:cubicBezTo>
                  <a:cubicBezTo>
                    <a:pt x="871" y="67"/>
                    <a:pt x="862" y="67"/>
                    <a:pt x="858" y="71"/>
                  </a:cubicBezTo>
                  <a:cubicBezTo>
                    <a:pt x="858" y="71"/>
                    <a:pt x="858" y="71"/>
                    <a:pt x="853" y="75"/>
                  </a:cubicBezTo>
                  <a:cubicBezTo>
                    <a:pt x="849" y="70"/>
                    <a:pt x="840" y="70"/>
                    <a:pt x="836" y="74"/>
                  </a:cubicBezTo>
                  <a:cubicBezTo>
                    <a:pt x="831" y="78"/>
                    <a:pt x="831" y="78"/>
                    <a:pt x="831" y="78"/>
                  </a:cubicBezTo>
                  <a:cubicBezTo>
                    <a:pt x="822" y="77"/>
                    <a:pt x="814" y="76"/>
                    <a:pt x="806" y="67"/>
                  </a:cubicBezTo>
                  <a:cubicBezTo>
                    <a:pt x="778" y="35"/>
                    <a:pt x="778" y="35"/>
                    <a:pt x="778" y="35"/>
                  </a:cubicBezTo>
                  <a:cubicBezTo>
                    <a:pt x="774" y="30"/>
                    <a:pt x="762" y="25"/>
                    <a:pt x="757" y="29"/>
                  </a:cubicBezTo>
                  <a:cubicBezTo>
                    <a:pt x="734" y="49"/>
                    <a:pt x="734" y="49"/>
                    <a:pt x="734" y="49"/>
                  </a:cubicBezTo>
                  <a:cubicBezTo>
                    <a:pt x="725" y="49"/>
                    <a:pt x="725" y="57"/>
                    <a:pt x="728" y="70"/>
                  </a:cubicBezTo>
                  <a:cubicBezTo>
                    <a:pt x="747" y="102"/>
                    <a:pt x="747" y="102"/>
                    <a:pt x="747" y="102"/>
                  </a:cubicBezTo>
                  <a:cubicBezTo>
                    <a:pt x="754" y="120"/>
                    <a:pt x="750" y="124"/>
                    <a:pt x="744" y="136"/>
                  </a:cubicBezTo>
                  <a:cubicBezTo>
                    <a:pt x="744" y="136"/>
                    <a:pt x="744" y="136"/>
                    <a:pt x="744" y="136"/>
                  </a:cubicBezTo>
                  <a:cubicBezTo>
                    <a:pt x="740" y="140"/>
                    <a:pt x="735" y="144"/>
                    <a:pt x="731" y="148"/>
                  </a:cubicBezTo>
                  <a:cubicBezTo>
                    <a:pt x="731" y="148"/>
                    <a:pt x="731" y="148"/>
                    <a:pt x="731" y="148"/>
                  </a:cubicBezTo>
                  <a:cubicBezTo>
                    <a:pt x="730" y="157"/>
                    <a:pt x="721" y="165"/>
                    <a:pt x="703" y="164"/>
                  </a:cubicBezTo>
                  <a:cubicBezTo>
                    <a:pt x="665" y="157"/>
                    <a:pt x="665" y="157"/>
                    <a:pt x="665" y="157"/>
                  </a:cubicBezTo>
                  <a:cubicBezTo>
                    <a:pt x="656" y="156"/>
                    <a:pt x="647" y="164"/>
                    <a:pt x="647" y="173"/>
                  </a:cubicBezTo>
                  <a:cubicBezTo>
                    <a:pt x="640" y="203"/>
                    <a:pt x="640" y="203"/>
                    <a:pt x="640" y="203"/>
                  </a:cubicBezTo>
                  <a:cubicBezTo>
                    <a:pt x="639" y="211"/>
                    <a:pt x="643" y="216"/>
                    <a:pt x="656" y="221"/>
                  </a:cubicBezTo>
                  <a:cubicBezTo>
                    <a:pt x="690" y="232"/>
                    <a:pt x="690" y="232"/>
                    <a:pt x="690" y="232"/>
                  </a:cubicBezTo>
                  <a:cubicBezTo>
                    <a:pt x="702" y="237"/>
                    <a:pt x="710" y="246"/>
                    <a:pt x="710" y="255"/>
                  </a:cubicBezTo>
                  <a:cubicBezTo>
                    <a:pt x="710" y="255"/>
                    <a:pt x="710" y="255"/>
                    <a:pt x="710" y="255"/>
                  </a:cubicBezTo>
                  <a:cubicBezTo>
                    <a:pt x="714" y="260"/>
                    <a:pt x="713" y="268"/>
                    <a:pt x="717" y="273"/>
                  </a:cubicBezTo>
                  <a:cubicBezTo>
                    <a:pt x="712" y="277"/>
                    <a:pt x="712" y="277"/>
                    <a:pt x="712" y="277"/>
                  </a:cubicBezTo>
                  <a:cubicBezTo>
                    <a:pt x="716" y="281"/>
                    <a:pt x="716" y="290"/>
                    <a:pt x="702" y="302"/>
                  </a:cubicBezTo>
                  <a:cubicBezTo>
                    <a:pt x="674" y="326"/>
                    <a:pt x="674" y="326"/>
                    <a:pt x="674" y="326"/>
                  </a:cubicBezTo>
                  <a:cubicBezTo>
                    <a:pt x="665" y="334"/>
                    <a:pt x="664" y="343"/>
                    <a:pt x="668" y="347"/>
                  </a:cubicBezTo>
                  <a:cubicBezTo>
                    <a:pt x="687" y="379"/>
                    <a:pt x="687" y="379"/>
                    <a:pt x="687" y="379"/>
                  </a:cubicBezTo>
                  <a:cubicBezTo>
                    <a:pt x="691" y="383"/>
                    <a:pt x="700" y="384"/>
                    <a:pt x="704" y="380"/>
                  </a:cubicBezTo>
                  <a:cubicBezTo>
                    <a:pt x="745" y="361"/>
                    <a:pt x="745" y="361"/>
                    <a:pt x="745" y="361"/>
                  </a:cubicBezTo>
                  <a:cubicBezTo>
                    <a:pt x="758" y="358"/>
                    <a:pt x="767" y="358"/>
                    <a:pt x="771" y="363"/>
                  </a:cubicBezTo>
                  <a:cubicBezTo>
                    <a:pt x="771" y="363"/>
                    <a:pt x="771" y="363"/>
                    <a:pt x="771" y="363"/>
                  </a:cubicBezTo>
                  <a:cubicBezTo>
                    <a:pt x="779" y="364"/>
                    <a:pt x="787" y="373"/>
                    <a:pt x="791" y="377"/>
                  </a:cubicBezTo>
                  <a:cubicBezTo>
                    <a:pt x="791" y="377"/>
                    <a:pt x="791" y="377"/>
                    <a:pt x="791" y="377"/>
                  </a:cubicBezTo>
                  <a:cubicBezTo>
                    <a:pt x="800" y="378"/>
                    <a:pt x="804" y="383"/>
                    <a:pt x="802" y="400"/>
                  </a:cubicBezTo>
                  <a:cubicBezTo>
                    <a:pt x="799" y="443"/>
                    <a:pt x="799" y="443"/>
                    <a:pt x="799" y="443"/>
                  </a:cubicBezTo>
                  <a:cubicBezTo>
                    <a:pt x="798" y="451"/>
                    <a:pt x="802" y="456"/>
                    <a:pt x="811" y="457"/>
                  </a:cubicBezTo>
                  <a:cubicBezTo>
                    <a:pt x="845" y="468"/>
                    <a:pt x="845" y="468"/>
                    <a:pt x="845" y="468"/>
                  </a:cubicBezTo>
                  <a:cubicBezTo>
                    <a:pt x="849" y="464"/>
                    <a:pt x="858" y="464"/>
                    <a:pt x="859" y="456"/>
                  </a:cubicBezTo>
                  <a:cubicBezTo>
                    <a:pt x="871" y="413"/>
                    <a:pt x="871" y="413"/>
                    <a:pt x="871" y="413"/>
                  </a:cubicBezTo>
                  <a:cubicBezTo>
                    <a:pt x="876" y="401"/>
                    <a:pt x="889" y="397"/>
                    <a:pt x="894" y="393"/>
                  </a:cubicBezTo>
                  <a:cubicBezTo>
                    <a:pt x="894" y="393"/>
                    <a:pt x="894" y="393"/>
                    <a:pt x="894" y="393"/>
                  </a:cubicBezTo>
                  <a:cubicBezTo>
                    <a:pt x="902" y="394"/>
                    <a:pt x="911" y="395"/>
                    <a:pt x="916" y="391"/>
                  </a:cubicBezTo>
                  <a:cubicBezTo>
                    <a:pt x="916" y="391"/>
                    <a:pt x="916" y="391"/>
                    <a:pt x="916" y="391"/>
                  </a:cubicBezTo>
                  <a:cubicBezTo>
                    <a:pt x="924" y="391"/>
                    <a:pt x="933" y="392"/>
                    <a:pt x="941" y="401"/>
                  </a:cubicBezTo>
                  <a:cubicBezTo>
                    <a:pt x="969" y="433"/>
                    <a:pt x="969" y="433"/>
                    <a:pt x="969" y="433"/>
                  </a:cubicBezTo>
                  <a:cubicBezTo>
                    <a:pt x="973" y="438"/>
                    <a:pt x="985" y="443"/>
                    <a:pt x="990" y="439"/>
                  </a:cubicBezTo>
                  <a:cubicBezTo>
                    <a:pt x="1018" y="415"/>
                    <a:pt x="1018" y="415"/>
                    <a:pt x="1018" y="415"/>
                  </a:cubicBezTo>
                  <a:cubicBezTo>
                    <a:pt x="1018" y="415"/>
                    <a:pt x="1027" y="407"/>
                    <a:pt x="1019" y="398"/>
                  </a:cubicBezTo>
                  <a:close/>
                  <a:moveTo>
                    <a:pt x="803" y="279"/>
                  </a:moveTo>
                  <a:cubicBezTo>
                    <a:pt x="776" y="238"/>
                    <a:pt x="788" y="187"/>
                    <a:pt x="825" y="164"/>
                  </a:cubicBezTo>
                  <a:cubicBezTo>
                    <a:pt x="866" y="136"/>
                    <a:pt x="921" y="144"/>
                    <a:pt x="948" y="185"/>
                  </a:cubicBezTo>
                  <a:cubicBezTo>
                    <a:pt x="972" y="221"/>
                    <a:pt x="963" y="277"/>
                    <a:pt x="922" y="304"/>
                  </a:cubicBezTo>
                  <a:cubicBezTo>
                    <a:pt x="881" y="332"/>
                    <a:pt x="830" y="320"/>
                    <a:pt x="803" y="279"/>
                  </a:cubicBezTo>
                  <a:close/>
                </a:path>
              </a:pathLst>
            </a:custGeom>
            <a:solidFill>
              <a:schemeClr val="tx1"/>
            </a:solidFill>
            <a:ln>
              <a:noFill/>
            </a:ln>
          </p:spPr>
          <p:txBody>
            <a:bodyPr vert="horz" wrap="square" lIns="68574" tIns="34287" rIns="68574" bIns="34287"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17346"/>
                </a:solidFill>
                <a:effectLst/>
                <a:uLnTx/>
                <a:uFillTx/>
                <a:latin typeface="Segoe UI"/>
                <a:ea typeface="+mn-ea"/>
                <a:cs typeface="+mn-cs"/>
              </a:endParaRPr>
            </a:p>
          </p:txBody>
        </p:sp>
        <p:sp>
          <p:nvSpPr>
            <p:cNvPr id="104" name="Freeform 103"/>
            <p:cNvSpPr>
              <a:spLocks noChangeAspect="1"/>
            </p:cNvSpPr>
            <p:nvPr/>
          </p:nvSpPr>
          <p:spPr bwMode="black">
            <a:xfrm>
              <a:off x="776985" y="4213905"/>
              <a:ext cx="342871" cy="335728"/>
            </a:xfrm>
            <a:custGeom>
              <a:avLst/>
              <a:gdLst>
                <a:gd name="connsiteX0" fmla="*/ 3713863 w 4893730"/>
                <a:gd name="connsiteY0" fmla="*/ 2130808 h 4791777"/>
                <a:gd name="connsiteX1" fmla="*/ 4426142 w 4893730"/>
                <a:gd name="connsiteY1" fmla="*/ 2130808 h 4791777"/>
                <a:gd name="connsiteX2" fmla="*/ 4598071 w 4893730"/>
                <a:gd name="connsiteY2" fmla="*/ 2301547 h 4791777"/>
                <a:gd name="connsiteX3" fmla="*/ 4598071 w 4893730"/>
                <a:gd name="connsiteY3" fmla="*/ 3886978 h 4791777"/>
                <a:gd name="connsiteX4" fmla="*/ 4426142 w 4893730"/>
                <a:gd name="connsiteY4" fmla="*/ 4057717 h 4791777"/>
                <a:gd name="connsiteX5" fmla="*/ 3713863 w 4893730"/>
                <a:gd name="connsiteY5" fmla="*/ 4057717 h 4791777"/>
                <a:gd name="connsiteX6" fmla="*/ 3517372 w 4893730"/>
                <a:gd name="connsiteY6" fmla="*/ 3886978 h 4791777"/>
                <a:gd name="connsiteX7" fmla="*/ 3517372 w 4893730"/>
                <a:gd name="connsiteY7" fmla="*/ 2301547 h 4791777"/>
                <a:gd name="connsiteX8" fmla="*/ 3713863 w 4893730"/>
                <a:gd name="connsiteY8" fmla="*/ 2130808 h 4791777"/>
                <a:gd name="connsiteX9" fmla="*/ 904368 w 4893730"/>
                <a:gd name="connsiteY9" fmla="*/ 1223432 h 4791777"/>
                <a:gd name="connsiteX10" fmla="*/ 1609930 w 4893730"/>
                <a:gd name="connsiteY10" fmla="*/ 1223432 h 4791777"/>
                <a:gd name="connsiteX11" fmla="*/ 1804567 w 4893730"/>
                <a:gd name="connsiteY11" fmla="*/ 1394467 h 4791777"/>
                <a:gd name="connsiteX12" fmla="*/ 1804567 w 4893730"/>
                <a:gd name="connsiteY12" fmla="*/ 3886683 h 4791777"/>
                <a:gd name="connsiteX13" fmla="*/ 1609930 w 4893730"/>
                <a:gd name="connsiteY13" fmla="*/ 4057717 h 4791777"/>
                <a:gd name="connsiteX14" fmla="*/ 904368 w 4893730"/>
                <a:gd name="connsiteY14" fmla="*/ 4057717 h 4791777"/>
                <a:gd name="connsiteX15" fmla="*/ 734060 w 4893730"/>
                <a:gd name="connsiteY15" fmla="*/ 3886683 h 4791777"/>
                <a:gd name="connsiteX16" fmla="*/ 734060 w 4893730"/>
                <a:gd name="connsiteY16" fmla="*/ 1394467 h 4791777"/>
                <a:gd name="connsiteX17" fmla="*/ 904368 w 4893730"/>
                <a:gd name="connsiteY17" fmla="*/ 1223432 h 4791777"/>
                <a:gd name="connsiteX18" fmla="*/ 2325453 w 4893730"/>
                <a:gd name="connsiteY18" fmla="*/ 316050 h 4791777"/>
                <a:gd name="connsiteX19" fmla="*/ 3031014 w 4893730"/>
                <a:gd name="connsiteY19" fmla="*/ 316050 h 4791777"/>
                <a:gd name="connsiteX20" fmla="*/ 3201322 w 4893730"/>
                <a:gd name="connsiteY20" fmla="*/ 487238 h 4791777"/>
                <a:gd name="connsiteX21" fmla="*/ 3201322 w 4893730"/>
                <a:gd name="connsiteY21" fmla="*/ 3886530 h 4791777"/>
                <a:gd name="connsiteX22" fmla="*/ 3031014 w 4893730"/>
                <a:gd name="connsiteY22" fmla="*/ 4057717 h 4791777"/>
                <a:gd name="connsiteX23" fmla="*/ 2325453 w 4893730"/>
                <a:gd name="connsiteY23" fmla="*/ 4057717 h 4791777"/>
                <a:gd name="connsiteX24" fmla="*/ 2130815 w 4893730"/>
                <a:gd name="connsiteY24" fmla="*/ 3886530 h 4791777"/>
                <a:gd name="connsiteX25" fmla="*/ 2130815 w 4893730"/>
                <a:gd name="connsiteY25" fmla="*/ 487238 h 4791777"/>
                <a:gd name="connsiteX26" fmla="*/ 2325453 w 4893730"/>
                <a:gd name="connsiteY26" fmla="*/ 316050 h 4791777"/>
                <a:gd name="connsiteX27" fmla="*/ 269155 w 4893730"/>
                <a:gd name="connsiteY27" fmla="*/ 0 h 4791777"/>
                <a:gd name="connsiteX28" fmla="*/ 538311 w 4893730"/>
                <a:gd name="connsiteY28" fmla="*/ 268927 h 4791777"/>
                <a:gd name="connsiteX29" fmla="*/ 538311 w 4893730"/>
                <a:gd name="connsiteY29" fmla="*/ 4253925 h 4791777"/>
                <a:gd name="connsiteX30" fmla="*/ 4624575 w 4893730"/>
                <a:gd name="connsiteY30" fmla="*/ 4253925 h 4791777"/>
                <a:gd name="connsiteX31" fmla="*/ 4893730 w 4893730"/>
                <a:gd name="connsiteY31" fmla="*/ 4522851 h 4791777"/>
                <a:gd name="connsiteX32" fmla="*/ 4624575 w 4893730"/>
                <a:gd name="connsiteY32" fmla="*/ 4791777 h 4791777"/>
                <a:gd name="connsiteX33" fmla="*/ 269155 w 4893730"/>
                <a:gd name="connsiteY33" fmla="*/ 4791777 h 4791777"/>
                <a:gd name="connsiteX34" fmla="*/ 0 w 4893730"/>
                <a:gd name="connsiteY34" fmla="*/ 4522851 h 4791777"/>
                <a:gd name="connsiteX35" fmla="*/ 0 w 4893730"/>
                <a:gd name="connsiteY35" fmla="*/ 268927 h 4791777"/>
                <a:gd name="connsiteX36" fmla="*/ 269155 w 4893730"/>
                <a:gd name="connsiteY36" fmla="*/ 0 h 4791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4893730" h="4791777">
                  <a:moveTo>
                    <a:pt x="3713863" y="2130808"/>
                  </a:moveTo>
                  <a:cubicBezTo>
                    <a:pt x="3713863" y="2130808"/>
                    <a:pt x="3713863" y="2130808"/>
                    <a:pt x="4426142" y="2130808"/>
                  </a:cubicBezTo>
                  <a:cubicBezTo>
                    <a:pt x="4524387" y="2130808"/>
                    <a:pt x="4598071" y="2203982"/>
                    <a:pt x="4598071" y="2301547"/>
                  </a:cubicBezTo>
                  <a:cubicBezTo>
                    <a:pt x="4598071" y="2301547"/>
                    <a:pt x="4598071" y="2301547"/>
                    <a:pt x="4598071" y="3886978"/>
                  </a:cubicBezTo>
                  <a:cubicBezTo>
                    <a:pt x="4598071" y="3984543"/>
                    <a:pt x="4524387" y="4057717"/>
                    <a:pt x="4426142" y="4057717"/>
                  </a:cubicBezTo>
                  <a:cubicBezTo>
                    <a:pt x="4426142" y="4057717"/>
                    <a:pt x="4426142" y="4057717"/>
                    <a:pt x="3713863" y="4057717"/>
                  </a:cubicBezTo>
                  <a:cubicBezTo>
                    <a:pt x="3615618" y="4057717"/>
                    <a:pt x="3517372" y="3984543"/>
                    <a:pt x="3517372" y="3886978"/>
                  </a:cubicBezTo>
                  <a:cubicBezTo>
                    <a:pt x="3517372" y="3886978"/>
                    <a:pt x="3517372" y="3886978"/>
                    <a:pt x="3517372" y="2301547"/>
                  </a:cubicBezTo>
                  <a:cubicBezTo>
                    <a:pt x="3517372" y="2203982"/>
                    <a:pt x="3615618" y="2130808"/>
                    <a:pt x="3713863" y="2130808"/>
                  </a:cubicBezTo>
                  <a:close/>
                  <a:moveTo>
                    <a:pt x="904368" y="1223432"/>
                  </a:moveTo>
                  <a:cubicBezTo>
                    <a:pt x="904368" y="1223432"/>
                    <a:pt x="904368" y="1223432"/>
                    <a:pt x="1609930" y="1223432"/>
                  </a:cubicBezTo>
                  <a:cubicBezTo>
                    <a:pt x="1731578" y="1223432"/>
                    <a:pt x="1804567" y="1296733"/>
                    <a:pt x="1804567" y="1394467"/>
                  </a:cubicBezTo>
                  <a:cubicBezTo>
                    <a:pt x="1804567" y="1394467"/>
                    <a:pt x="1804567" y="1394467"/>
                    <a:pt x="1804567" y="3886683"/>
                  </a:cubicBezTo>
                  <a:cubicBezTo>
                    <a:pt x="1804567" y="3984417"/>
                    <a:pt x="1731578" y="4057717"/>
                    <a:pt x="1609930" y="4057717"/>
                  </a:cubicBezTo>
                  <a:cubicBezTo>
                    <a:pt x="1609930" y="4057717"/>
                    <a:pt x="1609930" y="4057717"/>
                    <a:pt x="904368" y="4057717"/>
                  </a:cubicBezTo>
                  <a:cubicBezTo>
                    <a:pt x="807049" y="4057717"/>
                    <a:pt x="734060" y="3984417"/>
                    <a:pt x="734060" y="3886683"/>
                  </a:cubicBezTo>
                  <a:cubicBezTo>
                    <a:pt x="734060" y="3886683"/>
                    <a:pt x="734060" y="3886683"/>
                    <a:pt x="734060" y="1394467"/>
                  </a:cubicBezTo>
                  <a:cubicBezTo>
                    <a:pt x="734060" y="1296733"/>
                    <a:pt x="807049" y="1223432"/>
                    <a:pt x="904368" y="1223432"/>
                  </a:cubicBezTo>
                  <a:close/>
                  <a:moveTo>
                    <a:pt x="2325453" y="316050"/>
                  </a:moveTo>
                  <a:cubicBezTo>
                    <a:pt x="2325453" y="316050"/>
                    <a:pt x="2325453" y="316050"/>
                    <a:pt x="3031014" y="316050"/>
                  </a:cubicBezTo>
                  <a:cubicBezTo>
                    <a:pt x="3128333" y="316050"/>
                    <a:pt x="3201322" y="389416"/>
                    <a:pt x="3201322" y="487238"/>
                  </a:cubicBezTo>
                  <a:cubicBezTo>
                    <a:pt x="3201322" y="487238"/>
                    <a:pt x="3201322" y="487238"/>
                    <a:pt x="3201322" y="3886530"/>
                  </a:cubicBezTo>
                  <a:cubicBezTo>
                    <a:pt x="3201322" y="3984351"/>
                    <a:pt x="3128333" y="4057717"/>
                    <a:pt x="3031014" y="4057717"/>
                  </a:cubicBezTo>
                  <a:cubicBezTo>
                    <a:pt x="3031014" y="4057717"/>
                    <a:pt x="3031014" y="4057717"/>
                    <a:pt x="2325453" y="4057717"/>
                  </a:cubicBezTo>
                  <a:cubicBezTo>
                    <a:pt x="2203804" y="4057717"/>
                    <a:pt x="2130815" y="3984351"/>
                    <a:pt x="2130815" y="3886530"/>
                  </a:cubicBezTo>
                  <a:cubicBezTo>
                    <a:pt x="2130815" y="3886530"/>
                    <a:pt x="2130815" y="3886530"/>
                    <a:pt x="2130815" y="487238"/>
                  </a:cubicBezTo>
                  <a:cubicBezTo>
                    <a:pt x="2130815" y="389416"/>
                    <a:pt x="2203804" y="316050"/>
                    <a:pt x="2325453" y="316050"/>
                  </a:cubicBezTo>
                  <a:close/>
                  <a:moveTo>
                    <a:pt x="269155" y="0"/>
                  </a:moveTo>
                  <a:cubicBezTo>
                    <a:pt x="415967" y="0"/>
                    <a:pt x="538311" y="122239"/>
                    <a:pt x="538311" y="268927"/>
                  </a:cubicBezTo>
                  <a:cubicBezTo>
                    <a:pt x="538311" y="268927"/>
                    <a:pt x="538311" y="268927"/>
                    <a:pt x="538311" y="4253925"/>
                  </a:cubicBezTo>
                  <a:cubicBezTo>
                    <a:pt x="538311" y="4253925"/>
                    <a:pt x="538311" y="4253925"/>
                    <a:pt x="4624575" y="4253925"/>
                  </a:cubicBezTo>
                  <a:cubicBezTo>
                    <a:pt x="4771387" y="4253925"/>
                    <a:pt x="4893730" y="4376164"/>
                    <a:pt x="4893730" y="4522851"/>
                  </a:cubicBezTo>
                  <a:cubicBezTo>
                    <a:pt x="4893730" y="4669538"/>
                    <a:pt x="4771387" y="4791777"/>
                    <a:pt x="4624575" y="4791777"/>
                  </a:cubicBezTo>
                  <a:cubicBezTo>
                    <a:pt x="4624575" y="4791777"/>
                    <a:pt x="4624575" y="4791777"/>
                    <a:pt x="269155" y="4791777"/>
                  </a:cubicBezTo>
                  <a:cubicBezTo>
                    <a:pt x="122344" y="4791777"/>
                    <a:pt x="0" y="4669538"/>
                    <a:pt x="0" y="4522851"/>
                  </a:cubicBezTo>
                  <a:cubicBezTo>
                    <a:pt x="0" y="4522851"/>
                    <a:pt x="0" y="4522851"/>
                    <a:pt x="0" y="268927"/>
                  </a:cubicBezTo>
                  <a:cubicBezTo>
                    <a:pt x="0" y="122239"/>
                    <a:pt x="122344" y="0"/>
                    <a:pt x="269155"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37148" tIns="109719" rIns="137148" bIns="109719"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699261"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5" name="Rectangle 104"/>
            <p:cNvSpPr/>
            <p:nvPr/>
          </p:nvSpPr>
          <p:spPr bwMode="auto">
            <a:xfrm rot="2745734">
              <a:off x="886688" y="2210975"/>
              <a:ext cx="1598323" cy="1625795"/>
            </a:xfrm>
            <a:prstGeom prst="rect">
              <a:avLst/>
            </a:prstGeom>
            <a:solidFill>
              <a:schemeClr val="tx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6" name="Rectangle 105"/>
            <p:cNvSpPr/>
            <p:nvPr/>
          </p:nvSpPr>
          <p:spPr bwMode="auto">
            <a:xfrm rot="2745734">
              <a:off x="292433" y="3819160"/>
              <a:ext cx="1610349" cy="1235003"/>
            </a:xfrm>
            <a:prstGeom prst="rect">
              <a:avLst/>
            </a:prstGeom>
            <a:solidFill>
              <a:schemeClr val="tx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7" name="Rectangle 106"/>
            <p:cNvSpPr/>
            <p:nvPr/>
          </p:nvSpPr>
          <p:spPr bwMode="auto">
            <a:xfrm rot="2745734">
              <a:off x="1315610" y="4915701"/>
              <a:ext cx="1263370" cy="1255989"/>
            </a:xfrm>
            <a:prstGeom prst="rect">
              <a:avLst/>
            </a:prstGeom>
            <a:solidFill>
              <a:schemeClr val="tx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40" name="TextBox 39"/>
          <p:cNvSpPr txBox="1"/>
          <p:nvPr/>
        </p:nvSpPr>
        <p:spPr>
          <a:xfrm>
            <a:off x="3" y="51415"/>
            <a:ext cx="2849058" cy="430887"/>
          </a:xfrm>
          <a:prstGeom prst="rect">
            <a:avLst/>
          </a:prstGeom>
        </p:spPr>
        <p:txBody>
          <a:bodyPr wrap="square">
            <a:spAutoFit/>
          </a:bodyPr>
          <a:lstStyle>
            <a:defPPr>
              <a:defRPr lang="en-US"/>
            </a:defPPr>
            <a:lvl1pPr defTabSz="914192">
              <a:defRPr sz="2800" b="1" spc="-100">
                <a:ln w="3175">
                  <a:noFill/>
                </a:ln>
                <a:solidFill>
                  <a:srgbClr val="F2C812"/>
                </a:solidFill>
                <a:latin typeface="Segoe UI" panose="020B0502040204020203" pitchFamily="34" charset="0"/>
                <a:ea typeface="ＭＳ Ｐゴシック" charset="0"/>
                <a:cs typeface="Segoe UI" panose="020B0502040204020203" pitchFamily="34" charset="0"/>
              </a:defRPr>
            </a:lvl1pPr>
          </a:lstStyle>
          <a:p>
            <a:pPr marL="0" marR="0" lvl="0" indent="0" algn="l" defTabSz="914192" rtl="0" eaLnBrk="1" fontAlgn="auto" latinLnBrk="0" hangingPunct="1">
              <a:lnSpc>
                <a:spcPct val="100000"/>
              </a:lnSpc>
              <a:spcBef>
                <a:spcPts val="0"/>
              </a:spcBef>
              <a:spcAft>
                <a:spcPts val="0"/>
              </a:spcAft>
              <a:buClrTx/>
              <a:buSzTx/>
              <a:buFontTx/>
              <a:buNone/>
              <a:tabLst/>
              <a:defRPr/>
            </a:pPr>
            <a:r>
              <a:rPr kumimoji="0" lang="en-US" sz="2200" b="1" i="0" u="none" strike="noStrike" kern="1200" cap="none" spc="-100" normalizeH="0" baseline="0" noProof="0">
                <a:ln w="3175">
                  <a:noFill/>
                </a:ln>
                <a:solidFill>
                  <a:srgbClr val="F2C812"/>
                </a:solidFill>
                <a:effectLst/>
                <a:uLnTx/>
                <a:uFillTx/>
                <a:latin typeface="Segoe UI Light"/>
                <a:ea typeface="ＭＳ Ｐゴシック" charset="0"/>
                <a:cs typeface="Segoe UI" panose="020B0502040204020203" pitchFamily="34" charset="0"/>
              </a:rPr>
              <a:t>Power BI Desktop</a:t>
            </a:r>
          </a:p>
        </p:txBody>
      </p:sp>
      <p:sp>
        <p:nvSpPr>
          <p:cNvPr id="41" name="Text Placeholder 2"/>
          <p:cNvSpPr txBox="1">
            <a:spLocks/>
          </p:cNvSpPr>
          <p:nvPr/>
        </p:nvSpPr>
        <p:spPr>
          <a:xfrm>
            <a:off x="3166453" y="3719052"/>
            <a:ext cx="9079770" cy="944045"/>
          </a:xfrm>
          <a:prstGeom prst="rect">
            <a:avLst/>
          </a:prstGeom>
        </p:spPr>
        <p:txBody>
          <a:bodyPr vert="horz" wrap="square" lIns="182880" tIns="146304" rIns="182880" bIns="146304" rtlCol="0">
            <a:noAutofit/>
          </a:bodyPr>
          <a:lstStyle>
            <a:lvl1pPr marL="182845" marR="0"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3921" kern="1200" spc="0" baseline="0">
                <a:gradFill>
                  <a:gsLst>
                    <a:gs pos="1250">
                      <a:schemeClr val="tx2"/>
                    </a:gs>
                    <a:gs pos="99000">
                      <a:schemeClr val="tx2"/>
                    </a:gs>
                  </a:gsLst>
                  <a:lin ang="5400000" scaled="0"/>
                </a:gradFill>
                <a:latin typeface="+mj-lt"/>
                <a:ea typeface="+mn-ea"/>
                <a:cs typeface="+mn-cs"/>
              </a:defRPr>
            </a:lvl1pPr>
            <a:lvl2pPr marL="365690" marR="0"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2400" kern="1200" spc="0" baseline="0">
                <a:solidFill>
                  <a:schemeClr val="tx2"/>
                </a:solidFill>
                <a:latin typeface="+mj-lt"/>
                <a:ea typeface="+mn-ea"/>
                <a:cs typeface="+mn-cs"/>
              </a:defRPr>
            </a:lvl2pPr>
            <a:lvl3pPr marL="548535" marR="0"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2000" kern="1200" spc="0" baseline="0">
                <a:solidFill>
                  <a:schemeClr val="tx2"/>
                </a:solidFill>
                <a:latin typeface="+mj-lt"/>
                <a:ea typeface="+mn-ea"/>
                <a:cs typeface="+mn-cs"/>
              </a:defRPr>
            </a:lvl3pPr>
            <a:lvl4pPr marL="733802" marR="0" indent="-28569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1765" kern="1200" spc="0" baseline="0">
                <a:solidFill>
                  <a:schemeClr val="tx2"/>
                </a:solidFill>
                <a:latin typeface="+mn-lt"/>
                <a:ea typeface="+mn-ea"/>
                <a:cs typeface="+mn-cs"/>
              </a:defRPr>
            </a:lvl4pPr>
            <a:lvl5pPr marL="957856" marR="0" indent="-28569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1765" kern="1200" spc="0" baseline="0">
                <a:solidFill>
                  <a:schemeClr val="tx2"/>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342900" marR="0" lvl="0" indent="-342900" algn="l" defTabSz="914400" rtl="0" eaLnBrk="1" fontAlgn="base" latinLnBrk="0" hangingPunct="1">
              <a:lnSpc>
                <a:spcPct val="100000"/>
              </a:lnSpc>
              <a:spcBef>
                <a:spcPts val="0"/>
              </a:spcBef>
              <a:spcAft>
                <a:spcPts val="300"/>
              </a:spcAft>
              <a:buClrTx/>
              <a:buSzPct val="90000"/>
              <a:buFont typeface="Symbol" panose="05050102010706020507" pitchFamily="18" charset="2"/>
              <a:buChar char=""/>
              <a:tabLst/>
              <a:defRPr/>
            </a:pPr>
            <a:r>
              <a:rPr kumimoji="0" lang="en-US" sz="1800" b="0" i="0" u="none" strike="noStrike" kern="1200" cap="none" spc="0" normalizeH="0" baseline="0" noProof="0">
                <a:ln>
                  <a:noFill/>
                </a:ln>
                <a:solidFill>
                  <a:prstClr val="black"/>
                </a:solidFill>
                <a:effectLst/>
                <a:uLnTx/>
                <a:uFillTx/>
                <a:latin typeface="Segoe UI Light"/>
                <a:ea typeface="Calibri" panose="020F0502020204030204" pitchFamily="34" charset="0"/>
                <a:cs typeface="Times New Roman" panose="02020603050405020304" pitchFamily="18" charset="0"/>
              </a:rPr>
              <a:t>The </a:t>
            </a:r>
            <a:r>
              <a:rPr kumimoji="0" lang="en-US" sz="1800" b="1" i="0" u="none" strike="noStrike" kern="1200" cap="none" spc="0" normalizeH="0" baseline="0" noProof="0">
                <a:ln>
                  <a:noFill/>
                </a:ln>
                <a:solidFill>
                  <a:prstClr val="black"/>
                </a:solidFill>
                <a:effectLst/>
                <a:uLnTx/>
                <a:uFillTx/>
                <a:latin typeface="Segoe UI Light"/>
                <a:ea typeface="Calibri" panose="020F0502020204030204" pitchFamily="34" charset="0"/>
                <a:cs typeface="Times New Roman" panose="02020603050405020304" pitchFamily="18" charset="0"/>
              </a:rPr>
              <a:t>“View”</a:t>
            </a:r>
            <a:r>
              <a:rPr kumimoji="0" lang="en-US" sz="1800" b="0" i="0" u="none" strike="noStrike" kern="1200" cap="none" spc="0" normalizeH="0" baseline="0" noProof="0">
                <a:ln>
                  <a:noFill/>
                </a:ln>
                <a:solidFill>
                  <a:prstClr val="black"/>
                </a:solidFill>
                <a:effectLst/>
                <a:uLnTx/>
                <a:uFillTx/>
                <a:latin typeface="Segoe UI Light"/>
                <a:ea typeface="Calibri" panose="020F0502020204030204" pitchFamily="34" charset="0"/>
                <a:cs typeface="Times New Roman" panose="02020603050405020304" pitchFamily="18" charset="0"/>
              </a:rPr>
              <a:t> tab provides access to </a:t>
            </a:r>
            <a:r>
              <a:rPr kumimoji="0" lang="en-US" sz="1800" b="1" i="0" u="none" strike="noStrike" kern="1200" cap="none" spc="0" normalizeH="0" baseline="0" noProof="0">
                <a:ln>
                  <a:noFill/>
                </a:ln>
                <a:solidFill>
                  <a:prstClr val="black"/>
                </a:solidFill>
                <a:effectLst/>
                <a:uLnTx/>
                <a:uFillTx/>
                <a:latin typeface="Segoe UI Light"/>
                <a:ea typeface="Calibri" panose="020F0502020204030204" pitchFamily="34" charset="0"/>
                <a:cs typeface="Times New Roman" panose="02020603050405020304" pitchFamily="18" charset="0"/>
              </a:rPr>
              <a:t>query settings</a:t>
            </a:r>
            <a:r>
              <a:rPr kumimoji="0" lang="en-US" sz="1800" b="0" i="0" u="none" strike="noStrike" kern="1200" cap="none" spc="0" normalizeH="0" baseline="0" noProof="0">
                <a:ln>
                  <a:noFill/>
                </a:ln>
                <a:solidFill>
                  <a:prstClr val="black"/>
                </a:solidFill>
                <a:effectLst/>
                <a:uLnTx/>
                <a:uFillTx/>
                <a:latin typeface="Segoe UI Light"/>
                <a:ea typeface="Calibri" panose="020F0502020204030204" pitchFamily="34" charset="0"/>
                <a:cs typeface="Times New Roman" panose="02020603050405020304" pitchFamily="18" charset="0"/>
              </a:rPr>
              <a:t> and the </a:t>
            </a:r>
            <a:r>
              <a:rPr kumimoji="0" lang="en-US" sz="1800" b="1" i="0" u="none" strike="noStrike" kern="1200" cap="none" spc="0" normalizeH="0" baseline="0" noProof="0">
                <a:ln>
                  <a:noFill/>
                </a:ln>
                <a:solidFill>
                  <a:prstClr val="black"/>
                </a:solidFill>
                <a:effectLst/>
                <a:uLnTx/>
                <a:uFillTx/>
                <a:latin typeface="Segoe UI Light"/>
                <a:ea typeface="Calibri" panose="020F0502020204030204" pitchFamily="34" charset="0"/>
                <a:cs typeface="Times New Roman" panose="02020603050405020304" pitchFamily="18" charset="0"/>
              </a:rPr>
              <a:t>Advanced Editor</a:t>
            </a:r>
            <a:r>
              <a:rPr kumimoji="0" lang="en-US" sz="1800" b="0" i="0" u="none" strike="noStrike" kern="1200" cap="none" spc="0" normalizeH="0" baseline="0" noProof="0">
                <a:ln>
                  <a:noFill/>
                </a:ln>
                <a:solidFill>
                  <a:prstClr val="black"/>
                </a:solidFill>
                <a:effectLst/>
                <a:uLnTx/>
                <a:uFillTx/>
                <a:latin typeface="Segoe UI Light"/>
                <a:ea typeface="Calibri" panose="020F0502020204030204" pitchFamily="34" charset="0"/>
                <a:cs typeface="Times New Roman" panose="02020603050405020304" pitchFamily="18" charset="0"/>
              </a:rPr>
              <a:t> where we can develop our own data transformation scripts.</a:t>
            </a:r>
          </a:p>
          <a:p>
            <a:pPr marL="342900" marR="0" lvl="0" indent="-342900" algn="l" defTabSz="914400" rtl="0" eaLnBrk="1" fontAlgn="base" latinLnBrk="0" hangingPunct="1">
              <a:lnSpc>
                <a:spcPct val="100000"/>
              </a:lnSpc>
              <a:spcBef>
                <a:spcPts val="0"/>
              </a:spcBef>
              <a:spcAft>
                <a:spcPts val="300"/>
              </a:spcAft>
              <a:buClrTx/>
              <a:buSzPct val="90000"/>
              <a:buFont typeface="Symbol" panose="05050102010706020507" pitchFamily="18" charset="2"/>
              <a:buChar char=""/>
              <a:tabLst/>
              <a:defRPr/>
            </a:pPr>
            <a:endParaRPr kumimoji="0" lang="en-US" sz="1800" b="1" i="0" u="none" strike="noStrike" kern="1200" cap="none" spc="0" normalizeH="0" baseline="0" noProof="0">
              <a:ln>
                <a:noFill/>
              </a:ln>
              <a:solidFill>
                <a:prstClr val="black"/>
              </a:solidFill>
              <a:effectLst/>
              <a:uLnTx/>
              <a:uFillTx/>
              <a:latin typeface="Segoe UI Light"/>
              <a:ea typeface="Calibri" panose="020F0502020204030204" pitchFamily="34" charset="0"/>
              <a:cs typeface="Times New Roman" panose="02020603050405020304" pitchFamily="18" charset="0"/>
            </a:endParaRPr>
          </a:p>
        </p:txBody>
      </p:sp>
      <p:sp>
        <p:nvSpPr>
          <p:cNvPr id="43" name="Text Placeholder 2"/>
          <p:cNvSpPr txBox="1">
            <a:spLocks/>
          </p:cNvSpPr>
          <p:nvPr/>
        </p:nvSpPr>
        <p:spPr>
          <a:xfrm>
            <a:off x="3061868" y="1369312"/>
            <a:ext cx="9079770" cy="944045"/>
          </a:xfrm>
          <a:prstGeom prst="rect">
            <a:avLst/>
          </a:prstGeom>
        </p:spPr>
        <p:txBody>
          <a:bodyPr vert="horz" wrap="square" lIns="182880" tIns="146304" rIns="182880" bIns="146304" rtlCol="0">
            <a:noAutofit/>
          </a:bodyPr>
          <a:lstStyle>
            <a:lvl1pPr marL="182845" marR="0"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3921" kern="1200" spc="0" baseline="0">
                <a:gradFill>
                  <a:gsLst>
                    <a:gs pos="1250">
                      <a:schemeClr val="tx2"/>
                    </a:gs>
                    <a:gs pos="99000">
                      <a:schemeClr val="tx2"/>
                    </a:gs>
                  </a:gsLst>
                  <a:lin ang="5400000" scaled="0"/>
                </a:gradFill>
                <a:latin typeface="+mj-lt"/>
                <a:ea typeface="+mn-ea"/>
                <a:cs typeface="+mn-cs"/>
              </a:defRPr>
            </a:lvl1pPr>
            <a:lvl2pPr marL="365690" marR="0"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2400" kern="1200" spc="0" baseline="0">
                <a:solidFill>
                  <a:schemeClr val="tx2"/>
                </a:solidFill>
                <a:latin typeface="+mj-lt"/>
                <a:ea typeface="+mn-ea"/>
                <a:cs typeface="+mn-cs"/>
              </a:defRPr>
            </a:lvl2pPr>
            <a:lvl3pPr marL="548535" marR="0"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2000" kern="1200" spc="0" baseline="0">
                <a:solidFill>
                  <a:schemeClr val="tx2"/>
                </a:solidFill>
                <a:latin typeface="+mj-lt"/>
                <a:ea typeface="+mn-ea"/>
                <a:cs typeface="+mn-cs"/>
              </a:defRPr>
            </a:lvl3pPr>
            <a:lvl4pPr marL="733802" marR="0" indent="-28569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1765" kern="1200" spc="0" baseline="0">
                <a:solidFill>
                  <a:schemeClr val="tx2"/>
                </a:solidFill>
                <a:latin typeface="+mn-lt"/>
                <a:ea typeface="+mn-ea"/>
                <a:cs typeface="+mn-cs"/>
              </a:defRPr>
            </a:lvl4pPr>
            <a:lvl5pPr marL="957856" marR="0" indent="-28569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1765" kern="1200" spc="0" baseline="0">
                <a:solidFill>
                  <a:schemeClr val="tx2"/>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342900" marR="0" lvl="0" indent="-342900" algn="l" defTabSz="914400" rtl="0" eaLnBrk="1" fontAlgn="base" latinLnBrk="0" hangingPunct="1">
              <a:lnSpc>
                <a:spcPct val="100000"/>
              </a:lnSpc>
              <a:spcBef>
                <a:spcPts val="0"/>
              </a:spcBef>
              <a:spcAft>
                <a:spcPts val="300"/>
              </a:spcAft>
              <a:buClrTx/>
              <a:buSzPct val="90000"/>
              <a:buFont typeface="Symbol" panose="05050102010706020507" pitchFamily="18" charset="2"/>
              <a:buChar char=""/>
              <a:tabLst/>
              <a:defRPr/>
            </a:pPr>
            <a:r>
              <a:rPr kumimoji="0" lang="en-US" sz="1800" b="0" i="0" u="none" strike="noStrike" kern="1200" cap="none" spc="0" normalizeH="0" baseline="0" noProof="0">
                <a:ln>
                  <a:noFill/>
                </a:ln>
                <a:solidFill>
                  <a:prstClr val="black"/>
                </a:solidFill>
                <a:effectLst/>
                <a:uLnTx/>
                <a:uFillTx/>
                <a:latin typeface="Segoe UI Light"/>
                <a:ea typeface="Calibri" panose="020F0502020204030204" pitchFamily="34" charset="0"/>
                <a:cs typeface="Times New Roman" panose="02020603050405020304" pitchFamily="18" charset="0"/>
              </a:rPr>
              <a:t>The </a:t>
            </a:r>
            <a:r>
              <a:rPr kumimoji="0" lang="en-US" sz="1800" b="1" i="0" u="none" strike="noStrike" kern="1200" cap="none" spc="0" normalizeH="0" baseline="0" noProof="0">
                <a:ln>
                  <a:noFill/>
                </a:ln>
                <a:solidFill>
                  <a:prstClr val="black"/>
                </a:solidFill>
                <a:effectLst/>
                <a:uLnTx/>
                <a:uFillTx/>
                <a:latin typeface="Segoe UI Light"/>
                <a:ea typeface="Calibri" panose="020F0502020204030204" pitchFamily="34" charset="0"/>
                <a:cs typeface="Times New Roman" panose="02020603050405020304" pitchFamily="18" charset="0"/>
              </a:rPr>
              <a:t>“Add Column”</a:t>
            </a:r>
            <a:r>
              <a:rPr kumimoji="0" lang="en-US" sz="1800" b="0" i="0" u="none" strike="noStrike" kern="1200" cap="none" spc="0" normalizeH="0" baseline="0" noProof="0">
                <a:ln>
                  <a:noFill/>
                </a:ln>
                <a:solidFill>
                  <a:prstClr val="black"/>
                </a:solidFill>
                <a:effectLst/>
                <a:uLnTx/>
                <a:uFillTx/>
                <a:latin typeface="Segoe UI Light"/>
                <a:ea typeface="Calibri" panose="020F0502020204030204" pitchFamily="34" charset="0"/>
                <a:cs typeface="Times New Roman" panose="02020603050405020304" pitchFamily="18" charset="0"/>
              </a:rPr>
              <a:t> tab provides additional tasks associated with columns such as formatting column data, adding custom columns or invoking functions</a:t>
            </a:r>
          </a:p>
          <a:p>
            <a:pPr marL="342900" marR="0" lvl="0" indent="-342900" algn="l" defTabSz="914400" rtl="0" eaLnBrk="1" fontAlgn="base" latinLnBrk="0" hangingPunct="1">
              <a:lnSpc>
                <a:spcPct val="100000"/>
              </a:lnSpc>
              <a:spcBef>
                <a:spcPts val="0"/>
              </a:spcBef>
              <a:spcAft>
                <a:spcPts val="300"/>
              </a:spcAft>
              <a:buClrTx/>
              <a:buSzPct val="90000"/>
              <a:buFont typeface="Symbol" panose="05050102010706020507" pitchFamily="18" charset="2"/>
              <a:buChar char=""/>
              <a:tabLst/>
              <a:defRPr/>
            </a:pPr>
            <a:endParaRPr kumimoji="0" lang="en-US" sz="1800" b="1" i="0" u="none" strike="noStrike" kern="1200" cap="none" spc="0" normalizeH="0" baseline="0" noProof="0">
              <a:ln>
                <a:noFill/>
              </a:ln>
              <a:solidFill>
                <a:prstClr val="black"/>
              </a:solidFill>
              <a:effectLst/>
              <a:uLnTx/>
              <a:uFillTx/>
              <a:latin typeface="Segoe UI Light"/>
              <a:ea typeface="Calibri" panose="020F0502020204030204" pitchFamily="34" charset="0"/>
              <a:cs typeface="Times New Roman" panose="02020603050405020304" pitchFamily="18" charset="0"/>
            </a:endParaRPr>
          </a:p>
        </p:txBody>
      </p:sp>
      <p:pic>
        <p:nvPicPr>
          <p:cNvPr id="5" name="Picture 4"/>
          <p:cNvPicPr>
            <a:picLocks noChangeAspect="1"/>
          </p:cNvPicPr>
          <p:nvPr/>
        </p:nvPicPr>
        <p:blipFill>
          <a:blip r:embed="rId3"/>
          <a:stretch>
            <a:fillRect/>
          </a:stretch>
        </p:blipFill>
        <p:spPr>
          <a:xfrm>
            <a:off x="3166453" y="2288954"/>
            <a:ext cx="8524875" cy="1333500"/>
          </a:xfrm>
          <a:prstGeom prst="rect">
            <a:avLst/>
          </a:prstGeom>
          <a:ln>
            <a:noFill/>
          </a:ln>
          <a:effectLst>
            <a:outerShdw blurRad="190500" algn="tl" rotWithShape="0">
              <a:srgbClr val="000000">
                <a:alpha val="70000"/>
              </a:srgbClr>
            </a:outerShdw>
          </a:effectLst>
        </p:spPr>
      </p:pic>
      <p:pic>
        <p:nvPicPr>
          <p:cNvPr id="39" name="Picture 38"/>
          <p:cNvPicPr>
            <a:picLocks noChangeAspect="1"/>
          </p:cNvPicPr>
          <p:nvPr/>
        </p:nvPicPr>
        <p:blipFill>
          <a:blip r:embed="rId4"/>
          <a:stretch>
            <a:fillRect/>
          </a:stretch>
        </p:blipFill>
        <p:spPr>
          <a:xfrm>
            <a:off x="4582328" y="4708832"/>
            <a:ext cx="6038850" cy="1371600"/>
          </a:xfrm>
          <a:prstGeom prst="rect">
            <a:avLst/>
          </a:prstGeom>
          <a:ln>
            <a:noFill/>
          </a:ln>
          <a:effectLst>
            <a:outerShdw blurRad="190500" algn="tl" rotWithShape="0">
              <a:srgbClr val="000000">
                <a:alpha val="70000"/>
              </a:srgbClr>
            </a:outerShdw>
          </a:effectLst>
        </p:spPr>
      </p:pic>
      <p:sp>
        <p:nvSpPr>
          <p:cNvPr id="6" name="Title 5"/>
          <p:cNvSpPr>
            <a:spLocks noGrp="1"/>
          </p:cNvSpPr>
          <p:nvPr>
            <p:ph type="title"/>
          </p:nvPr>
        </p:nvSpPr>
        <p:spPr/>
        <p:txBody>
          <a:bodyPr/>
          <a:lstStyle/>
          <a:p>
            <a:r>
              <a:rPr lang="en-US" i="1">
                <a:solidFill>
                  <a:schemeClr val="tx1"/>
                </a:solidFill>
              </a:rPr>
              <a:t>Query Editor - Query Ribbon</a:t>
            </a:r>
            <a:br>
              <a:rPr lang="en-US" i="1">
                <a:solidFill>
                  <a:schemeClr val="tx1"/>
                </a:solidFill>
              </a:rPr>
            </a:br>
            <a:endParaRPr lang="en-GB"/>
          </a:p>
        </p:txBody>
      </p:sp>
    </p:spTree>
    <p:extLst>
      <p:ext uri="{BB962C8B-B14F-4D97-AF65-F5344CB8AC3E}">
        <p14:creationId xmlns:p14="http://schemas.microsoft.com/office/powerpoint/2010/main" val="750898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155448" y="0"/>
            <a:ext cx="10116781" cy="646331"/>
          </a:xfrm>
          <a:prstGeom prst="rect">
            <a:avLst/>
          </a:prstGeom>
          <a:noFill/>
        </p:spPr>
        <p:txBody>
          <a:bodyPr wrap="square" rtlCol="0">
            <a:spAutoFit/>
          </a:bodyPr>
          <a:lstStyle/>
          <a:p>
            <a:r>
              <a:rPr lang="en-US" sz="3600">
                <a:latin typeface="+mj-lt"/>
              </a:rPr>
              <a:t>Key benefits and differentiators of Power BI for IT</a:t>
            </a:r>
            <a:endParaRPr lang="en-US" sz="3600" b="1">
              <a:latin typeface="+mj-lt"/>
              <a:cs typeface="Segoe UI" panose="020B0502040204020203" pitchFamily="34" charset="0"/>
            </a:endParaRPr>
          </a:p>
        </p:txBody>
      </p:sp>
      <p:grpSp>
        <p:nvGrpSpPr>
          <p:cNvPr id="9" name="Group 8"/>
          <p:cNvGrpSpPr/>
          <p:nvPr/>
        </p:nvGrpSpPr>
        <p:grpSpPr>
          <a:xfrm>
            <a:off x="395106" y="3678765"/>
            <a:ext cx="6320920" cy="709416"/>
            <a:chOff x="330771" y="5800102"/>
            <a:chExt cx="6320920" cy="709416"/>
          </a:xfrm>
        </p:grpSpPr>
        <p:sp>
          <p:nvSpPr>
            <p:cNvPr id="54" name="Rectangle 53"/>
            <p:cNvSpPr/>
            <p:nvPr/>
          </p:nvSpPr>
          <p:spPr bwMode="auto">
            <a:xfrm>
              <a:off x="330771" y="5800102"/>
              <a:ext cx="6320920" cy="709416"/>
            </a:xfrm>
            <a:prstGeom prst="rect">
              <a:avLst/>
            </a:prstGeom>
            <a:noFill/>
            <a:ln>
              <a:solidFill>
                <a:schemeClr val="tx1">
                  <a:lumMod val="50000"/>
                  <a:lumOff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1356" tIns="143428" rIns="179285" bIns="143428" numCol="1" spcCol="0" rtlCol="0" fromWordArt="0" anchor="ctr" anchorCtr="0" forceAA="0" compatLnSpc="1">
              <a:prstTxWarp prst="textNoShape">
                <a:avLst/>
              </a:prstTxWarp>
              <a:noAutofit/>
            </a:bodyPr>
            <a:lstStyle/>
            <a:p>
              <a:pPr marL="685800" defTabSz="914367" fontAlgn="base">
                <a:lnSpc>
                  <a:spcPct val="90000"/>
                </a:lnSpc>
                <a:spcBef>
                  <a:spcPct val="20000"/>
                </a:spcBef>
                <a:spcAft>
                  <a:spcPct val="0"/>
                </a:spcAft>
                <a:buSzPct val="90000"/>
              </a:pPr>
              <a:r>
                <a:rPr lang="en-US" sz="2000">
                  <a:ln w="3175">
                    <a:noFill/>
                  </a:ln>
                  <a:solidFill>
                    <a:schemeClr val="tx1"/>
                  </a:solidFill>
                  <a:latin typeface="Calibri Light" panose="020F0302020204030204"/>
                </a:rPr>
                <a:t>Integrated with familiar Microsoft products, utilizes infrastructure, scale &amp; availability in Azure &amp; O365</a:t>
              </a:r>
            </a:p>
          </p:txBody>
        </p:sp>
        <p:sp>
          <p:nvSpPr>
            <p:cNvPr id="74" name="Rectangle 73"/>
            <p:cNvSpPr/>
            <p:nvPr/>
          </p:nvSpPr>
          <p:spPr bwMode="auto">
            <a:xfrm>
              <a:off x="330772" y="5800102"/>
              <a:ext cx="709416" cy="70941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622491" defTabSz="914102" fontAlgn="base">
                <a:lnSpc>
                  <a:spcPct val="90000"/>
                </a:lnSpc>
                <a:spcBef>
                  <a:spcPct val="0"/>
                </a:spcBef>
                <a:spcAft>
                  <a:spcPct val="0"/>
                </a:spcAft>
              </a:pPr>
              <a:endParaRPr lang="en-US" sz="2745">
                <a:gradFill>
                  <a:gsLst>
                    <a:gs pos="0">
                      <a:srgbClr val="FFFFFF"/>
                    </a:gs>
                    <a:gs pos="100000">
                      <a:srgbClr val="FFFFFF"/>
                    </a:gs>
                  </a:gsLst>
                  <a:lin ang="5400000" scaled="0"/>
                </a:gradFill>
                <a:latin typeface="Segoe UI Light"/>
                <a:ea typeface="Segoe UI" pitchFamily="34" charset="0"/>
                <a:cs typeface="Segoe UI" pitchFamily="34" charset="0"/>
              </a:endParaRPr>
            </a:p>
          </p:txBody>
        </p:sp>
        <p:grpSp>
          <p:nvGrpSpPr>
            <p:cNvPr id="75" name="Group 74"/>
            <p:cNvGrpSpPr/>
            <p:nvPr/>
          </p:nvGrpSpPr>
          <p:grpSpPr>
            <a:xfrm>
              <a:off x="456880" y="5924930"/>
              <a:ext cx="457200" cy="459760"/>
              <a:chOff x="4862621" y="5295900"/>
              <a:chExt cx="575101" cy="592606"/>
            </a:xfrm>
            <a:solidFill>
              <a:srgbClr val="F2C812"/>
            </a:solidFill>
          </p:grpSpPr>
          <p:sp>
            <p:nvSpPr>
              <p:cNvPr id="76" name="Rectangle 75"/>
              <p:cNvSpPr/>
              <p:nvPr/>
            </p:nvSpPr>
            <p:spPr bwMode="auto">
              <a:xfrm>
                <a:off x="4862621" y="5295900"/>
                <a:ext cx="274320" cy="27432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745">
                  <a:gradFill>
                    <a:gsLst>
                      <a:gs pos="0">
                        <a:srgbClr val="FFFFFF"/>
                      </a:gs>
                      <a:gs pos="100000">
                        <a:srgbClr val="FFFFFF"/>
                      </a:gs>
                    </a:gsLst>
                    <a:lin ang="5400000" scaled="0"/>
                  </a:gradFill>
                  <a:ea typeface="Segoe UI" pitchFamily="34" charset="0"/>
                  <a:cs typeface="Segoe UI" pitchFamily="34" charset="0"/>
                </a:endParaRPr>
              </a:p>
            </p:txBody>
          </p:sp>
          <p:sp>
            <p:nvSpPr>
              <p:cNvPr id="77" name="Rectangle 76"/>
              <p:cNvSpPr/>
              <p:nvPr/>
            </p:nvSpPr>
            <p:spPr bwMode="auto">
              <a:xfrm>
                <a:off x="5163402" y="5295900"/>
                <a:ext cx="274320" cy="27432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745">
                  <a:gradFill>
                    <a:gsLst>
                      <a:gs pos="0">
                        <a:srgbClr val="FFFFFF"/>
                      </a:gs>
                      <a:gs pos="100000">
                        <a:srgbClr val="FFFFFF"/>
                      </a:gs>
                    </a:gsLst>
                    <a:lin ang="5400000" scaled="0"/>
                  </a:gradFill>
                  <a:ea typeface="Segoe UI" pitchFamily="34" charset="0"/>
                  <a:cs typeface="Segoe UI" pitchFamily="34" charset="0"/>
                </a:endParaRPr>
              </a:p>
            </p:txBody>
          </p:sp>
          <p:sp>
            <p:nvSpPr>
              <p:cNvPr id="78" name="Rectangle 77"/>
              <p:cNvSpPr/>
              <p:nvPr/>
            </p:nvSpPr>
            <p:spPr bwMode="auto">
              <a:xfrm>
                <a:off x="5163402" y="5614186"/>
                <a:ext cx="274320" cy="27432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745">
                  <a:gradFill>
                    <a:gsLst>
                      <a:gs pos="0">
                        <a:srgbClr val="FFFFFF"/>
                      </a:gs>
                      <a:gs pos="100000">
                        <a:srgbClr val="FFFFFF"/>
                      </a:gs>
                    </a:gsLst>
                    <a:lin ang="5400000" scaled="0"/>
                  </a:gradFill>
                  <a:ea typeface="Segoe UI" pitchFamily="34" charset="0"/>
                  <a:cs typeface="Segoe UI" pitchFamily="34" charset="0"/>
                </a:endParaRPr>
              </a:p>
            </p:txBody>
          </p:sp>
          <p:sp>
            <p:nvSpPr>
              <p:cNvPr id="79" name="Rectangle 78"/>
              <p:cNvSpPr/>
              <p:nvPr/>
            </p:nvSpPr>
            <p:spPr bwMode="auto">
              <a:xfrm>
                <a:off x="4862621" y="5614186"/>
                <a:ext cx="274320" cy="27432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745">
                  <a:gradFill>
                    <a:gsLst>
                      <a:gs pos="0">
                        <a:srgbClr val="FFFFFF"/>
                      </a:gs>
                      <a:gs pos="100000">
                        <a:srgbClr val="FFFFFF"/>
                      </a:gs>
                    </a:gsLst>
                    <a:lin ang="5400000" scaled="0"/>
                  </a:gradFill>
                  <a:ea typeface="Segoe UI" pitchFamily="34" charset="0"/>
                  <a:cs typeface="Segoe UI" pitchFamily="34" charset="0"/>
                </a:endParaRPr>
              </a:p>
            </p:txBody>
          </p:sp>
        </p:grpSp>
      </p:grpSp>
      <p:grpSp>
        <p:nvGrpSpPr>
          <p:cNvPr id="10" name="Group 9"/>
          <p:cNvGrpSpPr/>
          <p:nvPr/>
        </p:nvGrpSpPr>
        <p:grpSpPr>
          <a:xfrm>
            <a:off x="395106" y="1228214"/>
            <a:ext cx="6320920" cy="711328"/>
            <a:chOff x="2739892" y="6384690"/>
            <a:chExt cx="6320920" cy="711328"/>
          </a:xfrm>
        </p:grpSpPr>
        <p:sp>
          <p:nvSpPr>
            <p:cNvPr id="61" name="Rectangle 60"/>
            <p:cNvSpPr/>
            <p:nvPr/>
          </p:nvSpPr>
          <p:spPr bwMode="auto">
            <a:xfrm>
              <a:off x="2746237" y="6386602"/>
              <a:ext cx="709416" cy="70941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622491" defTabSz="914102" fontAlgn="base">
                <a:lnSpc>
                  <a:spcPct val="90000"/>
                </a:lnSpc>
                <a:spcBef>
                  <a:spcPct val="0"/>
                </a:spcBef>
                <a:spcAft>
                  <a:spcPct val="0"/>
                </a:spcAft>
              </a:pPr>
              <a:endParaRPr lang="en-US" sz="2745">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58" name="Rectangle 57"/>
            <p:cNvSpPr/>
            <p:nvPr/>
          </p:nvSpPr>
          <p:spPr bwMode="auto">
            <a:xfrm>
              <a:off x="2739892" y="6384690"/>
              <a:ext cx="6320920" cy="709416"/>
            </a:xfrm>
            <a:prstGeom prst="rect">
              <a:avLst/>
            </a:prstGeom>
            <a:noFill/>
            <a:ln>
              <a:solidFill>
                <a:schemeClr val="tx1">
                  <a:lumMod val="50000"/>
                  <a:lumOff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1356" tIns="143428" rIns="179285" bIns="143428" numCol="1" spcCol="0" rtlCol="0" fromWordArt="0" anchor="ctr" anchorCtr="0" forceAA="0" compatLnSpc="1">
              <a:prstTxWarp prst="textNoShape">
                <a:avLst/>
              </a:prstTxWarp>
              <a:noAutofit/>
            </a:bodyPr>
            <a:lstStyle/>
            <a:p>
              <a:pPr marL="685800" defTabSz="914367" fontAlgn="base">
                <a:lnSpc>
                  <a:spcPct val="90000"/>
                </a:lnSpc>
                <a:spcBef>
                  <a:spcPct val="20000"/>
                </a:spcBef>
                <a:spcAft>
                  <a:spcPct val="0"/>
                </a:spcAft>
                <a:buSzPct val="90000"/>
              </a:pPr>
              <a:r>
                <a:rPr lang="en-US" sz="2000">
                  <a:ln w="3175">
                    <a:noFill/>
                  </a:ln>
                  <a:solidFill>
                    <a:schemeClr val="tx1"/>
                  </a:solidFill>
                  <a:latin typeface="Calibri Light" panose="020F0302020204030204"/>
                </a:rPr>
                <a:t>Fast deployment with a hybrid solution, ease of maintenance and 99.9% uptime SLA</a:t>
              </a:r>
            </a:p>
          </p:txBody>
        </p:sp>
        <p:grpSp>
          <p:nvGrpSpPr>
            <p:cNvPr id="64" name="Group 63"/>
            <p:cNvGrpSpPr/>
            <p:nvPr/>
          </p:nvGrpSpPr>
          <p:grpSpPr bwMode="black">
            <a:xfrm>
              <a:off x="2839643" y="6497482"/>
              <a:ext cx="515779" cy="489217"/>
              <a:chOff x="2462213" y="1598613"/>
              <a:chExt cx="4222750" cy="3667125"/>
            </a:xfrm>
            <a:solidFill>
              <a:srgbClr val="FFCC00"/>
            </a:solidFill>
          </p:grpSpPr>
          <p:sp>
            <p:nvSpPr>
              <p:cNvPr id="65" name="Rectangle 6"/>
              <p:cNvSpPr>
                <a:spLocks noChangeArrowheads="1"/>
              </p:cNvSpPr>
              <p:nvPr/>
            </p:nvSpPr>
            <p:spPr bwMode="black">
              <a:xfrm>
                <a:off x="5564188" y="3346451"/>
                <a:ext cx="115888" cy="49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66" name="Rectangle 7"/>
              <p:cNvSpPr>
                <a:spLocks noChangeArrowheads="1"/>
              </p:cNvSpPr>
              <p:nvPr/>
            </p:nvSpPr>
            <p:spPr bwMode="black">
              <a:xfrm>
                <a:off x="5795963" y="3346451"/>
                <a:ext cx="112713" cy="49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67" name="Rectangle 8"/>
              <p:cNvSpPr>
                <a:spLocks noChangeArrowheads="1"/>
              </p:cNvSpPr>
              <p:nvPr/>
            </p:nvSpPr>
            <p:spPr bwMode="black">
              <a:xfrm>
                <a:off x="3092451" y="3346451"/>
                <a:ext cx="115888" cy="49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68" name="Rectangle 9"/>
              <p:cNvSpPr>
                <a:spLocks noChangeArrowheads="1"/>
              </p:cNvSpPr>
              <p:nvPr/>
            </p:nvSpPr>
            <p:spPr bwMode="black">
              <a:xfrm>
                <a:off x="3324226" y="3346451"/>
                <a:ext cx="117475" cy="49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69" name="Freeform 10"/>
              <p:cNvSpPr>
                <a:spLocks/>
              </p:cNvSpPr>
              <p:nvPr/>
            </p:nvSpPr>
            <p:spPr bwMode="black">
              <a:xfrm>
                <a:off x="3902076" y="2506663"/>
                <a:ext cx="101600" cy="123825"/>
              </a:xfrm>
              <a:custGeom>
                <a:avLst/>
                <a:gdLst>
                  <a:gd name="T0" fmla="*/ 36 w 64"/>
                  <a:gd name="T1" fmla="*/ 78 h 78"/>
                  <a:gd name="T2" fmla="*/ 64 w 64"/>
                  <a:gd name="T3" fmla="*/ 64 h 78"/>
                  <a:gd name="T4" fmla="*/ 26 w 64"/>
                  <a:gd name="T5" fmla="*/ 0 h 78"/>
                  <a:gd name="T6" fmla="*/ 0 w 64"/>
                  <a:gd name="T7" fmla="*/ 17 h 78"/>
                  <a:gd name="T8" fmla="*/ 36 w 64"/>
                  <a:gd name="T9" fmla="*/ 78 h 78"/>
                </a:gdLst>
                <a:ahLst/>
                <a:cxnLst>
                  <a:cxn ang="0">
                    <a:pos x="T0" y="T1"/>
                  </a:cxn>
                  <a:cxn ang="0">
                    <a:pos x="T2" y="T3"/>
                  </a:cxn>
                  <a:cxn ang="0">
                    <a:pos x="T4" y="T5"/>
                  </a:cxn>
                  <a:cxn ang="0">
                    <a:pos x="T6" y="T7"/>
                  </a:cxn>
                  <a:cxn ang="0">
                    <a:pos x="T8" y="T9"/>
                  </a:cxn>
                </a:cxnLst>
                <a:rect l="0" t="0" r="r" b="b"/>
                <a:pathLst>
                  <a:path w="64" h="78">
                    <a:moveTo>
                      <a:pt x="36" y="78"/>
                    </a:moveTo>
                    <a:lnTo>
                      <a:pt x="64" y="64"/>
                    </a:lnTo>
                    <a:lnTo>
                      <a:pt x="26" y="0"/>
                    </a:lnTo>
                    <a:lnTo>
                      <a:pt x="0" y="17"/>
                    </a:lnTo>
                    <a:lnTo>
                      <a:pt x="36" y="7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70" name="Freeform 11"/>
              <p:cNvSpPr>
                <a:spLocks/>
              </p:cNvSpPr>
              <p:nvPr/>
            </p:nvSpPr>
            <p:spPr bwMode="black">
              <a:xfrm>
                <a:off x="4017963" y="2709863"/>
                <a:ext cx="98425" cy="123825"/>
              </a:xfrm>
              <a:custGeom>
                <a:avLst/>
                <a:gdLst>
                  <a:gd name="T0" fmla="*/ 36 w 62"/>
                  <a:gd name="T1" fmla="*/ 78 h 78"/>
                  <a:gd name="T2" fmla="*/ 62 w 62"/>
                  <a:gd name="T3" fmla="*/ 61 h 78"/>
                  <a:gd name="T4" fmla="*/ 26 w 62"/>
                  <a:gd name="T5" fmla="*/ 0 h 78"/>
                  <a:gd name="T6" fmla="*/ 0 w 62"/>
                  <a:gd name="T7" fmla="*/ 14 h 78"/>
                  <a:gd name="T8" fmla="*/ 36 w 62"/>
                  <a:gd name="T9" fmla="*/ 78 h 78"/>
                </a:gdLst>
                <a:ahLst/>
                <a:cxnLst>
                  <a:cxn ang="0">
                    <a:pos x="T0" y="T1"/>
                  </a:cxn>
                  <a:cxn ang="0">
                    <a:pos x="T2" y="T3"/>
                  </a:cxn>
                  <a:cxn ang="0">
                    <a:pos x="T4" y="T5"/>
                  </a:cxn>
                  <a:cxn ang="0">
                    <a:pos x="T6" y="T7"/>
                  </a:cxn>
                  <a:cxn ang="0">
                    <a:pos x="T8" y="T9"/>
                  </a:cxn>
                </a:cxnLst>
                <a:rect l="0" t="0" r="r" b="b"/>
                <a:pathLst>
                  <a:path w="62" h="78">
                    <a:moveTo>
                      <a:pt x="36" y="78"/>
                    </a:moveTo>
                    <a:lnTo>
                      <a:pt x="62" y="61"/>
                    </a:lnTo>
                    <a:lnTo>
                      <a:pt x="26" y="0"/>
                    </a:lnTo>
                    <a:lnTo>
                      <a:pt x="0" y="14"/>
                    </a:lnTo>
                    <a:lnTo>
                      <a:pt x="36" y="7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71" name="Freeform 12"/>
              <p:cNvSpPr>
                <a:spLocks/>
              </p:cNvSpPr>
              <p:nvPr/>
            </p:nvSpPr>
            <p:spPr bwMode="black">
              <a:xfrm>
                <a:off x="4873626" y="2709863"/>
                <a:ext cx="98425" cy="123825"/>
              </a:xfrm>
              <a:custGeom>
                <a:avLst/>
                <a:gdLst>
                  <a:gd name="T0" fmla="*/ 26 w 62"/>
                  <a:gd name="T1" fmla="*/ 78 h 78"/>
                  <a:gd name="T2" fmla="*/ 62 w 62"/>
                  <a:gd name="T3" fmla="*/ 14 h 78"/>
                  <a:gd name="T4" fmla="*/ 36 w 62"/>
                  <a:gd name="T5" fmla="*/ 0 h 78"/>
                  <a:gd name="T6" fmla="*/ 0 w 62"/>
                  <a:gd name="T7" fmla="*/ 61 h 78"/>
                  <a:gd name="T8" fmla="*/ 26 w 62"/>
                  <a:gd name="T9" fmla="*/ 78 h 78"/>
                </a:gdLst>
                <a:ahLst/>
                <a:cxnLst>
                  <a:cxn ang="0">
                    <a:pos x="T0" y="T1"/>
                  </a:cxn>
                  <a:cxn ang="0">
                    <a:pos x="T2" y="T3"/>
                  </a:cxn>
                  <a:cxn ang="0">
                    <a:pos x="T4" y="T5"/>
                  </a:cxn>
                  <a:cxn ang="0">
                    <a:pos x="T6" y="T7"/>
                  </a:cxn>
                  <a:cxn ang="0">
                    <a:pos x="T8" y="T9"/>
                  </a:cxn>
                </a:cxnLst>
                <a:rect l="0" t="0" r="r" b="b"/>
                <a:pathLst>
                  <a:path w="62" h="78">
                    <a:moveTo>
                      <a:pt x="26" y="78"/>
                    </a:moveTo>
                    <a:lnTo>
                      <a:pt x="62" y="14"/>
                    </a:lnTo>
                    <a:lnTo>
                      <a:pt x="36" y="0"/>
                    </a:lnTo>
                    <a:lnTo>
                      <a:pt x="0" y="61"/>
                    </a:lnTo>
                    <a:lnTo>
                      <a:pt x="26" y="7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85" name="Freeform 13"/>
              <p:cNvSpPr>
                <a:spLocks/>
              </p:cNvSpPr>
              <p:nvPr/>
            </p:nvSpPr>
            <p:spPr bwMode="black">
              <a:xfrm>
                <a:off x="4989513" y="2506663"/>
                <a:ext cx="98425" cy="123825"/>
              </a:xfrm>
              <a:custGeom>
                <a:avLst/>
                <a:gdLst>
                  <a:gd name="T0" fmla="*/ 26 w 62"/>
                  <a:gd name="T1" fmla="*/ 78 h 78"/>
                  <a:gd name="T2" fmla="*/ 62 w 62"/>
                  <a:gd name="T3" fmla="*/ 17 h 78"/>
                  <a:gd name="T4" fmla="*/ 36 w 62"/>
                  <a:gd name="T5" fmla="*/ 0 h 78"/>
                  <a:gd name="T6" fmla="*/ 0 w 62"/>
                  <a:gd name="T7" fmla="*/ 64 h 78"/>
                  <a:gd name="T8" fmla="*/ 26 w 62"/>
                  <a:gd name="T9" fmla="*/ 78 h 78"/>
                </a:gdLst>
                <a:ahLst/>
                <a:cxnLst>
                  <a:cxn ang="0">
                    <a:pos x="T0" y="T1"/>
                  </a:cxn>
                  <a:cxn ang="0">
                    <a:pos x="T2" y="T3"/>
                  </a:cxn>
                  <a:cxn ang="0">
                    <a:pos x="T4" y="T5"/>
                  </a:cxn>
                  <a:cxn ang="0">
                    <a:pos x="T6" y="T7"/>
                  </a:cxn>
                  <a:cxn ang="0">
                    <a:pos x="T8" y="T9"/>
                  </a:cxn>
                </a:cxnLst>
                <a:rect l="0" t="0" r="r" b="b"/>
                <a:pathLst>
                  <a:path w="62" h="78">
                    <a:moveTo>
                      <a:pt x="26" y="78"/>
                    </a:moveTo>
                    <a:lnTo>
                      <a:pt x="62" y="17"/>
                    </a:lnTo>
                    <a:lnTo>
                      <a:pt x="36" y="0"/>
                    </a:lnTo>
                    <a:lnTo>
                      <a:pt x="0" y="64"/>
                    </a:lnTo>
                    <a:lnTo>
                      <a:pt x="26" y="7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90" name="Freeform 14"/>
              <p:cNvSpPr>
                <a:spLocks/>
              </p:cNvSpPr>
              <p:nvPr/>
            </p:nvSpPr>
            <p:spPr bwMode="black">
              <a:xfrm>
                <a:off x="4017963" y="3990976"/>
                <a:ext cx="98425" cy="123825"/>
              </a:xfrm>
              <a:custGeom>
                <a:avLst/>
                <a:gdLst>
                  <a:gd name="T0" fmla="*/ 0 w 62"/>
                  <a:gd name="T1" fmla="*/ 64 h 78"/>
                  <a:gd name="T2" fmla="*/ 26 w 62"/>
                  <a:gd name="T3" fmla="*/ 78 h 78"/>
                  <a:gd name="T4" fmla="*/ 62 w 62"/>
                  <a:gd name="T5" fmla="*/ 14 h 78"/>
                  <a:gd name="T6" fmla="*/ 36 w 62"/>
                  <a:gd name="T7" fmla="*/ 0 h 78"/>
                  <a:gd name="T8" fmla="*/ 0 w 62"/>
                  <a:gd name="T9" fmla="*/ 64 h 78"/>
                </a:gdLst>
                <a:ahLst/>
                <a:cxnLst>
                  <a:cxn ang="0">
                    <a:pos x="T0" y="T1"/>
                  </a:cxn>
                  <a:cxn ang="0">
                    <a:pos x="T2" y="T3"/>
                  </a:cxn>
                  <a:cxn ang="0">
                    <a:pos x="T4" y="T5"/>
                  </a:cxn>
                  <a:cxn ang="0">
                    <a:pos x="T6" y="T7"/>
                  </a:cxn>
                  <a:cxn ang="0">
                    <a:pos x="T8" y="T9"/>
                  </a:cxn>
                </a:cxnLst>
                <a:rect l="0" t="0" r="r" b="b"/>
                <a:pathLst>
                  <a:path w="62" h="78">
                    <a:moveTo>
                      <a:pt x="0" y="64"/>
                    </a:moveTo>
                    <a:lnTo>
                      <a:pt x="26" y="78"/>
                    </a:lnTo>
                    <a:lnTo>
                      <a:pt x="62" y="14"/>
                    </a:lnTo>
                    <a:lnTo>
                      <a:pt x="36" y="0"/>
                    </a:lnTo>
                    <a:lnTo>
                      <a:pt x="0" y="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91" name="Freeform 15"/>
              <p:cNvSpPr>
                <a:spLocks/>
              </p:cNvSpPr>
              <p:nvPr/>
            </p:nvSpPr>
            <p:spPr bwMode="black">
              <a:xfrm>
                <a:off x="3902076" y="4189413"/>
                <a:ext cx="101600" cy="128588"/>
              </a:xfrm>
              <a:custGeom>
                <a:avLst/>
                <a:gdLst>
                  <a:gd name="T0" fmla="*/ 0 w 64"/>
                  <a:gd name="T1" fmla="*/ 64 h 81"/>
                  <a:gd name="T2" fmla="*/ 26 w 64"/>
                  <a:gd name="T3" fmla="*/ 81 h 81"/>
                  <a:gd name="T4" fmla="*/ 64 w 64"/>
                  <a:gd name="T5" fmla="*/ 17 h 81"/>
                  <a:gd name="T6" fmla="*/ 36 w 64"/>
                  <a:gd name="T7" fmla="*/ 0 h 81"/>
                  <a:gd name="T8" fmla="*/ 0 w 64"/>
                  <a:gd name="T9" fmla="*/ 64 h 81"/>
                </a:gdLst>
                <a:ahLst/>
                <a:cxnLst>
                  <a:cxn ang="0">
                    <a:pos x="T0" y="T1"/>
                  </a:cxn>
                  <a:cxn ang="0">
                    <a:pos x="T2" y="T3"/>
                  </a:cxn>
                  <a:cxn ang="0">
                    <a:pos x="T4" y="T5"/>
                  </a:cxn>
                  <a:cxn ang="0">
                    <a:pos x="T6" y="T7"/>
                  </a:cxn>
                  <a:cxn ang="0">
                    <a:pos x="T8" y="T9"/>
                  </a:cxn>
                </a:cxnLst>
                <a:rect l="0" t="0" r="r" b="b"/>
                <a:pathLst>
                  <a:path w="64" h="81">
                    <a:moveTo>
                      <a:pt x="0" y="64"/>
                    </a:moveTo>
                    <a:lnTo>
                      <a:pt x="26" y="81"/>
                    </a:lnTo>
                    <a:lnTo>
                      <a:pt x="64" y="17"/>
                    </a:lnTo>
                    <a:lnTo>
                      <a:pt x="36" y="0"/>
                    </a:lnTo>
                    <a:lnTo>
                      <a:pt x="0" y="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92" name="Freeform 16"/>
              <p:cNvSpPr>
                <a:spLocks/>
              </p:cNvSpPr>
              <p:nvPr/>
            </p:nvSpPr>
            <p:spPr bwMode="black">
              <a:xfrm>
                <a:off x="4989513" y="4189413"/>
                <a:ext cx="98425" cy="128588"/>
              </a:xfrm>
              <a:custGeom>
                <a:avLst/>
                <a:gdLst>
                  <a:gd name="T0" fmla="*/ 26 w 62"/>
                  <a:gd name="T1" fmla="*/ 0 h 81"/>
                  <a:gd name="T2" fmla="*/ 0 w 62"/>
                  <a:gd name="T3" fmla="*/ 17 h 81"/>
                  <a:gd name="T4" fmla="*/ 36 w 62"/>
                  <a:gd name="T5" fmla="*/ 81 h 81"/>
                  <a:gd name="T6" fmla="*/ 62 w 62"/>
                  <a:gd name="T7" fmla="*/ 64 h 81"/>
                  <a:gd name="T8" fmla="*/ 26 w 62"/>
                  <a:gd name="T9" fmla="*/ 0 h 81"/>
                </a:gdLst>
                <a:ahLst/>
                <a:cxnLst>
                  <a:cxn ang="0">
                    <a:pos x="T0" y="T1"/>
                  </a:cxn>
                  <a:cxn ang="0">
                    <a:pos x="T2" y="T3"/>
                  </a:cxn>
                  <a:cxn ang="0">
                    <a:pos x="T4" y="T5"/>
                  </a:cxn>
                  <a:cxn ang="0">
                    <a:pos x="T6" y="T7"/>
                  </a:cxn>
                  <a:cxn ang="0">
                    <a:pos x="T8" y="T9"/>
                  </a:cxn>
                </a:cxnLst>
                <a:rect l="0" t="0" r="r" b="b"/>
                <a:pathLst>
                  <a:path w="62" h="81">
                    <a:moveTo>
                      <a:pt x="26" y="0"/>
                    </a:moveTo>
                    <a:lnTo>
                      <a:pt x="0" y="17"/>
                    </a:lnTo>
                    <a:lnTo>
                      <a:pt x="36" y="81"/>
                    </a:lnTo>
                    <a:lnTo>
                      <a:pt x="62" y="64"/>
                    </a:lnTo>
                    <a:lnTo>
                      <a:pt x="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93" name="Freeform 17"/>
              <p:cNvSpPr>
                <a:spLocks/>
              </p:cNvSpPr>
              <p:nvPr/>
            </p:nvSpPr>
            <p:spPr bwMode="black">
              <a:xfrm>
                <a:off x="4873626" y="3990976"/>
                <a:ext cx="98425" cy="123825"/>
              </a:xfrm>
              <a:custGeom>
                <a:avLst/>
                <a:gdLst>
                  <a:gd name="T0" fmla="*/ 0 w 62"/>
                  <a:gd name="T1" fmla="*/ 14 h 78"/>
                  <a:gd name="T2" fmla="*/ 36 w 62"/>
                  <a:gd name="T3" fmla="*/ 78 h 78"/>
                  <a:gd name="T4" fmla="*/ 62 w 62"/>
                  <a:gd name="T5" fmla="*/ 64 h 78"/>
                  <a:gd name="T6" fmla="*/ 26 w 62"/>
                  <a:gd name="T7" fmla="*/ 0 h 78"/>
                  <a:gd name="T8" fmla="*/ 0 w 62"/>
                  <a:gd name="T9" fmla="*/ 14 h 78"/>
                </a:gdLst>
                <a:ahLst/>
                <a:cxnLst>
                  <a:cxn ang="0">
                    <a:pos x="T0" y="T1"/>
                  </a:cxn>
                  <a:cxn ang="0">
                    <a:pos x="T2" y="T3"/>
                  </a:cxn>
                  <a:cxn ang="0">
                    <a:pos x="T4" y="T5"/>
                  </a:cxn>
                  <a:cxn ang="0">
                    <a:pos x="T6" y="T7"/>
                  </a:cxn>
                  <a:cxn ang="0">
                    <a:pos x="T8" y="T9"/>
                  </a:cxn>
                </a:cxnLst>
                <a:rect l="0" t="0" r="r" b="b"/>
                <a:pathLst>
                  <a:path w="62" h="78">
                    <a:moveTo>
                      <a:pt x="0" y="14"/>
                    </a:moveTo>
                    <a:lnTo>
                      <a:pt x="36" y="78"/>
                    </a:lnTo>
                    <a:lnTo>
                      <a:pt x="62" y="64"/>
                    </a:lnTo>
                    <a:lnTo>
                      <a:pt x="26" y="0"/>
                    </a:lnTo>
                    <a:lnTo>
                      <a:pt x="0"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94" name="Freeform 18"/>
              <p:cNvSpPr>
                <a:spLocks/>
              </p:cNvSpPr>
              <p:nvPr/>
            </p:nvSpPr>
            <p:spPr bwMode="black">
              <a:xfrm>
                <a:off x="3579813" y="2892426"/>
                <a:ext cx="1833563" cy="1068388"/>
              </a:xfrm>
              <a:custGeom>
                <a:avLst/>
                <a:gdLst>
                  <a:gd name="T0" fmla="*/ 415 w 489"/>
                  <a:gd name="T1" fmla="*/ 222 h 285"/>
                  <a:gd name="T2" fmla="*/ 489 w 489"/>
                  <a:gd name="T3" fmla="*/ 148 h 285"/>
                  <a:gd name="T4" fmla="*/ 415 w 489"/>
                  <a:gd name="T5" fmla="*/ 74 h 285"/>
                  <a:gd name="T6" fmla="*/ 404 w 489"/>
                  <a:gd name="T7" fmla="*/ 75 h 285"/>
                  <a:gd name="T8" fmla="*/ 295 w 489"/>
                  <a:gd name="T9" fmla="*/ 0 h 285"/>
                  <a:gd name="T10" fmla="*/ 213 w 489"/>
                  <a:gd name="T11" fmla="*/ 34 h 285"/>
                  <a:gd name="T12" fmla="*/ 162 w 489"/>
                  <a:gd name="T13" fmla="*/ 18 h 285"/>
                  <a:gd name="T14" fmla="*/ 71 w 489"/>
                  <a:gd name="T15" fmla="*/ 97 h 285"/>
                  <a:gd name="T16" fmla="*/ 56 w 489"/>
                  <a:gd name="T17" fmla="*/ 95 h 285"/>
                  <a:gd name="T18" fmla="*/ 0 w 489"/>
                  <a:gd name="T19" fmla="*/ 151 h 285"/>
                  <a:gd name="T20" fmla="*/ 56 w 489"/>
                  <a:gd name="T21" fmla="*/ 208 h 285"/>
                  <a:gd name="T22" fmla="*/ 78 w 489"/>
                  <a:gd name="T23" fmla="*/ 203 h 285"/>
                  <a:gd name="T24" fmla="*/ 141 w 489"/>
                  <a:gd name="T25" fmla="*/ 257 h 285"/>
                  <a:gd name="T26" fmla="*/ 178 w 489"/>
                  <a:gd name="T27" fmla="*/ 244 h 285"/>
                  <a:gd name="T28" fmla="*/ 241 w 489"/>
                  <a:gd name="T29" fmla="*/ 285 h 285"/>
                  <a:gd name="T30" fmla="*/ 297 w 489"/>
                  <a:gd name="T31" fmla="*/ 255 h 285"/>
                  <a:gd name="T32" fmla="*/ 332 w 489"/>
                  <a:gd name="T33" fmla="*/ 267 h 285"/>
                  <a:gd name="T34" fmla="*/ 390 w 489"/>
                  <a:gd name="T35" fmla="*/ 217 h 285"/>
                  <a:gd name="T36" fmla="*/ 415 w 489"/>
                  <a:gd name="T37" fmla="*/ 222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9" h="285">
                    <a:moveTo>
                      <a:pt x="415" y="222"/>
                    </a:moveTo>
                    <a:cubicBezTo>
                      <a:pt x="456" y="222"/>
                      <a:pt x="489" y="189"/>
                      <a:pt x="489" y="148"/>
                    </a:cubicBezTo>
                    <a:cubicBezTo>
                      <a:pt x="489" y="107"/>
                      <a:pt x="456" y="74"/>
                      <a:pt x="415" y="74"/>
                    </a:cubicBezTo>
                    <a:cubicBezTo>
                      <a:pt x="411" y="74"/>
                      <a:pt x="407" y="74"/>
                      <a:pt x="404" y="75"/>
                    </a:cubicBezTo>
                    <a:cubicBezTo>
                      <a:pt x="387" y="31"/>
                      <a:pt x="345" y="0"/>
                      <a:pt x="295" y="0"/>
                    </a:cubicBezTo>
                    <a:cubicBezTo>
                      <a:pt x="263" y="0"/>
                      <a:pt x="234" y="13"/>
                      <a:pt x="213" y="34"/>
                    </a:cubicBezTo>
                    <a:cubicBezTo>
                      <a:pt x="199" y="24"/>
                      <a:pt x="181" y="18"/>
                      <a:pt x="162" y="18"/>
                    </a:cubicBezTo>
                    <a:cubicBezTo>
                      <a:pt x="115" y="18"/>
                      <a:pt x="77" y="52"/>
                      <a:pt x="71" y="97"/>
                    </a:cubicBezTo>
                    <a:cubicBezTo>
                      <a:pt x="66" y="96"/>
                      <a:pt x="61" y="95"/>
                      <a:pt x="56" y="95"/>
                    </a:cubicBezTo>
                    <a:cubicBezTo>
                      <a:pt x="25" y="95"/>
                      <a:pt x="0" y="120"/>
                      <a:pt x="0" y="151"/>
                    </a:cubicBezTo>
                    <a:cubicBezTo>
                      <a:pt x="0" y="182"/>
                      <a:pt x="25" y="208"/>
                      <a:pt x="56" y="208"/>
                    </a:cubicBezTo>
                    <a:cubicBezTo>
                      <a:pt x="64" y="208"/>
                      <a:pt x="71" y="206"/>
                      <a:pt x="78" y="203"/>
                    </a:cubicBezTo>
                    <a:cubicBezTo>
                      <a:pt x="83" y="234"/>
                      <a:pt x="109" y="257"/>
                      <a:pt x="141" y="257"/>
                    </a:cubicBezTo>
                    <a:cubicBezTo>
                      <a:pt x="155" y="257"/>
                      <a:pt x="168" y="252"/>
                      <a:pt x="178" y="244"/>
                    </a:cubicBezTo>
                    <a:cubicBezTo>
                      <a:pt x="189" y="268"/>
                      <a:pt x="213" y="285"/>
                      <a:pt x="241" y="285"/>
                    </a:cubicBezTo>
                    <a:cubicBezTo>
                      <a:pt x="264" y="285"/>
                      <a:pt x="285" y="273"/>
                      <a:pt x="297" y="255"/>
                    </a:cubicBezTo>
                    <a:cubicBezTo>
                      <a:pt x="307" y="263"/>
                      <a:pt x="319" y="267"/>
                      <a:pt x="332" y="267"/>
                    </a:cubicBezTo>
                    <a:cubicBezTo>
                      <a:pt x="361" y="267"/>
                      <a:pt x="386" y="246"/>
                      <a:pt x="390" y="217"/>
                    </a:cubicBezTo>
                    <a:cubicBezTo>
                      <a:pt x="397" y="220"/>
                      <a:pt x="406" y="222"/>
                      <a:pt x="415" y="22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95" name="Freeform 19"/>
              <p:cNvSpPr>
                <a:spLocks noEditPoints="1"/>
              </p:cNvSpPr>
              <p:nvPr/>
            </p:nvSpPr>
            <p:spPr bwMode="black">
              <a:xfrm>
                <a:off x="3321051" y="1598613"/>
                <a:ext cx="750888" cy="522288"/>
              </a:xfrm>
              <a:custGeom>
                <a:avLst/>
                <a:gdLst>
                  <a:gd name="T0" fmla="*/ 174 w 200"/>
                  <a:gd name="T1" fmla="*/ 0 h 139"/>
                  <a:gd name="T2" fmla="*/ 26 w 200"/>
                  <a:gd name="T3" fmla="*/ 0 h 139"/>
                  <a:gd name="T4" fmla="*/ 0 w 200"/>
                  <a:gd name="T5" fmla="*/ 27 h 139"/>
                  <a:gd name="T6" fmla="*/ 0 w 200"/>
                  <a:gd name="T7" fmla="*/ 113 h 139"/>
                  <a:gd name="T8" fmla="*/ 26 w 200"/>
                  <a:gd name="T9" fmla="*/ 139 h 139"/>
                  <a:gd name="T10" fmla="*/ 174 w 200"/>
                  <a:gd name="T11" fmla="*/ 139 h 139"/>
                  <a:gd name="T12" fmla="*/ 200 w 200"/>
                  <a:gd name="T13" fmla="*/ 113 h 139"/>
                  <a:gd name="T14" fmla="*/ 200 w 200"/>
                  <a:gd name="T15" fmla="*/ 27 h 139"/>
                  <a:gd name="T16" fmla="*/ 174 w 200"/>
                  <a:gd name="T17" fmla="*/ 0 h 139"/>
                  <a:gd name="T18" fmla="*/ 185 w 200"/>
                  <a:gd name="T19" fmla="*/ 113 h 139"/>
                  <a:gd name="T20" fmla="*/ 174 w 200"/>
                  <a:gd name="T21" fmla="*/ 124 h 139"/>
                  <a:gd name="T22" fmla="*/ 26 w 200"/>
                  <a:gd name="T23" fmla="*/ 124 h 139"/>
                  <a:gd name="T24" fmla="*/ 15 w 200"/>
                  <a:gd name="T25" fmla="*/ 113 h 139"/>
                  <a:gd name="T26" fmla="*/ 15 w 200"/>
                  <a:gd name="T27" fmla="*/ 27 h 139"/>
                  <a:gd name="T28" fmla="*/ 26 w 200"/>
                  <a:gd name="T29" fmla="*/ 16 h 139"/>
                  <a:gd name="T30" fmla="*/ 174 w 200"/>
                  <a:gd name="T31" fmla="*/ 16 h 139"/>
                  <a:gd name="T32" fmla="*/ 185 w 200"/>
                  <a:gd name="T33" fmla="*/ 27 h 139"/>
                  <a:gd name="T34" fmla="*/ 185 w 200"/>
                  <a:gd name="T35" fmla="*/ 113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0" h="139">
                    <a:moveTo>
                      <a:pt x="174" y="0"/>
                    </a:moveTo>
                    <a:cubicBezTo>
                      <a:pt x="26" y="0"/>
                      <a:pt x="26" y="0"/>
                      <a:pt x="26" y="0"/>
                    </a:cubicBezTo>
                    <a:cubicBezTo>
                      <a:pt x="12" y="0"/>
                      <a:pt x="0" y="12"/>
                      <a:pt x="0" y="27"/>
                    </a:cubicBezTo>
                    <a:cubicBezTo>
                      <a:pt x="0" y="113"/>
                      <a:pt x="0" y="113"/>
                      <a:pt x="0" y="113"/>
                    </a:cubicBezTo>
                    <a:cubicBezTo>
                      <a:pt x="0" y="127"/>
                      <a:pt x="12" y="139"/>
                      <a:pt x="26" y="139"/>
                    </a:cubicBezTo>
                    <a:cubicBezTo>
                      <a:pt x="174" y="139"/>
                      <a:pt x="174" y="139"/>
                      <a:pt x="174" y="139"/>
                    </a:cubicBezTo>
                    <a:cubicBezTo>
                      <a:pt x="188" y="139"/>
                      <a:pt x="200" y="127"/>
                      <a:pt x="200" y="113"/>
                    </a:cubicBezTo>
                    <a:cubicBezTo>
                      <a:pt x="200" y="27"/>
                      <a:pt x="200" y="27"/>
                      <a:pt x="200" y="27"/>
                    </a:cubicBezTo>
                    <a:cubicBezTo>
                      <a:pt x="200" y="12"/>
                      <a:pt x="188" y="0"/>
                      <a:pt x="174" y="0"/>
                    </a:cubicBezTo>
                    <a:moveTo>
                      <a:pt x="185" y="113"/>
                    </a:moveTo>
                    <a:cubicBezTo>
                      <a:pt x="185" y="119"/>
                      <a:pt x="180" y="124"/>
                      <a:pt x="174" y="124"/>
                    </a:cubicBezTo>
                    <a:cubicBezTo>
                      <a:pt x="26" y="124"/>
                      <a:pt x="26" y="124"/>
                      <a:pt x="26" y="124"/>
                    </a:cubicBezTo>
                    <a:cubicBezTo>
                      <a:pt x="20" y="124"/>
                      <a:pt x="15" y="119"/>
                      <a:pt x="15" y="113"/>
                    </a:cubicBezTo>
                    <a:cubicBezTo>
                      <a:pt x="15" y="27"/>
                      <a:pt x="15" y="27"/>
                      <a:pt x="15" y="27"/>
                    </a:cubicBezTo>
                    <a:cubicBezTo>
                      <a:pt x="15" y="21"/>
                      <a:pt x="20" y="16"/>
                      <a:pt x="26" y="16"/>
                    </a:cubicBezTo>
                    <a:cubicBezTo>
                      <a:pt x="174" y="16"/>
                      <a:pt x="174" y="16"/>
                      <a:pt x="174" y="16"/>
                    </a:cubicBezTo>
                    <a:cubicBezTo>
                      <a:pt x="180" y="16"/>
                      <a:pt x="185" y="21"/>
                      <a:pt x="185" y="27"/>
                    </a:cubicBezTo>
                    <a:lnTo>
                      <a:pt x="185"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96" name="Freeform 20"/>
              <p:cNvSpPr>
                <a:spLocks/>
              </p:cNvSpPr>
              <p:nvPr/>
            </p:nvSpPr>
            <p:spPr bwMode="black">
              <a:xfrm>
                <a:off x="3178176" y="2154238"/>
                <a:ext cx="1035050" cy="239713"/>
              </a:xfrm>
              <a:custGeom>
                <a:avLst/>
                <a:gdLst>
                  <a:gd name="T0" fmla="*/ 7 w 276"/>
                  <a:gd name="T1" fmla="*/ 64 h 64"/>
                  <a:gd name="T2" fmla="*/ 269 w 276"/>
                  <a:gd name="T3" fmla="*/ 64 h 64"/>
                  <a:gd name="T4" fmla="*/ 276 w 276"/>
                  <a:gd name="T5" fmla="*/ 57 h 64"/>
                  <a:gd name="T6" fmla="*/ 276 w 276"/>
                  <a:gd name="T7" fmla="*/ 54 h 64"/>
                  <a:gd name="T8" fmla="*/ 272 w 276"/>
                  <a:gd name="T9" fmla="*/ 42 h 64"/>
                  <a:gd name="T10" fmla="*/ 240 w 276"/>
                  <a:gd name="T11" fmla="*/ 5 h 64"/>
                  <a:gd name="T12" fmla="*/ 229 w 276"/>
                  <a:gd name="T13" fmla="*/ 0 h 64"/>
                  <a:gd name="T14" fmla="*/ 47 w 276"/>
                  <a:gd name="T15" fmla="*/ 0 h 64"/>
                  <a:gd name="T16" fmla="*/ 36 w 276"/>
                  <a:gd name="T17" fmla="*/ 5 h 64"/>
                  <a:gd name="T18" fmla="*/ 4 w 276"/>
                  <a:gd name="T19" fmla="*/ 42 h 64"/>
                  <a:gd name="T20" fmla="*/ 0 w 276"/>
                  <a:gd name="T21" fmla="*/ 54 h 64"/>
                  <a:gd name="T22" fmla="*/ 0 w 276"/>
                  <a:gd name="T23" fmla="*/ 57 h 64"/>
                  <a:gd name="T24" fmla="*/ 7 w 276"/>
                  <a:gd name="T25"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76" h="64">
                    <a:moveTo>
                      <a:pt x="7" y="64"/>
                    </a:moveTo>
                    <a:cubicBezTo>
                      <a:pt x="269" y="64"/>
                      <a:pt x="269" y="64"/>
                      <a:pt x="269" y="64"/>
                    </a:cubicBezTo>
                    <a:cubicBezTo>
                      <a:pt x="273" y="64"/>
                      <a:pt x="276" y="61"/>
                      <a:pt x="276" y="57"/>
                    </a:cubicBezTo>
                    <a:cubicBezTo>
                      <a:pt x="276" y="54"/>
                      <a:pt x="276" y="54"/>
                      <a:pt x="276" y="54"/>
                    </a:cubicBezTo>
                    <a:cubicBezTo>
                      <a:pt x="276" y="50"/>
                      <a:pt x="274" y="45"/>
                      <a:pt x="272" y="42"/>
                    </a:cubicBezTo>
                    <a:cubicBezTo>
                      <a:pt x="240" y="5"/>
                      <a:pt x="240" y="5"/>
                      <a:pt x="240" y="5"/>
                    </a:cubicBezTo>
                    <a:cubicBezTo>
                      <a:pt x="238" y="2"/>
                      <a:pt x="233" y="0"/>
                      <a:pt x="229" y="0"/>
                    </a:cubicBezTo>
                    <a:cubicBezTo>
                      <a:pt x="47" y="0"/>
                      <a:pt x="47" y="0"/>
                      <a:pt x="47" y="0"/>
                    </a:cubicBezTo>
                    <a:cubicBezTo>
                      <a:pt x="43" y="0"/>
                      <a:pt x="38" y="2"/>
                      <a:pt x="36" y="5"/>
                    </a:cubicBezTo>
                    <a:cubicBezTo>
                      <a:pt x="4" y="42"/>
                      <a:pt x="4" y="42"/>
                      <a:pt x="4" y="42"/>
                    </a:cubicBezTo>
                    <a:cubicBezTo>
                      <a:pt x="2" y="45"/>
                      <a:pt x="0" y="50"/>
                      <a:pt x="0" y="54"/>
                    </a:cubicBezTo>
                    <a:cubicBezTo>
                      <a:pt x="0" y="57"/>
                      <a:pt x="0" y="57"/>
                      <a:pt x="0" y="57"/>
                    </a:cubicBezTo>
                    <a:cubicBezTo>
                      <a:pt x="0" y="61"/>
                      <a:pt x="3" y="64"/>
                      <a:pt x="7" y="6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97" name="Freeform 21"/>
              <p:cNvSpPr>
                <a:spLocks noEditPoints="1"/>
              </p:cNvSpPr>
              <p:nvPr/>
            </p:nvSpPr>
            <p:spPr bwMode="black">
              <a:xfrm>
                <a:off x="4730751" y="1639888"/>
                <a:ext cx="781050" cy="608013"/>
              </a:xfrm>
              <a:custGeom>
                <a:avLst/>
                <a:gdLst>
                  <a:gd name="T0" fmla="*/ 177 w 208"/>
                  <a:gd name="T1" fmla="*/ 0 h 162"/>
                  <a:gd name="T2" fmla="*/ 31 w 208"/>
                  <a:gd name="T3" fmla="*/ 0 h 162"/>
                  <a:gd name="T4" fmla="*/ 0 w 208"/>
                  <a:gd name="T5" fmla="*/ 31 h 162"/>
                  <a:gd name="T6" fmla="*/ 0 w 208"/>
                  <a:gd name="T7" fmla="*/ 131 h 162"/>
                  <a:gd name="T8" fmla="*/ 31 w 208"/>
                  <a:gd name="T9" fmla="*/ 162 h 162"/>
                  <a:gd name="T10" fmla="*/ 177 w 208"/>
                  <a:gd name="T11" fmla="*/ 162 h 162"/>
                  <a:gd name="T12" fmla="*/ 208 w 208"/>
                  <a:gd name="T13" fmla="*/ 131 h 162"/>
                  <a:gd name="T14" fmla="*/ 208 w 208"/>
                  <a:gd name="T15" fmla="*/ 31 h 162"/>
                  <a:gd name="T16" fmla="*/ 177 w 208"/>
                  <a:gd name="T17" fmla="*/ 0 h 162"/>
                  <a:gd name="T18" fmla="*/ 190 w 208"/>
                  <a:gd name="T19" fmla="*/ 131 h 162"/>
                  <a:gd name="T20" fmla="*/ 177 w 208"/>
                  <a:gd name="T21" fmla="*/ 144 h 162"/>
                  <a:gd name="T22" fmla="*/ 31 w 208"/>
                  <a:gd name="T23" fmla="*/ 144 h 162"/>
                  <a:gd name="T24" fmla="*/ 18 w 208"/>
                  <a:gd name="T25" fmla="*/ 131 h 162"/>
                  <a:gd name="T26" fmla="*/ 18 w 208"/>
                  <a:gd name="T27" fmla="*/ 31 h 162"/>
                  <a:gd name="T28" fmla="*/ 31 w 208"/>
                  <a:gd name="T29" fmla="*/ 18 h 162"/>
                  <a:gd name="T30" fmla="*/ 177 w 208"/>
                  <a:gd name="T31" fmla="*/ 18 h 162"/>
                  <a:gd name="T32" fmla="*/ 190 w 208"/>
                  <a:gd name="T33" fmla="*/ 31 h 162"/>
                  <a:gd name="T34" fmla="*/ 190 w 208"/>
                  <a:gd name="T35" fmla="*/ 131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8" h="162">
                    <a:moveTo>
                      <a:pt x="177" y="0"/>
                    </a:moveTo>
                    <a:cubicBezTo>
                      <a:pt x="31" y="0"/>
                      <a:pt x="31" y="0"/>
                      <a:pt x="31" y="0"/>
                    </a:cubicBezTo>
                    <a:cubicBezTo>
                      <a:pt x="14" y="0"/>
                      <a:pt x="0" y="14"/>
                      <a:pt x="0" y="31"/>
                    </a:cubicBezTo>
                    <a:cubicBezTo>
                      <a:pt x="0" y="131"/>
                      <a:pt x="0" y="131"/>
                      <a:pt x="0" y="131"/>
                    </a:cubicBezTo>
                    <a:cubicBezTo>
                      <a:pt x="0" y="148"/>
                      <a:pt x="14" y="162"/>
                      <a:pt x="31" y="162"/>
                    </a:cubicBezTo>
                    <a:cubicBezTo>
                      <a:pt x="177" y="162"/>
                      <a:pt x="177" y="162"/>
                      <a:pt x="177" y="162"/>
                    </a:cubicBezTo>
                    <a:cubicBezTo>
                      <a:pt x="194" y="162"/>
                      <a:pt x="208" y="148"/>
                      <a:pt x="208" y="131"/>
                    </a:cubicBezTo>
                    <a:cubicBezTo>
                      <a:pt x="208" y="31"/>
                      <a:pt x="208" y="31"/>
                      <a:pt x="208" y="31"/>
                    </a:cubicBezTo>
                    <a:cubicBezTo>
                      <a:pt x="208" y="14"/>
                      <a:pt x="194" y="0"/>
                      <a:pt x="177" y="0"/>
                    </a:cubicBezTo>
                    <a:moveTo>
                      <a:pt x="190" y="131"/>
                    </a:moveTo>
                    <a:cubicBezTo>
                      <a:pt x="190" y="138"/>
                      <a:pt x="184" y="144"/>
                      <a:pt x="177" y="144"/>
                    </a:cubicBezTo>
                    <a:cubicBezTo>
                      <a:pt x="31" y="144"/>
                      <a:pt x="31" y="144"/>
                      <a:pt x="31" y="144"/>
                    </a:cubicBezTo>
                    <a:cubicBezTo>
                      <a:pt x="24" y="144"/>
                      <a:pt x="18" y="138"/>
                      <a:pt x="18" y="131"/>
                    </a:cubicBezTo>
                    <a:cubicBezTo>
                      <a:pt x="18" y="31"/>
                      <a:pt x="18" y="31"/>
                      <a:pt x="18" y="31"/>
                    </a:cubicBezTo>
                    <a:cubicBezTo>
                      <a:pt x="18" y="24"/>
                      <a:pt x="24" y="18"/>
                      <a:pt x="31" y="18"/>
                    </a:cubicBezTo>
                    <a:cubicBezTo>
                      <a:pt x="177" y="18"/>
                      <a:pt x="177" y="18"/>
                      <a:pt x="177" y="18"/>
                    </a:cubicBezTo>
                    <a:cubicBezTo>
                      <a:pt x="184" y="18"/>
                      <a:pt x="190" y="24"/>
                      <a:pt x="190" y="31"/>
                    </a:cubicBezTo>
                    <a:lnTo>
                      <a:pt x="190" y="1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98" name="Freeform 22"/>
              <p:cNvSpPr>
                <a:spLocks/>
              </p:cNvSpPr>
              <p:nvPr/>
            </p:nvSpPr>
            <p:spPr bwMode="black">
              <a:xfrm>
                <a:off x="4911726" y="2289176"/>
                <a:ext cx="419100" cy="104775"/>
              </a:xfrm>
              <a:custGeom>
                <a:avLst/>
                <a:gdLst>
                  <a:gd name="T0" fmla="*/ 112 w 112"/>
                  <a:gd name="T1" fmla="*/ 25 h 28"/>
                  <a:gd name="T2" fmla="*/ 112 w 112"/>
                  <a:gd name="T3" fmla="*/ 23 h 28"/>
                  <a:gd name="T4" fmla="*/ 110 w 112"/>
                  <a:gd name="T5" fmla="*/ 18 h 28"/>
                  <a:gd name="T6" fmla="*/ 96 w 112"/>
                  <a:gd name="T7" fmla="*/ 2 h 28"/>
                  <a:gd name="T8" fmla="*/ 91 w 112"/>
                  <a:gd name="T9" fmla="*/ 0 h 28"/>
                  <a:gd name="T10" fmla="*/ 21 w 112"/>
                  <a:gd name="T11" fmla="*/ 0 h 28"/>
                  <a:gd name="T12" fmla="*/ 16 w 112"/>
                  <a:gd name="T13" fmla="*/ 2 h 28"/>
                  <a:gd name="T14" fmla="*/ 2 w 112"/>
                  <a:gd name="T15" fmla="*/ 18 h 28"/>
                  <a:gd name="T16" fmla="*/ 0 w 112"/>
                  <a:gd name="T17" fmla="*/ 23 h 28"/>
                  <a:gd name="T18" fmla="*/ 0 w 112"/>
                  <a:gd name="T19" fmla="*/ 25 h 28"/>
                  <a:gd name="T20" fmla="*/ 3 w 112"/>
                  <a:gd name="T21" fmla="*/ 28 h 28"/>
                  <a:gd name="T22" fmla="*/ 109 w 112"/>
                  <a:gd name="T23" fmla="*/ 28 h 28"/>
                  <a:gd name="T24" fmla="*/ 112 w 112"/>
                  <a:gd name="T25" fmla="*/ 25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2" h="28">
                    <a:moveTo>
                      <a:pt x="112" y="25"/>
                    </a:moveTo>
                    <a:cubicBezTo>
                      <a:pt x="112" y="23"/>
                      <a:pt x="112" y="23"/>
                      <a:pt x="112" y="23"/>
                    </a:cubicBezTo>
                    <a:cubicBezTo>
                      <a:pt x="112" y="22"/>
                      <a:pt x="111" y="20"/>
                      <a:pt x="110" y="18"/>
                    </a:cubicBezTo>
                    <a:cubicBezTo>
                      <a:pt x="96" y="2"/>
                      <a:pt x="96" y="2"/>
                      <a:pt x="96" y="2"/>
                    </a:cubicBezTo>
                    <a:cubicBezTo>
                      <a:pt x="95" y="1"/>
                      <a:pt x="93" y="0"/>
                      <a:pt x="91" y="0"/>
                    </a:cubicBezTo>
                    <a:cubicBezTo>
                      <a:pt x="21" y="0"/>
                      <a:pt x="21" y="0"/>
                      <a:pt x="21" y="0"/>
                    </a:cubicBezTo>
                    <a:cubicBezTo>
                      <a:pt x="19" y="0"/>
                      <a:pt x="17" y="1"/>
                      <a:pt x="16" y="2"/>
                    </a:cubicBezTo>
                    <a:cubicBezTo>
                      <a:pt x="2" y="18"/>
                      <a:pt x="2" y="18"/>
                      <a:pt x="2" y="18"/>
                    </a:cubicBezTo>
                    <a:cubicBezTo>
                      <a:pt x="1" y="20"/>
                      <a:pt x="0" y="22"/>
                      <a:pt x="0" y="23"/>
                    </a:cubicBezTo>
                    <a:cubicBezTo>
                      <a:pt x="0" y="25"/>
                      <a:pt x="0" y="25"/>
                      <a:pt x="0" y="25"/>
                    </a:cubicBezTo>
                    <a:cubicBezTo>
                      <a:pt x="0" y="26"/>
                      <a:pt x="1" y="28"/>
                      <a:pt x="3" y="28"/>
                    </a:cubicBezTo>
                    <a:cubicBezTo>
                      <a:pt x="109" y="28"/>
                      <a:pt x="109" y="28"/>
                      <a:pt x="109" y="28"/>
                    </a:cubicBezTo>
                    <a:cubicBezTo>
                      <a:pt x="111" y="28"/>
                      <a:pt x="112" y="26"/>
                      <a:pt x="112" y="2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99" name="Freeform 23"/>
              <p:cNvSpPr>
                <a:spLocks noEditPoints="1"/>
              </p:cNvSpPr>
              <p:nvPr/>
            </p:nvSpPr>
            <p:spPr bwMode="black">
              <a:xfrm>
                <a:off x="5586413" y="1639888"/>
                <a:ext cx="385763" cy="754063"/>
              </a:xfrm>
              <a:custGeom>
                <a:avLst/>
                <a:gdLst>
                  <a:gd name="T0" fmla="*/ 89 w 103"/>
                  <a:gd name="T1" fmla="*/ 0 h 201"/>
                  <a:gd name="T2" fmla="*/ 13 w 103"/>
                  <a:gd name="T3" fmla="*/ 0 h 201"/>
                  <a:gd name="T4" fmla="*/ 0 w 103"/>
                  <a:gd name="T5" fmla="*/ 13 h 201"/>
                  <a:gd name="T6" fmla="*/ 0 w 103"/>
                  <a:gd name="T7" fmla="*/ 187 h 201"/>
                  <a:gd name="T8" fmla="*/ 13 w 103"/>
                  <a:gd name="T9" fmla="*/ 201 h 201"/>
                  <a:gd name="T10" fmla="*/ 89 w 103"/>
                  <a:gd name="T11" fmla="*/ 201 h 201"/>
                  <a:gd name="T12" fmla="*/ 103 w 103"/>
                  <a:gd name="T13" fmla="*/ 187 h 201"/>
                  <a:gd name="T14" fmla="*/ 103 w 103"/>
                  <a:gd name="T15" fmla="*/ 13 h 201"/>
                  <a:gd name="T16" fmla="*/ 89 w 103"/>
                  <a:gd name="T17" fmla="*/ 0 h 201"/>
                  <a:gd name="T18" fmla="*/ 52 w 103"/>
                  <a:gd name="T19" fmla="*/ 187 h 201"/>
                  <a:gd name="T20" fmla="*/ 40 w 103"/>
                  <a:gd name="T21" fmla="*/ 175 h 201"/>
                  <a:gd name="T22" fmla="*/ 52 w 103"/>
                  <a:gd name="T23" fmla="*/ 163 h 201"/>
                  <a:gd name="T24" fmla="*/ 63 w 103"/>
                  <a:gd name="T25" fmla="*/ 175 h 201"/>
                  <a:gd name="T26" fmla="*/ 52 w 103"/>
                  <a:gd name="T27" fmla="*/ 187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3" h="201">
                    <a:moveTo>
                      <a:pt x="89" y="0"/>
                    </a:moveTo>
                    <a:cubicBezTo>
                      <a:pt x="13" y="0"/>
                      <a:pt x="13" y="0"/>
                      <a:pt x="13" y="0"/>
                    </a:cubicBezTo>
                    <a:cubicBezTo>
                      <a:pt x="6" y="0"/>
                      <a:pt x="0" y="6"/>
                      <a:pt x="0" y="13"/>
                    </a:cubicBezTo>
                    <a:cubicBezTo>
                      <a:pt x="0" y="187"/>
                      <a:pt x="0" y="187"/>
                      <a:pt x="0" y="187"/>
                    </a:cubicBezTo>
                    <a:cubicBezTo>
                      <a:pt x="0" y="195"/>
                      <a:pt x="6" y="201"/>
                      <a:pt x="13" y="201"/>
                    </a:cubicBezTo>
                    <a:cubicBezTo>
                      <a:pt x="89" y="201"/>
                      <a:pt x="89" y="201"/>
                      <a:pt x="89" y="201"/>
                    </a:cubicBezTo>
                    <a:cubicBezTo>
                      <a:pt x="97" y="201"/>
                      <a:pt x="103" y="195"/>
                      <a:pt x="103" y="187"/>
                    </a:cubicBezTo>
                    <a:cubicBezTo>
                      <a:pt x="103" y="13"/>
                      <a:pt x="103" y="13"/>
                      <a:pt x="103" y="13"/>
                    </a:cubicBezTo>
                    <a:cubicBezTo>
                      <a:pt x="103" y="6"/>
                      <a:pt x="97" y="0"/>
                      <a:pt x="89" y="0"/>
                    </a:cubicBezTo>
                    <a:moveTo>
                      <a:pt x="52" y="187"/>
                    </a:moveTo>
                    <a:cubicBezTo>
                      <a:pt x="45" y="187"/>
                      <a:pt x="40" y="181"/>
                      <a:pt x="40" y="175"/>
                    </a:cubicBezTo>
                    <a:cubicBezTo>
                      <a:pt x="40" y="168"/>
                      <a:pt x="45" y="163"/>
                      <a:pt x="52" y="163"/>
                    </a:cubicBezTo>
                    <a:cubicBezTo>
                      <a:pt x="58" y="163"/>
                      <a:pt x="63" y="168"/>
                      <a:pt x="63" y="175"/>
                    </a:cubicBezTo>
                    <a:cubicBezTo>
                      <a:pt x="63" y="181"/>
                      <a:pt x="58" y="187"/>
                      <a:pt x="52" y="18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00" name="Freeform 24"/>
              <p:cNvSpPr>
                <a:spLocks noEditPoints="1"/>
              </p:cNvSpPr>
              <p:nvPr/>
            </p:nvSpPr>
            <p:spPr bwMode="black">
              <a:xfrm>
                <a:off x="2462213" y="3032126"/>
                <a:ext cx="525463" cy="804863"/>
              </a:xfrm>
              <a:custGeom>
                <a:avLst/>
                <a:gdLst>
                  <a:gd name="T0" fmla="*/ 109 w 140"/>
                  <a:gd name="T1" fmla="*/ 0 h 215"/>
                  <a:gd name="T2" fmla="*/ 31 w 140"/>
                  <a:gd name="T3" fmla="*/ 0 h 215"/>
                  <a:gd name="T4" fmla="*/ 0 w 140"/>
                  <a:gd name="T5" fmla="*/ 30 h 215"/>
                  <a:gd name="T6" fmla="*/ 0 w 140"/>
                  <a:gd name="T7" fmla="*/ 184 h 215"/>
                  <a:gd name="T8" fmla="*/ 31 w 140"/>
                  <a:gd name="T9" fmla="*/ 215 h 215"/>
                  <a:gd name="T10" fmla="*/ 109 w 140"/>
                  <a:gd name="T11" fmla="*/ 215 h 215"/>
                  <a:gd name="T12" fmla="*/ 140 w 140"/>
                  <a:gd name="T13" fmla="*/ 184 h 215"/>
                  <a:gd name="T14" fmla="*/ 140 w 140"/>
                  <a:gd name="T15" fmla="*/ 30 h 215"/>
                  <a:gd name="T16" fmla="*/ 109 w 140"/>
                  <a:gd name="T17" fmla="*/ 0 h 215"/>
                  <a:gd name="T18" fmla="*/ 122 w 140"/>
                  <a:gd name="T19" fmla="*/ 177 h 215"/>
                  <a:gd name="T20" fmla="*/ 109 w 140"/>
                  <a:gd name="T21" fmla="*/ 195 h 215"/>
                  <a:gd name="T22" fmla="*/ 31 w 140"/>
                  <a:gd name="T23" fmla="*/ 195 h 215"/>
                  <a:gd name="T24" fmla="*/ 18 w 140"/>
                  <a:gd name="T25" fmla="*/ 177 h 215"/>
                  <a:gd name="T26" fmla="*/ 18 w 140"/>
                  <a:gd name="T27" fmla="*/ 35 h 215"/>
                  <a:gd name="T28" fmla="*/ 31 w 140"/>
                  <a:gd name="T29" fmla="*/ 18 h 215"/>
                  <a:gd name="T30" fmla="*/ 109 w 140"/>
                  <a:gd name="T31" fmla="*/ 18 h 215"/>
                  <a:gd name="T32" fmla="*/ 122 w 140"/>
                  <a:gd name="T33" fmla="*/ 35 h 215"/>
                  <a:gd name="T34" fmla="*/ 122 w 140"/>
                  <a:gd name="T35" fmla="*/ 177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0" h="215">
                    <a:moveTo>
                      <a:pt x="109" y="0"/>
                    </a:moveTo>
                    <a:cubicBezTo>
                      <a:pt x="31" y="0"/>
                      <a:pt x="31" y="0"/>
                      <a:pt x="31" y="0"/>
                    </a:cubicBezTo>
                    <a:cubicBezTo>
                      <a:pt x="14" y="0"/>
                      <a:pt x="0" y="13"/>
                      <a:pt x="0" y="30"/>
                    </a:cubicBezTo>
                    <a:cubicBezTo>
                      <a:pt x="0" y="184"/>
                      <a:pt x="0" y="184"/>
                      <a:pt x="0" y="184"/>
                    </a:cubicBezTo>
                    <a:cubicBezTo>
                      <a:pt x="0" y="201"/>
                      <a:pt x="14" y="215"/>
                      <a:pt x="31" y="215"/>
                    </a:cubicBezTo>
                    <a:cubicBezTo>
                      <a:pt x="109" y="215"/>
                      <a:pt x="109" y="215"/>
                      <a:pt x="109" y="215"/>
                    </a:cubicBezTo>
                    <a:cubicBezTo>
                      <a:pt x="126" y="215"/>
                      <a:pt x="140" y="201"/>
                      <a:pt x="140" y="184"/>
                    </a:cubicBezTo>
                    <a:cubicBezTo>
                      <a:pt x="140" y="30"/>
                      <a:pt x="140" y="30"/>
                      <a:pt x="140" y="30"/>
                    </a:cubicBezTo>
                    <a:cubicBezTo>
                      <a:pt x="140" y="13"/>
                      <a:pt x="126" y="0"/>
                      <a:pt x="109" y="0"/>
                    </a:cubicBezTo>
                    <a:moveTo>
                      <a:pt x="122" y="177"/>
                    </a:moveTo>
                    <a:cubicBezTo>
                      <a:pt x="122" y="187"/>
                      <a:pt x="116" y="195"/>
                      <a:pt x="109" y="195"/>
                    </a:cubicBezTo>
                    <a:cubicBezTo>
                      <a:pt x="31" y="195"/>
                      <a:pt x="31" y="195"/>
                      <a:pt x="31" y="195"/>
                    </a:cubicBezTo>
                    <a:cubicBezTo>
                      <a:pt x="24" y="195"/>
                      <a:pt x="18" y="187"/>
                      <a:pt x="18" y="177"/>
                    </a:cubicBezTo>
                    <a:cubicBezTo>
                      <a:pt x="18" y="35"/>
                      <a:pt x="18" y="35"/>
                      <a:pt x="18" y="35"/>
                    </a:cubicBezTo>
                    <a:cubicBezTo>
                      <a:pt x="18" y="26"/>
                      <a:pt x="24" y="18"/>
                      <a:pt x="31" y="18"/>
                    </a:cubicBezTo>
                    <a:cubicBezTo>
                      <a:pt x="109" y="18"/>
                      <a:pt x="109" y="18"/>
                      <a:pt x="109" y="18"/>
                    </a:cubicBezTo>
                    <a:cubicBezTo>
                      <a:pt x="116" y="18"/>
                      <a:pt x="122" y="26"/>
                      <a:pt x="122" y="35"/>
                    </a:cubicBezTo>
                    <a:lnTo>
                      <a:pt x="122" y="17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01" name="Freeform 25"/>
              <p:cNvSpPr>
                <a:spLocks noEditPoints="1"/>
              </p:cNvSpPr>
              <p:nvPr/>
            </p:nvSpPr>
            <p:spPr bwMode="black">
              <a:xfrm>
                <a:off x="5049838" y="4411663"/>
                <a:ext cx="739775" cy="854075"/>
              </a:xfrm>
              <a:custGeom>
                <a:avLst/>
                <a:gdLst>
                  <a:gd name="T0" fmla="*/ 98 w 197"/>
                  <a:gd name="T1" fmla="*/ 0 h 228"/>
                  <a:gd name="T2" fmla="*/ 0 w 197"/>
                  <a:gd name="T3" fmla="*/ 33 h 228"/>
                  <a:gd name="T4" fmla="*/ 0 w 197"/>
                  <a:gd name="T5" fmla="*/ 195 h 228"/>
                  <a:gd name="T6" fmla="*/ 98 w 197"/>
                  <a:gd name="T7" fmla="*/ 228 h 228"/>
                  <a:gd name="T8" fmla="*/ 197 w 197"/>
                  <a:gd name="T9" fmla="*/ 195 h 228"/>
                  <a:gd name="T10" fmla="*/ 197 w 197"/>
                  <a:gd name="T11" fmla="*/ 33 h 228"/>
                  <a:gd name="T12" fmla="*/ 98 w 197"/>
                  <a:gd name="T13" fmla="*/ 0 h 228"/>
                  <a:gd name="T14" fmla="*/ 98 w 197"/>
                  <a:gd name="T15" fmla="*/ 55 h 228"/>
                  <a:gd name="T16" fmla="*/ 15 w 197"/>
                  <a:gd name="T17" fmla="*/ 32 h 228"/>
                  <a:gd name="T18" fmla="*/ 98 w 197"/>
                  <a:gd name="T19" fmla="*/ 10 h 228"/>
                  <a:gd name="T20" fmla="*/ 182 w 197"/>
                  <a:gd name="T21" fmla="*/ 32 h 228"/>
                  <a:gd name="T22" fmla="*/ 98 w 197"/>
                  <a:gd name="T23" fmla="*/ 55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7" h="228">
                    <a:moveTo>
                      <a:pt x="98" y="0"/>
                    </a:moveTo>
                    <a:cubicBezTo>
                      <a:pt x="62" y="0"/>
                      <a:pt x="0" y="7"/>
                      <a:pt x="0" y="33"/>
                    </a:cubicBezTo>
                    <a:cubicBezTo>
                      <a:pt x="0" y="195"/>
                      <a:pt x="0" y="195"/>
                      <a:pt x="0" y="195"/>
                    </a:cubicBezTo>
                    <a:cubicBezTo>
                      <a:pt x="0" y="221"/>
                      <a:pt x="62" y="228"/>
                      <a:pt x="98" y="228"/>
                    </a:cubicBezTo>
                    <a:cubicBezTo>
                      <a:pt x="135" y="228"/>
                      <a:pt x="197" y="221"/>
                      <a:pt x="197" y="195"/>
                    </a:cubicBezTo>
                    <a:cubicBezTo>
                      <a:pt x="197" y="33"/>
                      <a:pt x="197" y="33"/>
                      <a:pt x="197" y="33"/>
                    </a:cubicBezTo>
                    <a:cubicBezTo>
                      <a:pt x="197" y="7"/>
                      <a:pt x="135" y="0"/>
                      <a:pt x="98" y="0"/>
                    </a:cubicBezTo>
                    <a:moveTo>
                      <a:pt x="98" y="55"/>
                    </a:moveTo>
                    <a:cubicBezTo>
                      <a:pt x="52" y="55"/>
                      <a:pt x="15" y="45"/>
                      <a:pt x="15" y="32"/>
                    </a:cubicBezTo>
                    <a:cubicBezTo>
                      <a:pt x="15" y="20"/>
                      <a:pt x="52" y="10"/>
                      <a:pt x="98" y="10"/>
                    </a:cubicBezTo>
                    <a:cubicBezTo>
                      <a:pt x="144" y="10"/>
                      <a:pt x="182" y="20"/>
                      <a:pt x="182" y="32"/>
                    </a:cubicBezTo>
                    <a:cubicBezTo>
                      <a:pt x="182" y="45"/>
                      <a:pt x="144" y="55"/>
                      <a:pt x="98" y="5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02" name="Freeform 26"/>
              <p:cNvSpPr>
                <a:spLocks noEditPoints="1"/>
              </p:cNvSpPr>
              <p:nvPr/>
            </p:nvSpPr>
            <p:spPr bwMode="black">
              <a:xfrm>
                <a:off x="6043613" y="2960688"/>
                <a:ext cx="641350" cy="876300"/>
              </a:xfrm>
              <a:custGeom>
                <a:avLst/>
                <a:gdLst>
                  <a:gd name="T0" fmla="*/ 146 w 171"/>
                  <a:gd name="T1" fmla="*/ 0 h 234"/>
                  <a:gd name="T2" fmla="*/ 25 w 171"/>
                  <a:gd name="T3" fmla="*/ 0 h 234"/>
                  <a:gd name="T4" fmla="*/ 0 w 171"/>
                  <a:gd name="T5" fmla="*/ 25 h 234"/>
                  <a:gd name="T6" fmla="*/ 0 w 171"/>
                  <a:gd name="T7" fmla="*/ 209 h 234"/>
                  <a:gd name="T8" fmla="*/ 25 w 171"/>
                  <a:gd name="T9" fmla="*/ 234 h 234"/>
                  <a:gd name="T10" fmla="*/ 146 w 171"/>
                  <a:gd name="T11" fmla="*/ 234 h 234"/>
                  <a:gd name="T12" fmla="*/ 171 w 171"/>
                  <a:gd name="T13" fmla="*/ 209 h 234"/>
                  <a:gd name="T14" fmla="*/ 171 w 171"/>
                  <a:gd name="T15" fmla="*/ 25 h 234"/>
                  <a:gd name="T16" fmla="*/ 146 w 171"/>
                  <a:gd name="T17" fmla="*/ 0 h 234"/>
                  <a:gd name="T18" fmla="*/ 157 w 171"/>
                  <a:gd name="T19" fmla="*/ 183 h 234"/>
                  <a:gd name="T20" fmla="*/ 146 w 171"/>
                  <a:gd name="T21" fmla="*/ 193 h 234"/>
                  <a:gd name="T22" fmla="*/ 25 w 171"/>
                  <a:gd name="T23" fmla="*/ 193 h 234"/>
                  <a:gd name="T24" fmla="*/ 15 w 171"/>
                  <a:gd name="T25" fmla="*/ 183 h 234"/>
                  <a:gd name="T26" fmla="*/ 15 w 171"/>
                  <a:gd name="T27" fmla="*/ 25 h 234"/>
                  <a:gd name="T28" fmla="*/ 25 w 171"/>
                  <a:gd name="T29" fmla="*/ 14 h 234"/>
                  <a:gd name="T30" fmla="*/ 146 w 171"/>
                  <a:gd name="T31" fmla="*/ 14 h 234"/>
                  <a:gd name="T32" fmla="*/ 157 w 171"/>
                  <a:gd name="T33" fmla="*/ 25 h 234"/>
                  <a:gd name="T34" fmla="*/ 157 w 171"/>
                  <a:gd name="T35" fmla="*/ 183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1" h="234">
                    <a:moveTo>
                      <a:pt x="146" y="0"/>
                    </a:moveTo>
                    <a:cubicBezTo>
                      <a:pt x="25" y="0"/>
                      <a:pt x="25" y="0"/>
                      <a:pt x="25" y="0"/>
                    </a:cubicBezTo>
                    <a:cubicBezTo>
                      <a:pt x="11" y="0"/>
                      <a:pt x="0" y="11"/>
                      <a:pt x="0" y="25"/>
                    </a:cubicBezTo>
                    <a:cubicBezTo>
                      <a:pt x="0" y="209"/>
                      <a:pt x="0" y="209"/>
                      <a:pt x="0" y="209"/>
                    </a:cubicBezTo>
                    <a:cubicBezTo>
                      <a:pt x="0" y="223"/>
                      <a:pt x="11" y="234"/>
                      <a:pt x="25" y="234"/>
                    </a:cubicBezTo>
                    <a:cubicBezTo>
                      <a:pt x="146" y="234"/>
                      <a:pt x="146" y="234"/>
                      <a:pt x="146" y="234"/>
                    </a:cubicBezTo>
                    <a:cubicBezTo>
                      <a:pt x="160" y="234"/>
                      <a:pt x="171" y="223"/>
                      <a:pt x="171" y="209"/>
                    </a:cubicBezTo>
                    <a:cubicBezTo>
                      <a:pt x="171" y="25"/>
                      <a:pt x="171" y="25"/>
                      <a:pt x="171" y="25"/>
                    </a:cubicBezTo>
                    <a:cubicBezTo>
                      <a:pt x="171" y="11"/>
                      <a:pt x="160" y="0"/>
                      <a:pt x="146" y="0"/>
                    </a:cubicBezTo>
                    <a:moveTo>
                      <a:pt x="157" y="183"/>
                    </a:moveTo>
                    <a:cubicBezTo>
                      <a:pt x="157" y="188"/>
                      <a:pt x="152" y="193"/>
                      <a:pt x="146" y="193"/>
                    </a:cubicBezTo>
                    <a:cubicBezTo>
                      <a:pt x="25" y="193"/>
                      <a:pt x="25" y="193"/>
                      <a:pt x="25" y="193"/>
                    </a:cubicBezTo>
                    <a:cubicBezTo>
                      <a:pt x="19" y="193"/>
                      <a:pt x="15" y="188"/>
                      <a:pt x="15" y="183"/>
                    </a:cubicBezTo>
                    <a:cubicBezTo>
                      <a:pt x="15" y="25"/>
                      <a:pt x="15" y="25"/>
                      <a:pt x="15" y="25"/>
                    </a:cubicBezTo>
                    <a:cubicBezTo>
                      <a:pt x="15" y="19"/>
                      <a:pt x="19" y="14"/>
                      <a:pt x="25" y="14"/>
                    </a:cubicBezTo>
                    <a:cubicBezTo>
                      <a:pt x="146" y="14"/>
                      <a:pt x="146" y="14"/>
                      <a:pt x="146" y="14"/>
                    </a:cubicBezTo>
                    <a:cubicBezTo>
                      <a:pt x="152" y="14"/>
                      <a:pt x="157" y="19"/>
                      <a:pt x="157" y="25"/>
                    </a:cubicBezTo>
                    <a:lnTo>
                      <a:pt x="157" y="18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03" name="Oval 27"/>
              <p:cNvSpPr>
                <a:spLocks noChangeArrowheads="1"/>
              </p:cNvSpPr>
              <p:nvPr/>
            </p:nvSpPr>
            <p:spPr bwMode="black">
              <a:xfrm>
                <a:off x="6224588" y="3725863"/>
                <a:ext cx="52388" cy="523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04" name="Oval 28"/>
              <p:cNvSpPr>
                <a:spLocks noChangeArrowheads="1"/>
              </p:cNvSpPr>
              <p:nvPr/>
            </p:nvSpPr>
            <p:spPr bwMode="black">
              <a:xfrm>
                <a:off x="6453188" y="3725863"/>
                <a:ext cx="52388" cy="523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05" name="Oval 29"/>
              <p:cNvSpPr>
                <a:spLocks noChangeArrowheads="1"/>
              </p:cNvSpPr>
              <p:nvPr/>
            </p:nvSpPr>
            <p:spPr bwMode="black">
              <a:xfrm>
                <a:off x="6340476" y="3725863"/>
                <a:ext cx="52388" cy="523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06" name="Freeform 30"/>
              <p:cNvSpPr>
                <a:spLocks/>
              </p:cNvSpPr>
              <p:nvPr/>
            </p:nvSpPr>
            <p:spPr bwMode="black">
              <a:xfrm>
                <a:off x="3425826" y="4279901"/>
                <a:ext cx="442913" cy="161925"/>
              </a:xfrm>
              <a:custGeom>
                <a:avLst/>
                <a:gdLst>
                  <a:gd name="T0" fmla="*/ 0 w 118"/>
                  <a:gd name="T1" fmla="*/ 43 h 43"/>
                  <a:gd name="T2" fmla="*/ 14 w 118"/>
                  <a:gd name="T3" fmla="*/ 39 h 43"/>
                  <a:gd name="T4" fmla="*/ 108 w 118"/>
                  <a:gd name="T5" fmla="*/ 39 h 43"/>
                  <a:gd name="T6" fmla="*/ 118 w 118"/>
                  <a:gd name="T7" fmla="*/ 41 h 43"/>
                  <a:gd name="T8" fmla="*/ 105 w 118"/>
                  <a:gd name="T9" fmla="*/ 15 h 43"/>
                  <a:gd name="T10" fmla="*/ 81 w 118"/>
                  <a:gd name="T11" fmla="*/ 0 h 43"/>
                  <a:gd name="T12" fmla="*/ 39 w 118"/>
                  <a:gd name="T13" fmla="*/ 0 h 43"/>
                  <a:gd name="T14" fmla="*/ 15 w 118"/>
                  <a:gd name="T15" fmla="*/ 15 h 43"/>
                  <a:gd name="T16" fmla="*/ 0 w 118"/>
                  <a:gd name="T17" fmla="*/ 4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8" h="43">
                    <a:moveTo>
                      <a:pt x="0" y="43"/>
                    </a:moveTo>
                    <a:cubicBezTo>
                      <a:pt x="4" y="40"/>
                      <a:pt x="9" y="39"/>
                      <a:pt x="14" y="39"/>
                    </a:cubicBezTo>
                    <a:cubicBezTo>
                      <a:pt x="108" y="39"/>
                      <a:pt x="108" y="39"/>
                      <a:pt x="108" y="39"/>
                    </a:cubicBezTo>
                    <a:cubicBezTo>
                      <a:pt x="111" y="39"/>
                      <a:pt x="115" y="40"/>
                      <a:pt x="118" y="41"/>
                    </a:cubicBezTo>
                    <a:cubicBezTo>
                      <a:pt x="105" y="15"/>
                      <a:pt x="105" y="15"/>
                      <a:pt x="105" y="15"/>
                    </a:cubicBezTo>
                    <a:cubicBezTo>
                      <a:pt x="101" y="7"/>
                      <a:pt x="90" y="0"/>
                      <a:pt x="81" y="0"/>
                    </a:cubicBezTo>
                    <a:cubicBezTo>
                      <a:pt x="39" y="0"/>
                      <a:pt x="39" y="0"/>
                      <a:pt x="39" y="0"/>
                    </a:cubicBezTo>
                    <a:cubicBezTo>
                      <a:pt x="30" y="0"/>
                      <a:pt x="19" y="7"/>
                      <a:pt x="15" y="15"/>
                    </a:cubicBezTo>
                    <a:lnTo>
                      <a:pt x="0" y="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07" name="Freeform 31"/>
              <p:cNvSpPr>
                <a:spLocks noEditPoints="1"/>
              </p:cNvSpPr>
              <p:nvPr/>
            </p:nvSpPr>
            <p:spPr bwMode="black">
              <a:xfrm>
                <a:off x="3414713" y="4456113"/>
                <a:ext cx="476250" cy="809625"/>
              </a:xfrm>
              <a:custGeom>
                <a:avLst/>
                <a:gdLst>
                  <a:gd name="T0" fmla="*/ 119 w 127"/>
                  <a:gd name="T1" fmla="*/ 2 h 216"/>
                  <a:gd name="T2" fmla="*/ 111 w 127"/>
                  <a:gd name="T3" fmla="*/ 0 h 216"/>
                  <a:gd name="T4" fmla="*/ 17 w 127"/>
                  <a:gd name="T5" fmla="*/ 0 h 216"/>
                  <a:gd name="T6" fmla="*/ 9 w 127"/>
                  <a:gd name="T7" fmla="*/ 2 h 216"/>
                  <a:gd name="T8" fmla="*/ 0 w 127"/>
                  <a:gd name="T9" fmla="*/ 17 h 216"/>
                  <a:gd name="T10" fmla="*/ 0 w 127"/>
                  <a:gd name="T11" fmla="*/ 199 h 216"/>
                  <a:gd name="T12" fmla="*/ 17 w 127"/>
                  <a:gd name="T13" fmla="*/ 216 h 216"/>
                  <a:gd name="T14" fmla="*/ 111 w 127"/>
                  <a:gd name="T15" fmla="*/ 216 h 216"/>
                  <a:gd name="T16" fmla="*/ 127 w 127"/>
                  <a:gd name="T17" fmla="*/ 199 h 216"/>
                  <a:gd name="T18" fmla="*/ 127 w 127"/>
                  <a:gd name="T19" fmla="*/ 17 h 216"/>
                  <a:gd name="T20" fmla="*/ 119 w 127"/>
                  <a:gd name="T21" fmla="*/ 2 h 216"/>
                  <a:gd name="T22" fmla="*/ 105 w 127"/>
                  <a:gd name="T23" fmla="*/ 180 h 216"/>
                  <a:gd name="T24" fmla="*/ 29 w 127"/>
                  <a:gd name="T25" fmla="*/ 180 h 216"/>
                  <a:gd name="T26" fmla="*/ 22 w 127"/>
                  <a:gd name="T27" fmla="*/ 173 h 216"/>
                  <a:gd name="T28" fmla="*/ 29 w 127"/>
                  <a:gd name="T29" fmla="*/ 166 h 216"/>
                  <a:gd name="T30" fmla="*/ 105 w 127"/>
                  <a:gd name="T31" fmla="*/ 166 h 216"/>
                  <a:gd name="T32" fmla="*/ 111 w 127"/>
                  <a:gd name="T33" fmla="*/ 173 h 216"/>
                  <a:gd name="T34" fmla="*/ 105 w 127"/>
                  <a:gd name="T35" fmla="*/ 180 h 216"/>
                  <a:gd name="T36" fmla="*/ 105 w 127"/>
                  <a:gd name="T37" fmla="*/ 149 h 216"/>
                  <a:gd name="T38" fmla="*/ 29 w 127"/>
                  <a:gd name="T39" fmla="*/ 149 h 216"/>
                  <a:gd name="T40" fmla="*/ 22 w 127"/>
                  <a:gd name="T41" fmla="*/ 143 h 216"/>
                  <a:gd name="T42" fmla="*/ 29 w 127"/>
                  <a:gd name="T43" fmla="*/ 136 h 216"/>
                  <a:gd name="T44" fmla="*/ 105 w 127"/>
                  <a:gd name="T45" fmla="*/ 136 h 216"/>
                  <a:gd name="T46" fmla="*/ 111 w 127"/>
                  <a:gd name="T47" fmla="*/ 143 h 216"/>
                  <a:gd name="T48" fmla="*/ 105 w 127"/>
                  <a:gd name="T49" fmla="*/ 149 h 216"/>
                  <a:gd name="T50" fmla="*/ 105 w 127"/>
                  <a:gd name="T51" fmla="*/ 119 h 216"/>
                  <a:gd name="T52" fmla="*/ 29 w 127"/>
                  <a:gd name="T53" fmla="*/ 119 h 216"/>
                  <a:gd name="T54" fmla="*/ 22 w 127"/>
                  <a:gd name="T55" fmla="*/ 112 h 216"/>
                  <a:gd name="T56" fmla="*/ 29 w 127"/>
                  <a:gd name="T57" fmla="*/ 106 h 216"/>
                  <a:gd name="T58" fmla="*/ 105 w 127"/>
                  <a:gd name="T59" fmla="*/ 106 h 216"/>
                  <a:gd name="T60" fmla="*/ 111 w 127"/>
                  <a:gd name="T61" fmla="*/ 112 h 216"/>
                  <a:gd name="T62" fmla="*/ 105 w 127"/>
                  <a:gd name="T63" fmla="*/ 119 h 216"/>
                  <a:gd name="T64" fmla="*/ 102 w 127"/>
                  <a:gd name="T65" fmla="*/ 40 h 216"/>
                  <a:gd name="T66" fmla="*/ 93 w 127"/>
                  <a:gd name="T67" fmla="*/ 31 h 216"/>
                  <a:gd name="T68" fmla="*/ 102 w 127"/>
                  <a:gd name="T69" fmla="*/ 22 h 216"/>
                  <a:gd name="T70" fmla="*/ 111 w 127"/>
                  <a:gd name="T71" fmla="*/ 31 h 216"/>
                  <a:gd name="T72" fmla="*/ 102 w 127"/>
                  <a:gd name="T73" fmla="*/ 40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7" h="216">
                    <a:moveTo>
                      <a:pt x="119" y="2"/>
                    </a:moveTo>
                    <a:cubicBezTo>
                      <a:pt x="116" y="1"/>
                      <a:pt x="114" y="0"/>
                      <a:pt x="111" y="0"/>
                    </a:cubicBezTo>
                    <a:cubicBezTo>
                      <a:pt x="17" y="0"/>
                      <a:pt x="17" y="0"/>
                      <a:pt x="17" y="0"/>
                    </a:cubicBezTo>
                    <a:cubicBezTo>
                      <a:pt x="14" y="0"/>
                      <a:pt x="11" y="1"/>
                      <a:pt x="9" y="2"/>
                    </a:cubicBezTo>
                    <a:cubicBezTo>
                      <a:pt x="4" y="5"/>
                      <a:pt x="0" y="10"/>
                      <a:pt x="0" y="17"/>
                    </a:cubicBezTo>
                    <a:cubicBezTo>
                      <a:pt x="0" y="199"/>
                      <a:pt x="0" y="199"/>
                      <a:pt x="0" y="199"/>
                    </a:cubicBezTo>
                    <a:cubicBezTo>
                      <a:pt x="0" y="208"/>
                      <a:pt x="8" y="216"/>
                      <a:pt x="17" y="216"/>
                    </a:cubicBezTo>
                    <a:cubicBezTo>
                      <a:pt x="111" y="216"/>
                      <a:pt x="111" y="216"/>
                      <a:pt x="111" y="216"/>
                    </a:cubicBezTo>
                    <a:cubicBezTo>
                      <a:pt x="120" y="216"/>
                      <a:pt x="127" y="208"/>
                      <a:pt x="127" y="199"/>
                    </a:cubicBezTo>
                    <a:cubicBezTo>
                      <a:pt x="127" y="17"/>
                      <a:pt x="127" y="17"/>
                      <a:pt x="127" y="17"/>
                    </a:cubicBezTo>
                    <a:cubicBezTo>
                      <a:pt x="127" y="10"/>
                      <a:pt x="124" y="5"/>
                      <a:pt x="119" y="2"/>
                    </a:cubicBezTo>
                    <a:moveTo>
                      <a:pt x="105" y="180"/>
                    </a:moveTo>
                    <a:cubicBezTo>
                      <a:pt x="29" y="180"/>
                      <a:pt x="29" y="180"/>
                      <a:pt x="29" y="180"/>
                    </a:cubicBezTo>
                    <a:cubicBezTo>
                      <a:pt x="25" y="180"/>
                      <a:pt x="22" y="177"/>
                      <a:pt x="22" y="173"/>
                    </a:cubicBezTo>
                    <a:cubicBezTo>
                      <a:pt x="22" y="169"/>
                      <a:pt x="25" y="166"/>
                      <a:pt x="29" y="166"/>
                    </a:cubicBezTo>
                    <a:cubicBezTo>
                      <a:pt x="105" y="166"/>
                      <a:pt x="105" y="166"/>
                      <a:pt x="105" y="166"/>
                    </a:cubicBezTo>
                    <a:cubicBezTo>
                      <a:pt x="108" y="166"/>
                      <a:pt x="111" y="169"/>
                      <a:pt x="111" y="173"/>
                    </a:cubicBezTo>
                    <a:cubicBezTo>
                      <a:pt x="111" y="177"/>
                      <a:pt x="108" y="180"/>
                      <a:pt x="105" y="180"/>
                    </a:cubicBezTo>
                    <a:moveTo>
                      <a:pt x="105" y="149"/>
                    </a:moveTo>
                    <a:cubicBezTo>
                      <a:pt x="29" y="149"/>
                      <a:pt x="29" y="149"/>
                      <a:pt x="29" y="149"/>
                    </a:cubicBezTo>
                    <a:cubicBezTo>
                      <a:pt x="25" y="149"/>
                      <a:pt x="22" y="146"/>
                      <a:pt x="22" y="143"/>
                    </a:cubicBezTo>
                    <a:cubicBezTo>
                      <a:pt x="22" y="139"/>
                      <a:pt x="25" y="136"/>
                      <a:pt x="29" y="136"/>
                    </a:cubicBezTo>
                    <a:cubicBezTo>
                      <a:pt x="105" y="136"/>
                      <a:pt x="105" y="136"/>
                      <a:pt x="105" y="136"/>
                    </a:cubicBezTo>
                    <a:cubicBezTo>
                      <a:pt x="108" y="136"/>
                      <a:pt x="111" y="139"/>
                      <a:pt x="111" y="143"/>
                    </a:cubicBezTo>
                    <a:cubicBezTo>
                      <a:pt x="111" y="146"/>
                      <a:pt x="108" y="149"/>
                      <a:pt x="105" y="149"/>
                    </a:cubicBezTo>
                    <a:moveTo>
                      <a:pt x="105" y="119"/>
                    </a:moveTo>
                    <a:cubicBezTo>
                      <a:pt x="29" y="119"/>
                      <a:pt x="29" y="119"/>
                      <a:pt x="29" y="119"/>
                    </a:cubicBezTo>
                    <a:cubicBezTo>
                      <a:pt x="25" y="119"/>
                      <a:pt x="22" y="116"/>
                      <a:pt x="22" y="112"/>
                    </a:cubicBezTo>
                    <a:cubicBezTo>
                      <a:pt x="22" y="109"/>
                      <a:pt x="25" y="106"/>
                      <a:pt x="29" y="106"/>
                    </a:cubicBezTo>
                    <a:cubicBezTo>
                      <a:pt x="105" y="106"/>
                      <a:pt x="105" y="106"/>
                      <a:pt x="105" y="106"/>
                    </a:cubicBezTo>
                    <a:cubicBezTo>
                      <a:pt x="108" y="106"/>
                      <a:pt x="111" y="109"/>
                      <a:pt x="111" y="112"/>
                    </a:cubicBezTo>
                    <a:cubicBezTo>
                      <a:pt x="111" y="116"/>
                      <a:pt x="108" y="119"/>
                      <a:pt x="105" y="119"/>
                    </a:cubicBezTo>
                    <a:moveTo>
                      <a:pt x="102" y="40"/>
                    </a:moveTo>
                    <a:cubicBezTo>
                      <a:pt x="97" y="40"/>
                      <a:pt x="93" y="36"/>
                      <a:pt x="93" y="31"/>
                    </a:cubicBezTo>
                    <a:cubicBezTo>
                      <a:pt x="93" y="26"/>
                      <a:pt x="97" y="22"/>
                      <a:pt x="102" y="22"/>
                    </a:cubicBezTo>
                    <a:cubicBezTo>
                      <a:pt x="107" y="22"/>
                      <a:pt x="111" y="26"/>
                      <a:pt x="111" y="31"/>
                    </a:cubicBezTo>
                    <a:cubicBezTo>
                      <a:pt x="111" y="36"/>
                      <a:pt x="107" y="40"/>
                      <a:pt x="102" y="4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grpSp>
      </p:grpSp>
      <p:grpSp>
        <p:nvGrpSpPr>
          <p:cNvPr id="6" name="Group 5"/>
          <p:cNvGrpSpPr/>
          <p:nvPr/>
        </p:nvGrpSpPr>
        <p:grpSpPr>
          <a:xfrm>
            <a:off x="395106" y="2046339"/>
            <a:ext cx="6320920" cy="709416"/>
            <a:chOff x="339110" y="1953693"/>
            <a:chExt cx="6320920" cy="709416"/>
          </a:xfrm>
        </p:grpSpPr>
        <p:grpSp>
          <p:nvGrpSpPr>
            <p:cNvPr id="7" name="Group 6"/>
            <p:cNvGrpSpPr/>
            <p:nvPr/>
          </p:nvGrpSpPr>
          <p:grpSpPr>
            <a:xfrm>
              <a:off x="339110" y="1953693"/>
              <a:ext cx="6320920" cy="709416"/>
              <a:chOff x="330771" y="4208462"/>
              <a:chExt cx="6320920" cy="709416"/>
            </a:xfrm>
          </p:grpSpPr>
          <p:sp>
            <p:nvSpPr>
              <p:cNvPr id="57" name="Rectangle 56"/>
              <p:cNvSpPr/>
              <p:nvPr/>
            </p:nvSpPr>
            <p:spPr bwMode="auto">
              <a:xfrm>
                <a:off x="330771" y="4208462"/>
                <a:ext cx="6320920" cy="709416"/>
              </a:xfrm>
              <a:prstGeom prst="rect">
                <a:avLst/>
              </a:prstGeom>
              <a:noFill/>
              <a:ln>
                <a:solidFill>
                  <a:schemeClr val="tx1">
                    <a:lumMod val="50000"/>
                    <a:lumOff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1356" tIns="143428" rIns="179285" bIns="143428" numCol="1" spcCol="0" rtlCol="0" fromWordArt="0" anchor="ctr" anchorCtr="0" forceAA="0" compatLnSpc="1">
                <a:prstTxWarp prst="textNoShape">
                  <a:avLst/>
                </a:prstTxWarp>
                <a:noAutofit/>
              </a:bodyPr>
              <a:lstStyle/>
              <a:p>
                <a:pPr marL="685800" defTabSz="914367" fontAlgn="base">
                  <a:lnSpc>
                    <a:spcPct val="90000"/>
                  </a:lnSpc>
                  <a:spcBef>
                    <a:spcPct val="20000"/>
                  </a:spcBef>
                  <a:spcAft>
                    <a:spcPct val="0"/>
                  </a:spcAft>
                  <a:buSzPct val="90000"/>
                </a:pPr>
                <a:r>
                  <a:rPr lang="en-US" sz="2000">
                    <a:ln w="3175">
                      <a:noFill/>
                    </a:ln>
                    <a:solidFill>
                      <a:schemeClr val="tx1"/>
                    </a:solidFill>
                    <a:latin typeface="Calibri Light" panose="020F0302020204030204"/>
                  </a:rPr>
                  <a:t>Live connection to your data sources, </a:t>
                </a:r>
                <a:br>
                  <a:rPr lang="en-US" sz="2000">
                    <a:ln w="3175">
                      <a:noFill/>
                    </a:ln>
                    <a:solidFill>
                      <a:schemeClr val="tx1"/>
                    </a:solidFill>
                    <a:latin typeface="Calibri Light" panose="020F0302020204030204"/>
                  </a:rPr>
                </a:br>
                <a:r>
                  <a:rPr lang="en-US" sz="2000">
                    <a:ln w="3175">
                      <a:noFill/>
                    </a:ln>
                    <a:solidFill>
                      <a:schemeClr val="tx1"/>
                    </a:solidFill>
                    <a:latin typeface="Calibri Light" panose="020F0302020204030204"/>
                  </a:rPr>
                  <a:t>on-premises and in the cloud</a:t>
                </a:r>
              </a:p>
            </p:txBody>
          </p:sp>
          <p:sp>
            <p:nvSpPr>
              <p:cNvPr id="81" name="Rectangle 80"/>
              <p:cNvSpPr/>
              <p:nvPr/>
            </p:nvSpPr>
            <p:spPr bwMode="auto">
              <a:xfrm>
                <a:off x="330772" y="4208462"/>
                <a:ext cx="709416" cy="70941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622491" defTabSz="914102" fontAlgn="base">
                  <a:lnSpc>
                    <a:spcPct val="90000"/>
                  </a:lnSpc>
                  <a:spcBef>
                    <a:spcPct val="0"/>
                  </a:spcBef>
                  <a:spcAft>
                    <a:spcPct val="0"/>
                  </a:spcAft>
                </a:pPr>
                <a:endParaRPr lang="en-US" sz="2745">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84" name="Freeform 83"/>
              <p:cNvSpPr>
                <a:spLocks noChangeAspect="1" noEditPoints="1"/>
              </p:cNvSpPr>
              <p:nvPr/>
            </p:nvSpPr>
            <p:spPr bwMode="auto">
              <a:xfrm>
                <a:off x="703062" y="4387480"/>
                <a:ext cx="184378" cy="365760"/>
              </a:xfrm>
              <a:custGeom>
                <a:avLst/>
                <a:gdLst>
                  <a:gd name="T0" fmla="*/ 0 w 185"/>
                  <a:gd name="T1" fmla="*/ 0 h 376"/>
                  <a:gd name="T2" fmla="*/ 0 w 185"/>
                  <a:gd name="T3" fmla="*/ 376 h 376"/>
                  <a:gd name="T4" fmla="*/ 185 w 185"/>
                  <a:gd name="T5" fmla="*/ 376 h 376"/>
                  <a:gd name="T6" fmla="*/ 185 w 185"/>
                  <a:gd name="T7" fmla="*/ 0 h 376"/>
                  <a:gd name="T8" fmla="*/ 0 w 185"/>
                  <a:gd name="T9" fmla="*/ 0 h 376"/>
                  <a:gd name="T10" fmla="*/ 86 w 185"/>
                  <a:gd name="T11" fmla="*/ 304 h 376"/>
                  <a:gd name="T12" fmla="*/ 20 w 185"/>
                  <a:gd name="T13" fmla="*/ 304 h 376"/>
                  <a:gd name="T14" fmla="*/ 20 w 185"/>
                  <a:gd name="T15" fmla="*/ 244 h 376"/>
                  <a:gd name="T16" fmla="*/ 86 w 185"/>
                  <a:gd name="T17" fmla="*/ 244 h 376"/>
                  <a:gd name="T18" fmla="*/ 86 w 185"/>
                  <a:gd name="T19" fmla="*/ 304 h 376"/>
                  <a:gd name="T20" fmla="*/ 86 w 185"/>
                  <a:gd name="T21" fmla="*/ 230 h 376"/>
                  <a:gd name="T22" fmla="*/ 20 w 185"/>
                  <a:gd name="T23" fmla="*/ 230 h 376"/>
                  <a:gd name="T24" fmla="*/ 20 w 185"/>
                  <a:gd name="T25" fmla="*/ 171 h 376"/>
                  <a:gd name="T26" fmla="*/ 86 w 185"/>
                  <a:gd name="T27" fmla="*/ 171 h 376"/>
                  <a:gd name="T28" fmla="*/ 86 w 185"/>
                  <a:gd name="T29" fmla="*/ 230 h 376"/>
                  <a:gd name="T30" fmla="*/ 86 w 185"/>
                  <a:gd name="T31" fmla="*/ 157 h 376"/>
                  <a:gd name="T32" fmla="*/ 20 w 185"/>
                  <a:gd name="T33" fmla="*/ 157 h 376"/>
                  <a:gd name="T34" fmla="*/ 20 w 185"/>
                  <a:gd name="T35" fmla="*/ 98 h 376"/>
                  <a:gd name="T36" fmla="*/ 86 w 185"/>
                  <a:gd name="T37" fmla="*/ 98 h 376"/>
                  <a:gd name="T38" fmla="*/ 86 w 185"/>
                  <a:gd name="T39" fmla="*/ 157 h 376"/>
                  <a:gd name="T40" fmla="*/ 86 w 185"/>
                  <a:gd name="T41" fmla="*/ 85 h 376"/>
                  <a:gd name="T42" fmla="*/ 20 w 185"/>
                  <a:gd name="T43" fmla="*/ 85 h 376"/>
                  <a:gd name="T44" fmla="*/ 20 w 185"/>
                  <a:gd name="T45" fmla="*/ 25 h 376"/>
                  <a:gd name="T46" fmla="*/ 86 w 185"/>
                  <a:gd name="T47" fmla="*/ 25 h 376"/>
                  <a:gd name="T48" fmla="*/ 86 w 185"/>
                  <a:gd name="T49" fmla="*/ 85 h 376"/>
                  <a:gd name="T50" fmla="*/ 166 w 185"/>
                  <a:gd name="T51" fmla="*/ 304 h 376"/>
                  <a:gd name="T52" fmla="*/ 99 w 185"/>
                  <a:gd name="T53" fmla="*/ 304 h 376"/>
                  <a:gd name="T54" fmla="*/ 99 w 185"/>
                  <a:gd name="T55" fmla="*/ 244 h 376"/>
                  <a:gd name="T56" fmla="*/ 166 w 185"/>
                  <a:gd name="T57" fmla="*/ 244 h 376"/>
                  <a:gd name="T58" fmla="*/ 166 w 185"/>
                  <a:gd name="T59" fmla="*/ 304 h 376"/>
                  <a:gd name="T60" fmla="*/ 166 w 185"/>
                  <a:gd name="T61" fmla="*/ 230 h 376"/>
                  <a:gd name="T62" fmla="*/ 99 w 185"/>
                  <a:gd name="T63" fmla="*/ 230 h 376"/>
                  <a:gd name="T64" fmla="*/ 99 w 185"/>
                  <a:gd name="T65" fmla="*/ 171 h 376"/>
                  <a:gd name="T66" fmla="*/ 166 w 185"/>
                  <a:gd name="T67" fmla="*/ 171 h 376"/>
                  <a:gd name="T68" fmla="*/ 166 w 185"/>
                  <a:gd name="T69" fmla="*/ 230 h 376"/>
                  <a:gd name="T70" fmla="*/ 166 w 185"/>
                  <a:gd name="T71" fmla="*/ 157 h 376"/>
                  <a:gd name="T72" fmla="*/ 99 w 185"/>
                  <a:gd name="T73" fmla="*/ 157 h 376"/>
                  <a:gd name="T74" fmla="*/ 99 w 185"/>
                  <a:gd name="T75" fmla="*/ 98 h 376"/>
                  <a:gd name="T76" fmla="*/ 166 w 185"/>
                  <a:gd name="T77" fmla="*/ 98 h 376"/>
                  <a:gd name="T78" fmla="*/ 166 w 185"/>
                  <a:gd name="T79" fmla="*/ 157 h 376"/>
                  <a:gd name="T80" fmla="*/ 166 w 185"/>
                  <a:gd name="T81" fmla="*/ 85 h 376"/>
                  <a:gd name="T82" fmla="*/ 99 w 185"/>
                  <a:gd name="T83" fmla="*/ 85 h 376"/>
                  <a:gd name="T84" fmla="*/ 99 w 185"/>
                  <a:gd name="T85" fmla="*/ 25 h 376"/>
                  <a:gd name="T86" fmla="*/ 166 w 185"/>
                  <a:gd name="T87" fmla="*/ 25 h 376"/>
                  <a:gd name="T88" fmla="*/ 166 w 185"/>
                  <a:gd name="T89" fmla="*/ 85 h 3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85" h="376">
                    <a:moveTo>
                      <a:pt x="0" y="0"/>
                    </a:moveTo>
                    <a:lnTo>
                      <a:pt x="0" y="376"/>
                    </a:lnTo>
                    <a:lnTo>
                      <a:pt x="185" y="376"/>
                    </a:lnTo>
                    <a:lnTo>
                      <a:pt x="185" y="0"/>
                    </a:lnTo>
                    <a:lnTo>
                      <a:pt x="0" y="0"/>
                    </a:lnTo>
                    <a:close/>
                    <a:moveTo>
                      <a:pt x="86" y="304"/>
                    </a:moveTo>
                    <a:lnTo>
                      <a:pt x="20" y="304"/>
                    </a:lnTo>
                    <a:lnTo>
                      <a:pt x="20" y="244"/>
                    </a:lnTo>
                    <a:lnTo>
                      <a:pt x="86" y="244"/>
                    </a:lnTo>
                    <a:lnTo>
                      <a:pt x="86" y="304"/>
                    </a:lnTo>
                    <a:close/>
                    <a:moveTo>
                      <a:pt x="86" y="230"/>
                    </a:moveTo>
                    <a:lnTo>
                      <a:pt x="20" y="230"/>
                    </a:lnTo>
                    <a:lnTo>
                      <a:pt x="20" y="171"/>
                    </a:lnTo>
                    <a:lnTo>
                      <a:pt x="86" y="171"/>
                    </a:lnTo>
                    <a:lnTo>
                      <a:pt x="86" y="230"/>
                    </a:lnTo>
                    <a:close/>
                    <a:moveTo>
                      <a:pt x="86" y="157"/>
                    </a:moveTo>
                    <a:lnTo>
                      <a:pt x="20" y="157"/>
                    </a:lnTo>
                    <a:lnTo>
                      <a:pt x="20" y="98"/>
                    </a:lnTo>
                    <a:lnTo>
                      <a:pt x="86" y="98"/>
                    </a:lnTo>
                    <a:lnTo>
                      <a:pt x="86" y="157"/>
                    </a:lnTo>
                    <a:close/>
                    <a:moveTo>
                      <a:pt x="86" y="85"/>
                    </a:moveTo>
                    <a:lnTo>
                      <a:pt x="20" y="85"/>
                    </a:lnTo>
                    <a:lnTo>
                      <a:pt x="20" y="25"/>
                    </a:lnTo>
                    <a:lnTo>
                      <a:pt x="86" y="25"/>
                    </a:lnTo>
                    <a:lnTo>
                      <a:pt x="86" y="85"/>
                    </a:lnTo>
                    <a:close/>
                    <a:moveTo>
                      <a:pt x="166" y="304"/>
                    </a:moveTo>
                    <a:lnTo>
                      <a:pt x="99" y="304"/>
                    </a:lnTo>
                    <a:lnTo>
                      <a:pt x="99" y="244"/>
                    </a:lnTo>
                    <a:lnTo>
                      <a:pt x="166" y="244"/>
                    </a:lnTo>
                    <a:lnTo>
                      <a:pt x="166" y="304"/>
                    </a:lnTo>
                    <a:close/>
                    <a:moveTo>
                      <a:pt x="166" y="230"/>
                    </a:moveTo>
                    <a:lnTo>
                      <a:pt x="99" y="230"/>
                    </a:lnTo>
                    <a:lnTo>
                      <a:pt x="99" y="171"/>
                    </a:lnTo>
                    <a:lnTo>
                      <a:pt x="166" y="171"/>
                    </a:lnTo>
                    <a:lnTo>
                      <a:pt x="166" y="230"/>
                    </a:lnTo>
                    <a:close/>
                    <a:moveTo>
                      <a:pt x="166" y="157"/>
                    </a:moveTo>
                    <a:lnTo>
                      <a:pt x="99" y="157"/>
                    </a:lnTo>
                    <a:lnTo>
                      <a:pt x="99" y="98"/>
                    </a:lnTo>
                    <a:lnTo>
                      <a:pt x="166" y="98"/>
                    </a:lnTo>
                    <a:lnTo>
                      <a:pt x="166" y="157"/>
                    </a:lnTo>
                    <a:close/>
                    <a:moveTo>
                      <a:pt x="166" y="85"/>
                    </a:moveTo>
                    <a:lnTo>
                      <a:pt x="99" y="85"/>
                    </a:lnTo>
                    <a:lnTo>
                      <a:pt x="99" y="25"/>
                    </a:lnTo>
                    <a:lnTo>
                      <a:pt x="166" y="25"/>
                    </a:lnTo>
                    <a:lnTo>
                      <a:pt x="166" y="85"/>
                    </a:lnTo>
                    <a:close/>
                  </a:path>
                </a:pathLst>
              </a:custGeom>
              <a:solidFill>
                <a:srgbClr val="F2C812"/>
              </a:solidFill>
              <a:ln>
                <a:noFill/>
              </a:ln>
            </p:spPr>
            <p:txBody>
              <a:bodyPr vert="horz" wrap="square" lIns="87855" tIns="43927" rIns="87855" bIns="43927"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endParaRPr lang="en-US" sz="2307">
                  <a:solidFill>
                    <a:srgbClr val="000000"/>
                  </a:solidFill>
                </a:endParaRPr>
              </a:p>
            </p:txBody>
          </p:sp>
        </p:grpSp>
        <p:sp>
          <p:nvSpPr>
            <p:cNvPr id="108" name="Freeform 107"/>
            <p:cNvSpPr>
              <a:spLocks noChangeAspect="1" noEditPoints="1"/>
            </p:cNvSpPr>
            <p:nvPr/>
          </p:nvSpPr>
          <p:spPr bwMode="black">
            <a:xfrm>
              <a:off x="432609" y="2312640"/>
              <a:ext cx="293634" cy="182880"/>
            </a:xfrm>
            <a:custGeom>
              <a:avLst/>
              <a:gdLst>
                <a:gd name="T0" fmla="*/ 1277 w 1355"/>
                <a:gd name="T1" fmla="*/ 371 h 843"/>
                <a:gd name="T2" fmla="*/ 1157 w 1355"/>
                <a:gd name="T3" fmla="*/ 298 h 843"/>
                <a:gd name="T4" fmla="*/ 1157 w 1355"/>
                <a:gd name="T5" fmla="*/ 277 h 843"/>
                <a:gd name="T6" fmla="*/ 1080 w 1355"/>
                <a:gd name="T7" fmla="*/ 83 h 843"/>
                <a:gd name="T8" fmla="*/ 888 w 1355"/>
                <a:gd name="T9" fmla="*/ 0 h 843"/>
                <a:gd name="T10" fmla="*/ 650 w 1355"/>
                <a:gd name="T11" fmla="*/ 135 h 843"/>
                <a:gd name="T12" fmla="*/ 544 w 1355"/>
                <a:gd name="T13" fmla="*/ 114 h 843"/>
                <a:gd name="T14" fmla="*/ 353 w 1355"/>
                <a:gd name="T15" fmla="*/ 189 h 843"/>
                <a:gd name="T16" fmla="*/ 287 w 1355"/>
                <a:gd name="T17" fmla="*/ 287 h 843"/>
                <a:gd name="T18" fmla="*/ 275 w 1355"/>
                <a:gd name="T19" fmla="*/ 287 h 843"/>
                <a:gd name="T20" fmla="*/ 82 w 1355"/>
                <a:gd name="T21" fmla="*/ 370 h 843"/>
                <a:gd name="T22" fmla="*/ 0 w 1355"/>
                <a:gd name="T23" fmla="*/ 565 h 843"/>
                <a:gd name="T24" fmla="*/ 82 w 1355"/>
                <a:gd name="T25" fmla="*/ 760 h 843"/>
                <a:gd name="T26" fmla="*/ 275 w 1355"/>
                <a:gd name="T27" fmla="*/ 843 h 843"/>
                <a:gd name="T28" fmla="*/ 1080 w 1355"/>
                <a:gd name="T29" fmla="*/ 843 h 843"/>
                <a:gd name="T30" fmla="*/ 1277 w 1355"/>
                <a:gd name="T31" fmla="*/ 760 h 843"/>
                <a:gd name="T32" fmla="*/ 1355 w 1355"/>
                <a:gd name="T33" fmla="*/ 565 h 843"/>
                <a:gd name="T34" fmla="*/ 1277 w 1355"/>
                <a:gd name="T35" fmla="*/ 371 h 843"/>
                <a:gd name="T36" fmla="*/ 1080 w 1355"/>
                <a:gd name="T37" fmla="*/ 766 h 843"/>
                <a:gd name="T38" fmla="*/ 275 w 1355"/>
                <a:gd name="T39" fmla="*/ 766 h 843"/>
                <a:gd name="T40" fmla="*/ 76 w 1355"/>
                <a:gd name="T41" fmla="*/ 565 h 843"/>
                <a:gd name="T42" fmla="*/ 275 w 1355"/>
                <a:gd name="T43" fmla="*/ 364 h 843"/>
                <a:gd name="T44" fmla="*/ 346 w 1355"/>
                <a:gd name="T45" fmla="*/ 381 h 843"/>
                <a:gd name="T46" fmla="*/ 544 w 1355"/>
                <a:gd name="T47" fmla="*/ 191 h 843"/>
                <a:gd name="T48" fmla="*/ 689 w 1355"/>
                <a:gd name="T49" fmla="*/ 255 h 843"/>
                <a:gd name="T50" fmla="*/ 888 w 1355"/>
                <a:gd name="T51" fmla="*/ 77 h 843"/>
                <a:gd name="T52" fmla="*/ 1080 w 1355"/>
                <a:gd name="T53" fmla="*/ 277 h 843"/>
                <a:gd name="T54" fmla="*/ 1064 w 1355"/>
                <a:gd name="T55" fmla="*/ 370 h 843"/>
                <a:gd name="T56" fmla="*/ 1080 w 1355"/>
                <a:gd name="T57" fmla="*/ 364 h 843"/>
                <a:gd name="T58" fmla="*/ 1278 w 1355"/>
                <a:gd name="T59" fmla="*/ 565 h 843"/>
                <a:gd name="T60" fmla="*/ 1080 w 1355"/>
                <a:gd name="T61" fmla="*/ 766 h 8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355" h="843">
                  <a:moveTo>
                    <a:pt x="1277" y="371"/>
                  </a:moveTo>
                  <a:cubicBezTo>
                    <a:pt x="1242" y="335"/>
                    <a:pt x="1201" y="311"/>
                    <a:pt x="1157" y="298"/>
                  </a:cubicBezTo>
                  <a:cubicBezTo>
                    <a:pt x="1157" y="291"/>
                    <a:pt x="1157" y="285"/>
                    <a:pt x="1157" y="277"/>
                  </a:cubicBezTo>
                  <a:cubicBezTo>
                    <a:pt x="1157" y="205"/>
                    <a:pt x="1130" y="136"/>
                    <a:pt x="1080" y="83"/>
                  </a:cubicBezTo>
                  <a:cubicBezTo>
                    <a:pt x="1028" y="29"/>
                    <a:pt x="959" y="0"/>
                    <a:pt x="888" y="0"/>
                  </a:cubicBezTo>
                  <a:cubicBezTo>
                    <a:pt x="789" y="0"/>
                    <a:pt x="700" y="54"/>
                    <a:pt x="650" y="135"/>
                  </a:cubicBezTo>
                  <a:cubicBezTo>
                    <a:pt x="618" y="121"/>
                    <a:pt x="581" y="114"/>
                    <a:pt x="544" y="114"/>
                  </a:cubicBezTo>
                  <a:cubicBezTo>
                    <a:pt x="471" y="114"/>
                    <a:pt x="404" y="141"/>
                    <a:pt x="353" y="189"/>
                  </a:cubicBezTo>
                  <a:cubicBezTo>
                    <a:pt x="324" y="217"/>
                    <a:pt x="302" y="250"/>
                    <a:pt x="287" y="287"/>
                  </a:cubicBezTo>
                  <a:cubicBezTo>
                    <a:pt x="283" y="287"/>
                    <a:pt x="279" y="287"/>
                    <a:pt x="275" y="287"/>
                  </a:cubicBezTo>
                  <a:cubicBezTo>
                    <a:pt x="203" y="287"/>
                    <a:pt x="134" y="317"/>
                    <a:pt x="82" y="370"/>
                  </a:cubicBezTo>
                  <a:cubicBezTo>
                    <a:pt x="29" y="422"/>
                    <a:pt x="0" y="492"/>
                    <a:pt x="0" y="565"/>
                  </a:cubicBezTo>
                  <a:cubicBezTo>
                    <a:pt x="0" y="638"/>
                    <a:pt x="29" y="707"/>
                    <a:pt x="82" y="760"/>
                  </a:cubicBezTo>
                  <a:cubicBezTo>
                    <a:pt x="134" y="814"/>
                    <a:pt x="203" y="843"/>
                    <a:pt x="275" y="843"/>
                  </a:cubicBezTo>
                  <a:cubicBezTo>
                    <a:pt x="1080" y="843"/>
                    <a:pt x="1080" y="843"/>
                    <a:pt x="1080" y="843"/>
                  </a:cubicBezTo>
                  <a:cubicBezTo>
                    <a:pt x="1155" y="843"/>
                    <a:pt x="1224" y="814"/>
                    <a:pt x="1277" y="760"/>
                  </a:cubicBezTo>
                  <a:cubicBezTo>
                    <a:pt x="1327" y="707"/>
                    <a:pt x="1355" y="638"/>
                    <a:pt x="1355" y="565"/>
                  </a:cubicBezTo>
                  <a:cubicBezTo>
                    <a:pt x="1355" y="492"/>
                    <a:pt x="1327" y="422"/>
                    <a:pt x="1277" y="371"/>
                  </a:cubicBezTo>
                  <a:close/>
                  <a:moveTo>
                    <a:pt x="1080" y="766"/>
                  </a:moveTo>
                  <a:cubicBezTo>
                    <a:pt x="1080" y="766"/>
                    <a:pt x="437" y="766"/>
                    <a:pt x="275" y="766"/>
                  </a:cubicBezTo>
                  <a:cubicBezTo>
                    <a:pt x="167" y="766"/>
                    <a:pt x="76" y="674"/>
                    <a:pt x="76" y="565"/>
                  </a:cubicBezTo>
                  <a:cubicBezTo>
                    <a:pt x="76" y="457"/>
                    <a:pt x="167" y="364"/>
                    <a:pt x="275" y="364"/>
                  </a:cubicBezTo>
                  <a:cubicBezTo>
                    <a:pt x="302" y="364"/>
                    <a:pt x="324" y="370"/>
                    <a:pt x="346" y="381"/>
                  </a:cubicBezTo>
                  <a:cubicBezTo>
                    <a:pt x="351" y="272"/>
                    <a:pt x="437" y="191"/>
                    <a:pt x="544" y="191"/>
                  </a:cubicBezTo>
                  <a:cubicBezTo>
                    <a:pt x="603" y="191"/>
                    <a:pt x="650" y="213"/>
                    <a:pt x="689" y="255"/>
                  </a:cubicBezTo>
                  <a:cubicBezTo>
                    <a:pt x="699" y="158"/>
                    <a:pt x="785" y="77"/>
                    <a:pt x="888" y="77"/>
                  </a:cubicBezTo>
                  <a:cubicBezTo>
                    <a:pt x="994" y="77"/>
                    <a:pt x="1080" y="169"/>
                    <a:pt x="1080" y="277"/>
                  </a:cubicBezTo>
                  <a:cubicBezTo>
                    <a:pt x="1080" y="311"/>
                    <a:pt x="1075" y="343"/>
                    <a:pt x="1064" y="370"/>
                  </a:cubicBezTo>
                  <a:cubicBezTo>
                    <a:pt x="1069" y="364"/>
                    <a:pt x="1075" y="364"/>
                    <a:pt x="1080" y="364"/>
                  </a:cubicBezTo>
                  <a:cubicBezTo>
                    <a:pt x="1192" y="364"/>
                    <a:pt x="1278" y="457"/>
                    <a:pt x="1278" y="565"/>
                  </a:cubicBezTo>
                  <a:cubicBezTo>
                    <a:pt x="1278" y="674"/>
                    <a:pt x="1192" y="766"/>
                    <a:pt x="1080" y="766"/>
                  </a:cubicBezTo>
                  <a:close/>
                </a:path>
              </a:pathLst>
            </a:custGeom>
            <a:solidFill>
              <a:srgbClr val="F2C812"/>
            </a:solidFill>
            <a:ln w="19050">
              <a:solidFill>
                <a:srgbClr val="F2C812"/>
              </a:solidFill>
            </a:ln>
          </p:spPr>
          <p:txBody>
            <a:bodyPr vert="horz" wrap="square" lIns="68574" tIns="34287" rIns="68574" bIns="34287"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US" sz="1350">
                <a:ln w="19050">
                  <a:solidFill>
                    <a:schemeClr val="tx1"/>
                  </a:solidFill>
                </a:ln>
              </a:endParaRPr>
            </a:p>
          </p:txBody>
        </p:sp>
      </p:grpSp>
      <p:grpSp>
        <p:nvGrpSpPr>
          <p:cNvPr id="8" name="Group 7"/>
          <p:cNvGrpSpPr/>
          <p:nvPr/>
        </p:nvGrpSpPr>
        <p:grpSpPr>
          <a:xfrm>
            <a:off x="395106" y="2862552"/>
            <a:ext cx="6320920" cy="709416"/>
            <a:chOff x="339110" y="2860140"/>
            <a:chExt cx="6320920" cy="709416"/>
          </a:xfrm>
        </p:grpSpPr>
        <p:grpSp>
          <p:nvGrpSpPr>
            <p:cNvPr id="3" name="Group 2"/>
            <p:cNvGrpSpPr/>
            <p:nvPr/>
          </p:nvGrpSpPr>
          <p:grpSpPr>
            <a:xfrm>
              <a:off x="339110" y="2860140"/>
              <a:ext cx="6320920" cy="709416"/>
              <a:chOff x="330771" y="2616822"/>
              <a:chExt cx="6320920" cy="709416"/>
            </a:xfrm>
          </p:grpSpPr>
          <p:sp>
            <p:nvSpPr>
              <p:cNvPr id="56" name="Rectangle 55"/>
              <p:cNvSpPr/>
              <p:nvPr/>
            </p:nvSpPr>
            <p:spPr bwMode="auto">
              <a:xfrm>
                <a:off x="330771" y="2616822"/>
                <a:ext cx="6320920" cy="709416"/>
              </a:xfrm>
              <a:prstGeom prst="rect">
                <a:avLst/>
              </a:prstGeom>
              <a:noFill/>
              <a:ln>
                <a:solidFill>
                  <a:schemeClr val="tx1">
                    <a:lumMod val="50000"/>
                    <a:lumOff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1356" tIns="143428" rIns="179285" bIns="143428" numCol="1" spcCol="0" rtlCol="0" fromWordArt="0" anchor="ctr" anchorCtr="0" forceAA="0" compatLnSpc="1">
                <a:prstTxWarp prst="textNoShape">
                  <a:avLst/>
                </a:prstTxWarp>
                <a:noAutofit/>
              </a:bodyPr>
              <a:lstStyle/>
              <a:p>
                <a:pPr marL="685800" defTabSz="914367" fontAlgn="base">
                  <a:lnSpc>
                    <a:spcPct val="90000"/>
                  </a:lnSpc>
                  <a:spcBef>
                    <a:spcPct val="20000"/>
                  </a:spcBef>
                  <a:spcAft>
                    <a:spcPct val="0"/>
                  </a:spcAft>
                  <a:buSzPct val="90000"/>
                </a:pPr>
                <a:r>
                  <a:rPr lang="en-US" sz="2000">
                    <a:ln w="3175">
                      <a:noFill/>
                    </a:ln>
                    <a:solidFill>
                      <a:schemeClr val="tx1"/>
                    </a:solidFill>
                    <a:latin typeface="Calibri Light" panose="020F0302020204030204"/>
                  </a:rPr>
                  <a:t>Keep your data secure, use groups to manage access and sharing</a:t>
                </a:r>
              </a:p>
            </p:txBody>
          </p:sp>
          <p:sp>
            <p:nvSpPr>
              <p:cNvPr id="72" name="Rectangle 71"/>
              <p:cNvSpPr/>
              <p:nvPr/>
            </p:nvSpPr>
            <p:spPr bwMode="auto">
              <a:xfrm>
                <a:off x="332292" y="2616822"/>
                <a:ext cx="709416" cy="70941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622491" defTabSz="914102" fontAlgn="base">
                  <a:lnSpc>
                    <a:spcPct val="90000"/>
                  </a:lnSpc>
                  <a:spcBef>
                    <a:spcPct val="0"/>
                  </a:spcBef>
                  <a:spcAft>
                    <a:spcPct val="0"/>
                  </a:spcAft>
                </a:pPr>
                <a:endParaRPr lang="en-US" sz="2745">
                  <a:gradFill>
                    <a:gsLst>
                      <a:gs pos="0">
                        <a:srgbClr val="FFFFFF"/>
                      </a:gs>
                      <a:gs pos="100000">
                        <a:srgbClr val="FFFFFF"/>
                      </a:gs>
                    </a:gsLst>
                    <a:lin ang="5400000" scaled="0"/>
                  </a:gradFill>
                  <a:latin typeface="Segoe UI Light"/>
                  <a:ea typeface="Segoe UI" pitchFamily="34" charset="0"/>
                  <a:cs typeface="Segoe UI" pitchFamily="34" charset="0"/>
                </a:endParaRPr>
              </a:p>
            </p:txBody>
          </p:sp>
        </p:grpSp>
        <p:pic>
          <p:nvPicPr>
            <p:cNvPr id="113" name="Picture 112"/>
            <p:cNvPicPr>
              <a:picLocks noChangeAspect="1"/>
            </p:cNvPicPr>
            <p:nvPr/>
          </p:nvPicPr>
          <p:blipFill>
            <a:blip r:embed="rId3"/>
            <a:stretch>
              <a:fillRect/>
            </a:stretch>
          </p:blipFill>
          <p:spPr>
            <a:xfrm flipH="1">
              <a:off x="551678" y="3040583"/>
              <a:ext cx="264160" cy="365760"/>
            </a:xfrm>
            <a:prstGeom prst="rect">
              <a:avLst/>
            </a:prstGeom>
          </p:spPr>
        </p:pic>
      </p:grpSp>
      <p:grpSp>
        <p:nvGrpSpPr>
          <p:cNvPr id="2" name="Group 1"/>
          <p:cNvGrpSpPr/>
          <p:nvPr/>
        </p:nvGrpSpPr>
        <p:grpSpPr>
          <a:xfrm>
            <a:off x="395106" y="4494978"/>
            <a:ext cx="6320920" cy="709417"/>
            <a:chOff x="360303" y="5339644"/>
            <a:chExt cx="6320920" cy="709417"/>
          </a:xfrm>
        </p:grpSpPr>
        <p:grpSp>
          <p:nvGrpSpPr>
            <p:cNvPr id="5" name="Group 4"/>
            <p:cNvGrpSpPr/>
            <p:nvPr/>
          </p:nvGrpSpPr>
          <p:grpSpPr>
            <a:xfrm>
              <a:off x="360303" y="5339644"/>
              <a:ext cx="6320920" cy="709417"/>
              <a:chOff x="330771" y="3412641"/>
              <a:chExt cx="6320920" cy="709417"/>
            </a:xfrm>
          </p:grpSpPr>
          <p:sp>
            <p:nvSpPr>
              <p:cNvPr id="87" name="Rectangle 86"/>
              <p:cNvSpPr/>
              <p:nvPr/>
            </p:nvSpPr>
            <p:spPr bwMode="auto">
              <a:xfrm>
                <a:off x="330772" y="3412641"/>
                <a:ext cx="709416" cy="70941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622491" defTabSz="914102" fontAlgn="base">
                  <a:lnSpc>
                    <a:spcPct val="90000"/>
                  </a:lnSpc>
                  <a:spcBef>
                    <a:spcPct val="0"/>
                  </a:spcBef>
                  <a:spcAft>
                    <a:spcPct val="0"/>
                  </a:spcAft>
                </a:pPr>
                <a:endParaRPr lang="en-US" sz="2745">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53" name="Rectangle 52"/>
              <p:cNvSpPr/>
              <p:nvPr/>
            </p:nvSpPr>
            <p:spPr bwMode="auto">
              <a:xfrm>
                <a:off x="330771" y="3412642"/>
                <a:ext cx="6320920" cy="709416"/>
              </a:xfrm>
              <a:prstGeom prst="rect">
                <a:avLst/>
              </a:prstGeom>
              <a:noFill/>
              <a:ln>
                <a:solidFill>
                  <a:schemeClr val="tx1">
                    <a:lumMod val="50000"/>
                    <a:lumOff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1356" tIns="143428" rIns="179285" bIns="143428" numCol="1" spcCol="0" rtlCol="0" fromWordArt="0" anchor="ctr" anchorCtr="0" forceAA="0" compatLnSpc="1">
                <a:prstTxWarp prst="textNoShape">
                  <a:avLst/>
                </a:prstTxWarp>
                <a:noAutofit/>
              </a:bodyPr>
              <a:lstStyle/>
              <a:p>
                <a:pPr marL="685800" defTabSz="914367" fontAlgn="base">
                  <a:lnSpc>
                    <a:spcPct val="90000"/>
                  </a:lnSpc>
                  <a:spcBef>
                    <a:spcPct val="20000"/>
                  </a:spcBef>
                  <a:spcAft>
                    <a:spcPct val="0"/>
                  </a:spcAft>
                  <a:buSzPct val="90000"/>
                </a:pPr>
                <a:r>
                  <a:rPr lang="en-US" sz="2000">
                    <a:ln w="3175">
                      <a:noFill/>
                    </a:ln>
                    <a:solidFill>
                      <a:schemeClr val="tx1"/>
                    </a:solidFill>
                    <a:latin typeface="Calibri Light" panose="020F0302020204030204"/>
                  </a:rPr>
                  <a:t>Open APIs for integration and new scenarios, e.g. real-time insights from devices</a:t>
                </a:r>
              </a:p>
            </p:txBody>
          </p:sp>
          <p:sp>
            <p:nvSpPr>
              <p:cNvPr id="88" name="Rectangle 87"/>
              <p:cNvSpPr/>
              <p:nvPr/>
            </p:nvSpPr>
            <p:spPr bwMode="auto">
              <a:xfrm>
                <a:off x="330772" y="3412641"/>
                <a:ext cx="709416" cy="70941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622491" defTabSz="914102" fontAlgn="base">
                  <a:lnSpc>
                    <a:spcPct val="90000"/>
                  </a:lnSpc>
                  <a:spcBef>
                    <a:spcPct val="0"/>
                  </a:spcBef>
                  <a:spcAft>
                    <a:spcPct val="0"/>
                  </a:spcAft>
                </a:pPr>
                <a:endParaRPr lang="en-US" sz="2745">
                  <a:gradFill>
                    <a:gsLst>
                      <a:gs pos="0">
                        <a:srgbClr val="FFFFFF"/>
                      </a:gs>
                      <a:gs pos="100000">
                        <a:srgbClr val="FFFFFF"/>
                      </a:gs>
                    </a:gsLst>
                    <a:lin ang="5400000" scaled="0"/>
                  </a:gradFill>
                  <a:latin typeface="Segoe UI Light"/>
                  <a:ea typeface="Segoe UI" pitchFamily="34" charset="0"/>
                  <a:cs typeface="Segoe UI" pitchFamily="34" charset="0"/>
                </a:endParaRPr>
              </a:p>
            </p:txBody>
          </p:sp>
        </p:grpSp>
        <p:sp>
          <p:nvSpPr>
            <p:cNvPr id="115" name="Freeform 114"/>
            <p:cNvSpPr>
              <a:spLocks noChangeAspect="1"/>
            </p:cNvSpPr>
            <p:nvPr/>
          </p:nvSpPr>
          <p:spPr bwMode="black">
            <a:xfrm>
              <a:off x="592665" y="5504947"/>
              <a:ext cx="209492" cy="365760"/>
            </a:xfrm>
            <a:custGeom>
              <a:avLst/>
              <a:gdLst>
                <a:gd name="connsiteX0" fmla="*/ 64175 w 285415"/>
                <a:gd name="connsiteY0" fmla="*/ 373567 h 498318"/>
                <a:gd name="connsiteX1" fmla="*/ 220714 w 285415"/>
                <a:gd name="connsiteY1" fmla="*/ 373567 h 498318"/>
                <a:gd name="connsiteX2" fmla="*/ 223350 w 285415"/>
                <a:gd name="connsiteY2" fmla="*/ 377743 h 498318"/>
                <a:gd name="connsiteX3" fmla="*/ 188563 w 285415"/>
                <a:gd name="connsiteY3" fmla="*/ 433072 h 498318"/>
                <a:gd name="connsiteX4" fmla="*/ 186982 w 285415"/>
                <a:gd name="connsiteY4" fmla="*/ 435160 h 498318"/>
                <a:gd name="connsiteX5" fmla="*/ 189617 w 285415"/>
                <a:gd name="connsiteY5" fmla="*/ 442989 h 498318"/>
                <a:gd name="connsiteX6" fmla="*/ 186455 w 285415"/>
                <a:gd name="connsiteY6" fmla="*/ 451341 h 498318"/>
                <a:gd name="connsiteX7" fmla="*/ 189617 w 285415"/>
                <a:gd name="connsiteY7" fmla="*/ 459170 h 498318"/>
                <a:gd name="connsiteX8" fmla="*/ 186455 w 285415"/>
                <a:gd name="connsiteY8" fmla="*/ 467522 h 498318"/>
                <a:gd name="connsiteX9" fmla="*/ 189617 w 285415"/>
                <a:gd name="connsiteY9" fmla="*/ 475873 h 498318"/>
                <a:gd name="connsiteX10" fmla="*/ 177495 w 285415"/>
                <a:gd name="connsiteY10" fmla="*/ 487879 h 498318"/>
                <a:gd name="connsiteX11" fmla="*/ 170116 w 285415"/>
                <a:gd name="connsiteY11" fmla="*/ 487879 h 498318"/>
                <a:gd name="connsiteX12" fmla="*/ 164318 w 285415"/>
                <a:gd name="connsiteY12" fmla="*/ 497274 h 498318"/>
                <a:gd name="connsiteX13" fmla="*/ 162210 w 285415"/>
                <a:gd name="connsiteY13" fmla="*/ 498318 h 498318"/>
                <a:gd name="connsiteX14" fmla="*/ 133748 w 285415"/>
                <a:gd name="connsiteY14" fmla="*/ 498318 h 498318"/>
                <a:gd name="connsiteX15" fmla="*/ 131640 w 285415"/>
                <a:gd name="connsiteY15" fmla="*/ 497274 h 498318"/>
                <a:gd name="connsiteX16" fmla="*/ 124788 w 285415"/>
                <a:gd name="connsiteY16" fmla="*/ 487879 h 498318"/>
                <a:gd name="connsiteX17" fmla="*/ 116355 w 285415"/>
                <a:gd name="connsiteY17" fmla="*/ 487879 h 498318"/>
                <a:gd name="connsiteX18" fmla="*/ 103706 w 285415"/>
                <a:gd name="connsiteY18" fmla="*/ 475873 h 498318"/>
                <a:gd name="connsiteX19" fmla="*/ 106868 w 285415"/>
                <a:gd name="connsiteY19" fmla="*/ 467522 h 498318"/>
                <a:gd name="connsiteX20" fmla="*/ 103706 w 285415"/>
                <a:gd name="connsiteY20" fmla="*/ 459170 h 498318"/>
                <a:gd name="connsiteX21" fmla="*/ 106868 w 285415"/>
                <a:gd name="connsiteY21" fmla="*/ 451341 h 498318"/>
                <a:gd name="connsiteX22" fmla="*/ 103706 w 285415"/>
                <a:gd name="connsiteY22" fmla="*/ 442989 h 498318"/>
                <a:gd name="connsiteX23" fmla="*/ 105814 w 285415"/>
                <a:gd name="connsiteY23" fmla="*/ 436204 h 498318"/>
                <a:gd name="connsiteX24" fmla="*/ 102651 w 285415"/>
                <a:gd name="connsiteY24" fmla="*/ 433594 h 498318"/>
                <a:gd name="connsiteX25" fmla="*/ 62067 w 285415"/>
                <a:gd name="connsiteY25" fmla="*/ 377743 h 498318"/>
                <a:gd name="connsiteX26" fmla="*/ 64175 w 285415"/>
                <a:gd name="connsiteY26" fmla="*/ 373567 h 498318"/>
                <a:gd name="connsiteX27" fmla="*/ 142707 w 285415"/>
                <a:gd name="connsiteY27" fmla="*/ 0 h 498318"/>
                <a:gd name="connsiteX28" fmla="*/ 285415 w 285415"/>
                <a:gd name="connsiteY28" fmla="*/ 143004 h 498318"/>
                <a:gd name="connsiteX29" fmla="*/ 269269 w 285415"/>
                <a:gd name="connsiteY29" fmla="*/ 209287 h 498318"/>
                <a:gd name="connsiteX30" fmla="*/ 270832 w 285415"/>
                <a:gd name="connsiteY30" fmla="*/ 208765 h 498318"/>
                <a:gd name="connsiteX31" fmla="*/ 209374 w 285415"/>
                <a:gd name="connsiteY31" fmla="*/ 349681 h 498318"/>
                <a:gd name="connsiteX32" fmla="*/ 77604 w 285415"/>
                <a:gd name="connsiteY32" fmla="*/ 349681 h 498318"/>
                <a:gd name="connsiteX33" fmla="*/ 30729 w 285415"/>
                <a:gd name="connsiteY33" fmla="*/ 231729 h 498318"/>
                <a:gd name="connsiteX34" fmla="*/ 16146 w 285415"/>
                <a:gd name="connsiteY34" fmla="*/ 209287 h 498318"/>
                <a:gd name="connsiteX35" fmla="*/ 16146 w 285415"/>
                <a:gd name="connsiteY35" fmla="*/ 208765 h 498318"/>
                <a:gd name="connsiteX36" fmla="*/ 0 w 285415"/>
                <a:gd name="connsiteY36" fmla="*/ 143004 h 498318"/>
                <a:gd name="connsiteX37" fmla="*/ 142707 w 285415"/>
                <a:gd name="connsiteY37" fmla="*/ 0 h 4983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85415" h="498318">
                  <a:moveTo>
                    <a:pt x="64175" y="373567"/>
                  </a:moveTo>
                  <a:cubicBezTo>
                    <a:pt x="64175" y="373567"/>
                    <a:pt x="64175" y="373567"/>
                    <a:pt x="220714" y="373567"/>
                  </a:cubicBezTo>
                  <a:cubicBezTo>
                    <a:pt x="223877" y="373567"/>
                    <a:pt x="224931" y="375655"/>
                    <a:pt x="223350" y="377743"/>
                  </a:cubicBezTo>
                  <a:cubicBezTo>
                    <a:pt x="223350" y="377743"/>
                    <a:pt x="223350" y="377743"/>
                    <a:pt x="188563" y="433072"/>
                  </a:cubicBezTo>
                  <a:cubicBezTo>
                    <a:pt x="188036" y="433594"/>
                    <a:pt x="187509" y="434638"/>
                    <a:pt x="186982" y="435160"/>
                  </a:cubicBezTo>
                  <a:cubicBezTo>
                    <a:pt x="188563" y="437247"/>
                    <a:pt x="189617" y="440379"/>
                    <a:pt x="189617" y="442989"/>
                  </a:cubicBezTo>
                  <a:cubicBezTo>
                    <a:pt x="189617" y="446121"/>
                    <a:pt x="188563" y="448731"/>
                    <a:pt x="186455" y="451341"/>
                  </a:cubicBezTo>
                  <a:cubicBezTo>
                    <a:pt x="188563" y="453429"/>
                    <a:pt x="189617" y="456038"/>
                    <a:pt x="189617" y="459170"/>
                  </a:cubicBezTo>
                  <a:cubicBezTo>
                    <a:pt x="189617" y="462824"/>
                    <a:pt x="188563" y="465434"/>
                    <a:pt x="186455" y="467522"/>
                  </a:cubicBezTo>
                  <a:cubicBezTo>
                    <a:pt x="188563" y="469610"/>
                    <a:pt x="189617" y="472742"/>
                    <a:pt x="189617" y="475873"/>
                  </a:cubicBezTo>
                  <a:cubicBezTo>
                    <a:pt x="189617" y="482659"/>
                    <a:pt x="184347" y="487879"/>
                    <a:pt x="177495" y="487879"/>
                  </a:cubicBezTo>
                  <a:cubicBezTo>
                    <a:pt x="177495" y="487879"/>
                    <a:pt x="177495" y="487879"/>
                    <a:pt x="170116" y="487879"/>
                  </a:cubicBezTo>
                  <a:cubicBezTo>
                    <a:pt x="170116" y="487879"/>
                    <a:pt x="170116" y="487879"/>
                    <a:pt x="164318" y="497274"/>
                  </a:cubicBezTo>
                  <a:cubicBezTo>
                    <a:pt x="163791" y="497796"/>
                    <a:pt x="162737" y="498318"/>
                    <a:pt x="162210" y="498318"/>
                  </a:cubicBezTo>
                  <a:cubicBezTo>
                    <a:pt x="162210" y="498318"/>
                    <a:pt x="162210" y="498318"/>
                    <a:pt x="133748" y="498318"/>
                  </a:cubicBezTo>
                  <a:cubicBezTo>
                    <a:pt x="132694" y="498318"/>
                    <a:pt x="132167" y="497796"/>
                    <a:pt x="131640" y="497274"/>
                  </a:cubicBezTo>
                  <a:cubicBezTo>
                    <a:pt x="131640" y="497274"/>
                    <a:pt x="131640" y="497274"/>
                    <a:pt x="124788" y="487879"/>
                  </a:cubicBezTo>
                  <a:cubicBezTo>
                    <a:pt x="124788" y="487879"/>
                    <a:pt x="124788" y="487879"/>
                    <a:pt x="116355" y="487879"/>
                  </a:cubicBezTo>
                  <a:cubicBezTo>
                    <a:pt x="109503" y="487879"/>
                    <a:pt x="103706" y="482659"/>
                    <a:pt x="103706" y="475873"/>
                  </a:cubicBezTo>
                  <a:cubicBezTo>
                    <a:pt x="103706" y="472742"/>
                    <a:pt x="104760" y="469610"/>
                    <a:pt x="106868" y="467522"/>
                  </a:cubicBezTo>
                  <a:cubicBezTo>
                    <a:pt x="104760" y="465434"/>
                    <a:pt x="103706" y="462824"/>
                    <a:pt x="103706" y="459170"/>
                  </a:cubicBezTo>
                  <a:cubicBezTo>
                    <a:pt x="103706" y="456038"/>
                    <a:pt x="104760" y="453429"/>
                    <a:pt x="106868" y="451341"/>
                  </a:cubicBezTo>
                  <a:cubicBezTo>
                    <a:pt x="104760" y="448731"/>
                    <a:pt x="103706" y="446121"/>
                    <a:pt x="103706" y="442989"/>
                  </a:cubicBezTo>
                  <a:cubicBezTo>
                    <a:pt x="103706" y="440901"/>
                    <a:pt x="104760" y="438291"/>
                    <a:pt x="105814" y="436204"/>
                  </a:cubicBezTo>
                  <a:cubicBezTo>
                    <a:pt x="104760" y="435682"/>
                    <a:pt x="103178" y="434638"/>
                    <a:pt x="102651" y="433594"/>
                  </a:cubicBezTo>
                  <a:cubicBezTo>
                    <a:pt x="102651" y="433594"/>
                    <a:pt x="102651" y="433594"/>
                    <a:pt x="62067" y="377743"/>
                  </a:cubicBezTo>
                  <a:cubicBezTo>
                    <a:pt x="60486" y="375655"/>
                    <a:pt x="61540" y="373567"/>
                    <a:pt x="64175" y="373567"/>
                  </a:cubicBezTo>
                  <a:close/>
                  <a:moveTo>
                    <a:pt x="142707" y="0"/>
                  </a:moveTo>
                  <a:cubicBezTo>
                    <a:pt x="221874" y="0"/>
                    <a:pt x="285415" y="64195"/>
                    <a:pt x="285415" y="143004"/>
                  </a:cubicBezTo>
                  <a:cubicBezTo>
                    <a:pt x="285415" y="167012"/>
                    <a:pt x="279686" y="189454"/>
                    <a:pt x="269269" y="209287"/>
                  </a:cubicBezTo>
                  <a:cubicBezTo>
                    <a:pt x="269269" y="209287"/>
                    <a:pt x="269269" y="209287"/>
                    <a:pt x="270832" y="208765"/>
                  </a:cubicBezTo>
                  <a:cubicBezTo>
                    <a:pt x="210936" y="297490"/>
                    <a:pt x="209374" y="341330"/>
                    <a:pt x="209374" y="349681"/>
                  </a:cubicBezTo>
                  <a:cubicBezTo>
                    <a:pt x="209374" y="349681"/>
                    <a:pt x="209374" y="349681"/>
                    <a:pt x="77604" y="349681"/>
                  </a:cubicBezTo>
                  <a:cubicBezTo>
                    <a:pt x="77604" y="342374"/>
                    <a:pt x="76041" y="305319"/>
                    <a:pt x="30729" y="231729"/>
                  </a:cubicBezTo>
                  <a:cubicBezTo>
                    <a:pt x="25521" y="224422"/>
                    <a:pt x="20312" y="217115"/>
                    <a:pt x="16146" y="209287"/>
                  </a:cubicBezTo>
                  <a:cubicBezTo>
                    <a:pt x="16146" y="209287"/>
                    <a:pt x="16146" y="208765"/>
                    <a:pt x="16146" y="208765"/>
                  </a:cubicBezTo>
                  <a:cubicBezTo>
                    <a:pt x="5729" y="189454"/>
                    <a:pt x="0" y="167012"/>
                    <a:pt x="0" y="143004"/>
                  </a:cubicBezTo>
                  <a:cubicBezTo>
                    <a:pt x="0" y="64195"/>
                    <a:pt x="64062" y="0"/>
                    <a:pt x="142707" y="0"/>
                  </a:cubicBezTo>
                  <a:close/>
                </a:path>
              </a:pathLst>
            </a:custGeom>
            <a:solidFill>
              <a:srgbClr val="F2C81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37148" tIns="109719" rIns="137148" bIns="109719"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699261" fontAlgn="base">
                <a:lnSpc>
                  <a:spcPct val="90000"/>
                </a:lnSpc>
                <a:spcBef>
                  <a:spcPct val="0"/>
                </a:spcBef>
                <a:spcAft>
                  <a:spcPct val="0"/>
                </a:spcAft>
              </a:pPr>
              <a:endParaRPr lang="en-US">
                <a:gradFill>
                  <a:gsLst>
                    <a:gs pos="0">
                      <a:srgbClr val="FFFFFF"/>
                    </a:gs>
                    <a:gs pos="100000">
                      <a:srgbClr val="FFFFFF"/>
                    </a:gs>
                  </a:gsLst>
                  <a:lin ang="5400000" scaled="0"/>
                </a:gradFill>
                <a:ea typeface="Segoe UI" pitchFamily="34" charset="0"/>
                <a:cs typeface="Segoe UI" pitchFamily="34" charset="0"/>
              </a:endParaRPr>
            </a:p>
          </p:txBody>
        </p:sp>
      </p:grpSp>
      <p:grpSp>
        <p:nvGrpSpPr>
          <p:cNvPr id="116" name="Group 115"/>
          <p:cNvGrpSpPr/>
          <p:nvPr/>
        </p:nvGrpSpPr>
        <p:grpSpPr>
          <a:xfrm>
            <a:off x="395106" y="5311190"/>
            <a:ext cx="6320920" cy="709416"/>
            <a:chOff x="330771" y="2616822"/>
            <a:chExt cx="6320920" cy="709416"/>
          </a:xfrm>
        </p:grpSpPr>
        <p:sp>
          <p:nvSpPr>
            <p:cNvPr id="117" name="Rectangle 116"/>
            <p:cNvSpPr/>
            <p:nvPr/>
          </p:nvSpPr>
          <p:spPr bwMode="auto">
            <a:xfrm>
              <a:off x="330771" y="2616822"/>
              <a:ext cx="6320920" cy="709416"/>
            </a:xfrm>
            <a:prstGeom prst="rect">
              <a:avLst/>
            </a:prstGeom>
            <a:noFill/>
            <a:ln>
              <a:solidFill>
                <a:schemeClr val="tx1">
                  <a:lumMod val="50000"/>
                  <a:lumOff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1356" tIns="143428" rIns="179285" bIns="143428" numCol="1" spcCol="0" rtlCol="0" fromWordArt="0" anchor="ctr" anchorCtr="0" forceAA="0" compatLnSpc="1">
              <a:prstTxWarp prst="textNoShape">
                <a:avLst/>
              </a:prstTxWarp>
              <a:noAutofit/>
            </a:bodyPr>
            <a:lstStyle/>
            <a:p>
              <a:pPr marL="685800" defTabSz="914367" fontAlgn="base">
                <a:lnSpc>
                  <a:spcPct val="90000"/>
                </a:lnSpc>
                <a:spcBef>
                  <a:spcPct val="20000"/>
                </a:spcBef>
                <a:spcAft>
                  <a:spcPct val="0"/>
                </a:spcAft>
                <a:buSzPct val="90000"/>
              </a:pPr>
              <a:r>
                <a:rPr lang="en-US" sz="2000">
                  <a:ln w="3175">
                    <a:noFill/>
                  </a:ln>
                  <a:solidFill>
                    <a:schemeClr val="tx1"/>
                  </a:solidFill>
                  <a:latin typeface="Calibri Light" panose="020F0302020204030204"/>
                </a:rPr>
                <a:t>Content delivery (dashboards, reports, models) for ease of consumption across your organizations</a:t>
              </a:r>
            </a:p>
          </p:txBody>
        </p:sp>
        <p:sp>
          <p:nvSpPr>
            <p:cNvPr id="118" name="Rectangle 117"/>
            <p:cNvSpPr/>
            <p:nvPr/>
          </p:nvSpPr>
          <p:spPr bwMode="auto">
            <a:xfrm>
              <a:off x="332292" y="2616822"/>
              <a:ext cx="709416" cy="70941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622491" defTabSz="914102" fontAlgn="base">
                <a:lnSpc>
                  <a:spcPct val="90000"/>
                </a:lnSpc>
                <a:spcBef>
                  <a:spcPct val="0"/>
                </a:spcBef>
                <a:spcAft>
                  <a:spcPct val="0"/>
                </a:spcAft>
              </a:pPr>
              <a:endParaRPr lang="en-US" sz="2745">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119" name="Freeform 24"/>
            <p:cNvSpPr>
              <a:spLocks noChangeAspect="1" noEditPoints="1"/>
            </p:cNvSpPr>
            <p:nvPr/>
          </p:nvSpPr>
          <p:spPr bwMode="black">
            <a:xfrm>
              <a:off x="429207" y="2675334"/>
              <a:ext cx="472929" cy="548640"/>
            </a:xfrm>
            <a:custGeom>
              <a:avLst/>
              <a:gdLst>
                <a:gd name="T0" fmla="*/ 126 w 259"/>
                <a:gd name="T1" fmla="*/ 53 h 300"/>
                <a:gd name="T2" fmla="*/ 120 w 259"/>
                <a:gd name="T3" fmla="*/ 38 h 300"/>
                <a:gd name="T4" fmla="*/ 77 w 259"/>
                <a:gd name="T5" fmla="*/ 43 h 300"/>
                <a:gd name="T6" fmla="*/ 105 w 259"/>
                <a:gd name="T7" fmla="*/ 53 h 300"/>
                <a:gd name="T8" fmla="*/ 105 w 259"/>
                <a:gd name="T9" fmla="*/ 53 h 300"/>
                <a:gd name="T10" fmla="*/ 84 w 259"/>
                <a:gd name="T11" fmla="*/ 136 h 300"/>
                <a:gd name="T12" fmla="*/ 79 w 259"/>
                <a:gd name="T13" fmla="*/ 124 h 300"/>
                <a:gd name="T14" fmla="*/ 45 w 259"/>
                <a:gd name="T15" fmla="*/ 128 h 300"/>
                <a:gd name="T16" fmla="*/ 67 w 259"/>
                <a:gd name="T17" fmla="*/ 136 h 300"/>
                <a:gd name="T18" fmla="*/ 67 w 259"/>
                <a:gd name="T19" fmla="*/ 136 h 300"/>
                <a:gd name="T20" fmla="*/ 35 w 259"/>
                <a:gd name="T21" fmla="*/ 69 h 300"/>
                <a:gd name="T22" fmla="*/ 32 w 259"/>
                <a:gd name="T23" fmla="*/ 63 h 300"/>
                <a:gd name="T24" fmla="*/ 15 w 259"/>
                <a:gd name="T25" fmla="*/ 65 h 300"/>
                <a:gd name="T26" fmla="*/ 26 w 259"/>
                <a:gd name="T27" fmla="*/ 69 h 300"/>
                <a:gd name="T28" fmla="*/ 26 w 259"/>
                <a:gd name="T29" fmla="*/ 69 h 300"/>
                <a:gd name="T30" fmla="*/ 233 w 259"/>
                <a:gd name="T31" fmla="*/ 19 h 300"/>
                <a:gd name="T32" fmla="*/ 231 w 259"/>
                <a:gd name="T33" fmla="*/ 13 h 300"/>
                <a:gd name="T34" fmla="*/ 214 w 259"/>
                <a:gd name="T35" fmla="*/ 15 h 300"/>
                <a:gd name="T36" fmla="*/ 225 w 259"/>
                <a:gd name="T37" fmla="*/ 19 h 300"/>
                <a:gd name="T38" fmla="*/ 225 w 259"/>
                <a:gd name="T39" fmla="*/ 19 h 300"/>
                <a:gd name="T40" fmla="*/ 248 w 259"/>
                <a:gd name="T41" fmla="*/ 141 h 300"/>
                <a:gd name="T42" fmla="*/ 246 w 259"/>
                <a:gd name="T43" fmla="*/ 135 h 300"/>
                <a:gd name="T44" fmla="*/ 229 w 259"/>
                <a:gd name="T45" fmla="*/ 136 h 300"/>
                <a:gd name="T46" fmla="*/ 240 w 259"/>
                <a:gd name="T47" fmla="*/ 141 h 300"/>
                <a:gd name="T48" fmla="*/ 240 w 259"/>
                <a:gd name="T49" fmla="*/ 141 h 300"/>
                <a:gd name="T50" fmla="*/ 20 w 259"/>
                <a:gd name="T51" fmla="*/ 162 h 300"/>
                <a:gd name="T52" fmla="*/ 17 w 259"/>
                <a:gd name="T53" fmla="*/ 156 h 300"/>
                <a:gd name="T54" fmla="*/ 0 w 259"/>
                <a:gd name="T55" fmla="*/ 158 h 300"/>
                <a:gd name="T56" fmla="*/ 11 w 259"/>
                <a:gd name="T57" fmla="*/ 162 h 300"/>
                <a:gd name="T58" fmla="*/ 11 w 259"/>
                <a:gd name="T59" fmla="*/ 162 h 300"/>
                <a:gd name="T60" fmla="*/ 226 w 259"/>
                <a:gd name="T61" fmla="*/ 100 h 300"/>
                <a:gd name="T62" fmla="*/ 219 w 259"/>
                <a:gd name="T63" fmla="*/ 82 h 300"/>
                <a:gd name="T64" fmla="*/ 168 w 259"/>
                <a:gd name="T65" fmla="*/ 88 h 300"/>
                <a:gd name="T66" fmla="*/ 201 w 259"/>
                <a:gd name="T67" fmla="*/ 100 h 300"/>
                <a:gd name="T68" fmla="*/ 201 w 259"/>
                <a:gd name="T69" fmla="*/ 100 h 300"/>
                <a:gd name="T70" fmla="*/ 223 w 259"/>
                <a:gd name="T71" fmla="*/ 146 h 300"/>
                <a:gd name="T72" fmla="*/ 156 w 259"/>
                <a:gd name="T73" fmla="*/ 178 h 300"/>
                <a:gd name="T74" fmla="*/ 150 w 259"/>
                <a:gd name="T75" fmla="*/ 178 h 300"/>
                <a:gd name="T76" fmla="*/ 206 w 259"/>
                <a:gd name="T77" fmla="*/ 17 h 300"/>
                <a:gd name="T78" fmla="*/ 120 w 259"/>
                <a:gd name="T79" fmla="*/ 69 h 300"/>
                <a:gd name="T80" fmla="*/ 54 w 259"/>
                <a:gd name="T81" fmla="*/ 62 h 300"/>
                <a:gd name="T82" fmla="*/ 103 w 259"/>
                <a:gd name="T83" fmla="*/ 178 h 300"/>
                <a:gd name="T84" fmla="*/ 97 w 259"/>
                <a:gd name="T85" fmla="*/ 178 h 300"/>
                <a:gd name="T86" fmla="*/ 36 w 259"/>
                <a:gd name="T87" fmla="*/ 160 h 300"/>
                <a:gd name="T88" fmla="*/ 22 w 259"/>
                <a:gd name="T89" fmla="*/ 236 h 300"/>
                <a:gd name="T90" fmla="*/ 60 w 259"/>
                <a:gd name="T91" fmla="*/ 294 h 300"/>
                <a:gd name="T92" fmla="*/ 212 w 259"/>
                <a:gd name="T93" fmla="*/ 195 h 300"/>
                <a:gd name="T94" fmla="*/ 250 w 259"/>
                <a:gd name="T95" fmla="*/ 231 h 300"/>
                <a:gd name="T96" fmla="*/ 113 w 259"/>
                <a:gd name="T97" fmla="*/ 214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59" h="300">
                  <a:moveTo>
                    <a:pt x="115" y="81"/>
                  </a:moveTo>
                  <a:cubicBezTo>
                    <a:pt x="115" y="81"/>
                    <a:pt x="115" y="52"/>
                    <a:pt x="120" y="47"/>
                  </a:cubicBezTo>
                  <a:cubicBezTo>
                    <a:pt x="125" y="42"/>
                    <a:pt x="153" y="43"/>
                    <a:pt x="153" y="43"/>
                  </a:cubicBezTo>
                  <a:cubicBezTo>
                    <a:pt x="153" y="43"/>
                    <a:pt x="131" y="48"/>
                    <a:pt x="126" y="53"/>
                  </a:cubicBezTo>
                  <a:cubicBezTo>
                    <a:pt x="120" y="58"/>
                    <a:pt x="115" y="81"/>
                    <a:pt x="115" y="81"/>
                  </a:cubicBezTo>
                  <a:close/>
                  <a:moveTo>
                    <a:pt x="126" y="32"/>
                  </a:moveTo>
                  <a:cubicBezTo>
                    <a:pt x="120" y="27"/>
                    <a:pt x="115" y="5"/>
                    <a:pt x="115" y="5"/>
                  </a:cubicBezTo>
                  <a:cubicBezTo>
                    <a:pt x="115" y="5"/>
                    <a:pt x="115" y="33"/>
                    <a:pt x="120" y="38"/>
                  </a:cubicBezTo>
                  <a:cubicBezTo>
                    <a:pt x="125" y="43"/>
                    <a:pt x="153" y="43"/>
                    <a:pt x="153" y="43"/>
                  </a:cubicBezTo>
                  <a:cubicBezTo>
                    <a:pt x="153" y="43"/>
                    <a:pt x="131" y="38"/>
                    <a:pt x="126" y="32"/>
                  </a:cubicBezTo>
                  <a:close/>
                  <a:moveTo>
                    <a:pt x="105" y="32"/>
                  </a:moveTo>
                  <a:cubicBezTo>
                    <a:pt x="100" y="38"/>
                    <a:pt x="77" y="43"/>
                    <a:pt x="77" y="43"/>
                  </a:cubicBezTo>
                  <a:cubicBezTo>
                    <a:pt x="77" y="43"/>
                    <a:pt x="105" y="43"/>
                    <a:pt x="111" y="38"/>
                  </a:cubicBezTo>
                  <a:cubicBezTo>
                    <a:pt x="116" y="33"/>
                    <a:pt x="115" y="5"/>
                    <a:pt x="115" y="5"/>
                  </a:cubicBezTo>
                  <a:cubicBezTo>
                    <a:pt x="115" y="5"/>
                    <a:pt x="110" y="27"/>
                    <a:pt x="105" y="32"/>
                  </a:cubicBezTo>
                  <a:close/>
                  <a:moveTo>
                    <a:pt x="105" y="53"/>
                  </a:moveTo>
                  <a:cubicBezTo>
                    <a:pt x="110" y="58"/>
                    <a:pt x="115" y="81"/>
                    <a:pt x="115" y="81"/>
                  </a:cubicBezTo>
                  <a:cubicBezTo>
                    <a:pt x="115" y="81"/>
                    <a:pt x="116" y="52"/>
                    <a:pt x="111" y="47"/>
                  </a:cubicBezTo>
                  <a:cubicBezTo>
                    <a:pt x="105" y="42"/>
                    <a:pt x="77" y="43"/>
                    <a:pt x="77" y="43"/>
                  </a:cubicBezTo>
                  <a:cubicBezTo>
                    <a:pt x="77" y="43"/>
                    <a:pt x="100" y="48"/>
                    <a:pt x="105" y="53"/>
                  </a:cubicBezTo>
                  <a:close/>
                  <a:moveTo>
                    <a:pt x="75" y="158"/>
                  </a:moveTo>
                  <a:cubicBezTo>
                    <a:pt x="75" y="158"/>
                    <a:pt x="75" y="136"/>
                    <a:pt x="79" y="131"/>
                  </a:cubicBezTo>
                  <a:cubicBezTo>
                    <a:pt x="83" y="127"/>
                    <a:pt x="106" y="128"/>
                    <a:pt x="106" y="128"/>
                  </a:cubicBezTo>
                  <a:cubicBezTo>
                    <a:pt x="106" y="128"/>
                    <a:pt x="88" y="132"/>
                    <a:pt x="84" y="136"/>
                  </a:cubicBezTo>
                  <a:cubicBezTo>
                    <a:pt x="79" y="140"/>
                    <a:pt x="75" y="158"/>
                    <a:pt x="75" y="158"/>
                  </a:cubicBezTo>
                  <a:close/>
                  <a:moveTo>
                    <a:pt x="84" y="119"/>
                  </a:moveTo>
                  <a:cubicBezTo>
                    <a:pt x="79" y="115"/>
                    <a:pt x="75" y="97"/>
                    <a:pt x="75" y="97"/>
                  </a:cubicBezTo>
                  <a:cubicBezTo>
                    <a:pt x="75" y="97"/>
                    <a:pt x="75" y="120"/>
                    <a:pt x="79" y="124"/>
                  </a:cubicBezTo>
                  <a:cubicBezTo>
                    <a:pt x="83" y="128"/>
                    <a:pt x="106" y="128"/>
                    <a:pt x="106" y="128"/>
                  </a:cubicBezTo>
                  <a:cubicBezTo>
                    <a:pt x="106" y="128"/>
                    <a:pt x="88" y="124"/>
                    <a:pt x="84" y="119"/>
                  </a:cubicBezTo>
                  <a:close/>
                  <a:moveTo>
                    <a:pt x="67" y="119"/>
                  </a:moveTo>
                  <a:cubicBezTo>
                    <a:pt x="63" y="124"/>
                    <a:pt x="45" y="128"/>
                    <a:pt x="45" y="128"/>
                  </a:cubicBezTo>
                  <a:cubicBezTo>
                    <a:pt x="45" y="128"/>
                    <a:pt x="68" y="128"/>
                    <a:pt x="72" y="124"/>
                  </a:cubicBezTo>
                  <a:cubicBezTo>
                    <a:pt x="76" y="120"/>
                    <a:pt x="75" y="97"/>
                    <a:pt x="75" y="97"/>
                  </a:cubicBezTo>
                  <a:cubicBezTo>
                    <a:pt x="75" y="97"/>
                    <a:pt x="71" y="115"/>
                    <a:pt x="67" y="119"/>
                  </a:cubicBezTo>
                  <a:close/>
                  <a:moveTo>
                    <a:pt x="67" y="136"/>
                  </a:moveTo>
                  <a:cubicBezTo>
                    <a:pt x="71" y="140"/>
                    <a:pt x="75" y="158"/>
                    <a:pt x="75" y="158"/>
                  </a:cubicBezTo>
                  <a:cubicBezTo>
                    <a:pt x="75" y="158"/>
                    <a:pt x="76" y="136"/>
                    <a:pt x="72" y="131"/>
                  </a:cubicBezTo>
                  <a:cubicBezTo>
                    <a:pt x="68" y="127"/>
                    <a:pt x="45" y="128"/>
                    <a:pt x="45" y="128"/>
                  </a:cubicBezTo>
                  <a:cubicBezTo>
                    <a:pt x="45" y="128"/>
                    <a:pt x="63" y="132"/>
                    <a:pt x="67" y="136"/>
                  </a:cubicBezTo>
                  <a:close/>
                  <a:moveTo>
                    <a:pt x="31" y="80"/>
                  </a:moveTo>
                  <a:cubicBezTo>
                    <a:pt x="31" y="80"/>
                    <a:pt x="30" y="69"/>
                    <a:pt x="32" y="67"/>
                  </a:cubicBezTo>
                  <a:cubicBezTo>
                    <a:pt x="35" y="65"/>
                    <a:pt x="46" y="65"/>
                    <a:pt x="46" y="65"/>
                  </a:cubicBezTo>
                  <a:cubicBezTo>
                    <a:pt x="46" y="65"/>
                    <a:pt x="37" y="67"/>
                    <a:pt x="35" y="69"/>
                  </a:cubicBezTo>
                  <a:cubicBezTo>
                    <a:pt x="33" y="71"/>
                    <a:pt x="31" y="80"/>
                    <a:pt x="31" y="80"/>
                  </a:cubicBezTo>
                  <a:close/>
                  <a:moveTo>
                    <a:pt x="35" y="61"/>
                  </a:moveTo>
                  <a:cubicBezTo>
                    <a:pt x="33" y="59"/>
                    <a:pt x="31" y="50"/>
                    <a:pt x="31" y="50"/>
                  </a:cubicBezTo>
                  <a:cubicBezTo>
                    <a:pt x="31" y="50"/>
                    <a:pt x="30" y="61"/>
                    <a:pt x="32" y="63"/>
                  </a:cubicBezTo>
                  <a:cubicBezTo>
                    <a:pt x="35" y="65"/>
                    <a:pt x="46" y="65"/>
                    <a:pt x="46" y="65"/>
                  </a:cubicBezTo>
                  <a:cubicBezTo>
                    <a:pt x="46" y="65"/>
                    <a:pt x="37" y="63"/>
                    <a:pt x="35" y="61"/>
                  </a:cubicBezTo>
                  <a:close/>
                  <a:moveTo>
                    <a:pt x="26" y="61"/>
                  </a:moveTo>
                  <a:cubicBezTo>
                    <a:pt x="24" y="63"/>
                    <a:pt x="15" y="65"/>
                    <a:pt x="15" y="65"/>
                  </a:cubicBezTo>
                  <a:cubicBezTo>
                    <a:pt x="15" y="65"/>
                    <a:pt x="27" y="65"/>
                    <a:pt x="29" y="63"/>
                  </a:cubicBezTo>
                  <a:cubicBezTo>
                    <a:pt x="31" y="61"/>
                    <a:pt x="31" y="50"/>
                    <a:pt x="31" y="50"/>
                  </a:cubicBezTo>
                  <a:cubicBezTo>
                    <a:pt x="31" y="50"/>
                    <a:pt x="29" y="59"/>
                    <a:pt x="26" y="61"/>
                  </a:cubicBezTo>
                  <a:close/>
                  <a:moveTo>
                    <a:pt x="26" y="69"/>
                  </a:moveTo>
                  <a:cubicBezTo>
                    <a:pt x="29" y="71"/>
                    <a:pt x="31" y="80"/>
                    <a:pt x="31" y="80"/>
                  </a:cubicBezTo>
                  <a:cubicBezTo>
                    <a:pt x="31" y="80"/>
                    <a:pt x="31" y="69"/>
                    <a:pt x="29" y="67"/>
                  </a:cubicBezTo>
                  <a:cubicBezTo>
                    <a:pt x="27" y="65"/>
                    <a:pt x="15" y="65"/>
                    <a:pt x="15" y="65"/>
                  </a:cubicBezTo>
                  <a:cubicBezTo>
                    <a:pt x="15" y="65"/>
                    <a:pt x="24" y="67"/>
                    <a:pt x="26" y="69"/>
                  </a:cubicBezTo>
                  <a:close/>
                  <a:moveTo>
                    <a:pt x="229" y="30"/>
                  </a:moveTo>
                  <a:cubicBezTo>
                    <a:pt x="229" y="30"/>
                    <a:pt x="229" y="19"/>
                    <a:pt x="231" y="17"/>
                  </a:cubicBezTo>
                  <a:cubicBezTo>
                    <a:pt x="233" y="15"/>
                    <a:pt x="244" y="15"/>
                    <a:pt x="244" y="15"/>
                  </a:cubicBezTo>
                  <a:cubicBezTo>
                    <a:pt x="244" y="15"/>
                    <a:pt x="235" y="17"/>
                    <a:pt x="233" y="19"/>
                  </a:cubicBezTo>
                  <a:cubicBezTo>
                    <a:pt x="231" y="21"/>
                    <a:pt x="229" y="30"/>
                    <a:pt x="229" y="30"/>
                  </a:cubicBezTo>
                  <a:close/>
                  <a:moveTo>
                    <a:pt x="233" y="11"/>
                  </a:moveTo>
                  <a:cubicBezTo>
                    <a:pt x="231" y="9"/>
                    <a:pt x="229" y="0"/>
                    <a:pt x="229" y="0"/>
                  </a:cubicBezTo>
                  <a:cubicBezTo>
                    <a:pt x="229" y="0"/>
                    <a:pt x="229" y="11"/>
                    <a:pt x="231" y="13"/>
                  </a:cubicBezTo>
                  <a:cubicBezTo>
                    <a:pt x="233" y="15"/>
                    <a:pt x="244" y="15"/>
                    <a:pt x="244" y="15"/>
                  </a:cubicBezTo>
                  <a:cubicBezTo>
                    <a:pt x="244" y="15"/>
                    <a:pt x="235" y="13"/>
                    <a:pt x="233" y="11"/>
                  </a:cubicBezTo>
                  <a:close/>
                  <a:moveTo>
                    <a:pt x="225" y="11"/>
                  </a:moveTo>
                  <a:cubicBezTo>
                    <a:pt x="223" y="13"/>
                    <a:pt x="214" y="15"/>
                    <a:pt x="214" y="15"/>
                  </a:cubicBezTo>
                  <a:cubicBezTo>
                    <a:pt x="214" y="15"/>
                    <a:pt x="225" y="15"/>
                    <a:pt x="227" y="13"/>
                  </a:cubicBezTo>
                  <a:cubicBezTo>
                    <a:pt x="229" y="11"/>
                    <a:pt x="229" y="0"/>
                    <a:pt x="229" y="0"/>
                  </a:cubicBezTo>
                  <a:cubicBezTo>
                    <a:pt x="229" y="0"/>
                    <a:pt x="227" y="9"/>
                    <a:pt x="225" y="11"/>
                  </a:cubicBezTo>
                  <a:close/>
                  <a:moveTo>
                    <a:pt x="225" y="19"/>
                  </a:moveTo>
                  <a:cubicBezTo>
                    <a:pt x="227" y="21"/>
                    <a:pt x="229" y="30"/>
                    <a:pt x="229" y="30"/>
                  </a:cubicBezTo>
                  <a:cubicBezTo>
                    <a:pt x="229" y="30"/>
                    <a:pt x="229" y="19"/>
                    <a:pt x="227" y="17"/>
                  </a:cubicBezTo>
                  <a:cubicBezTo>
                    <a:pt x="225" y="15"/>
                    <a:pt x="214" y="15"/>
                    <a:pt x="214" y="15"/>
                  </a:cubicBezTo>
                  <a:cubicBezTo>
                    <a:pt x="214" y="15"/>
                    <a:pt x="223" y="17"/>
                    <a:pt x="225" y="19"/>
                  </a:cubicBezTo>
                  <a:close/>
                  <a:moveTo>
                    <a:pt x="244" y="152"/>
                  </a:moveTo>
                  <a:cubicBezTo>
                    <a:pt x="244" y="152"/>
                    <a:pt x="244" y="140"/>
                    <a:pt x="246" y="138"/>
                  </a:cubicBezTo>
                  <a:cubicBezTo>
                    <a:pt x="248" y="136"/>
                    <a:pt x="259" y="136"/>
                    <a:pt x="259" y="136"/>
                  </a:cubicBezTo>
                  <a:cubicBezTo>
                    <a:pt x="259" y="136"/>
                    <a:pt x="250" y="138"/>
                    <a:pt x="248" y="141"/>
                  </a:cubicBezTo>
                  <a:cubicBezTo>
                    <a:pt x="246" y="143"/>
                    <a:pt x="244" y="152"/>
                    <a:pt x="244" y="152"/>
                  </a:cubicBezTo>
                  <a:close/>
                  <a:moveTo>
                    <a:pt x="248" y="132"/>
                  </a:moveTo>
                  <a:cubicBezTo>
                    <a:pt x="246" y="130"/>
                    <a:pt x="244" y="121"/>
                    <a:pt x="244" y="121"/>
                  </a:cubicBezTo>
                  <a:cubicBezTo>
                    <a:pt x="244" y="121"/>
                    <a:pt x="244" y="133"/>
                    <a:pt x="246" y="135"/>
                  </a:cubicBezTo>
                  <a:cubicBezTo>
                    <a:pt x="248" y="137"/>
                    <a:pt x="259" y="136"/>
                    <a:pt x="259" y="136"/>
                  </a:cubicBezTo>
                  <a:cubicBezTo>
                    <a:pt x="259" y="136"/>
                    <a:pt x="250" y="134"/>
                    <a:pt x="248" y="132"/>
                  </a:cubicBezTo>
                  <a:close/>
                  <a:moveTo>
                    <a:pt x="240" y="132"/>
                  </a:moveTo>
                  <a:cubicBezTo>
                    <a:pt x="238" y="134"/>
                    <a:pt x="229" y="136"/>
                    <a:pt x="229" y="136"/>
                  </a:cubicBezTo>
                  <a:cubicBezTo>
                    <a:pt x="229" y="136"/>
                    <a:pt x="240" y="137"/>
                    <a:pt x="242" y="135"/>
                  </a:cubicBezTo>
                  <a:cubicBezTo>
                    <a:pt x="244" y="133"/>
                    <a:pt x="244" y="121"/>
                    <a:pt x="244" y="121"/>
                  </a:cubicBezTo>
                  <a:cubicBezTo>
                    <a:pt x="244" y="121"/>
                    <a:pt x="242" y="130"/>
                    <a:pt x="240" y="132"/>
                  </a:cubicBezTo>
                  <a:close/>
                  <a:moveTo>
                    <a:pt x="240" y="141"/>
                  </a:moveTo>
                  <a:cubicBezTo>
                    <a:pt x="242" y="143"/>
                    <a:pt x="244" y="152"/>
                    <a:pt x="244" y="152"/>
                  </a:cubicBezTo>
                  <a:cubicBezTo>
                    <a:pt x="244" y="152"/>
                    <a:pt x="244" y="140"/>
                    <a:pt x="242" y="138"/>
                  </a:cubicBezTo>
                  <a:cubicBezTo>
                    <a:pt x="240" y="136"/>
                    <a:pt x="229" y="136"/>
                    <a:pt x="229" y="136"/>
                  </a:cubicBezTo>
                  <a:cubicBezTo>
                    <a:pt x="229" y="136"/>
                    <a:pt x="238" y="138"/>
                    <a:pt x="240" y="141"/>
                  </a:cubicBezTo>
                  <a:close/>
                  <a:moveTo>
                    <a:pt x="15" y="173"/>
                  </a:moveTo>
                  <a:cubicBezTo>
                    <a:pt x="15" y="173"/>
                    <a:pt x="15" y="162"/>
                    <a:pt x="17" y="160"/>
                  </a:cubicBezTo>
                  <a:cubicBezTo>
                    <a:pt x="19" y="158"/>
                    <a:pt x="31" y="158"/>
                    <a:pt x="31" y="158"/>
                  </a:cubicBezTo>
                  <a:cubicBezTo>
                    <a:pt x="31" y="158"/>
                    <a:pt x="22" y="160"/>
                    <a:pt x="20" y="162"/>
                  </a:cubicBezTo>
                  <a:cubicBezTo>
                    <a:pt x="17" y="164"/>
                    <a:pt x="15" y="173"/>
                    <a:pt x="15" y="173"/>
                  </a:cubicBezTo>
                  <a:close/>
                  <a:moveTo>
                    <a:pt x="20" y="154"/>
                  </a:moveTo>
                  <a:cubicBezTo>
                    <a:pt x="17" y="152"/>
                    <a:pt x="15" y="143"/>
                    <a:pt x="15" y="143"/>
                  </a:cubicBezTo>
                  <a:cubicBezTo>
                    <a:pt x="15" y="143"/>
                    <a:pt x="15" y="154"/>
                    <a:pt x="17" y="156"/>
                  </a:cubicBezTo>
                  <a:cubicBezTo>
                    <a:pt x="19" y="158"/>
                    <a:pt x="31" y="158"/>
                    <a:pt x="31" y="158"/>
                  </a:cubicBezTo>
                  <a:cubicBezTo>
                    <a:pt x="31" y="158"/>
                    <a:pt x="22" y="156"/>
                    <a:pt x="20" y="154"/>
                  </a:cubicBezTo>
                  <a:close/>
                  <a:moveTo>
                    <a:pt x="11" y="154"/>
                  </a:moveTo>
                  <a:cubicBezTo>
                    <a:pt x="9" y="156"/>
                    <a:pt x="0" y="158"/>
                    <a:pt x="0" y="158"/>
                  </a:cubicBezTo>
                  <a:cubicBezTo>
                    <a:pt x="0" y="158"/>
                    <a:pt x="11" y="158"/>
                    <a:pt x="14" y="156"/>
                  </a:cubicBezTo>
                  <a:cubicBezTo>
                    <a:pt x="16" y="154"/>
                    <a:pt x="15" y="143"/>
                    <a:pt x="15" y="143"/>
                  </a:cubicBezTo>
                  <a:cubicBezTo>
                    <a:pt x="15" y="143"/>
                    <a:pt x="13" y="152"/>
                    <a:pt x="11" y="154"/>
                  </a:cubicBezTo>
                  <a:close/>
                  <a:moveTo>
                    <a:pt x="11" y="162"/>
                  </a:moveTo>
                  <a:cubicBezTo>
                    <a:pt x="13" y="164"/>
                    <a:pt x="15" y="173"/>
                    <a:pt x="15" y="173"/>
                  </a:cubicBezTo>
                  <a:cubicBezTo>
                    <a:pt x="15" y="173"/>
                    <a:pt x="16" y="162"/>
                    <a:pt x="14" y="160"/>
                  </a:cubicBezTo>
                  <a:cubicBezTo>
                    <a:pt x="11" y="158"/>
                    <a:pt x="0" y="158"/>
                    <a:pt x="0" y="158"/>
                  </a:cubicBezTo>
                  <a:cubicBezTo>
                    <a:pt x="0" y="158"/>
                    <a:pt x="9" y="160"/>
                    <a:pt x="11" y="162"/>
                  </a:cubicBezTo>
                  <a:close/>
                  <a:moveTo>
                    <a:pt x="214" y="133"/>
                  </a:moveTo>
                  <a:cubicBezTo>
                    <a:pt x="214" y="133"/>
                    <a:pt x="213" y="99"/>
                    <a:pt x="219" y="93"/>
                  </a:cubicBezTo>
                  <a:cubicBezTo>
                    <a:pt x="226" y="87"/>
                    <a:pt x="259" y="88"/>
                    <a:pt x="259" y="88"/>
                  </a:cubicBezTo>
                  <a:cubicBezTo>
                    <a:pt x="259" y="88"/>
                    <a:pt x="232" y="94"/>
                    <a:pt x="226" y="100"/>
                  </a:cubicBezTo>
                  <a:cubicBezTo>
                    <a:pt x="220" y="106"/>
                    <a:pt x="214" y="133"/>
                    <a:pt x="214" y="133"/>
                  </a:cubicBezTo>
                  <a:close/>
                  <a:moveTo>
                    <a:pt x="226" y="75"/>
                  </a:moveTo>
                  <a:cubicBezTo>
                    <a:pt x="220" y="69"/>
                    <a:pt x="214" y="42"/>
                    <a:pt x="214" y="42"/>
                  </a:cubicBezTo>
                  <a:cubicBezTo>
                    <a:pt x="214" y="42"/>
                    <a:pt x="213" y="76"/>
                    <a:pt x="219" y="82"/>
                  </a:cubicBezTo>
                  <a:cubicBezTo>
                    <a:pt x="226" y="88"/>
                    <a:pt x="259" y="88"/>
                    <a:pt x="259" y="88"/>
                  </a:cubicBezTo>
                  <a:cubicBezTo>
                    <a:pt x="259" y="88"/>
                    <a:pt x="232" y="81"/>
                    <a:pt x="226" y="75"/>
                  </a:cubicBezTo>
                  <a:close/>
                  <a:moveTo>
                    <a:pt x="201" y="75"/>
                  </a:moveTo>
                  <a:cubicBezTo>
                    <a:pt x="195" y="81"/>
                    <a:pt x="168" y="88"/>
                    <a:pt x="168" y="88"/>
                  </a:cubicBezTo>
                  <a:cubicBezTo>
                    <a:pt x="168" y="88"/>
                    <a:pt x="202" y="88"/>
                    <a:pt x="208" y="82"/>
                  </a:cubicBezTo>
                  <a:cubicBezTo>
                    <a:pt x="215" y="76"/>
                    <a:pt x="214" y="42"/>
                    <a:pt x="214" y="42"/>
                  </a:cubicBezTo>
                  <a:cubicBezTo>
                    <a:pt x="214" y="42"/>
                    <a:pt x="208" y="69"/>
                    <a:pt x="201" y="75"/>
                  </a:cubicBezTo>
                  <a:close/>
                  <a:moveTo>
                    <a:pt x="201" y="100"/>
                  </a:moveTo>
                  <a:cubicBezTo>
                    <a:pt x="208" y="106"/>
                    <a:pt x="214" y="133"/>
                    <a:pt x="214" y="133"/>
                  </a:cubicBezTo>
                  <a:cubicBezTo>
                    <a:pt x="214" y="133"/>
                    <a:pt x="215" y="99"/>
                    <a:pt x="208" y="93"/>
                  </a:cubicBezTo>
                  <a:cubicBezTo>
                    <a:pt x="202" y="87"/>
                    <a:pt x="168" y="88"/>
                    <a:pt x="168" y="88"/>
                  </a:cubicBezTo>
                  <a:cubicBezTo>
                    <a:pt x="168" y="88"/>
                    <a:pt x="195" y="94"/>
                    <a:pt x="201" y="100"/>
                  </a:cubicBezTo>
                  <a:close/>
                  <a:moveTo>
                    <a:pt x="250" y="231"/>
                  </a:moveTo>
                  <a:cubicBezTo>
                    <a:pt x="212" y="178"/>
                    <a:pt x="212" y="178"/>
                    <a:pt x="212" y="178"/>
                  </a:cubicBezTo>
                  <a:cubicBezTo>
                    <a:pt x="189" y="178"/>
                    <a:pt x="189" y="178"/>
                    <a:pt x="189" y="178"/>
                  </a:cubicBezTo>
                  <a:cubicBezTo>
                    <a:pt x="193" y="160"/>
                    <a:pt x="207" y="146"/>
                    <a:pt x="223" y="146"/>
                  </a:cubicBezTo>
                  <a:cubicBezTo>
                    <a:pt x="224" y="146"/>
                    <a:pt x="226" y="144"/>
                    <a:pt x="226" y="143"/>
                  </a:cubicBezTo>
                  <a:cubicBezTo>
                    <a:pt x="226" y="141"/>
                    <a:pt x="224" y="140"/>
                    <a:pt x="223" y="140"/>
                  </a:cubicBezTo>
                  <a:cubicBezTo>
                    <a:pt x="203" y="140"/>
                    <a:pt x="187" y="156"/>
                    <a:pt x="183" y="178"/>
                  </a:cubicBezTo>
                  <a:cubicBezTo>
                    <a:pt x="156" y="178"/>
                    <a:pt x="156" y="178"/>
                    <a:pt x="156" y="178"/>
                  </a:cubicBezTo>
                  <a:cubicBezTo>
                    <a:pt x="158" y="140"/>
                    <a:pt x="173" y="110"/>
                    <a:pt x="190" y="110"/>
                  </a:cubicBezTo>
                  <a:cubicBezTo>
                    <a:pt x="191" y="110"/>
                    <a:pt x="193" y="109"/>
                    <a:pt x="193" y="107"/>
                  </a:cubicBezTo>
                  <a:cubicBezTo>
                    <a:pt x="193" y="105"/>
                    <a:pt x="191" y="104"/>
                    <a:pt x="190" y="104"/>
                  </a:cubicBezTo>
                  <a:cubicBezTo>
                    <a:pt x="169" y="104"/>
                    <a:pt x="152" y="136"/>
                    <a:pt x="150" y="178"/>
                  </a:cubicBezTo>
                  <a:cubicBezTo>
                    <a:pt x="139" y="178"/>
                    <a:pt x="139" y="178"/>
                    <a:pt x="139" y="178"/>
                  </a:cubicBezTo>
                  <a:cubicBezTo>
                    <a:pt x="141" y="92"/>
                    <a:pt x="170" y="23"/>
                    <a:pt x="206" y="23"/>
                  </a:cubicBezTo>
                  <a:cubicBezTo>
                    <a:pt x="208" y="23"/>
                    <a:pt x="210" y="21"/>
                    <a:pt x="210" y="20"/>
                  </a:cubicBezTo>
                  <a:cubicBezTo>
                    <a:pt x="210" y="18"/>
                    <a:pt x="208" y="17"/>
                    <a:pt x="206" y="17"/>
                  </a:cubicBezTo>
                  <a:cubicBezTo>
                    <a:pt x="166" y="17"/>
                    <a:pt x="135" y="87"/>
                    <a:pt x="133" y="178"/>
                  </a:cubicBezTo>
                  <a:cubicBezTo>
                    <a:pt x="129" y="178"/>
                    <a:pt x="129" y="178"/>
                    <a:pt x="129" y="178"/>
                  </a:cubicBezTo>
                  <a:cubicBezTo>
                    <a:pt x="129" y="66"/>
                    <a:pt x="127" y="66"/>
                    <a:pt x="124" y="66"/>
                  </a:cubicBezTo>
                  <a:cubicBezTo>
                    <a:pt x="122" y="66"/>
                    <a:pt x="120" y="68"/>
                    <a:pt x="120" y="69"/>
                  </a:cubicBezTo>
                  <a:cubicBezTo>
                    <a:pt x="120" y="70"/>
                    <a:pt x="121" y="70"/>
                    <a:pt x="121" y="71"/>
                  </a:cubicBezTo>
                  <a:cubicBezTo>
                    <a:pt x="122" y="76"/>
                    <a:pt x="123" y="118"/>
                    <a:pt x="123" y="178"/>
                  </a:cubicBezTo>
                  <a:cubicBezTo>
                    <a:pt x="120" y="178"/>
                    <a:pt x="120" y="178"/>
                    <a:pt x="120" y="178"/>
                  </a:cubicBezTo>
                  <a:cubicBezTo>
                    <a:pt x="118" y="114"/>
                    <a:pt x="89" y="62"/>
                    <a:pt x="54" y="62"/>
                  </a:cubicBezTo>
                  <a:cubicBezTo>
                    <a:pt x="52" y="62"/>
                    <a:pt x="51" y="63"/>
                    <a:pt x="51" y="65"/>
                  </a:cubicBezTo>
                  <a:cubicBezTo>
                    <a:pt x="51" y="67"/>
                    <a:pt x="52" y="68"/>
                    <a:pt x="54" y="68"/>
                  </a:cubicBezTo>
                  <a:cubicBezTo>
                    <a:pt x="86" y="68"/>
                    <a:pt x="112" y="117"/>
                    <a:pt x="113" y="178"/>
                  </a:cubicBezTo>
                  <a:cubicBezTo>
                    <a:pt x="103" y="178"/>
                    <a:pt x="103" y="178"/>
                    <a:pt x="103" y="178"/>
                  </a:cubicBezTo>
                  <a:cubicBezTo>
                    <a:pt x="103" y="161"/>
                    <a:pt x="98" y="144"/>
                    <a:pt x="89" y="144"/>
                  </a:cubicBezTo>
                  <a:cubicBezTo>
                    <a:pt x="87" y="144"/>
                    <a:pt x="86" y="145"/>
                    <a:pt x="86" y="147"/>
                  </a:cubicBezTo>
                  <a:cubicBezTo>
                    <a:pt x="86" y="149"/>
                    <a:pt x="87" y="150"/>
                    <a:pt x="89" y="150"/>
                  </a:cubicBezTo>
                  <a:cubicBezTo>
                    <a:pt x="91" y="150"/>
                    <a:pt x="97" y="161"/>
                    <a:pt x="97" y="178"/>
                  </a:cubicBezTo>
                  <a:cubicBezTo>
                    <a:pt x="86" y="178"/>
                    <a:pt x="86" y="178"/>
                    <a:pt x="86" y="178"/>
                  </a:cubicBezTo>
                  <a:cubicBezTo>
                    <a:pt x="79" y="164"/>
                    <a:pt x="59" y="154"/>
                    <a:pt x="36" y="154"/>
                  </a:cubicBezTo>
                  <a:cubicBezTo>
                    <a:pt x="34" y="154"/>
                    <a:pt x="33" y="156"/>
                    <a:pt x="33" y="157"/>
                  </a:cubicBezTo>
                  <a:cubicBezTo>
                    <a:pt x="33" y="159"/>
                    <a:pt x="34" y="160"/>
                    <a:pt x="36" y="160"/>
                  </a:cubicBezTo>
                  <a:cubicBezTo>
                    <a:pt x="55" y="160"/>
                    <a:pt x="72" y="168"/>
                    <a:pt x="79" y="178"/>
                  </a:cubicBezTo>
                  <a:cubicBezTo>
                    <a:pt x="60" y="178"/>
                    <a:pt x="60" y="178"/>
                    <a:pt x="60" y="178"/>
                  </a:cubicBezTo>
                  <a:cubicBezTo>
                    <a:pt x="22" y="231"/>
                    <a:pt x="22" y="231"/>
                    <a:pt x="22" y="231"/>
                  </a:cubicBezTo>
                  <a:cubicBezTo>
                    <a:pt x="21" y="233"/>
                    <a:pt x="21" y="235"/>
                    <a:pt x="22" y="236"/>
                  </a:cubicBezTo>
                  <a:cubicBezTo>
                    <a:pt x="27" y="238"/>
                    <a:pt x="27" y="238"/>
                    <a:pt x="27" y="238"/>
                  </a:cubicBezTo>
                  <a:cubicBezTo>
                    <a:pt x="28" y="239"/>
                    <a:pt x="30" y="239"/>
                    <a:pt x="31" y="238"/>
                  </a:cubicBezTo>
                  <a:cubicBezTo>
                    <a:pt x="60" y="195"/>
                    <a:pt x="60" y="195"/>
                    <a:pt x="60" y="195"/>
                  </a:cubicBezTo>
                  <a:cubicBezTo>
                    <a:pt x="60" y="294"/>
                    <a:pt x="60" y="294"/>
                    <a:pt x="60" y="294"/>
                  </a:cubicBezTo>
                  <a:cubicBezTo>
                    <a:pt x="60" y="297"/>
                    <a:pt x="63" y="300"/>
                    <a:pt x="66" y="300"/>
                  </a:cubicBezTo>
                  <a:cubicBezTo>
                    <a:pt x="206" y="300"/>
                    <a:pt x="206" y="300"/>
                    <a:pt x="206" y="300"/>
                  </a:cubicBezTo>
                  <a:cubicBezTo>
                    <a:pt x="209" y="300"/>
                    <a:pt x="212" y="297"/>
                    <a:pt x="212" y="294"/>
                  </a:cubicBezTo>
                  <a:cubicBezTo>
                    <a:pt x="212" y="195"/>
                    <a:pt x="212" y="195"/>
                    <a:pt x="212" y="195"/>
                  </a:cubicBezTo>
                  <a:cubicBezTo>
                    <a:pt x="242" y="238"/>
                    <a:pt x="242" y="238"/>
                    <a:pt x="242" y="238"/>
                  </a:cubicBezTo>
                  <a:cubicBezTo>
                    <a:pt x="243" y="239"/>
                    <a:pt x="244" y="239"/>
                    <a:pt x="246" y="238"/>
                  </a:cubicBezTo>
                  <a:cubicBezTo>
                    <a:pt x="250" y="236"/>
                    <a:pt x="250" y="236"/>
                    <a:pt x="250" y="236"/>
                  </a:cubicBezTo>
                  <a:cubicBezTo>
                    <a:pt x="251" y="235"/>
                    <a:pt x="251" y="233"/>
                    <a:pt x="250" y="231"/>
                  </a:cubicBezTo>
                  <a:close/>
                  <a:moveTo>
                    <a:pt x="159" y="226"/>
                  </a:moveTo>
                  <a:cubicBezTo>
                    <a:pt x="113" y="226"/>
                    <a:pt x="113" y="226"/>
                    <a:pt x="113" y="226"/>
                  </a:cubicBezTo>
                  <a:cubicBezTo>
                    <a:pt x="110" y="226"/>
                    <a:pt x="107" y="223"/>
                    <a:pt x="107" y="220"/>
                  </a:cubicBezTo>
                  <a:cubicBezTo>
                    <a:pt x="107" y="216"/>
                    <a:pt x="110" y="214"/>
                    <a:pt x="113" y="214"/>
                  </a:cubicBezTo>
                  <a:cubicBezTo>
                    <a:pt x="159" y="214"/>
                    <a:pt x="159" y="214"/>
                    <a:pt x="159" y="214"/>
                  </a:cubicBezTo>
                  <a:cubicBezTo>
                    <a:pt x="162" y="214"/>
                    <a:pt x="165" y="216"/>
                    <a:pt x="165" y="220"/>
                  </a:cubicBezTo>
                  <a:cubicBezTo>
                    <a:pt x="165" y="223"/>
                    <a:pt x="162" y="226"/>
                    <a:pt x="159" y="226"/>
                  </a:cubicBezTo>
                  <a:close/>
                </a:path>
              </a:pathLst>
            </a:custGeom>
            <a:solidFill>
              <a:srgbClr val="F2C812"/>
            </a:solidFill>
            <a:ln>
              <a:noFill/>
            </a:ln>
          </p:spPr>
          <p:txBody>
            <a:bodyPr vert="horz" wrap="square" lIns="80687" tIns="40344" rIns="80687" bIns="40344" numCol="1" anchor="t" anchorCtr="0" compatLnSpc="1">
              <a:prstTxWarp prst="textNoShape">
                <a:avLst/>
              </a:prstTxWarp>
            </a:bodyPr>
            <a:lstStyle/>
            <a:p>
              <a:pPr defTabSz="914367"/>
              <a:endParaRPr lang="en-US" sz="1568">
                <a:solidFill>
                  <a:srgbClr val="000000"/>
                </a:solidFill>
              </a:endParaRPr>
            </a:p>
          </p:txBody>
        </p:sp>
      </p:grpSp>
      <p:grpSp>
        <p:nvGrpSpPr>
          <p:cNvPr id="80" name="Group 79"/>
          <p:cNvGrpSpPr>
            <a:grpSpLocks noChangeAspect="1"/>
          </p:cNvGrpSpPr>
          <p:nvPr/>
        </p:nvGrpSpPr>
        <p:grpSpPr>
          <a:xfrm>
            <a:off x="6807331" y="2039646"/>
            <a:ext cx="5120640" cy="2756516"/>
            <a:chOff x="266699" y="-225976"/>
            <a:chExt cx="11319416" cy="6093390"/>
          </a:xfrm>
        </p:grpSpPr>
        <p:grpSp>
          <p:nvGrpSpPr>
            <p:cNvPr id="82" name="Group 81"/>
            <p:cNvGrpSpPr/>
            <p:nvPr/>
          </p:nvGrpSpPr>
          <p:grpSpPr>
            <a:xfrm>
              <a:off x="266699" y="-225976"/>
              <a:ext cx="11319416" cy="6093390"/>
              <a:chOff x="6856629" y="2032578"/>
              <a:chExt cx="5221473" cy="2523453"/>
            </a:xfrm>
          </p:grpSpPr>
          <p:sp>
            <p:nvSpPr>
              <p:cNvPr id="109" name="Rounded Rectangle 223"/>
              <p:cNvSpPr/>
              <p:nvPr/>
            </p:nvSpPr>
            <p:spPr bwMode="auto">
              <a:xfrm>
                <a:off x="10432181" y="2032578"/>
                <a:ext cx="616073" cy="1042089"/>
              </a:xfrm>
              <a:custGeom>
                <a:avLst/>
                <a:gdLst/>
                <a:ahLst/>
                <a:cxnLst/>
                <a:rect l="l" t="t" r="r" b="b"/>
                <a:pathLst>
                  <a:path w="3657600" h="6434945">
                    <a:moveTo>
                      <a:pt x="1828801" y="5761924"/>
                    </a:moveTo>
                    <a:cubicBezTo>
                      <a:pt x="1694209" y="5761924"/>
                      <a:pt x="1585101" y="5871032"/>
                      <a:pt x="1585101" y="6005624"/>
                    </a:cubicBezTo>
                    <a:cubicBezTo>
                      <a:pt x="1585101" y="6140216"/>
                      <a:pt x="1694209" y="6249324"/>
                      <a:pt x="1828801" y="6249324"/>
                    </a:cubicBezTo>
                    <a:cubicBezTo>
                      <a:pt x="1963393" y="6249324"/>
                      <a:pt x="2072501" y="6140216"/>
                      <a:pt x="2072501" y="6005624"/>
                    </a:cubicBezTo>
                    <a:cubicBezTo>
                      <a:pt x="2072501" y="5871032"/>
                      <a:pt x="1963393" y="5761924"/>
                      <a:pt x="1828801" y="5761924"/>
                    </a:cubicBezTo>
                    <a:close/>
                    <a:moveTo>
                      <a:pt x="367260" y="607233"/>
                    </a:moveTo>
                    <a:lnTo>
                      <a:pt x="367260" y="5543030"/>
                    </a:lnTo>
                    <a:lnTo>
                      <a:pt x="3290341" y="5543030"/>
                    </a:lnTo>
                    <a:lnTo>
                      <a:pt x="3290341" y="607233"/>
                    </a:lnTo>
                    <a:close/>
                    <a:moveTo>
                      <a:pt x="1097280" y="257182"/>
                    </a:moveTo>
                    <a:cubicBezTo>
                      <a:pt x="1072030" y="257182"/>
                      <a:pt x="1051560" y="277652"/>
                      <a:pt x="1051560" y="302902"/>
                    </a:cubicBezTo>
                    <a:cubicBezTo>
                      <a:pt x="1051560" y="328152"/>
                      <a:pt x="1072030" y="348622"/>
                      <a:pt x="1097280" y="348622"/>
                    </a:cubicBezTo>
                    <a:lnTo>
                      <a:pt x="2560320" y="348622"/>
                    </a:lnTo>
                    <a:cubicBezTo>
                      <a:pt x="2585570" y="348622"/>
                      <a:pt x="2606040" y="328152"/>
                      <a:pt x="2606040" y="302902"/>
                    </a:cubicBezTo>
                    <a:cubicBezTo>
                      <a:pt x="2606040" y="277652"/>
                      <a:pt x="2585570" y="257182"/>
                      <a:pt x="2560320" y="257182"/>
                    </a:cubicBezTo>
                    <a:close/>
                    <a:moveTo>
                      <a:pt x="609612" y="0"/>
                    </a:moveTo>
                    <a:lnTo>
                      <a:pt x="3047988" y="0"/>
                    </a:lnTo>
                    <a:cubicBezTo>
                      <a:pt x="3384667" y="0"/>
                      <a:pt x="3657600" y="272933"/>
                      <a:pt x="3657600" y="609612"/>
                    </a:cubicBezTo>
                    <a:lnTo>
                      <a:pt x="3657600" y="5825333"/>
                    </a:lnTo>
                    <a:cubicBezTo>
                      <a:pt x="3657600" y="6162012"/>
                      <a:pt x="3384667" y="6434945"/>
                      <a:pt x="3047988" y="6434945"/>
                    </a:cubicBezTo>
                    <a:lnTo>
                      <a:pt x="609612" y="6434945"/>
                    </a:lnTo>
                    <a:cubicBezTo>
                      <a:pt x="272933" y="6434945"/>
                      <a:pt x="0" y="6162012"/>
                      <a:pt x="0" y="5825333"/>
                    </a:cubicBezTo>
                    <a:lnTo>
                      <a:pt x="0" y="609612"/>
                    </a:lnTo>
                    <a:cubicBezTo>
                      <a:pt x="0" y="272933"/>
                      <a:pt x="272933" y="0"/>
                      <a:pt x="609612" y="0"/>
                    </a:cubicBezTo>
                    <a:close/>
                  </a:path>
                </a:pathLst>
              </a:custGeom>
              <a:solidFill>
                <a:srgbClr val="A5A5A5">
                  <a:lumMod val="50000"/>
                </a:srgbClr>
              </a:solidFill>
              <a:ln w="6350" cap="flat" cmpd="sng" algn="ctr">
                <a:solidFill>
                  <a:sysClr val="window" lastClr="FFFFFF"/>
                </a:solidFill>
                <a:prstDash val="solid"/>
                <a:miter lim="800000"/>
                <a:headEnd type="none" w="med" len="med"/>
                <a:tailEnd type="none" w="med" len="med"/>
              </a:ln>
              <a:effectLst/>
            </p:spPr>
            <p:txBody>
              <a:bodyPr rot="0" spcFirstLastPara="0" vertOverflow="overflow" horzOverflow="overflow" vert="horz" wrap="square" lIns="89642" tIns="44821" rIns="44821" bIns="89642" numCol="1" spcCol="0" rtlCol="0" fromWordArt="0" anchor="b" anchorCtr="0" forceAA="0" compatLnSpc="1">
                <a:prstTxWarp prst="textNoShape">
                  <a:avLst/>
                </a:prstTxWarp>
                <a:noAutofit/>
              </a:bodyPr>
              <a:lstStyle/>
              <a:p>
                <a:pPr marL="0" marR="0" lvl="0" indent="0" algn="ctr" defTabSz="896091" eaLnBrk="1" fontAlgn="base" latinLnBrk="0" hangingPunct="1">
                  <a:lnSpc>
                    <a:spcPct val="100000"/>
                  </a:lnSpc>
                  <a:spcBef>
                    <a:spcPct val="0"/>
                  </a:spcBef>
                  <a:spcAft>
                    <a:spcPct val="0"/>
                  </a:spcAft>
                  <a:buClrTx/>
                  <a:buSzTx/>
                  <a:buFontTx/>
                  <a:buNone/>
                  <a:tabLst/>
                  <a:defRPr/>
                </a:pPr>
                <a:endParaRPr kumimoji="0" lang="en-US" sz="800" b="0" i="0" u="none" strike="noStrike" kern="0" cap="none" spc="-49" normalizeH="0" baseline="0" noProof="0" err="1">
                  <a:ln>
                    <a:noFill/>
                  </a:ln>
                  <a:solidFill>
                    <a:srgbClr val="68217A"/>
                  </a:solidFill>
                  <a:effectLst/>
                  <a:uLnTx/>
                  <a:uFillTx/>
                  <a:latin typeface="Calibri" panose="020F0502020204030204"/>
                  <a:ea typeface="Segoe UI" pitchFamily="34" charset="0"/>
                  <a:cs typeface="Segoe UI" pitchFamily="34" charset="0"/>
                </a:endParaRPr>
              </a:p>
            </p:txBody>
          </p:sp>
          <p:sp>
            <p:nvSpPr>
              <p:cNvPr id="110" name="Freeform 1383"/>
              <p:cNvSpPr>
                <a:spLocks noChangeAspect="1" noEditPoints="1"/>
              </p:cNvSpPr>
              <p:nvPr/>
            </p:nvSpPr>
            <p:spPr bwMode="auto">
              <a:xfrm>
                <a:off x="6856629" y="2534980"/>
                <a:ext cx="4002717" cy="2021051"/>
              </a:xfrm>
              <a:custGeom>
                <a:avLst/>
                <a:gdLst>
                  <a:gd name="T0" fmla="*/ 340 w 400"/>
                  <a:gd name="T1" fmla="*/ 0 h 214"/>
                  <a:gd name="T2" fmla="*/ 61 w 400"/>
                  <a:gd name="T3" fmla="*/ 0 h 214"/>
                  <a:gd name="T4" fmla="*/ 51 w 400"/>
                  <a:gd name="T5" fmla="*/ 10 h 214"/>
                  <a:gd name="T6" fmla="*/ 51 w 400"/>
                  <a:gd name="T7" fmla="*/ 181 h 214"/>
                  <a:gd name="T8" fmla="*/ 61 w 400"/>
                  <a:gd name="T9" fmla="*/ 191 h 214"/>
                  <a:gd name="T10" fmla="*/ 340 w 400"/>
                  <a:gd name="T11" fmla="*/ 191 h 214"/>
                  <a:gd name="T12" fmla="*/ 350 w 400"/>
                  <a:gd name="T13" fmla="*/ 181 h 214"/>
                  <a:gd name="T14" fmla="*/ 350 w 400"/>
                  <a:gd name="T15" fmla="*/ 10 h 214"/>
                  <a:gd name="T16" fmla="*/ 340 w 400"/>
                  <a:gd name="T17" fmla="*/ 0 h 214"/>
                  <a:gd name="T18" fmla="*/ 337 w 400"/>
                  <a:gd name="T19" fmla="*/ 179 h 214"/>
                  <a:gd name="T20" fmla="*/ 64 w 400"/>
                  <a:gd name="T21" fmla="*/ 179 h 214"/>
                  <a:gd name="T22" fmla="*/ 64 w 400"/>
                  <a:gd name="T23" fmla="*/ 11 h 214"/>
                  <a:gd name="T24" fmla="*/ 337 w 400"/>
                  <a:gd name="T25" fmla="*/ 11 h 214"/>
                  <a:gd name="T26" fmla="*/ 337 w 400"/>
                  <a:gd name="T27" fmla="*/ 179 h 214"/>
                  <a:gd name="T28" fmla="*/ 228 w 400"/>
                  <a:gd name="T29" fmla="*/ 198 h 214"/>
                  <a:gd name="T30" fmla="*/ 228 w 400"/>
                  <a:gd name="T31" fmla="*/ 200 h 214"/>
                  <a:gd name="T32" fmla="*/ 224 w 400"/>
                  <a:gd name="T33" fmla="*/ 203 h 214"/>
                  <a:gd name="T34" fmla="*/ 177 w 400"/>
                  <a:gd name="T35" fmla="*/ 203 h 214"/>
                  <a:gd name="T36" fmla="*/ 173 w 400"/>
                  <a:gd name="T37" fmla="*/ 200 h 214"/>
                  <a:gd name="T38" fmla="*/ 173 w 400"/>
                  <a:gd name="T39" fmla="*/ 198 h 214"/>
                  <a:gd name="T40" fmla="*/ 0 w 400"/>
                  <a:gd name="T41" fmla="*/ 198 h 214"/>
                  <a:gd name="T42" fmla="*/ 0 w 400"/>
                  <a:gd name="T43" fmla="*/ 208 h 214"/>
                  <a:gd name="T44" fmla="*/ 13 w 400"/>
                  <a:gd name="T45" fmla="*/ 214 h 214"/>
                  <a:gd name="T46" fmla="*/ 13 w 400"/>
                  <a:gd name="T47" fmla="*/ 214 h 214"/>
                  <a:gd name="T48" fmla="*/ 387 w 400"/>
                  <a:gd name="T49" fmla="*/ 214 h 214"/>
                  <a:gd name="T50" fmla="*/ 387 w 400"/>
                  <a:gd name="T51" fmla="*/ 214 h 214"/>
                  <a:gd name="T52" fmla="*/ 400 w 400"/>
                  <a:gd name="T53" fmla="*/ 208 h 214"/>
                  <a:gd name="T54" fmla="*/ 400 w 400"/>
                  <a:gd name="T55" fmla="*/ 198 h 214"/>
                  <a:gd name="T56" fmla="*/ 228 w 400"/>
                  <a:gd name="T57" fmla="*/ 198 h 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400" h="214">
                    <a:moveTo>
                      <a:pt x="340" y="0"/>
                    </a:moveTo>
                    <a:cubicBezTo>
                      <a:pt x="61" y="0"/>
                      <a:pt x="61" y="0"/>
                      <a:pt x="61" y="0"/>
                    </a:cubicBezTo>
                    <a:cubicBezTo>
                      <a:pt x="56" y="0"/>
                      <a:pt x="51" y="4"/>
                      <a:pt x="51" y="10"/>
                    </a:cubicBezTo>
                    <a:cubicBezTo>
                      <a:pt x="51" y="181"/>
                      <a:pt x="51" y="181"/>
                      <a:pt x="51" y="181"/>
                    </a:cubicBezTo>
                    <a:cubicBezTo>
                      <a:pt x="51" y="187"/>
                      <a:pt x="56" y="191"/>
                      <a:pt x="61" y="191"/>
                    </a:cubicBezTo>
                    <a:cubicBezTo>
                      <a:pt x="340" y="191"/>
                      <a:pt x="340" y="191"/>
                      <a:pt x="340" y="191"/>
                    </a:cubicBezTo>
                    <a:cubicBezTo>
                      <a:pt x="346" y="191"/>
                      <a:pt x="350" y="187"/>
                      <a:pt x="350" y="181"/>
                    </a:cubicBezTo>
                    <a:cubicBezTo>
                      <a:pt x="350" y="10"/>
                      <a:pt x="350" y="10"/>
                      <a:pt x="350" y="10"/>
                    </a:cubicBezTo>
                    <a:cubicBezTo>
                      <a:pt x="350" y="4"/>
                      <a:pt x="346" y="0"/>
                      <a:pt x="340" y="0"/>
                    </a:cubicBezTo>
                    <a:close/>
                    <a:moveTo>
                      <a:pt x="337" y="179"/>
                    </a:moveTo>
                    <a:cubicBezTo>
                      <a:pt x="64" y="179"/>
                      <a:pt x="64" y="179"/>
                      <a:pt x="64" y="179"/>
                    </a:cubicBezTo>
                    <a:cubicBezTo>
                      <a:pt x="64" y="11"/>
                      <a:pt x="64" y="11"/>
                      <a:pt x="64" y="11"/>
                    </a:cubicBezTo>
                    <a:cubicBezTo>
                      <a:pt x="337" y="11"/>
                      <a:pt x="337" y="11"/>
                      <a:pt x="337" y="11"/>
                    </a:cubicBezTo>
                    <a:cubicBezTo>
                      <a:pt x="337" y="179"/>
                      <a:pt x="337" y="179"/>
                      <a:pt x="337" y="179"/>
                    </a:cubicBezTo>
                    <a:close/>
                    <a:moveTo>
                      <a:pt x="228" y="198"/>
                    </a:moveTo>
                    <a:cubicBezTo>
                      <a:pt x="228" y="200"/>
                      <a:pt x="228" y="200"/>
                      <a:pt x="228" y="200"/>
                    </a:cubicBezTo>
                    <a:cubicBezTo>
                      <a:pt x="228" y="202"/>
                      <a:pt x="226" y="203"/>
                      <a:pt x="224" y="203"/>
                    </a:cubicBezTo>
                    <a:cubicBezTo>
                      <a:pt x="177" y="203"/>
                      <a:pt x="177" y="203"/>
                      <a:pt x="177" y="203"/>
                    </a:cubicBezTo>
                    <a:cubicBezTo>
                      <a:pt x="175" y="203"/>
                      <a:pt x="173" y="202"/>
                      <a:pt x="173" y="200"/>
                    </a:cubicBezTo>
                    <a:cubicBezTo>
                      <a:pt x="173" y="198"/>
                      <a:pt x="173" y="198"/>
                      <a:pt x="173" y="198"/>
                    </a:cubicBezTo>
                    <a:cubicBezTo>
                      <a:pt x="0" y="198"/>
                      <a:pt x="0" y="198"/>
                      <a:pt x="0" y="198"/>
                    </a:cubicBezTo>
                    <a:cubicBezTo>
                      <a:pt x="0" y="208"/>
                      <a:pt x="0" y="208"/>
                      <a:pt x="0" y="208"/>
                    </a:cubicBezTo>
                    <a:cubicBezTo>
                      <a:pt x="0" y="208"/>
                      <a:pt x="9" y="214"/>
                      <a:pt x="13" y="214"/>
                    </a:cubicBezTo>
                    <a:cubicBezTo>
                      <a:pt x="13" y="214"/>
                      <a:pt x="13" y="214"/>
                      <a:pt x="13" y="214"/>
                    </a:cubicBezTo>
                    <a:cubicBezTo>
                      <a:pt x="387" y="214"/>
                      <a:pt x="387" y="214"/>
                      <a:pt x="387" y="214"/>
                    </a:cubicBezTo>
                    <a:cubicBezTo>
                      <a:pt x="387" y="214"/>
                      <a:pt x="387" y="214"/>
                      <a:pt x="387" y="214"/>
                    </a:cubicBezTo>
                    <a:cubicBezTo>
                      <a:pt x="391" y="214"/>
                      <a:pt x="400" y="208"/>
                      <a:pt x="400" y="208"/>
                    </a:cubicBezTo>
                    <a:cubicBezTo>
                      <a:pt x="400" y="198"/>
                      <a:pt x="400" y="198"/>
                      <a:pt x="400" y="198"/>
                    </a:cubicBezTo>
                    <a:lnTo>
                      <a:pt x="228" y="198"/>
                    </a:lnTo>
                    <a:close/>
                  </a:path>
                </a:pathLst>
              </a:custGeom>
              <a:solidFill>
                <a:srgbClr val="A5A5A5">
                  <a:lumMod val="50000"/>
                </a:srgbClr>
              </a:solidFill>
              <a:ln w="9525">
                <a:solidFill>
                  <a:sysClr val="window" lastClr="FFFFFF"/>
                </a:solidFill>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Calibri" panose="020F0502020204030204"/>
                  <a:ea typeface="+mn-ea"/>
                  <a:cs typeface="+mn-cs"/>
                </a:endParaRPr>
              </a:p>
            </p:txBody>
          </p:sp>
          <p:grpSp>
            <p:nvGrpSpPr>
              <p:cNvPr id="111" name="Group 110"/>
              <p:cNvGrpSpPr/>
              <p:nvPr/>
            </p:nvGrpSpPr>
            <p:grpSpPr>
              <a:xfrm>
                <a:off x="10432182" y="3198527"/>
                <a:ext cx="1645920" cy="1132186"/>
                <a:chOff x="1117587" y="1757085"/>
                <a:chExt cx="2372574" cy="1629559"/>
              </a:xfrm>
            </p:grpSpPr>
            <p:sp>
              <p:nvSpPr>
                <p:cNvPr id="112" name="Rounded Rectangle 89"/>
                <p:cNvSpPr>
                  <a:spLocks noChangeAspect="1"/>
                </p:cNvSpPr>
                <p:nvPr/>
              </p:nvSpPr>
              <p:spPr bwMode="auto">
                <a:xfrm rot="16200000">
                  <a:off x="1489094" y="1385578"/>
                  <a:ext cx="1629559" cy="2372574"/>
                </a:xfrm>
                <a:custGeom>
                  <a:avLst/>
                  <a:gdLst/>
                  <a:ahLst/>
                  <a:cxnLst/>
                  <a:rect l="l" t="t" r="r" b="b"/>
                  <a:pathLst>
                    <a:path w="3265981" h="3654426">
                      <a:moveTo>
                        <a:pt x="2686301" y="3311991"/>
                      </a:moveTo>
                      <a:cubicBezTo>
                        <a:pt x="2647724" y="3311991"/>
                        <a:pt x="2616451" y="3343264"/>
                        <a:pt x="2616451" y="3381841"/>
                      </a:cubicBezTo>
                      <a:cubicBezTo>
                        <a:pt x="2616451" y="3420417"/>
                        <a:pt x="2647724" y="3451690"/>
                        <a:pt x="2686301" y="3451690"/>
                      </a:cubicBezTo>
                      <a:lnTo>
                        <a:pt x="2698749" y="3451691"/>
                      </a:lnTo>
                      <a:cubicBezTo>
                        <a:pt x="2737326" y="3451691"/>
                        <a:pt x="2768599" y="3420418"/>
                        <a:pt x="2768599" y="3381841"/>
                      </a:cubicBezTo>
                      <a:lnTo>
                        <a:pt x="2768600" y="3381841"/>
                      </a:lnTo>
                      <a:cubicBezTo>
                        <a:pt x="2768600" y="3343264"/>
                        <a:pt x="2737327" y="3311991"/>
                        <a:pt x="2698750" y="3311991"/>
                      </a:cubicBezTo>
                      <a:close/>
                      <a:moveTo>
                        <a:pt x="2477370" y="3311991"/>
                      </a:moveTo>
                      <a:cubicBezTo>
                        <a:pt x="2438793" y="3311991"/>
                        <a:pt x="2407520" y="3343264"/>
                        <a:pt x="2407520" y="3381841"/>
                      </a:cubicBezTo>
                      <a:cubicBezTo>
                        <a:pt x="2407520" y="3420417"/>
                        <a:pt x="2438793" y="3451690"/>
                        <a:pt x="2477370" y="3451690"/>
                      </a:cubicBezTo>
                      <a:lnTo>
                        <a:pt x="2490960" y="3451691"/>
                      </a:lnTo>
                      <a:cubicBezTo>
                        <a:pt x="2529537" y="3451691"/>
                        <a:pt x="2560810" y="3420418"/>
                        <a:pt x="2560810" y="3381841"/>
                      </a:cubicBezTo>
                      <a:lnTo>
                        <a:pt x="2560811" y="3381841"/>
                      </a:lnTo>
                      <a:cubicBezTo>
                        <a:pt x="2560811" y="3343264"/>
                        <a:pt x="2529538" y="3311991"/>
                        <a:pt x="2490961" y="3311991"/>
                      </a:cubicBezTo>
                      <a:close/>
                      <a:moveTo>
                        <a:pt x="1951037" y="3311991"/>
                      </a:moveTo>
                      <a:cubicBezTo>
                        <a:pt x="1912460" y="3311991"/>
                        <a:pt x="1881187" y="3343264"/>
                        <a:pt x="1881187" y="3381841"/>
                      </a:cubicBezTo>
                      <a:cubicBezTo>
                        <a:pt x="1881187" y="3420417"/>
                        <a:pt x="1912460" y="3451690"/>
                        <a:pt x="1951037" y="3451690"/>
                      </a:cubicBezTo>
                      <a:lnTo>
                        <a:pt x="2282030" y="3451691"/>
                      </a:lnTo>
                      <a:cubicBezTo>
                        <a:pt x="2320607" y="3451691"/>
                        <a:pt x="2351880" y="3420418"/>
                        <a:pt x="2351880" y="3381841"/>
                      </a:cubicBezTo>
                      <a:lnTo>
                        <a:pt x="2351881" y="3381841"/>
                      </a:lnTo>
                      <a:cubicBezTo>
                        <a:pt x="2351881" y="3343264"/>
                        <a:pt x="2320608" y="3311991"/>
                        <a:pt x="2282031" y="3311991"/>
                      </a:cubicBezTo>
                      <a:close/>
                      <a:moveTo>
                        <a:pt x="299489" y="299430"/>
                      </a:moveTo>
                      <a:lnTo>
                        <a:pt x="299489" y="3141056"/>
                      </a:lnTo>
                      <a:lnTo>
                        <a:pt x="2966489" y="3141056"/>
                      </a:lnTo>
                      <a:lnTo>
                        <a:pt x="2966489" y="299430"/>
                      </a:lnTo>
                      <a:close/>
                      <a:moveTo>
                        <a:pt x="134787" y="0"/>
                      </a:moveTo>
                      <a:lnTo>
                        <a:pt x="3131194" y="0"/>
                      </a:lnTo>
                      <a:cubicBezTo>
                        <a:pt x="3205635" y="0"/>
                        <a:pt x="3265981" y="60346"/>
                        <a:pt x="3265981" y="134787"/>
                      </a:cubicBezTo>
                      <a:lnTo>
                        <a:pt x="3265981" y="3519639"/>
                      </a:lnTo>
                      <a:cubicBezTo>
                        <a:pt x="3265981" y="3594080"/>
                        <a:pt x="3205635" y="3654426"/>
                        <a:pt x="3131194" y="3654426"/>
                      </a:cubicBezTo>
                      <a:lnTo>
                        <a:pt x="134787" y="3654426"/>
                      </a:lnTo>
                      <a:cubicBezTo>
                        <a:pt x="60346" y="3654426"/>
                        <a:pt x="0" y="3594080"/>
                        <a:pt x="0" y="3519639"/>
                      </a:cubicBezTo>
                      <a:lnTo>
                        <a:pt x="0" y="134787"/>
                      </a:lnTo>
                      <a:cubicBezTo>
                        <a:pt x="0" y="60346"/>
                        <a:pt x="60346" y="0"/>
                        <a:pt x="134787" y="0"/>
                      </a:cubicBezTo>
                      <a:close/>
                    </a:path>
                  </a:pathLst>
                </a:custGeom>
                <a:solidFill>
                  <a:srgbClr val="A5A5A5">
                    <a:lumMod val="50000"/>
                  </a:srgbClr>
                </a:solidFill>
                <a:ln w="6350" cap="flat" cmpd="sng" algn="ctr">
                  <a:solidFill>
                    <a:sysClr val="window" lastClr="FFFFFF"/>
                  </a:solidFill>
                  <a:prstDash val="solid"/>
                  <a:miter lim="800000"/>
                  <a:headEnd type="none" w="med" len="med"/>
                  <a:tailEnd type="none" w="med" len="med"/>
                </a:ln>
                <a:effectLst/>
              </p:spPr>
              <p:txBody>
                <a:bodyPr rot="0" spcFirstLastPara="0" vertOverflow="overflow" horzOverflow="overflow" vert="horz" wrap="square" lIns="89642" tIns="44821" rIns="44821" bIns="89642" numCol="1" spcCol="0" rtlCol="0" fromWordArt="0" anchor="b" anchorCtr="0" forceAA="0" compatLnSpc="1">
                  <a:prstTxWarp prst="textNoShape">
                    <a:avLst/>
                  </a:prstTxWarp>
                  <a:noAutofit/>
                </a:bodyPr>
                <a:lstStyle/>
                <a:p>
                  <a:pPr marL="0" marR="0" lvl="0" indent="0" algn="ctr" defTabSz="896091" eaLnBrk="1" fontAlgn="base" latinLnBrk="0" hangingPunct="1">
                    <a:lnSpc>
                      <a:spcPct val="100000"/>
                    </a:lnSpc>
                    <a:spcBef>
                      <a:spcPct val="0"/>
                    </a:spcBef>
                    <a:spcAft>
                      <a:spcPct val="0"/>
                    </a:spcAft>
                    <a:buClrTx/>
                    <a:buSzTx/>
                    <a:buFontTx/>
                    <a:buNone/>
                    <a:tabLst/>
                    <a:defRPr/>
                  </a:pPr>
                  <a:endParaRPr kumimoji="0" lang="en-US" sz="800" b="0" i="0" u="none" strike="noStrike" kern="0" cap="none" spc="-49" normalizeH="0" baseline="0" noProof="0" err="1">
                    <a:ln>
                      <a:noFill/>
                    </a:ln>
                    <a:solidFill>
                      <a:srgbClr val="68217A"/>
                    </a:solidFill>
                    <a:effectLst/>
                    <a:uLnTx/>
                    <a:uFillTx/>
                    <a:latin typeface="Calibri" panose="020F0502020204030204"/>
                    <a:ea typeface="Segoe UI" pitchFamily="34" charset="0"/>
                    <a:cs typeface="Segoe UI" pitchFamily="34" charset="0"/>
                  </a:endParaRPr>
                </a:p>
              </p:txBody>
            </p:sp>
            <p:sp>
              <p:nvSpPr>
                <p:cNvPr id="114" name="Rectangle 113"/>
                <p:cNvSpPr/>
                <p:nvPr/>
              </p:nvSpPr>
              <p:spPr bwMode="auto">
                <a:xfrm>
                  <a:off x="3172854" y="1909278"/>
                  <a:ext cx="307998" cy="808750"/>
                </a:xfrm>
                <a:prstGeom prst="rect">
                  <a:avLst/>
                </a:prstGeom>
                <a:solidFill>
                  <a:srgbClr val="A5A5A5">
                    <a:lumMod val="50000"/>
                  </a:srgbClr>
                </a:solidFill>
                <a:ln w="6350" cap="flat" cmpd="sng" algn="ctr">
                  <a:noFill/>
                  <a:prstDash val="solid"/>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pic>
              <p:nvPicPr>
                <p:cNvPr id="120" name="Picture 119"/>
                <p:cNvPicPr>
                  <a:picLocks noChangeAspect="1"/>
                </p:cNvPicPr>
                <p:nvPr/>
              </p:nvPicPr>
              <p:blipFill>
                <a:blip r:embed="rId4" cstate="print">
                  <a:biLevel thresh="25000"/>
                  <a:extLst>
                    <a:ext uri="{28A0092B-C50C-407E-A947-70E740481C1C}">
                      <a14:useLocalDpi xmlns:a14="http://schemas.microsoft.com/office/drawing/2010/main" val="0"/>
                    </a:ext>
                  </a:extLst>
                </a:blip>
                <a:stretch>
                  <a:fillRect/>
                </a:stretch>
              </p:blipFill>
              <p:spPr>
                <a:xfrm>
                  <a:off x="3229523" y="2500731"/>
                  <a:ext cx="195334" cy="108208"/>
                </a:xfrm>
                <a:prstGeom prst="rect">
                  <a:avLst/>
                </a:prstGeom>
              </p:spPr>
            </p:pic>
          </p:grpSp>
        </p:grpSp>
        <p:pic>
          <p:nvPicPr>
            <p:cNvPr id="83" name="Picture 82"/>
            <p:cNvPicPr>
              <a:picLocks noChangeAspect="1"/>
            </p:cNvPicPr>
            <p:nvPr/>
          </p:nvPicPr>
          <p:blipFill>
            <a:blip r:embed="rId5"/>
            <a:stretch>
              <a:fillRect/>
            </a:stretch>
          </p:blipFill>
          <p:spPr>
            <a:xfrm>
              <a:off x="1573234" y="1197427"/>
              <a:ext cx="6064253" cy="3898448"/>
            </a:xfrm>
            <a:prstGeom prst="rect">
              <a:avLst/>
            </a:prstGeom>
          </p:spPr>
        </p:pic>
        <p:pic>
          <p:nvPicPr>
            <p:cNvPr id="86" name="Picture 85"/>
            <p:cNvPicPr>
              <a:picLocks noChangeAspect="1"/>
            </p:cNvPicPr>
            <p:nvPr/>
          </p:nvPicPr>
          <p:blipFill>
            <a:blip r:embed="rId6"/>
            <a:stretch>
              <a:fillRect/>
            </a:stretch>
          </p:blipFill>
          <p:spPr>
            <a:xfrm>
              <a:off x="8143778" y="0"/>
              <a:ext cx="1097280" cy="1957805"/>
            </a:xfrm>
            <a:prstGeom prst="rect">
              <a:avLst/>
            </a:prstGeom>
          </p:spPr>
        </p:pic>
        <p:pic>
          <p:nvPicPr>
            <p:cNvPr id="89" name="Picture 88"/>
            <p:cNvPicPr>
              <a:picLocks noChangeAspect="1"/>
            </p:cNvPicPr>
            <p:nvPr/>
          </p:nvPicPr>
          <p:blipFill rotWithShape="1">
            <a:blip r:embed="rId7"/>
            <a:srcRect b="6643"/>
            <a:stretch/>
          </p:blipFill>
          <p:spPr>
            <a:xfrm>
              <a:off x="8272114" y="2784368"/>
              <a:ext cx="2834640" cy="2295525"/>
            </a:xfrm>
            <a:prstGeom prst="rect">
              <a:avLst/>
            </a:prstGeom>
          </p:spPr>
        </p:pic>
      </p:grpSp>
    </p:spTree>
    <p:extLst>
      <p:ext uri="{BB962C8B-B14F-4D97-AF65-F5344CB8AC3E}">
        <p14:creationId xmlns:p14="http://schemas.microsoft.com/office/powerpoint/2010/main" val="34525091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6"/>
                                        </p:tgtEl>
                                        <p:attrNameLst>
                                          <p:attrName>style.visibility</p:attrName>
                                        </p:attrNameLst>
                                      </p:cBhvr>
                                      <p:to>
                                        <p:strVal val="visible"/>
                                      </p:to>
                                    </p:set>
                                    <p:animEffect transition="in" filter="fade">
                                      <p:cBhvr>
                                        <p:cTn id="12" dur="500"/>
                                        <p:tgtEl>
                                          <p:spTgt spid="6"/>
                                        </p:tgtEl>
                                      </p:cBhvr>
                                    </p:animEffect>
                                  </p:childTnLst>
                                </p:cTn>
                              </p:par>
                            </p:childTnLst>
                          </p:cTn>
                        </p:par>
                        <p:par>
                          <p:cTn id="13" fill="hold">
                            <p:stCondLst>
                              <p:cond delay="500"/>
                            </p:stCondLst>
                            <p:childTnLst>
                              <p:par>
                                <p:cTn id="14" presetID="10" presetClass="entr" presetSubtype="0" fill="hold" nodeType="afterEffect">
                                  <p:stCondLst>
                                    <p:cond delay="0"/>
                                  </p:stCondLst>
                                  <p:childTnLst>
                                    <p:set>
                                      <p:cBhvr>
                                        <p:cTn id="15" dur="1" fill="hold">
                                          <p:stCondLst>
                                            <p:cond delay="0"/>
                                          </p:stCondLst>
                                        </p:cTn>
                                        <p:tgtEl>
                                          <p:spTgt spid="8"/>
                                        </p:tgtEl>
                                        <p:attrNameLst>
                                          <p:attrName>style.visibility</p:attrName>
                                        </p:attrNameLst>
                                      </p:cBhvr>
                                      <p:to>
                                        <p:strVal val="visible"/>
                                      </p:to>
                                    </p:set>
                                    <p:animEffect transition="in" filter="fade">
                                      <p:cBhvr>
                                        <p:cTn id="16" dur="500"/>
                                        <p:tgtEl>
                                          <p:spTgt spid="8"/>
                                        </p:tgtEl>
                                      </p:cBhvr>
                                    </p:animEffect>
                                  </p:childTnLst>
                                </p:cTn>
                              </p:par>
                            </p:childTnLst>
                          </p:cTn>
                        </p:par>
                        <p:par>
                          <p:cTn id="17" fill="hold">
                            <p:stCondLst>
                              <p:cond delay="1000"/>
                            </p:stCondLst>
                            <p:childTnLst>
                              <p:par>
                                <p:cTn id="18" presetID="10" presetClass="entr" presetSubtype="0" fill="hold" nodeType="afterEffect">
                                  <p:stCondLst>
                                    <p:cond delay="0"/>
                                  </p:stCondLst>
                                  <p:childTnLst>
                                    <p:set>
                                      <p:cBhvr>
                                        <p:cTn id="19" dur="1" fill="hold">
                                          <p:stCondLst>
                                            <p:cond delay="0"/>
                                          </p:stCondLst>
                                        </p:cTn>
                                        <p:tgtEl>
                                          <p:spTgt spid="9"/>
                                        </p:tgtEl>
                                        <p:attrNameLst>
                                          <p:attrName>style.visibility</p:attrName>
                                        </p:attrNameLst>
                                      </p:cBhvr>
                                      <p:to>
                                        <p:strVal val="visible"/>
                                      </p:to>
                                    </p:set>
                                    <p:animEffect transition="in" filter="fade">
                                      <p:cBhvr>
                                        <p:cTn id="20" dur="500"/>
                                        <p:tgtEl>
                                          <p:spTgt spid="9"/>
                                        </p:tgtEl>
                                      </p:cBhvr>
                                    </p:animEffect>
                                  </p:childTnLst>
                                </p:cTn>
                              </p:par>
                            </p:childTnLst>
                          </p:cTn>
                        </p:par>
                        <p:par>
                          <p:cTn id="21" fill="hold">
                            <p:stCondLst>
                              <p:cond delay="1500"/>
                            </p:stCondLst>
                            <p:childTnLst>
                              <p:par>
                                <p:cTn id="22" presetID="10" presetClass="entr" presetSubtype="0" fill="hold" nodeType="afterEffect">
                                  <p:stCondLst>
                                    <p:cond delay="0"/>
                                  </p:stCondLst>
                                  <p:childTnLst>
                                    <p:set>
                                      <p:cBhvr>
                                        <p:cTn id="23" dur="1" fill="hold">
                                          <p:stCondLst>
                                            <p:cond delay="0"/>
                                          </p:stCondLst>
                                        </p:cTn>
                                        <p:tgtEl>
                                          <p:spTgt spid="2"/>
                                        </p:tgtEl>
                                        <p:attrNameLst>
                                          <p:attrName>style.visibility</p:attrName>
                                        </p:attrNameLst>
                                      </p:cBhvr>
                                      <p:to>
                                        <p:strVal val="visible"/>
                                      </p:to>
                                    </p:set>
                                    <p:animEffect transition="in" filter="fade">
                                      <p:cBhvr>
                                        <p:cTn id="24" dur="500"/>
                                        <p:tgtEl>
                                          <p:spTgt spid="2"/>
                                        </p:tgtEl>
                                      </p:cBhvr>
                                    </p:animEffect>
                                  </p:childTnLst>
                                </p:cTn>
                              </p:par>
                            </p:childTnLst>
                          </p:cTn>
                        </p:par>
                        <p:par>
                          <p:cTn id="25" fill="hold">
                            <p:stCondLst>
                              <p:cond delay="2000"/>
                            </p:stCondLst>
                            <p:childTnLst>
                              <p:par>
                                <p:cTn id="26" presetID="10" presetClass="entr" presetSubtype="0" fill="hold" nodeType="afterEffect">
                                  <p:stCondLst>
                                    <p:cond delay="0"/>
                                  </p:stCondLst>
                                  <p:childTnLst>
                                    <p:set>
                                      <p:cBhvr>
                                        <p:cTn id="27" dur="1" fill="hold">
                                          <p:stCondLst>
                                            <p:cond delay="0"/>
                                          </p:stCondLst>
                                        </p:cTn>
                                        <p:tgtEl>
                                          <p:spTgt spid="116"/>
                                        </p:tgtEl>
                                        <p:attrNameLst>
                                          <p:attrName>style.visibility</p:attrName>
                                        </p:attrNameLst>
                                      </p:cBhvr>
                                      <p:to>
                                        <p:strVal val="visible"/>
                                      </p:to>
                                    </p:set>
                                    <p:animEffect transition="in" filter="fade">
                                      <p:cBhvr>
                                        <p:cTn id="28" dur="500"/>
                                        <p:tgtEl>
                                          <p:spTgt spid="1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p:cNvGrpSpPr/>
          <p:nvPr/>
        </p:nvGrpSpPr>
        <p:grpSpPr>
          <a:xfrm>
            <a:off x="-11149" y="0"/>
            <a:ext cx="2849058" cy="6858000"/>
            <a:chOff x="2" y="1"/>
            <a:chExt cx="2849058" cy="6858000"/>
          </a:xfrm>
        </p:grpSpPr>
        <p:sp>
          <p:nvSpPr>
            <p:cNvPr id="70" name="Rectangle 69"/>
            <p:cNvSpPr/>
            <p:nvPr/>
          </p:nvSpPr>
          <p:spPr bwMode="auto">
            <a:xfrm>
              <a:off x="2" y="1"/>
              <a:ext cx="2849058"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5" name="Oval 70"/>
            <p:cNvSpPr/>
            <p:nvPr/>
          </p:nvSpPr>
          <p:spPr>
            <a:xfrm>
              <a:off x="1413521" y="4951537"/>
              <a:ext cx="1119626" cy="1119626"/>
            </a:xfrm>
            <a:prstGeom prst="ellipse">
              <a:avLst/>
            </a:prstGeom>
            <a:solidFill>
              <a:srgbClr val="F2C812"/>
            </a:solidFill>
            <a:ln w="3175" cap="flat" cmpd="sng" algn="ctr">
              <a:noFill/>
              <a:prstDash val="solid"/>
            </a:ln>
            <a:effectLst/>
          </p:spPr>
          <p:txBody>
            <a:bodyPr vert="horz" wrap="none" lIns="0" tIns="45720" rIns="0" bIns="0" rtlCol="0" anchor="t"/>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Segoe UI"/>
                  <a:ea typeface="Segoe UI" pitchFamily="34" charset="0"/>
                  <a:cs typeface="Segoe UI" pitchFamily="34" charset="0"/>
                </a:rPr>
                <a:t>Share &amp;</a:t>
              </a:r>
            </a:p>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Segoe UI"/>
                  <a:ea typeface="Segoe UI" pitchFamily="34" charset="0"/>
                  <a:cs typeface="Segoe UI" pitchFamily="34" charset="0"/>
                </a:rPr>
                <a:t>collaborate </a:t>
              </a:r>
            </a:p>
          </p:txBody>
        </p:sp>
        <p:grpSp>
          <p:nvGrpSpPr>
            <p:cNvPr id="66" name="Group 38"/>
            <p:cNvGrpSpPr>
              <a:grpSpLocks noChangeAspect="1"/>
            </p:cNvGrpSpPr>
            <p:nvPr/>
          </p:nvGrpSpPr>
          <p:grpSpPr>
            <a:xfrm>
              <a:off x="676996" y="3930692"/>
              <a:ext cx="383905" cy="351536"/>
              <a:chOff x="4363684" y="5330386"/>
              <a:chExt cx="1409956" cy="1291077"/>
            </a:xfrm>
            <a:solidFill>
              <a:srgbClr val="217346"/>
            </a:solidFill>
          </p:grpSpPr>
          <p:sp>
            <p:nvSpPr>
              <p:cNvPr id="67" name="Donut 3"/>
              <p:cNvSpPr/>
              <p:nvPr/>
            </p:nvSpPr>
            <p:spPr bwMode="auto">
              <a:xfrm>
                <a:off x="4363684" y="5330386"/>
                <a:ext cx="1409956" cy="1291077"/>
              </a:xfrm>
              <a:custGeom>
                <a:avLst/>
                <a:gdLst/>
                <a:ahLst/>
                <a:cxnLst/>
                <a:rect l="l" t="t" r="r" b="b"/>
                <a:pathLst>
                  <a:path w="1409956" h="1291077">
                    <a:moveTo>
                      <a:pt x="956401" y="78410"/>
                    </a:moveTo>
                    <a:cubicBezTo>
                      <a:pt x="747518" y="78410"/>
                      <a:pt x="578184" y="247744"/>
                      <a:pt x="578184" y="456627"/>
                    </a:cubicBezTo>
                    <a:cubicBezTo>
                      <a:pt x="578184" y="665510"/>
                      <a:pt x="747518" y="834844"/>
                      <a:pt x="956401" y="834844"/>
                    </a:cubicBezTo>
                    <a:cubicBezTo>
                      <a:pt x="1165284" y="834844"/>
                      <a:pt x="1334618" y="665510"/>
                      <a:pt x="1334618" y="456627"/>
                    </a:cubicBezTo>
                    <a:cubicBezTo>
                      <a:pt x="1334618" y="247744"/>
                      <a:pt x="1165284" y="78410"/>
                      <a:pt x="956401" y="78410"/>
                    </a:cubicBezTo>
                    <a:close/>
                    <a:moveTo>
                      <a:pt x="952756" y="0"/>
                    </a:moveTo>
                    <a:cubicBezTo>
                      <a:pt x="1205261" y="0"/>
                      <a:pt x="1409956" y="204695"/>
                      <a:pt x="1409956" y="457200"/>
                    </a:cubicBezTo>
                    <a:cubicBezTo>
                      <a:pt x="1409956" y="709705"/>
                      <a:pt x="1205261" y="914400"/>
                      <a:pt x="952756" y="914400"/>
                    </a:cubicBezTo>
                    <a:cubicBezTo>
                      <a:pt x="862133" y="914400"/>
                      <a:pt x="777669" y="888034"/>
                      <a:pt x="707132" y="841746"/>
                    </a:cubicBezTo>
                    <a:lnTo>
                      <a:pt x="136495" y="1280102"/>
                    </a:lnTo>
                    <a:cubicBezTo>
                      <a:pt x="21896" y="1327168"/>
                      <a:pt x="-44029" y="1213730"/>
                      <a:pt x="33797" y="1113182"/>
                    </a:cubicBezTo>
                    <a:lnTo>
                      <a:pt x="568587" y="703518"/>
                    </a:lnTo>
                    <a:cubicBezTo>
                      <a:pt x="522087" y="632814"/>
                      <a:pt x="495556" y="548105"/>
                      <a:pt x="495556" y="457200"/>
                    </a:cubicBezTo>
                    <a:cubicBezTo>
                      <a:pt x="495556" y="204695"/>
                      <a:pt x="700251" y="0"/>
                      <a:pt x="952756" y="0"/>
                    </a:cubicBezTo>
                    <a:close/>
                  </a:path>
                </a:pathLst>
              </a:custGeom>
              <a:grpFill/>
              <a:ln>
                <a:solidFill>
                  <a:srgbClr val="21734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sp>
            <p:nvSpPr>
              <p:cNvPr id="68" name="Rectangle 4"/>
              <p:cNvSpPr/>
              <p:nvPr/>
            </p:nvSpPr>
            <p:spPr>
              <a:xfrm>
                <a:off x="5058389" y="5528247"/>
                <a:ext cx="490885" cy="490020"/>
              </a:xfrm>
              <a:custGeom>
                <a:avLst/>
                <a:gdLst/>
                <a:ahLst/>
                <a:cxnLst/>
                <a:rect l="l" t="t" r="r" b="b"/>
                <a:pathLst>
                  <a:path w="490885" h="490020">
                    <a:moveTo>
                      <a:pt x="240752" y="0"/>
                    </a:moveTo>
                    <a:cubicBezTo>
                      <a:pt x="253961" y="11844"/>
                      <a:pt x="293310" y="49692"/>
                      <a:pt x="337332" y="92439"/>
                    </a:cubicBezTo>
                    <a:lnTo>
                      <a:pt x="328342" y="81259"/>
                    </a:lnTo>
                    <a:cubicBezTo>
                      <a:pt x="356946" y="111282"/>
                      <a:pt x="377251" y="107167"/>
                      <a:pt x="382515" y="87941"/>
                    </a:cubicBezTo>
                    <a:cubicBezTo>
                      <a:pt x="383951" y="76921"/>
                      <a:pt x="384595" y="68732"/>
                      <a:pt x="396997" y="52239"/>
                    </a:cubicBezTo>
                    <a:cubicBezTo>
                      <a:pt x="420362" y="32084"/>
                      <a:pt x="442294" y="41736"/>
                      <a:pt x="454920" y="51330"/>
                    </a:cubicBezTo>
                    <a:cubicBezTo>
                      <a:pt x="467834" y="62761"/>
                      <a:pt x="477920" y="86882"/>
                      <a:pt x="460392" y="109714"/>
                    </a:cubicBezTo>
                    <a:cubicBezTo>
                      <a:pt x="451128" y="121912"/>
                      <a:pt x="437554" y="126838"/>
                      <a:pt x="425922" y="126505"/>
                    </a:cubicBezTo>
                    <a:cubicBezTo>
                      <a:pt x="424301" y="127609"/>
                      <a:pt x="382890" y="134974"/>
                      <a:pt x="427348" y="177672"/>
                    </a:cubicBezTo>
                    <a:lnTo>
                      <a:pt x="416886" y="169735"/>
                    </a:lnTo>
                    <a:cubicBezTo>
                      <a:pt x="450207" y="202177"/>
                      <a:pt x="478424" y="229744"/>
                      <a:pt x="490885" y="241900"/>
                    </a:cubicBezTo>
                    <a:lnTo>
                      <a:pt x="417150" y="317347"/>
                    </a:lnTo>
                    <a:cubicBezTo>
                      <a:pt x="417744" y="316535"/>
                      <a:pt x="418443" y="316123"/>
                      <a:pt x="419047" y="315822"/>
                    </a:cubicBezTo>
                    <a:cubicBezTo>
                      <a:pt x="389023" y="344426"/>
                      <a:pt x="393138" y="364731"/>
                      <a:pt x="412364" y="369995"/>
                    </a:cubicBezTo>
                    <a:cubicBezTo>
                      <a:pt x="423384" y="371431"/>
                      <a:pt x="431574" y="372075"/>
                      <a:pt x="448067" y="384477"/>
                    </a:cubicBezTo>
                    <a:cubicBezTo>
                      <a:pt x="468221" y="407842"/>
                      <a:pt x="458569" y="429774"/>
                      <a:pt x="448975" y="442400"/>
                    </a:cubicBezTo>
                    <a:cubicBezTo>
                      <a:pt x="437545" y="455314"/>
                      <a:pt x="413423" y="465400"/>
                      <a:pt x="390591" y="447872"/>
                    </a:cubicBezTo>
                    <a:cubicBezTo>
                      <a:pt x="378394" y="438608"/>
                      <a:pt x="373468" y="425034"/>
                      <a:pt x="373800" y="413402"/>
                    </a:cubicBezTo>
                    <a:cubicBezTo>
                      <a:pt x="372696" y="411781"/>
                      <a:pt x="365332" y="370370"/>
                      <a:pt x="322634" y="414828"/>
                    </a:cubicBezTo>
                    <a:lnTo>
                      <a:pt x="325243" y="411388"/>
                    </a:lnTo>
                    <a:lnTo>
                      <a:pt x="248395" y="490020"/>
                    </a:lnTo>
                    <a:cubicBezTo>
                      <a:pt x="208939" y="451897"/>
                      <a:pt x="199129" y="442073"/>
                      <a:pt x="174192" y="418236"/>
                    </a:cubicBezTo>
                    <a:cubicBezTo>
                      <a:pt x="145587" y="388212"/>
                      <a:pt x="125282" y="392327"/>
                      <a:pt x="120018" y="411553"/>
                    </a:cubicBezTo>
                    <a:cubicBezTo>
                      <a:pt x="118582" y="422573"/>
                      <a:pt x="117938" y="430763"/>
                      <a:pt x="105536" y="447256"/>
                    </a:cubicBezTo>
                    <a:cubicBezTo>
                      <a:pt x="82171" y="467410"/>
                      <a:pt x="60239" y="457758"/>
                      <a:pt x="47614" y="448164"/>
                    </a:cubicBezTo>
                    <a:cubicBezTo>
                      <a:pt x="34699" y="436734"/>
                      <a:pt x="24614" y="412612"/>
                      <a:pt x="42141" y="389780"/>
                    </a:cubicBezTo>
                    <a:cubicBezTo>
                      <a:pt x="51405" y="377583"/>
                      <a:pt x="64979" y="372657"/>
                      <a:pt x="76612" y="372989"/>
                    </a:cubicBezTo>
                    <a:cubicBezTo>
                      <a:pt x="78232" y="371886"/>
                      <a:pt x="119644" y="364521"/>
                      <a:pt x="75186" y="321823"/>
                    </a:cubicBezTo>
                    <a:cubicBezTo>
                      <a:pt x="58767" y="305402"/>
                      <a:pt x="23648" y="271235"/>
                      <a:pt x="0" y="248738"/>
                    </a:cubicBezTo>
                    <a:lnTo>
                      <a:pt x="77303" y="168146"/>
                    </a:lnTo>
                    <a:cubicBezTo>
                      <a:pt x="104269" y="140313"/>
                      <a:pt x="122130" y="156409"/>
                      <a:pt x="124388" y="175543"/>
                    </a:cubicBezTo>
                    <a:cubicBezTo>
                      <a:pt x="124457" y="182466"/>
                      <a:pt x="127106" y="193106"/>
                      <a:pt x="137575" y="203052"/>
                    </a:cubicBezTo>
                    <a:cubicBezTo>
                      <a:pt x="153931" y="220277"/>
                      <a:pt x="181252" y="217451"/>
                      <a:pt x="196721" y="201951"/>
                    </a:cubicBezTo>
                    <a:cubicBezTo>
                      <a:pt x="211961" y="185740"/>
                      <a:pt x="213057" y="157882"/>
                      <a:pt x="196146" y="142797"/>
                    </a:cubicBezTo>
                    <a:cubicBezTo>
                      <a:pt x="184301" y="132637"/>
                      <a:pt x="177155" y="131453"/>
                      <a:pt x="166513" y="129894"/>
                    </a:cubicBezTo>
                    <a:cubicBezTo>
                      <a:pt x="154522" y="129013"/>
                      <a:pt x="131185" y="112953"/>
                      <a:pt x="157905" y="85228"/>
                    </a:cubicBezTo>
                    <a:close/>
                  </a:path>
                </a:pathLst>
              </a:custGeom>
              <a:grpFill/>
              <a:ln>
                <a:solidFill>
                  <a:srgbClr val="21734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grpSp>
        <p:sp>
          <p:nvSpPr>
            <p:cNvPr id="69" name="Oval 47"/>
            <p:cNvSpPr/>
            <p:nvPr/>
          </p:nvSpPr>
          <p:spPr>
            <a:xfrm>
              <a:off x="388608" y="3710471"/>
              <a:ext cx="1119626" cy="1119626"/>
            </a:xfrm>
            <a:prstGeom prst="ellipse">
              <a:avLst/>
            </a:prstGeom>
            <a:solidFill>
              <a:srgbClr val="F2C812"/>
            </a:solidFill>
            <a:ln w="3175" cap="flat" cmpd="sng" algn="ctr">
              <a:noFill/>
              <a:prstDash val="solid"/>
            </a:ln>
            <a:effectLst/>
          </p:spPr>
          <p:txBody>
            <a:bodyPr vert="horz" wrap="none" lIns="0" tIns="45720" rIns="0" bIns="0" rtlCol="0" anchor="t"/>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Segoe UI"/>
                  <a:ea typeface="Segoe UI" pitchFamily="34" charset="0"/>
                  <a:cs typeface="Segoe UI" pitchFamily="34" charset="0"/>
                </a:rPr>
                <a:t>Report</a:t>
              </a:r>
            </a:p>
          </p:txBody>
        </p:sp>
        <p:sp>
          <p:nvSpPr>
            <p:cNvPr id="85" name="Oval 950"/>
            <p:cNvSpPr/>
            <p:nvPr/>
          </p:nvSpPr>
          <p:spPr>
            <a:xfrm>
              <a:off x="388608" y="1252295"/>
              <a:ext cx="1119626" cy="1119626"/>
            </a:xfrm>
            <a:prstGeom prst="ellipse">
              <a:avLst/>
            </a:prstGeom>
            <a:solidFill>
              <a:srgbClr val="F2C812"/>
            </a:solidFill>
            <a:ln w="3175" cap="flat" cmpd="sng" algn="ctr">
              <a:noFill/>
              <a:prstDash val="solid"/>
            </a:ln>
            <a:effectLst/>
          </p:spPr>
          <p:txBody>
            <a:bodyPr vert="horz" wrap="none" lIns="0" tIns="45720" rIns="0" bIns="0" rtlCol="0" anchor="t"/>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1" i="0" u="none" strike="noStrike" kern="1200" cap="none" spc="0" normalizeH="0" baseline="0" noProof="0">
                <a:ln>
                  <a:noFill/>
                </a:ln>
                <a:solidFill>
                  <a:srgbClr val="217346"/>
                </a:solidFill>
                <a:effectLst/>
                <a:uLnTx/>
                <a:uFillTx/>
                <a:latin typeface="Segoe UI"/>
                <a:ea typeface="Segoe UI" pitchFamily="34" charset="0"/>
                <a:cs typeface="Segoe UI" pitchFamily="34" charset="0"/>
              </a:endParaRPr>
            </a:p>
          </p:txBody>
        </p:sp>
        <p:grpSp>
          <p:nvGrpSpPr>
            <p:cNvPr id="86" name="Group 85"/>
            <p:cNvGrpSpPr/>
            <p:nvPr/>
          </p:nvGrpSpPr>
          <p:grpSpPr>
            <a:xfrm>
              <a:off x="1264851" y="3482890"/>
              <a:ext cx="292254" cy="354906"/>
              <a:chOff x="1296521" y="3253388"/>
              <a:chExt cx="292254" cy="354906"/>
            </a:xfrm>
            <a:solidFill>
              <a:srgbClr val="F2C812"/>
            </a:solidFill>
          </p:grpSpPr>
          <p:sp>
            <p:nvSpPr>
              <p:cNvPr id="87" name="Isosceles Triangle 86"/>
              <p:cNvSpPr/>
              <p:nvPr/>
            </p:nvSpPr>
            <p:spPr bwMode="auto">
              <a:xfrm rot="13636515">
                <a:off x="1461362" y="328936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8" name="Isosceles Triangle 87"/>
              <p:cNvSpPr/>
              <p:nvPr/>
            </p:nvSpPr>
            <p:spPr bwMode="auto">
              <a:xfrm rot="13636515">
                <a:off x="1357669" y="338258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9" name="Isosceles Triangle 88"/>
              <p:cNvSpPr/>
              <p:nvPr/>
            </p:nvSpPr>
            <p:spPr bwMode="auto">
              <a:xfrm rot="13636515">
                <a:off x="1260548" y="3480882"/>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90" name="Group 89"/>
            <p:cNvGrpSpPr/>
            <p:nvPr/>
          </p:nvGrpSpPr>
          <p:grpSpPr>
            <a:xfrm rot="15940603">
              <a:off x="1334576" y="2204404"/>
              <a:ext cx="292254" cy="354906"/>
              <a:chOff x="1296521" y="3253388"/>
              <a:chExt cx="292254" cy="354906"/>
            </a:xfrm>
            <a:solidFill>
              <a:srgbClr val="F2C812"/>
            </a:solidFill>
          </p:grpSpPr>
          <p:sp>
            <p:nvSpPr>
              <p:cNvPr id="91" name="Isosceles Triangle 90"/>
              <p:cNvSpPr/>
              <p:nvPr/>
            </p:nvSpPr>
            <p:spPr bwMode="auto">
              <a:xfrm rot="13636515">
                <a:off x="1461362" y="328936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2" name="Isosceles Triangle 91"/>
              <p:cNvSpPr/>
              <p:nvPr/>
            </p:nvSpPr>
            <p:spPr bwMode="auto">
              <a:xfrm rot="13636515">
                <a:off x="1357669" y="338258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3" name="Isosceles Triangle 92"/>
              <p:cNvSpPr/>
              <p:nvPr/>
            </p:nvSpPr>
            <p:spPr bwMode="auto">
              <a:xfrm rot="13636515">
                <a:off x="1260548" y="3480882"/>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94" name="Group 93"/>
            <p:cNvGrpSpPr/>
            <p:nvPr/>
          </p:nvGrpSpPr>
          <p:grpSpPr>
            <a:xfrm rot="16043978">
              <a:off x="1317220" y="4717577"/>
              <a:ext cx="292254" cy="354906"/>
              <a:chOff x="1296521" y="3253388"/>
              <a:chExt cx="292254" cy="354906"/>
            </a:xfrm>
            <a:solidFill>
              <a:srgbClr val="F2C812"/>
            </a:solidFill>
          </p:grpSpPr>
          <p:sp>
            <p:nvSpPr>
              <p:cNvPr id="95" name="Isosceles Triangle 94"/>
              <p:cNvSpPr/>
              <p:nvPr/>
            </p:nvSpPr>
            <p:spPr bwMode="auto">
              <a:xfrm rot="13636515">
                <a:off x="1461362" y="328936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6" name="Isosceles Triangle 95"/>
              <p:cNvSpPr/>
              <p:nvPr/>
            </p:nvSpPr>
            <p:spPr bwMode="auto">
              <a:xfrm rot="13636515">
                <a:off x="1357669" y="338258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7" name="Isosceles Triangle 96"/>
              <p:cNvSpPr/>
              <p:nvPr/>
            </p:nvSpPr>
            <p:spPr bwMode="auto">
              <a:xfrm rot="13636515">
                <a:off x="1260548" y="3480882"/>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98" name="Oval 36"/>
            <p:cNvSpPr/>
            <p:nvPr/>
          </p:nvSpPr>
          <p:spPr>
            <a:xfrm>
              <a:off x="1413521" y="2481383"/>
              <a:ext cx="1119626" cy="1119626"/>
            </a:xfrm>
            <a:prstGeom prst="ellipse">
              <a:avLst/>
            </a:prstGeom>
            <a:solidFill>
              <a:srgbClr val="F2C812"/>
            </a:solidFill>
            <a:ln w="3175" cap="flat" cmpd="sng" algn="ctr">
              <a:noFill/>
              <a:prstDash val="solid"/>
            </a:ln>
            <a:effectLst/>
          </p:spPr>
          <p:txBody>
            <a:bodyPr vert="horz" wrap="none" lIns="0" tIns="0" rIns="0" bIns="0" rtlCol="0" anchor="t"/>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400" b="1" i="0" u="none" strike="noStrike" kern="1200" cap="none" spc="0" normalizeH="0" baseline="0" noProof="0">
                <a:ln>
                  <a:noFill/>
                </a:ln>
                <a:solidFill>
                  <a:srgbClr val="217346"/>
                </a:solidFill>
                <a:effectLst/>
                <a:uLnTx/>
                <a:uFillTx/>
                <a:latin typeface="Segoe UI"/>
                <a:ea typeface="Segoe UI" pitchFamily="34" charset="0"/>
                <a:cs typeface="Segoe UI" pitchFamily="34" charset="0"/>
              </a:endParaRPr>
            </a:p>
          </p:txBody>
        </p:sp>
        <p:sp>
          <p:nvSpPr>
            <p:cNvPr id="99" name="Donut 3"/>
            <p:cNvSpPr/>
            <p:nvPr/>
          </p:nvSpPr>
          <p:spPr bwMode="auto">
            <a:xfrm>
              <a:off x="1742065" y="3002355"/>
              <a:ext cx="383905" cy="351537"/>
            </a:xfrm>
            <a:custGeom>
              <a:avLst/>
              <a:gdLst/>
              <a:ahLst/>
              <a:cxnLst/>
              <a:rect l="l" t="t" r="r" b="b"/>
              <a:pathLst>
                <a:path w="1409956" h="1291077">
                  <a:moveTo>
                    <a:pt x="956401" y="78410"/>
                  </a:moveTo>
                  <a:cubicBezTo>
                    <a:pt x="747518" y="78410"/>
                    <a:pt x="578184" y="247744"/>
                    <a:pt x="578184" y="456627"/>
                  </a:cubicBezTo>
                  <a:cubicBezTo>
                    <a:pt x="578184" y="665510"/>
                    <a:pt x="747518" y="834844"/>
                    <a:pt x="956401" y="834844"/>
                  </a:cubicBezTo>
                  <a:cubicBezTo>
                    <a:pt x="1165284" y="834844"/>
                    <a:pt x="1334618" y="665510"/>
                    <a:pt x="1334618" y="456627"/>
                  </a:cubicBezTo>
                  <a:cubicBezTo>
                    <a:pt x="1334618" y="247744"/>
                    <a:pt x="1165284" y="78410"/>
                    <a:pt x="956401" y="78410"/>
                  </a:cubicBezTo>
                  <a:close/>
                  <a:moveTo>
                    <a:pt x="952756" y="0"/>
                  </a:moveTo>
                  <a:cubicBezTo>
                    <a:pt x="1205261" y="0"/>
                    <a:pt x="1409956" y="204695"/>
                    <a:pt x="1409956" y="457200"/>
                  </a:cubicBezTo>
                  <a:cubicBezTo>
                    <a:pt x="1409956" y="709705"/>
                    <a:pt x="1205261" y="914400"/>
                    <a:pt x="952756" y="914400"/>
                  </a:cubicBezTo>
                  <a:cubicBezTo>
                    <a:pt x="862133" y="914400"/>
                    <a:pt x="777669" y="888034"/>
                    <a:pt x="707132" y="841746"/>
                  </a:cubicBezTo>
                  <a:lnTo>
                    <a:pt x="136495" y="1280102"/>
                  </a:lnTo>
                  <a:cubicBezTo>
                    <a:pt x="21896" y="1327168"/>
                    <a:pt x="-44029" y="1213730"/>
                    <a:pt x="33797" y="1113182"/>
                  </a:cubicBezTo>
                  <a:lnTo>
                    <a:pt x="568587" y="703518"/>
                  </a:lnTo>
                  <a:cubicBezTo>
                    <a:pt x="522087" y="632814"/>
                    <a:pt x="495556" y="548105"/>
                    <a:pt x="495556" y="457200"/>
                  </a:cubicBezTo>
                  <a:cubicBezTo>
                    <a:pt x="495556" y="204695"/>
                    <a:pt x="700251" y="0"/>
                    <a:pt x="952756" y="0"/>
                  </a:cubicBezTo>
                  <a:close/>
                </a:path>
              </a:pathLst>
            </a:cu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ysClr val="windowText" lastClr="000000"/>
                </a:solidFill>
                <a:effectLst/>
                <a:uLnTx/>
                <a:uFillTx/>
                <a:latin typeface="Segoe UI"/>
                <a:ea typeface="+mn-ea"/>
                <a:cs typeface="+mn-cs"/>
              </a:endParaRPr>
            </a:p>
          </p:txBody>
        </p:sp>
        <p:sp>
          <p:nvSpPr>
            <p:cNvPr id="100" name="Rectangle 99"/>
            <p:cNvSpPr/>
            <p:nvPr/>
          </p:nvSpPr>
          <p:spPr>
            <a:xfrm>
              <a:off x="1600398" y="2677430"/>
              <a:ext cx="820353" cy="307777"/>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Segoe UI"/>
                  <a:ea typeface="Segoe UI" pitchFamily="34" charset="0"/>
                  <a:cs typeface="Segoe UI" pitchFamily="34" charset="0"/>
                </a:rPr>
                <a:t>Explore</a:t>
              </a:r>
              <a:endParaRPr kumimoji="0" lang="en-US" sz="1600" b="0" i="0" u="none" strike="noStrike" kern="1200" cap="none" spc="0" normalizeH="0" baseline="0" noProof="0">
                <a:ln>
                  <a:noFill/>
                </a:ln>
                <a:solidFill>
                  <a:prstClr val="black"/>
                </a:solidFill>
                <a:effectLst/>
                <a:uLnTx/>
                <a:uFillTx/>
                <a:latin typeface="Segoe UI"/>
                <a:ea typeface="+mn-ea"/>
                <a:cs typeface="+mn-cs"/>
              </a:endParaRPr>
            </a:p>
          </p:txBody>
        </p:sp>
        <p:sp>
          <p:nvSpPr>
            <p:cNvPr id="101" name="Rectangle 100"/>
            <p:cNvSpPr/>
            <p:nvPr/>
          </p:nvSpPr>
          <p:spPr>
            <a:xfrm>
              <a:off x="509174" y="1475232"/>
              <a:ext cx="838756" cy="307777"/>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Segoe UI"/>
                  <a:ea typeface="Segoe UI" pitchFamily="34" charset="0"/>
                  <a:cs typeface="Segoe UI" pitchFamily="34" charset="0"/>
                </a:rPr>
                <a:t>Prepare</a:t>
              </a:r>
              <a:endParaRPr kumimoji="0" lang="en-US" sz="1400" b="0" i="0" u="none" strike="noStrike" kern="1200" cap="none" spc="0" normalizeH="0" baseline="0" noProof="0">
                <a:ln>
                  <a:noFill/>
                </a:ln>
                <a:solidFill>
                  <a:prstClr val="black"/>
                </a:solidFill>
                <a:effectLst/>
                <a:uLnTx/>
                <a:uFillTx/>
                <a:latin typeface="Segoe UI"/>
                <a:ea typeface="+mn-ea"/>
                <a:cs typeface="+mn-cs"/>
              </a:endParaRPr>
            </a:p>
          </p:txBody>
        </p:sp>
        <p:sp>
          <p:nvSpPr>
            <p:cNvPr id="102" name="Freeform 101"/>
            <p:cNvSpPr>
              <a:spLocks noChangeAspect="1"/>
            </p:cNvSpPr>
            <p:nvPr/>
          </p:nvSpPr>
          <p:spPr bwMode="black">
            <a:xfrm>
              <a:off x="1836174" y="5643069"/>
              <a:ext cx="274320" cy="284173"/>
            </a:xfrm>
            <a:custGeom>
              <a:avLst/>
              <a:gdLst>
                <a:gd name="T0" fmla="*/ 539 w 669"/>
                <a:gd name="T1" fmla="*/ 5 h 693"/>
                <a:gd name="T2" fmla="*/ 640 w 669"/>
                <a:gd name="T3" fmla="*/ 55 h 693"/>
                <a:gd name="T4" fmla="*/ 603 w 669"/>
                <a:gd name="T5" fmla="*/ 195 h 693"/>
                <a:gd name="T6" fmla="*/ 490 w 669"/>
                <a:gd name="T7" fmla="*/ 188 h 693"/>
                <a:gd name="T8" fmla="*/ 479 w 669"/>
                <a:gd name="T9" fmla="*/ 176 h 693"/>
                <a:gd name="T10" fmla="*/ 213 w 669"/>
                <a:gd name="T11" fmla="*/ 330 h 693"/>
                <a:gd name="T12" fmla="*/ 218 w 669"/>
                <a:gd name="T13" fmla="*/ 345 h 693"/>
                <a:gd name="T14" fmla="*/ 218 w 669"/>
                <a:gd name="T15" fmla="*/ 375 h 693"/>
                <a:gd name="T16" fmla="*/ 209 w 669"/>
                <a:gd name="T17" fmla="*/ 402 h 693"/>
                <a:gd name="T18" fmla="*/ 369 w 669"/>
                <a:gd name="T19" fmla="*/ 503 h 693"/>
                <a:gd name="T20" fmla="*/ 373 w 669"/>
                <a:gd name="T21" fmla="*/ 498 h 693"/>
                <a:gd name="T22" fmla="*/ 456 w 669"/>
                <a:gd name="T23" fmla="*/ 475 h 693"/>
                <a:gd name="T24" fmla="*/ 494 w 669"/>
                <a:gd name="T25" fmla="*/ 489 h 693"/>
                <a:gd name="T26" fmla="*/ 527 w 669"/>
                <a:gd name="T27" fmla="*/ 630 h 693"/>
                <a:gd name="T28" fmla="*/ 386 w 669"/>
                <a:gd name="T29" fmla="*/ 663 h 693"/>
                <a:gd name="T30" fmla="*/ 339 w 669"/>
                <a:gd name="T31" fmla="*/ 560 h 693"/>
                <a:gd name="T32" fmla="*/ 345 w 669"/>
                <a:gd name="T33" fmla="*/ 544 h 693"/>
                <a:gd name="T34" fmla="*/ 177 w 669"/>
                <a:gd name="T35" fmla="*/ 439 h 693"/>
                <a:gd name="T36" fmla="*/ 168 w 669"/>
                <a:gd name="T37" fmla="*/ 446 h 693"/>
                <a:gd name="T38" fmla="*/ 28 w 669"/>
                <a:gd name="T39" fmla="*/ 409 h 693"/>
                <a:gd name="T40" fmla="*/ 65 w 669"/>
                <a:gd name="T41" fmla="*/ 269 h 693"/>
                <a:gd name="T42" fmla="*/ 178 w 669"/>
                <a:gd name="T43" fmla="*/ 276 h 693"/>
                <a:gd name="T44" fmla="*/ 189 w 669"/>
                <a:gd name="T45" fmla="*/ 288 h 693"/>
                <a:gd name="T46" fmla="*/ 455 w 669"/>
                <a:gd name="T47" fmla="*/ 134 h 693"/>
                <a:gd name="T48" fmla="*/ 450 w 669"/>
                <a:gd name="T49" fmla="*/ 119 h 693"/>
                <a:gd name="T50" fmla="*/ 501 w 669"/>
                <a:gd name="T51" fmla="*/ 18 h 693"/>
                <a:gd name="T52" fmla="*/ 539 w 669"/>
                <a:gd name="T53" fmla="*/ 5 h 6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69" h="693">
                  <a:moveTo>
                    <a:pt x="539" y="5"/>
                  </a:moveTo>
                  <a:cubicBezTo>
                    <a:pt x="579" y="0"/>
                    <a:pt x="619" y="19"/>
                    <a:pt x="640" y="55"/>
                  </a:cubicBezTo>
                  <a:cubicBezTo>
                    <a:pt x="669" y="104"/>
                    <a:pt x="652" y="167"/>
                    <a:pt x="603" y="195"/>
                  </a:cubicBezTo>
                  <a:cubicBezTo>
                    <a:pt x="566" y="216"/>
                    <a:pt x="522" y="212"/>
                    <a:pt x="490" y="188"/>
                  </a:cubicBezTo>
                  <a:cubicBezTo>
                    <a:pt x="479" y="176"/>
                    <a:pt x="479" y="176"/>
                    <a:pt x="479" y="176"/>
                  </a:cubicBezTo>
                  <a:cubicBezTo>
                    <a:pt x="213" y="330"/>
                    <a:pt x="213" y="330"/>
                    <a:pt x="213" y="330"/>
                  </a:cubicBezTo>
                  <a:cubicBezTo>
                    <a:pt x="218" y="345"/>
                    <a:pt x="218" y="345"/>
                    <a:pt x="218" y="345"/>
                  </a:cubicBezTo>
                  <a:cubicBezTo>
                    <a:pt x="219" y="355"/>
                    <a:pt x="219" y="365"/>
                    <a:pt x="218" y="375"/>
                  </a:cubicBezTo>
                  <a:cubicBezTo>
                    <a:pt x="209" y="402"/>
                    <a:pt x="209" y="402"/>
                    <a:pt x="209" y="402"/>
                  </a:cubicBezTo>
                  <a:cubicBezTo>
                    <a:pt x="369" y="503"/>
                    <a:pt x="369" y="503"/>
                    <a:pt x="369" y="503"/>
                  </a:cubicBezTo>
                  <a:cubicBezTo>
                    <a:pt x="373" y="498"/>
                    <a:pt x="373" y="498"/>
                    <a:pt x="373" y="498"/>
                  </a:cubicBezTo>
                  <a:cubicBezTo>
                    <a:pt x="396" y="479"/>
                    <a:pt x="427" y="470"/>
                    <a:pt x="456" y="475"/>
                  </a:cubicBezTo>
                  <a:cubicBezTo>
                    <a:pt x="470" y="477"/>
                    <a:pt x="482" y="482"/>
                    <a:pt x="494" y="489"/>
                  </a:cubicBezTo>
                  <a:cubicBezTo>
                    <a:pt x="542" y="519"/>
                    <a:pt x="557" y="583"/>
                    <a:pt x="527" y="630"/>
                  </a:cubicBezTo>
                  <a:cubicBezTo>
                    <a:pt x="497" y="678"/>
                    <a:pt x="433" y="693"/>
                    <a:pt x="386" y="663"/>
                  </a:cubicBezTo>
                  <a:cubicBezTo>
                    <a:pt x="350" y="640"/>
                    <a:pt x="333" y="599"/>
                    <a:pt x="339" y="560"/>
                  </a:cubicBezTo>
                  <a:cubicBezTo>
                    <a:pt x="345" y="544"/>
                    <a:pt x="345" y="544"/>
                    <a:pt x="345" y="544"/>
                  </a:cubicBezTo>
                  <a:cubicBezTo>
                    <a:pt x="177" y="439"/>
                    <a:pt x="177" y="439"/>
                    <a:pt x="177" y="439"/>
                  </a:cubicBezTo>
                  <a:cubicBezTo>
                    <a:pt x="168" y="446"/>
                    <a:pt x="168" y="446"/>
                    <a:pt x="168" y="446"/>
                  </a:cubicBezTo>
                  <a:cubicBezTo>
                    <a:pt x="119" y="475"/>
                    <a:pt x="56" y="458"/>
                    <a:pt x="28" y="409"/>
                  </a:cubicBezTo>
                  <a:cubicBezTo>
                    <a:pt x="0" y="360"/>
                    <a:pt x="16" y="297"/>
                    <a:pt x="65" y="269"/>
                  </a:cubicBezTo>
                  <a:cubicBezTo>
                    <a:pt x="102" y="248"/>
                    <a:pt x="147" y="252"/>
                    <a:pt x="178" y="276"/>
                  </a:cubicBezTo>
                  <a:cubicBezTo>
                    <a:pt x="189" y="288"/>
                    <a:pt x="189" y="288"/>
                    <a:pt x="189" y="288"/>
                  </a:cubicBezTo>
                  <a:cubicBezTo>
                    <a:pt x="455" y="134"/>
                    <a:pt x="455" y="134"/>
                    <a:pt x="455" y="134"/>
                  </a:cubicBezTo>
                  <a:cubicBezTo>
                    <a:pt x="450" y="119"/>
                    <a:pt x="450" y="119"/>
                    <a:pt x="450" y="119"/>
                  </a:cubicBezTo>
                  <a:cubicBezTo>
                    <a:pt x="445" y="80"/>
                    <a:pt x="464" y="39"/>
                    <a:pt x="501" y="18"/>
                  </a:cubicBezTo>
                  <a:cubicBezTo>
                    <a:pt x="513" y="11"/>
                    <a:pt x="526" y="6"/>
                    <a:pt x="539" y="5"/>
                  </a:cubicBezTo>
                  <a:close/>
                </a:path>
              </a:pathLst>
            </a:custGeom>
            <a:solidFill>
              <a:schemeClr val="tx1"/>
            </a:solidFill>
            <a:ln>
              <a:noFill/>
            </a:ln>
          </p:spPr>
          <p:txBody>
            <a:bodyPr vert="horz" wrap="square" lIns="68574" tIns="34287" rIns="68574" bIns="34287"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Segoe UI"/>
                <a:ea typeface="+mn-ea"/>
                <a:cs typeface="+mn-cs"/>
              </a:endParaRPr>
            </a:p>
          </p:txBody>
        </p:sp>
        <p:sp>
          <p:nvSpPr>
            <p:cNvPr id="103" name="Freeform 102"/>
            <p:cNvSpPr>
              <a:spLocks noChangeAspect="1" noEditPoints="1"/>
            </p:cNvSpPr>
            <p:nvPr/>
          </p:nvSpPr>
          <p:spPr bwMode="black">
            <a:xfrm>
              <a:off x="722320" y="1783009"/>
              <a:ext cx="452202" cy="366660"/>
            </a:xfrm>
            <a:custGeom>
              <a:avLst/>
              <a:gdLst>
                <a:gd name="T0" fmla="*/ 600 w 1107"/>
                <a:gd name="T1" fmla="*/ 625 h 897"/>
                <a:gd name="T2" fmla="*/ 649 w 1107"/>
                <a:gd name="T3" fmla="*/ 567 h 897"/>
                <a:gd name="T4" fmla="*/ 727 w 1107"/>
                <a:gd name="T5" fmla="*/ 482 h 897"/>
                <a:gd name="T6" fmla="*/ 601 w 1107"/>
                <a:gd name="T7" fmla="*/ 434 h 897"/>
                <a:gd name="T8" fmla="*/ 628 w 1107"/>
                <a:gd name="T9" fmla="*/ 305 h 897"/>
                <a:gd name="T10" fmla="*/ 547 w 1107"/>
                <a:gd name="T11" fmla="*/ 240 h 897"/>
                <a:gd name="T12" fmla="*/ 427 w 1107"/>
                <a:gd name="T13" fmla="*/ 287 h 897"/>
                <a:gd name="T14" fmla="*/ 368 w 1107"/>
                <a:gd name="T15" fmla="*/ 170 h 897"/>
                <a:gd name="T16" fmla="*/ 285 w 1107"/>
                <a:gd name="T17" fmla="*/ 263 h 897"/>
                <a:gd name="T18" fmla="*/ 241 w 1107"/>
                <a:gd name="T19" fmla="*/ 313 h 897"/>
                <a:gd name="T20" fmla="*/ 139 w 1107"/>
                <a:gd name="T21" fmla="*/ 281 h 897"/>
                <a:gd name="T22" fmla="*/ 79 w 1107"/>
                <a:gd name="T23" fmla="*/ 355 h 897"/>
                <a:gd name="T24" fmla="*/ 132 w 1107"/>
                <a:gd name="T25" fmla="*/ 446 h 897"/>
                <a:gd name="T26" fmla="*/ 83 w 1107"/>
                <a:gd name="T27" fmla="*/ 505 h 897"/>
                <a:gd name="T28" fmla="*/ 5 w 1107"/>
                <a:gd name="T29" fmla="*/ 590 h 897"/>
                <a:gd name="T30" fmla="*/ 132 w 1107"/>
                <a:gd name="T31" fmla="*/ 638 h 897"/>
                <a:gd name="T32" fmla="*/ 145 w 1107"/>
                <a:gd name="T33" fmla="*/ 669 h 897"/>
                <a:gd name="T34" fmla="*/ 110 w 1107"/>
                <a:gd name="T35" fmla="*/ 793 h 897"/>
                <a:gd name="T36" fmla="*/ 230 w 1107"/>
                <a:gd name="T37" fmla="*/ 781 h 897"/>
                <a:gd name="T38" fmla="*/ 306 w 1107"/>
                <a:gd name="T39" fmla="*/ 785 h 897"/>
                <a:gd name="T40" fmla="*/ 346 w 1107"/>
                <a:gd name="T41" fmla="*/ 878 h 897"/>
                <a:gd name="T42" fmla="*/ 440 w 1107"/>
                <a:gd name="T43" fmla="*/ 872 h 897"/>
                <a:gd name="T44" fmla="*/ 466 w 1107"/>
                <a:gd name="T45" fmla="*/ 764 h 897"/>
                <a:gd name="T46" fmla="*/ 539 w 1107"/>
                <a:gd name="T47" fmla="*/ 755 h 897"/>
                <a:gd name="T48" fmla="*/ 659 w 1107"/>
                <a:gd name="T49" fmla="*/ 743 h 897"/>
                <a:gd name="T50" fmla="*/ 263 w 1107"/>
                <a:gd name="T51" fmla="*/ 452 h 897"/>
                <a:gd name="T52" fmla="*/ 281 w 1107"/>
                <a:gd name="T53" fmla="*/ 633 h 897"/>
                <a:gd name="T54" fmla="*/ 1002 w 1107"/>
                <a:gd name="T55" fmla="*/ 332 h 897"/>
                <a:gd name="T56" fmla="*/ 1043 w 1107"/>
                <a:gd name="T57" fmla="*/ 304 h 897"/>
                <a:gd name="T58" fmla="*/ 1107 w 1107"/>
                <a:gd name="T59" fmla="*/ 266 h 897"/>
                <a:gd name="T60" fmla="*/ 1037 w 1107"/>
                <a:gd name="T61" fmla="*/ 213 h 897"/>
                <a:gd name="T62" fmla="*/ 1077 w 1107"/>
                <a:gd name="T63" fmla="*/ 138 h 897"/>
                <a:gd name="T64" fmla="*/ 1038 w 1107"/>
                <a:gd name="T65" fmla="*/ 83 h 897"/>
                <a:gd name="T66" fmla="*/ 956 w 1107"/>
                <a:gd name="T67" fmla="*/ 91 h 897"/>
                <a:gd name="T68" fmla="*/ 940 w 1107"/>
                <a:gd name="T69" fmla="*/ 7 h 897"/>
                <a:gd name="T70" fmla="*/ 872 w 1107"/>
                <a:gd name="T71" fmla="*/ 50 h 897"/>
                <a:gd name="T72" fmla="*/ 836 w 1107"/>
                <a:gd name="T73" fmla="*/ 74 h 897"/>
                <a:gd name="T74" fmla="*/ 778 w 1107"/>
                <a:gd name="T75" fmla="*/ 35 h 897"/>
                <a:gd name="T76" fmla="*/ 728 w 1107"/>
                <a:gd name="T77" fmla="*/ 70 h 897"/>
                <a:gd name="T78" fmla="*/ 744 w 1107"/>
                <a:gd name="T79" fmla="*/ 136 h 897"/>
                <a:gd name="T80" fmla="*/ 703 w 1107"/>
                <a:gd name="T81" fmla="*/ 164 h 897"/>
                <a:gd name="T82" fmla="*/ 640 w 1107"/>
                <a:gd name="T83" fmla="*/ 203 h 897"/>
                <a:gd name="T84" fmla="*/ 710 w 1107"/>
                <a:gd name="T85" fmla="*/ 255 h 897"/>
                <a:gd name="T86" fmla="*/ 712 w 1107"/>
                <a:gd name="T87" fmla="*/ 277 h 897"/>
                <a:gd name="T88" fmla="*/ 668 w 1107"/>
                <a:gd name="T89" fmla="*/ 347 h 897"/>
                <a:gd name="T90" fmla="*/ 745 w 1107"/>
                <a:gd name="T91" fmla="*/ 361 h 897"/>
                <a:gd name="T92" fmla="*/ 791 w 1107"/>
                <a:gd name="T93" fmla="*/ 377 h 897"/>
                <a:gd name="T94" fmla="*/ 799 w 1107"/>
                <a:gd name="T95" fmla="*/ 443 h 897"/>
                <a:gd name="T96" fmla="*/ 859 w 1107"/>
                <a:gd name="T97" fmla="*/ 456 h 897"/>
                <a:gd name="T98" fmla="*/ 894 w 1107"/>
                <a:gd name="T99" fmla="*/ 393 h 897"/>
                <a:gd name="T100" fmla="*/ 941 w 1107"/>
                <a:gd name="T101" fmla="*/ 401 h 897"/>
                <a:gd name="T102" fmla="*/ 1018 w 1107"/>
                <a:gd name="T103" fmla="*/ 415 h 897"/>
                <a:gd name="T104" fmla="*/ 825 w 1107"/>
                <a:gd name="T105" fmla="*/ 164 h 897"/>
                <a:gd name="T106" fmla="*/ 803 w 1107"/>
                <a:gd name="T107" fmla="*/ 279 h 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107" h="897">
                  <a:moveTo>
                    <a:pt x="654" y="716"/>
                  </a:moveTo>
                  <a:cubicBezTo>
                    <a:pt x="616" y="670"/>
                    <a:pt x="616" y="670"/>
                    <a:pt x="616" y="670"/>
                  </a:cubicBezTo>
                  <a:cubicBezTo>
                    <a:pt x="593" y="654"/>
                    <a:pt x="603" y="638"/>
                    <a:pt x="600" y="625"/>
                  </a:cubicBezTo>
                  <a:cubicBezTo>
                    <a:pt x="600" y="625"/>
                    <a:pt x="600" y="625"/>
                    <a:pt x="600" y="625"/>
                  </a:cubicBezTo>
                  <a:cubicBezTo>
                    <a:pt x="605" y="617"/>
                    <a:pt x="611" y="609"/>
                    <a:pt x="608" y="596"/>
                  </a:cubicBezTo>
                  <a:cubicBezTo>
                    <a:pt x="618" y="580"/>
                    <a:pt x="623" y="572"/>
                    <a:pt x="649" y="567"/>
                  </a:cubicBezTo>
                  <a:cubicBezTo>
                    <a:pt x="715" y="553"/>
                    <a:pt x="715" y="553"/>
                    <a:pt x="715" y="553"/>
                  </a:cubicBezTo>
                  <a:cubicBezTo>
                    <a:pt x="728" y="550"/>
                    <a:pt x="733" y="542"/>
                    <a:pt x="730" y="529"/>
                  </a:cubicBezTo>
                  <a:cubicBezTo>
                    <a:pt x="727" y="482"/>
                    <a:pt x="727" y="482"/>
                    <a:pt x="727" y="482"/>
                  </a:cubicBezTo>
                  <a:cubicBezTo>
                    <a:pt x="724" y="469"/>
                    <a:pt x="717" y="463"/>
                    <a:pt x="701" y="453"/>
                  </a:cubicBezTo>
                  <a:cubicBezTo>
                    <a:pt x="641" y="459"/>
                    <a:pt x="641" y="459"/>
                    <a:pt x="641" y="459"/>
                  </a:cubicBezTo>
                  <a:cubicBezTo>
                    <a:pt x="620" y="457"/>
                    <a:pt x="604" y="447"/>
                    <a:pt x="601" y="434"/>
                  </a:cubicBezTo>
                  <a:cubicBezTo>
                    <a:pt x="598" y="421"/>
                    <a:pt x="590" y="416"/>
                    <a:pt x="580" y="397"/>
                  </a:cubicBezTo>
                  <a:cubicBezTo>
                    <a:pt x="577" y="384"/>
                    <a:pt x="574" y="371"/>
                    <a:pt x="584" y="355"/>
                  </a:cubicBezTo>
                  <a:cubicBezTo>
                    <a:pt x="628" y="305"/>
                    <a:pt x="628" y="305"/>
                    <a:pt x="628" y="305"/>
                  </a:cubicBezTo>
                  <a:cubicBezTo>
                    <a:pt x="634" y="297"/>
                    <a:pt x="631" y="284"/>
                    <a:pt x="623" y="279"/>
                  </a:cubicBezTo>
                  <a:cubicBezTo>
                    <a:pt x="581" y="240"/>
                    <a:pt x="581" y="240"/>
                    <a:pt x="581" y="240"/>
                  </a:cubicBezTo>
                  <a:cubicBezTo>
                    <a:pt x="573" y="235"/>
                    <a:pt x="560" y="238"/>
                    <a:pt x="547" y="240"/>
                  </a:cubicBezTo>
                  <a:cubicBezTo>
                    <a:pt x="503" y="291"/>
                    <a:pt x="503" y="291"/>
                    <a:pt x="503" y="291"/>
                  </a:cubicBezTo>
                  <a:cubicBezTo>
                    <a:pt x="484" y="302"/>
                    <a:pt x="471" y="304"/>
                    <a:pt x="463" y="299"/>
                  </a:cubicBezTo>
                  <a:cubicBezTo>
                    <a:pt x="456" y="294"/>
                    <a:pt x="435" y="292"/>
                    <a:pt x="427" y="287"/>
                  </a:cubicBezTo>
                  <a:cubicBezTo>
                    <a:pt x="419" y="282"/>
                    <a:pt x="403" y="271"/>
                    <a:pt x="400" y="258"/>
                  </a:cubicBezTo>
                  <a:cubicBezTo>
                    <a:pt x="386" y="193"/>
                    <a:pt x="386" y="193"/>
                    <a:pt x="386" y="193"/>
                  </a:cubicBezTo>
                  <a:cubicBezTo>
                    <a:pt x="384" y="180"/>
                    <a:pt x="368" y="170"/>
                    <a:pt x="368" y="170"/>
                  </a:cubicBezTo>
                  <a:cubicBezTo>
                    <a:pt x="308" y="176"/>
                    <a:pt x="308" y="176"/>
                    <a:pt x="308" y="176"/>
                  </a:cubicBezTo>
                  <a:cubicBezTo>
                    <a:pt x="308" y="176"/>
                    <a:pt x="289" y="187"/>
                    <a:pt x="292" y="200"/>
                  </a:cubicBezTo>
                  <a:cubicBezTo>
                    <a:pt x="285" y="263"/>
                    <a:pt x="285" y="263"/>
                    <a:pt x="285" y="263"/>
                  </a:cubicBezTo>
                  <a:cubicBezTo>
                    <a:pt x="291" y="289"/>
                    <a:pt x="277" y="292"/>
                    <a:pt x="272" y="300"/>
                  </a:cubicBezTo>
                  <a:cubicBezTo>
                    <a:pt x="272" y="300"/>
                    <a:pt x="272" y="300"/>
                    <a:pt x="267" y="308"/>
                  </a:cubicBezTo>
                  <a:cubicBezTo>
                    <a:pt x="259" y="302"/>
                    <a:pt x="246" y="305"/>
                    <a:pt x="241" y="313"/>
                  </a:cubicBezTo>
                  <a:cubicBezTo>
                    <a:pt x="236" y="321"/>
                    <a:pt x="236" y="321"/>
                    <a:pt x="236" y="321"/>
                  </a:cubicBezTo>
                  <a:cubicBezTo>
                    <a:pt x="223" y="324"/>
                    <a:pt x="210" y="327"/>
                    <a:pt x="194" y="317"/>
                  </a:cubicBezTo>
                  <a:cubicBezTo>
                    <a:pt x="139" y="281"/>
                    <a:pt x="139" y="281"/>
                    <a:pt x="139" y="281"/>
                  </a:cubicBezTo>
                  <a:cubicBezTo>
                    <a:pt x="131" y="276"/>
                    <a:pt x="110" y="273"/>
                    <a:pt x="104" y="281"/>
                  </a:cubicBezTo>
                  <a:cubicBezTo>
                    <a:pt x="79" y="321"/>
                    <a:pt x="79" y="321"/>
                    <a:pt x="79" y="321"/>
                  </a:cubicBezTo>
                  <a:cubicBezTo>
                    <a:pt x="66" y="324"/>
                    <a:pt x="68" y="337"/>
                    <a:pt x="79" y="355"/>
                  </a:cubicBezTo>
                  <a:cubicBezTo>
                    <a:pt x="121" y="394"/>
                    <a:pt x="121" y="394"/>
                    <a:pt x="121" y="394"/>
                  </a:cubicBezTo>
                  <a:cubicBezTo>
                    <a:pt x="140" y="417"/>
                    <a:pt x="135" y="425"/>
                    <a:pt x="132" y="446"/>
                  </a:cubicBezTo>
                  <a:cubicBezTo>
                    <a:pt x="132" y="446"/>
                    <a:pt x="132" y="446"/>
                    <a:pt x="132" y="446"/>
                  </a:cubicBezTo>
                  <a:cubicBezTo>
                    <a:pt x="127" y="454"/>
                    <a:pt x="122" y="462"/>
                    <a:pt x="117" y="470"/>
                  </a:cubicBezTo>
                  <a:cubicBezTo>
                    <a:pt x="117" y="470"/>
                    <a:pt x="117" y="470"/>
                    <a:pt x="117" y="470"/>
                  </a:cubicBezTo>
                  <a:cubicBezTo>
                    <a:pt x="120" y="483"/>
                    <a:pt x="109" y="499"/>
                    <a:pt x="83" y="505"/>
                  </a:cubicBezTo>
                  <a:cubicBezTo>
                    <a:pt x="23" y="511"/>
                    <a:pt x="23" y="511"/>
                    <a:pt x="23" y="511"/>
                  </a:cubicBezTo>
                  <a:cubicBezTo>
                    <a:pt x="10" y="514"/>
                    <a:pt x="0" y="529"/>
                    <a:pt x="2" y="543"/>
                  </a:cubicBezTo>
                  <a:cubicBezTo>
                    <a:pt x="5" y="590"/>
                    <a:pt x="5" y="590"/>
                    <a:pt x="5" y="590"/>
                  </a:cubicBezTo>
                  <a:cubicBezTo>
                    <a:pt x="8" y="603"/>
                    <a:pt x="16" y="608"/>
                    <a:pt x="37" y="610"/>
                  </a:cubicBezTo>
                  <a:cubicBezTo>
                    <a:pt x="92" y="612"/>
                    <a:pt x="92" y="612"/>
                    <a:pt x="92" y="612"/>
                  </a:cubicBezTo>
                  <a:cubicBezTo>
                    <a:pt x="113" y="614"/>
                    <a:pt x="129" y="625"/>
                    <a:pt x="132" y="638"/>
                  </a:cubicBezTo>
                  <a:cubicBezTo>
                    <a:pt x="132" y="638"/>
                    <a:pt x="132" y="638"/>
                    <a:pt x="132" y="638"/>
                  </a:cubicBezTo>
                  <a:cubicBezTo>
                    <a:pt x="140" y="643"/>
                    <a:pt x="142" y="656"/>
                    <a:pt x="150" y="661"/>
                  </a:cubicBezTo>
                  <a:cubicBezTo>
                    <a:pt x="145" y="669"/>
                    <a:pt x="145" y="669"/>
                    <a:pt x="145" y="669"/>
                  </a:cubicBezTo>
                  <a:cubicBezTo>
                    <a:pt x="153" y="674"/>
                    <a:pt x="156" y="687"/>
                    <a:pt x="140" y="711"/>
                  </a:cubicBezTo>
                  <a:cubicBezTo>
                    <a:pt x="109" y="759"/>
                    <a:pt x="109" y="759"/>
                    <a:pt x="109" y="759"/>
                  </a:cubicBezTo>
                  <a:cubicBezTo>
                    <a:pt x="99" y="775"/>
                    <a:pt x="102" y="788"/>
                    <a:pt x="110" y="793"/>
                  </a:cubicBezTo>
                  <a:cubicBezTo>
                    <a:pt x="152" y="832"/>
                    <a:pt x="152" y="832"/>
                    <a:pt x="152" y="832"/>
                  </a:cubicBezTo>
                  <a:cubicBezTo>
                    <a:pt x="160" y="837"/>
                    <a:pt x="173" y="834"/>
                    <a:pt x="178" y="826"/>
                  </a:cubicBezTo>
                  <a:cubicBezTo>
                    <a:pt x="230" y="781"/>
                    <a:pt x="230" y="781"/>
                    <a:pt x="230" y="781"/>
                  </a:cubicBezTo>
                  <a:cubicBezTo>
                    <a:pt x="248" y="770"/>
                    <a:pt x="261" y="767"/>
                    <a:pt x="269" y="772"/>
                  </a:cubicBezTo>
                  <a:cubicBezTo>
                    <a:pt x="269" y="772"/>
                    <a:pt x="269" y="772"/>
                    <a:pt x="269" y="772"/>
                  </a:cubicBezTo>
                  <a:cubicBezTo>
                    <a:pt x="282" y="769"/>
                    <a:pt x="298" y="779"/>
                    <a:pt x="306" y="785"/>
                  </a:cubicBezTo>
                  <a:cubicBezTo>
                    <a:pt x="306" y="785"/>
                    <a:pt x="306" y="785"/>
                    <a:pt x="306" y="785"/>
                  </a:cubicBezTo>
                  <a:cubicBezTo>
                    <a:pt x="319" y="782"/>
                    <a:pt x="327" y="787"/>
                    <a:pt x="332" y="813"/>
                  </a:cubicBezTo>
                  <a:cubicBezTo>
                    <a:pt x="346" y="878"/>
                    <a:pt x="346" y="878"/>
                    <a:pt x="346" y="878"/>
                  </a:cubicBezTo>
                  <a:cubicBezTo>
                    <a:pt x="349" y="892"/>
                    <a:pt x="357" y="897"/>
                    <a:pt x="370" y="894"/>
                  </a:cubicBezTo>
                  <a:cubicBezTo>
                    <a:pt x="425" y="896"/>
                    <a:pt x="425" y="896"/>
                    <a:pt x="425" y="896"/>
                  </a:cubicBezTo>
                  <a:cubicBezTo>
                    <a:pt x="430" y="888"/>
                    <a:pt x="443" y="885"/>
                    <a:pt x="440" y="872"/>
                  </a:cubicBezTo>
                  <a:cubicBezTo>
                    <a:pt x="440" y="804"/>
                    <a:pt x="440" y="804"/>
                    <a:pt x="440" y="804"/>
                  </a:cubicBezTo>
                  <a:cubicBezTo>
                    <a:pt x="442" y="783"/>
                    <a:pt x="460" y="772"/>
                    <a:pt x="466" y="764"/>
                  </a:cubicBezTo>
                  <a:cubicBezTo>
                    <a:pt x="466" y="764"/>
                    <a:pt x="466" y="764"/>
                    <a:pt x="466" y="764"/>
                  </a:cubicBezTo>
                  <a:cubicBezTo>
                    <a:pt x="479" y="761"/>
                    <a:pt x="492" y="758"/>
                    <a:pt x="497" y="750"/>
                  </a:cubicBezTo>
                  <a:cubicBezTo>
                    <a:pt x="497" y="750"/>
                    <a:pt x="497" y="750"/>
                    <a:pt x="497" y="750"/>
                  </a:cubicBezTo>
                  <a:cubicBezTo>
                    <a:pt x="510" y="747"/>
                    <a:pt x="523" y="745"/>
                    <a:pt x="539" y="755"/>
                  </a:cubicBezTo>
                  <a:cubicBezTo>
                    <a:pt x="594" y="791"/>
                    <a:pt x="594" y="791"/>
                    <a:pt x="594" y="791"/>
                  </a:cubicBezTo>
                  <a:cubicBezTo>
                    <a:pt x="602" y="796"/>
                    <a:pt x="623" y="798"/>
                    <a:pt x="628" y="790"/>
                  </a:cubicBezTo>
                  <a:cubicBezTo>
                    <a:pt x="659" y="743"/>
                    <a:pt x="659" y="743"/>
                    <a:pt x="659" y="743"/>
                  </a:cubicBezTo>
                  <a:cubicBezTo>
                    <a:pt x="659" y="743"/>
                    <a:pt x="669" y="727"/>
                    <a:pt x="654" y="716"/>
                  </a:cubicBezTo>
                  <a:close/>
                  <a:moveTo>
                    <a:pt x="281" y="633"/>
                  </a:moveTo>
                  <a:cubicBezTo>
                    <a:pt x="223" y="584"/>
                    <a:pt x="219" y="502"/>
                    <a:pt x="263" y="452"/>
                  </a:cubicBezTo>
                  <a:cubicBezTo>
                    <a:pt x="313" y="393"/>
                    <a:pt x="399" y="382"/>
                    <a:pt x="457" y="431"/>
                  </a:cubicBezTo>
                  <a:cubicBezTo>
                    <a:pt x="507" y="475"/>
                    <a:pt x="518" y="561"/>
                    <a:pt x="469" y="619"/>
                  </a:cubicBezTo>
                  <a:cubicBezTo>
                    <a:pt x="420" y="678"/>
                    <a:pt x="339" y="682"/>
                    <a:pt x="281" y="633"/>
                  </a:cubicBezTo>
                  <a:close/>
                  <a:moveTo>
                    <a:pt x="1019" y="398"/>
                  </a:moveTo>
                  <a:cubicBezTo>
                    <a:pt x="1004" y="362"/>
                    <a:pt x="1004" y="362"/>
                    <a:pt x="1004" y="362"/>
                  </a:cubicBezTo>
                  <a:cubicBezTo>
                    <a:pt x="992" y="348"/>
                    <a:pt x="1002" y="340"/>
                    <a:pt x="1002" y="332"/>
                  </a:cubicBezTo>
                  <a:cubicBezTo>
                    <a:pt x="1002" y="332"/>
                    <a:pt x="1002" y="332"/>
                    <a:pt x="1002" y="332"/>
                  </a:cubicBezTo>
                  <a:cubicBezTo>
                    <a:pt x="1007" y="328"/>
                    <a:pt x="1011" y="324"/>
                    <a:pt x="1012" y="315"/>
                  </a:cubicBezTo>
                  <a:cubicBezTo>
                    <a:pt x="1021" y="307"/>
                    <a:pt x="1026" y="303"/>
                    <a:pt x="1043" y="304"/>
                  </a:cubicBezTo>
                  <a:cubicBezTo>
                    <a:pt x="1086" y="307"/>
                    <a:pt x="1086" y="307"/>
                    <a:pt x="1086" y="307"/>
                  </a:cubicBezTo>
                  <a:cubicBezTo>
                    <a:pt x="1095" y="308"/>
                    <a:pt x="1099" y="304"/>
                    <a:pt x="1100" y="295"/>
                  </a:cubicBezTo>
                  <a:cubicBezTo>
                    <a:pt x="1107" y="266"/>
                    <a:pt x="1107" y="266"/>
                    <a:pt x="1107" y="266"/>
                  </a:cubicBezTo>
                  <a:cubicBezTo>
                    <a:pt x="1107" y="257"/>
                    <a:pt x="1103" y="252"/>
                    <a:pt x="1095" y="243"/>
                  </a:cubicBezTo>
                  <a:cubicBezTo>
                    <a:pt x="1057" y="236"/>
                    <a:pt x="1057" y="236"/>
                    <a:pt x="1057" y="236"/>
                  </a:cubicBezTo>
                  <a:cubicBezTo>
                    <a:pt x="1044" y="231"/>
                    <a:pt x="1036" y="222"/>
                    <a:pt x="1037" y="213"/>
                  </a:cubicBezTo>
                  <a:cubicBezTo>
                    <a:pt x="1038" y="205"/>
                    <a:pt x="1034" y="200"/>
                    <a:pt x="1030" y="187"/>
                  </a:cubicBezTo>
                  <a:cubicBezTo>
                    <a:pt x="1031" y="178"/>
                    <a:pt x="1032" y="170"/>
                    <a:pt x="1041" y="162"/>
                  </a:cubicBezTo>
                  <a:cubicBezTo>
                    <a:pt x="1077" y="138"/>
                    <a:pt x="1077" y="138"/>
                    <a:pt x="1077" y="138"/>
                  </a:cubicBezTo>
                  <a:cubicBezTo>
                    <a:pt x="1082" y="134"/>
                    <a:pt x="1083" y="126"/>
                    <a:pt x="1079" y="121"/>
                  </a:cubicBezTo>
                  <a:cubicBezTo>
                    <a:pt x="1059" y="89"/>
                    <a:pt x="1059" y="89"/>
                    <a:pt x="1059" y="89"/>
                  </a:cubicBezTo>
                  <a:cubicBezTo>
                    <a:pt x="1055" y="85"/>
                    <a:pt x="1047" y="84"/>
                    <a:pt x="1038" y="83"/>
                  </a:cubicBezTo>
                  <a:cubicBezTo>
                    <a:pt x="1002" y="107"/>
                    <a:pt x="1002" y="107"/>
                    <a:pt x="1002" y="107"/>
                  </a:cubicBezTo>
                  <a:cubicBezTo>
                    <a:pt x="989" y="110"/>
                    <a:pt x="980" y="110"/>
                    <a:pt x="976" y="105"/>
                  </a:cubicBezTo>
                  <a:cubicBezTo>
                    <a:pt x="972" y="100"/>
                    <a:pt x="960" y="95"/>
                    <a:pt x="956" y="91"/>
                  </a:cubicBezTo>
                  <a:cubicBezTo>
                    <a:pt x="952" y="86"/>
                    <a:pt x="944" y="77"/>
                    <a:pt x="944" y="68"/>
                  </a:cubicBezTo>
                  <a:cubicBezTo>
                    <a:pt x="948" y="25"/>
                    <a:pt x="948" y="25"/>
                    <a:pt x="948" y="25"/>
                  </a:cubicBezTo>
                  <a:cubicBezTo>
                    <a:pt x="948" y="17"/>
                    <a:pt x="940" y="7"/>
                    <a:pt x="940" y="7"/>
                  </a:cubicBezTo>
                  <a:cubicBezTo>
                    <a:pt x="902" y="0"/>
                    <a:pt x="902" y="0"/>
                    <a:pt x="902" y="0"/>
                  </a:cubicBezTo>
                  <a:cubicBezTo>
                    <a:pt x="902" y="0"/>
                    <a:pt x="889" y="4"/>
                    <a:pt x="888" y="12"/>
                  </a:cubicBezTo>
                  <a:cubicBezTo>
                    <a:pt x="872" y="50"/>
                    <a:pt x="872" y="50"/>
                    <a:pt x="872" y="50"/>
                  </a:cubicBezTo>
                  <a:cubicBezTo>
                    <a:pt x="871" y="67"/>
                    <a:pt x="862" y="67"/>
                    <a:pt x="858" y="71"/>
                  </a:cubicBezTo>
                  <a:cubicBezTo>
                    <a:pt x="858" y="71"/>
                    <a:pt x="858" y="71"/>
                    <a:pt x="853" y="75"/>
                  </a:cubicBezTo>
                  <a:cubicBezTo>
                    <a:pt x="849" y="70"/>
                    <a:pt x="840" y="70"/>
                    <a:pt x="836" y="74"/>
                  </a:cubicBezTo>
                  <a:cubicBezTo>
                    <a:pt x="831" y="78"/>
                    <a:pt x="831" y="78"/>
                    <a:pt x="831" y="78"/>
                  </a:cubicBezTo>
                  <a:cubicBezTo>
                    <a:pt x="822" y="77"/>
                    <a:pt x="814" y="76"/>
                    <a:pt x="806" y="67"/>
                  </a:cubicBezTo>
                  <a:cubicBezTo>
                    <a:pt x="778" y="35"/>
                    <a:pt x="778" y="35"/>
                    <a:pt x="778" y="35"/>
                  </a:cubicBezTo>
                  <a:cubicBezTo>
                    <a:pt x="774" y="30"/>
                    <a:pt x="762" y="25"/>
                    <a:pt x="757" y="29"/>
                  </a:cubicBezTo>
                  <a:cubicBezTo>
                    <a:pt x="734" y="49"/>
                    <a:pt x="734" y="49"/>
                    <a:pt x="734" y="49"/>
                  </a:cubicBezTo>
                  <a:cubicBezTo>
                    <a:pt x="725" y="49"/>
                    <a:pt x="725" y="57"/>
                    <a:pt x="728" y="70"/>
                  </a:cubicBezTo>
                  <a:cubicBezTo>
                    <a:pt x="747" y="102"/>
                    <a:pt x="747" y="102"/>
                    <a:pt x="747" y="102"/>
                  </a:cubicBezTo>
                  <a:cubicBezTo>
                    <a:pt x="754" y="120"/>
                    <a:pt x="750" y="124"/>
                    <a:pt x="744" y="136"/>
                  </a:cubicBezTo>
                  <a:cubicBezTo>
                    <a:pt x="744" y="136"/>
                    <a:pt x="744" y="136"/>
                    <a:pt x="744" y="136"/>
                  </a:cubicBezTo>
                  <a:cubicBezTo>
                    <a:pt x="740" y="140"/>
                    <a:pt x="735" y="144"/>
                    <a:pt x="731" y="148"/>
                  </a:cubicBezTo>
                  <a:cubicBezTo>
                    <a:pt x="731" y="148"/>
                    <a:pt x="731" y="148"/>
                    <a:pt x="731" y="148"/>
                  </a:cubicBezTo>
                  <a:cubicBezTo>
                    <a:pt x="730" y="157"/>
                    <a:pt x="721" y="165"/>
                    <a:pt x="703" y="164"/>
                  </a:cubicBezTo>
                  <a:cubicBezTo>
                    <a:pt x="665" y="157"/>
                    <a:pt x="665" y="157"/>
                    <a:pt x="665" y="157"/>
                  </a:cubicBezTo>
                  <a:cubicBezTo>
                    <a:pt x="656" y="156"/>
                    <a:pt x="647" y="164"/>
                    <a:pt x="647" y="173"/>
                  </a:cubicBezTo>
                  <a:cubicBezTo>
                    <a:pt x="640" y="203"/>
                    <a:pt x="640" y="203"/>
                    <a:pt x="640" y="203"/>
                  </a:cubicBezTo>
                  <a:cubicBezTo>
                    <a:pt x="639" y="211"/>
                    <a:pt x="643" y="216"/>
                    <a:pt x="656" y="221"/>
                  </a:cubicBezTo>
                  <a:cubicBezTo>
                    <a:pt x="690" y="232"/>
                    <a:pt x="690" y="232"/>
                    <a:pt x="690" y="232"/>
                  </a:cubicBezTo>
                  <a:cubicBezTo>
                    <a:pt x="702" y="237"/>
                    <a:pt x="710" y="246"/>
                    <a:pt x="710" y="255"/>
                  </a:cubicBezTo>
                  <a:cubicBezTo>
                    <a:pt x="710" y="255"/>
                    <a:pt x="710" y="255"/>
                    <a:pt x="710" y="255"/>
                  </a:cubicBezTo>
                  <a:cubicBezTo>
                    <a:pt x="714" y="260"/>
                    <a:pt x="713" y="268"/>
                    <a:pt x="717" y="273"/>
                  </a:cubicBezTo>
                  <a:cubicBezTo>
                    <a:pt x="712" y="277"/>
                    <a:pt x="712" y="277"/>
                    <a:pt x="712" y="277"/>
                  </a:cubicBezTo>
                  <a:cubicBezTo>
                    <a:pt x="716" y="281"/>
                    <a:pt x="716" y="290"/>
                    <a:pt x="702" y="302"/>
                  </a:cubicBezTo>
                  <a:cubicBezTo>
                    <a:pt x="674" y="326"/>
                    <a:pt x="674" y="326"/>
                    <a:pt x="674" y="326"/>
                  </a:cubicBezTo>
                  <a:cubicBezTo>
                    <a:pt x="665" y="334"/>
                    <a:pt x="664" y="343"/>
                    <a:pt x="668" y="347"/>
                  </a:cubicBezTo>
                  <a:cubicBezTo>
                    <a:pt x="687" y="379"/>
                    <a:pt x="687" y="379"/>
                    <a:pt x="687" y="379"/>
                  </a:cubicBezTo>
                  <a:cubicBezTo>
                    <a:pt x="691" y="383"/>
                    <a:pt x="700" y="384"/>
                    <a:pt x="704" y="380"/>
                  </a:cubicBezTo>
                  <a:cubicBezTo>
                    <a:pt x="745" y="361"/>
                    <a:pt x="745" y="361"/>
                    <a:pt x="745" y="361"/>
                  </a:cubicBezTo>
                  <a:cubicBezTo>
                    <a:pt x="758" y="358"/>
                    <a:pt x="767" y="358"/>
                    <a:pt x="771" y="363"/>
                  </a:cubicBezTo>
                  <a:cubicBezTo>
                    <a:pt x="771" y="363"/>
                    <a:pt x="771" y="363"/>
                    <a:pt x="771" y="363"/>
                  </a:cubicBezTo>
                  <a:cubicBezTo>
                    <a:pt x="779" y="364"/>
                    <a:pt x="787" y="373"/>
                    <a:pt x="791" y="377"/>
                  </a:cubicBezTo>
                  <a:cubicBezTo>
                    <a:pt x="791" y="377"/>
                    <a:pt x="791" y="377"/>
                    <a:pt x="791" y="377"/>
                  </a:cubicBezTo>
                  <a:cubicBezTo>
                    <a:pt x="800" y="378"/>
                    <a:pt x="804" y="383"/>
                    <a:pt x="802" y="400"/>
                  </a:cubicBezTo>
                  <a:cubicBezTo>
                    <a:pt x="799" y="443"/>
                    <a:pt x="799" y="443"/>
                    <a:pt x="799" y="443"/>
                  </a:cubicBezTo>
                  <a:cubicBezTo>
                    <a:pt x="798" y="451"/>
                    <a:pt x="802" y="456"/>
                    <a:pt x="811" y="457"/>
                  </a:cubicBezTo>
                  <a:cubicBezTo>
                    <a:pt x="845" y="468"/>
                    <a:pt x="845" y="468"/>
                    <a:pt x="845" y="468"/>
                  </a:cubicBezTo>
                  <a:cubicBezTo>
                    <a:pt x="849" y="464"/>
                    <a:pt x="858" y="464"/>
                    <a:pt x="859" y="456"/>
                  </a:cubicBezTo>
                  <a:cubicBezTo>
                    <a:pt x="871" y="413"/>
                    <a:pt x="871" y="413"/>
                    <a:pt x="871" y="413"/>
                  </a:cubicBezTo>
                  <a:cubicBezTo>
                    <a:pt x="876" y="401"/>
                    <a:pt x="889" y="397"/>
                    <a:pt x="894" y="393"/>
                  </a:cubicBezTo>
                  <a:cubicBezTo>
                    <a:pt x="894" y="393"/>
                    <a:pt x="894" y="393"/>
                    <a:pt x="894" y="393"/>
                  </a:cubicBezTo>
                  <a:cubicBezTo>
                    <a:pt x="902" y="394"/>
                    <a:pt x="911" y="395"/>
                    <a:pt x="916" y="391"/>
                  </a:cubicBezTo>
                  <a:cubicBezTo>
                    <a:pt x="916" y="391"/>
                    <a:pt x="916" y="391"/>
                    <a:pt x="916" y="391"/>
                  </a:cubicBezTo>
                  <a:cubicBezTo>
                    <a:pt x="924" y="391"/>
                    <a:pt x="933" y="392"/>
                    <a:pt x="941" y="401"/>
                  </a:cubicBezTo>
                  <a:cubicBezTo>
                    <a:pt x="969" y="433"/>
                    <a:pt x="969" y="433"/>
                    <a:pt x="969" y="433"/>
                  </a:cubicBezTo>
                  <a:cubicBezTo>
                    <a:pt x="973" y="438"/>
                    <a:pt x="985" y="443"/>
                    <a:pt x="990" y="439"/>
                  </a:cubicBezTo>
                  <a:cubicBezTo>
                    <a:pt x="1018" y="415"/>
                    <a:pt x="1018" y="415"/>
                    <a:pt x="1018" y="415"/>
                  </a:cubicBezTo>
                  <a:cubicBezTo>
                    <a:pt x="1018" y="415"/>
                    <a:pt x="1027" y="407"/>
                    <a:pt x="1019" y="398"/>
                  </a:cubicBezTo>
                  <a:close/>
                  <a:moveTo>
                    <a:pt x="803" y="279"/>
                  </a:moveTo>
                  <a:cubicBezTo>
                    <a:pt x="776" y="238"/>
                    <a:pt x="788" y="187"/>
                    <a:pt x="825" y="164"/>
                  </a:cubicBezTo>
                  <a:cubicBezTo>
                    <a:pt x="866" y="136"/>
                    <a:pt x="921" y="144"/>
                    <a:pt x="948" y="185"/>
                  </a:cubicBezTo>
                  <a:cubicBezTo>
                    <a:pt x="972" y="221"/>
                    <a:pt x="963" y="277"/>
                    <a:pt x="922" y="304"/>
                  </a:cubicBezTo>
                  <a:cubicBezTo>
                    <a:pt x="881" y="332"/>
                    <a:pt x="830" y="320"/>
                    <a:pt x="803" y="279"/>
                  </a:cubicBezTo>
                  <a:close/>
                </a:path>
              </a:pathLst>
            </a:custGeom>
            <a:solidFill>
              <a:schemeClr val="tx1"/>
            </a:solidFill>
            <a:ln>
              <a:noFill/>
            </a:ln>
          </p:spPr>
          <p:txBody>
            <a:bodyPr vert="horz" wrap="square" lIns="68574" tIns="34287" rIns="68574" bIns="34287"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17346"/>
                </a:solidFill>
                <a:effectLst/>
                <a:uLnTx/>
                <a:uFillTx/>
                <a:latin typeface="Segoe UI"/>
                <a:ea typeface="+mn-ea"/>
                <a:cs typeface="+mn-cs"/>
              </a:endParaRPr>
            </a:p>
          </p:txBody>
        </p:sp>
        <p:sp>
          <p:nvSpPr>
            <p:cNvPr id="104" name="Freeform 103"/>
            <p:cNvSpPr>
              <a:spLocks noChangeAspect="1"/>
            </p:cNvSpPr>
            <p:nvPr/>
          </p:nvSpPr>
          <p:spPr bwMode="black">
            <a:xfrm>
              <a:off x="776985" y="4213905"/>
              <a:ext cx="342871" cy="335728"/>
            </a:xfrm>
            <a:custGeom>
              <a:avLst/>
              <a:gdLst>
                <a:gd name="connsiteX0" fmla="*/ 3713863 w 4893730"/>
                <a:gd name="connsiteY0" fmla="*/ 2130808 h 4791777"/>
                <a:gd name="connsiteX1" fmla="*/ 4426142 w 4893730"/>
                <a:gd name="connsiteY1" fmla="*/ 2130808 h 4791777"/>
                <a:gd name="connsiteX2" fmla="*/ 4598071 w 4893730"/>
                <a:gd name="connsiteY2" fmla="*/ 2301547 h 4791777"/>
                <a:gd name="connsiteX3" fmla="*/ 4598071 w 4893730"/>
                <a:gd name="connsiteY3" fmla="*/ 3886978 h 4791777"/>
                <a:gd name="connsiteX4" fmla="*/ 4426142 w 4893730"/>
                <a:gd name="connsiteY4" fmla="*/ 4057717 h 4791777"/>
                <a:gd name="connsiteX5" fmla="*/ 3713863 w 4893730"/>
                <a:gd name="connsiteY5" fmla="*/ 4057717 h 4791777"/>
                <a:gd name="connsiteX6" fmla="*/ 3517372 w 4893730"/>
                <a:gd name="connsiteY6" fmla="*/ 3886978 h 4791777"/>
                <a:gd name="connsiteX7" fmla="*/ 3517372 w 4893730"/>
                <a:gd name="connsiteY7" fmla="*/ 2301547 h 4791777"/>
                <a:gd name="connsiteX8" fmla="*/ 3713863 w 4893730"/>
                <a:gd name="connsiteY8" fmla="*/ 2130808 h 4791777"/>
                <a:gd name="connsiteX9" fmla="*/ 904368 w 4893730"/>
                <a:gd name="connsiteY9" fmla="*/ 1223432 h 4791777"/>
                <a:gd name="connsiteX10" fmla="*/ 1609930 w 4893730"/>
                <a:gd name="connsiteY10" fmla="*/ 1223432 h 4791777"/>
                <a:gd name="connsiteX11" fmla="*/ 1804567 w 4893730"/>
                <a:gd name="connsiteY11" fmla="*/ 1394467 h 4791777"/>
                <a:gd name="connsiteX12" fmla="*/ 1804567 w 4893730"/>
                <a:gd name="connsiteY12" fmla="*/ 3886683 h 4791777"/>
                <a:gd name="connsiteX13" fmla="*/ 1609930 w 4893730"/>
                <a:gd name="connsiteY13" fmla="*/ 4057717 h 4791777"/>
                <a:gd name="connsiteX14" fmla="*/ 904368 w 4893730"/>
                <a:gd name="connsiteY14" fmla="*/ 4057717 h 4791777"/>
                <a:gd name="connsiteX15" fmla="*/ 734060 w 4893730"/>
                <a:gd name="connsiteY15" fmla="*/ 3886683 h 4791777"/>
                <a:gd name="connsiteX16" fmla="*/ 734060 w 4893730"/>
                <a:gd name="connsiteY16" fmla="*/ 1394467 h 4791777"/>
                <a:gd name="connsiteX17" fmla="*/ 904368 w 4893730"/>
                <a:gd name="connsiteY17" fmla="*/ 1223432 h 4791777"/>
                <a:gd name="connsiteX18" fmla="*/ 2325453 w 4893730"/>
                <a:gd name="connsiteY18" fmla="*/ 316050 h 4791777"/>
                <a:gd name="connsiteX19" fmla="*/ 3031014 w 4893730"/>
                <a:gd name="connsiteY19" fmla="*/ 316050 h 4791777"/>
                <a:gd name="connsiteX20" fmla="*/ 3201322 w 4893730"/>
                <a:gd name="connsiteY20" fmla="*/ 487238 h 4791777"/>
                <a:gd name="connsiteX21" fmla="*/ 3201322 w 4893730"/>
                <a:gd name="connsiteY21" fmla="*/ 3886530 h 4791777"/>
                <a:gd name="connsiteX22" fmla="*/ 3031014 w 4893730"/>
                <a:gd name="connsiteY22" fmla="*/ 4057717 h 4791777"/>
                <a:gd name="connsiteX23" fmla="*/ 2325453 w 4893730"/>
                <a:gd name="connsiteY23" fmla="*/ 4057717 h 4791777"/>
                <a:gd name="connsiteX24" fmla="*/ 2130815 w 4893730"/>
                <a:gd name="connsiteY24" fmla="*/ 3886530 h 4791777"/>
                <a:gd name="connsiteX25" fmla="*/ 2130815 w 4893730"/>
                <a:gd name="connsiteY25" fmla="*/ 487238 h 4791777"/>
                <a:gd name="connsiteX26" fmla="*/ 2325453 w 4893730"/>
                <a:gd name="connsiteY26" fmla="*/ 316050 h 4791777"/>
                <a:gd name="connsiteX27" fmla="*/ 269155 w 4893730"/>
                <a:gd name="connsiteY27" fmla="*/ 0 h 4791777"/>
                <a:gd name="connsiteX28" fmla="*/ 538311 w 4893730"/>
                <a:gd name="connsiteY28" fmla="*/ 268927 h 4791777"/>
                <a:gd name="connsiteX29" fmla="*/ 538311 w 4893730"/>
                <a:gd name="connsiteY29" fmla="*/ 4253925 h 4791777"/>
                <a:gd name="connsiteX30" fmla="*/ 4624575 w 4893730"/>
                <a:gd name="connsiteY30" fmla="*/ 4253925 h 4791777"/>
                <a:gd name="connsiteX31" fmla="*/ 4893730 w 4893730"/>
                <a:gd name="connsiteY31" fmla="*/ 4522851 h 4791777"/>
                <a:gd name="connsiteX32" fmla="*/ 4624575 w 4893730"/>
                <a:gd name="connsiteY32" fmla="*/ 4791777 h 4791777"/>
                <a:gd name="connsiteX33" fmla="*/ 269155 w 4893730"/>
                <a:gd name="connsiteY33" fmla="*/ 4791777 h 4791777"/>
                <a:gd name="connsiteX34" fmla="*/ 0 w 4893730"/>
                <a:gd name="connsiteY34" fmla="*/ 4522851 h 4791777"/>
                <a:gd name="connsiteX35" fmla="*/ 0 w 4893730"/>
                <a:gd name="connsiteY35" fmla="*/ 268927 h 4791777"/>
                <a:gd name="connsiteX36" fmla="*/ 269155 w 4893730"/>
                <a:gd name="connsiteY36" fmla="*/ 0 h 4791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4893730" h="4791777">
                  <a:moveTo>
                    <a:pt x="3713863" y="2130808"/>
                  </a:moveTo>
                  <a:cubicBezTo>
                    <a:pt x="3713863" y="2130808"/>
                    <a:pt x="3713863" y="2130808"/>
                    <a:pt x="4426142" y="2130808"/>
                  </a:cubicBezTo>
                  <a:cubicBezTo>
                    <a:pt x="4524387" y="2130808"/>
                    <a:pt x="4598071" y="2203982"/>
                    <a:pt x="4598071" y="2301547"/>
                  </a:cubicBezTo>
                  <a:cubicBezTo>
                    <a:pt x="4598071" y="2301547"/>
                    <a:pt x="4598071" y="2301547"/>
                    <a:pt x="4598071" y="3886978"/>
                  </a:cubicBezTo>
                  <a:cubicBezTo>
                    <a:pt x="4598071" y="3984543"/>
                    <a:pt x="4524387" y="4057717"/>
                    <a:pt x="4426142" y="4057717"/>
                  </a:cubicBezTo>
                  <a:cubicBezTo>
                    <a:pt x="4426142" y="4057717"/>
                    <a:pt x="4426142" y="4057717"/>
                    <a:pt x="3713863" y="4057717"/>
                  </a:cubicBezTo>
                  <a:cubicBezTo>
                    <a:pt x="3615618" y="4057717"/>
                    <a:pt x="3517372" y="3984543"/>
                    <a:pt x="3517372" y="3886978"/>
                  </a:cubicBezTo>
                  <a:cubicBezTo>
                    <a:pt x="3517372" y="3886978"/>
                    <a:pt x="3517372" y="3886978"/>
                    <a:pt x="3517372" y="2301547"/>
                  </a:cubicBezTo>
                  <a:cubicBezTo>
                    <a:pt x="3517372" y="2203982"/>
                    <a:pt x="3615618" y="2130808"/>
                    <a:pt x="3713863" y="2130808"/>
                  </a:cubicBezTo>
                  <a:close/>
                  <a:moveTo>
                    <a:pt x="904368" y="1223432"/>
                  </a:moveTo>
                  <a:cubicBezTo>
                    <a:pt x="904368" y="1223432"/>
                    <a:pt x="904368" y="1223432"/>
                    <a:pt x="1609930" y="1223432"/>
                  </a:cubicBezTo>
                  <a:cubicBezTo>
                    <a:pt x="1731578" y="1223432"/>
                    <a:pt x="1804567" y="1296733"/>
                    <a:pt x="1804567" y="1394467"/>
                  </a:cubicBezTo>
                  <a:cubicBezTo>
                    <a:pt x="1804567" y="1394467"/>
                    <a:pt x="1804567" y="1394467"/>
                    <a:pt x="1804567" y="3886683"/>
                  </a:cubicBezTo>
                  <a:cubicBezTo>
                    <a:pt x="1804567" y="3984417"/>
                    <a:pt x="1731578" y="4057717"/>
                    <a:pt x="1609930" y="4057717"/>
                  </a:cubicBezTo>
                  <a:cubicBezTo>
                    <a:pt x="1609930" y="4057717"/>
                    <a:pt x="1609930" y="4057717"/>
                    <a:pt x="904368" y="4057717"/>
                  </a:cubicBezTo>
                  <a:cubicBezTo>
                    <a:pt x="807049" y="4057717"/>
                    <a:pt x="734060" y="3984417"/>
                    <a:pt x="734060" y="3886683"/>
                  </a:cubicBezTo>
                  <a:cubicBezTo>
                    <a:pt x="734060" y="3886683"/>
                    <a:pt x="734060" y="3886683"/>
                    <a:pt x="734060" y="1394467"/>
                  </a:cubicBezTo>
                  <a:cubicBezTo>
                    <a:pt x="734060" y="1296733"/>
                    <a:pt x="807049" y="1223432"/>
                    <a:pt x="904368" y="1223432"/>
                  </a:cubicBezTo>
                  <a:close/>
                  <a:moveTo>
                    <a:pt x="2325453" y="316050"/>
                  </a:moveTo>
                  <a:cubicBezTo>
                    <a:pt x="2325453" y="316050"/>
                    <a:pt x="2325453" y="316050"/>
                    <a:pt x="3031014" y="316050"/>
                  </a:cubicBezTo>
                  <a:cubicBezTo>
                    <a:pt x="3128333" y="316050"/>
                    <a:pt x="3201322" y="389416"/>
                    <a:pt x="3201322" y="487238"/>
                  </a:cubicBezTo>
                  <a:cubicBezTo>
                    <a:pt x="3201322" y="487238"/>
                    <a:pt x="3201322" y="487238"/>
                    <a:pt x="3201322" y="3886530"/>
                  </a:cubicBezTo>
                  <a:cubicBezTo>
                    <a:pt x="3201322" y="3984351"/>
                    <a:pt x="3128333" y="4057717"/>
                    <a:pt x="3031014" y="4057717"/>
                  </a:cubicBezTo>
                  <a:cubicBezTo>
                    <a:pt x="3031014" y="4057717"/>
                    <a:pt x="3031014" y="4057717"/>
                    <a:pt x="2325453" y="4057717"/>
                  </a:cubicBezTo>
                  <a:cubicBezTo>
                    <a:pt x="2203804" y="4057717"/>
                    <a:pt x="2130815" y="3984351"/>
                    <a:pt x="2130815" y="3886530"/>
                  </a:cubicBezTo>
                  <a:cubicBezTo>
                    <a:pt x="2130815" y="3886530"/>
                    <a:pt x="2130815" y="3886530"/>
                    <a:pt x="2130815" y="487238"/>
                  </a:cubicBezTo>
                  <a:cubicBezTo>
                    <a:pt x="2130815" y="389416"/>
                    <a:pt x="2203804" y="316050"/>
                    <a:pt x="2325453" y="316050"/>
                  </a:cubicBezTo>
                  <a:close/>
                  <a:moveTo>
                    <a:pt x="269155" y="0"/>
                  </a:moveTo>
                  <a:cubicBezTo>
                    <a:pt x="415967" y="0"/>
                    <a:pt x="538311" y="122239"/>
                    <a:pt x="538311" y="268927"/>
                  </a:cubicBezTo>
                  <a:cubicBezTo>
                    <a:pt x="538311" y="268927"/>
                    <a:pt x="538311" y="268927"/>
                    <a:pt x="538311" y="4253925"/>
                  </a:cubicBezTo>
                  <a:cubicBezTo>
                    <a:pt x="538311" y="4253925"/>
                    <a:pt x="538311" y="4253925"/>
                    <a:pt x="4624575" y="4253925"/>
                  </a:cubicBezTo>
                  <a:cubicBezTo>
                    <a:pt x="4771387" y="4253925"/>
                    <a:pt x="4893730" y="4376164"/>
                    <a:pt x="4893730" y="4522851"/>
                  </a:cubicBezTo>
                  <a:cubicBezTo>
                    <a:pt x="4893730" y="4669538"/>
                    <a:pt x="4771387" y="4791777"/>
                    <a:pt x="4624575" y="4791777"/>
                  </a:cubicBezTo>
                  <a:cubicBezTo>
                    <a:pt x="4624575" y="4791777"/>
                    <a:pt x="4624575" y="4791777"/>
                    <a:pt x="269155" y="4791777"/>
                  </a:cubicBezTo>
                  <a:cubicBezTo>
                    <a:pt x="122344" y="4791777"/>
                    <a:pt x="0" y="4669538"/>
                    <a:pt x="0" y="4522851"/>
                  </a:cubicBezTo>
                  <a:cubicBezTo>
                    <a:pt x="0" y="4522851"/>
                    <a:pt x="0" y="4522851"/>
                    <a:pt x="0" y="268927"/>
                  </a:cubicBezTo>
                  <a:cubicBezTo>
                    <a:pt x="0" y="122239"/>
                    <a:pt x="122344" y="0"/>
                    <a:pt x="269155"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37148" tIns="109719" rIns="137148" bIns="109719"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699261"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5" name="Rectangle 104"/>
            <p:cNvSpPr/>
            <p:nvPr/>
          </p:nvSpPr>
          <p:spPr bwMode="auto">
            <a:xfrm rot="2745734">
              <a:off x="886688" y="2210975"/>
              <a:ext cx="1598323" cy="1625795"/>
            </a:xfrm>
            <a:prstGeom prst="rect">
              <a:avLst/>
            </a:prstGeom>
            <a:solidFill>
              <a:schemeClr val="tx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6" name="Rectangle 105"/>
            <p:cNvSpPr/>
            <p:nvPr/>
          </p:nvSpPr>
          <p:spPr bwMode="auto">
            <a:xfrm rot="2745734">
              <a:off x="292433" y="3819160"/>
              <a:ext cx="1610349" cy="1235003"/>
            </a:xfrm>
            <a:prstGeom prst="rect">
              <a:avLst/>
            </a:prstGeom>
            <a:solidFill>
              <a:schemeClr val="tx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7" name="Rectangle 106"/>
            <p:cNvSpPr/>
            <p:nvPr/>
          </p:nvSpPr>
          <p:spPr bwMode="auto">
            <a:xfrm rot="2745734">
              <a:off x="1315610" y="4915701"/>
              <a:ext cx="1263370" cy="1255989"/>
            </a:xfrm>
            <a:prstGeom prst="rect">
              <a:avLst/>
            </a:prstGeom>
            <a:solidFill>
              <a:schemeClr val="tx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37" name="Title 10"/>
          <p:cNvSpPr txBox="1">
            <a:spLocks/>
          </p:cNvSpPr>
          <p:nvPr/>
        </p:nvSpPr>
        <p:spPr>
          <a:xfrm>
            <a:off x="2849060" y="0"/>
            <a:ext cx="9342940" cy="665151"/>
          </a:xfrm>
          <a:prstGeom prst="rect">
            <a:avLst/>
          </a:prstGeom>
          <a:noFill/>
        </p:spPr>
        <p:txBody>
          <a:bodyPr vert="horz" wrap="square" lIns="0" tIns="91440" rIns="0" bIns="91440" rtlCol="0" anchor="t">
            <a:noAutofit/>
          </a:bodyPr>
          <a:lstStyle>
            <a:lvl1pPr defTabSz="914367">
              <a:lnSpc>
                <a:spcPct val="90000"/>
              </a:lnSpc>
              <a:spcBef>
                <a:spcPct val="0"/>
              </a:spcBef>
              <a:buNone/>
              <a:defRPr lang="en-US" sz="5294" b="0" cap="none" spc="-100" baseline="0" dirty="0" smtClean="0">
                <a:ln w="3175">
                  <a:noFill/>
                </a:ln>
                <a:solidFill>
                  <a:schemeClr val="tx2"/>
                </a:solidFill>
                <a:effectLst/>
                <a:latin typeface="+mj-lt"/>
                <a:cs typeface="Segoe UI" pitchFamily="34" charset="0"/>
              </a:defRPr>
            </a:lvl1pPr>
          </a:lstStyle>
          <a:p>
            <a:pPr marL="168275" marR="0" lvl="0" indent="0" algn="l" defTabSz="914367" rtl="0" eaLnBrk="1" fontAlgn="auto" latinLnBrk="0" hangingPunct="1">
              <a:lnSpc>
                <a:spcPct val="90000"/>
              </a:lnSpc>
              <a:spcBef>
                <a:spcPct val="0"/>
              </a:spcBef>
              <a:spcAft>
                <a:spcPts val="0"/>
              </a:spcAft>
              <a:buClrTx/>
              <a:buSzTx/>
              <a:buFontTx/>
              <a:buNone/>
              <a:tabLst/>
              <a:defRPr/>
            </a:pPr>
            <a:r>
              <a:rPr kumimoji="0" lang="en-US" sz="3600" b="0" i="0" u="none" strike="noStrike" kern="1200" cap="none" spc="-100" normalizeH="0" baseline="0" noProof="0">
                <a:ln w="3175">
                  <a:noFill/>
                </a:ln>
                <a:solidFill>
                  <a:prstClr val="black"/>
                </a:solidFill>
                <a:effectLst/>
                <a:uLnTx/>
                <a:uFillTx/>
                <a:latin typeface="Segoe UI Light"/>
                <a:ea typeface="+mn-ea"/>
                <a:cs typeface="Segoe UI" pitchFamily="34" charset="0"/>
              </a:rPr>
              <a:t>Shaping Data</a:t>
            </a:r>
            <a:endParaRPr kumimoji="0" lang="en-IN" sz="3600" b="0" i="0" u="none" strike="noStrike" kern="1200" cap="none" spc="-100" normalizeH="0" baseline="0" noProof="0">
              <a:ln w="3175">
                <a:noFill/>
              </a:ln>
              <a:solidFill>
                <a:prstClr val="black"/>
              </a:solidFill>
              <a:effectLst/>
              <a:uLnTx/>
              <a:uFillTx/>
              <a:latin typeface="Segoe UI Light"/>
              <a:ea typeface="+mn-ea"/>
              <a:cs typeface="Segoe UI" pitchFamily="34" charset="0"/>
            </a:endParaRPr>
          </a:p>
        </p:txBody>
      </p:sp>
      <p:sp>
        <p:nvSpPr>
          <p:cNvPr id="40" name="TextBox 39"/>
          <p:cNvSpPr txBox="1"/>
          <p:nvPr/>
        </p:nvSpPr>
        <p:spPr>
          <a:xfrm>
            <a:off x="3" y="51415"/>
            <a:ext cx="2849058" cy="430887"/>
          </a:xfrm>
          <a:prstGeom prst="rect">
            <a:avLst/>
          </a:prstGeom>
        </p:spPr>
        <p:txBody>
          <a:bodyPr wrap="square">
            <a:spAutoFit/>
          </a:bodyPr>
          <a:lstStyle>
            <a:defPPr>
              <a:defRPr lang="en-US"/>
            </a:defPPr>
            <a:lvl1pPr defTabSz="914192">
              <a:defRPr sz="2800" b="1" spc="-100">
                <a:ln w="3175">
                  <a:noFill/>
                </a:ln>
                <a:solidFill>
                  <a:srgbClr val="F2C812"/>
                </a:solidFill>
                <a:latin typeface="Segoe UI" panose="020B0502040204020203" pitchFamily="34" charset="0"/>
                <a:ea typeface="ＭＳ Ｐゴシック" charset="0"/>
                <a:cs typeface="Segoe UI" panose="020B0502040204020203" pitchFamily="34" charset="0"/>
              </a:defRPr>
            </a:lvl1pPr>
          </a:lstStyle>
          <a:p>
            <a:pPr marL="0" marR="0" lvl="0" indent="0" algn="l" defTabSz="914192" rtl="0" eaLnBrk="1" fontAlgn="auto" latinLnBrk="0" hangingPunct="1">
              <a:lnSpc>
                <a:spcPct val="100000"/>
              </a:lnSpc>
              <a:spcBef>
                <a:spcPts val="0"/>
              </a:spcBef>
              <a:spcAft>
                <a:spcPts val="0"/>
              </a:spcAft>
              <a:buClrTx/>
              <a:buSzTx/>
              <a:buFontTx/>
              <a:buNone/>
              <a:tabLst/>
              <a:defRPr/>
            </a:pPr>
            <a:r>
              <a:rPr kumimoji="0" lang="en-US" sz="2200" b="1" i="0" u="none" strike="noStrike" kern="1200" cap="none" spc="-100" normalizeH="0" baseline="0" noProof="0">
                <a:ln w="3175">
                  <a:noFill/>
                </a:ln>
                <a:solidFill>
                  <a:srgbClr val="F2C812"/>
                </a:solidFill>
                <a:effectLst/>
                <a:uLnTx/>
                <a:uFillTx/>
                <a:latin typeface="Segoe UI Light"/>
                <a:ea typeface="ＭＳ Ｐゴシック" charset="0"/>
                <a:cs typeface="Segoe UI" panose="020B0502040204020203" pitchFamily="34" charset="0"/>
              </a:rPr>
              <a:t>Power BI Desktop</a:t>
            </a:r>
          </a:p>
        </p:txBody>
      </p:sp>
      <p:sp>
        <p:nvSpPr>
          <p:cNvPr id="36" name="Rectangle 3"/>
          <p:cNvSpPr/>
          <p:nvPr/>
        </p:nvSpPr>
        <p:spPr bwMode="auto">
          <a:xfrm>
            <a:off x="3202216" y="665151"/>
            <a:ext cx="8105312" cy="44435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1" u="none" strike="noStrike" kern="1200" cap="none" spc="0" normalizeH="0" baseline="0" noProof="0">
                <a:ln>
                  <a:noFill/>
                </a:ln>
                <a:solidFill>
                  <a:prstClr val="black"/>
                </a:solidFill>
                <a:effectLst/>
                <a:uLnTx/>
                <a:uFillTx/>
                <a:latin typeface="Segoe UI Light"/>
                <a:ea typeface="+mn-ea"/>
                <a:cs typeface="+mn-cs"/>
              </a:rPr>
              <a:t>Available Data Transformations – Advanced Editor</a:t>
            </a:r>
          </a:p>
        </p:txBody>
      </p:sp>
      <p:sp>
        <p:nvSpPr>
          <p:cNvPr id="43" name="Text Placeholder 2"/>
          <p:cNvSpPr txBox="1">
            <a:spLocks/>
          </p:cNvSpPr>
          <p:nvPr/>
        </p:nvSpPr>
        <p:spPr>
          <a:xfrm>
            <a:off x="3051055" y="1238567"/>
            <a:ext cx="4311769" cy="1580211"/>
          </a:xfrm>
          <a:prstGeom prst="rect">
            <a:avLst/>
          </a:prstGeom>
        </p:spPr>
        <p:txBody>
          <a:bodyPr vert="horz" wrap="square" lIns="182880" tIns="146304" rIns="182880" bIns="146304" rtlCol="0">
            <a:noAutofit/>
          </a:bodyPr>
          <a:lstStyle>
            <a:lvl1pPr marL="182845" marR="0"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3921" kern="1200" spc="0" baseline="0">
                <a:gradFill>
                  <a:gsLst>
                    <a:gs pos="1250">
                      <a:schemeClr val="tx2"/>
                    </a:gs>
                    <a:gs pos="99000">
                      <a:schemeClr val="tx2"/>
                    </a:gs>
                  </a:gsLst>
                  <a:lin ang="5400000" scaled="0"/>
                </a:gradFill>
                <a:latin typeface="+mj-lt"/>
                <a:ea typeface="+mn-ea"/>
                <a:cs typeface="+mn-cs"/>
              </a:defRPr>
            </a:lvl1pPr>
            <a:lvl2pPr marL="365690" marR="0"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2400" kern="1200" spc="0" baseline="0">
                <a:solidFill>
                  <a:schemeClr val="tx2"/>
                </a:solidFill>
                <a:latin typeface="+mj-lt"/>
                <a:ea typeface="+mn-ea"/>
                <a:cs typeface="+mn-cs"/>
              </a:defRPr>
            </a:lvl2pPr>
            <a:lvl3pPr marL="548535" marR="0"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2000" kern="1200" spc="0" baseline="0">
                <a:solidFill>
                  <a:schemeClr val="tx2"/>
                </a:solidFill>
                <a:latin typeface="+mj-lt"/>
                <a:ea typeface="+mn-ea"/>
                <a:cs typeface="+mn-cs"/>
              </a:defRPr>
            </a:lvl3pPr>
            <a:lvl4pPr marL="733802" marR="0" indent="-28569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1765" kern="1200" spc="0" baseline="0">
                <a:solidFill>
                  <a:schemeClr val="tx2"/>
                </a:solidFill>
                <a:latin typeface="+mn-lt"/>
                <a:ea typeface="+mn-ea"/>
                <a:cs typeface="+mn-cs"/>
              </a:defRPr>
            </a:lvl4pPr>
            <a:lvl5pPr marL="957856" marR="0" indent="-28569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1765" kern="1200" spc="0" baseline="0">
                <a:solidFill>
                  <a:schemeClr val="tx2"/>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182845" marR="0" lvl="0"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800" b="1" i="0" u="none" strike="noStrike" kern="1200" cap="none" spc="0" normalizeH="0" baseline="0" noProof="0">
              <a:ln>
                <a:noFill/>
              </a:ln>
              <a:solidFill>
                <a:prstClr val="black"/>
              </a:solidFill>
              <a:effectLst/>
              <a:uLnTx/>
              <a:uFillTx/>
              <a:latin typeface="Segoe UI Light"/>
              <a:ea typeface="Calibri" panose="020F0502020204030204" pitchFamily="34" charset="0"/>
              <a:cs typeface="Times New Roman" panose="02020603050405020304" pitchFamily="18" charset="0"/>
            </a:endParaRPr>
          </a:p>
        </p:txBody>
      </p:sp>
      <p:sp>
        <p:nvSpPr>
          <p:cNvPr id="39" name="Text Placeholder 2"/>
          <p:cNvSpPr txBox="1">
            <a:spLocks/>
          </p:cNvSpPr>
          <p:nvPr/>
        </p:nvSpPr>
        <p:spPr>
          <a:xfrm>
            <a:off x="3143169" y="1443847"/>
            <a:ext cx="8698875" cy="1580211"/>
          </a:xfrm>
          <a:prstGeom prst="rect">
            <a:avLst/>
          </a:prstGeom>
        </p:spPr>
        <p:txBody>
          <a:bodyPr vert="horz" wrap="square" lIns="182880" tIns="146304" rIns="182880" bIns="146304" rtlCol="0">
            <a:noAutofit/>
          </a:bodyPr>
          <a:lstStyle>
            <a:lvl1pPr marL="182845" marR="0"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3921" kern="1200" spc="0" baseline="0">
                <a:gradFill>
                  <a:gsLst>
                    <a:gs pos="1250">
                      <a:schemeClr val="tx2"/>
                    </a:gs>
                    <a:gs pos="99000">
                      <a:schemeClr val="tx2"/>
                    </a:gs>
                  </a:gsLst>
                  <a:lin ang="5400000" scaled="0"/>
                </a:gradFill>
                <a:latin typeface="+mj-lt"/>
                <a:ea typeface="+mn-ea"/>
                <a:cs typeface="+mn-cs"/>
              </a:defRPr>
            </a:lvl1pPr>
            <a:lvl2pPr marL="365690" marR="0"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2400" kern="1200" spc="0" baseline="0">
                <a:solidFill>
                  <a:schemeClr val="tx2"/>
                </a:solidFill>
                <a:latin typeface="+mj-lt"/>
                <a:ea typeface="+mn-ea"/>
                <a:cs typeface="+mn-cs"/>
              </a:defRPr>
            </a:lvl2pPr>
            <a:lvl3pPr marL="548535" marR="0"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2000" kern="1200" spc="0" baseline="0">
                <a:solidFill>
                  <a:schemeClr val="tx2"/>
                </a:solidFill>
                <a:latin typeface="+mj-lt"/>
                <a:ea typeface="+mn-ea"/>
                <a:cs typeface="+mn-cs"/>
              </a:defRPr>
            </a:lvl3pPr>
            <a:lvl4pPr marL="733802" marR="0" indent="-28569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1765" kern="1200" spc="0" baseline="0">
                <a:solidFill>
                  <a:schemeClr val="tx2"/>
                </a:solidFill>
                <a:latin typeface="+mn-lt"/>
                <a:ea typeface="+mn-ea"/>
                <a:cs typeface="+mn-cs"/>
              </a:defRPr>
            </a:lvl4pPr>
            <a:lvl5pPr marL="957856" marR="0" indent="-28569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1765" kern="1200" spc="0" baseline="0">
                <a:solidFill>
                  <a:schemeClr val="tx2"/>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182845" marR="0" lvl="0"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r>
              <a:rPr kumimoji="0" lang="en-US" sz="2800" b="1" i="0" u="none" strike="noStrike" kern="1200" cap="none" spc="0" normalizeH="0" baseline="0" noProof="0">
                <a:ln>
                  <a:noFill/>
                </a:ln>
                <a:solidFill>
                  <a:prstClr val="black"/>
                </a:solidFill>
                <a:effectLst/>
                <a:uLnTx/>
                <a:uFillTx/>
                <a:latin typeface="Segoe UI Light"/>
                <a:ea typeface="Calibri" panose="020F0502020204030204" pitchFamily="34" charset="0"/>
                <a:cs typeface="Times New Roman" panose="02020603050405020304" pitchFamily="18" charset="0"/>
              </a:rPr>
              <a:t>Advanced Editor</a:t>
            </a: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r>
              <a:rPr kumimoji="0" lang="en-US" sz="2400" b="0" i="0" u="none" strike="noStrike" kern="1200" cap="none" spc="0" normalizeH="0" baseline="0" noProof="0">
                <a:ln>
                  <a:noFill/>
                </a:ln>
                <a:solidFill>
                  <a:prstClr val="black"/>
                </a:solidFill>
                <a:effectLst/>
                <a:uLnTx/>
                <a:uFillTx/>
                <a:latin typeface="Segoe UI Light"/>
                <a:ea typeface="Calibri" panose="020F0502020204030204" pitchFamily="34" charset="0"/>
                <a:cs typeface="Times New Roman" panose="02020603050405020304" pitchFamily="18" charset="0"/>
              </a:rPr>
              <a:t>Every transformation generates code automatically</a:t>
            </a: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r>
              <a:rPr kumimoji="0" lang="en-US" sz="2400" b="0" i="0" u="none" strike="noStrike" kern="1200" cap="none" spc="0" normalizeH="0" baseline="0" noProof="0">
                <a:ln>
                  <a:noFill/>
                </a:ln>
                <a:solidFill>
                  <a:prstClr val="black"/>
                </a:solidFill>
                <a:effectLst/>
                <a:uLnTx/>
                <a:uFillTx/>
                <a:latin typeface="Segoe UI Light"/>
                <a:ea typeface="Calibri" panose="020F0502020204030204" pitchFamily="34" charset="0"/>
                <a:cs typeface="Times New Roman" panose="02020603050405020304" pitchFamily="18" charset="0"/>
              </a:rPr>
              <a:t>For more advanced scenarios</a:t>
            </a: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r>
              <a:rPr kumimoji="0" lang="en-US" sz="2400" b="0" i="0" u="none" strike="noStrike" kern="1200" cap="none" spc="0" normalizeH="0" baseline="0" noProof="0">
                <a:ln>
                  <a:noFill/>
                </a:ln>
                <a:solidFill>
                  <a:prstClr val="black"/>
                </a:solidFill>
                <a:effectLst/>
                <a:uLnTx/>
                <a:uFillTx/>
                <a:latin typeface="Segoe UI Light"/>
                <a:ea typeface="Calibri" panose="020F0502020204030204" pitchFamily="34" charset="0"/>
                <a:cs typeface="Times New Roman" panose="02020603050405020304" pitchFamily="18" charset="0"/>
              </a:rPr>
              <a:t>OOB transformations will cover more than 90% of the cases</a:t>
            </a: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400" b="0" i="0" u="none" strike="noStrike" kern="1200" cap="none" spc="0" normalizeH="0" baseline="0" noProof="0">
              <a:ln>
                <a:noFill/>
              </a:ln>
              <a:solidFill>
                <a:prstClr val="black"/>
              </a:solidFill>
              <a:effectLst/>
              <a:uLnTx/>
              <a:uFillTx/>
              <a:latin typeface="Segoe UI Light"/>
              <a:ea typeface="Calibri" panose="020F0502020204030204" pitchFamily="34" charset="0"/>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400" b="0" i="0" u="none" strike="noStrike" kern="1200" cap="none" spc="0" normalizeH="0" baseline="0" noProof="0">
              <a:ln>
                <a:noFill/>
              </a:ln>
              <a:solidFill>
                <a:prstClr val="black"/>
              </a:solidFill>
              <a:effectLst/>
              <a:uLnTx/>
              <a:uFillTx/>
              <a:latin typeface="Segoe UI Light"/>
              <a:ea typeface="Calibri" panose="020F0502020204030204" pitchFamily="34" charset="0"/>
              <a:cs typeface="Times New Roman" panose="02020603050405020304" pitchFamily="18" charset="0"/>
            </a:endParaRPr>
          </a:p>
        </p:txBody>
      </p:sp>
      <p:pic>
        <p:nvPicPr>
          <p:cNvPr id="2" name="Picture 1"/>
          <p:cNvPicPr>
            <a:picLocks noChangeAspect="1"/>
          </p:cNvPicPr>
          <p:nvPr/>
        </p:nvPicPr>
        <p:blipFill>
          <a:blip r:embed="rId3"/>
          <a:stretch>
            <a:fillRect/>
          </a:stretch>
        </p:blipFill>
        <p:spPr>
          <a:xfrm>
            <a:off x="3051055" y="3607274"/>
            <a:ext cx="8879598" cy="2762781"/>
          </a:xfrm>
          <a:prstGeom prst="rect">
            <a:avLst/>
          </a:prstGeom>
          <a:ln>
            <a:noFill/>
          </a:ln>
          <a:effectLst>
            <a:outerShdw blurRad="190500" algn="tl" rotWithShape="0">
              <a:srgbClr val="000000">
                <a:alpha val="70000"/>
              </a:srgbClr>
            </a:outerShdw>
          </a:effectLst>
        </p:spPr>
      </p:pic>
    </p:spTree>
    <p:extLst>
      <p:ext uri="{BB962C8B-B14F-4D97-AF65-F5344CB8AC3E}">
        <p14:creationId xmlns:p14="http://schemas.microsoft.com/office/powerpoint/2010/main" val="20773957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nodePh="1">
                                  <p:stCondLst>
                                    <p:cond delay="0"/>
                                  </p:stCondLst>
                                  <p:endCondLst>
                                    <p:cond evt="begin" delay="0">
                                      <p:tn val="5"/>
                                    </p:cond>
                                  </p:endCondLst>
                                  <p:childTnLst>
                                    <p:set>
                                      <p:cBhvr>
                                        <p:cTn id="6" dur="1" fill="hold">
                                          <p:stCondLst>
                                            <p:cond delay="0"/>
                                          </p:stCondLst>
                                        </p:cTn>
                                        <p:tgtEl>
                                          <p:spTgt spid="4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3" grpId="0"/>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solidFill>
                  <a:schemeClr val="bg1"/>
                </a:solidFill>
              </a:rPr>
              <a:t>Power BI Desktop:</a:t>
            </a:r>
            <a:br>
              <a:rPr lang="en-US">
                <a:solidFill>
                  <a:schemeClr val="bg1"/>
                </a:solidFill>
              </a:rPr>
            </a:br>
            <a:r>
              <a:rPr lang="en-US">
                <a:solidFill>
                  <a:schemeClr val="bg1"/>
                </a:solidFill>
              </a:rPr>
              <a:t>Creating a Data Model</a:t>
            </a:r>
          </a:p>
        </p:txBody>
      </p:sp>
    </p:spTree>
    <p:extLst>
      <p:ext uri="{BB962C8B-B14F-4D97-AF65-F5344CB8AC3E}">
        <p14:creationId xmlns:p14="http://schemas.microsoft.com/office/powerpoint/2010/main" val="32112897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p:cNvGrpSpPr/>
          <p:nvPr/>
        </p:nvGrpSpPr>
        <p:grpSpPr>
          <a:xfrm>
            <a:off x="-11149" y="0"/>
            <a:ext cx="2849058" cy="6858000"/>
            <a:chOff x="-154981" y="-103321"/>
            <a:chExt cx="2849058" cy="6858000"/>
          </a:xfrm>
        </p:grpSpPr>
        <p:sp>
          <p:nvSpPr>
            <p:cNvPr id="70" name="Rectangle 69"/>
            <p:cNvSpPr/>
            <p:nvPr/>
          </p:nvSpPr>
          <p:spPr bwMode="auto">
            <a:xfrm>
              <a:off x="-154981" y="-103321"/>
              <a:ext cx="2849058"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5" name="Oval 70"/>
            <p:cNvSpPr/>
            <p:nvPr/>
          </p:nvSpPr>
          <p:spPr>
            <a:xfrm>
              <a:off x="1413521" y="4951537"/>
              <a:ext cx="1119626" cy="1119626"/>
            </a:xfrm>
            <a:prstGeom prst="ellipse">
              <a:avLst/>
            </a:prstGeom>
            <a:solidFill>
              <a:srgbClr val="F2C812"/>
            </a:solidFill>
            <a:ln w="3175" cap="flat" cmpd="sng" algn="ctr">
              <a:noFill/>
              <a:prstDash val="solid"/>
            </a:ln>
            <a:effectLst/>
          </p:spPr>
          <p:txBody>
            <a:bodyPr vert="horz" wrap="none" lIns="0" tIns="45720" rIns="0" bIns="0" rtlCol="0" anchor="t"/>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Segoe UI"/>
                  <a:ea typeface="Segoe UI" pitchFamily="34" charset="0"/>
                  <a:cs typeface="Segoe UI" pitchFamily="34" charset="0"/>
                </a:rPr>
                <a:t>Share &amp;</a:t>
              </a:r>
            </a:p>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Segoe UI"/>
                  <a:ea typeface="Segoe UI" pitchFamily="34" charset="0"/>
                  <a:cs typeface="Segoe UI" pitchFamily="34" charset="0"/>
                </a:rPr>
                <a:t>collaborate </a:t>
              </a:r>
            </a:p>
          </p:txBody>
        </p:sp>
        <p:grpSp>
          <p:nvGrpSpPr>
            <p:cNvPr id="66" name="Group 38"/>
            <p:cNvGrpSpPr>
              <a:grpSpLocks noChangeAspect="1"/>
            </p:cNvGrpSpPr>
            <p:nvPr/>
          </p:nvGrpSpPr>
          <p:grpSpPr>
            <a:xfrm>
              <a:off x="676996" y="3930692"/>
              <a:ext cx="383905" cy="351536"/>
              <a:chOff x="4363684" y="5330386"/>
              <a:chExt cx="1409956" cy="1291077"/>
            </a:xfrm>
            <a:solidFill>
              <a:srgbClr val="217346"/>
            </a:solidFill>
          </p:grpSpPr>
          <p:sp>
            <p:nvSpPr>
              <p:cNvPr id="67" name="Donut 3"/>
              <p:cNvSpPr/>
              <p:nvPr/>
            </p:nvSpPr>
            <p:spPr bwMode="auto">
              <a:xfrm>
                <a:off x="4363684" y="5330386"/>
                <a:ext cx="1409956" cy="1291077"/>
              </a:xfrm>
              <a:custGeom>
                <a:avLst/>
                <a:gdLst/>
                <a:ahLst/>
                <a:cxnLst/>
                <a:rect l="l" t="t" r="r" b="b"/>
                <a:pathLst>
                  <a:path w="1409956" h="1291077">
                    <a:moveTo>
                      <a:pt x="956401" y="78410"/>
                    </a:moveTo>
                    <a:cubicBezTo>
                      <a:pt x="747518" y="78410"/>
                      <a:pt x="578184" y="247744"/>
                      <a:pt x="578184" y="456627"/>
                    </a:cubicBezTo>
                    <a:cubicBezTo>
                      <a:pt x="578184" y="665510"/>
                      <a:pt x="747518" y="834844"/>
                      <a:pt x="956401" y="834844"/>
                    </a:cubicBezTo>
                    <a:cubicBezTo>
                      <a:pt x="1165284" y="834844"/>
                      <a:pt x="1334618" y="665510"/>
                      <a:pt x="1334618" y="456627"/>
                    </a:cubicBezTo>
                    <a:cubicBezTo>
                      <a:pt x="1334618" y="247744"/>
                      <a:pt x="1165284" y="78410"/>
                      <a:pt x="956401" y="78410"/>
                    </a:cubicBezTo>
                    <a:close/>
                    <a:moveTo>
                      <a:pt x="952756" y="0"/>
                    </a:moveTo>
                    <a:cubicBezTo>
                      <a:pt x="1205261" y="0"/>
                      <a:pt x="1409956" y="204695"/>
                      <a:pt x="1409956" y="457200"/>
                    </a:cubicBezTo>
                    <a:cubicBezTo>
                      <a:pt x="1409956" y="709705"/>
                      <a:pt x="1205261" y="914400"/>
                      <a:pt x="952756" y="914400"/>
                    </a:cubicBezTo>
                    <a:cubicBezTo>
                      <a:pt x="862133" y="914400"/>
                      <a:pt x="777669" y="888034"/>
                      <a:pt x="707132" y="841746"/>
                    </a:cubicBezTo>
                    <a:lnTo>
                      <a:pt x="136495" y="1280102"/>
                    </a:lnTo>
                    <a:cubicBezTo>
                      <a:pt x="21896" y="1327168"/>
                      <a:pt x="-44029" y="1213730"/>
                      <a:pt x="33797" y="1113182"/>
                    </a:cubicBezTo>
                    <a:lnTo>
                      <a:pt x="568587" y="703518"/>
                    </a:lnTo>
                    <a:cubicBezTo>
                      <a:pt x="522087" y="632814"/>
                      <a:pt x="495556" y="548105"/>
                      <a:pt x="495556" y="457200"/>
                    </a:cubicBezTo>
                    <a:cubicBezTo>
                      <a:pt x="495556" y="204695"/>
                      <a:pt x="700251" y="0"/>
                      <a:pt x="952756" y="0"/>
                    </a:cubicBezTo>
                    <a:close/>
                  </a:path>
                </a:pathLst>
              </a:custGeom>
              <a:grpFill/>
              <a:ln>
                <a:solidFill>
                  <a:srgbClr val="21734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sp>
            <p:nvSpPr>
              <p:cNvPr id="68" name="Rectangle 4"/>
              <p:cNvSpPr/>
              <p:nvPr/>
            </p:nvSpPr>
            <p:spPr>
              <a:xfrm>
                <a:off x="5058389" y="5528247"/>
                <a:ext cx="490885" cy="490020"/>
              </a:xfrm>
              <a:custGeom>
                <a:avLst/>
                <a:gdLst/>
                <a:ahLst/>
                <a:cxnLst/>
                <a:rect l="l" t="t" r="r" b="b"/>
                <a:pathLst>
                  <a:path w="490885" h="490020">
                    <a:moveTo>
                      <a:pt x="240752" y="0"/>
                    </a:moveTo>
                    <a:cubicBezTo>
                      <a:pt x="253961" y="11844"/>
                      <a:pt x="293310" y="49692"/>
                      <a:pt x="337332" y="92439"/>
                    </a:cubicBezTo>
                    <a:lnTo>
                      <a:pt x="328342" y="81259"/>
                    </a:lnTo>
                    <a:cubicBezTo>
                      <a:pt x="356946" y="111282"/>
                      <a:pt x="377251" y="107167"/>
                      <a:pt x="382515" y="87941"/>
                    </a:cubicBezTo>
                    <a:cubicBezTo>
                      <a:pt x="383951" y="76921"/>
                      <a:pt x="384595" y="68732"/>
                      <a:pt x="396997" y="52239"/>
                    </a:cubicBezTo>
                    <a:cubicBezTo>
                      <a:pt x="420362" y="32084"/>
                      <a:pt x="442294" y="41736"/>
                      <a:pt x="454920" y="51330"/>
                    </a:cubicBezTo>
                    <a:cubicBezTo>
                      <a:pt x="467834" y="62761"/>
                      <a:pt x="477920" y="86882"/>
                      <a:pt x="460392" y="109714"/>
                    </a:cubicBezTo>
                    <a:cubicBezTo>
                      <a:pt x="451128" y="121912"/>
                      <a:pt x="437554" y="126838"/>
                      <a:pt x="425922" y="126505"/>
                    </a:cubicBezTo>
                    <a:cubicBezTo>
                      <a:pt x="424301" y="127609"/>
                      <a:pt x="382890" y="134974"/>
                      <a:pt x="427348" y="177672"/>
                    </a:cubicBezTo>
                    <a:lnTo>
                      <a:pt x="416886" y="169735"/>
                    </a:lnTo>
                    <a:cubicBezTo>
                      <a:pt x="450207" y="202177"/>
                      <a:pt x="478424" y="229744"/>
                      <a:pt x="490885" y="241900"/>
                    </a:cubicBezTo>
                    <a:lnTo>
                      <a:pt x="417150" y="317347"/>
                    </a:lnTo>
                    <a:cubicBezTo>
                      <a:pt x="417744" y="316535"/>
                      <a:pt x="418443" y="316123"/>
                      <a:pt x="419047" y="315822"/>
                    </a:cubicBezTo>
                    <a:cubicBezTo>
                      <a:pt x="389023" y="344426"/>
                      <a:pt x="393138" y="364731"/>
                      <a:pt x="412364" y="369995"/>
                    </a:cubicBezTo>
                    <a:cubicBezTo>
                      <a:pt x="423384" y="371431"/>
                      <a:pt x="431574" y="372075"/>
                      <a:pt x="448067" y="384477"/>
                    </a:cubicBezTo>
                    <a:cubicBezTo>
                      <a:pt x="468221" y="407842"/>
                      <a:pt x="458569" y="429774"/>
                      <a:pt x="448975" y="442400"/>
                    </a:cubicBezTo>
                    <a:cubicBezTo>
                      <a:pt x="437545" y="455314"/>
                      <a:pt x="413423" y="465400"/>
                      <a:pt x="390591" y="447872"/>
                    </a:cubicBezTo>
                    <a:cubicBezTo>
                      <a:pt x="378394" y="438608"/>
                      <a:pt x="373468" y="425034"/>
                      <a:pt x="373800" y="413402"/>
                    </a:cubicBezTo>
                    <a:cubicBezTo>
                      <a:pt x="372696" y="411781"/>
                      <a:pt x="365332" y="370370"/>
                      <a:pt x="322634" y="414828"/>
                    </a:cubicBezTo>
                    <a:lnTo>
                      <a:pt x="325243" y="411388"/>
                    </a:lnTo>
                    <a:lnTo>
                      <a:pt x="248395" y="490020"/>
                    </a:lnTo>
                    <a:cubicBezTo>
                      <a:pt x="208939" y="451897"/>
                      <a:pt x="199129" y="442073"/>
                      <a:pt x="174192" y="418236"/>
                    </a:cubicBezTo>
                    <a:cubicBezTo>
                      <a:pt x="145587" y="388212"/>
                      <a:pt x="125282" y="392327"/>
                      <a:pt x="120018" y="411553"/>
                    </a:cubicBezTo>
                    <a:cubicBezTo>
                      <a:pt x="118582" y="422573"/>
                      <a:pt x="117938" y="430763"/>
                      <a:pt x="105536" y="447256"/>
                    </a:cubicBezTo>
                    <a:cubicBezTo>
                      <a:pt x="82171" y="467410"/>
                      <a:pt x="60239" y="457758"/>
                      <a:pt x="47614" y="448164"/>
                    </a:cubicBezTo>
                    <a:cubicBezTo>
                      <a:pt x="34699" y="436734"/>
                      <a:pt x="24614" y="412612"/>
                      <a:pt x="42141" y="389780"/>
                    </a:cubicBezTo>
                    <a:cubicBezTo>
                      <a:pt x="51405" y="377583"/>
                      <a:pt x="64979" y="372657"/>
                      <a:pt x="76612" y="372989"/>
                    </a:cubicBezTo>
                    <a:cubicBezTo>
                      <a:pt x="78232" y="371886"/>
                      <a:pt x="119644" y="364521"/>
                      <a:pt x="75186" y="321823"/>
                    </a:cubicBezTo>
                    <a:cubicBezTo>
                      <a:pt x="58767" y="305402"/>
                      <a:pt x="23648" y="271235"/>
                      <a:pt x="0" y="248738"/>
                    </a:cubicBezTo>
                    <a:lnTo>
                      <a:pt x="77303" y="168146"/>
                    </a:lnTo>
                    <a:cubicBezTo>
                      <a:pt x="104269" y="140313"/>
                      <a:pt x="122130" y="156409"/>
                      <a:pt x="124388" y="175543"/>
                    </a:cubicBezTo>
                    <a:cubicBezTo>
                      <a:pt x="124457" y="182466"/>
                      <a:pt x="127106" y="193106"/>
                      <a:pt x="137575" y="203052"/>
                    </a:cubicBezTo>
                    <a:cubicBezTo>
                      <a:pt x="153931" y="220277"/>
                      <a:pt x="181252" y="217451"/>
                      <a:pt x="196721" y="201951"/>
                    </a:cubicBezTo>
                    <a:cubicBezTo>
                      <a:pt x="211961" y="185740"/>
                      <a:pt x="213057" y="157882"/>
                      <a:pt x="196146" y="142797"/>
                    </a:cubicBezTo>
                    <a:cubicBezTo>
                      <a:pt x="184301" y="132637"/>
                      <a:pt x="177155" y="131453"/>
                      <a:pt x="166513" y="129894"/>
                    </a:cubicBezTo>
                    <a:cubicBezTo>
                      <a:pt x="154522" y="129013"/>
                      <a:pt x="131185" y="112953"/>
                      <a:pt x="157905" y="85228"/>
                    </a:cubicBezTo>
                    <a:close/>
                  </a:path>
                </a:pathLst>
              </a:custGeom>
              <a:grpFill/>
              <a:ln>
                <a:solidFill>
                  <a:srgbClr val="21734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grpSp>
        <p:sp>
          <p:nvSpPr>
            <p:cNvPr id="69" name="Oval 47"/>
            <p:cNvSpPr/>
            <p:nvPr/>
          </p:nvSpPr>
          <p:spPr>
            <a:xfrm>
              <a:off x="388608" y="3710471"/>
              <a:ext cx="1119626" cy="1119626"/>
            </a:xfrm>
            <a:prstGeom prst="ellipse">
              <a:avLst/>
            </a:prstGeom>
            <a:solidFill>
              <a:srgbClr val="F2C812"/>
            </a:solidFill>
            <a:ln w="3175" cap="flat" cmpd="sng" algn="ctr">
              <a:noFill/>
              <a:prstDash val="solid"/>
            </a:ln>
            <a:effectLst/>
          </p:spPr>
          <p:txBody>
            <a:bodyPr vert="horz" wrap="none" lIns="0" tIns="45720" rIns="0" bIns="0" rtlCol="0" anchor="t"/>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Segoe UI"/>
                  <a:ea typeface="Segoe UI" pitchFamily="34" charset="0"/>
                  <a:cs typeface="Segoe UI" pitchFamily="34" charset="0"/>
                </a:rPr>
                <a:t>Report</a:t>
              </a:r>
            </a:p>
          </p:txBody>
        </p:sp>
        <p:sp>
          <p:nvSpPr>
            <p:cNvPr id="85" name="Oval 950"/>
            <p:cNvSpPr/>
            <p:nvPr/>
          </p:nvSpPr>
          <p:spPr>
            <a:xfrm>
              <a:off x="388608" y="1252295"/>
              <a:ext cx="1119626" cy="1119626"/>
            </a:xfrm>
            <a:prstGeom prst="ellipse">
              <a:avLst/>
            </a:prstGeom>
            <a:solidFill>
              <a:srgbClr val="F2C812"/>
            </a:solidFill>
            <a:ln w="3175" cap="flat" cmpd="sng" algn="ctr">
              <a:noFill/>
              <a:prstDash val="solid"/>
            </a:ln>
            <a:effectLst/>
          </p:spPr>
          <p:txBody>
            <a:bodyPr vert="horz" wrap="none" lIns="0" tIns="45720" rIns="0" bIns="0" rtlCol="0" anchor="t"/>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1" i="0" u="none" strike="noStrike" kern="1200" cap="none" spc="0" normalizeH="0" baseline="0" noProof="0">
                <a:ln>
                  <a:noFill/>
                </a:ln>
                <a:solidFill>
                  <a:srgbClr val="217346"/>
                </a:solidFill>
                <a:effectLst/>
                <a:uLnTx/>
                <a:uFillTx/>
                <a:latin typeface="Segoe UI"/>
                <a:ea typeface="Segoe UI" pitchFamily="34" charset="0"/>
                <a:cs typeface="Segoe UI" pitchFamily="34" charset="0"/>
              </a:endParaRPr>
            </a:p>
          </p:txBody>
        </p:sp>
        <p:grpSp>
          <p:nvGrpSpPr>
            <p:cNvPr id="86" name="Group 85"/>
            <p:cNvGrpSpPr/>
            <p:nvPr/>
          </p:nvGrpSpPr>
          <p:grpSpPr>
            <a:xfrm>
              <a:off x="1264851" y="3482890"/>
              <a:ext cx="292254" cy="354906"/>
              <a:chOff x="1296521" y="3253388"/>
              <a:chExt cx="292254" cy="354906"/>
            </a:xfrm>
            <a:solidFill>
              <a:srgbClr val="F2C812"/>
            </a:solidFill>
          </p:grpSpPr>
          <p:sp>
            <p:nvSpPr>
              <p:cNvPr id="87" name="Isosceles Triangle 86"/>
              <p:cNvSpPr/>
              <p:nvPr/>
            </p:nvSpPr>
            <p:spPr bwMode="auto">
              <a:xfrm rot="13636515">
                <a:off x="1461362" y="328936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8" name="Isosceles Triangle 87"/>
              <p:cNvSpPr/>
              <p:nvPr/>
            </p:nvSpPr>
            <p:spPr bwMode="auto">
              <a:xfrm rot="13636515">
                <a:off x="1357669" y="338258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9" name="Isosceles Triangle 88"/>
              <p:cNvSpPr/>
              <p:nvPr/>
            </p:nvSpPr>
            <p:spPr bwMode="auto">
              <a:xfrm rot="13636515">
                <a:off x="1260548" y="3480882"/>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90" name="Group 89"/>
            <p:cNvGrpSpPr/>
            <p:nvPr/>
          </p:nvGrpSpPr>
          <p:grpSpPr>
            <a:xfrm rot="15940603">
              <a:off x="1334576" y="2204404"/>
              <a:ext cx="292254" cy="354906"/>
              <a:chOff x="1296521" y="3253388"/>
              <a:chExt cx="292254" cy="354906"/>
            </a:xfrm>
            <a:solidFill>
              <a:srgbClr val="F2C812"/>
            </a:solidFill>
          </p:grpSpPr>
          <p:sp>
            <p:nvSpPr>
              <p:cNvPr id="91" name="Isosceles Triangle 90"/>
              <p:cNvSpPr/>
              <p:nvPr/>
            </p:nvSpPr>
            <p:spPr bwMode="auto">
              <a:xfrm rot="13636515">
                <a:off x="1461362" y="328936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2" name="Isosceles Triangle 91"/>
              <p:cNvSpPr/>
              <p:nvPr/>
            </p:nvSpPr>
            <p:spPr bwMode="auto">
              <a:xfrm rot="13636515">
                <a:off x="1357669" y="338258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3" name="Isosceles Triangle 92"/>
              <p:cNvSpPr/>
              <p:nvPr/>
            </p:nvSpPr>
            <p:spPr bwMode="auto">
              <a:xfrm rot="13636515">
                <a:off x="1260548" y="3480882"/>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94" name="Group 93"/>
            <p:cNvGrpSpPr/>
            <p:nvPr/>
          </p:nvGrpSpPr>
          <p:grpSpPr>
            <a:xfrm rot="16043978">
              <a:off x="1317220" y="4717577"/>
              <a:ext cx="292254" cy="354906"/>
              <a:chOff x="1296521" y="3253388"/>
              <a:chExt cx="292254" cy="354906"/>
            </a:xfrm>
            <a:solidFill>
              <a:srgbClr val="F2C812"/>
            </a:solidFill>
          </p:grpSpPr>
          <p:sp>
            <p:nvSpPr>
              <p:cNvPr id="95" name="Isosceles Triangle 94"/>
              <p:cNvSpPr/>
              <p:nvPr/>
            </p:nvSpPr>
            <p:spPr bwMode="auto">
              <a:xfrm rot="13636515">
                <a:off x="1461362" y="328936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6" name="Isosceles Triangle 95"/>
              <p:cNvSpPr/>
              <p:nvPr/>
            </p:nvSpPr>
            <p:spPr bwMode="auto">
              <a:xfrm rot="13636515">
                <a:off x="1357669" y="338258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7" name="Isosceles Triangle 96"/>
              <p:cNvSpPr/>
              <p:nvPr/>
            </p:nvSpPr>
            <p:spPr bwMode="auto">
              <a:xfrm rot="13636515">
                <a:off x="1260548" y="3480882"/>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98" name="Oval 36"/>
            <p:cNvSpPr/>
            <p:nvPr/>
          </p:nvSpPr>
          <p:spPr>
            <a:xfrm>
              <a:off x="1413521" y="2481383"/>
              <a:ext cx="1119626" cy="1119626"/>
            </a:xfrm>
            <a:prstGeom prst="ellipse">
              <a:avLst/>
            </a:prstGeom>
            <a:solidFill>
              <a:srgbClr val="F2C812"/>
            </a:solidFill>
            <a:ln w="3175" cap="flat" cmpd="sng" algn="ctr">
              <a:noFill/>
              <a:prstDash val="solid"/>
            </a:ln>
            <a:effectLst/>
          </p:spPr>
          <p:txBody>
            <a:bodyPr vert="horz" wrap="none" lIns="0" tIns="0" rIns="0" bIns="0" rtlCol="0" anchor="t"/>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400" b="1" i="0" u="none" strike="noStrike" kern="1200" cap="none" spc="0" normalizeH="0" baseline="0" noProof="0">
                <a:ln>
                  <a:noFill/>
                </a:ln>
                <a:solidFill>
                  <a:srgbClr val="217346"/>
                </a:solidFill>
                <a:effectLst/>
                <a:uLnTx/>
                <a:uFillTx/>
                <a:latin typeface="Segoe UI"/>
                <a:ea typeface="Segoe UI" pitchFamily="34" charset="0"/>
                <a:cs typeface="Segoe UI" pitchFamily="34" charset="0"/>
              </a:endParaRPr>
            </a:p>
          </p:txBody>
        </p:sp>
        <p:sp>
          <p:nvSpPr>
            <p:cNvPr id="99" name="Donut 3"/>
            <p:cNvSpPr/>
            <p:nvPr/>
          </p:nvSpPr>
          <p:spPr bwMode="auto">
            <a:xfrm>
              <a:off x="1742065" y="3002355"/>
              <a:ext cx="383905" cy="351537"/>
            </a:xfrm>
            <a:custGeom>
              <a:avLst/>
              <a:gdLst/>
              <a:ahLst/>
              <a:cxnLst/>
              <a:rect l="l" t="t" r="r" b="b"/>
              <a:pathLst>
                <a:path w="1409956" h="1291077">
                  <a:moveTo>
                    <a:pt x="956401" y="78410"/>
                  </a:moveTo>
                  <a:cubicBezTo>
                    <a:pt x="747518" y="78410"/>
                    <a:pt x="578184" y="247744"/>
                    <a:pt x="578184" y="456627"/>
                  </a:cubicBezTo>
                  <a:cubicBezTo>
                    <a:pt x="578184" y="665510"/>
                    <a:pt x="747518" y="834844"/>
                    <a:pt x="956401" y="834844"/>
                  </a:cubicBezTo>
                  <a:cubicBezTo>
                    <a:pt x="1165284" y="834844"/>
                    <a:pt x="1334618" y="665510"/>
                    <a:pt x="1334618" y="456627"/>
                  </a:cubicBezTo>
                  <a:cubicBezTo>
                    <a:pt x="1334618" y="247744"/>
                    <a:pt x="1165284" y="78410"/>
                    <a:pt x="956401" y="78410"/>
                  </a:cubicBezTo>
                  <a:close/>
                  <a:moveTo>
                    <a:pt x="952756" y="0"/>
                  </a:moveTo>
                  <a:cubicBezTo>
                    <a:pt x="1205261" y="0"/>
                    <a:pt x="1409956" y="204695"/>
                    <a:pt x="1409956" y="457200"/>
                  </a:cubicBezTo>
                  <a:cubicBezTo>
                    <a:pt x="1409956" y="709705"/>
                    <a:pt x="1205261" y="914400"/>
                    <a:pt x="952756" y="914400"/>
                  </a:cubicBezTo>
                  <a:cubicBezTo>
                    <a:pt x="862133" y="914400"/>
                    <a:pt x="777669" y="888034"/>
                    <a:pt x="707132" y="841746"/>
                  </a:cubicBezTo>
                  <a:lnTo>
                    <a:pt x="136495" y="1280102"/>
                  </a:lnTo>
                  <a:cubicBezTo>
                    <a:pt x="21896" y="1327168"/>
                    <a:pt x="-44029" y="1213730"/>
                    <a:pt x="33797" y="1113182"/>
                  </a:cubicBezTo>
                  <a:lnTo>
                    <a:pt x="568587" y="703518"/>
                  </a:lnTo>
                  <a:cubicBezTo>
                    <a:pt x="522087" y="632814"/>
                    <a:pt x="495556" y="548105"/>
                    <a:pt x="495556" y="457200"/>
                  </a:cubicBezTo>
                  <a:cubicBezTo>
                    <a:pt x="495556" y="204695"/>
                    <a:pt x="700251" y="0"/>
                    <a:pt x="952756" y="0"/>
                  </a:cubicBezTo>
                  <a:close/>
                </a:path>
              </a:pathLst>
            </a:cu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ysClr val="windowText" lastClr="000000"/>
                </a:solidFill>
                <a:effectLst/>
                <a:uLnTx/>
                <a:uFillTx/>
                <a:latin typeface="Segoe UI"/>
                <a:ea typeface="+mn-ea"/>
                <a:cs typeface="+mn-cs"/>
              </a:endParaRPr>
            </a:p>
          </p:txBody>
        </p:sp>
        <p:sp>
          <p:nvSpPr>
            <p:cNvPr id="100" name="Rectangle 99"/>
            <p:cNvSpPr/>
            <p:nvPr/>
          </p:nvSpPr>
          <p:spPr>
            <a:xfrm>
              <a:off x="1600398" y="2677430"/>
              <a:ext cx="820353" cy="307777"/>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Segoe UI"/>
                  <a:ea typeface="Segoe UI" pitchFamily="34" charset="0"/>
                  <a:cs typeface="Segoe UI" pitchFamily="34" charset="0"/>
                </a:rPr>
                <a:t>Explore</a:t>
              </a:r>
              <a:endParaRPr kumimoji="0" lang="en-US" sz="1600" b="0" i="0" u="none" strike="noStrike" kern="1200" cap="none" spc="0" normalizeH="0" baseline="0" noProof="0">
                <a:ln>
                  <a:noFill/>
                </a:ln>
                <a:solidFill>
                  <a:prstClr val="black"/>
                </a:solidFill>
                <a:effectLst/>
                <a:uLnTx/>
                <a:uFillTx/>
                <a:latin typeface="Segoe UI"/>
                <a:ea typeface="+mn-ea"/>
                <a:cs typeface="+mn-cs"/>
              </a:endParaRPr>
            </a:p>
          </p:txBody>
        </p:sp>
        <p:sp>
          <p:nvSpPr>
            <p:cNvPr id="101" name="Rectangle 100"/>
            <p:cNvSpPr/>
            <p:nvPr/>
          </p:nvSpPr>
          <p:spPr>
            <a:xfrm>
              <a:off x="509174" y="1475232"/>
              <a:ext cx="838756" cy="307777"/>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Segoe UI"/>
                  <a:ea typeface="Segoe UI" pitchFamily="34" charset="0"/>
                  <a:cs typeface="Segoe UI" pitchFamily="34" charset="0"/>
                </a:rPr>
                <a:t>Prepare</a:t>
              </a:r>
              <a:endParaRPr kumimoji="0" lang="en-US" sz="1400" b="0" i="0" u="none" strike="noStrike" kern="1200" cap="none" spc="0" normalizeH="0" baseline="0" noProof="0">
                <a:ln>
                  <a:noFill/>
                </a:ln>
                <a:solidFill>
                  <a:prstClr val="black"/>
                </a:solidFill>
                <a:effectLst/>
                <a:uLnTx/>
                <a:uFillTx/>
                <a:latin typeface="Segoe UI"/>
                <a:ea typeface="+mn-ea"/>
                <a:cs typeface="+mn-cs"/>
              </a:endParaRPr>
            </a:p>
          </p:txBody>
        </p:sp>
        <p:sp>
          <p:nvSpPr>
            <p:cNvPr id="102" name="Freeform 101"/>
            <p:cNvSpPr>
              <a:spLocks noChangeAspect="1"/>
            </p:cNvSpPr>
            <p:nvPr/>
          </p:nvSpPr>
          <p:spPr bwMode="black">
            <a:xfrm>
              <a:off x="1836174" y="5643069"/>
              <a:ext cx="274320" cy="284173"/>
            </a:xfrm>
            <a:custGeom>
              <a:avLst/>
              <a:gdLst>
                <a:gd name="T0" fmla="*/ 539 w 669"/>
                <a:gd name="T1" fmla="*/ 5 h 693"/>
                <a:gd name="T2" fmla="*/ 640 w 669"/>
                <a:gd name="T3" fmla="*/ 55 h 693"/>
                <a:gd name="T4" fmla="*/ 603 w 669"/>
                <a:gd name="T5" fmla="*/ 195 h 693"/>
                <a:gd name="T6" fmla="*/ 490 w 669"/>
                <a:gd name="T7" fmla="*/ 188 h 693"/>
                <a:gd name="T8" fmla="*/ 479 w 669"/>
                <a:gd name="T9" fmla="*/ 176 h 693"/>
                <a:gd name="T10" fmla="*/ 213 w 669"/>
                <a:gd name="T11" fmla="*/ 330 h 693"/>
                <a:gd name="T12" fmla="*/ 218 w 669"/>
                <a:gd name="T13" fmla="*/ 345 h 693"/>
                <a:gd name="T14" fmla="*/ 218 w 669"/>
                <a:gd name="T15" fmla="*/ 375 h 693"/>
                <a:gd name="T16" fmla="*/ 209 w 669"/>
                <a:gd name="T17" fmla="*/ 402 h 693"/>
                <a:gd name="T18" fmla="*/ 369 w 669"/>
                <a:gd name="T19" fmla="*/ 503 h 693"/>
                <a:gd name="T20" fmla="*/ 373 w 669"/>
                <a:gd name="T21" fmla="*/ 498 h 693"/>
                <a:gd name="T22" fmla="*/ 456 w 669"/>
                <a:gd name="T23" fmla="*/ 475 h 693"/>
                <a:gd name="T24" fmla="*/ 494 w 669"/>
                <a:gd name="T25" fmla="*/ 489 h 693"/>
                <a:gd name="T26" fmla="*/ 527 w 669"/>
                <a:gd name="T27" fmla="*/ 630 h 693"/>
                <a:gd name="T28" fmla="*/ 386 w 669"/>
                <a:gd name="T29" fmla="*/ 663 h 693"/>
                <a:gd name="T30" fmla="*/ 339 w 669"/>
                <a:gd name="T31" fmla="*/ 560 h 693"/>
                <a:gd name="T32" fmla="*/ 345 w 669"/>
                <a:gd name="T33" fmla="*/ 544 h 693"/>
                <a:gd name="T34" fmla="*/ 177 w 669"/>
                <a:gd name="T35" fmla="*/ 439 h 693"/>
                <a:gd name="T36" fmla="*/ 168 w 669"/>
                <a:gd name="T37" fmla="*/ 446 h 693"/>
                <a:gd name="T38" fmla="*/ 28 w 669"/>
                <a:gd name="T39" fmla="*/ 409 h 693"/>
                <a:gd name="T40" fmla="*/ 65 w 669"/>
                <a:gd name="T41" fmla="*/ 269 h 693"/>
                <a:gd name="T42" fmla="*/ 178 w 669"/>
                <a:gd name="T43" fmla="*/ 276 h 693"/>
                <a:gd name="T44" fmla="*/ 189 w 669"/>
                <a:gd name="T45" fmla="*/ 288 h 693"/>
                <a:gd name="T46" fmla="*/ 455 w 669"/>
                <a:gd name="T47" fmla="*/ 134 h 693"/>
                <a:gd name="T48" fmla="*/ 450 w 669"/>
                <a:gd name="T49" fmla="*/ 119 h 693"/>
                <a:gd name="T50" fmla="*/ 501 w 669"/>
                <a:gd name="T51" fmla="*/ 18 h 693"/>
                <a:gd name="T52" fmla="*/ 539 w 669"/>
                <a:gd name="T53" fmla="*/ 5 h 6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69" h="693">
                  <a:moveTo>
                    <a:pt x="539" y="5"/>
                  </a:moveTo>
                  <a:cubicBezTo>
                    <a:pt x="579" y="0"/>
                    <a:pt x="619" y="19"/>
                    <a:pt x="640" y="55"/>
                  </a:cubicBezTo>
                  <a:cubicBezTo>
                    <a:pt x="669" y="104"/>
                    <a:pt x="652" y="167"/>
                    <a:pt x="603" y="195"/>
                  </a:cubicBezTo>
                  <a:cubicBezTo>
                    <a:pt x="566" y="216"/>
                    <a:pt x="522" y="212"/>
                    <a:pt x="490" y="188"/>
                  </a:cubicBezTo>
                  <a:cubicBezTo>
                    <a:pt x="479" y="176"/>
                    <a:pt x="479" y="176"/>
                    <a:pt x="479" y="176"/>
                  </a:cubicBezTo>
                  <a:cubicBezTo>
                    <a:pt x="213" y="330"/>
                    <a:pt x="213" y="330"/>
                    <a:pt x="213" y="330"/>
                  </a:cubicBezTo>
                  <a:cubicBezTo>
                    <a:pt x="218" y="345"/>
                    <a:pt x="218" y="345"/>
                    <a:pt x="218" y="345"/>
                  </a:cubicBezTo>
                  <a:cubicBezTo>
                    <a:pt x="219" y="355"/>
                    <a:pt x="219" y="365"/>
                    <a:pt x="218" y="375"/>
                  </a:cubicBezTo>
                  <a:cubicBezTo>
                    <a:pt x="209" y="402"/>
                    <a:pt x="209" y="402"/>
                    <a:pt x="209" y="402"/>
                  </a:cubicBezTo>
                  <a:cubicBezTo>
                    <a:pt x="369" y="503"/>
                    <a:pt x="369" y="503"/>
                    <a:pt x="369" y="503"/>
                  </a:cubicBezTo>
                  <a:cubicBezTo>
                    <a:pt x="373" y="498"/>
                    <a:pt x="373" y="498"/>
                    <a:pt x="373" y="498"/>
                  </a:cubicBezTo>
                  <a:cubicBezTo>
                    <a:pt x="396" y="479"/>
                    <a:pt x="427" y="470"/>
                    <a:pt x="456" y="475"/>
                  </a:cubicBezTo>
                  <a:cubicBezTo>
                    <a:pt x="470" y="477"/>
                    <a:pt x="482" y="482"/>
                    <a:pt x="494" y="489"/>
                  </a:cubicBezTo>
                  <a:cubicBezTo>
                    <a:pt x="542" y="519"/>
                    <a:pt x="557" y="583"/>
                    <a:pt x="527" y="630"/>
                  </a:cubicBezTo>
                  <a:cubicBezTo>
                    <a:pt x="497" y="678"/>
                    <a:pt x="433" y="693"/>
                    <a:pt x="386" y="663"/>
                  </a:cubicBezTo>
                  <a:cubicBezTo>
                    <a:pt x="350" y="640"/>
                    <a:pt x="333" y="599"/>
                    <a:pt x="339" y="560"/>
                  </a:cubicBezTo>
                  <a:cubicBezTo>
                    <a:pt x="345" y="544"/>
                    <a:pt x="345" y="544"/>
                    <a:pt x="345" y="544"/>
                  </a:cubicBezTo>
                  <a:cubicBezTo>
                    <a:pt x="177" y="439"/>
                    <a:pt x="177" y="439"/>
                    <a:pt x="177" y="439"/>
                  </a:cubicBezTo>
                  <a:cubicBezTo>
                    <a:pt x="168" y="446"/>
                    <a:pt x="168" y="446"/>
                    <a:pt x="168" y="446"/>
                  </a:cubicBezTo>
                  <a:cubicBezTo>
                    <a:pt x="119" y="475"/>
                    <a:pt x="56" y="458"/>
                    <a:pt x="28" y="409"/>
                  </a:cubicBezTo>
                  <a:cubicBezTo>
                    <a:pt x="0" y="360"/>
                    <a:pt x="16" y="297"/>
                    <a:pt x="65" y="269"/>
                  </a:cubicBezTo>
                  <a:cubicBezTo>
                    <a:pt x="102" y="248"/>
                    <a:pt x="147" y="252"/>
                    <a:pt x="178" y="276"/>
                  </a:cubicBezTo>
                  <a:cubicBezTo>
                    <a:pt x="189" y="288"/>
                    <a:pt x="189" y="288"/>
                    <a:pt x="189" y="288"/>
                  </a:cubicBezTo>
                  <a:cubicBezTo>
                    <a:pt x="455" y="134"/>
                    <a:pt x="455" y="134"/>
                    <a:pt x="455" y="134"/>
                  </a:cubicBezTo>
                  <a:cubicBezTo>
                    <a:pt x="450" y="119"/>
                    <a:pt x="450" y="119"/>
                    <a:pt x="450" y="119"/>
                  </a:cubicBezTo>
                  <a:cubicBezTo>
                    <a:pt x="445" y="80"/>
                    <a:pt x="464" y="39"/>
                    <a:pt x="501" y="18"/>
                  </a:cubicBezTo>
                  <a:cubicBezTo>
                    <a:pt x="513" y="11"/>
                    <a:pt x="526" y="6"/>
                    <a:pt x="539" y="5"/>
                  </a:cubicBezTo>
                  <a:close/>
                </a:path>
              </a:pathLst>
            </a:custGeom>
            <a:solidFill>
              <a:schemeClr val="tx1"/>
            </a:solidFill>
            <a:ln>
              <a:noFill/>
            </a:ln>
          </p:spPr>
          <p:txBody>
            <a:bodyPr vert="horz" wrap="square" lIns="68574" tIns="34287" rIns="68574" bIns="34287"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Segoe UI"/>
                <a:ea typeface="+mn-ea"/>
                <a:cs typeface="+mn-cs"/>
              </a:endParaRPr>
            </a:p>
          </p:txBody>
        </p:sp>
        <p:sp>
          <p:nvSpPr>
            <p:cNvPr id="103" name="Freeform 102"/>
            <p:cNvSpPr>
              <a:spLocks noChangeAspect="1" noEditPoints="1"/>
            </p:cNvSpPr>
            <p:nvPr/>
          </p:nvSpPr>
          <p:spPr bwMode="black">
            <a:xfrm>
              <a:off x="722320" y="1783009"/>
              <a:ext cx="452202" cy="366660"/>
            </a:xfrm>
            <a:custGeom>
              <a:avLst/>
              <a:gdLst>
                <a:gd name="T0" fmla="*/ 600 w 1107"/>
                <a:gd name="T1" fmla="*/ 625 h 897"/>
                <a:gd name="T2" fmla="*/ 649 w 1107"/>
                <a:gd name="T3" fmla="*/ 567 h 897"/>
                <a:gd name="T4" fmla="*/ 727 w 1107"/>
                <a:gd name="T5" fmla="*/ 482 h 897"/>
                <a:gd name="T6" fmla="*/ 601 w 1107"/>
                <a:gd name="T7" fmla="*/ 434 h 897"/>
                <a:gd name="T8" fmla="*/ 628 w 1107"/>
                <a:gd name="T9" fmla="*/ 305 h 897"/>
                <a:gd name="T10" fmla="*/ 547 w 1107"/>
                <a:gd name="T11" fmla="*/ 240 h 897"/>
                <a:gd name="T12" fmla="*/ 427 w 1107"/>
                <a:gd name="T13" fmla="*/ 287 h 897"/>
                <a:gd name="T14" fmla="*/ 368 w 1107"/>
                <a:gd name="T15" fmla="*/ 170 h 897"/>
                <a:gd name="T16" fmla="*/ 285 w 1107"/>
                <a:gd name="T17" fmla="*/ 263 h 897"/>
                <a:gd name="T18" fmla="*/ 241 w 1107"/>
                <a:gd name="T19" fmla="*/ 313 h 897"/>
                <a:gd name="T20" fmla="*/ 139 w 1107"/>
                <a:gd name="T21" fmla="*/ 281 h 897"/>
                <a:gd name="T22" fmla="*/ 79 w 1107"/>
                <a:gd name="T23" fmla="*/ 355 h 897"/>
                <a:gd name="T24" fmla="*/ 132 w 1107"/>
                <a:gd name="T25" fmla="*/ 446 h 897"/>
                <a:gd name="T26" fmla="*/ 83 w 1107"/>
                <a:gd name="T27" fmla="*/ 505 h 897"/>
                <a:gd name="T28" fmla="*/ 5 w 1107"/>
                <a:gd name="T29" fmla="*/ 590 h 897"/>
                <a:gd name="T30" fmla="*/ 132 w 1107"/>
                <a:gd name="T31" fmla="*/ 638 h 897"/>
                <a:gd name="T32" fmla="*/ 145 w 1107"/>
                <a:gd name="T33" fmla="*/ 669 h 897"/>
                <a:gd name="T34" fmla="*/ 110 w 1107"/>
                <a:gd name="T35" fmla="*/ 793 h 897"/>
                <a:gd name="T36" fmla="*/ 230 w 1107"/>
                <a:gd name="T37" fmla="*/ 781 h 897"/>
                <a:gd name="T38" fmla="*/ 306 w 1107"/>
                <a:gd name="T39" fmla="*/ 785 h 897"/>
                <a:gd name="T40" fmla="*/ 346 w 1107"/>
                <a:gd name="T41" fmla="*/ 878 h 897"/>
                <a:gd name="T42" fmla="*/ 440 w 1107"/>
                <a:gd name="T43" fmla="*/ 872 h 897"/>
                <a:gd name="T44" fmla="*/ 466 w 1107"/>
                <a:gd name="T45" fmla="*/ 764 h 897"/>
                <a:gd name="T46" fmla="*/ 539 w 1107"/>
                <a:gd name="T47" fmla="*/ 755 h 897"/>
                <a:gd name="T48" fmla="*/ 659 w 1107"/>
                <a:gd name="T49" fmla="*/ 743 h 897"/>
                <a:gd name="T50" fmla="*/ 263 w 1107"/>
                <a:gd name="T51" fmla="*/ 452 h 897"/>
                <a:gd name="T52" fmla="*/ 281 w 1107"/>
                <a:gd name="T53" fmla="*/ 633 h 897"/>
                <a:gd name="T54" fmla="*/ 1002 w 1107"/>
                <a:gd name="T55" fmla="*/ 332 h 897"/>
                <a:gd name="T56" fmla="*/ 1043 w 1107"/>
                <a:gd name="T57" fmla="*/ 304 h 897"/>
                <a:gd name="T58" fmla="*/ 1107 w 1107"/>
                <a:gd name="T59" fmla="*/ 266 h 897"/>
                <a:gd name="T60" fmla="*/ 1037 w 1107"/>
                <a:gd name="T61" fmla="*/ 213 h 897"/>
                <a:gd name="T62" fmla="*/ 1077 w 1107"/>
                <a:gd name="T63" fmla="*/ 138 h 897"/>
                <a:gd name="T64" fmla="*/ 1038 w 1107"/>
                <a:gd name="T65" fmla="*/ 83 h 897"/>
                <a:gd name="T66" fmla="*/ 956 w 1107"/>
                <a:gd name="T67" fmla="*/ 91 h 897"/>
                <a:gd name="T68" fmla="*/ 940 w 1107"/>
                <a:gd name="T69" fmla="*/ 7 h 897"/>
                <a:gd name="T70" fmla="*/ 872 w 1107"/>
                <a:gd name="T71" fmla="*/ 50 h 897"/>
                <a:gd name="T72" fmla="*/ 836 w 1107"/>
                <a:gd name="T73" fmla="*/ 74 h 897"/>
                <a:gd name="T74" fmla="*/ 778 w 1107"/>
                <a:gd name="T75" fmla="*/ 35 h 897"/>
                <a:gd name="T76" fmla="*/ 728 w 1107"/>
                <a:gd name="T77" fmla="*/ 70 h 897"/>
                <a:gd name="T78" fmla="*/ 744 w 1107"/>
                <a:gd name="T79" fmla="*/ 136 h 897"/>
                <a:gd name="T80" fmla="*/ 703 w 1107"/>
                <a:gd name="T81" fmla="*/ 164 h 897"/>
                <a:gd name="T82" fmla="*/ 640 w 1107"/>
                <a:gd name="T83" fmla="*/ 203 h 897"/>
                <a:gd name="T84" fmla="*/ 710 w 1107"/>
                <a:gd name="T85" fmla="*/ 255 h 897"/>
                <a:gd name="T86" fmla="*/ 712 w 1107"/>
                <a:gd name="T87" fmla="*/ 277 h 897"/>
                <a:gd name="T88" fmla="*/ 668 w 1107"/>
                <a:gd name="T89" fmla="*/ 347 h 897"/>
                <a:gd name="T90" fmla="*/ 745 w 1107"/>
                <a:gd name="T91" fmla="*/ 361 h 897"/>
                <a:gd name="T92" fmla="*/ 791 w 1107"/>
                <a:gd name="T93" fmla="*/ 377 h 897"/>
                <a:gd name="T94" fmla="*/ 799 w 1107"/>
                <a:gd name="T95" fmla="*/ 443 h 897"/>
                <a:gd name="T96" fmla="*/ 859 w 1107"/>
                <a:gd name="T97" fmla="*/ 456 h 897"/>
                <a:gd name="T98" fmla="*/ 894 w 1107"/>
                <a:gd name="T99" fmla="*/ 393 h 897"/>
                <a:gd name="T100" fmla="*/ 941 w 1107"/>
                <a:gd name="T101" fmla="*/ 401 h 897"/>
                <a:gd name="T102" fmla="*/ 1018 w 1107"/>
                <a:gd name="T103" fmla="*/ 415 h 897"/>
                <a:gd name="T104" fmla="*/ 825 w 1107"/>
                <a:gd name="T105" fmla="*/ 164 h 897"/>
                <a:gd name="T106" fmla="*/ 803 w 1107"/>
                <a:gd name="T107" fmla="*/ 279 h 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107" h="897">
                  <a:moveTo>
                    <a:pt x="654" y="716"/>
                  </a:moveTo>
                  <a:cubicBezTo>
                    <a:pt x="616" y="670"/>
                    <a:pt x="616" y="670"/>
                    <a:pt x="616" y="670"/>
                  </a:cubicBezTo>
                  <a:cubicBezTo>
                    <a:pt x="593" y="654"/>
                    <a:pt x="603" y="638"/>
                    <a:pt x="600" y="625"/>
                  </a:cubicBezTo>
                  <a:cubicBezTo>
                    <a:pt x="600" y="625"/>
                    <a:pt x="600" y="625"/>
                    <a:pt x="600" y="625"/>
                  </a:cubicBezTo>
                  <a:cubicBezTo>
                    <a:pt x="605" y="617"/>
                    <a:pt x="611" y="609"/>
                    <a:pt x="608" y="596"/>
                  </a:cubicBezTo>
                  <a:cubicBezTo>
                    <a:pt x="618" y="580"/>
                    <a:pt x="623" y="572"/>
                    <a:pt x="649" y="567"/>
                  </a:cubicBezTo>
                  <a:cubicBezTo>
                    <a:pt x="715" y="553"/>
                    <a:pt x="715" y="553"/>
                    <a:pt x="715" y="553"/>
                  </a:cubicBezTo>
                  <a:cubicBezTo>
                    <a:pt x="728" y="550"/>
                    <a:pt x="733" y="542"/>
                    <a:pt x="730" y="529"/>
                  </a:cubicBezTo>
                  <a:cubicBezTo>
                    <a:pt x="727" y="482"/>
                    <a:pt x="727" y="482"/>
                    <a:pt x="727" y="482"/>
                  </a:cubicBezTo>
                  <a:cubicBezTo>
                    <a:pt x="724" y="469"/>
                    <a:pt x="717" y="463"/>
                    <a:pt x="701" y="453"/>
                  </a:cubicBezTo>
                  <a:cubicBezTo>
                    <a:pt x="641" y="459"/>
                    <a:pt x="641" y="459"/>
                    <a:pt x="641" y="459"/>
                  </a:cubicBezTo>
                  <a:cubicBezTo>
                    <a:pt x="620" y="457"/>
                    <a:pt x="604" y="447"/>
                    <a:pt x="601" y="434"/>
                  </a:cubicBezTo>
                  <a:cubicBezTo>
                    <a:pt x="598" y="421"/>
                    <a:pt x="590" y="416"/>
                    <a:pt x="580" y="397"/>
                  </a:cubicBezTo>
                  <a:cubicBezTo>
                    <a:pt x="577" y="384"/>
                    <a:pt x="574" y="371"/>
                    <a:pt x="584" y="355"/>
                  </a:cubicBezTo>
                  <a:cubicBezTo>
                    <a:pt x="628" y="305"/>
                    <a:pt x="628" y="305"/>
                    <a:pt x="628" y="305"/>
                  </a:cubicBezTo>
                  <a:cubicBezTo>
                    <a:pt x="634" y="297"/>
                    <a:pt x="631" y="284"/>
                    <a:pt x="623" y="279"/>
                  </a:cubicBezTo>
                  <a:cubicBezTo>
                    <a:pt x="581" y="240"/>
                    <a:pt x="581" y="240"/>
                    <a:pt x="581" y="240"/>
                  </a:cubicBezTo>
                  <a:cubicBezTo>
                    <a:pt x="573" y="235"/>
                    <a:pt x="560" y="238"/>
                    <a:pt x="547" y="240"/>
                  </a:cubicBezTo>
                  <a:cubicBezTo>
                    <a:pt x="503" y="291"/>
                    <a:pt x="503" y="291"/>
                    <a:pt x="503" y="291"/>
                  </a:cubicBezTo>
                  <a:cubicBezTo>
                    <a:pt x="484" y="302"/>
                    <a:pt x="471" y="304"/>
                    <a:pt x="463" y="299"/>
                  </a:cubicBezTo>
                  <a:cubicBezTo>
                    <a:pt x="456" y="294"/>
                    <a:pt x="435" y="292"/>
                    <a:pt x="427" y="287"/>
                  </a:cubicBezTo>
                  <a:cubicBezTo>
                    <a:pt x="419" y="282"/>
                    <a:pt x="403" y="271"/>
                    <a:pt x="400" y="258"/>
                  </a:cubicBezTo>
                  <a:cubicBezTo>
                    <a:pt x="386" y="193"/>
                    <a:pt x="386" y="193"/>
                    <a:pt x="386" y="193"/>
                  </a:cubicBezTo>
                  <a:cubicBezTo>
                    <a:pt x="384" y="180"/>
                    <a:pt x="368" y="170"/>
                    <a:pt x="368" y="170"/>
                  </a:cubicBezTo>
                  <a:cubicBezTo>
                    <a:pt x="308" y="176"/>
                    <a:pt x="308" y="176"/>
                    <a:pt x="308" y="176"/>
                  </a:cubicBezTo>
                  <a:cubicBezTo>
                    <a:pt x="308" y="176"/>
                    <a:pt x="289" y="187"/>
                    <a:pt x="292" y="200"/>
                  </a:cubicBezTo>
                  <a:cubicBezTo>
                    <a:pt x="285" y="263"/>
                    <a:pt x="285" y="263"/>
                    <a:pt x="285" y="263"/>
                  </a:cubicBezTo>
                  <a:cubicBezTo>
                    <a:pt x="291" y="289"/>
                    <a:pt x="277" y="292"/>
                    <a:pt x="272" y="300"/>
                  </a:cubicBezTo>
                  <a:cubicBezTo>
                    <a:pt x="272" y="300"/>
                    <a:pt x="272" y="300"/>
                    <a:pt x="267" y="308"/>
                  </a:cubicBezTo>
                  <a:cubicBezTo>
                    <a:pt x="259" y="302"/>
                    <a:pt x="246" y="305"/>
                    <a:pt x="241" y="313"/>
                  </a:cubicBezTo>
                  <a:cubicBezTo>
                    <a:pt x="236" y="321"/>
                    <a:pt x="236" y="321"/>
                    <a:pt x="236" y="321"/>
                  </a:cubicBezTo>
                  <a:cubicBezTo>
                    <a:pt x="223" y="324"/>
                    <a:pt x="210" y="327"/>
                    <a:pt x="194" y="317"/>
                  </a:cubicBezTo>
                  <a:cubicBezTo>
                    <a:pt x="139" y="281"/>
                    <a:pt x="139" y="281"/>
                    <a:pt x="139" y="281"/>
                  </a:cubicBezTo>
                  <a:cubicBezTo>
                    <a:pt x="131" y="276"/>
                    <a:pt x="110" y="273"/>
                    <a:pt x="104" y="281"/>
                  </a:cubicBezTo>
                  <a:cubicBezTo>
                    <a:pt x="79" y="321"/>
                    <a:pt x="79" y="321"/>
                    <a:pt x="79" y="321"/>
                  </a:cubicBezTo>
                  <a:cubicBezTo>
                    <a:pt x="66" y="324"/>
                    <a:pt x="68" y="337"/>
                    <a:pt x="79" y="355"/>
                  </a:cubicBezTo>
                  <a:cubicBezTo>
                    <a:pt x="121" y="394"/>
                    <a:pt x="121" y="394"/>
                    <a:pt x="121" y="394"/>
                  </a:cubicBezTo>
                  <a:cubicBezTo>
                    <a:pt x="140" y="417"/>
                    <a:pt x="135" y="425"/>
                    <a:pt x="132" y="446"/>
                  </a:cubicBezTo>
                  <a:cubicBezTo>
                    <a:pt x="132" y="446"/>
                    <a:pt x="132" y="446"/>
                    <a:pt x="132" y="446"/>
                  </a:cubicBezTo>
                  <a:cubicBezTo>
                    <a:pt x="127" y="454"/>
                    <a:pt x="122" y="462"/>
                    <a:pt x="117" y="470"/>
                  </a:cubicBezTo>
                  <a:cubicBezTo>
                    <a:pt x="117" y="470"/>
                    <a:pt x="117" y="470"/>
                    <a:pt x="117" y="470"/>
                  </a:cubicBezTo>
                  <a:cubicBezTo>
                    <a:pt x="120" y="483"/>
                    <a:pt x="109" y="499"/>
                    <a:pt x="83" y="505"/>
                  </a:cubicBezTo>
                  <a:cubicBezTo>
                    <a:pt x="23" y="511"/>
                    <a:pt x="23" y="511"/>
                    <a:pt x="23" y="511"/>
                  </a:cubicBezTo>
                  <a:cubicBezTo>
                    <a:pt x="10" y="514"/>
                    <a:pt x="0" y="529"/>
                    <a:pt x="2" y="543"/>
                  </a:cubicBezTo>
                  <a:cubicBezTo>
                    <a:pt x="5" y="590"/>
                    <a:pt x="5" y="590"/>
                    <a:pt x="5" y="590"/>
                  </a:cubicBezTo>
                  <a:cubicBezTo>
                    <a:pt x="8" y="603"/>
                    <a:pt x="16" y="608"/>
                    <a:pt x="37" y="610"/>
                  </a:cubicBezTo>
                  <a:cubicBezTo>
                    <a:pt x="92" y="612"/>
                    <a:pt x="92" y="612"/>
                    <a:pt x="92" y="612"/>
                  </a:cubicBezTo>
                  <a:cubicBezTo>
                    <a:pt x="113" y="614"/>
                    <a:pt x="129" y="625"/>
                    <a:pt x="132" y="638"/>
                  </a:cubicBezTo>
                  <a:cubicBezTo>
                    <a:pt x="132" y="638"/>
                    <a:pt x="132" y="638"/>
                    <a:pt x="132" y="638"/>
                  </a:cubicBezTo>
                  <a:cubicBezTo>
                    <a:pt x="140" y="643"/>
                    <a:pt x="142" y="656"/>
                    <a:pt x="150" y="661"/>
                  </a:cubicBezTo>
                  <a:cubicBezTo>
                    <a:pt x="145" y="669"/>
                    <a:pt x="145" y="669"/>
                    <a:pt x="145" y="669"/>
                  </a:cubicBezTo>
                  <a:cubicBezTo>
                    <a:pt x="153" y="674"/>
                    <a:pt x="156" y="687"/>
                    <a:pt x="140" y="711"/>
                  </a:cubicBezTo>
                  <a:cubicBezTo>
                    <a:pt x="109" y="759"/>
                    <a:pt x="109" y="759"/>
                    <a:pt x="109" y="759"/>
                  </a:cubicBezTo>
                  <a:cubicBezTo>
                    <a:pt x="99" y="775"/>
                    <a:pt x="102" y="788"/>
                    <a:pt x="110" y="793"/>
                  </a:cubicBezTo>
                  <a:cubicBezTo>
                    <a:pt x="152" y="832"/>
                    <a:pt x="152" y="832"/>
                    <a:pt x="152" y="832"/>
                  </a:cubicBezTo>
                  <a:cubicBezTo>
                    <a:pt x="160" y="837"/>
                    <a:pt x="173" y="834"/>
                    <a:pt x="178" y="826"/>
                  </a:cubicBezTo>
                  <a:cubicBezTo>
                    <a:pt x="230" y="781"/>
                    <a:pt x="230" y="781"/>
                    <a:pt x="230" y="781"/>
                  </a:cubicBezTo>
                  <a:cubicBezTo>
                    <a:pt x="248" y="770"/>
                    <a:pt x="261" y="767"/>
                    <a:pt x="269" y="772"/>
                  </a:cubicBezTo>
                  <a:cubicBezTo>
                    <a:pt x="269" y="772"/>
                    <a:pt x="269" y="772"/>
                    <a:pt x="269" y="772"/>
                  </a:cubicBezTo>
                  <a:cubicBezTo>
                    <a:pt x="282" y="769"/>
                    <a:pt x="298" y="779"/>
                    <a:pt x="306" y="785"/>
                  </a:cubicBezTo>
                  <a:cubicBezTo>
                    <a:pt x="306" y="785"/>
                    <a:pt x="306" y="785"/>
                    <a:pt x="306" y="785"/>
                  </a:cubicBezTo>
                  <a:cubicBezTo>
                    <a:pt x="319" y="782"/>
                    <a:pt x="327" y="787"/>
                    <a:pt x="332" y="813"/>
                  </a:cubicBezTo>
                  <a:cubicBezTo>
                    <a:pt x="346" y="878"/>
                    <a:pt x="346" y="878"/>
                    <a:pt x="346" y="878"/>
                  </a:cubicBezTo>
                  <a:cubicBezTo>
                    <a:pt x="349" y="892"/>
                    <a:pt x="357" y="897"/>
                    <a:pt x="370" y="894"/>
                  </a:cubicBezTo>
                  <a:cubicBezTo>
                    <a:pt x="425" y="896"/>
                    <a:pt x="425" y="896"/>
                    <a:pt x="425" y="896"/>
                  </a:cubicBezTo>
                  <a:cubicBezTo>
                    <a:pt x="430" y="888"/>
                    <a:pt x="443" y="885"/>
                    <a:pt x="440" y="872"/>
                  </a:cubicBezTo>
                  <a:cubicBezTo>
                    <a:pt x="440" y="804"/>
                    <a:pt x="440" y="804"/>
                    <a:pt x="440" y="804"/>
                  </a:cubicBezTo>
                  <a:cubicBezTo>
                    <a:pt x="442" y="783"/>
                    <a:pt x="460" y="772"/>
                    <a:pt x="466" y="764"/>
                  </a:cubicBezTo>
                  <a:cubicBezTo>
                    <a:pt x="466" y="764"/>
                    <a:pt x="466" y="764"/>
                    <a:pt x="466" y="764"/>
                  </a:cubicBezTo>
                  <a:cubicBezTo>
                    <a:pt x="479" y="761"/>
                    <a:pt x="492" y="758"/>
                    <a:pt x="497" y="750"/>
                  </a:cubicBezTo>
                  <a:cubicBezTo>
                    <a:pt x="497" y="750"/>
                    <a:pt x="497" y="750"/>
                    <a:pt x="497" y="750"/>
                  </a:cubicBezTo>
                  <a:cubicBezTo>
                    <a:pt x="510" y="747"/>
                    <a:pt x="523" y="745"/>
                    <a:pt x="539" y="755"/>
                  </a:cubicBezTo>
                  <a:cubicBezTo>
                    <a:pt x="594" y="791"/>
                    <a:pt x="594" y="791"/>
                    <a:pt x="594" y="791"/>
                  </a:cubicBezTo>
                  <a:cubicBezTo>
                    <a:pt x="602" y="796"/>
                    <a:pt x="623" y="798"/>
                    <a:pt x="628" y="790"/>
                  </a:cubicBezTo>
                  <a:cubicBezTo>
                    <a:pt x="659" y="743"/>
                    <a:pt x="659" y="743"/>
                    <a:pt x="659" y="743"/>
                  </a:cubicBezTo>
                  <a:cubicBezTo>
                    <a:pt x="659" y="743"/>
                    <a:pt x="669" y="727"/>
                    <a:pt x="654" y="716"/>
                  </a:cubicBezTo>
                  <a:close/>
                  <a:moveTo>
                    <a:pt x="281" y="633"/>
                  </a:moveTo>
                  <a:cubicBezTo>
                    <a:pt x="223" y="584"/>
                    <a:pt x="219" y="502"/>
                    <a:pt x="263" y="452"/>
                  </a:cubicBezTo>
                  <a:cubicBezTo>
                    <a:pt x="313" y="393"/>
                    <a:pt x="399" y="382"/>
                    <a:pt x="457" y="431"/>
                  </a:cubicBezTo>
                  <a:cubicBezTo>
                    <a:pt x="507" y="475"/>
                    <a:pt x="518" y="561"/>
                    <a:pt x="469" y="619"/>
                  </a:cubicBezTo>
                  <a:cubicBezTo>
                    <a:pt x="420" y="678"/>
                    <a:pt x="339" y="682"/>
                    <a:pt x="281" y="633"/>
                  </a:cubicBezTo>
                  <a:close/>
                  <a:moveTo>
                    <a:pt x="1019" y="398"/>
                  </a:moveTo>
                  <a:cubicBezTo>
                    <a:pt x="1004" y="362"/>
                    <a:pt x="1004" y="362"/>
                    <a:pt x="1004" y="362"/>
                  </a:cubicBezTo>
                  <a:cubicBezTo>
                    <a:pt x="992" y="348"/>
                    <a:pt x="1002" y="340"/>
                    <a:pt x="1002" y="332"/>
                  </a:cubicBezTo>
                  <a:cubicBezTo>
                    <a:pt x="1002" y="332"/>
                    <a:pt x="1002" y="332"/>
                    <a:pt x="1002" y="332"/>
                  </a:cubicBezTo>
                  <a:cubicBezTo>
                    <a:pt x="1007" y="328"/>
                    <a:pt x="1011" y="324"/>
                    <a:pt x="1012" y="315"/>
                  </a:cubicBezTo>
                  <a:cubicBezTo>
                    <a:pt x="1021" y="307"/>
                    <a:pt x="1026" y="303"/>
                    <a:pt x="1043" y="304"/>
                  </a:cubicBezTo>
                  <a:cubicBezTo>
                    <a:pt x="1086" y="307"/>
                    <a:pt x="1086" y="307"/>
                    <a:pt x="1086" y="307"/>
                  </a:cubicBezTo>
                  <a:cubicBezTo>
                    <a:pt x="1095" y="308"/>
                    <a:pt x="1099" y="304"/>
                    <a:pt x="1100" y="295"/>
                  </a:cubicBezTo>
                  <a:cubicBezTo>
                    <a:pt x="1107" y="266"/>
                    <a:pt x="1107" y="266"/>
                    <a:pt x="1107" y="266"/>
                  </a:cubicBezTo>
                  <a:cubicBezTo>
                    <a:pt x="1107" y="257"/>
                    <a:pt x="1103" y="252"/>
                    <a:pt x="1095" y="243"/>
                  </a:cubicBezTo>
                  <a:cubicBezTo>
                    <a:pt x="1057" y="236"/>
                    <a:pt x="1057" y="236"/>
                    <a:pt x="1057" y="236"/>
                  </a:cubicBezTo>
                  <a:cubicBezTo>
                    <a:pt x="1044" y="231"/>
                    <a:pt x="1036" y="222"/>
                    <a:pt x="1037" y="213"/>
                  </a:cubicBezTo>
                  <a:cubicBezTo>
                    <a:pt x="1038" y="205"/>
                    <a:pt x="1034" y="200"/>
                    <a:pt x="1030" y="187"/>
                  </a:cubicBezTo>
                  <a:cubicBezTo>
                    <a:pt x="1031" y="178"/>
                    <a:pt x="1032" y="170"/>
                    <a:pt x="1041" y="162"/>
                  </a:cubicBezTo>
                  <a:cubicBezTo>
                    <a:pt x="1077" y="138"/>
                    <a:pt x="1077" y="138"/>
                    <a:pt x="1077" y="138"/>
                  </a:cubicBezTo>
                  <a:cubicBezTo>
                    <a:pt x="1082" y="134"/>
                    <a:pt x="1083" y="126"/>
                    <a:pt x="1079" y="121"/>
                  </a:cubicBezTo>
                  <a:cubicBezTo>
                    <a:pt x="1059" y="89"/>
                    <a:pt x="1059" y="89"/>
                    <a:pt x="1059" y="89"/>
                  </a:cubicBezTo>
                  <a:cubicBezTo>
                    <a:pt x="1055" y="85"/>
                    <a:pt x="1047" y="84"/>
                    <a:pt x="1038" y="83"/>
                  </a:cubicBezTo>
                  <a:cubicBezTo>
                    <a:pt x="1002" y="107"/>
                    <a:pt x="1002" y="107"/>
                    <a:pt x="1002" y="107"/>
                  </a:cubicBezTo>
                  <a:cubicBezTo>
                    <a:pt x="989" y="110"/>
                    <a:pt x="980" y="110"/>
                    <a:pt x="976" y="105"/>
                  </a:cubicBezTo>
                  <a:cubicBezTo>
                    <a:pt x="972" y="100"/>
                    <a:pt x="960" y="95"/>
                    <a:pt x="956" y="91"/>
                  </a:cubicBezTo>
                  <a:cubicBezTo>
                    <a:pt x="952" y="86"/>
                    <a:pt x="944" y="77"/>
                    <a:pt x="944" y="68"/>
                  </a:cubicBezTo>
                  <a:cubicBezTo>
                    <a:pt x="948" y="25"/>
                    <a:pt x="948" y="25"/>
                    <a:pt x="948" y="25"/>
                  </a:cubicBezTo>
                  <a:cubicBezTo>
                    <a:pt x="948" y="17"/>
                    <a:pt x="940" y="7"/>
                    <a:pt x="940" y="7"/>
                  </a:cubicBezTo>
                  <a:cubicBezTo>
                    <a:pt x="902" y="0"/>
                    <a:pt x="902" y="0"/>
                    <a:pt x="902" y="0"/>
                  </a:cubicBezTo>
                  <a:cubicBezTo>
                    <a:pt x="902" y="0"/>
                    <a:pt x="889" y="4"/>
                    <a:pt x="888" y="12"/>
                  </a:cubicBezTo>
                  <a:cubicBezTo>
                    <a:pt x="872" y="50"/>
                    <a:pt x="872" y="50"/>
                    <a:pt x="872" y="50"/>
                  </a:cubicBezTo>
                  <a:cubicBezTo>
                    <a:pt x="871" y="67"/>
                    <a:pt x="862" y="67"/>
                    <a:pt x="858" y="71"/>
                  </a:cubicBezTo>
                  <a:cubicBezTo>
                    <a:pt x="858" y="71"/>
                    <a:pt x="858" y="71"/>
                    <a:pt x="853" y="75"/>
                  </a:cubicBezTo>
                  <a:cubicBezTo>
                    <a:pt x="849" y="70"/>
                    <a:pt x="840" y="70"/>
                    <a:pt x="836" y="74"/>
                  </a:cubicBezTo>
                  <a:cubicBezTo>
                    <a:pt x="831" y="78"/>
                    <a:pt x="831" y="78"/>
                    <a:pt x="831" y="78"/>
                  </a:cubicBezTo>
                  <a:cubicBezTo>
                    <a:pt x="822" y="77"/>
                    <a:pt x="814" y="76"/>
                    <a:pt x="806" y="67"/>
                  </a:cubicBezTo>
                  <a:cubicBezTo>
                    <a:pt x="778" y="35"/>
                    <a:pt x="778" y="35"/>
                    <a:pt x="778" y="35"/>
                  </a:cubicBezTo>
                  <a:cubicBezTo>
                    <a:pt x="774" y="30"/>
                    <a:pt x="762" y="25"/>
                    <a:pt x="757" y="29"/>
                  </a:cubicBezTo>
                  <a:cubicBezTo>
                    <a:pt x="734" y="49"/>
                    <a:pt x="734" y="49"/>
                    <a:pt x="734" y="49"/>
                  </a:cubicBezTo>
                  <a:cubicBezTo>
                    <a:pt x="725" y="49"/>
                    <a:pt x="725" y="57"/>
                    <a:pt x="728" y="70"/>
                  </a:cubicBezTo>
                  <a:cubicBezTo>
                    <a:pt x="747" y="102"/>
                    <a:pt x="747" y="102"/>
                    <a:pt x="747" y="102"/>
                  </a:cubicBezTo>
                  <a:cubicBezTo>
                    <a:pt x="754" y="120"/>
                    <a:pt x="750" y="124"/>
                    <a:pt x="744" y="136"/>
                  </a:cubicBezTo>
                  <a:cubicBezTo>
                    <a:pt x="744" y="136"/>
                    <a:pt x="744" y="136"/>
                    <a:pt x="744" y="136"/>
                  </a:cubicBezTo>
                  <a:cubicBezTo>
                    <a:pt x="740" y="140"/>
                    <a:pt x="735" y="144"/>
                    <a:pt x="731" y="148"/>
                  </a:cubicBezTo>
                  <a:cubicBezTo>
                    <a:pt x="731" y="148"/>
                    <a:pt x="731" y="148"/>
                    <a:pt x="731" y="148"/>
                  </a:cubicBezTo>
                  <a:cubicBezTo>
                    <a:pt x="730" y="157"/>
                    <a:pt x="721" y="165"/>
                    <a:pt x="703" y="164"/>
                  </a:cubicBezTo>
                  <a:cubicBezTo>
                    <a:pt x="665" y="157"/>
                    <a:pt x="665" y="157"/>
                    <a:pt x="665" y="157"/>
                  </a:cubicBezTo>
                  <a:cubicBezTo>
                    <a:pt x="656" y="156"/>
                    <a:pt x="647" y="164"/>
                    <a:pt x="647" y="173"/>
                  </a:cubicBezTo>
                  <a:cubicBezTo>
                    <a:pt x="640" y="203"/>
                    <a:pt x="640" y="203"/>
                    <a:pt x="640" y="203"/>
                  </a:cubicBezTo>
                  <a:cubicBezTo>
                    <a:pt x="639" y="211"/>
                    <a:pt x="643" y="216"/>
                    <a:pt x="656" y="221"/>
                  </a:cubicBezTo>
                  <a:cubicBezTo>
                    <a:pt x="690" y="232"/>
                    <a:pt x="690" y="232"/>
                    <a:pt x="690" y="232"/>
                  </a:cubicBezTo>
                  <a:cubicBezTo>
                    <a:pt x="702" y="237"/>
                    <a:pt x="710" y="246"/>
                    <a:pt x="710" y="255"/>
                  </a:cubicBezTo>
                  <a:cubicBezTo>
                    <a:pt x="710" y="255"/>
                    <a:pt x="710" y="255"/>
                    <a:pt x="710" y="255"/>
                  </a:cubicBezTo>
                  <a:cubicBezTo>
                    <a:pt x="714" y="260"/>
                    <a:pt x="713" y="268"/>
                    <a:pt x="717" y="273"/>
                  </a:cubicBezTo>
                  <a:cubicBezTo>
                    <a:pt x="712" y="277"/>
                    <a:pt x="712" y="277"/>
                    <a:pt x="712" y="277"/>
                  </a:cubicBezTo>
                  <a:cubicBezTo>
                    <a:pt x="716" y="281"/>
                    <a:pt x="716" y="290"/>
                    <a:pt x="702" y="302"/>
                  </a:cubicBezTo>
                  <a:cubicBezTo>
                    <a:pt x="674" y="326"/>
                    <a:pt x="674" y="326"/>
                    <a:pt x="674" y="326"/>
                  </a:cubicBezTo>
                  <a:cubicBezTo>
                    <a:pt x="665" y="334"/>
                    <a:pt x="664" y="343"/>
                    <a:pt x="668" y="347"/>
                  </a:cubicBezTo>
                  <a:cubicBezTo>
                    <a:pt x="687" y="379"/>
                    <a:pt x="687" y="379"/>
                    <a:pt x="687" y="379"/>
                  </a:cubicBezTo>
                  <a:cubicBezTo>
                    <a:pt x="691" y="383"/>
                    <a:pt x="700" y="384"/>
                    <a:pt x="704" y="380"/>
                  </a:cubicBezTo>
                  <a:cubicBezTo>
                    <a:pt x="745" y="361"/>
                    <a:pt x="745" y="361"/>
                    <a:pt x="745" y="361"/>
                  </a:cubicBezTo>
                  <a:cubicBezTo>
                    <a:pt x="758" y="358"/>
                    <a:pt x="767" y="358"/>
                    <a:pt x="771" y="363"/>
                  </a:cubicBezTo>
                  <a:cubicBezTo>
                    <a:pt x="771" y="363"/>
                    <a:pt x="771" y="363"/>
                    <a:pt x="771" y="363"/>
                  </a:cubicBezTo>
                  <a:cubicBezTo>
                    <a:pt x="779" y="364"/>
                    <a:pt x="787" y="373"/>
                    <a:pt x="791" y="377"/>
                  </a:cubicBezTo>
                  <a:cubicBezTo>
                    <a:pt x="791" y="377"/>
                    <a:pt x="791" y="377"/>
                    <a:pt x="791" y="377"/>
                  </a:cubicBezTo>
                  <a:cubicBezTo>
                    <a:pt x="800" y="378"/>
                    <a:pt x="804" y="383"/>
                    <a:pt x="802" y="400"/>
                  </a:cubicBezTo>
                  <a:cubicBezTo>
                    <a:pt x="799" y="443"/>
                    <a:pt x="799" y="443"/>
                    <a:pt x="799" y="443"/>
                  </a:cubicBezTo>
                  <a:cubicBezTo>
                    <a:pt x="798" y="451"/>
                    <a:pt x="802" y="456"/>
                    <a:pt x="811" y="457"/>
                  </a:cubicBezTo>
                  <a:cubicBezTo>
                    <a:pt x="845" y="468"/>
                    <a:pt x="845" y="468"/>
                    <a:pt x="845" y="468"/>
                  </a:cubicBezTo>
                  <a:cubicBezTo>
                    <a:pt x="849" y="464"/>
                    <a:pt x="858" y="464"/>
                    <a:pt x="859" y="456"/>
                  </a:cubicBezTo>
                  <a:cubicBezTo>
                    <a:pt x="871" y="413"/>
                    <a:pt x="871" y="413"/>
                    <a:pt x="871" y="413"/>
                  </a:cubicBezTo>
                  <a:cubicBezTo>
                    <a:pt x="876" y="401"/>
                    <a:pt x="889" y="397"/>
                    <a:pt x="894" y="393"/>
                  </a:cubicBezTo>
                  <a:cubicBezTo>
                    <a:pt x="894" y="393"/>
                    <a:pt x="894" y="393"/>
                    <a:pt x="894" y="393"/>
                  </a:cubicBezTo>
                  <a:cubicBezTo>
                    <a:pt x="902" y="394"/>
                    <a:pt x="911" y="395"/>
                    <a:pt x="916" y="391"/>
                  </a:cubicBezTo>
                  <a:cubicBezTo>
                    <a:pt x="916" y="391"/>
                    <a:pt x="916" y="391"/>
                    <a:pt x="916" y="391"/>
                  </a:cubicBezTo>
                  <a:cubicBezTo>
                    <a:pt x="924" y="391"/>
                    <a:pt x="933" y="392"/>
                    <a:pt x="941" y="401"/>
                  </a:cubicBezTo>
                  <a:cubicBezTo>
                    <a:pt x="969" y="433"/>
                    <a:pt x="969" y="433"/>
                    <a:pt x="969" y="433"/>
                  </a:cubicBezTo>
                  <a:cubicBezTo>
                    <a:pt x="973" y="438"/>
                    <a:pt x="985" y="443"/>
                    <a:pt x="990" y="439"/>
                  </a:cubicBezTo>
                  <a:cubicBezTo>
                    <a:pt x="1018" y="415"/>
                    <a:pt x="1018" y="415"/>
                    <a:pt x="1018" y="415"/>
                  </a:cubicBezTo>
                  <a:cubicBezTo>
                    <a:pt x="1018" y="415"/>
                    <a:pt x="1027" y="407"/>
                    <a:pt x="1019" y="398"/>
                  </a:cubicBezTo>
                  <a:close/>
                  <a:moveTo>
                    <a:pt x="803" y="279"/>
                  </a:moveTo>
                  <a:cubicBezTo>
                    <a:pt x="776" y="238"/>
                    <a:pt x="788" y="187"/>
                    <a:pt x="825" y="164"/>
                  </a:cubicBezTo>
                  <a:cubicBezTo>
                    <a:pt x="866" y="136"/>
                    <a:pt x="921" y="144"/>
                    <a:pt x="948" y="185"/>
                  </a:cubicBezTo>
                  <a:cubicBezTo>
                    <a:pt x="972" y="221"/>
                    <a:pt x="963" y="277"/>
                    <a:pt x="922" y="304"/>
                  </a:cubicBezTo>
                  <a:cubicBezTo>
                    <a:pt x="881" y="332"/>
                    <a:pt x="830" y="320"/>
                    <a:pt x="803" y="279"/>
                  </a:cubicBezTo>
                  <a:close/>
                </a:path>
              </a:pathLst>
            </a:custGeom>
            <a:solidFill>
              <a:schemeClr val="tx1"/>
            </a:solidFill>
            <a:ln>
              <a:noFill/>
            </a:ln>
          </p:spPr>
          <p:txBody>
            <a:bodyPr vert="horz" wrap="square" lIns="68574" tIns="34287" rIns="68574" bIns="34287"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17346"/>
                </a:solidFill>
                <a:effectLst/>
                <a:uLnTx/>
                <a:uFillTx/>
                <a:latin typeface="Segoe UI"/>
                <a:ea typeface="+mn-ea"/>
                <a:cs typeface="+mn-cs"/>
              </a:endParaRPr>
            </a:p>
          </p:txBody>
        </p:sp>
        <p:sp>
          <p:nvSpPr>
            <p:cNvPr id="104" name="Freeform 103"/>
            <p:cNvSpPr>
              <a:spLocks noChangeAspect="1"/>
            </p:cNvSpPr>
            <p:nvPr/>
          </p:nvSpPr>
          <p:spPr bwMode="black">
            <a:xfrm>
              <a:off x="776985" y="4213905"/>
              <a:ext cx="342871" cy="335728"/>
            </a:xfrm>
            <a:custGeom>
              <a:avLst/>
              <a:gdLst>
                <a:gd name="connsiteX0" fmla="*/ 3713863 w 4893730"/>
                <a:gd name="connsiteY0" fmla="*/ 2130808 h 4791777"/>
                <a:gd name="connsiteX1" fmla="*/ 4426142 w 4893730"/>
                <a:gd name="connsiteY1" fmla="*/ 2130808 h 4791777"/>
                <a:gd name="connsiteX2" fmla="*/ 4598071 w 4893730"/>
                <a:gd name="connsiteY2" fmla="*/ 2301547 h 4791777"/>
                <a:gd name="connsiteX3" fmla="*/ 4598071 w 4893730"/>
                <a:gd name="connsiteY3" fmla="*/ 3886978 h 4791777"/>
                <a:gd name="connsiteX4" fmla="*/ 4426142 w 4893730"/>
                <a:gd name="connsiteY4" fmla="*/ 4057717 h 4791777"/>
                <a:gd name="connsiteX5" fmla="*/ 3713863 w 4893730"/>
                <a:gd name="connsiteY5" fmla="*/ 4057717 h 4791777"/>
                <a:gd name="connsiteX6" fmla="*/ 3517372 w 4893730"/>
                <a:gd name="connsiteY6" fmla="*/ 3886978 h 4791777"/>
                <a:gd name="connsiteX7" fmla="*/ 3517372 w 4893730"/>
                <a:gd name="connsiteY7" fmla="*/ 2301547 h 4791777"/>
                <a:gd name="connsiteX8" fmla="*/ 3713863 w 4893730"/>
                <a:gd name="connsiteY8" fmla="*/ 2130808 h 4791777"/>
                <a:gd name="connsiteX9" fmla="*/ 904368 w 4893730"/>
                <a:gd name="connsiteY9" fmla="*/ 1223432 h 4791777"/>
                <a:gd name="connsiteX10" fmla="*/ 1609930 w 4893730"/>
                <a:gd name="connsiteY10" fmla="*/ 1223432 h 4791777"/>
                <a:gd name="connsiteX11" fmla="*/ 1804567 w 4893730"/>
                <a:gd name="connsiteY11" fmla="*/ 1394467 h 4791777"/>
                <a:gd name="connsiteX12" fmla="*/ 1804567 w 4893730"/>
                <a:gd name="connsiteY12" fmla="*/ 3886683 h 4791777"/>
                <a:gd name="connsiteX13" fmla="*/ 1609930 w 4893730"/>
                <a:gd name="connsiteY13" fmla="*/ 4057717 h 4791777"/>
                <a:gd name="connsiteX14" fmla="*/ 904368 w 4893730"/>
                <a:gd name="connsiteY14" fmla="*/ 4057717 h 4791777"/>
                <a:gd name="connsiteX15" fmla="*/ 734060 w 4893730"/>
                <a:gd name="connsiteY15" fmla="*/ 3886683 h 4791777"/>
                <a:gd name="connsiteX16" fmla="*/ 734060 w 4893730"/>
                <a:gd name="connsiteY16" fmla="*/ 1394467 h 4791777"/>
                <a:gd name="connsiteX17" fmla="*/ 904368 w 4893730"/>
                <a:gd name="connsiteY17" fmla="*/ 1223432 h 4791777"/>
                <a:gd name="connsiteX18" fmla="*/ 2325453 w 4893730"/>
                <a:gd name="connsiteY18" fmla="*/ 316050 h 4791777"/>
                <a:gd name="connsiteX19" fmla="*/ 3031014 w 4893730"/>
                <a:gd name="connsiteY19" fmla="*/ 316050 h 4791777"/>
                <a:gd name="connsiteX20" fmla="*/ 3201322 w 4893730"/>
                <a:gd name="connsiteY20" fmla="*/ 487238 h 4791777"/>
                <a:gd name="connsiteX21" fmla="*/ 3201322 w 4893730"/>
                <a:gd name="connsiteY21" fmla="*/ 3886530 h 4791777"/>
                <a:gd name="connsiteX22" fmla="*/ 3031014 w 4893730"/>
                <a:gd name="connsiteY22" fmla="*/ 4057717 h 4791777"/>
                <a:gd name="connsiteX23" fmla="*/ 2325453 w 4893730"/>
                <a:gd name="connsiteY23" fmla="*/ 4057717 h 4791777"/>
                <a:gd name="connsiteX24" fmla="*/ 2130815 w 4893730"/>
                <a:gd name="connsiteY24" fmla="*/ 3886530 h 4791777"/>
                <a:gd name="connsiteX25" fmla="*/ 2130815 w 4893730"/>
                <a:gd name="connsiteY25" fmla="*/ 487238 h 4791777"/>
                <a:gd name="connsiteX26" fmla="*/ 2325453 w 4893730"/>
                <a:gd name="connsiteY26" fmla="*/ 316050 h 4791777"/>
                <a:gd name="connsiteX27" fmla="*/ 269155 w 4893730"/>
                <a:gd name="connsiteY27" fmla="*/ 0 h 4791777"/>
                <a:gd name="connsiteX28" fmla="*/ 538311 w 4893730"/>
                <a:gd name="connsiteY28" fmla="*/ 268927 h 4791777"/>
                <a:gd name="connsiteX29" fmla="*/ 538311 w 4893730"/>
                <a:gd name="connsiteY29" fmla="*/ 4253925 h 4791777"/>
                <a:gd name="connsiteX30" fmla="*/ 4624575 w 4893730"/>
                <a:gd name="connsiteY30" fmla="*/ 4253925 h 4791777"/>
                <a:gd name="connsiteX31" fmla="*/ 4893730 w 4893730"/>
                <a:gd name="connsiteY31" fmla="*/ 4522851 h 4791777"/>
                <a:gd name="connsiteX32" fmla="*/ 4624575 w 4893730"/>
                <a:gd name="connsiteY32" fmla="*/ 4791777 h 4791777"/>
                <a:gd name="connsiteX33" fmla="*/ 269155 w 4893730"/>
                <a:gd name="connsiteY33" fmla="*/ 4791777 h 4791777"/>
                <a:gd name="connsiteX34" fmla="*/ 0 w 4893730"/>
                <a:gd name="connsiteY34" fmla="*/ 4522851 h 4791777"/>
                <a:gd name="connsiteX35" fmla="*/ 0 w 4893730"/>
                <a:gd name="connsiteY35" fmla="*/ 268927 h 4791777"/>
                <a:gd name="connsiteX36" fmla="*/ 269155 w 4893730"/>
                <a:gd name="connsiteY36" fmla="*/ 0 h 4791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4893730" h="4791777">
                  <a:moveTo>
                    <a:pt x="3713863" y="2130808"/>
                  </a:moveTo>
                  <a:cubicBezTo>
                    <a:pt x="3713863" y="2130808"/>
                    <a:pt x="3713863" y="2130808"/>
                    <a:pt x="4426142" y="2130808"/>
                  </a:cubicBezTo>
                  <a:cubicBezTo>
                    <a:pt x="4524387" y="2130808"/>
                    <a:pt x="4598071" y="2203982"/>
                    <a:pt x="4598071" y="2301547"/>
                  </a:cubicBezTo>
                  <a:cubicBezTo>
                    <a:pt x="4598071" y="2301547"/>
                    <a:pt x="4598071" y="2301547"/>
                    <a:pt x="4598071" y="3886978"/>
                  </a:cubicBezTo>
                  <a:cubicBezTo>
                    <a:pt x="4598071" y="3984543"/>
                    <a:pt x="4524387" y="4057717"/>
                    <a:pt x="4426142" y="4057717"/>
                  </a:cubicBezTo>
                  <a:cubicBezTo>
                    <a:pt x="4426142" y="4057717"/>
                    <a:pt x="4426142" y="4057717"/>
                    <a:pt x="3713863" y="4057717"/>
                  </a:cubicBezTo>
                  <a:cubicBezTo>
                    <a:pt x="3615618" y="4057717"/>
                    <a:pt x="3517372" y="3984543"/>
                    <a:pt x="3517372" y="3886978"/>
                  </a:cubicBezTo>
                  <a:cubicBezTo>
                    <a:pt x="3517372" y="3886978"/>
                    <a:pt x="3517372" y="3886978"/>
                    <a:pt x="3517372" y="2301547"/>
                  </a:cubicBezTo>
                  <a:cubicBezTo>
                    <a:pt x="3517372" y="2203982"/>
                    <a:pt x="3615618" y="2130808"/>
                    <a:pt x="3713863" y="2130808"/>
                  </a:cubicBezTo>
                  <a:close/>
                  <a:moveTo>
                    <a:pt x="904368" y="1223432"/>
                  </a:moveTo>
                  <a:cubicBezTo>
                    <a:pt x="904368" y="1223432"/>
                    <a:pt x="904368" y="1223432"/>
                    <a:pt x="1609930" y="1223432"/>
                  </a:cubicBezTo>
                  <a:cubicBezTo>
                    <a:pt x="1731578" y="1223432"/>
                    <a:pt x="1804567" y="1296733"/>
                    <a:pt x="1804567" y="1394467"/>
                  </a:cubicBezTo>
                  <a:cubicBezTo>
                    <a:pt x="1804567" y="1394467"/>
                    <a:pt x="1804567" y="1394467"/>
                    <a:pt x="1804567" y="3886683"/>
                  </a:cubicBezTo>
                  <a:cubicBezTo>
                    <a:pt x="1804567" y="3984417"/>
                    <a:pt x="1731578" y="4057717"/>
                    <a:pt x="1609930" y="4057717"/>
                  </a:cubicBezTo>
                  <a:cubicBezTo>
                    <a:pt x="1609930" y="4057717"/>
                    <a:pt x="1609930" y="4057717"/>
                    <a:pt x="904368" y="4057717"/>
                  </a:cubicBezTo>
                  <a:cubicBezTo>
                    <a:pt x="807049" y="4057717"/>
                    <a:pt x="734060" y="3984417"/>
                    <a:pt x="734060" y="3886683"/>
                  </a:cubicBezTo>
                  <a:cubicBezTo>
                    <a:pt x="734060" y="3886683"/>
                    <a:pt x="734060" y="3886683"/>
                    <a:pt x="734060" y="1394467"/>
                  </a:cubicBezTo>
                  <a:cubicBezTo>
                    <a:pt x="734060" y="1296733"/>
                    <a:pt x="807049" y="1223432"/>
                    <a:pt x="904368" y="1223432"/>
                  </a:cubicBezTo>
                  <a:close/>
                  <a:moveTo>
                    <a:pt x="2325453" y="316050"/>
                  </a:moveTo>
                  <a:cubicBezTo>
                    <a:pt x="2325453" y="316050"/>
                    <a:pt x="2325453" y="316050"/>
                    <a:pt x="3031014" y="316050"/>
                  </a:cubicBezTo>
                  <a:cubicBezTo>
                    <a:pt x="3128333" y="316050"/>
                    <a:pt x="3201322" y="389416"/>
                    <a:pt x="3201322" y="487238"/>
                  </a:cubicBezTo>
                  <a:cubicBezTo>
                    <a:pt x="3201322" y="487238"/>
                    <a:pt x="3201322" y="487238"/>
                    <a:pt x="3201322" y="3886530"/>
                  </a:cubicBezTo>
                  <a:cubicBezTo>
                    <a:pt x="3201322" y="3984351"/>
                    <a:pt x="3128333" y="4057717"/>
                    <a:pt x="3031014" y="4057717"/>
                  </a:cubicBezTo>
                  <a:cubicBezTo>
                    <a:pt x="3031014" y="4057717"/>
                    <a:pt x="3031014" y="4057717"/>
                    <a:pt x="2325453" y="4057717"/>
                  </a:cubicBezTo>
                  <a:cubicBezTo>
                    <a:pt x="2203804" y="4057717"/>
                    <a:pt x="2130815" y="3984351"/>
                    <a:pt x="2130815" y="3886530"/>
                  </a:cubicBezTo>
                  <a:cubicBezTo>
                    <a:pt x="2130815" y="3886530"/>
                    <a:pt x="2130815" y="3886530"/>
                    <a:pt x="2130815" y="487238"/>
                  </a:cubicBezTo>
                  <a:cubicBezTo>
                    <a:pt x="2130815" y="389416"/>
                    <a:pt x="2203804" y="316050"/>
                    <a:pt x="2325453" y="316050"/>
                  </a:cubicBezTo>
                  <a:close/>
                  <a:moveTo>
                    <a:pt x="269155" y="0"/>
                  </a:moveTo>
                  <a:cubicBezTo>
                    <a:pt x="415967" y="0"/>
                    <a:pt x="538311" y="122239"/>
                    <a:pt x="538311" y="268927"/>
                  </a:cubicBezTo>
                  <a:cubicBezTo>
                    <a:pt x="538311" y="268927"/>
                    <a:pt x="538311" y="268927"/>
                    <a:pt x="538311" y="4253925"/>
                  </a:cubicBezTo>
                  <a:cubicBezTo>
                    <a:pt x="538311" y="4253925"/>
                    <a:pt x="538311" y="4253925"/>
                    <a:pt x="4624575" y="4253925"/>
                  </a:cubicBezTo>
                  <a:cubicBezTo>
                    <a:pt x="4771387" y="4253925"/>
                    <a:pt x="4893730" y="4376164"/>
                    <a:pt x="4893730" y="4522851"/>
                  </a:cubicBezTo>
                  <a:cubicBezTo>
                    <a:pt x="4893730" y="4669538"/>
                    <a:pt x="4771387" y="4791777"/>
                    <a:pt x="4624575" y="4791777"/>
                  </a:cubicBezTo>
                  <a:cubicBezTo>
                    <a:pt x="4624575" y="4791777"/>
                    <a:pt x="4624575" y="4791777"/>
                    <a:pt x="269155" y="4791777"/>
                  </a:cubicBezTo>
                  <a:cubicBezTo>
                    <a:pt x="122344" y="4791777"/>
                    <a:pt x="0" y="4669538"/>
                    <a:pt x="0" y="4522851"/>
                  </a:cubicBezTo>
                  <a:cubicBezTo>
                    <a:pt x="0" y="4522851"/>
                    <a:pt x="0" y="4522851"/>
                    <a:pt x="0" y="268927"/>
                  </a:cubicBezTo>
                  <a:cubicBezTo>
                    <a:pt x="0" y="122239"/>
                    <a:pt x="122344" y="0"/>
                    <a:pt x="269155"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37148" tIns="109719" rIns="137148" bIns="109719"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699261"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5" name="Rectangle 104"/>
            <p:cNvSpPr/>
            <p:nvPr/>
          </p:nvSpPr>
          <p:spPr bwMode="auto">
            <a:xfrm rot="2745734">
              <a:off x="886688" y="2210975"/>
              <a:ext cx="1598323" cy="1625795"/>
            </a:xfrm>
            <a:prstGeom prst="rect">
              <a:avLst/>
            </a:prstGeom>
            <a:solidFill>
              <a:schemeClr val="tx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6" name="Rectangle 105"/>
            <p:cNvSpPr/>
            <p:nvPr/>
          </p:nvSpPr>
          <p:spPr bwMode="auto">
            <a:xfrm rot="2745734">
              <a:off x="304778" y="3828657"/>
              <a:ext cx="1610349" cy="1235003"/>
            </a:xfrm>
            <a:prstGeom prst="rect">
              <a:avLst/>
            </a:prstGeom>
            <a:solidFill>
              <a:schemeClr val="tx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7" name="Rectangle 106"/>
            <p:cNvSpPr/>
            <p:nvPr/>
          </p:nvSpPr>
          <p:spPr bwMode="auto">
            <a:xfrm rot="2745734">
              <a:off x="1315610" y="4915701"/>
              <a:ext cx="1263370" cy="1255989"/>
            </a:xfrm>
            <a:prstGeom prst="rect">
              <a:avLst/>
            </a:prstGeom>
            <a:solidFill>
              <a:schemeClr val="tx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37" name="Title 10"/>
          <p:cNvSpPr txBox="1">
            <a:spLocks/>
          </p:cNvSpPr>
          <p:nvPr/>
        </p:nvSpPr>
        <p:spPr>
          <a:xfrm>
            <a:off x="2849060" y="0"/>
            <a:ext cx="9342940" cy="665151"/>
          </a:xfrm>
          <a:prstGeom prst="rect">
            <a:avLst/>
          </a:prstGeom>
          <a:noFill/>
        </p:spPr>
        <p:txBody>
          <a:bodyPr vert="horz" wrap="square" lIns="0" tIns="91440" rIns="0" bIns="91440" rtlCol="0" anchor="t">
            <a:noAutofit/>
          </a:bodyPr>
          <a:lstStyle>
            <a:lvl1pPr defTabSz="914367">
              <a:lnSpc>
                <a:spcPct val="90000"/>
              </a:lnSpc>
              <a:spcBef>
                <a:spcPct val="0"/>
              </a:spcBef>
              <a:buNone/>
              <a:defRPr lang="en-US" sz="5294" b="0" cap="none" spc="-100" baseline="0" dirty="0" smtClean="0">
                <a:ln w="3175">
                  <a:noFill/>
                </a:ln>
                <a:solidFill>
                  <a:schemeClr val="tx2"/>
                </a:solidFill>
                <a:effectLst/>
                <a:latin typeface="+mj-lt"/>
                <a:cs typeface="Segoe UI" pitchFamily="34" charset="0"/>
              </a:defRPr>
            </a:lvl1pPr>
          </a:lstStyle>
          <a:p>
            <a:pPr marL="168275" marR="0" lvl="0" indent="0" algn="l" defTabSz="914367" rtl="0" eaLnBrk="1" fontAlgn="auto" latinLnBrk="0" hangingPunct="1">
              <a:lnSpc>
                <a:spcPct val="90000"/>
              </a:lnSpc>
              <a:spcBef>
                <a:spcPct val="0"/>
              </a:spcBef>
              <a:spcAft>
                <a:spcPts val="0"/>
              </a:spcAft>
              <a:buClrTx/>
              <a:buSzTx/>
              <a:buFontTx/>
              <a:buNone/>
              <a:tabLst/>
              <a:defRPr/>
            </a:pPr>
            <a:r>
              <a:rPr kumimoji="0" lang="en-US" sz="3600" b="0" i="0" u="none" strike="noStrike" kern="1200" cap="none" spc="-100" normalizeH="0" baseline="0" noProof="0">
                <a:ln w="3175">
                  <a:noFill/>
                </a:ln>
                <a:solidFill>
                  <a:prstClr val="black"/>
                </a:solidFill>
                <a:effectLst/>
                <a:uLnTx/>
                <a:uFillTx/>
                <a:latin typeface="Segoe UI Light"/>
                <a:ea typeface="+mn-ea"/>
                <a:cs typeface="Segoe UI" pitchFamily="34" charset="0"/>
              </a:rPr>
              <a:t>Creating a Data Model</a:t>
            </a:r>
            <a:endParaRPr kumimoji="0" lang="en-IN" sz="3600" b="0" i="0" u="none" strike="noStrike" kern="1200" cap="none" spc="-100" normalizeH="0" baseline="0" noProof="0">
              <a:ln w="3175">
                <a:noFill/>
              </a:ln>
              <a:solidFill>
                <a:prstClr val="black"/>
              </a:solidFill>
              <a:effectLst/>
              <a:uLnTx/>
              <a:uFillTx/>
              <a:latin typeface="Segoe UI Light"/>
              <a:ea typeface="+mn-ea"/>
              <a:cs typeface="Segoe UI" pitchFamily="34" charset="0"/>
            </a:endParaRPr>
          </a:p>
        </p:txBody>
      </p:sp>
      <p:sp>
        <p:nvSpPr>
          <p:cNvPr id="40" name="TextBox 39"/>
          <p:cNvSpPr txBox="1"/>
          <p:nvPr/>
        </p:nvSpPr>
        <p:spPr>
          <a:xfrm>
            <a:off x="3" y="51415"/>
            <a:ext cx="2849058" cy="430887"/>
          </a:xfrm>
          <a:prstGeom prst="rect">
            <a:avLst/>
          </a:prstGeom>
        </p:spPr>
        <p:txBody>
          <a:bodyPr wrap="square">
            <a:spAutoFit/>
          </a:bodyPr>
          <a:lstStyle>
            <a:defPPr>
              <a:defRPr lang="en-US"/>
            </a:defPPr>
            <a:lvl1pPr defTabSz="914192">
              <a:defRPr sz="2800" b="1" spc="-100">
                <a:ln w="3175">
                  <a:noFill/>
                </a:ln>
                <a:solidFill>
                  <a:srgbClr val="F2C812"/>
                </a:solidFill>
                <a:latin typeface="Segoe UI" panose="020B0502040204020203" pitchFamily="34" charset="0"/>
                <a:ea typeface="ＭＳ Ｐゴシック" charset="0"/>
                <a:cs typeface="Segoe UI" panose="020B0502040204020203" pitchFamily="34" charset="0"/>
              </a:defRPr>
            </a:lvl1pPr>
          </a:lstStyle>
          <a:p>
            <a:pPr marL="0" marR="0" lvl="0" indent="0" algn="l" defTabSz="914192" rtl="0" eaLnBrk="1" fontAlgn="auto" latinLnBrk="0" hangingPunct="1">
              <a:lnSpc>
                <a:spcPct val="100000"/>
              </a:lnSpc>
              <a:spcBef>
                <a:spcPts val="0"/>
              </a:spcBef>
              <a:spcAft>
                <a:spcPts val="0"/>
              </a:spcAft>
              <a:buClrTx/>
              <a:buSzTx/>
              <a:buFontTx/>
              <a:buNone/>
              <a:tabLst/>
              <a:defRPr/>
            </a:pPr>
            <a:r>
              <a:rPr kumimoji="0" lang="en-US" sz="2200" b="1" i="0" u="none" strike="noStrike" kern="1200" cap="none" spc="-100" normalizeH="0" baseline="0" noProof="0">
                <a:ln w="3175">
                  <a:noFill/>
                </a:ln>
                <a:solidFill>
                  <a:srgbClr val="F2C812"/>
                </a:solidFill>
                <a:effectLst/>
                <a:uLnTx/>
                <a:uFillTx/>
                <a:latin typeface="Segoe UI Light"/>
                <a:ea typeface="ＭＳ Ｐゴシック" charset="0"/>
                <a:cs typeface="Segoe UI" panose="020B0502040204020203" pitchFamily="34" charset="0"/>
              </a:rPr>
              <a:t>Power BI Desktop</a:t>
            </a:r>
          </a:p>
        </p:txBody>
      </p:sp>
      <p:sp>
        <p:nvSpPr>
          <p:cNvPr id="36" name="Rectangle 3"/>
          <p:cNvSpPr/>
          <p:nvPr/>
        </p:nvSpPr>
        <p:spPr bwMode="auto">
          <a:xfrm>
            <a:off x="3202216" y="665151"/>
            <a:ext cx="8105312" cy="44435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1" u="none" strike="noStrike" kern="1200" cap="none" spc="0" normalizeH="0" baseline="0" noProof="0">
              <a:ln>
                <a:noFill/>
              </a:ln>
              <a:solidFill>
                <a:prstClr val="black"/>
              </a:solidFill>
              <a:effectLst/>
              <a:uLnTx/>
              <a:uFillTx/>
              <a:latin typeface="Segoe UI Light"/>
              <a:ea typeface="+mn-ea"/>
              <a:cs typeface="+mn-cs"/>
            </a:endParaRPr>
          </a:p>
        </p:txBody>
      </p:sp>
      <p:sp>
        <p:nvSpPr>
          <p:cNvPr id="53" name="Text Placeholder 2"/>
          <p:cNvSpPr txBox="1">
            <a:spLocks/>
          </p:cNvSpPr>
          <p:nvPr/>
        </p:nvSpPr>
        <p:spPr>
          <a:xfrm>
            <a:off x="2849060" y="1037123"/>
            <a:ext cx="9090381" cy="5262077"/>
          </a:xfrm>
          <a:prstGeom prst="rect">
            <a:avLst/>
          </a:prstGeom>
        </p:spPr>
        <p:txBody>
          <a:bodyPr vert="horz" wrap="square" lIns="182880" tIns="146304" rIns="182880" bIns="146304" rtlCol="0">
            <a:noAutofit/>
          </a:bodyPr>
          <a:lstStyle>
            <a:lvl1pPr marL="182845" marR="0"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3921" kern="1200" spc="0" baseline="0">
                <a:gradFill>
                  <a:gsLst>
                    <a:gs pos="1250">
                      <a:schemeClr val="tx2"/>
                    </a:gs>
                    <a:gs pos="99000">
                      <a:schemeClr val="tx2"/>
                    </a:gs>
                  </a:gsLst>
                  <a:lin ang="5400000" scaled="0"/>
                </a:gradFill>
                <a:latin typeface="+mj-lt"/>
                <a:ea typeface="+mn-ea"/>
                <a:cs typeface="+mn-cs"/>
              </a:defRPr>
            </a:lvl1pPr>
            <a:lvl2pPr marL="365690" marR="0"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2400" kern="1200" spc="0" baseline="0">
                <a:solidFill>
                  <a:schemeClr val="tx2"/>
                </a:solidFill>
                <a:latin typeface="+mj-lt"/>
                <a:ea typeface="+mn-ea"/>
                <a:cs typeface="+mn-cs"/>
              </a:defRPr>
            </a:lvl2pPr>
            <a:lvl3pPr marL="548535" marR="0"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2000" kern="1200" spc="0" baseline="0">
                <a:solidFill>
                  <a:schemeClr val="tx2"/>
                </a:solidFill>
                <a:latin typeface="+mj-lt"/>
                <a:ea typeface="+mn-ea"/>
                <a:cs typeface="+mn-cs"/>
              </a:defRPr>
            </a:lvl3pPr>
            <a:lvl4pPr marL="733802" marR="0" indent="-28569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1765" kern="1200" spc="0" baseline="0">
                <a:solidFill>
                  <a:schemeClr val="tx2"/>
                </a:solidFill>
                <a:latin typeface="+mn-lt"/>
                <a:ea typeface="+mn-ea"/>
                <a:cs typeface="+mn-cs"/>
              </a:defRPr>
            </a:lvl4pPr>
            <a:lvl5pPr marL="957856" marR="0" indent="-28569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1765" kern="1200" spc="0" baseline="0">
                <a:solidFill>
                  <a:schemeClr val="tx2"/>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r>
              <a:rPr kumimoji="0" lang="en-US" sz="2400" b="1" i="0" u="none" strike="noStrike" kern="1200" cap="none" spc="0" normalizeH="0" baseline="0" noProof="0">
                <a:ln>
                  <a:noFill/>
                </a:ln>
                <a:solidFill>
                  <a:prstClr val="black"/>
                </a:solidFill>
                <a:effectLst/>
                <a:uLnTx/>
                <a:uFillTx/>
                <a:latin typeface="Segoe UI Light"/>
                <a:ea typeface="Calibri" panose="020F0502020204030204" pitchFamily="34" charset="0"/>
                <a:cs typeface="Times New Roman" panose="02020603050405020304" pitchFamily="18" charset="0"/>
              </a:rPr>
              <a:t>After data connections </a:t>
            </a:r>
            <a:r>
              <a:rPr kumimoji="0" lang="en-US" sz="2400" b="0" i="0" u="none" strike="noStrike" kern="1200" cap="none" spc="0" normalizeH="0" baseline="0" noProof="0">
                <a:ln>
                  <a:noFill/>
                </a:ln>
                <a:solidFill>
                  <a:prstClr val="black"/>
                </a:solidFill>
                <a:effectLst/>
                <a:uLnTx/>
                <a:uFillTx/>
                <a:latin typeface="Segoe UI Light"/>
                <a:ea typeface="Calibri" panose="020F0502020204030204" pitchFamily="34" charset="0"/>
                <a:cs typeface="Times New Roman" panose="02020603050405020304" pitchFamily="18" charset="0"/>
              </a:rPr>
              <a:t>were created and </a:t>
            </a:r>
            <a:r>
              <a:rPr kumimoji="0" lang="en-US" sz="2400" b="1" i="0" u="none" strike="noStrike" kern="1200" cap="none" spc="0" normalizeH="0" baseline="0" noProof="0">
                <a:ln>
                  <a:noFill/>
                </a:ln>
                <a:solidFill>
                  <a:prstClr val="black"/>
                </a:solidFill>
                <a:effectLst/>
                <a:uLnTx/>
                <a:uFillTx/>
                <a:latin typeface="Segoe UI Light"/>
                <a:ea typeface="Calibri" panose="020F0502020204030204" pitchFamily="34" charset="0"/>
                <a:cs typeface="Times New Roman" panose="02020603050405020304" pitchFamily="18" charset="0"/>
              </a:rPr>
              <a:t>data was shaped </a:t>
            </a:r>
            <a:r>
              <a:rPr kumimoji="0" lang="en-US" sz="2400" b="0" i="0" u="none" strike="noStrike" kern="1200" cap="none" spc="0" normalizeH="0" baseline="0" noProof="0">
                <a:ln>
                  <a:noFill/>
                </a:ln>
                <a:solidFill>
                  <a:prstClr val="black"/>
                </a:solidFill>
                <a:effectLst/>
                <a:uLnTx/>
                <a:uFillTx/>
                <a:latin typeface="Segoe UI Light"/>
                <a:ea typeface="Calibri" panose="020F0502020204030204" pitchFamily="34" charset="0"/>
                <a:cs typeface="Times New Roman" panose="02020603050405020304" pitchFamily="18" charset="0"/>
              </a:rPr>
              <a:t>according to business requirements, we start </a:t>
            </a:r>
            <a:r>
              <a:rPr kumimoji="0" lang="en-US" sz="2400" b="1" i="0" u="none" strike="noStrike" kern="1200" cap="none" spc="0" normalizeH="0" baseline="0" noProof="0">
                <a:ln>
                  <a:noFill/>
                </a:ln>
                <a:solidFill>
                  <a:prstClr val="black"/>
                </a:solidFill>
                <a:effectLst/>
                <a:uLnTx/>
                <a:uFillTx/>
                <a:latin typeface="Segoe UI Light"/>
                <a:ea typeface="Calibri" panose="020F0502020204030204" pitchFamily="34" charset="0"/>
                <a:cs typeface="Times New Roman" panose="02020603050405020304" pitchFamily="18" charset="0"/>
              </a:rPr>
              <a:t>modeling</a:t>
            </a:r>
            <a:r>
              <a:rPr kumimoji="0" lang="en-US" sz="2400" b="0" i="0" u="none" strike="noStrike" kern="1200" cap="none" spc="0" normalizeH="0" baseline="0" noProof="0">
                <a:ln>
                  <a:noFill/>
                </a:ln>
                <a:solidFill>
                  <a:prstClr val="black"/>
                </a:solidFill>
                <a:effectLst/>
                <a:uLnTx/>
                <a:uFillTx/>
                <a:latin typeface="Segoe UI Light"/>
                <a:ea typeface="Calibri" panose="020F0502020204030204" pitchFamily="34" charset="0"/>
                <a:cs typeface="Times New Roman" panose="02020603050405020304" pitchFamily="18" charset="0"/>
              </a:rPr>
              <a:t> it</a:t>
            </a: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pt-PT" sz="2400" b="0" i="0" u="none" strike="noStrike" kern="1200" cap="none" spc="0" normalizeH="0" baseline="0" noProof="0">
              <a:ln>
                <a:noFill/>
              </a:ln>
              <a:solidFill>
                <a:prstClr val="black"/>
              </a:solidFill>
              <a:effectLst/>
              <a:uLnTx/>
              <a:uFillTx/>
              <a:latin typeface="Segoe UI Light"/>
              <a:ea typeface="Calibri" panose="020F0502020204030204" pitchFamily="34" charset="0"/>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r>
              <a:rPr kumimoji="0" lang="pt-PT" sz="2400" b="1" i="0" u="none" strike="noStrike" kern="1200" cap="none" spc="0" normalizeH="0" baseline="0" noProof="0">
                <a:ln>
                  <a:noFill/>
                </a:ln>
                <a:solidFill>
                  <a:prstClr val="black"/>
                </a:solidFill>
                <a:effectLst/>
                <a:uLnTx/>
                <a:uFillTx/>
                <a:latin typeface="Segoe UI Light"/>
                <a:ea typeface="Calibri" panose="020F0502020204030204" pitchFamily="34" charset="0"/>
                <a:cs typeface="Times New Roman" panose="02020603050405020304" pitchFamily="18" charset="0"/>
              </a:rPr>
              <a:t>Relationships </a:t>
            </a:r>
            <a:r>
              <a:rPr kumimoji="0" lang="pt-PT" sz="2400" b="0" i="0" u="none" strike="noStrike" kern="1200" cap="none" spc="0" normalizeH="0" baseline="0" noProof="0">
                <a:ln>
                  <a:noFill/>
                </a:ln>
                <a:solidFill>
                  <a:prstClr val="black"/>
                </a:solidFill>
                <a:effectLst/>
                <a:uLnTx/>
                <a:uFillTx/>
                <a:latin typeface="Segoe UI Light"/>
                <a:ea typeface="Calibri" panose="020F0502020204030204" pitchFamily="34" charset="0"/>
                <a:cs typeface="Times New Roman" panose="02020603050405020304" pitchFamily="18" charset="0"/>
              </a:rPr>
              <a:t>between the extracted tables can be established to allow filtering</a:t>
            </a:r>
            <a:endParaRPr kumimoji="0" lang="en-US" sz="2400" b="0" i="0" u="none" strike="noStrike" kern="1200" cap="none" spc="0" normalizeH="0" baseline="0" noProof="0">
              <a:ln>
                <a:noFill/>
              </a:ln>
              <a:solidFill>
                <a:prstClr val="black"/>
              </a:solidFill>
              <a:effectLst/>
              <a:uLnTx/>
              <a:uFillTx/>
              <a:latin typeface="Segoe UI Light"/>
              <a:ea typeface="Calibri" panose="020F0502020204030204" pitchFamily="34" charset="0"/>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pt-PT" sz="2400" b="0" i="0" u="none" strike="noStrike" kern="1200" cap="none" spc="0" normalizeH="0" baseline="0" noProof="0">
              <a:ln>
                <a:noFill/>
              </a:ln>
              <a:solidFill>
                <a:prstClr val="black"/>
              </a:solidFill>
              <a:effectLst/>
              <a:uLnTx/>
              <a:uFillTx/>
              <a:latin typeface="Segoe UI Light"/>
              <a:ea typeface="Calibri" panose="020F0502020204030204" pitchFamily="34" charset="0"/>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r>
              <a:rPr kumimoji="0" lang="pt-PT" sz="2400" b="1" i="0" u="none" strike="noStrike" kern="1200" cap="none" spc="0" normalizeH="0" baseline="0" noProof="0">
                <a:ln>
                  <a:noFill/>
                </a:ln>
                <a:solidFill>
                  <a:prstClr val="black"/>
                </a:solidFill>
                <a:effectLst/>
                <a:uLnTx/>
                <a:uFillTx/>
                <a:latin typeface="Segoe UI Light"/>
                <a:ea typeface="Calibri" panose="020F0502020204030204" pitchFamily="34" charset="0"/>
                <a:cs typeface="Times New Roman" panose="02020603050405020304" pitchFamily="18" charset="0"/>
              </a:rPr>
              <a:t>Calculations</a:t>
            </a:r>
            <a:r>
              <a:rPr kumimoji="0" lang="pt-PT" sz="2400" b="0" i="0" u="none" strike="noStrike" kern="1200" cap="none" spc="0" normalizeH="0" baseline="0" noProof="0">
                <a:ln>
                  <a:noFill/>
                </a:ln>
                <a:solidFill>
                  <a:prstClr val="black"/>
                </a:solidFill>
                <a:effectLst/>
                <a:uLnTx/>
                <a:uFillTx/>
                <a:latin typeface="Segoe UI Light"/>
                <a:ea typeface="Calibri" panose="020F0502020204030204" pitchFamily="34" charset="0"/>
                <a:cs typeface="Times New Roman" panose="02020603050405020304" pitchFamily="18" charset="0"/>
              </a:rPr>
              <a:t> can be created for </a:t>
            </a:r>
            <a:r>
              <a:rPr kumimoji="0" lang="pt-PT" sz="2400" b="1" i="0" u="none" strike="noStrike" kern="1200" cap="none" spc="0" normalizeH="0" baseline="0" noProof="0">
                <a:ln>
                  <a:noFill/>
                </a:ln>
                <a:solidFill>
                  <a:prstClr val="black"/>
                </a:solidFill>
                <a:effectLst/>
                <a:uLnTx/>
                <a:uFillTx/>
                <a:latin typeface="Segoe UI Light"/>
                <a:ea typeface="Calibri" panose="020F0502020204030204" pitchFamily="34" charset="0"/>
                <a:cs typeface="Times New Roman" panose="02020603050405020304" pitchFamily="18" charset="0"/>
              </a:rPr>
              <a:t>additional context </a:t>
            </a:r>
            <a:r>
              <a:rPr kumimoji="0" lang="pt-PT" sz="2400" b="0" i="0" u="none" strike="noStrike" kern="1200" cap="none" spc="0" normalizeH="0" baseline="0" noProof="0">
                <a:ln>
                  <a:noFill/>
                </a:ln>
                <a:solidFill>
                  <a:prstClr val="black"/>
                </a:solidFill>
                <a:effectLst/>
                <a:uLnTx/>
                <a:uFillTx/>
                <a:latin typeface="Segoe UI Light"/>
                <a:ea typeface="Calibri" panose="020F0502020204030204" pitchFamily="34" charset="0"/>
                <a:cs typeface="Times New Roman" panose="02020603050405020304" pitchFamily="18" charset="0"/>
              </a:rPr>
              <a:t>or for implementing </a:t>
            </a:r>
            <a:r>
              <a:rPr kumimoji="0" lang="pt-PT" sz="2400" b="1" i="0" u="none" strike="noStrike" kern="1200" cap="none" spc="0" normalizeH="0" baseline="0" noProof="0">
                <a:ln>
                  <a:noFill/>
                </a:ln>
                <a:solidFill>
                  <a:prstClr val="black"/>
                </a:solidFill>
                <a:effectLst/>
                <a:uLnTx/>
                <a:uFillTx/>
                <a:latin typeface="Segoe UI Light"/>
                <a:ea typeface="Calibri" panose="020F0502020204030204" pitchFamily="34" charset="0"/>
                <a:cs typeface="Times New Roman" panose="02020603050405020304" pitchFamily="18" charset="0"/>
              </a:rPr>
              <a:t>business metrics</a:t>
            </a:r>
            <a:r>
              <a:rPr kumimoji="0" lang="pt-PT" sz="2400" b="0" i="0" u="none" strike="noStrike" kern="1200" cap="none" spc="0" normalizeH="0" baseline="0" noProof="0">
                <a:ln>
                  <a:noFill/>
                </a:ln>
                <a:solidFill>
                  <a:prstClr val="black"/>
                </a:solidFill>
                <a:effectLst/>
                <a:uLnTx/>
                <a:uFillTx/>
                <a:latin typeface="Segoe UI Light"/>
                <a:ea typeface="Calibri" panose="020F0502020204030204" pitchFamily="34" charset="0"/>
                <a:cs typeface="Times New Roman" panose="02020603050405020304" pitchFamily="18" charset="0"/>
              </a:rPr>
              <a:t> or even </a:t>
            </a:r>
            <a:r>
              <a:rPr kumimoji="0" lang="pt-PT" sz="2400" b="1" i="0" u="none" strike="noStrike" kern="1200" cap="none" spc="0" normalizeH="0" baseline="0" noProof="0">
                <a:ln>
                  <a:noFill/>
                </a:ln>
                <a:solidFill>
                  <a:prstClr val="black"/>
                </a:solidFill>
                <a:effectLst/>
                <a:uLnTx/>
                <a:uFillTx/>
                <a:latin typeface="Segoe UI Light"/>
                <a:ea typeface="Calibri" panose="020F0502020204030204" pitchFamily="34" charset="0"/>
                <a:cs typeface="Times New Roman" panose="02020603050405020304" pitchFamily="18" charset="0"/>
              </a:rPr>
              <a:t>key performance indicators</a:t>
            </a: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pt-PT" sz="2400" b="1" i="0" u="none" strike="noStrike" kern="1200" cap="none" spc="0" normalizeH="0" baseline="0" noProof="0">
              <a:ln>
                <a:noFill/>
              </a:ln>
              <a:solidFill>
                <a:prstClr val="black"/>
              </a:solidFill>
              <a:effectLst/>
              <a:uLnTx/>
              <a:uFillTx/>
              <a:latin typeface="Segoe UI Light"/>
              <a:ea typeface="Calibri" panose="020F0502020204030204" pitchFamily="34" charset="0"/>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r>
              <a:rPr kumimoji="0" lang="pt-PT" sz="2400" b="0" i="0" u="none" strike="noStrike" kern="1200" cap="none" spc="0" normalizeH="0" baseline="0" noProof="0">
                <a:ln>
                  <a:noFill/>
                </a:ln>
                <a:solidFill>
                  <a:prstClr val="black"/>
                </a:solidFill>
                <a:effectLst/>
                <a:uLnTx/>
                <a:uFillTx/>
                <a:latin typeface="Segoe UI Light"/>
                <a:ea typeface="Calibri" panose="020F0502020204030204" pitchFamily="34" charset="0"/>
                <a:cs typeface="Times New Roman" panose="02020603050405020304" pitchFamily="18" charset="0"/>
              </a:rPr>
              <a:t>Data can be </a:t>
            </a:r>
            <a:r>
              <a:rPr kumimoji="0" lang="pt-PT" sz="2400" b="1" i="0" u="none" strike="noStrike" kern="1200" cap="none" spc="0" normalizeH="0" baseline="0" noProof="0">
                <a:ln>
                  <a:noFill/>
                </a:ln>
                <a:solidFill>
                  <a:prstClr val="black"/>
                </a:solidFill>
                <a:effectLst/>
                <a:uLnTx/>
                <a:uFillTx/>
                <a:latin typeface="Segoe UI Light"/>
                <a:ea typeface="Calibri" panose="020F0502020204030204" pitchFamily="34" charset="0"/>
                <a:cs typeface="Times New Roman" panose="02020603050405020304" pitchFamily="18" charset="0"/>
              </a:rPr>
              <a:t>categorized</a:t>
            </a:r>
            <a:r>
              <a:rPr kumimoji="0" lang="pt-PT" sz="2400" b="0" i="0" u="none" strike="noStrike" kern="1200" cap="none" spc="0" normalizeH="0" baseline="0" noProof="0">
                <a:ln>
                  <a:noFill/>
                </a:ln>
                <a:solidFill>
                  <a:prstClr val="black"/>
                </a:solidFill>
                <a:effectLst/>
                <a:uLnTx/>
                <a:uFillTx/>
                <a:latin typeface="Segoe UI Light"/>
                <a:ea typeface="Calibri" panose="020F0502020204030204" pitchFamily="34" charset="0"/>
                <a:cs typeface="Times New Roman" panose="02020603050405020304" pitchFamily="18" charset="0"/>
              </a:rPr>
              <a:t>,</a:t>
            </a:r>
            <a:r>
              <a:rPr kumimoji="0" lang="pt-PT" sz="2400" b="1" i="0" u="none" strike="noStrike" kern="1200" cap="none" spc="0" normalizeH="0" baseline="0" noProof="0">
                <a:ln>
                  <a:noFill/>
                </a:ln>
                <a:solidFill>
                  <a:prstClr val="black"/>
                </a:solidFill>
                <a:effectLst/>
                <a:uLnTx/>
                <a:uFillTx/>
                <a:latin typeface="Segoe UI Light"/>
                <a:ea typeface="Calibri" panose="020F0502020204030204" pitchFamily="34" charset="0"/>
                <a:cs typeface="Times New Roman" panose="02020603050405020304" pitchFamily="18" charset="0"/>
              </a:rPr>
              <a:t> typed</a:t>
            </a:r>
            <a:r>
              <a:rPr kumimoji="0" lang="pt-PT" sz="2400" b="0" i="0" u="none" strike="noStrike" kern="1200" cap="none" spc="0" normalizeH="0" baseline="0" noProof="0">
                <a:ln>
                  <a:noFill/>
                </a:ln>
                <a:solidFill>
                  <a:prstClr val="black"/>
                </a:solidFill>
                <a:effectLst/>
                <a:uLnTx/>
                <a:uFillTx/>
                <a:latin typeface="Segoe UI Light"/>
                <a:ea typeface="Calibri" panose="020F0502020204030204" pitchFamily="34" charset="0"/>
                <a:cs typeface="Times New Roman" panose="02020603050405020304" pitchFamily="18" charset="0"/>
              </a:rPr>
              <a:t> and </a:t>
            </a:r>
            <a:r>
              <a:rPr kumimoji="0" lang="pt-PT" sz="2400" b="1" i="0" u="none" strike="noStrike" kern="1200" cap="none" spc="0" normalizeH="0" baseline="0" noProof="0">
                <a:ln>
                  <a:noFill/>
                </a:ln>
                <a:solidFill>
                  <a:prstClr val="black"/>
                </a:solidFill>
                <a:effectLst/>
                <a:uLnTx/>
                <a:uFillTx/>
                <a:latin typeface="Segoe UI Light"/>
                <a:ea typeface="Calibri" panose="020F0502020204030204" pitchFamily="34" charset="0"/>
                <a:cs typeface="Times New Roman" panose="02020603050405020304" pitchFamily="18" charset="0"/>
              </a:rPr>
              <a:t>formatted</a:t>
            </a: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pt-PT" sz="2400" b="1" i="0" u="none" strike="noStrike" kern="1200" cap="none" spc="0" normalizeH="0" baseline="0" noProof="0">
              <a:ln>
                <a:noFill/>
              </a:ln>
              <a:solidFill>
                <a:prstClr val="black"/>
              </a:solidFill>
              <a:effectLst/>
              <a:uLnTx/>
              <a:uFillTx/>
              <a:latin typeface="Segoe UI Light"/>
              <a:ea typeface="Calibri" panose="020F0502020204030204" pitchFamily="34" charset="0"/>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r>
              <a:rPr kumimoji="0" lang="pt-PT" sz="2400" b="1" i="0" u="none" strike="noStrike" kern="1200" cap="none" spc="0" normalizeH="0" baseline="0" noProof="0">
                <a:ln>
                  <a:noFill/>
                </a:ln>
                <a:solidFill>
                  <a:prstClr val="black"/>
                </a:solidFill>
                <a:effectLst/>
                <a:uLnTx/>
                <a:uFillTx/>
                <a:latin typeface="Segoe UI Light"/>
                <a:ea typeface="Calibri" panose="020F0502020204030204" pitchFamily="34" charset="0"/>
                <a:cs typeface="Times New Roman" panose="02020603050405020304" pitchFamily="18" charset="0"/>
              </a:rPr>
              <a:t>Custom sorting </a:t>
            </a:r>
            <a:r>
              <a:rPr kumimoji="0" lang="pt-PT" sz="2400" b="0" i="0" u="none" strike="noStrike" kern="1200" cap="none" spc="0" normalizeH="0" baseline="0" noProof="0">
                <a:ln>
                  <a:noFill/>
                </a:ln>
                <a:solidFill>
                  <a:prstClr val="black"/>
                </a:solidFill>
                <a:effectLst/>
                <a:uLnTx/>
                <a:uFillTx/>
                <a:latin typeface="Segoe UI Light"/>
                <a:ea typeface="Calibri" panose="020F0502020204030204" pitchFamily="34" charset="0"/>
                <a:cs typeface="Times New Roman" panose="02020603050405020304" pitchFamily="18" charset="0"/>
              </a:rPr>
              <a:t>can be implemented for the attributes</a:t>
            </a:r>
            <a:endParaRPr kumimoji="0" lang="pt-PT" sz="2400" b="1" i="0" u="none" strike="noStrike" kern="1200" cap="none" spc="0" normalizeH="0" baseline="0" noProof="0">
              <a:ln>
                <a:noFill/>
              </a:ln>
              <a:solidFill>
                <a:prstClr val="black"/>
              </a:solidFill>
              <a:effectLst/>
              <a:uLnTx/>
              <a:uFillTx/>
              <a:latin typeface="Segoe UI Light"/>
              <a:ea typeface="Calibri" panose="020F0502020204030204" pitchFamily="34" charset="0"/>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pt-PT" sz="2400" b="0" i="0" u="none" strike="noStrike" kern="1200" cap="none" spc="0" normalizeH="0" baseline="0" noProof="0">
              <a:ln>
                <a:noFill/>
              </a:ln>
              <a:solidFill>
                <a:prstClr val="black"/>
              </a:solidFill>
              <a:effectLst/>
              <a:uLnTx/>
              <a:uFillTx/>
              <a:latin typeface="Segoe UI Light"/>
              <a:ea typeface="Calibri" panose="020F0502020204030204" pitchFamily="34" charset="0"/>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pt-PT" sz="2400" b="1" i="0" u="none" strike="noStrike" kern="1200" cap="none" spc="0" normalizeH="0" baseline="0" noProof="0">
              <a:ln>
                <a:noFill/>
              </a:ln>
              <a:solidFill>
                <a:prstClr val="black"/>
              </a:solidFill>
              <a:effectLst/>
              <a:uLnTx/>
              <a:uFillTx/>
              <a:latin typeface="Segoe UI Light"/>
              <a:ea typeface="Calibri" panose="020F0502020204030204" pitchFamily="34" charset="0"/>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400" b="1" i="0" u="none" strike="noStrike" kern="1200" cap="none" spc="0" normalizeH="0" baseline="0" noProof="0">
              <a:ln>
                <a:noFill/>
              </a:ln>
              <a:solidFill>
                <a:prstClr val="black"/>
              </a:solidFill>
              <a:effectLst/>
              <a:uLnTx/>
              <a:uFillTx/>
              <a:latin typeface="Segoe UI Light"/>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29699312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p:cNvPicPr>
            <a:picLocks noChangeAspect="1"/>
          </p:cNvPicPr>
          <p:nvPr/>
        </p:nvPicPr>
        <p:blipFill>
          <a:blip r:embed="rId3"/>
          <a:stretch>
            <a:fillRect/>
          </a:stretch>
        </p:blipFill>
        <p:spPr>
          <a:xfrm>
            <a:off x="2836198" y="1493045"/>
            <a:ext cx="6962444" cy="4727133"/>
          </a:xfrm>
          <a:prstGeom prst="rect">
            <a:avLst/>
          </a:prstGeom>
        </p:spPr>
      </p:pic>
      <p:grpSp>
        <p:nvGrpSpPr>
          <p:cNvPr id="4" name="Group 3"/>
          <p:cNvGrpSpPr/>
          <p:nvPr/>
        </p:nvGrpSpPr>
        <p:grpSpPr>
          <a:xfrm>
            <a:off x="-11149" y="0"/>
            <a:ext cx="2849058" cy="6858000"/>
            <a:chOff x="2" y="1"/>
            <a:chExt cx="2849058" cy="6858000"/>
          </a:xfrm>
        </p:grpSpPr>
        <p:sp>
          <p:nvSpPr>
            <p:cNvPr id="70" name="Rectangle 69"/>
            <p:cNvSpPr/>
            <p:nvPr/>
          </p:nvSpPr>
          <p:spPr bwMode="auto">
            <a:xfrm>
              <a:off x="2" y="1"/>
              <a:ext cx="2849058"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5" name="Oval 70"/>
            <p:cNvSpPr/>
            <p:nvPr/>
          </p:nvSpPr>
          <p:spPr>
            <a:xfrm>
              <a:off x="1413521" y="4951537"/>
              <a:ext cx="1119626" cy="1119626"/>
            </a:xfrm>
            <a:prstGeom prst="ellipse">
              <a:avLst/>
            </a:prstGeom>
            <a:solidFill>
              <a:srgbClr val="F2C812"/>
            </a:solidFill>
            <a:ln w="3175" cap="flat" cmpd="sng" algn="ctr">
              <a:noFill/>
              <a:prstDash val="solid"/>
            </a:ln>
            <a:effectLst/>
          </p:spPr>
          <p:txBody>
            <a:bodyPr vert="horz" wrap="none" lIns="0" tIns="45720" rIns="0" bIns="0" rtlCol="0" anchor="t"/>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Segoe UI"/>
                  <a:ea typeface="Segoe UI" pitchFamily="34" charset="0"/>
                  <a:cs typeface="Segoe UI" pitchFamily="34" charset="0"/>
                </a:rPr>
                <a:t>Share &amp;</a:t>
              </a:r>
            </a:p>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Segoe UI"/>
                  <a:ea typeface="Segoe UI" pitchFamily="34" charset="0"/>
                  <a:cs typeface="Segoe UI" pitchFamily="34" charset="0"/>
                </a:rPr>
                <a:t>collaborate </a:t>
              </a:r>
            </a:p>
          </p:txBody>
        </p:sp>
        <p:grpSp>
          <p:nvGrpSpPr>
            <p:cNvPr id="66" name="Group 38"/>
            <p:cNvGrpSpPr>
              <a:grpSpLocks noChangeAspect="1"/>
            </p:cNvGrpSpPr>
            <p:nvPr/>
          </p:nvGrpSpPr>
          <p:grpSpPr>
            <a:xfrm>
              <a:off x="676996" y="3930692"/>
              <a:ext cx="383905" cy="351536"/>
              <a:chOff x="4363684" y="5330386"/>
              <a:chExt cx="1409956" cy="1291077"/>
            </a:xfrm>
            <a:solidFill>
              <a:srgbClr val="217346"/>
            </a:solidFill>
          </p:grpSpPr>
          <p:sp>
            <p:nvSpPr>
              <p:cNvPr id="67" name="Donut 3"/>
              <p:cNvSpPr/>
              <p:nvPr/>
            </p:nvSpPr>
            <p:spPr bwMode="auto">
              <a:xfrm>
                <a:off x="4363684" y="5330386"/>
                <a:ext cx="1409956" cy="1291077"/>
              </a:xfrm>
              <a:custGeom>
                <a:avLst/>
                <a:gdLst/>
                <a:ahLst/>
                <a:cxnLst/>
                <a:rect l="l" t="t" r="r" b="b"/>
                <a:pathLst>
                  <a:path w="1409956" h="1291077">
                    <a:moveTo>
                      <a:pt x="956401" y="78410"/>
                    </a:moveTo>
                    <a:cubicBezTo>
                      <a:pt x="747518" y="78410"/>
                      <a:pt x="578184" y="247744"/>
                      <a:pt x="578184" y="456627"/>
                    </a:cubicBezTo>
                    <a:cubicBezTo>
                      <a:pt x="578184" y="665510"/>
                      <a:pt x="747518" y="834844"/>
                      <a:pt x="956401" y="834844"/>
                    </a:cubicBezTo>
                    <a:cubicBezTo>
                      <a:pt x="1165284" y="834844"/>
                      <a:pt x="1334618" y="665510"/>
                      <a:pt x="1334618" y="456627"/>
                    </a:cubicBezTo>
                    <a:cubicBezTo>
                      <a:pt x="1334618" y="247744"/>
                      <a:pt x="1165284" y="78410"/>
                      <a:pt x="956401" y="78410"/>
                    </a:cubicBezTo>
                    <a:close/>
                    <a:moveTo>
                      <a:pt x="952756" y="0"/>
                    </a:moveTo>
                    <a:cubicBezTo>
                      <a:pt x="1205261" y="0"/>
                      <a:pt x="1409956" y="204695"/>
                      <a:pt x="1409956" y="457200"/>
                    </a:cubicBezTo>
                    <a:cubicBezTo>
                      <a:pt x="1409956" y="709705"/>
                      <a:pt x="1205261" y="914400"/>
                      <a:pt x="952756" y="914400"/>
                    </a:cubicBezTo>
                    <a:cubicBezTo>
                      <a:pt x="862133" y="914400"/>
                      <a:pt x="777669" y="888034"/>
                      <a:pt x="707132" y="841746"/>
                    </a:cubicBezTo>
                    <a:lnTo>
                      <a:pt x="136495" y="1280102"/>
                    </a:lnTo>
                    <a:cubicBezTo>
                      <a:pt x="21896" y="1327168"/>
                      <a:pt x="-44029" y="1213730"/>
                      <a:pt x="33797" y="1113182"/>
                    </a:cubicBezTo>
                    <a:lnTo>
                      <a:pt x="568587" y="703518"/>
                    </a:lnTo>
                    <a:cubicBezTo>
                      <a:pt x="522087" y="632814"/>
                      <a:pt x="495556" y="548105"/>
                      <a:pt x="495556" y="457200"/>
                    </a:cubicBezTo>
                    <a:cubicBezTo>
                      <a:pt x="495556" y="204695"/>
                      <a:pt x="700251" y="0"/>
                      <a:pt x="952756" y="0"/>
                    </a:cubicBezTo>
                    <a:close/>
                  </a:path>
                </a:pathLst>
              </a:custGeom>
              <a:grpFill/>
              <a:ln>
                <a:solidFill>
                  <a:srgbClr val="21734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sp>
            <p:nvSpPr>
              <p:cNvPr id="68" name="Rectangle 4"/>
              <p:cNvSpPr/>
              <p:nvPr/>
            </p:nvSpPr>
            <p:spPr>
              <a:xfrm>
                <a:off x="5058389" y="5528247"/>
                <a:ext cx="490885" cy="490020"/>
              </a:xfrm>
              <a:custGeom>
                <a:avLst/>
                <a:gdLst/>
                <a:ahLst/>
                <a:cxnLst/>
                <a:rect l="l" t="t" r="r" b="b"/>
                <a:pathLst>
                  <a:path w="490885" h="490020">
                    <a:moveTo>
                      <a:pt x="240752" y="0"/>
                    </a:moveTo>
                    <a:cubicBezTo>
                      <a:pt x="253961" y="11844"/>
                      <a:pt x="293310" y="49692"/>
                      <a:pt x="337332" y="92439"/>
                    </a:cubicBezTo>
                    <a:lnTo>
                      <a:pt x="328342" y="81259"/>
                    </a:lnTo>
                    <a:cubicBezTo>
                      <a:pt x="356946" y="111282"/>
                      <a:pt x="377251" y="107167"/>
                      <a:pt x="382515" y="87941"/>
                    </a:cubicBezTo>
                    <a:cubicBezTo>
                      <a:pt x="383951" y="76921"/>
                      <a:pt x="384595" y="68732"/>
                      <a:pt x="396997" y="52239"/>
                    </a:cubicBezTo>
                    <a:cubicBezTo>
                      <a:pt x="420362" y="32084"/>
                      <a:pt x="442294" y="41736"/>
                      <a:pt x="454920" y="51330"/>
                    </a:cubicBezTo>
                    <a:cubicBezTo>
                      <a:pt x="467834" y="62761"/>
                      <a:pt x="477920" y="86882"/>
                      <a:pt x="460392" y="109714"/>
                    </a:cubicBezTo>
                    <a:cubicBezTo>
                      <a:pt x="451128" y="121912"/>
                      <a:pt x="437554" y="126838"/>
                      <a:pt x="425922" y="126505"/>
                    </a:cubicBezTo>
                    <a:cubicBezTo>
                      <a:pt x="424301" y="127609"/>
                      <a:pt x="382890" y="134974"/>
                      <a:pt x="427348" y="177672"/>
                    </a:cubicBezTo>
                    <a:lnTo>
                      <a:pt x="416886" y="169735"/>
                    </a:lnTo>
                    <a:cubicBezTo>
                      <a:pt x="450207" y="202177"/>
                      <a:pt x="478424" y="229744"/>
                      <a:pt x="490885" y="241900"/>
                    </a:cubicBezTo>
                    <a:lnTo>
                      <a:pt x="417150" y="317347"/>
                    </a:lnTo>
                    <a:cubicBezTo>
                      <a:pt x="417744" y="316535"/>
                      <a:pt x="418443" y="316123"/>
                      <a:pt x="419047" y="315822"/>
                    </a:cubicBezTo>
                    <a:cubicBezTo>
                      <a:pt x="389023" y="344426"/>
                      <a:pt x="393138" y="364731"/>
                      <a:pt x="412364" y="369995"/>
                    </a:cubicBezTo>
                    <a:cubicBezTo>
                      <a:pt x="423384" y="371431"/>
                      <a:pt x="431574" y="372075"/>
                      <a:pt x="448067" y="384477"/>
                    </a:cubicBezTo>
                    <a:cubicBezTo>
                      <a:pt x="468221" y="407842"/>
                      <a:pt x="458569" y="429774"/>
                      <a:pt x="448975" y="442400"/>
                    </a:cubicBezTo>
                    <a:cubicBezTo>
                      <a:pt x="437545" y="455314"/>
                      <a:pt x="413423" y="465400"/>
                      <a:pt x="390591" y="447872"/>
                    </a:cubicBezTo>
                    <a:cubicBezTo>
                      <a:pt x="378394" y="438608"/>
                      <a:pt x="373468" y="425034"/>
                      <a:pt x="373800" y="413402"/>
                    </a:cubicBezTo>
                    <a:cubicBezTo>
                      <a:pt x="372696" y="411781"/>
                      <a:pt x="365332" y="370370"/>
                      <a:pt x="322634" y="414828"/>
                    </a:cubicBezTo>
                    <a:lnTo>
                      <a:pt x="325243" y="411388"/>
                    </a:lnTo>
                    <a:lnTo>
                      <a:pt x="248395" y="490020"/>
                    </a:lnTo>
                    <a:cubicBezTo>
                      <a:pt x="208939" y="451897"/>
                      <a:pt x="199129" y="442073"/>
                      <a:pt x="174192" y="418236"/>
                    </a:cubicBezTo>
                    <a:cubicBezTo>
                      <a:pt x="145587" y="388212"/>
                      <a:pt x="125282" y="392327"/>
                      <a:pt x="120018" y="411553"/>
                    </a:cubicBezTo>
                    <a:cubicBezTo>
                      <a:pt x="118582" y="422573"/>
                      <a:pt x="117938" y="430763"/>
                      <a:pt x="105536" y="447256"/>
                    </a:cubicBezTo>
                    <a:cubicBezTo>
                      <a:pt x="82171" y="467410"/>
                      <a:pt x="60239" y="457758"/>
                      <a:pt x="47614" y="448164"/>
                    </a:cubicBezTo>
                    <a:cubicBezTo>
                      <a:pt x="34699" y="436734"/>
                      <a:pt x="24614" y="412612"/>
                      <a:pt x="42141" y="389780"/>
                    </a:cubicBezTo>
                    <a:cubicBezTo>
                      <a:pt x="51405" y="377583"/>
                      <a:pt x="64979" y="372657"/>
                      <a:pt x="76612" y="372989"/>
                    </a:cubicBezTo>
                    <a:cubicBezTo>
                      <a:pt x="78232" y="371886"/>
                      <a:pt x="119644" y="364521"/>
                      <a:pt x="75186" y="321823"/>
                    </a:cubicBezTo>
                    <a:cubicBezTo>
                      <a:pt x="58767" y="305402"/>
                      <a:pt x="23648" y="271235"/>
                      <a:pt x="0" y="248738"/>
                    </a:cubicBezTo>
                    <a:lnTo>
                      <a:pt x="77303" y="168146"/>
                    </a:lnTo>
                    <a:cubicBezTo>
                      <a:pt x="104269" y="140313"/>
                      <a:pt x="122130" y="156409"/>
                      <a:pt x="124388" y="175543"/>
                    </a:cubicBezTo>
                    <a:cubicBezTo>
                      <a:pt x="124457" y="182466"/>
                      <a:pt x="127106" y="193106"/>
                      <a:pt x="137575" y="203052"/>
                    </a:cubicBezTo>
                    <a:cubicBezTo>
                      <a:pt x="153931" y="220277"/>
                      <a:pt x="181252" y="217451"/>
                      <a:pt x="196721" y="201951"/>
                    </a:cubicBezTo>
                    <a:cubicBezTo>
                      <a:pt x="211961" y="185740"/>
                      <a:pt x="213057" y="157882"/>
                      <a:pt x="196146" y="142797"/>
                    </a:cubicBezTo>
                    <a:cubicBezTo>
                      <a:pt x="184301" y="132637"/>
                      <a:pt x="177155" y="131453"/>
                      <a:pt x="166513" y="129894"/>
                    </a:cubicBezTo>
                    <a:cubicBezTo>
                      <a:pt x="154522" y="129013"/>
                      <a:pt x="131185" y="112953"/>
                      <a:pt x="157905" y="85228"/>
                    </a:cubicBezTo>
                    <a:close/>
                  </a:path>
                </a:pathLst>
              </a:custGeom>
              <a:grpFill/>
              <a:ln>
                <a:solidFill>
                  <a:srgbClr val="21734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grpSp>
        <p:sp>
          <p:nvSpPr>
            <p:cNvPr id="69" name="Oval 47"/>
            <p:cNvSpPr/>
            <p:nvPr/>
          </p:nvSpPr>
          <p:spPr>
            <a:xfrm>
              <a:off x="388608" y="3710471"/>
              <a:ext cx="1119626" cy="1119626"/>
            </a:xfrm>
            <a:prstGeom prst="ellipse">
              <a:avLst/>
            </a:prstGeom>
            <a:solidFill>
              <a:srgbClr val="F2C812"/>
            </a:solidFill>
            <a:ln w="3175" cap="flat" cmpd="sng" algn="ctr">
              <a:noFill/>
              <a:prstDash val="solid"/>
            </a:ln>
            <a:effectLst/>
          </p:spPr>
          <p:txBody>
            <a:bodyPr vert="horz" wrap="none" lIns="0" tIns="45720" rIns="0" bIns="0" rtlCol="0" anchor="t"/>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Segoe UI"/>
                  <a:ea typeface="Segoe UI" pitchFamily="34" charset="0"/>
                  <a:cs typeface="Segoe UI" pitchFamily="34" charset="0"/>
                </a:rPr>
                <a:t>Report</a:t>
              </a:r>
            </a:p>
          </p:txBody>
        </p:sp>
        <p:sp>
          <p:nvSpPr>
            <p:cNvPr id="85" name="Oval 950"/>
            <p:cNvSpPr/>
            <p:nvPr/>
          </p:nvSpPr>
          <p:spPr>
            <a:xfrm>
              <a:off x="388608" y="1252295"/>
              <a:ext cx="1119626" cy="1119626"/>
            </a:xfrm>
            <a:prstGeom prst="ellipse">
              <a:avLst/>
            </a:prstGeom>
            <a:solidFill>
              <a:srgbClr val="F2C812"/>
            </a:solidFill>
            <a:ln w="3175" cap="flat" cmpd="sng" algn="ctr">
              <a:noFill/>
              <a:prstDash val="solid"/>
            </a:ln>
            <a:effectLst/>
          </p:spPr>
          <p:txBody>
            <a:bodyPr vert="horz" wrap="none" lIns="0" tIns="45720" rIns="0" bIns="0" rtlCol="0" anchor="t"/>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1" i="0" u="none" strike="noStrike" kern="1200" cap="none" spc="0" normalizeH="0" baseline="0" noProof="0">
                <a:ln>
                  <a:noFill/>
                </a:ln>
                <a:solidFill>
                  <a:srgbClr val="217346"/>
                </a:solidFill>
                <a:effectLst/>
                <a:uLnTx/>
                <a:uFillTx/>
                <a:latin typeface="Segoe UI"/>
                <a:ea typeface="Segoe UI" pitchFamily="34" charset="0"/>
                <a:cs typeface="Segoe UI" pitchFamily="34" charset="0"/>
              </a:endParaRPr>
            </a:p>
          </p:txBody>
        </p:sp>
        <p:grpSp>
          <p:nvGrpSpPr>
            <p:cNvPr id="86" name="Group 85"/>
            <p:cNvGrpSpPr/>
            <p:nvPr/>
          </p:nvGrpSpPr>
          <p:grpSpPr>
            <a:xfrm>
              <a:off x="1264851" y="3482890"/>
              <a:ext cx="292254" cy="354906"/>
              <a:chOff x="1296521" y="3253388"/>
              <a:chExt cx="292254" cy="354906"/>
            </a:xfrm>
            <a:solidFill>
              <a:srgbClr val="F2C812"/>
            </a:solidFill>
          </p:grpSpPr>
          <p:sp>
            <p:nvSpPr>
              <p:cNvPr id="87" name="Isosceles Triangle 86"/>
              <p:cNvSpPr/>
              <p:nvPr/>
            </p:nvSpPr>
            <p:spPr bwMode="auto">
              <a:xfrm rot="13636515">
                <a:off x="1461362" y="328936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8" name="Isosceles Triangle 87"/>
              <p:cNvSpPr/>
              <p:nvPr/>
            </p:nvSpPr>
            <p:spPr bwMode="auto">
              <a:xfrm rot="13636515">
                <a:off x="1357669" y="338258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9" name="Isosceles Triangle 88"/>
              <p:cNvSpPr/>
              <p:nvPr/>
            </p:nvSpPr>
            <p:spPr bwMode="auto">
              <a:xfrm rot="13636515">
                <a:off x="1260548" y="3480882"/>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90" name="Group 89"/>
            <p:cNvGrpSpPr/>
            <p:nvPr/>
          </p:nvGrpSpPr>
          <p:grpSpPr>
            <a:xfrm rot="15940603">
              <a:off x="1334576" y="2204404"/>
              <a:ext cx="292254" cy="354906"/>
              <a:chOff x="1296521" y="3253388"/>
              <a:chExt cx="292254" cy="354906"/>
            </a:xfrm>
            <a:solidFill>
              <a:srgbClr val="F2C812"/>
            </a:solidFill>
          </p:grpSpPr>
          <p:sp>
            <p:nvSpPr>
              <p:cNvPr id="91" name="Isosceles Triangle 90"/>
              <p:cNvSpPr/>
              <p:nvPr/>
            </p:nvSpPr>
            <p:spPr bwMode="auto">
              <a:xfrm rot="13636515">
                <a:off x="1461362" y="328936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2" name="Isosceles Triangle 91"/>
              <p:cNvSpPr/>
              <p:nvPr/>
            </p:nvSpPr>
            <p:spPr bwMode="auto">
              <a:xfrm rot="13636515">
                <a:off x="1357669" y="338258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3" name="Isosceles Triangle 92"/>
              <p:cNvSpPr/>
              <p:nvPr/>
            </p:nvSpPr>
            <p:spPr bwMode="auto">
              <a:xfrm rot="13636515">
                <a:off x="1260548" y="3480882"/>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94" name="Group 93"/>
            <p:cNvGrpSpPr/>
            <p:nvPr/>
          </p:nvGrpSpPr>
          <p:grpSpPr>
            <a:xfrm rot="16043978">
              <a:off x="1317220" y="4717577"/>
              <a:ext cx="292254" cy="354906"/>
              <a:chOff x="1296521" y="3253388"/>
              <a:chExt cx="292254" cy="354906"/>
            </a:xfrm>
            <a:solidFill>
              <a:srgbClr val="F2C812"/>
            </a:solidFill>
          </p:grpSpPr>
          <p:sp>
            <p:nvSpPr>
              <p:cNvPr id="95" name="Isosceles Triangle 94"/>
              <p:cNvSpPr/>
              <p:nvPr/>
            </p:nvSpPr>
            <p:spPr bwMode="auto">
              <a:xfrm rot="13636515">
                <a:off x="1461362" y="328936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6" name="Isosceles Triangle 95"/>
              <p:cNvSpPr/>
              <p:nvPr/>
            </p:nvSpPr>
            <p:spPr bwMode="auto">
              <a:xfrm rot="13636515">
                <a:off x="1357669" y="338258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7" name="Isosceles Triangle 96"/>
              <p:cNvSpPr/>
              <p:nvPr/>
            </p:nvSpPr>
            <p:spPr bwMode="auto">
              <a:xfrm rot="13636515">
                <a:off x="1260548" y="3480882"/>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98" name="Oval 36"/>
            <p:cNvSpPr/>
            <p:nvPr/>
          </p:nvSpPr>
          <p:spPr>
            <a:xfrm>
              <a:off x="1413521" y="2481383"/>
              <a:ext cx="1119626" cy="1119626"/>
            </a:xfrm>
            <a:prstGeom prst="ellipse">
              <a:avLst/>
            </a:prstGeom>
            <a:solidFill>
              <a:srgbClr val="F2C812"/>
            </a:solidFill>
            <a:ln w="3175" cap="flat" cmpd="sng" algn="ctr">
              <a:noFill/>
              <a:prstDash val="solid"/>
            </a:ln>
            <a:effectLst/>
          </p:spPr>
          <p:txBody>
            <a:bodyPr vert="horz" wrap="none" lIns="0" tIns="0" rIns="0" bIns="0" rtlCol="0" anchor="t"/>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400" b="1" i="0" u="none" strike="noStrike" kern="1200" cap="none" spc="0" normalizeH="0" baseline="0" noProof="0">
                <a:ln>
                  <a:noFill/>
                </a:ln>
                <a:solidFill>
                  <a:srgbClr val="217346"/>
                </a:solidFill>
                <a:effectLst/>
                <a:uLnTx/>
                <a:uFillTx/>
                <a:latin typeface="Segoe UI"/>
                <a:ea typeface="Segoe UI" pitchFamily="34" charset="0"/>
                <a:cs typeface="Segoe UI" pitchFamily="34" charset="0"/>
              </a:endParaRPr>
            </a:p>
          </p:txBody>
        </p:sp>
        <p:sp>
          <p:nvSpPr>
            <p:cNvPr id="99" name="Donut 3"/>
            <p:cNvSpPr/>
            <p:nvPr/>
          </p:nvSpPr>
          <p:spPr bwMode="auto">
            <a:xfrm>
              <a:off x="1742065" y="3002355"/>
              <a:ext cx="383905" cy="351537"/>
            </a:xfrm>
            <a:custGeom>
              <a:avLst/>
              <a:gdLst/>
              <a:ahLst/>
              <a:cxnLst/>
              <a:rect l="l" t="t" r="r" b="b"/>
              <a:pathLst>
                <a:path w="1409956" h="1291077">
                  <a:moveTo>
                    <a:pt x="956401" y="78410"/>
                  </a:moveTo>
                  <a:cubicBezTo>
                    <a:pt x="747518" y="78410"/>
                    <a:pt x="578184" y="247744"/>
                    <a:pt x="578184" y="456627"/>
                  </a:cubicBezTo>
                  <a:cubicBezTo>
                    <a:pt x="578184" y="665510"/>
                    <a:pt x="747518" y="834844"/>
                    <a:pt x="956401" y="834844"/>
                  </a:cubicBezTo>
                  <a:cubicBezTo>
                    <a:pt x="1165284" y="834844"/>
                    <a:pt x="1334618" y="665510"/>
                    <a:pt x="1334618" y="456627"/>
                  </a:cubicBezTo>
                  <a:cubicBezTo>
                    <a:pt x="1334618" y="247744"/>
                    <a:pt x="1165284" y="78410"/>
                    <a:pt x="956401" y="78410"/>
                  </a:cubicBezTo>
                  <a:close/>
                  <a:moveTo>
                    <a:pt x="952756" y="0"/>
                  </a:moveTo>
                  <a:cubicBezTo>
                    <a:pt x="1205261" y="0"/>
                    <a:pt x="1409956" y="204695"/>
                    <a:pt x="1409956" y="457200"/>
                  </a:cubicBezTo>
                  <a:cubicBezTo>
                    <a:pt x="1409956" y="709705"/>
                    <a:pt x="1205261" y="914400"/>
                    <a:pt x="952756" y="914400"/>
                  </a:cubicBezTo>
                  <a:cubicBezTo>
                    <a:pt x="862133" y="914400"/>
                    <a:pt x="777669" y="888034"/>
                    <a:pt x="707132" y="841746"/>
                  </a:cubicBezTo>
                  <a:lnTo>
                    <a:pt x="136495" y="1280102"/>
                  </a:lnTo>
                  <a:cubicBezTo>
                    <a:pt x="21896" y="1327168"/>
                    <a:pt x="-44029" y="1213730"/>
                    <a:pt x="33797" y="1113182"/>
                  </a:cubicBezTo>
                  <a:lnTo>
                    <a:pt x="568587" y="703518"/>
                  </a:lnTo>
                  <a:cubicBezTo>
                    <a:pt x="522087" y="632814"/>
                    <a:pt x="495556" y="548105"/>
                    <a:pt x="495556" y="457200"/>
                  </a:cubicBezTo>
                  <a:cubicBezTo>
                    <a:pt x="495556" y="204695"/>
                    <a:pt x="700251" y="0"/>
                    <a:pt x="952756" y="0"/>
                  </a:cubicBezTo>
                  <a:close/>
                </a:path>
              </a:pathLst>
            </a:cu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ysClr val="windowText" lastClr="000000"/>
                </a:solidFill>
                <a:effectLst/>
                <a:uLnTx/>
                <a:uFillTx/>
                <a:latin typeface="Segoe UI"/>
                <a:ea typeface="+mn-ea"/>
                <a:cs typeface="+mn-cs"/>
              </a:endParaRPr>
            </a:p>
          </p:txBody>
        </p:sp>
        <p:sp>
          <p:nvSpPr>
            <p:cNvPr id="100" name="Rectangle 99"/>
            <p:cNvSpPr/>
            <p:nvPr/>
          </p:nvSpPr>
          <p:spPr>
            <a:xfrm>
              <a:off x="1600398" y="2677430"/>
              <a:ext cx="820353" cy="307777"/>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Segoe UI"/>
                  <a:ea typeface="Segoe UI" pitchFamily="34" charset="0"/>
                  <a:cs typeface="Segoe UI" pitchFamily="34" charset="0"/>
                </a:rPr>
                <a:t>Explore</a:t>
              </a:r>
              <a:endParaRPr kumimoji="0" lang="en-US" sz="1600" b="0" i="0" u="none" strike="noStrike" kern="1200" cap="none" spc="0" normalizeH="0" baseline="0" noProof="0">
                <a:ln>
                  <a:noFill/>
                </a:ln>
                <a:solidFill>
                  <a:prstClr val="black"/>
                </a:solidFill>
                <a:effectLst/>
                <a:uLnTx/>
                <a:uFillTx/>
                <a:latin typeface="Segoe UI"/>
                <a:ea typeface="+mn-ea"/>
                <a:cs typeface="+mn-cs"/>
              </a:endParaRPr>
            </a:p>
          </p:txBody>
        </p:sp>
        <p:sp>
          <p:nvSpPr>
            <p:cNvPr id="101" name="Rectangle 100"/>
            <p:cNvSpPr/>
            <p:nvPr/>
          </p:nvSpPr>
          <p:spPr>
            <a:xfrm>
              <a:off x="509174" y="1475232"/>
              <a:ext cx="838756" cy="307777"/>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Segoe UI"/>
                  <a:ea typeface="Segoe UI" pitchFamily="34" charset="0"/>
                  <a:cs typeface="Segoe UI" pitchFamily="34" charset="0"/>
                </a:rPr>
                <a:t>Prepare</a:t>
              </a:r>
              <a:endParaRPr kumimoji="0" lang="en-US" sz="1400" b="0" i="0" u="none" strike="noStrike" kern="1200" cap="none" spc="0" normalizeH="0" baseline="0" noProof="0">
                <a:ln>
                  <a:noFill/>
                </a:ln>
                <a:solidFill>
                  <a:prstClr val="black"/>
                </a:solidFill>
                <a:effectLst/>
                <a:uLnTx/>
                <a:uFillTx/>
                <a:latin typeface="Segoe UI"/>
                <a:ea typeface="+mn-ea"/>
                <a:cs typeface="+mn-cs"/>
              </a:endParaRPr>
            </a:p>
          </p:txBody>
        </p:sp>
        <p:sp>
          <p:nvSpPr>
            <p:cNvPr id="102" name="Freeform 101"/>
            <p:cNvSpPr>
              <a:spLocks noChangeAspect="1"/>
            </p:cNvSpPr>
            <p:nvPr/>
          </p:nvSpPr>
          <p:spPr bwMode="black">
            <a:xfrm>
              <a:off x="1836174" y="5643069"/>
              <a:ext cx="274320" cy="284173"/>
            </a:xfrm>
            <a:custGeom>
              <a:avLst/>
              <a:gdLst>
                <a:gd name="T0" fmla="*/ 539 w 669"/>
                <a:gd name="T1" fmla="*/ 5 h 693"/>
                <a:gd name="T2" fmla="*/ 640 w 669"/>
                <a:gd name="T3" fmla="*/ 55 h 693"/>
                <a:gd name="T4" fmla="*/ 603 w 669"/>
                <a:gd name="T5" fmla="*/ 195 h 693"/>
                <a:gd name="T6" fmla="*/ 490 w 669"/>
                <a:gd name="T7" fmla="*/ 188 h 693"/>
                <a:gd name="T8" fmla="*/ 479 w 669"/>
                <a:gd name="T9" fmla="*/ 176 h 693"/>
                <a:gd name="T10" fmla="*/ 213 w 669"/>
                <a:gd name="T11" fmla="*/ 330 h 693"/>
                <a:gd name="T12" fmla="*/ 218 w 669"/>
                <a:gd name="T13" fmla="*/ 345 h 693"/>
                <a:gd name="T14" fmla="*/ 218 w 669"/>
                <a:gd name="T15" fmla="*/ 375 h 693"/>
                <a:gd name="T16" fmla="*/ 209 w 669"/>
                <a:gd name="T17" fmla="*/ 402 h 693"/>
                <a:gd name="T18" fmla="*/ 369 w 669"/>
                <a:gd name="T19" fmla="*/ 503 h 693"/>
                <a:gd name="T20" fmla="*/ 373 w 669"/>
                <a:gd name="T21" fmla="*/ 498 h 693"/>
                <a:gd name="T22" fmla="*/ 456 w 669"/>
                <a:gd name="T23" fmla="*/ 475 h 693"/>
                <a:gd name="T24" fmla="*/ 494 w 669"/>
                <a:gd name="T25" fmla="*/ 489 h 693"/>
                <a:gd name="T26" fmla="*/ 527 w 669"/>
                <a:gd name="T27" fmla="*/ 630 h 693"/>
                <a:gd name="T28" fmla="*/ 386 w 669"/>
                <a:gd name="T29" fmla="*/ 663 h 693"/>
                <a:gd name="T30" fmla="*/ 339 w 669"/>
                <a:gd name="T31" fmla="*/ 560 h 693"/>
                <a:gd name="T32" fmla="*/ 345 w 669"/>
                <a:gd name="T33" fmla="*/ 544 h 693"/>
                <a:gd name="T34" fmla="*/ 177 w 669"/>
                <a:gd name="T35" fmla="*/ 439 h 693"/>
                <a:gd name="T36" fmla="*/ 168 w 669"/>
                <a:gd name="T37" fmla="*/ 446 h 693"/>
                <a:gd name="T38" fmla="*/ 28 w 669"/>
                <a:gd name="T39" fmla="*/ 409 h 693"/>
                <a:gd name="T40" fmla="*/ 65 w 669"/>
                <a:gd name="T41" fmla="*/ 269 h 693"/>
                <a:gd name="T42" fmla="*/ 178 w 669"/>
                <a:gd name="T43" fmla="*/ 276 h 693"/>
                <a:gd name="T44" fmla="*/ 189 w 669"/>
                <a:gd name="T45" fmla="*/ 288 h 693"/>
                <a:gd name="T46" fmla="*/ 455 w 669"/>
                <a:gd name="T47" fmla="*/ 134 h 693"/>
                <a:gd name="T48" fmla="*/ 450 w 669"/>
                <a:gd name="T49" fmla="*/ 119 h 693"/>
                <a:gd name="T50" fmla="*/ 501 w 669"/>
                <a:gd name="T51" fmla="*/ 18 h 693"/>
                <a:gd name="T52" fmla="*/ 539 w 669"/>
                <a:gd name="T53" fmla="*/ 5 h 6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69" h="693">
                  <a:moveTo>
                    <a:pt x="539" y="5"/>
                  </a:moveTo>
                  <a:cubicBezTo>
                    <a:pt x="579" y="0"/>
                    <a:pt x="619" y="19"/>
                    <a:pt x="640" y="55"/>
                  </a:cubicBezTo>
                  <a:cubicBezTo>
                    <a:pt x="669" y="104"/>
                    <a:pt x="652" y="167"/>
                    <a:pt x="603" y="195"/>
                  </a:cubicBezTo>
                  <a:cubicBezTo>
                    <a:pt x="566" y="216"/>
                    <a:pt x="522" y="212"/>
                    <a:pt x="490" y="188"/>
                  </a:cubicBezTo>
                  <a:cubicBezTo>
                    <a:pt x="479" y="176"/>
                    <a:pt x="479" y="176"/>
                    <a:pt x="479" y="176"/>
                  </a:cubicBezTo>
                  <a:cubicBezTo>
                    <a:pt x="213" y="330"/>
                    <a:pt x="213" y="330"/>
                    <a:pt x="213" y="330"/>
                  </a:cubicBezTo>
                  <a:cubicBezTo>
                    <a:pt x="218" y="345"/>
                    <a:pt x="218" y="345"/>
                    <a:pt x="218" y="345"/>
                  </a:cubicBezTo>
                  <a:cubicBezTo>
                    <a:pt x="219" y="355"/>
                    <a:pt x="219" y="365"/>
                    <a:pt x="218" y="375"/>
                  </a:cubicBezTo>
                  <a:cubicBezTo>
                    <a:pt x="209" y="402"/>
                    <a:pt x="209" y="402"/>
                    <a:pt x="209" y="402"/>
                  </a:cubicBezTo>
                  <a:cubicBezTo>
                    <a:pt x="369" y="503"/>
                    <a:pt x="369" y="503"/>
                    <a:pt x="369" y="503"/>
                  </a:cubicBezTo>
                  <a:cubicBezTo>
                    <a:pt x="373" y="498"/>
                    <a:pt x="373" y="498"/>
                    <a:pt x="373" y="498"/>
                  </a:cubicBezTo>
                  <a:cubicBezTo>
                    <a:pt x="396" y="479"/>
                    <a:pt x="427" y="470"/>
                    <a:pt x="456" y="475"/>
                  </a:cubicBezTo>
                  <a:cubicBezTo>
                    <a:pt x="470" y="477"/>
                    <a:pt x="482" y="482"/>
                    <a:pt x="494" y="489"/>
                  </a:cubicBezTo>
                  <a:cubicBezTo>
                    <a:pt x="542" y="519"/>
                    <a:pt x="557" y="583"/>
                    <a:pt x="527" y="630"/>
                  </a:cubicBezTo>
                  <a:cubicBezTo>
                    <a:pt x="497" y="678"/>
                    <a:pt x="433" y="693"/>
                    <a:pt x="386" y="663"/>
                  </a:cubicBezTo>
                  <a:cubicBezTo>
                    <a:pt x="350" y="640"/>
                    <a:pt x="333" y="599"/>
                    <a:pt x="339" y="560"/>
                  </a:cubicBezTo>
                  <a:cubicBezTo>
                    <a:pt x="345" y="544"/>
                    <a:pt x="345" y="544"/>
                    <a:pt x="345" y="544"/>
                  </a:cubicBezTo>
                  <a:cubicBezTo>
                    <a:pt x="177" y="439"/>
                    <a:pt x="177" y="439"/>
                    <a:pt x="177" y="439"/>
                  </a:cubicBezTo>
                  <a:cubicBezTo>
                    <a:pt x="168" y="446"/>
                    <a:pt x="168" y="446"/>
                    <a:pt x="168" y="446"/>
                  </a:cubicBezTo>
                  <a:cubicBezTo>
                    <a:pt x="119" y="475"/>
                    <a:pt x="56" y="458"/>
                    <a:pt x="28" y="409"/>
                  </a:cubicBezTo>
                  <a:cubicBezTo>
                    <a:pt x="0" y="360"/>
                    <a:pt x="16" y="297"/>
                    <a:pt x="65" y="269"/>
                  </a:cubicBezTo>
                  <a:cubicBezTo>
                    <a:pt x="102" y="248"/>
                    <a:pt x="147" y="252"/>
                    <a:pt x="178" y="276"/>
                  </a:cubicBezTo>
                  <a:cubicBezTo>
                    <a:pt x="189" y="288"/>
                    <a:pt x="189" y="288"/>
                    <a:pt x="189" y="288"/>
                  </a:cubicBezTo>
                  <a:cubicBezTo>
                    <a:pt x="455" y="134"/>
                    <a:pt x="455" y="134"/>
                    <a:pt x="455" y="134"/>
                  </a:cubicBezTo>
                  <a:cubicBezTo>
                    <a:pt x="450" y="119"/>
                    <a:pt x="450" y="119"/>
                    <a:pt x="450" y="119"/>
                  </a:cubicBezTo>
                  <a:cubicBezTo>
                    <a:pt x="445" y="80"/>
                    <a:pt x="464" y="39"/>
                    <a:pt x="501" y="18"/>
                  </a:cubicBezTo>
                  <a:cubicBezTo>
                    <a:pt x="513" y="11"/>
                    <a:pt x="526" y="6"/>
                    <a:pt x="539" y="5"/>
                  </a:cubicBezTo>
                  <a:close/>
                </a:path>
              </a:pathLst>
            </a:custGeom>
            <a:solidFill>
              <a:schemeClr val="tx1"/>
            </a:solidFill>
            <a:ln>
              <a:noFill/>
            </a:ln>
          </p:spPr>
          <p:txBody>
            <a:bodyPr vert="horz" wrap="square" lIns="68574" tIns="34287" rIns="68574" bIns="34287"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Segoe UI"/>
                <a:ea typeface="+mn-ea"/>
                <a:cs typeface="+mn-cs"/>
              </a:endParaRPr>
            </a:p>
          </p:txBody>
        </p:sp>
        <p:sp>
          <p:nvSpPr>
            <p:cNvPr id="103" name="Freeform 102"/>
            <p:cNvSpPr>
              <a:spLocks noChangeAspect="1" noEditPoints="1"/>
            </p:cNvSpPr>
            <p:nvPr/>
          </p:nvSpPr>
          <p:spPr bwMode="black">
            <a:xfrm>
              <a:off x="722320" y="1783009"/>
              <a:ext cx="452202" cy="366660"/>
            </a:xfrm>
            <a:custGeom>
              <a:avLst/>
              <a:gdLst>
                <a:gd name="T0" fmla="*/ 600 w 1107"/>
                <a:gd name="T1" fmla="*/ 625 h 897"/>
                <a:gd name="T2" fmla="*/ 649 w 1107"/>
                <a:gd name="T3" fmla="*/ 567 h 897"/>
                <a:gd name="T4" fmla="*/ 727 w 1107"/>
                <a:gd name="T5" fmla="*/ 482 h 897"/>
                <a:gd name="T6" fmla="*/ 601 w 1107"/>
                <a:gd name="T7" fmla="*/ 434 h 897"/>
                <a:gd name="T8" fmla="*/ 628 w 1107"/>
                <a:gd name="T9" fmla="*/ 305 h 897"/>
                <a:gd name="T10" fmla="*/ 547 w 1107"/>
                <a:gd name="T11" fmla="*/ 240 h 897"/>
                <a:gd name="T12" fmla="*/ 427 w 1107"/>
                <a:gd name="T13" fmla="*/ 287 h 897"/>
                <a:gd name="T14" fmla="*/ 368 w 1107"/>
                <a:gd name="T15" fmla="*/ 170 h 897"/>
                <a:gd name="T16" fmla="*/ 285 w 1107"/>
                <a:gd name="T17" fmla="*/ 263 h 897"/>
                <a:gd name="T18" fmla="*/ 241 w 1107"/>
                <a:gd name="T19" fmla="*/ 313 h 897"/>
                <a:gd name="T20" fmla="*/ 139 w 1107"/>
                <a:gd name="T21" fmla="*/ 281 h 897"/>
                <a:gd name="T22" fmla="*/ 79 w 1107"/>
                <a:gd name="T23" fmla="*/ 355 h 897"/>
                <a:gd name="T24" fmla="*/ 132 w 1107"/>
                <a:gd name="T25" fmla="*/ 446 h 897"/>
                <a:gd name="T26" fmla="*/ 83 w 1107"/>
                <a:gd name="T27" fmla="*/ 505 h 897"/>
                <a:gd name="T28" fmla="*/ 5 w 1107"/>
                <a:gd name="T29" fmla="*/ 590 h 897"/>
                <a:gd name="T30" fmla="*/ 132 w 1107"/>
                <a:gd name="T31" fmla="*/ 638 h 897"/>
                <a:gd name="T32" fmla="*/ 145 w 1107"/>
                <a:gd name="T33" fmla="*/ 669 h 897"/>
                <a:gd name="T34" fmla="*/ 110 w 1107"/>
                <a:gd name="T35" fmla="*/ 793 h 897"/>
                <a:gd name="T36" fmla="*/ 230 w 1107"/>
                <a:gd name="T37" fmla="*/ 781 h 897"/>
                <a:gd name="T38" fmla="*/ 306 w 1107"/>
                <a:gd name="T39" fmla="*/ 785 h 897"/>
                <a:gd name="T40" fmla="*/ 346 w 1107"/>
                <a:gd name="T41" fmla="*/ 878 h 897"/>
                <a:gd name="T42" fmla="*/ 440 w 1107"/>
                <a:gd name="T43" fmla="*/ 872 h 897"/>
                <a:gd name="T44" fmla="*/ 466 w 1107"/>
                <a:gd name="T45" fmla="*/ 764 h 897"/>
                <a:gd name="T46" fmla="*/ 539 w 1107"/>
                <a:gd name="T47" fmla="*/ 755 h 897"/>
                <a:gd name="T48" fmla="*/ 659 w 1107"/>
                <a:gd name="T49" fmla="*/ 743 h 897"/>
                <a:gd name="T50" fmla="*/ 263 w 1107"/>
                <a:gd name="T51" fmla="*/ 452 h 897"/>
                <a:gd name="T52" fmla="*/ 281 w 1107"/>
                <a:gd name="T53" fmla="*/ 633 h 897"/>
                <a:gd name="T54" fmla="*/ 1002 w 1107"/>
                <a:gd name="T55" fmla="*/ 332 h 897"/>
                <a:gd name="T56" fmla="*/ 1043 w 1107"/>
                <a:gd name="T57" fmla="*/ 304 h 897"/>
                <a:gd name="T58" fmla="*/ 1107 w 1107"/>
                <a:gd name="T59" fmla="*/ 266 h 897"/>
                <a:gd name="T60" fmla="*/ 1037 w 1107"/>
                <a:gd name="T61" fmla="*/ 213 h 897"/>
                <a:gd name="T62" fmla="*/ 1077 w 1107"/>
                <a:gd name="T63" fmla="*/ 138 h 897"/>
                <a:gd name="T64" fmla="*/ 1038 w 1107"/>
                <a:gd name="T65" fmla="*/ 83 h 897"/>
                <a:gd name="T66" fmla="*/ 956 w 1107"/>
                <a:gd name="T67" fmla="*/ 91 h 897"/>
                <a:gd name="T68" fmla="*/ 940 w 1107"/>
                <a:gd name="T69" fmla="*/ 7 h 897"/>
                <a:gd name="T70" fmla="*/ 872 w 1107"/>
                <a:gd name="T71" fmla="*/ 50 h 897"/>
                <a:gd name="T72" fmla="*/ 836 w 1107"/>
                <a:gd name="T73" fmla="*/ 74 h 897"/>
                <a:gd name="T74" fmla="*/ 778 w 1107"/>
                <a:gd name="T75" fmla="*/ 35 h 897"/>
                <a:gd name="T76" fmla="*/ 728 w 1107"/>
                <a:gd name="T77" fmla="*/ 70 h 897"/>
                <a:gd name="T78" fmla="*/ 744 w 1107"/>
                <a:gd name="T79" fmla="*/ 136 h 897"/>
                <a:gd name="T80" fmla="*/ 703 w 1107"/>
                <a:gd name="T81" fmla="*/ 164 h 897"/>
                <a:gd name="T82" fmla="*/ 640 w 1107"/>
                <a:gd name="T83" fmla="*/ 203 h 897"/>
                <a:gd name="T84" fmla="*/ 710 w 1107"/>
                <a:gd name="T85" fmla="*/ 255 h 897"/>
                <a:gd name="T86" fmla="*/ 712 w 1107"/>
                <a:gd name="T87" fmla="*/ 277 h 897"/>
                <a:gd name="T88" fmla="*/ 668 w 1107"/>
                <a:gd name="T89" fmla="*/ 347 h 897"/>
                <a:gd name="T90" fmla="*/ 745 w 1107"/>
                <a:gd name="T91" fmla="*/ 361 h 897"/>
                <a:gd name="T92" fmla="*/ 791 w 1107"/>
                <a:gd name="T93" fmla="*/ 377 h 897"/>
                <a:gd name="T94" fmla="*/ 799 w 1107"/>
                <a:gd name="T95" fmla="*/ 443 h 897"/>
                <a:gd name="T96" fmla="*/ 859 w 1107"/>
                <a:gd name="T97" fmla="*/ 456 h 897"/>
                <a:gd name="T98" fmla="*/ 894 w 1107"/>
                <a:gd name="T99" fmla="*/ 393 h 897"/>
                <a:gd name="T100" fmla="*/ 941 w 1107"/>
                <a:gd name="T101" fmla="*/ 401 h 897"/>
                <a:gd name="T102" fmla="*/ 1018 w 1107"/>
                <a:gd name="T103" fmla="*/ 415 h 897"/>
                <a:gd name="T104" fmla="*/ 825 w 1107"/>
                <a:gd name="T105" fmla="*/ 164 h 897"/>
                <a:gd name="T106" fmla="*/ 803 w 1107"/>
                <a:gd name="T107" fmla="*/ 279 h 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107" h="897">
                  <a:moveTo>
                    <a:pt x="654" y="716"/>
                  </a:moveTo>
                  <a:cubicBezTo>
                    <a:pt x="616" y="670"/>
                    <a:pt x="616" y="670"/>
                    <a:pt x="616" y="670"/>
                  </a:cubicBezTo>
                  <a:cubicBezTo>
                    <a:pt x="593" y="654"/>
                    <a:pt x="603" y="638"/>
                    <a:pt x="600" y="625"/>
                  </a:cubicBezTo>
                  <a:cubicBezTo>
                    <a:pt x="600" y="625"/>
                    <a:pt x="600" y="625"/>
                    <a:pt x="600" y="625"/>
                  </a:cubicBezTo>
                  <a:cubicBezTo>
                    <a:pt x="605" y="617"/>
                    <a:pt x="611" y="609"/>
                    <a:pt x="608" y="596"/>
                  </a:cubicBezTo>
                  <a:cubicBezTo>
                    <a:pt x="618" y="580"/>
                    <a:pt x="623" y="572"/>
                    <a:pt x="649" y="567"/>
                  </a:cubicBezTo>
                  <a:cubicBezTo>
                    <a:pt x="715" y="553"/>
                    <a:pt x="715" y="553"/>
                    <a:pt x="715" y="553"/>
                  </a:cubicBezTo>
                  <a:cubicBezTo>
                    <a:pt x="728" y="550"/>
                    <a:pt x="733" y="542"/>
                    <a:pt x="730" y="529"/>
                  </a:cubicBezTo>
                  <a:cubicBezTo>
                    <a:pt x="727" y="482"/>
                    <a:pt x="727" y="482"/>
                    <a:pt x="727" y="482"/>
                  </a:cubicBezTo>
                  <a:cubicBezTo>
                    <a:pt x="724" y="469"/>
                    <a:pt x="717" y="463"/>
                    <a:pt x="701" y="453"/>
                  </a:cubicBezTo>
                  <a:cubicBezTo>
                    <a:pt x="641" y="459"/>
                    <a:pt x="641" y="459"/>
                    <a:pt x="641" y="459"/>
                  </a:cubicBezTo>
                  <a:cubicBezTo>
                    <a:pt x="620" y="457"/>
                    <a:pt x="604" y="447"/>
                    <a:pt x="601" y="434"/>
                  </a:cubicBezTo>
                  <a:cubicBezTo>
                    <a:pt x="598" y="421"/>
                    <a:pt x="590" y="416"/>
                    <a:pt x="580" y="397"/>
                  </a:cubicBezTo>
                  <a:cubicBezTo>
                    <a:pt x="577" y="384"/>
                    <a:pt x="574" y="371"/>
                    <a:pt x="584" y="355"/>
                  </a:cubicBezTo>
                  <a:cubicBezTo>
                    <a:pt x="628" y="305"/>
                    <a:pt x="628" y="305"/>
                    <a:pt x="628" y="305"/>
                  </a:cubicBezTo>
                  <a:cubicBezTo>
                    <a:pt x="634" y="297"/>
                    <a:pt x="631" y="284"/>
                    <a:pt x="623" y="279"/>
                  </a:cubicBezTo>
                  <a:cubicBezTo>
                    <a:pt x="581" y="240"/>
                    <a:pt x="581" y="240"/>
                    <a:pt x="581" y="240"/>
                  </a:cubicBezTo>
                  <a:cubicBezTo>
                    <a:pt x="573" y="235"/>
                    <a:pt x="560" y="238"/>
                    <a:pt x="547" y="240"/>
                  </a:cubicBezTo>
                  <a:cubicBezTo>
                    <a:pt x="503" y="291"/>
                    <a:pt x="503" y="291"/>
                    <a:pt x="503" y="291"/>
                  </a:cubicBezTo>
                  <a:cubicBezTo>
                    <a:pt x="484" y="302"/>
                    <a:pt x="471" y="304"/>
                    <a:pt x="463" y="299"/>
                  </a:cubicBezTo>
                  <a:cubicBezTo>
                    <a:pt x="456" y="294"/>
                    <a:pt x="435" y="292"/>
                    <a:pt x="427" y="287"/>
                  </a:cubicBezTo>
                  <a:cubicBezTo>
                    <a:pt x="419" y="282"/>
                    <a:pt x="403" y="271"/>
                    <a:pt x="400" y="258"/>
                  </a:cubicBezTo>
                  <a:cubicBezTo>
                    <a:pt x="386" y="193"/>
                    <a:pt x="386" y="193"/>
                    <a:pt x="386" y="193"/>
                  </a:cubicBezTo>
                  <a:cubicBezTo>
                    <a:pt x="384" y="180"/>
                    <a:pt x="368" y="170"/>
                    <a:pt x="368" y="170"/>
                  </a:cubicBezTo>
                  <a:cubicBezTo>
                    <a:pt x="308" y="176"/>
                    <a:pt x="308" y="176"/>
                    <a:pt x="308" y="176"/>
                  </a:cubicBezTo>
                  <a:cubicBezTo>
                    <a:pt x="308" y="176"/>
                    <a:pt x="289" y="187"/>
                    <a:pt x="292" y="200"/>
                  </a:cubicBezTo>
                  <a:cubicBezTo>
                    <a:pt x="285" y="263"/>
                    <a:pt x="285" y="263"/>
                    <a:pt x="285" y="263"/>
                  </a:cubicBezTo>
                  <a:cubicBezTo>
                    <a:pt x="291" y="289"/>
                    <a:pt x="277" y="292"/>
                    <a:pt x="272" y="300"/>
                  </a:cubicBezTo>
                  <a:cubicBezTo>
                    <a:pt x="272" y="300"/>
                    <a:pt x="272" y="300"/>
                    <a:pt x="267" y="308"/>
                  </a:cubicBezTo>
                  <a:cubicBezTo>
                    <a:pt x="259" y="302"/>
                    <a:pt x="246" y="305"/>
                    <a:pt x="241" y="313"/>
                  </a:cubicBezTo>
                  <a:cubicBezTo>
                    <a:pt x="236" y="321"/>
                    <a:pt x="236" y="321"/>
                    <a:pt x="236" y="321"/>
                  </a:cubicBezTo>
                  <a:cubicBezTo>
                    <a:pt x="223" y="324"/>
                    <a:pt x="210" y="327"/>
                    <a:pt x="194" y="317"/>
                  </a:cubicBezTo>
                  <a:cubicBezTo>
                    <a:pt x="139" y="281"/>
                    <a:pt x="139" y="281"/>
                    <a:pt x="139" y="281"/>
                  </a:cubicBezTo>
                  <a:cubicBezTo>
                    <a:pt x="131" y="276"/>
                    <a:pt x="110" y="273"/>
                    <a:pt x="104" y="281"/>
                  </a:cubicBezTo>
                  <a:cubicBezTo>
                    <a:pt x="79" y="321"/>
                    <a:pt x="79" y="321"/>
                    <a:pt x="79" y="321"/>
                  </a:cubicBezTo>
                  <a:cubicBezTo>
                    <a:pt x="66" y="324"/>
                    <a:pt x="68" y="337"/>
                    <a:pt x="79" y="355"/>
                  </a:cubicBezTo>
                  <a:cubicBezTo>
                    <a:pt x="121" y="394"/>
                    <a:pt x="121" y="394"/>
                    <a:pt x="121" y="394"/>
                  </a:cubicBezTo>
                  <a:cubicBezTo>
                    <a:pt x="140" y="417"/>
                    <a:pt x="135" y="425"/>
                    <a:pt x="132" y="446"/>
                  </a:cubicBezTo>
                  <a:cubicBezTo>
                    <a:pt x="132" y="446"/>
                    <a:pt x="132" y="446"/>
                    <a:pt x="132" y="446"/>
                  </a:cubicBezTo>
                  <a:cubicBezTo>
                    <a:pt x="127" y="454"/>
                    <a:pt x="122" y="462"/>
                    <a:pt x="117" y="470"/>
                  </a:cubicBezTo>
                  <a:cubicBezTo>
                    <a:pt x="117" y="470"/>
                    <a:pt x="117" y="470"/>
                    <a:pt x="117" y="470"/>
                  </a:cubicBezTo>
                  <a:cubicBezTo>
                    <a:pt x="120" y="483"/>
                    <a:pt x="109" y="499"/>
                    <a:pt x="83" y="505"/>
                  </a:cubicBezTo>
                  <a:cubicBezTo>
                    <a:pt x="23" y="511"/>
                    <a:pt x="23" y="511"/>
                    <a:pt x="23" y="511"/>
                  </a:cubicBezTo>
                  <a:cubicBezTo>
                    <a:pt x="10" y="514"/>
                    <a:pt x="0" y="529"/>
                    <a:pt x="2" y="543"/>
                  </a:cubicBezTo>
                  <a:cubicBezTo>
                    <a:pt x="5" y="590"/>
                    <a:pt x="5" y="590"/>
                    <a:pt x="5" y="590"/>
                  </a:cubicBezTo>
                  <a:cubicBezTo>
                    <a:pt x="8" y="603"/>
                    <a:pt x="16" y="608"/>
                    <a:pt x="37" y="610"/>
                  </a:cubicBezTo>
                  <a:cubicBezTo>
                    <a:pt x="92" y="612"/>
                    <a:pt x="92" y="612"/>
                    <a:pt x="92" y="612"/>
                  </a:cubicBezTo>
                  <a:cubicBezTo>
                    <a:pt x="113" y="614"/>
                    <a:pt x="129" y="625"/>
                    <a:pt x="132" y="638"/>
                  </a:cubicBezTo>
                  <a:cubicBezTo>
                    <a:pt x="132" y="638"/>
                    <a:pt x="132" y="638"/>
                    <a:pt x="132" y="638"/>
                  </a:cubicBezTo>
                  <a:cubicBezTo>
                    <a:pt x="140" y="643"/>
                    <a:pt x="142" y="656"/>
                    <a:pt x="150" y="661"/>
                  </a:cubicBezTo>
                  <a:cubicBezTo>
                    <a:pt x="145" y="669"/>
                    <a:pt x="145" y="669"/>
                    <a:pt x="145" y="669"/>
                  </a:cubicBezTo>
                  <a:cubicBezTo>
                    <a:pt x="153" y="674"/>
                    <a:pt x="156" y="687"/>
                    <a:pt x="140" y="711"/>
                  </a:cubicBezTo>
                  <a:cubicBezTo>
                    <a:pt x="109" y="759"/>
                    <a:pt x="109" y="759"/>
                    <a:pt x="109" y="759"/>
                  </a:cubicBezTo>
                  <a:cubicBezTo>
                    <a:pt x="99" y="775"/>
                    <a:pt x="102" y="788"/>
                    <a:pt x="110" y="793"/>
                  </a:cubicBezTo>
                  <a:cubicBezTo>
                    <a:pt x="152" y="832"/>
                    <a:pt x="152" y="832"/>
                    <a:pt x="152" y="832"/>
                  </a:cubicBezTo>
                  <a:cubicBezTo>
                    <a:pt x="160" y="837"/>
                    <a:pt x="173" y="834"/>
                    <a:pt x="178" y="826"/>
                  </a:cubicBezTo>
                  <a:cubicBezTo>
                    <a:pt x="230" y="781"/>
                    <a:pt x="230" y="781"/>
                    <a:pt x="230" y="781"/>
                  </a:cubicBezTo>
                  <a:cubicBezTo>
                    <a:pt x="248" y="770"/>
                    <a:pt x="261" y="767"/>
                    <a:pt x="269" y="772"/>
                  </a:cubicBezTo>
                  <a:cubicBezTo>
                    <a:pt x="269" y="772"/>
                    <a:pt x="269" y="772"/>
                    <a:pt x="269" y="772"/>
                  </a:cubicBezTo>
                  <a:cubicBezTo>
                    <a:pt x="282" y="769"/>
                    <a:pt x="298" y="779"/>
                    <a:pt x="306" y="785"/>
                  </a:cubicBezTo>
                  <a:cubicBezTo>
                    <a:pt x="306" y="785"/>
                    <a:pt x="306" y="785"/>
                    <a:pt x="306" y="785"/>
                  </a:cubicBezTo>
                  <a:cubicBezTo>
                    <a:pt x="319" y="782"/>
                    <a:pt x="327" y="787"/>
                    <a:pt x="332" y="813"/>
                  </a:cubicBezTo>
                  <a:cubicBezTo>
                    <a:pt x="346" y="878"/>
                    <a:pt x="346" y="878"/>
                    <a:pt x="346" y="878"/>
                  </a:cubicBezTo>
                  <a:cubicBezTo>
                    <a:pt x="349" y="892"/>
                    <a:pt x="357" y="897"/>
                    <a:pt x="370" y="894"/>
                  </a:cubicBezTo>
                  <a:cubicBezTo>
                    <a:pt x="425" y="896"/>
                    <a:pt x="425" y="896"/>
                    <a:pt x="425" y="896"/>
                  </a:cubicBezTo>
                  <a:cubicBezTo>
                    <a:pt x="430" y="888"/>
                    <a:pt x="443" y="885"/>
                    <a:pt x="440" y="872"/>
                  </a:cubicBezTo>
                  <a:cubicBezTo>
                    <a:pt x="440" y="804"/>
                    <a:pt x="440" y="804"/>
                    <a:pt x="440" y="804"/>
                  </a:cubicBezTo>
                  <a:cubicBezTo>
                    <a:pt x="442" y="783"/>
                    <a:pt x="460" y="772"/>
                    <a:pt x="466" y="764"/>
                  </a:cubicBezTo>
                  <a:cubicBezTo>
                    <a:pt x="466" y="764"/>
                    <a:pt x="466" y="764"/>
                    <a:pt x="466" y="764"/>
                  </a:cubicBezTo>
                  <a:cubicBezTo>
                    <a:pt x="479" y="761"/>
                    <a:pt x="492" y="758"/>
                    <a:pt x="497" y="750"/>
                  </a:cubicBezTo>
                  <a:cubicBezTo>
                    <a:pt x="497" y="750"/>
                    <a:pt x="497" y="750"/>
                    <a:pt x="497" y="750"/>
                  </a:cubicBezTo>
                  <a:cubicBezTo>
                    <a:pt x="510" y="747"/>
                    <a:pt x="523" y="745"/>
                    <a:pt x="539" y="755"/>
                  </a:cubicBezTo>
                  <a:cubicBezTo>
                    <a:pt x="594" y="791"/>
                    <a:pt x="594" y="791"/>
                    <a:pt x="594" y="791"/>
                  </a:cubicBezTo>
                  <a:cubicBezTo>
                    <a:pt x="602" y="796"/>
                    <a:pt x="623" y="798"/>
                    <a:pt x="628" y="790"/>
                  </a:cubicBezTo>
                  <a:cubicBezTo>
                    <a:pt x="659" y="743"/>
                    <a:pt x="659" y="743"/>
                    <a:pt x="659" y="743"/>
                  </a:cubicBezTo>
                  <a:cubicBezTo>
                    <a:pt x="659" y="743"/>
                    <a:pt x="669" y="727"/>
                    <a:pt x="654" y="716"/>
                  </a:cubicBezTo>
                  <a:close/>
                  <a:moveTo>
                    <a:pt x="281" y="633"/>
                  </a:moveTo>
                  <a:cubicBezTo>
                    <a:pt x="223" y="584"/>
                    <a:pt x="219" y="502"/>
                    <a:pt x="263" y="452"/>
                  </a:cubicBezTo>
                  <a:cubicBezTo>
                    <a:pt x="313" y="393"/>
                    <a:pt x="399" y="382"/>
                    <a:pt x="457" y="431"/>
                  </a:cubicBezTo>
                  <a:cubicBezTo>
                    <a:pt x="507" y="475"/>
                    <a:pt x="518" y="561"/>
                    <a:pt x="469" y="619"/>
                  </a:cubicBezTo>
                  <a:cubicBezTo>
                    <a:pt x="420" y="678"/>
                    <a:pt x="339" y="682"/>
                    <a:pt x="281" y="633"/>
                  </a:cubicBezTo>
                  <a:close/>
                  <a:moveTo>
                    <a:pt x="1019" y="398"/>
                  </a:moveTo>
                  <a:cubicBezTo>
                    <a:pt x="1004" y="362"/>
                    <a:pt x="1004" y="362"/>
                    <a:pt x="1004" y="362"/>
                  </a:cubicBezTo>
                  <a:cubicBezTo>
                    <a:pt x="992" y="348"/>
                    <a:pt x="1002" y="340"/>
                    <a:pt x="1002" y="332"/>
                  </a:cubicBezTo>
                  <a:cubicBezTo>
                    <a:pt x="1002" y="332"/>
                    <a:pt x="1002" y="332"/>
                    <a:pt x="1002" y="332"/>
                  </a:cubicBezTo>
                  <a:cubicBezTo>
                    <a:pt x="1007" y="328"/>
                    <a:pt x="1011" y="324"/>
                    <a:pt x="1012" y="315"/>
                  </a:cubicBezTo>
                  <a:cubicBezTo>
                    <a:pt x="1021" y="307"/>
                    <a:pt x="1026" y="303"/>
                    <a:pt x="1043" y="304"/>
                  </a:cubicBezTo>
                  <a:cubicBezTo>
                    <a:pt x="1086" y="307"/>
                    <a:pt x="1086" y="307"/>
                    <a:pt x="1086" y="307"/>
                  </a:cubicBezTo>
                  <a:cubicBezTo>
                    <a:pt x="1095" y="308"/>
                    <a:pt x="1099" y="304"/>
                    <a:pt x="1100" y="295"/>
                  </a:cubicBezTo>
                  <a:cubicBezTo>
                    <a:pt x="1107" y="266"/>
                    <a:pt x="1107" y="266"/>
                    <a:pt x="1107" y="266"/>
                  </a:cubicBezTo>
                  <a:cubicBezTo>
                    <a:pt x="1107" y="257"/>
                    <a:pt x="1103" y="252"/>
                    <a:pt x="1095" y="243"/>
                  </a:cubicBezTo>
                  <a:cubicBezTo>
                    <a:pt x="1057" y="236"/>
                    <a:pt x="1057" y="236"/>
                    <a:pt x="1057" y="236"/>
                  </a:cubicBezTo>
                  <a:cubicBezTo>
                    <a:pt x="1044" y="231"/>
                    <a:pt x="1036" y="222"/>
                    <a:pt x="1037" y="213"/>
                  </a:cubicBezTo>
                  <a:cubicBezTo>
                    <a:pt x="1038" y="205"/>
                    <a:pt x="1034" y="200"/>
                    <a:pt x="1030" y="187"/>
                  </a:cubicBezTo>
                  <a:cubicBezTo>
                    <a:pt x="1031" y="178"/>
                    <a:pt x="1032" y="170"/>
                    <a:pt x="1041" y="162"/>
                  </a:cubicBezTo>
                  <a:cubicBezTo>
                    <a:pt x="1077" y="138"/>
                    <a:pt x="1077" y="138"/>
                    <a:pt x="1077" y="138"/>
                  </a:cubicBezTo>
                  <a:cubicBezTo>
                    <a:pt x="1082" y="134"/>
                    <a:pt x="1083" y="126"/>
                    <a:pt x="1079" y="121"/>
                  </a:cubicBezTo>
                  <a:cubicBezTo>
                    <a:pt x="1059" y="89"/>
                    <a:pt x="1059" y="89"/>
                    <a:pt x="1059" y="89"/>
                  </a:cubicBezTo>
                  <a:cubicBezTo>
                    <a:pt x="1055" y="85"/>
                    <a:pt x="1047" y="84"/>
                    <a:pt x="1038" y="83"/>
                  </a:cubicBezTo>
                  <a:cubicBezTo>
                    <a:pt x="1002" y="107"/>
                    <a:pt x="1002" y="107"/>
                    <a:pt x="1002" y="107"/>
                  </a:cubicBezTo>
                  <a:cubicBezTo>
                    <a:pt x="989" y="110"/>
                    <a:pt x="980" y="110"/>
                    <a:pt x="976" y="105"/>
                  </a:cubicBezTo>
                  <a:cubicBezTo>
                    <a:pt x="972" y="100"/>
                    <a:pt x="960" y="95"/>
                    <a:pt x="956" y="91"/>
                  </a:cubicBezTo>
                  <a:cubicBezTo>
                    <a:pt x="952" y="86"/>
                    <a:pt x="944" y="77"/>
                    <a:pt x="944" y="68"/>
                  </a:cubicBezTo>
                  <a:cubicBezTo>
                    <a:pt x="948" y="25"/>
                    <a:pt x="948" y="25"/>
                    <a:pt x="948" y="25"/>
                  </a:cubicBezTo>
                  <a:cubicBezTo>
                    <a:pt x="948" y="17"/>
                    <a:pt x="940" y="7"/>
                    <a:pt x="940" y="7"/>
                  </a:cubicBezTo>
                  <a:cubicBezTo>
                    <a:pt x="902" y="0"/>
                    <a:pt x="902" y="0"/>
                    <a:pt x="902" y="0"/>
                  </a:cubicBezTo>
                  <a:cubicBezTo>
                    <a:pt x="902" y="0"/>
                    <a:pt x="889" y="4"/>
                    <a:pt x="888" y="12"/>
                  </a:cubicBezTo>
                  <a:cubicBezTo>
                    <a:pt x="872" y="50"/>
                    <a:pt x="872" y="50"/>
                    <a:pt x="872" y="50"/>
                  </a:cubicBezTo>
                  <a:cubicBezTo>
                    <a:pt x="871" y="67"/>
                    <a:pt x="862" y="67"/>
                    <a:pt x="858" y="71"/>
                  </a:cubicBezTo>
                  <a:cubicBezTo>
                    <a:pt x="858" y="71"/>
                    <a:pt x="858" y="71"/>
                    <a:pt x="853" y="75"/>
                  </a:cubicBezTo>
                  <a:cubicBezTo>
                    <a:pt x="849" y="70"/>
                    <a:pt x="840" y="70"/>
                    <a:pt x="836" y="74"/>
                  </a:cubicBezTo>
                  <a:cubicBezTo>
                    <a:pt x="831" y="78"/>
                    <a:pt x="831" y="78"/>
                    <a:pt x="831" y="78"/>
                  </a:cubicBezTo>
                  <a:cubicBezTo>
                    <a:pt x="822" y="77"/>
                    <a:pt x="814" y="76"/>
                    <a:pt x="806" y="67"/>
                  </a:cubicBezTo>
                  <a:cubicBezTo>
                    <a:pt x="778" y="35"/>
                    <a:pt x="778" y="35"/>
                    <a:pt x="778" y="35"/>
                  </a:cubicBezTo>
                  <a:cubicBezTo>
                    <a:pt x="774" y="30"/>
                    <a:pt x="762" y="25"/>
                    <a:pt x="757" y="29"/>
                  </a:cubicBezTo>
                  <a:cubicBezTo>
                    <a:pt x="734" y="49"/>
                    <a:pt x="734" y="49"/>
                    <a:pt x="734" y="49"/>
                  </a:cubicBezTo>
                  <a:cubicBezTo>
                    <a:pt x="725" y="49"/>
                    <a:pt x="725" y="57"/>
                    <a:pt x="728" y="70"/>
                  </a:cubicBezTo>
                  <a:cubicBezTo>
                    <a:pt x="747" y="102"/>
                    <a:pt x="747" y="102"/>
                    <a:pt x="747" y="102"/>
                  </a:cubicBezTo>
                  <a:cubicBezTo>
                    <a:pt x="754" y="120"/>
                    <a:pt x="750" y="124"/>
                    <a:pt x="744" y="136"/>
                  </a:cubicBezTo>
                  <a:cubicBezTo>
                    <a:pt x="744" y="136"/>
                    <a:pt x="744" y="136"/>
                    <a:pt x="744" y="136"/>
                  </a:cubicBezTo>
                  <a:cubicBezTo>
                    <a:pt x="740" y="140"/>
                    <a:pt x="735" y="144"/>
                    <a:pt x="731" y="148"/>
                  </a:cubicBezTo>
                  <a:cubicBezTo>
                    <a:pt x="731" y="148"/>
                    <a:pt x="731" y="148"/>
                    <a:pt x="731" y="148"/>
                  </a:cubicBezTo>
                  <a:cubicBezTo>
                    <a:pt x="730" y="157"/>
                    <a:pt x="721" y="165"/>
                    <a:pt x="703" y="164"/>
                  </a:cubicBezTo>
                  <a:cubicBezTo>
                    <a:pt x="665" y="157"/>
                    <a:pt x="665" y="157"/>
                    <a:pt x="665" y="157"/>
                  </a:cubicBezTo>
                  <a:cubicBezTo>
                    <a:pt x="656" y="156"/>
                    <a:pt x="647" y="164"/>
                    <a:pt x="647" y="173"/>
                  </a:cubicBezTo>
                  <a:cubicBezTo>
                    <a:pt x="640" y="203"/>
                    <a:pt x="640" y="203"/>
                    <a:pt x="640" y="203"/>
                  </a:cubicBezTo>
                  <a:cubicBezTo>
                    <a:pt x="639" y="211"/>
                    <a:pt x="643" y="216"/>
                    <a:pt x="656" y="221"/>
                  </a:cubicBezTo>
                  <a:cubicBezTo>
                    <a:pt x="690" y="232"/>
                    <a:pt x="690" y="232"/>
                    <a:pt x="690" y="232"/>
                  </a:cubicBezTo>
                  <a:cubicBezTo>
                    <a:pt x="702" y="237"/>
                    <a:pt x="710" y="246"/>
                    <a:pt x="710" y="255"/>
                  </a:cubicBezTo>
                  <a:cubicBezTo>
                    <a:pt x="710" y="255"/>
                    <a:pt x="710" y="255"/>
                    <a:pt x="710" y="255"/>
                  </a:cubicBezTo>
                  <a:cubicBezTo>
                    <a:pt x="714" y="260"/>
                    <a:pt x="713" y="268"/>
                    <a:pt x="717" y="273"/>
                  </a:cubicBezTo>
                  <a:cubicBezTo>
                    <a:pt x="712" y="277"/>
                    <a:pt x="712" y="277"/>
                    <a:pt x="712" y="277"/>
                  </a:cubicBezTo>
                  <a:cubicBezTo>
                    <a:pt x="716" y="281"/>
                    <a:pt x="716" y="290"/>
                    <a:pt x="702" y="302"/>
                  </a:cubicBezTo>
                  <a:cubicBezTo>
                    <a:pt x="674" y="326"/>
                    <a:pt x="674" y="326"/>
                    <a:pt x="674" y="326"/>
                  </a:cubicBezTo>
                  <a:cubicBezTo>
                    <a:pt x="665" y="334"/>
                    <a:pt x="664" y="343"/>
                    <a:pt x="668" y="347"/>
                  </a:cubicBezTo>
                  <a:cubicBezTo>
                    <a:pt x="687" y="379"/>
                    <a:pt x="687" y="379"/>
                    <a:pt x="687" y="379"/>
                  </a:cubicBezTo>
                  <a:cubicBezTo>
                    <a:pt x="691" y="383"/>
                    <a:pt x="700" y="384"/>
                    <a:pt x="704" y="380"/>
                  </a:cubicBezTo>
                  <a:cubicBezTo>
                    <a:pt x="745" y="361"/>
                    <a:pt x="745" y="361"/>
                    <a:pt x="745" y="361"/>
                  </a:cubicBezTo>
                  <a:cubicBezTo>
                    <a:pt x="758" y="358"/>
                    <a:pt x="767" y="358"/>
                    <a:pt x="771" y="363"/>
                  </a:cubicBezTo>
                  <a:cubicBezTo>
                    <a:pt x="771" y="363"/>
                    <a:pt x="771" y="363"/>
                    <a:pt x="771" y="363"/>
                  </a:cubicBezTo>
                  <a:cubicBezTo>
                    <a:pt x="779" y="364"/>
                    <a:pt x="787" y="373"/>
                    <a:pt x="791" y="377"/>
                  </a:cubicBezTo>
                  <a:cubicBezTo>
                    <a:pt x="791" y="377"/>
                    <a:pt x="791" y="377"/>
                    <a:pt x="791" y="377"/>
                  </a:cubicBezTo>
                  <a:cubicBezTo>
                    <a:pt x="800" y="378"/>
                    <a:pt x="804" y="383"/>
                    <a:pt x="802" y="400"/>
                  </a:cubicBezTo>
                  <a:cubicBezTo>
                    <a:pt x="799" y="443"/>
                    <a:pt x="799" y="443"/>
                    <a:pt x="799" y="443"/>
                  </a:cubicBezTo>
                  <a:cubicBezTo>
                    <a:pt x="798" y="451"/>
                    <a:pt x="802" y="456"/>
                    <a:pt x="811" y="457"/>
                  </a:cubicBezTo>
                  <a:cubicBezTo>
                    <a:pt x="845" y="468"/>
                    <a:pt x="845" y="468"/>
                    <a:pt x="845" y="468"/>
                  </a:cubicBezTo>
                  <a:cubicBezTo>
                    <a:pt x="849" y="464"/>
                    <a:pt x="858" y="464"/>
                    <a:pt x="859" y="456"/>
                  </a:cubicBezTo>
                  <a:cubicBezTo>
                    <a:pt x="871" y="413"/>
                    <a:pt x="871" y="413"/>
                    <a:pt x="871" y="413"/>
                  </a:cubicBezTo>
                  <a:cubicBezTo>
                    <a:pt x="876" y="401"/>
                    <a:pt x="889" y="397"/>
                    <a:pt x="894" y="393"/>
                  </a:cubicBezTo>
                  <a:cubicBezTo>
                    <a:pt x="894" y="393"/>
                    <a:pt x="894" y="393"/>
                    <a:pt x="894" y="393"/>
                  </a:cubicBezTo>
                  <a:cubicBezTo>
                    <a:pt x="902" y="394"/>
                    <a:pt x="911" y="395"/>
                    <a:pt x="916" y="391"/>
                  </a:cubicBezTo>
                  <a:cubicBezTo>
                    <a:pt x="916" y="391"/>
                    <a:pt x="916" y="391"/>
                    <a:pt x="916" y="391"/>
                  </a:cubicBezTo>
                  <a:cubicBezTo>
                    <a:pt x="924" y="391"/>
                    <a:pt x="933" y="392"/>
                    <a:pt x="941" y="401"/>
                  </a:cubicBezTo>
                  <a:cubicBezTo>
                    <a:pt x="969" y="433"/>
                    <a:pt x="969" y="433"/>
                    <a:pt x="969" y="433"/>
                  </a:cubicBezTo>
                  <a:cubicBezTo>
                    <a:pt x="973" y="438"/>
                    <a:pt x="985" y="443"/>
                    <a:pt x="990" y="439"/>
                  </a:cubicBezTo>
                  <a:cubicBezTo>
                    <a:pt x="1018" y="415"/>
                    <a:pt x="1018" y="415"/>
                    <a:pt x="1018" y="415"/>
                  </a:cubicBezTo>
                  <a:cubicBezTo>
                    <a:pt x="1018" y="415"/>
                    <a:pt x="1027" y="407"/>
                    <a:pt x="1019" y="398"/>
                  </a:cubicBezTo>
                  <a:close/>
                  <a:moveTo>
                    <a:pt x="803" y="279"/>
                  </a:moveTo>
                  <a:cubicBezTo>
                    <a:pt x="776" y="238"/>
                    <a:pt x="788" y="187"/>
                    <a:pt x="825" y="164"/>
                  </a:cubicBezTo>
                  <a:cubicBezTo>
                    <a:pt x="866" y="136"/>
                    <a:pt x="921" y="144"/>
                    <a:pt x="948" y="185"/>
                  </a:cubicBezTo>
                  <a:cubicBezTo>
                    <a:pt x="972" y="221"/>
                    <a:pt x="963" y="277"/>
                    <a:pt x="922" y="304"/>
                  </a:cubicBezTo>
                  <a:cubicBezTo>
                    <a:pt x="881" y="332"/>
                    <a:pt x="830" y="320"/>
                    <a:pt x="803" y="279"/>
                  </a:cubicBezTo>
                  <a:close/>
                </a:path>
              </a:pathLst>
            </a:custGeom>
            <a:solidFill>
              <a:schemeClr val="tx1"/>
            </a:solidFill>
            <a:ln>
              <a:noFill/>
            </a:ln>
          </p:spPr>
          <p:txBody>
            <a:bodyPr vert="horz" wrap="square" lIns="68574" tIns="34287" rIns="68574" bIns="34287"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17346"/>
                </a:solidFill>
                <a:effectLst/>
                <a:uLnTx/>
                <a:uFillTx/>
                <a:latin typeface="Segoe UI"/>
                <a:ea typeface="+mn-ea"/>
                <a:cs typeface="+mn-cs"/>
              </a:endParaRPr>
            </a:p>
          </p:txBody>
        </p:sp>
        <p:sp>
          <p:nvSpPr>
            <p:cNvPr id="104" name="Freeform 103"/>
            <p:cNvSpPr>
              <a:spLocks noChangeAspect="1"/>
            </p:cNvSpPr>
            <p:nvPr/>
          </p:nvSpPr>
          <p:spPr bwMode="black">
            <a:xfrm>
              <a:off x="776985" y="4213905"/>
              <a:ext cx="342871" cy="335728"/>
            </a:xfrm>
            <a:custGeom>
              <a:avLst/>
              <a:gdLst>
                <a:gd name="connsiteX0" fmla="*/ 3713863 w 4893730"/>
                <a:gd name="connsiteY0" fmla="*/ 2130808 h 4791777"/>
                <a:gd name="connsiteX1" fmla="*/ 4426142 w 4893730"/>
                <a:gd name="connsiteY1" fmla="*/ 2130808 h 4791777"/>
                <a:gd name="connsiteX2" fmla="*/ 4598071 w 4893730"/>
                <a:gd name="connsiteY2" fmla="*/ 2301547 h 4791777"/>
                <a:gd name="connsiteX3" fmla="*/ 4598071 w 4893730"/>
                <a:gd name="connsiteY3" fmla="*/ 3886978 h 4791777"/>
                <a:gd name="connsiteX4" fmla="*/ 4426142 w 4893730"/>
                <a:gd name="connsiteY4" fmla="*/ 4057717 h 4791777"/>
                <a:gd name="connsiteX5" fmla="*/ 3713863 w 4893730"/>
                <a:gd name="connsiteY5" fmla="*/ 4057717 h 4791777"/>
                <a:gd name="connsiteX6" fmla="*/ 3517372 w 4893730"/>
                <a:gd name="connsiteY6" fmla="*/ 3886978 h 4791777"/>
                <a:gd name="connsiteX7" fmla="*/ 3517372 w 4893730"/>
                <a:gd name="connsiteY7" fmla="*/ 2301547 h 4791777"/>
                <a:gd name="connsiteX8" fmla="*/ 3713863 w 4893730"/>
                <a:gd name="connsiteY8" fmla="*/ 2130808 h 4791777"/>
                <a:gd name="connsiteX9" fmla="*/ 904368 w 4893730"/>
                <a:gd name="connsiteY9" fmla="*/ 1223432 h 4791777"/>
                <a:gd name="connsiteX10" fmla="*/ 1609930 w 4893730"/>
                <a:gd name="connsiteY10" fmla="*/ 1223432 h 4791777"/>
                <a:gd name="connsiteX11" fmla="*/ 1804567 w 4893730"/>
                <a:gd name="connsiteY11" fmla="*/ 1394467 h 4791777"/>
                <a:gd name="connsiteX12" fmla="*/ 1804567 w 4893730"/>
                <a:gd name="connsiteY12" fmla="*/ 3886683 h 4791777"/>
                <a:gd name="connsiteX13" fmla="*/ 1609930 w 4893730"/>
                <a:gd name="connsiteY13" fmla="*/ 4057717 h 4791777"/>
                <a:gd name="connsiteX14" fmla="*/ 904368 w 4893730"/>
                <a:gd name="connsiteY14" fmla="*/ 4057717 h 4791777"/>
                <a:gd name="connsiteX15" fmla="*/ 734060 w 4893730"/>
                <a:gd name="connsiteY15" fmla="*/ 3886683 h 4791777"/>
                <a:gd name="connsiteX16" fmla="*/ 734060 w 4893730"/>
                <a:gd name="connsiteY16" fmla="*/ 1394467 h 4791777"/>
                <a:gd name="connsiteX17" fmla="*/ 904368 w 4893730"/>
                <a:gd name="connsiteY17" fmla="*/ 1223432 h 4791777"/>
                <a:gd name="connsiteX18" fmla="*/ 2325453 w 4893730"/>
                <a:gd name="connsiteY18" fmla="*/ 316050 h 4791777"/>
                <a:gd name="connsiteX19" fmla="*/ 3031014 w 4893730"/>
                <a:gd name="connsiteY19" fmla="*/ 316050 h 4791777"/>
                <a:gd name="connsiteX20" fmla="*/ 3201322 w 4893730"/>
                <a:gd name="connsiteY20" fmla="*/ 487238 h 4791777"/>
                <a:gd name="connsiteX21" fmla="*/ 3201322 w 4893730"/>
                <a:gd name="connsiteY21" fmla="*/ 3886530 h 4791777"/>
                <a:gd name="connsiteX22" fmla="*/ 3031014 w 4893730"/>
                <a:gd name="connsiteY22" fmla="*/ 4057717 h 4791777"/>
                <a:gd name="connsiteX23" fmla="*/ 2325453 w 4893730"/>
                <a:gd name="connsiteY23" fmla="*/ 4057717 h 4791777"/>
                <a:gd name="connsiteX24" fmla="*/ 2130815 w 4893730"/>
                <a:gd name="connsiteY24" fmla="*/ 3886530 h 4791777"/>
                <a:gd name="connsiteX25" fmla="*/ 2130815 w 4893730"/>
                <a:gd name="connsiteY25" fmla="*/ 487238 h 4791777"/>
                <a:gd name="connsiteX26" fmla="*/ 2325453 w 4893730"/>
                <a:gd name="connsiteY26" fmla="*/ 316050 h 4791777"/>
                <a:gd name="connsiteX27" fmla="*/ 269155 w 4893730"/>
                <a:gd name="connsiteY27" fmla="*/ 0 h 4791777"/>
                <a:gd name="connsiteX28" fmla="*/ 538311 w 4893730"/>
                <a:gd name="connsiteY28" fmla="*/ 268927 h 4791777"/>
                <a:gd name="connsiteX29" fmla="*/ 538311 w 4893730"/>
                <a:gd name="connsiteY29" fmla="*/ 4253925 h 4791777"/>
                <a:gd name="connsiteX30" fmla="*/ 4624575 w 4893730"/>
                <a:gd name="connsiteY30" fmla="*/ 4253925 h 4791777"/>
                <a:gd name="connsiteX31" fmla="*/ 4893730 w 4893730"/>
                <a:gd name="connsiteY31" fmla="*/ 4522851 h 4791777"/>
                <a:gd name="connsiteX32" fmla="*/ 4624575 w 4893730"/>
                <a:gd name="connsiteY32" fmla="*/ 4791777 h 4791777"/>
                <a:gd name="connsiteX33" fmla="*/ 269155 w 4893730"/>
                <a:gd name="connsiteY33" fmla="*/ 4791777 h 4791777"/>
                <a:gd name="connsiteX34" fmla="*/ 0 w 4893730"/>
                <a:gd name="connsiteY34" fmla="*/ 4522851 h 4791777"/>
                <a:gd name="connsiteX35" fmla="*/ 0 w 4893730"/>
                <a:gd name="connsiteY35" fmla="*/ 268927 h 4791777"/>
                <a:gd name="connsiteX36" fmla="*/ 269155 w 4893730"/>
                <a:gd name="connsiteY36" fmla="*/ 0 h 4791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4893730" h="4791777">
                  <a:moveTo>
                    <a:pt x="3713863" y="2130808"/>
                  </a:moveTo>
                  <a:cubicBezTo>
                    <a:pt x="3713863" y="2130808"/>
                    <a:pt x="3713863" y="2130808"/>
                    <a:pt x="4426142" y="2130808"/>
                  </a:cubicBezTo>
                  <a:cubicBezTo>
                    <a:pt x="4524387" y="2130808"/>
                    <a:pt x="4598071" y="2203982"/>
                    <a:pt x="4598071" y="2301547"/>
                  </a:cubicBezTo>
                  <a:cubicBezTo>
                    <a:pt x="4598071" y="2301547"/>
                    <a:pt x="4598071" y="2301547"/>
                    <a:pt x="4598071" y="3886978"/>
                  </a:cubicBezTo>
                  <a:cubicBezTo>
                    <a:pt x="4598071" y="3984543"/>
                    <a:pt x="4524387" y="4057717"/>
                    <a:pt x="4426142" y="4057717"/>
                  </a:cubicBezTo>
                  <a:cubicBezTo>
                    <a:pt x="4426142" y="4057717"/>
                    <a:pt x="4426142" y="4057717"/>
                    <a:pt x="3713863" y="4057717"/>
                  </a:cubicBezTo>
                  <a:cubicBezTo>
                    <a:pt x="3615618" y="4057717"/>
                    <a:pt x="3517372" y="3984543"/>
                    <a:pt x="3517372" y="3886978"/>
                  </a:cubicBezTo>
                  <a:cubicBezTo>
                    <a:pt x="3517372" y="3886978"/>
                    <a:pt x="3517372" y="3886978"/>
                    <a:pt x="3517372" y="2301547"/>
                  </a:cubicBezTo>
                  <a:cubicBezTo>
                    <a:pt x="3517372" y="2203982"/>
                    <a:pt x="3615618" y="2130808"/>
                    <a:pt x="3713863" y="2130808"/>
                  </a:cubicBezTo>
                  <a:close/>
                  <a:moveTo>
                    <a:pt x="904368" y="1223432"/>
                  </a:moveTo>
                  <a:cubicBezTo>
                    <a:pt x="904368" y="1223432"/>
                    <a:pt x="904368" y="1223432"/>
                    <a:pt x="1609930" y="1223432"/>
                  </a:cubicBezTo>
                  <a:cubicBezTo>
                    <a:pt x="1731578" y="1223432"/>
                    <a:pt x="1804567" y="1296733"/>
                    <a:pt x="1804567" y="1394467"/>
                  </a:cubicBezTo>
                  <a:cubicBezTo>
                    <a:pt x="1804567" y="1394467"/>
                    <a:pt x="1804567" y="1394467"/>
                    <a:pt x="1804567" y="3886683"/>
                  </a:cubicBezTo>
                  <a:cubicBezTo>
                    <a:pt x="1804567" y="3984417"/>
                    <a:pt x="1731578" y="4057717"/>
                    <a:pt x="1609930" y="4057717"/>
                  </a:cubicBezTo>
                  <a:cubicBezTo>
                    <a:pt x="1609930" y="4057717"/>
                    <a:pt x="1609930" y="4057717"/>
                    <a:pt x="904368" y="4057717"/>
                  </a:cubicBezTo>
                  <a:cubicBezTo>
                    <a:pt x="807049" y="4057717"/>
                    <a:pt x="734060" y="3984417"/>
                    <a:pt x="734060" y="3886683"/>
                  </a:cubicBezTo>
                  <a:cubicBezTo>
                    <a:pt x="734060" y="3886683"/>
                    <a:pt x="734060" y="3886683"/>
                    <a:pt x="734060" y="1394467"/>
                  </a:cubicBezTo>
                  <a:cubicBezTo>
                    <a:pt x="734060" y="1296733"/>
                    <a:pt x="807049" y="1223432"/>
                    <a:pt x="904368" y="1223432"/>
                  </a:cubicBezTo>
                  <a:close/>
                  <a:moveTo>
                    <a:pt x="2325453" y="316050"/>
                  </a:moveTo>
                  <a:cubicBezTo>
                    <a:pt x="2325453" y="316050"/>
                    <a:pt x="2325453" y="316050"/>
                    <a:pt x="3031014" y="316050"/>
                  </a:cubicBezTo>
                  <a:cubicBezTo>
                    <a:pt x="3128333" y="316050"/>
                    <a:pt x="3201322" y="389416"/>
                    <a:pt x="3201322" y="487238"/>
                  </a:cubicBezTo>
                  <a:cubicBezTo>
                    <a:pt x="3201322" y="487238"/>
                    <a:pt x="3201322" y="487238"/>
                    <a:pt x="3201322" y="3886530"/>
                  </a:cubicBezTo>
                  <a:cubicBezTo>
                    <a:pt x="3201322" y="3984351"/>
                    <a:pt x="3128333" y="4057717"/>
                    <a:pt x="3031014" y="4057717"/>
                  </a:cubicBezTo>
                  <a:cubicBezTo>
                    <a:pt x="3031014" y="4057717"/>
                    <a:pt x="3031014" y="4057717"/>
                    <a:pt x="2325453" y="4057717"/>
                  </a:cubicBezTo>
                  <a:cubicBezTo>
                    <a:pt x="2203804" y="4057717"/>
                    <a:pt x="2130815" y="3984351"/>
                    <a:pt x="2130815" y="3886530"/>
                  </a:cubicBezTo>
                  <a:cubicBezTo>
                    <a:pt x="2130815" y="3886530"/>
                    <a:pt x="2130815" y="3886530"/>
                    <a:pt x="2130815" y="487238"/>
                  </a:cubicBezTo>
                  <a:cubicBezTo>
                    <a:pt x="2130815" y="389416"/>
                    <a:pt x="2203804" y="316050"/>
                    <a:pt x="2325453" y="316050"/>
                  </a:cubicBezTo>
                  <a:close/>
                  <a:moveTo>
                    <a:pt x="269155" y="0"/>
                  </a:moveTo>
                  <a:cubicBezTo>
                    <a:pt x="415967" y="0"/>
                    <a:pt x="538311" y="122239"/>
                    <a:pt x="538311" y="268927"/>
                  </a:cubicBezTo>
                  <a:cubicBezTo>
                    <a:pt x="538311" y="268927"/>
                    <a:pt x="538311" y="268927"/>
                    <a:pt x="538311" y="4253925"/>
                  </a:cubicBezTo>
                  <a:cubicBezTo>
                    <a:pt x="538311" y="4253925"/>
                    <a:pt x="538311" y="4253925"/>
                    <a:pt x="4624575" y="4253925"/>
                  </a:cubicBezTo>
                  <a:cubicBezTo>
                    <a:pt x="4771387" y="4253925"/>
                    <a:pt x="4893730" y="4376164"/>
                    <a:pt x="4893730" y="4522851"/>
                  </a:cubicBezTo>
                  <a:cubicBezTo>
                    <a:pt x="4893730" y="4669538"/>
                    <a:pt x="4771387" y="4791777"/>
                    <a:pt x="4624575" y="4791777"/>
                  </a:cubicBezTo>
                  <a:cubicBezTo>
                    <a:pt x="4624575" y="4791777"/>
                    <a:pt x="4624575" y="4791777"/>
                    <a:pt x="269155" y="4791777"/>
                  </a:cubicBezTo>
                  <a:cubicBezTo>
                    <a:pt x="122344" y="4791777"/>
                    <a:pt x="0" y="4669538"/>
                    <a:pt x="0" y="4522851"/>
                  </a:cubicBezTo>
                  <a:cubicBezTo>
                    <a:pt x="0" y="4522851"/>
                    <a:pt x="0" y="4522851"/>
                    <a:pt x="0" y="268927"/>
                  </a:cubicBezTo>
                  <a:cubicBezTo>
                    <a:pt x="0" y="122239"/>
                    <a:pt x="122344" y="0"/>
                    <a:pt x="269155"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37148" tIns="109719" rIns="137148" bIns="109719"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699261"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5" name="Rectangle 104"/>
            <p:cNvSpPr/>
            <p:nvPr/>
          </p:nvSpPr>
          <p:spPr bwMode="auto">
            <a:xfrm rot="2745734">
              <a:off x="886688" y="2210975"/>
              <a:ext cx="1598323" cy="1625795"/>
            </a:xfrm>
            <a:prstGeom prst="rect">
              <a:avLst/>
            </a:prstGeom>
            <a:solidFill>
              <a:schemeClr val="tx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6" name="Rectangle 105"/>
            <p:cNvSpPr/>
            <p:nvPr/>
          </p:nvSpPr>
          <p:spPr bwMode="auto">
            <a:xfrm rot="2745734">
              <a:off x="292433" y="3819160"/>
              <a:ext cx="1610349" cy="1235003"/>
            </a:xfrm>
            <a:prstGeom prst="rect">
              <a:avLst/>
            </a:prstGeom>
            <a:solidFill>
              <a:schemeClr val="tx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7" name="Rectangle 106"/>
            <p:cNvSpPr/>
            <p:nvPr/>
          </p:nvSpPr>
          <p:spPr bwMode="auto">
            <a:xfrm rot="2745734">
              <a:off x="1315610" y="4915701"/>
              <a:ext cx="1263370" cy="1255989"/>
            </a:xfrm>
            <a:prstGeom prst="rect">
              <a:avLst/>
            </a:prstGeom>
            <a:solidFill>
              <a:schemeClr val="tx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37" name="Title 10"/>
          <p:cNvSpPr txBox="1">
            <a:spLocks/>
          </p:cNvSpPr>
          <p:nvPr/>
        </p:nvSpPr>
        <p:spPr>
          <a:xfrm>
            <a:off x="2849060" y="0"/>
            <a:ext cx="9342940" cy="665151"/>
          </a:xfrm>
          <a:prstGeom prst="rect">
            <a:avLst/>
          </a:prstGeom>
          <a:noFill/>
        </p:spPr>
        <p:txBody>
          <a:bodyPr vert="horz" wrap="square" lIns="0" tIns="91440" rIns="0" bIns="91440" rtlCol="0" anchor="t">
            <a:noAutofit/>
          </a:bodyPr>
          <a:lstStyle>
            <a:lvl1pPr defTabSz="914367">
              <a:lnSpc>
                <a:spcPct val="90000"/>
              </a:lnSpc>
              <a:spcBef>
                <a:spcPct val="0"/>
              </a:spcBef>
              <a:buNone/>
              <a:defRPr lang="en-US" sz="5294" b="0" cap="none" spc="-100" baseline="0" dirty="0" smtClean="0">
                <a:ln w="3175">
                  <a:noFill/>
                </a:ln>
                <a:solidFill>
                  <a:schemeClr val="tx2"/>
                </a:solidFill>
                <a:effectLst/>
                <a:latin typeface="+mj-lt"/>
                <a:cs typeface="Segoe UI" pitchFamily="34" charset="0"/>
              </a:defRPr>
            </a:lvl1pPr>
          </a:lstStyle>
          <a:p>
            <a:pPr marL="168275" marR="0" lvl="0" indent="0" algn="l" defTabSz="914367" rtl="0" eaLnBrk="1" fontAlgn="auto" latinLnBrk="0" hangingPunct="1">
              <a:lnSpc>
                <a:spcPct val="90000"/>
              </a:lnSpc>
              <a:spcBef>
                <a:spcPct val="0"/>
              </a:spcBef>
              <a:spcAft>
                <a:spcPts val="0"/>
              </a:spcAft>
              <a:buClrTx/>
              <a:buSzTx/>
              <a:buFontTx/>
              <a:buNone/>
              <a:tabLst/>
              <a:defRPr/>
            </a:pPr>
            <a:r>
              <a:rPr kumimoji="0" lang="en-US" sz="3600" b="0" i="0" u="none" strike="noStrike" kern="1200" cap="none" spc="-100" normalizeH="0" baseline="0" noProof="0">
                <a:ln w="3175">
                  <a:noFill/>
                </a:ln>
                <a:solidFill>
                  <a:prstClr val="black"/>
                </a:solidFill>
                <a:effectLst/>
                <a:uLnTx/>
                <a:uFillTx/>
                <a:latin typeface="Segoe UI Light"/>
                <a:ea typeface="+mn-ea"/>
                <a:cs typeface="Segoe UI" pitchFamily="34" charset="0"/>
              </a:rPr>
              <a:t>Creating a Data Model</a:t>
            </a:r>
            <a:endParaRPr kumimoji="0" lang="en-IN" sz="3600" b="0" i="0" u="none" strike="noStrike" kern="1200" cap="none" spc="-100" normalizeH="0" baseline="0" noProof="0">
              <a:ln w="3175">
                <a:noFill/>
              </a:ln>
              <a:solidFill>
                <a:prstClr val="black"/>
              </a:solidFill>
              <a:effectLst/>
              <a:uLnTx/>
              <a:uFillTx/>
              <a:latin typeface="Segoe UI Light"/>
              <a:ea typeface="+mn-ea"/>
              <a:cs typeface="Segoe UI" pitchFamily="34" charset="0"/>
            </a:endParaRPr>
          </a:p>
        </p:txBody>
      </p:sp>
      <p:sp>
        <p:nvSpPr>
          <p:cNvPr id="40" name="TextBox 39"/>
          <p:cNvSpPr txBox="1"/>
          <p:nvPr/>
        </p:nvSpPr>
        <p:spPr>
          <a:xfrm>
            <a:off x="3" y="51415"/>
            <a:ext cx="2849058" cy="430887"/>
          </a:xfrm>
          <a:prstGeom prst="rect">
            <a:avLst/>
          </a:prstGeom>
        </p:spPr>
        <p:txBody>
          <a:bodyPr wrap="square">
            <a:spAutoFit/>
          </a:bodyPr>
          <a:lstStyle>
            <a:defPPr>
              <a:defRPr lang="en-US"/>
            </a:defPPr>
            <a:lvl1pPr defTabSz="914192">
              <a:defRPr sz="2800" b="1" spc="-100">
                <a:ln w="3175">
                  <a:noFill/>
                </a:ln>
                <a:solidFill>
                  <a:srgbClr val="F2C812"/>
                </a:solidFill>
                <a:latin typeface="Segoe UI" panose="020B0502040204020203" pitchFamily="34" charset="0"/>
                <a:ea typeface="ＭＳ Ｐゴシック" charset="0"/>
                <a:cs typeface="Segoe UI" panose="020B0502040204020203" pitchFamily="34" charset="0"/>
              </a:defRPr>
            </a:lvl1pPr>
          </a:lstStyle>
          <a:p>
            <a:pPr marL="0" marR="0" lvl="0" indent="0" algn="l" defTabSz="914192" rtl="0" eaLnBrk="1" fontAlgn="auto" latinLnBrk="0" hangingPunct="1">
              <a:lnSpc>
                <a:spcPct val="100000"/>
              </a:lnSpc>
              <a:spcBef>
                <a:spcPts val="0"/>
              </a:spcBef>
              <a:spcAft>
                <a:spcPts val="0"/>
              </a:spcAft>
              <a:buClrTx/>
              <a:buSzTx/>
              <a:buFontTx/>
              <a:buNone/>
              <a:tabLst/>
              <a:defRPr/>
            </a:pPr>
            <a:r>
              <a:rPr kumimoji="0" lang="en-US" sz="2200" b="1" i="0" u="none" strike="noStrike" kern="1200" cap="none" spc="-100" normalizeH="0" baseline="0" noProof="0">
                <a:ln w="3175">
                  <a:noFill/>
                </a:ln>
                <a:solidFill>
                  <a:srgbClr val="F2C812"/>
                </a:solidFill>
                <a:effectLst/>
                <a:uLnTx/>
                <a:uFillTx/>
                <a:latin typeface="Segoe UI Light"/>
                <a:ea typeface="ＭＳ Ｐゴシック" charset="0"/>
                <a:cs typeface="Segoe UI" panose="020B0502040204020203" pitchFamily="34" charset="0"/>
              </a:rPr>
              <a:t>Power BI Desktop</a:t>
            </a:r>
          </a:p>
        </p:txBody>
      </p:sp>
      <p:sp>
        <p:nvSpPr>
          <p:cNvPr id="36" name="Rectangle 3"/>
          <p:cNvSpPr/>
          <p:nvPr/>
        </p:nvSpPr>
        <p:spPr bwMode="auto">
          <a:xfrm>
            <a:off x="3202216" y="665151"/>
            <a:ext cx="8105312" cy="44435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PT" sz="2000" b="0" i="1" u="none" strike="noStrike" kern="1200" cap="none" spc="0" normalizeH="0" baseline="0" noProof="0">
                <a:ln>
                  <a:noFill/>
                </a:ln>
                <a:solidFill>
                  <a:prstClr val="black"/>
                </a:solidFill>
                <a:effectLst/>
                <a:uLnTx/>
                <a:uFillTx/>
                <a:latin typeface="Segoe UI Light"/>
                <a:ea typeface="+mn-ea"/>
                <a:cs typeface="+mn-cs"/>
              </a:rPr>
              <a:t>Data View</a:t>
            </a:r>
            <a:endParaRPr kumimoji="0" lang="en-US" sz="2000" b="0" i="1" u="none" strike="noStrike" kern="1200" cap="none" spc="0" normalizeH="0" baseline="0" noProof="0">
              <a:ln>
                <a:noFill/>
              </a:ln>
              <a:solidFill>
                <a:prstClr val="black"/>
              </a:solidFill>
              <a:effectLst/>
              <a:uLnTx/>
              <a:uFillTx/>
              <a:latin typeface="Segoe UI Light"/>
              <a:ea typeface="+mn-ea"/>
              <a:cs typeface="+mn-cs"/>
            </a:endParaRPr>
          </a:p>
        </p:txBody>
      </p:sp>
      <p:sp>
        <p:nvSpPr>
          <p:cNvPr id="48" name="TextBox 47"/>
          <p:cNvSpPr txBox="1"/>
          <p:nvPr/>
        </p:nvSpPr>
        <p:spPr>
          <a:xfrm>
            <a:off x="9798642" y="1632603"/>
            <a:ext cx="1669337" cy="517065"/>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600" b="1" i="0" u="none" strike="noStrike" kern="1200" cap="none" spc="0" normalizeH="0" baseline="0" noProof="0">
                <a:ln>
                  <a:noFill/>
                </a:ln>
                <a:solidFill>
                  <a:prstClr val="black"/>
                </a:solidFill>
                <a:effectLst/>
                <a:uLnTx/>
                <a:uFillTx/>
                <a:latin typeface="Segoe UI Light"/>
                <a:ea typeface="Calibri" panose="020F0502020204030204" pitchFamily="34" charset="0"/>
                <a:cs typeface="Times New Roman" panose="02020603050405020304" pitchFamily="18" charset="0"/>
              </a:rPr>
              <a:t>Data View icon </a:t>
            </a:r>
          </a:p>
        </p:txBody>
      </p:sp>
      <p:sp>
        <p:nvSpPr>
          <p:cNvPr id="50" name="Oval 49"/>
          <p:cNvSpPr/>
          <p:nvPr/>
        </p:nvSpPr>
        <p:spPr bwMode="auto">
          <a:xfrm>
            <a:off x="8568410" y="2373382"/>
            <a:ext cx="216000" cy="216000"/>
          </a:xfrm>
          <a:prstGeom prst="ellipse">
            <a:avLst/>
          </a:prstGeom>
          <a:solidFill>
            <a:srgbClr val="FF00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1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E</a:t>
            </a:r>
          </a:p>
        </p:txBody>
      </p:sp>
      <p:sp>
        <p:nvSpPr>
          <p:cNvPr id="52" name="Oval 51"/>
          <p:cNvSpPr/>
          <p:nvPr/>
        </p:nvSpPr>
        <p:spPr bwMode="auto">
          <a:xfrm>
            <a:off x="8525627" y="5063837"/>
            <a:ext cx="216000" cy="216000"/>
          </a:xfrm>
          <a:prstGeom prst="ellipse">
            <a:avLst/>
          </a:prstGeom>
          <a:solidFill>
            <a:srgbClr val="FF00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pt-PT" sz="11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F</a:t>
            </a:r>
            <a:endParaRPr kumimoji="0" lang="en-US" sz="11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3" name="Straight Connector 12"/>
          <p:cNvCxnSpPr/>
          <p:nvPr/>
        </p:nvCxnSpPr>
        <p:spPr>
          <a:xfrm>
            <a:off x="8667494" y="2589382"/>
            <a:ext cx="0" cy="523387"/>
          </a:xfrm>
          <a:prstGeom prst="line">
            <a:avLst/>
          </a:prstGeom>
          <a:ln w="19050">
            <a:solidFill>
              <a:srgbClr val="FF00F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6" name="Straight Connector 55"/>
          <p:cNvCxnSpPr/>
          <p:nvPr/>
        </p:nvCxnSpPr>
        <p:spPr>
          <a:xfrm>
            <a:off x="8633627" y="4799070"/>
            <a:ext cx="899" cy="292719"/>
          </a:xfrm>
          <a:prstGeom prst="line">
            <a:avLst/>
          </a:prstGeom>
          <a:ln w="19050">
            <a:solidFill>
              <a:srgbClr val="FF00FF"/>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59" name="Oval 58"/>
          <p:cNvSpPr/>
          <p:nvPr/>
        </p:nvSpPr>
        <p:spPr bwMode="auto">
          <a:xfrm>
            <a:off x="9599484" y="1745681"/>
            <a:ext cx="252000" cy="252000"/>
          </a:xfrm>
          <a:prstGeom prst="ellipse">
            <a:avLst/>
          </a:prstGeom>
          <a:solidFill>
            <a:srgbClr val="FF00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pt-PT" sz="12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A</a:t>
            </a:r>
            <a:endParaRPr kumimoji="0" lang="en-US" sz="12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0" name="TextBox 59"/>
          <p:cNvSpPr txBox="1"/>
          <p:nvPr/>
        </p:nvSpPr>
        <p:spPr>
          <a:xfrm>
            <a:off x="9798642" y="2163477"/>
            <a:ext cx="2462097" cy="960263"/>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600" b="1" i="0" u="none" strike="noStrike" kern="1200" cap="none" spc="0" normalizeH="0" baseline="0" noProof="0">
                <a:ln>
                  <a:noFill/>
                </a:ln>
                <a:solidFill>
                  <a:prstClr val="black"/>
                </a:solidFill>
                <a:effectLst/>
                <a:uLnTx/>
                <a:uFillTx/>
                <a:latin typeface="Segoe UI Light"/>
                <a:ea typeface="Calibri" panose="020F0502020204030204" pitchFamily="34" charset="0"/>
                <a:cs typeface="Times New Roman" panose="02020603050405020304" pitchFamily="18" charset="0"/>
              </a:rPr>
              <a:t>Data Grid</a:t>
            </a:r>
            <a:r>
              <a:rPr kumimoji="0" lang="en-US" sz="1600" b="0" i="0" u="none" strike="noStrike" kern="1200" cap="none" spc="0" normalizeH="0" baseline="0" noProof="0">
                <a:ln>
                  <a:noFill/>
                </a:ln>
                <a:solidFill>
                  <a:prstClr val="black"/>
                </a:solidFill>
                <a:effectLst/>
                <a:uLnTx/>
                <a:uFillTx/>
                <a:latin typeface="Segoe UI Light"/>
                <a:ea typeface="Calibri" panose="020F0502020204030204" pitchFamily="34" charset="0"/>
                <a:cs typeface="Times New Roman" panose="02020603050405020304" pitchFamily="18" charset="0"/>
              </a:rPr>
              <a:t> – Shows the data for the selected table</a:t>
            </a:r>
          </a:p>
        </p:txBody>
      </p:sp>
      <p:sp>
        <p:nvSpPr>
          <p:cNvPr id="61" name="Oval 60"/>
          <p:cNvSpPr/>
          <p:nvPr/>
        </p:nvSpPr>
        <p:spPr bwMode="auto">
          <a:xfrm>
            <a:off x="9599484" y="2276555"/>
            <a:ext cx="252000" cy="252000"/>
          </a:xfrm>
          <a:prstGeom prst="ellipse">
            <a:avLst/>
          </a:prstGeom>
          <a:solidFill>
            <a:srgbClr val="FF00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pt-PT" sz="12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B</a:t>
            </a:r>
            <a:endParaRPr kumimoji="0" lang="en-US" sz="12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2" name="TextBox 61"/>
          <p:cNvSpPr txBox="1"/>
          <p:nvPr/>
        </p:nvSpPr>
        <p:spPr>
          <a:xfrm>
            <a:off x="9798642" y="2994090"/>
            <a:ext cx="2462097" cy="1403461"/>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600" b="1" i="0" u="none" strike="noStrike" kern="1200" cap="none" spc="0" normalizeH="0" baseline="0" noProof="0">
                <a:ln>
                  <a:noFill/>
                </a:ln>
                <a:solidFill>
                  <a:prstClr val="black"/>
                </a:solidFill>
                <a:effectLst/>
                <a:uLnTx/>
                <a:uFillTx/>
                <a:latin typeface="Segoe UI Light"/>
                <a:ea typeface="Calibri" panose="020F0502020204030204" pitchFamily="34" charset="0"/>
                <a:cs typeface="Times New Roman" panose="02020603050405020304" pitchFamily="18" charset="0"/>
              </a:rPr>
              <a:t>Modeling Ribbon</a:t>
            </a:r>
            <a:r>
              <a:rPr kumimoji="0" lang="en-US" sz="1600" b="0" i="0" u="none" strike="noStrike" kern="1200" cap="none" spc="0" normalizeH="0" baseline="0" noProof="0">
                <a:ln>
                  <a:noFill/>
                </a:ln>
                <a:solidFill>
                  <a:prstClr val="black"/>
                </a:solidFill>
                <a:effectLst/>
                <a:uLnTx/>
                <a:uFillTx/>
                <a:latin typeface="Segoe UI Light"/>
                <a:ea typeface="Calibri" panose="020F0502020204030204" pitchFamily="34" charset="0"/>
                <a:cs typeface="Times New Roman" panose="02020603050405020304" pitchFamily="18" charset="0"/>
              </a:rPr>
              <a:t> – Manage relationships, calculations, data types, formats and categorization</a:t>
            </a:r>
          </a:p>
        </p:txBody>
      </p:sp>
      <p:sp>
        <p:nvSpPr>
          <p:cNvPr id="63" name="Oval 62"/>
          <p:cNvSpPr/>
          <p:nvPr/>
        </p:nvSpPr>
        <p:spPr bwMode="auto">
          <a:xfrm>
            <a:off x="9599484" y="3107168"/>
            <a:ext cx="252000" cy="252000"/>
          </a:xfrm>
          <a:prstGeom prst="ellipse">
            <a:avLst/>
          </a:prstGeom>
          <a:solidFill>
            <a:srgbClr val="FF00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pt-PT" sz="12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C</a:t>
            </a:r>
            <a:endParaRPr kumimoji="0" lang="en-US" sz="12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4" name="TextBox 63"/>
          <p:cNvSpPr txBox="1"/>
          <p:nvPr/>
        </p:nvSpPr>
        <p:spPr>
          <a:xfrm>
            <a:off x="9798642" y="4220968"/>
            <a:ext cx="2462097" cy="738664"/>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600" b="1" i="0" u="none" strike="noStrike" kern="1200" cap="none" spc="0" normalizeH="0" baseline="0" noProof="0">
                <a:ln>
                  <a:noFill/>
                </a:ln>
                <a:solidFill>
                  <a:prstClr val="black"/>
                </a:solidFill>
                <a:effectLst/>
                <a:uLnTx/>
                <a:uFillTx/>
                <a:latin typeface="Segoe UI Light"/>
                <a:ea typeface="Calibri" panose="020F0502020204030204" pitchFamily="34" charset="0"/>
                <a:cs typeface="Times New Roman" panose="02020603050405020304" pitchFamily="18" charset="0"/>
              </a:rPr>
              <a:t>Formula bar</a:t>
            </a:r>
            <a:r>
              <a:rPr kumimoji="0" lang="en-US" sz="1600" b="0" i="0" u="none" strike="noStrike" kern="1200" cap="none" spc="0" normalizeH="0" baseline="0" noProof="0">
                <a:ln>
                  <a:noFill/>
                </a:ln>
                <a:solidFill>
                  <a:prstClr val="black"/>
                </a:solidFill>
                <a:effectLst/>
                <a:uLnTx/>
                <a:uFillTx/>
                <a:latin typeface="Segoe UI Light"/>
                <a:ea typeface="Calibri" panose="020F0502020204030204" pitchFamily="34" charset="0"/>
                <a:cs typeface="Times New Roman" panose="02020603050405020304" pitchFamily="18" charset="0"/>
              </a:rPr>
              <a:t> – DAX formulas for calculations</a:t>
            </a:r>
          </a:p>
        </p:txBody>
      </p:sp>
      <p:sp>
        <p:nvSpPr>
          <p:cNvPr id="71" name="Oval 70"/>
          <p:cNvSpPr/>
          <p:nvPr/>
        </p:nvSpPr>
        <p:spPr bwMode="auto">
          <a:xfrm>
            <a:off x="9599484" y="4334046"/>
            <a:ext cx="252000" cy="252000"/>
          </a:xfrm>
          <a:prstGeom prst="ellipse">
            <a:avLst/>
          </a:prstGeom>
          <a:solidFill>
            <a:srgbClr val="FF00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pt-PT" sz="12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D</a:t>
            </a:r>
            <a:endParaRPr kumimoji="0" lang="en-US" sz="12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2" name="TextBox 71"/>
          <p:cNvSpPr txBox="1"/>
          <p:nvPr/>
        </p:nvSpPr>
        <p:spPr>
          <a:xfrm>
            <a:off x="9798642" y="4973843"/>
            <a:ext cx="2462097" cy="738664"/>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600" b="1" i="0" u="none" strike="noStrike" kern="1200" cap="none" spc="0" normalizeH="0" baseline="0" noProof="0">
                <a:ln>
                  <a:noFill/>
                </a:ln>
                <a:solidFill>
                  <a:prstClr val="black"/>
                </a:solidFill>
                <a:effectLst/>
                <a:uLnTx/>
                <a:uFillTx/>
                <a:latin typeface="Segoe UI Light"/>
                <a:ea typeface="Calibri" panose="020F0502020204030204" pitchFamily="34" charset="0"/>
                <a:cs typeface="Times New Roman" panose="02020603050405020304" pitchFamily="18" charset="0"/>
              </a:rPr>
              <a:t>Search</a:t>
            </a:r>
            <a:r>
              <a:rPr kumimoji="0" lang="en-US" sz="1600" b="0" i="0" u="none" strike="noStrike" kern="1200" cap="none" spc="0" normalizeH="0" baseline="0" noProof="0">
                <a:ln>
                  <a:noFill/>
                </a:ln>
                <a:solidFill>
                  <a:prstClr val="black"/>
                </a:solidFill>
                <a:effectLst/>
                <a:uLnTx/>
                <a:uFillTx/>
                <a:latin typeface="Segoe UI Light"/>
                <a:ea typeface="Calibri" panose="020F0502020204030204" pitchFamily="34" charset="0"/>
                <a:cs typeface="Times New Roman" panose="02020603050405020304" pitchFamily="18" charset="0"/>
              </a:rPr>
              <a:t> – Search for tables or column names</a:t>
            </a:r>
          </a:p>
        </p:txBody>
      </p:sp>
      <p:sp>
        <p:nvSpPr>
          <p:cNvPr id="73" name="Oval 72"/>
          <p:cNvSpPr/>
          <p:nvPr/>
        </p:nvSpPr>
        <p:spPr bwMode="auto">
          <a:xfrm>
            <a:off x="9599484" y="5086921"/>
            <a:ext cx="252000" cy="252000"/>
          </a:xfrm>
          <a:prstGeom prst="ellipse">
            <a:avLst/>
          </a:prstGeom>
          <a:solidFill>
            <a:srgbClr val="FF00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pt-PT" sz="12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E</a:t>
            </a:r>
            <a:endParaRPr kumimoji="0" lang="en-US" sz="12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4" name="TextBox 73"/>
          <p:cNvSpPr txBox="1"/>
          <p:nvPr/>
        </p:nvSpPr>
        <p:spPr>
          <a:xfrm>
            <a:off x="9798642" y="5673639"/>
            <a:ext cx="2462097" cy="960263"/>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600" b="1" i="0" u="none" strike="noStrike" kern="1200" cap="none" spc="0" normalizeH="0" baseline="0" noProof="0">
                <a:ln>
                  <a:noFill/>
                </a:ln>
                <a:solidFill>
                  <a:prstClr val="black"/>
                </a:solidFill>
                <a:effectLst/>
                <a:uLnTx/>
                <a:uFillTx/>
                <a:latin typeface="Segoe UI Light"/>
                <a:ea typeface="Calibri" panose="020F0502020204030204" pitchFamily="34" charset="0"/>
                <a:cs typeface="Times New Roman" panose="02020603050405020304" pitchFamily="18" charset="0"/>
              </a:rPr>
              <a:t>Fields List</a:t>
            </a:r>
            <a:r>
              <a:rPr kumimoji="0" lang="en-US" sz="1600" b="0" i="0" u="none" strike="noStrike" kern="1200" cap="none" spc="0" normalizeH="0" baseline="0" noProof="0">
                <a:ln>
                  <a:noFill/>
                </a:ln>
                <a:solidFill>
                  <a:prstClr val="black"/>
                </a:solidFill>
                <a:effectLst/>
                <a:uLnTx/>
                <a:uFillTx/>
                <a:latin typeface="Segoe UI Light"/>
                <a:ea typeface="Calibri" panose="020F0502020204030204" pitchFamily="34" charset="0"/>
                <a:cs typeface="Times New Roman" panose="02020603050405020304" pitchFamily="18" charset="0"/>
              </a:rPr>
              <a:t> – Select a table or column to view in the Data Grid</a:t>
            </a:r>
          </a:p>
        </p:txBody>
      </p:sp>
      <p:sp>
        <p:nvSpPr>
          <p:cNvPr id="75" name="Oval 74"/>
          <p:cNvSpPr/>
          <p:nvPr/>
        </p:nvSpPr>
        <p:spPr bwMode="auto">
          <a:xfrm>
            <a:off x="9599484" y="5786717"/>
            <a:ext cx="252000" cy="252000"/>
          </a:xfrm>
          <a:prstGeom prst="ellipse">
            <a:avLst/>
          </a:prstGeom>
          <a:solidFill>
            <a:srgbClr val="FF00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pt-PT" sz="12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F</a:t>
            </a:r>
            <a:endParaRPr kumimoji="0" lang="en-US" sz="12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25783390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p:cNvGrpSpPr/>
          <p:nvPr/>
        </p:nvGrpSpPr>
        <p:grpSpPr>
          <a:xfrm>
            <a:off x="-11149" y="0"/>
            <a:ext cx="2849058" cy="6858000"/>
            <a:chOff x="2" y="1"/>
            <a:chExt cx="2849058" cy="6858000"/>
          </a:xfrm>
        </p:grpSpPr>
        <p:sp>
          <p:nvSpPr>
            <p:cNvPr id="70" name="Rectangle 69"/>
            <p:cNvSpPr/>
            <p:nvPr/>
          </p:nvSpPr>
          <p:spPr bwMode="auto">
            <a:xfrm>
              <a:off x="2" y="1"/>
              <a:ext cx="2849058"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5" name="Oval 70"/>
            <p:cNvSpPr/>
            <p:nvPr/>
          </p:nvSpPr>
          <p:spPr>
            <a:xfrm>
              <a:off x="1413521" y="4951537"/>
              <a:ext cx="1119626" cy="1119626"/>
            </a:xfrm>
            <a:prstGeom prst="ellipse">
              <a:avLst/>
            </a:prstGeom>
            <a:solidFill>
              <a:srgbClr val="F2C812"/>
            </a:solidFill>
            <a:ln w="3175" cap="flat" cmpd="sng" algn="ctr">
              <a:noFill/>
              <a:prstDash val="solid"/>
            </a:ln>
            <a:effectLst/>
          </p:spPr>
          <p:txBody>
            <a:bodyPr vert="horz" wrap="none" lIns="0" tIns="45720" rIns="0" bIns="0" rtlCol="0" anchor="t"/>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Segoe UI"/>
                  <a:ea typeface="Segoe UI" pitchFamily="34" charset="0"/>
                  <a:cs typeface="Segoe UI" pitchFamily="34" charset="0"/>
                </a:rPr>
                <a:t>Share &amp;</a:t>
              </a:r>
            </a:p>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Segoe UI"/>
                  <a:ea typeface="Segoe UI" pitchFamily="34" charset="0"/>
                  <a:cs typeface="Segoe UI" pitchFamily="34" charset="0"/>
                </a:rPr>
                <a:t>collaborate </a:t>
              </a:r>
            </a:p>
          </p:txBody>
        </p:sp>
        <p:grpSp>
          <p:nvGrpSpPr>
            <p:cNvPr id="66" name="Group 38"/>
            <p:cNvGrpSpPr>
              <a:grpSpLocks noChangeAspect="1"/>
            </p:cNvGrpSpPr>
            <p:nvPr/>
          </p:nvGrpSpPr>
          <p:grpSpPr>
            <a:xfrm>
              <a:off x="676996" y="3930692"/>
              <a:ext cx="383905" cy="351536"/>
              <a:chOff x="4363684" y="5330386"/>
              <a:chExt cx="1409956" cy="1291077"/>
            </a:xfrm>
            <a:solidFill>
              <a:srgbClr val="217346"/>
            </a:solidFill>
          </p:grpSpPr>
          <p:sp>
            <p:nvSpPr>
              <p:cNvPr id="67" name="Donut 3"/>
              <p:cNvSpPr/>
              <p:nvPr/>
            </p:nvSpPr>
            <p:spPr bwMode="auto">
              <a:xfrm>
                <a:off x="4363684" y="5330386"/>
                <a:ext cx="1409956" cy="1291077"/>
              </a:xfrm>
              <a:custGeom>
                <a:avLst/>
                <a:gdLst/>
                <a:ahLst/>
                <a:cxnLst/>
                <a:rect l="l" t="t" r="r" b="b"/>
                <a:pathLst>
                  <a:path w="1409956" h="1291077">
                    <a:moveTo>
                      <a:pt x="956401" y="78410"/>
                    </a:moveTo>
                    <a:cubicBezTo>
                      <a:pt x="747518" y="78410"/>
                      <a:pt x="578184" y="247744"/>
                      <a:pt x="578184" y="456627"/>
                    </a:cubicBezTo>
                    <a:cubicBezTo>
                      <a:pt x="578184" y="665510"/>
                      <a:pt x="747518" y="834844"/>
                      <a:pt x="956401" y="834844"/>
                    </a:cubicBezTo>
                    <a:cubicBezTo>
                      <a:pt x="1165284" y="834844"/>
                      <a:pt x="1334618" y="665510"/>
                      <a:pt x="1334618" y="456627"/>
                    </a:cubicBezTo>
                    <a:cubicBezTo>
                      <a:pt x="1334618" y="247744"/>
                      <a:pt x="1165284" y="78410"/>
                      <a:pt x="956401" y="78410"/>
                    </a:cubicBezTo>
                    <a:close/>
                    <a:moveTo>
                      <a:pt x="952756" y="0"/>
                    </a:moveTo>
                    <a:cubicBezTo>
                      <a:pt x="1205261" y="0"/>
                      <a:pt x="1409956" y="204695"/>
                      <a:pt x="1409956" y="457200"/>
                    </a:cubicBezTo>
                    <a:cubicBezTo>
                      <a:pt x="1409956" y="709705"/>
                      <a:pt x="1205261" y="914400"/>
                      <a:pt x="952756" y="914400"/>
                    </a:cubicBezTo>
                    <a:cubicBezTo>
                      <a:pt x="862133" y="914400"/>
                      <a:pt x="777669" y="888034"/>
                      <a:pt x="707132" y="841746"/>
                    </a:cubicBezTo>
                    <a:lnTo>
                      <a:pt x="136495" y="1280102"/>
                    </a:lnTo>
                    <a:cubicBezTo>
                      <a:pt x="21896" y="1327168"/>
                      <a:pt x="-44029" y="1213730"/>
                      <a:pt x="33797" y="1113182"/>
                    </a:cubicBezTo>
                    <a:lnTo>
                      <a:pt x="568587" y="703518"/>
                    </a:lnTo>
                    <a:cubicBezTo>
                      <a:pt x="522087" y="632814"/>
                      <a:pt x="495556" y="548105"/>
                      <a:pt x="495556" y="457200"/>
                    </a:cubicBezTo>
                    <a:cubicBezTo>
                      <a:pt x="495556" y="204695"/>
                      <a:pt x="700251" y="0"/>
                      <a:pt x="952756" y="0"/>
                    </a:cubicBezTo>
                    <a:close/>
                  </a:path>
                </a:pathLst>
              </a:custGeom>
              <a:grpFill/>
              <a:ln>
                <a:solidFill>
                  <a:srgbClr val="21734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sp>
            <p:nvSpPr>
              <p:cNvPr id="68" name="Rectangle 4"/>
              <p:cNvSpPr/>
              <p:nvPr/>
            </p:nvSpPr>
            <p:spPr>
              <a:xfrm>
                <a:off x="5058389" y="5528247"/>
                <a:ext cx="490885" cy="490020"/>
              </a:xfrm>
              <a:custGeom>
                <a:avLst/>
                <a:gdLst/>
                <a:ahLst/>
                <a:cxnLst/>
                <a:rect l="l" t="t" r="r" b="b"/>
                <a:pathLst>
                  <a:path w="490885" h="490020">
                    <a:moveTo>
                      <a:pt x="240752" y="0"/>
                    </a:moveTo>
                    <a:cubicBezTo>
                      <a:pt x="253961" y="11844"/>
                      <a:pt x="293310" y="49692"/>
                      <a:pt x="337332" y="92439"/>
                    </a:cubicBezTo>
                    <a:lnTo>
                      <a:pt x="328342" y="81259"/>
                    </a:lnTo>
                    <a:cubicBezTo>
                      <a:pt x="356946" y="111282"/>
                      <a:pt x="377251" y="107167"/>
                      <a:pt x="382515" y="87941"/>
                    </a:cubicBezTo>
                    <a:cubicBezTo>
                      <a:pt x="383951" y="76921"/>
                      <a:pt x="384595" y="68732"/>
                      <a:pt x="396997" y="52239"/>
                    </a:cubicBezTo>
                    <a:cubicBezTo>
                      <a:pt x="420362" y="32084"/>
                      <a:pt x="442294" y="41736"/>
                      <a:pt x="454920" y="51330"/>
                    </a:cubicBezTo>
                    <a:cubicBezTo>
                      <a:pt x="467834" y="62761"/>
                      <a:pt x="477920" y="86882"/>
                      <a:pt x="460392" y="109714"/>
                    </a:cubicBezTo>
                    <a:cubicBezTo>
                      <a:pt x="451128" y="121912"/>
                      <a:pt x="437554" y="126838"/>
                      <a:pt x="425922" y="126505"/>
                    </a:cubicBezTo>
                    <a:cubicBezTo>
                      <a:pt x="424301" y="127609"/>
                      <a:pt x="382890" y="134974"/>
                      <a:pt x="427348" y="177672"/>
                    </a:cubicBezTo>
                    <a:lnTo>
                      <a:pt x="416886" y="169735"/>
                    </a:lnTo>
                    <a:cubicBezTo>
                      <a:pt x="450207" y="202177"/>
                      <a:pt x="478424" y="229744"/>
                      <a:pt x="490885" y="241900"/>
                    </a:cubicBezTo>
                    <a:lnTo>
                      <a:pt x="417150" y="317347"/>
                    </a:lnTo>
                    <a:cubicBezTo>
                      <a:pt x="417744" y="316535"/>
                      <a:pt x="418443" y="316123"/>
                      <a:pt x="419047" y="315822"/>
                    </a:cubicBezTo>
                    <a:cubicBezTo>
                      <a:pt x="389023" y="344426"/>
                      <a:pt x="393138" y="364731"/>
                      <a:pt x="412364" y="369995"/>
                    </a:cubicBezTo>
                    <a:cubicBezTo>
                      <a:pt x="423384" y="371431"/>
                      <a:pt x="431574" y="372075"/>
                      <a:pt x="448067" y="384477"/>
                    </a:cubicBezTo>
                    <a:cubicBezTo>
                      <a:pt x="468221" y="407842"/>
                      <a:pt x="458569" y="429774"/>
                      <a:pt x="448975" y="442400"/>
                    </a:cubicBezTo>
                    <a:cubicBezTo>
                      <a:pt x="437545" y="455314"/>
                      <a:pt x="413423" y="465400"/>
                      <a:pt x="390591" y="447872"/>
                    </a:cubicBezTo>
                    <a:cubicBezTo>
                      <a:pt x="378394" y="438608"/>
                      <a:pt x="373468" y="425034"/>
                      <a:pt x="373800" y="413402"/>
                    </a:cubicBezTo>
                    <a:cubicBezTo>
                      <a:pt x="372696" y="411781"/>
                      <a:pt x="365332" y="370370"/>
                      <a:pt x="322634" y="414828"/>
                    </a:cubicBezTo>
                    <a:lnTo>
                      <a:pt x="325243" y="411388"/>
                    </a:lnTo>
                    <a:lnTo>
                      <a:pt x="248395" y="490020"/>
                    </a:lnTo>
                    <a:cubicBezTo>
                      <a:pt x="208939" y="451897"/>
                      <a:pt x="199129" y="442073"/>
                      <a:pt x="174192" y="418236"/>
                    </a:cubicBezTo>
                    <a:cubicBezTo>
                      <a:pt x="145587" y="388212"/>
                      <a:pt x="125282" y="392327"/>
                      <a:pt x="120018" y="411553"/>
                    </a:cubicBezTo>
                    <a:cubicBezTo>
                      <a:pt x="118582" y="422573"/>
                      <a:pt x="117938" y="430763"/>
                      <a:pt x="105536" y="447256"/>
                    </a:cubicBezTo>
                    <a:cubicBezTo>
                      <a:pt x="82171" y="467410"/>
                      <a:pt x="60239" y="457758"/>
                      <a:pt x="47614" y="448164"/>
                    </a:cubicBezTo>
                    <a:cubicBezTo>
                      <a:pt x="34699" y="436734"/>
                      <a:pt x="24614" y="412612"/>
                      <a:pt x="42141" y="389780"/>
                    </a:cubicBezTo>
                    <a:cubicBezTo>
                      <a:pt x="51405" y="377583"/>
                      <a:pt x="64979" y="372657"/>
                      <a:pt x="76612" y="372989"/>
                    </a:cubicBezTo>
                    <a:cubicBezTo>
                      <a:pt x="78232" y="371886"/>
                      <a:pt x="119644" y="364521"/>
                      <a:pt x="75186" y="321823"/>
                    </a:cubicBezTo>
                    <a:cubicBezTo>
                      <a:pt x="58767" y="305402"/>
                      <a:pt x="23648" y="271235"/>
                      <a:pt x="0" y="248738"/>
                    </a:cubicBezTo>
                    <a:lnTo>
                      <a:pt x="77303" y="168146"/>
                    </a:lnTo>
                    <a:cubicBezTo>
                      <a:pt x="104269" y="140313"/>
                      <a:pt x="122130" y="156409"/>
                      <a:pt x="124388" y="175543"/>
                    </a:cubicBezTo>
                    <a:cubicBezTo>
                      <a:pt x="124457" y="182466"/>
                      <a:pt x="127106" y="193106"/>
                      <a:pt x="137575" y="203052"/>
                    </a:cubicBezTo>
                    <a:cubicBezTo>
                      <a:pt x="153931" y="220277"/>
                      <a:pt x="181252" y="217451"/>
                      <a:pt x="196721" y="201951"/>
                    </a:cubicBezTo>
                    <a:cubicBezTo>
                      <a:pt x="211961" y="185740"/>
                      <a:pt x="213057" y="157882"/>
                      <a:pt x="196146" y="142797"/>
                    </a:cubicBezTo>
                    <a:cubicBezTo>
                      <a:pt x="184301" y="132637"/>
                      <a:pt x="177155" y="131453"/>
                      <a:pt x="166513" y="129894"/>
                    </a:cubicBezTo>
                    <a:cubicBezTo>
                      <a:pt x="154522" y="129013"/>
                      <a:pt x="131185" y="112953"/>
                      <a:pt x="157905" y="85228"/>
                    </a:cubicBezTo>
                    <a:close/>
                  </a:path>
                </a:pathLst>
              </a:custGeom>
              <a:grpFill/>
              <a:ln>
                <a:solidFill>
                  <a:srgbClr val="21734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grpSp>
        <p:sp>
          <p:nvSpPr>
            <p:cNvPr id="69" name="Oval 47"/>
            <p:cNvSpPr/>
            <p:nvPr/>
          </p:nvSpPr>
          <p:spPr>
            <a:xfrm>
              <a:off x="388608" y="3710471"/>
              <a:ext cx="1119626" cy="1119626"/>
            </a:xfrm>
            <a:prstGeom prst="ellipse">
              <a:avLst/>
            </a:prstGeom>
            <a:solidFill>
              <a:srgbClr val="F2C812"/>
            </a:solidFill>
            <a:ln w="3175" cap="flat" cmpd="sng" algn="ctr">
              <a:noFill/>
              <a:prstDash val="solid"/>
            </a:ln>
            <a:effectLst/>
          </p:spPr>
          <p:txBody>
            <a:bodyPr vert="horz" wrap="none" lIns="0" tIns="45720" rIns="0" bIns="0" rtlCol="0" anchor="t"/>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Segoe UI"/>
                  <a:ea typeface="Segoe UI" pitchFamily="34" charset="0"/>
                  <a:cs typeface="Segoe UI" pitchFamily="34" charset="0"/>
                </a:rPr>
                <a:t>Report</a:t>
              </a:r>
            </a:p>
          </p:txBody>
        </p:sp>
        <p:sp>
          <p:nvSpPr>
            <p:cNvPr id="85" name="Oval 950"/>
            <p:cNvSpPr/>
            <p:nvPr/>
          </p:nvSpPr>
          <p:spPr>
            <a:xfrm>
              <a:off x="388608" y="1252295"/>
              <a:ext cx="1119626" cy="1119626"/>
            </a:xfrm>
            <a:prstGeom prst="ellipse">
              <a:avLst/>
            </a:prstGeom>
            <a:solidFill>
              <a:srgbClr val="F2C812"/>
            </a:solidFill>
            <a:ln w="3175" cap="flat" cmpd="sng" algn="ctr">
              <a:noFill/>
              <a:prstDash val="solid"/>
            </a:ln>
            <a:effectLst/>
          </p:spPr>
          <p:txBody>
            <a:bodyPr vert="horz" wrap="none" lIns="0" tIns="45720" rIns="0" bIns="0" rtlCol="0" anchor="t"/>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1" i="0" u="none" strike="noStrike" kern="1200" cap="none" spc="0" normalizeH="0" baseline="0" noProof="0">
                <a:ln>
                  <a:noFill/>
                </a:ln>
                <a:solidFill>
                  <a:srgbClr val="217346"/>
                </a:solidFill>
                <a:effectLst/>
                <a:uLnTx/>
                <a:uFillTx/>
                <a:latin typeface="Segoe UI"/>
                <a:ea typeface="Segoe UI" pitchFamily="34" charset="0"/>
                <a:cs typeface="Segoe UI" pitchFamily="34" charset="0"/>
              </a:endParaRPr>
            </a:p>
          </p:txBody>
        </p:sp>
        <p:grpSp>
          <p:nvGrpSpPr>
            <p:cNvPr id="86" name="Group 85"/>
            <p:cNvGrpSpPr/>
            <p:nvPr/>
          </p:nvGrpSpPr>
          <p:grpSpPr>
            <a:xfrm>
              <a:off x="1264851" y="3482890"/>
              <a:ext cx="292254" cy="354906"/>
              <a:chOff x="1296521" y="3253388"/>
              <a:chExt cx="292254" cy="354906"/>
            </a:xfrm>
            <a:solidFill>
              <a:srgbClr val="F2C812"/>
            </a:solidFill>
          </p:grpSpPr>
          <p:sp>
            <p:nvSpPr>
              <p:cNvPr id="87" name="Isosceles Triangle 86"/>
              <p:cNvSpPr/>
              <p:nvPr/>
            </p:nvSpPr>
            <p:spPr bwMode="auto">
              <a:xfrm rot="13636515">
                <a:off x="1461362" y="328936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8" name="Isosceles Triangle 87"/>
              <p:cNvSpPr/>
              <p:nvPr/>
            </p:nvSpPr>
            <p:spPr bwMode="auto">
              <a:xfrm rot="13636515">
                <a:off x="1357669" y="338258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9" name="Isosceles Triangle 88"/>
              <p:cNvSpPr/>
              <p:nvPr/>
            </p:nvSpPr>
            <p:spPr bwMode="auto">
              <a:xfrm rot="13636515">
                <a:off x="1260548" y="3480882"/>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90" name="Group 89"/>
            <p:cNvGrpSpPr/>
            <p:nvPr/>
          </p:nvGrpSpPr>
          <p:grpSpPr>
            <a:xfrm rot="15940603">
              <a:off x="1334576" y="2204404"/>
              <a:ext cx="292254" cy="354906"/>
              <a:chOff x="1296521" y="3253388"/>
              <a:chExt cx="292254" cy="354906"/>
            </a:xfrm>
            <a:solidFill>
              <a:srgbClr val="F2C812"/>
            </a:solidFill>
          </p:grpSpPr>
          <p:sp>
            <p:nvSpPr>
              <p:cNvPr id="91" name="Isosceles Triangle 90"/>
              <p:cNvSpPr/>
              <p:nvPr/>
            </p:nvSpPr>
            <p:spPr bwMode="auto">
              <a:xfrm rot="13636515">
                <a:off x="1461362" y="328936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2" name="Isosceles Triangle 91"/>
              <p:cNvSpPr/>
              <p:nvPr/>
            </p:nvSpPr>
            <p:spPr bwMode="auto">
              <a:xfrm rot="13636515">
                <a:off x="1357669" y="338258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3" name="Isosceles Triangle 92"/>
              <p:cNvSpPr/>
              <p:nvPr/>
            </p:nvSpPr>
            <p:spPr bwMode="auto">
              <a:xfrm rot="13636515">
                <a:off x="1260548" y="3480882"/>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94" name="Group 93"/>
            <p:cNvGrpSpPr/>
            <p:nvPr/>
          </p:nvGrpSpPr>
          <p:grpSpPr>
            <a:xfrm rot="16043978">
              <a:off x="1317220" y="4717577"/>
              <a:ext cx="292254" cy="354906"/>
              <a:chOff x="1296521" y="3253388"/>
              <a:chExt cx="292254" cy="354906"/>
            </a:xfrm>
            <a:solidFill>
              <a:srgbClr val="F2C812"/>
            </a:solidFill>
          </p:grpSpPr>
          <p:sp>
            <p:nvSpPr>
              <p:cNvPr id="95" name="Isosceles Triangle 94"/>
              <p:cNvSpPr/>
              <p:nvPr/>
            </p:nvSpPr>
            <p:spPr bwMode="auto">
              <a:xfrm rot="13636515">
                <a:off x="1461362" y="328936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6" name="Isosceles Triangle 95"/>
              <p:cNvSpPr/>
              <p:nvPr/>
            </p:nvSpPr>
            <p:spPr bwMode="auto">
              <a:xfrm rot="13636515">
                <a:off x="1357669" y="338258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7" name="Isosceles Triangle 96"/>
              <p:cNvSpPr/>
              <p:nvPr/>
            </p:nvSpPr>
            <p:spPr bwMode="auto">
              <a:xfrm rot="13636515">
                <a:off x="1260548" y="3480882"/>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98" name="Oval 36"/>
            <p:cNvSpPr/>
            <p:nvPr/>
          </p:nvSpPr>
          <p:spPr>
            <a:xfrm>
              <a:off x="1413521" y="2481383"/>
              <a:ext cx="1119626" cy="1119626"/>
            </a:xfrm>
            <a:prstGeom prst="ellipse">
              <a:avLst/>
            </a:prstGeom>
            <a:solidFill>
              <a:srgbClr val="F2C812"/>
            </a:solidFill>
            <a:ln w="3175" cap="flat" cmpd="sng" algn="ctr">
              <a:noFill/>
              <a:prstDash val="solid"/>
            </a:ln>
            <a:effectLst/>
          </p:spPr>
          <p:txBody>
            <a:bodyPr vert="horz" wrap="none" lIns="0" tIns="0" rIns="0" bIns="0" rtlCol="0" anchor="t"/>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400" b="1" i="0" u="none" strike="noStrike" kern="1200" cap="none" spc="0" normalizeH="0" baseline="0" noProof="0">
                <a:ln>
                  <a:noFill/>
                </a:ln>
                <a:solidFill>
                  <a:srgbClr val="217346"/>
                </a:solidFill>
                <a:effectLst/>
                <a:uLnTx/>
                <a:uFillTx/>
                <a:latin typeface="Segoe UI"/>
                <a:ea typeface="Segoe UI" pitchFamily="34" charset="0"/>
                <a:cs typeface="Segoe UI" pitchFamily="34" charset="0"/>
              </a:endParaRPr>
            </a:p>
          </p:txBody>
        </p:sp>
        <p:sp>
          <p:nvSpPr>
            <p:cNvPr id="99" name="Donut 3"/>
            <p:cNvSpPr/>
            <p:nvPr/>
          </p:nvSpPr>
          <p:spPr bwMode="auto">
            <a:xfrm>
              <a:off x="1742065" y="3002355"/>
              <a:ext cx="383905" cy="351537"/>
            </a:xfrm>
            <a:custGeom>
              <a:avLst/>
              <a:gdLst/>
              <a:ahLst/>
              <a:cxnLst/>
              <a:rect l="l" t="t" r="r" b="b"/>
              <a:pathLst>
                <a:path w="1409956" h="1291077">
                  <a:moveTo>
                    <a:pt x="956401" y="78410"/>
                  </a:moveTo>
                  <a:cubicBezTo>
                    <a:pt x="747518" y="78410"/>
                    <a:pt x="578184" y="247744"/>
                    <a:pt x="578184" y="456627"/>
                  </a:cubicBezTo>
                  <a:cubicBezTo>
                    <a:pt x="578184" y="665510"/>
                    <a:pt x="747518" y="834844"/>
                    <a:pt x="956401" y="834844"/>
                  </a:cubicBezTo>
                  <a:cubicBezTo>
                    <a:pt x="1165284" y="834844"/>
                    <a:pt x="1334618" y="665510"/>
                    <a:pt x="1334618" y="456627"/>
                  </a:cubicBezTo>
                  <a:cubicBezTo>
                    <a:pt x="1334618" y="247744"/>
                    <a:pt x="1165284" y="78410"/>
                    <a:pt x="956401" y="78410"/>
                  </a:cubicBezTo>
                  <a:close/>
                  <a:moveTo>
                    <a:pt x="952756" y="0"/>
                  </a:moveTo>
                  <a:cubicBezTo>
                    <a:pt x="1205261" y="0"/>
                    <a:pt x="1409956" y="204695"/>
                    <a:pt x="1409956" y="457200"/>
                  </a:cubicBezTo>
                  <a:cubicBezTo>
                    <a:pt x="1409956" y="709705"/>
                    <a:pt x="1205261" y="914400"/>
                    <a:pt x="952756" y="914400"/>
                  </a:cubicBezTo>
                  <a:cubicBezTo>
                    <a:pt x="862133" y="914400"/>
                    <a:pt x="777669" y="888034"/>
                    <a:pt x="707132" y="841746"/>
                  </a:cubicBezTo>
                  <a:lnTo>
                    <a:pt x="136495" y="1280102"/>
                  </a:lnTo>
                  <a:cubicBezTo>
                    <a:pt x="21896" y="1327168"/>
                    <a:pt x="-44029" y="1213730"/>
                    <a:pt x="33797" y="1113182"/>
                  </a:cubicBezTo>
                  <a:lnTo>
                    <a:pt x="568587" y="703518"/>
                  </a:lnTo>
                  <a:cubicBezTo>
                    <a:pt x="522087" y="632814"/>
                    <a:pt x="495556" y="548105"/>
                    <a:pt x="495556" y="457200"/>
                  </a:cubicBezTo>
                  <a:cubicBezTo>
                    <a:pt x="495556" y="204695"/>
                    <a:pt x="700251" y="0"/>
                    <a:pt x="952756" y="0"/>
                  </a:cubicBezTo>
                  <a:close/>
                </a:path>
              </a:pathLst>
            </a:cu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ysClr val="windowText" lastClr="000000"/>
                </a:solidFill>
                <a:effectLst/>
                <a:uLnTx/>
                <a:uFillTx/>
                <a:latin typeface="Segoe UI"/>
                <a:ea typeface="+mn-ea"/>
                <a:cs typeface="+mn-cs"/>
              </a:endParaRPr>
            </a:p>
          </p:txBody>
        </p:sp>
        <p:sp>
          <p:nvSpPr>
            <p:cNvPr id="100" name="Rectangle 99"/>
            <p:cNvSpPr/>
            <p:nvPr/>
          </p:nvSpPr>
          <p:spPr>
            <a:xfrm>
              <a:off x="1600398" y="2677430"/>
              <a:ext cx="820353" cy="307777"/>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Segoe UI"/>
                  <a:ea typeface="Segoe UI" pitchFamily="34" charset="0"/>
                  <a:cs typeface="Segoe UI" pitchFamily="34" charset="0"/>
                </a:rPr>
                <a:t>Explore</a:t>
              </a:r>
              <a:endParaRPr kumimoji="0" lang="en-US" sz="1600" b="0" i="0" u="none" strike="noStrike" kern="1200" cap="none" spc="0" normalizeH="0" baseline="0" noProof="0">
                <a:ln>
                  <a:noFill/>
                </a:ln>
                <a:solidFill>
                  <a:prstClr val="black"/>
                </a:solidFill>
                <a:effectLst/>
                <a:uLnTx/>
                <a:uFillTx/>
                <a:latin typeface="Segoe UI"/>
                <a:ea typeface="+mn-ea"/>
                <a:cs typeface="+mn-cs"/>
              </a:endParaRPr>
            </a:p>
          </p:txBody>
        </p:sp>
        <p:sp>
          <p:nvSpPr>
            <p:cNvPr id="101" name="Rectangle 100"/>
            <p:cNvSpPr/>
            <p:nvPr/>
          </p:nvSpPr>
          <p:spPr>
            <a:xfrm>
              <a:off x="509174" y="1475232"/>
              <a:ext cx="838756" cy="307777"/>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Segoe UI"/>
                  <a:ea typeface="Segoe UI" pitchFamily="34" charset="0"/>
                  <a:cs typeface="Segoe UI" pitchFamily="34" charset="0"/>
                </a:rPr>
                <a:t>Prepare</a:t>
              </a:r>
              <a:endParaRPr kumimoji="0" lang="en-US" sz="1400" b="0" i="0" u="none" strike="noStrike" kern="1200" cap="none" spc="0" normalizeH="0" baseline="0" noProof="0">
                <a:ln>
                  <a:noFill/>
                </a:ln>
                <a:solidFill>
                  <a:prstClr val="black"/>
                </a:solidFill>
                <a:effectLst/>
                <a:uLnTx/>
                <a:uFillTx/>
                <a:latin typeface="Segoe UI"/>
                <a:ea typeface="+mn-ea"/>
                <a:cs typeface="+mn-cs"/>
              </a:endParaRPr>
            </a:p>
          </p:txBody>
        </p:sp>
        <p:sp>
          <p:nvSpPr>
            <p:cNvPr id="102" name="Freeform 101"/>
            <p:cNvSpPr>
              <a:spLocks noChangeAspect="1"/>
            </p:cNvSpPr>
            <p:nvPr/>
          </p:nvSpPr>
          <p:spPr bwMode="black">
            <a:xfrm>
              <a:off x="1836174" y="5643069"/>
              <a:ext cx="274320" cy="284173"/>
            </a:xfrm>
            <a:custGeom>
              <a:avLst/>
              <a:gdLst>
                <a:gd name="T0" fmla="*/ 539 w 669"/>
                <a:gd name="T1" fmla="*/ 5 h 693"/>
                <a:gd name="T2" fmla="*/ 640 w 669"/>
                <a:gd name="T3" fmla="*/ 55 h 693"/>
                <a:gd name="T4" fmla="*/ 603 w 669"/>
                <a:gd name="T5" fmla="*/ 195 h 693"/>
                <a:gd name="T6" fmla="*/ 490 w 669"/>
                <a:gd name="T7" fmla="*/ 188 h 693"/>
                <a:gd name="T8" fmla="*/ 479 w 669"/>
                <a:gd name="T9" fmla="*/ 176 h 693"/>
                <a:gd name="T10" fmla="*/ 213 w 669"/>
                <a:gd name="T11" fmla="*/ 330 h 693"/>
                <a:gd name="T12" fmla="*/ 218 w 669"/>
                <a:gd name="T13" fmla="*/ 345 h 693"/>
                <a:gd name="T14" fmla="*/ 218 w 669"/>
                <a:gd name="T15" fmla="*/ 375 h 693"/>
                <a:gd name="T16" fmla="*/ 209 w 669"/>
                <a:gd name="T17" fmla="*/ 402 h 693"/>
                <a:gd name="T18" fmla="*/ 369 w 669"/>
                <a:gd name="T19" fmla="*/ 503 h 693"/>
                <a:gd name="T20" fmla="*/ 373 w 669"/>
                <a:gd name="T21" fmla="*/ 498 h 693"/>
                <a:gd name="T22" fmla="*/ 456 w 669"/>
                <a:gd name="T23" fmla="*/ 475 h 693"/>
                <a:gd name="T24" fmla="*/ 494 w 669"/>
                <a:gd name="T25" fmla="*/ 489 h 693"/>
                <a:gd name="T26" fmla="*/ 527 w 669"/>
                <a:gd name="T27" fmla="*/ 630 h 693"/>
                <a:gd name="T28" fmla="*/ 386 w 669"/>
                <a:gd name="T29" fmla="*/ 663 h 693"/>
                <a:gd name="T30" fmla="*/ 339 w 669"/>
                <a:gd name="T31" fmla="*/ 560 h 693"/>
                <a:gd name="T32" fmla="*/ 345 w 669"/>
                <a:gd name="T33" fmla="*/ 544 h 693"/>
                <a:gd name="T34" fmla="*/ 177 w 669"/>
                <a:gd name="T35" fmla="*/ 439 h 693"/>
                <a:gd name="T36" fmla="*/ 168 w 669"/>
                <a:gd name="T37" fmla="*/ 446 h 693"/>
                <a:gd name="T38" fmla="*/ 28 w 669"/>
                <a:gd name="T39" fmla="*/ 409 h 693"/>
                <a:gd name="T40" fmla="*/ 65 w 669"/>
                <a:gd name="T41" fmla="*/ 269 h 693"/>
                <a:gd name="T42" fmla="*/ 178 w 669"/>
                <a:gd name="T43" fmla="*/ 276 h 693"/>
                <a:gd name="T44" fmla="*/ 189 w 669"/>
                <a:gd name="T45" fmla="*/ 288 h 693"/>
                <a:gd name="T46" fmla="*/ 455 w 669"/>
                <a:gd name="T47" fmla="*/ 134 h 693"/>
                <a:gd name="T48" fmla="*/ 450 w 669"/>
                <a:gd name="T49" fmla="*/ 119 h 693"/>
                <a:gd name="T50" fmla="*/ 501 w 669"/>
                <a:gd name="T51" fmla="*/ 18 h 693"/>
                <a:gd name="T52" fmla="*/ 539 w 669"/>
                <a:gd name="T53" fmla="*/ 5 h 6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69" h="693">
                  <a:moveTo>
                    <a:pt x="539" y="5"/>
                  </a:moveTo>
                  <a:cubicBezTo>
                    <a:pt x="579" y="0"/>
                    <a:pt x="619" y="19"/>
                    <a:pt x="640" y="55"/>
                  </a:cubicBezTo>
                  <a:cubicBezTo>
                    <a:pt x="669" y="104"/>
                    <a:pt x="652" y="167"/>
                    <a:pt x="603" y="195"/>
                  </a:cubicBezTo>
                  <a:cubicBezTo>
                    <a:pt x="566" y="216"/>
                    <a:pt x="522" y="212"/>
                    <a:pt x="490" y="188"/>
                  </a:cubicBezTo>
                  <a:cubicBezTo>
                    <a:pt x="479" y="176"/>
                    <a:pt x="479" y="176"/>
                    <a:pt x="479" y="176"/>
                  </a:cubicBezTo>
                  <a:cubicBezTo>
                    <a:pt x="213" y="330"/>
                    <a:pt x="213" y="330"/>
                    <a:pt x="213" y="330"/>
                  </a:cubicBezTo>
                  <a:cubicBezTo>
                    <a:pt x="218" y="345"/>
                    <a:pt x="218" y="345"/>
                    <a:pt x="218" y="345"/>
                  </a:cubicBezTo>
                  <a:cubicBezTo>
                    <a:pt x="219" y="355"/>
                    <a:pt x="219" y="365"/>
                    <a:pt x="218" y="375"/>
                  </a:cubicBezTo>
                  <a:cubicBezTo>
                    <a:pt x="209" y="402"/>
                    <a:pt x="209" y="402"/>
                    <a:pt x="209" y="402"/>
                  </a:cubicBezTo>
                  <a:cubicBezTo>
                    <a:pt x="369" y="503"/>
                    <a:pt x="369" y="503"/>
                    <a:pt x="369" y="503"/>
                  </a:cubicBezTo>
                  <a:cubicBezTo>
                    <a:pt x="373" y="498"/>
                    <a:pt x="373" y="498"/>
                    <a:pt x="373" y="498"/>
                  </a:cubicBezTo>
                  <a:cubicBezTo>
                    <a:pt x="396" y="479"/>
                    <a:pt x="427" y="470"/>
                    <a:pt x="456" y="475"/>
                  </a:cubicBezTo>
                  <a:cubicBezTo>
                    <a:pt x="470" y="477"/>
                    <a:pt x="482" y="482"/>
                    <a:pt x="494" y="489"/>
                  </a:cubicBezTo>
                  <a:cubicBezTo>
                    <a:pt x="542" y="519"/>
                    <a:pt x="557" y="583"/>
                    <a:pt x="527" y="630"/>
                  </a:cubicBezTo>
                  <a:cubicBezTo>
                    <a:pt x="497" y="678"/>
                    <a:pt x="433" y="693"/>
                    <a:pt x="386" y="663"/>
                  </a:cubicBezTo>
                  <a:cubicBezTo>
                    <a:pt x="350" y="640"/>
                    <a:pt x="333" y="599"/>
                    <a:pt x="339" y="560"/>
                  </a:cubicBezTo>
                  <a:cubicBezTo>
                    <a:pt x="345" y="544"/>
                    <a:pt x="345" y="544"/>
                    <a:pt x="345" y="544"/>
                  </a:cubicBezTo>
                  <a:cubicBezTo>
                    <a:pt x="177" y="439"/>
                    <a:pt x="177" y="439"/>
                    <a:pt x="177" y="439"/>
                  </a:cubicBezTo>
                  <a:cubicBezTo>
                    <a:pt x="168" y="446"/>
                    <a:pt x="168" y="446"/>
                    <a:pt x="168" y="446"/>
                  </a:cubicBezTo>
                  <a:cubicBezTo>
                    <a:pt x="119" y="475"/>
                    <a:pt x="56" y="458"/>
                    <a:pt x="28" y="409"/>
                  </a:cubicBezTo>
                  <a:cubicBezTo>
                    <a:pt x="0" y="360"/>
                    <a:pt x="16" y="297"/>
                    <a:pt x="65" y="269"/>
                  </a:cubicBezTo>
                  <a:cubicBezTo>
                    <a:pt x="102" y="248"/>
                    <a:pt x="147" y="252"/>
                    <a:pt x="178" y="276"/>
                  </a:cubicBezTo>
                  <a:cubicBezTo>
                    <a:pt x="189" y="288"/>
                    <a:pt x="189" y="288"/>
                    <a:pt x="189" y="288"/>
                  </a:cubicBezTo>
                  <a:cubicBezTo>
                    <a:pt x="455" y="134"/>
                    <a:pt x="455" y="134"/>
                    <a:pt x="455" y="134"/>
                  </a:cubicBezTo>
                  <a:cubicBezTo>
                    <a:pt x="450" y="119"/>
                    <a:pt x="450" y="119"/>
                    <a:pt x="450" y="119"/>
                  </a:cubicBezTo>
                  <a:cubicBezTo>
                    <a:pt x="445" y="80"/>
                    <a:pt x="464" y="39"/>
                    <a:pt x="501" y="18"/>
                  </a:cubicBezTo>
                  <a:cubicBezTo>
                    <a:pt x="513" y="11"/>
                    <a:pt x="526" y="6"/>
                    <a:pt x="539" y="5"/>
                  </a:cubicBezTo>
                  <a:close/>
                </a:path>
              </a:pathLst>
            </a:custGeom>
            <a:solidFill>
              <a:schemeClr val="tx1"/>
            </a:solidFill>
            <a:ln>
              <a:noFill/>
            </a:ln>
          </p:spPr>
          <p:txBody>
            <a:bodyPr vert="horz" wrap="square" lIns="68574" tIns="34287" rIns="68574" bIns="34287"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Segoe UI"/>
                <a:ea typeface="+mn-ea"/>
                <a:cs typeface="+mn-cs"/>
              </a:endParaRPr>
            </a:p>
          </p:txBody>
        </p:sp>
        <p:sp>
          <p:nvSpPr>
            <p:cNvPr id="103" name="Freeform 102"/>
            <p:cNvSpPr>
              <a:spLocks noChangeAspect="1" noEditPoints="1"/>
            </p:cNvSpPr>
            <p:nvPr/>
          </p:nvSpPr>
          <p:spPr bwMode="black">
            <a:xfrm>
              <a:off x="722320" y="1783009"/>
              <a:ext cx="452202" cy="366660"/>
            </a:xfrm>
            <a:custGeom>
              <a:avLst/>
              <a:gdLst>
                <a:gd name="T0" fmla="*/ 600 w 1107"/>
                <a:gd name="T1" fmla="*/ 625 h 897"/>
                <a:gd name="T2" fmla="*/ 649 w 1107"/>
                <a:gd name="T3" fmla="*/ 567 h 897"/>
                <a:gd name="T4" fmla="*/ 727 w 1107"/>
                <a:gd name="T5" fmla="*/ 482 h 897"/>
                <a:gd name="T6" fmla="*/ 601 w 1107"/>
                <a:gd name="T7" fmla="*/ 434 h 897"/>
                <a:gd name="T8" fmla="*/ 628 w 1107"/>
                <a:gd name="T9" fmla="*/ 305 h 897"/>
                <a:gd name="T10" fmla="*/ 547 w 1107"/>
                <a:gd name="T11" fmla="*/ 240 h 897"/>
                <a:gd name="T12" fmla="*/ 427 w 1107"/>
                <a:gd name="T13" fmla="*/ 287 h 897"/>
                <a:gd name="T14" fmla="*/ 368 w 1107"/>
                <a:gd name="T15" fmla="*/ 170 h 897"/>
                <a:gd name="T16" fmla="*/ 285 w 1107"/>
                <a:gd name="T17" fmla="*/ 263 h 897"/>
                <a:gd name="T18" fmla="*/ 241 w 1107"/>
                <a:gd name="T19" fmla="*/ 313 h 897"/>
                <a:gd name="T20" fmla="*/ 139 w 1107"/>
                <a:gd name="T21" fmla="*/ 281 h 897"/>
                <a:gd name="T22" fmla="*/ 79 w 1107"/>
                <a:gd name="T23" fmla="*/ 355 h 897"/>
                <a:gd name="T24" fmla="*/ 132 w 1107"/>
                <a:gd name="T25" fmla="*/ 446 h 897"/>
                <a:gd name="T26" fmla="*/ 83 w 1107"/>
                <a:gd name="T27" fmla="*/ 505 h 897"/>
                <a:gd name="T28" fmla="*/ 5 w 1107"/>
                <a:gd name="T29" fmla="*/ 590 h 897"/>
                <a:gd name="T30" fmla="*/ 132 w 1107"/>
                <a:gd name="T31" fmla="*/ 638 h 897"/>
                <a:gd name="T32" fmla="*/ 145 w 1107"/>
                <a:gd name="T33" fmla="*/ 669 h 897"/>
                <a:gd name="T34" fmla="*/ 110 w 1107"/>
                <a:gd name="T35" fmla="*/ 793 h 897"/>
                <a:gd name="T36" fmla="*/ 230 w 1107"/>
                <a:gd name="T37" fmla="*/ 781 h 897"/>
                <a:gd name="T38" fmla="*/ 306 w 1107"/>
                <a:gd name="T39" fmla="*/ 785 h 897"/>
                <a:gd name="T40" fmla="*/ 346 w 1107"/>
                <a:gd name="T41" fmla="*/ 878 h 897"/>
                <a:gd name="T42" fmla="*/ 440 w 1107"/>
                <a:gd name="T43" fmla="*/ 872 h 897"/>
                <a:gd name="T44" fmla="*/ 466 w 1107"/>
                <a:gd name="T45" fmla="*/ 764 h 897"/>
                <a:gd name="T46" fmla="*/ 539 w 1107"/>
                <a:gd name="T47" fmla="*/ 755 h 897"/>
                <a:gd name="T48" fmla="*/ 659 w 1107"/>
                <a:gd name="T49" fmla="*/ 743 h 897"/>
                <a:gd name="T50" fmla="*/ 263 w 1107"/>
                <a:gd name="T51" fmla="*/ 452 h 897"/>
                <a:gd name="T52" fmla="*/ 281 w 1107"/>
                <a:gd name="T53" fmla="*/ 633 h 897"/>
                <a:gd name="T54" fmla="*/ 1002 w 1107"/>
                <a:gd name="T55" fmla="*/ 332 h 897"/>
                <a:gd name="T56" fmla="*/ 1043 w 1107"/>
                <a:gd name="T57" fmla="*/ 304 h 897"/>
                <a:gd name="T58" fmla="*/ 1107 w 1107"/>
                <a:gd name="T59" fmla="*/ 266 h 897"/>
                <a:gd name="T60" fmla="*/ 1037 w 1107"/>
                <a:gd name="T61" fmla="*/ 213 h 897"/>
                <a:gd name="T62" fmla="*/ 1077 w 1107"/>
                <a:gd name="T63" fmla="*/ 138 h 897"/>
                <a:gd name="T64" fmla="*/ 1038 w 1107"/>
                <a:gd name="T65" fmla="*/ 83 h 897"/>
                <a:gd name="T66" fmla="*/ 956 w 1107"/>
                <a:gd name="T67" fmla="*/ 91 h 897"/>
                <a:gd name="T68" fmla="*/ 940 w 1107"/>
                <a:gd name="T69" fmla="*/ 7 h 897"/>
                <a:gd name="T70" fmla="*/ 872 w 1107"/>
                <a:gd name="T71" fmla="*/ 50 h 897"/>
                <a:gd name="T72" fmla="*/ 836 w 1107"/>
                <a:gd name="T73" fmla="*/ 74 h 897"/>
                <a:gd name="T74" fmla="*/ 778 w 1107"/>
                <a:gd name="T75" fmla="*/ 35 h 897"/>
                <a:gd name="T76" fmla="*/ 728 w 1107"/>
                <a:gd name="T77" fmla="*/ 70 h 897"/>
                <a:gd name="T78" fmla="*/ 744 w 1107"/>
                <a:gd name="T79" fmla="*/ 136 h 897"/>
                <a:gd name="T80" fmla="*/ 703 w 1107"/>
                <a:gd name="T81" fmla="*/ 164 h 897"/>
                <a:gd name="T82" fmla="*/ 640 w 1107"/>
                <a:gd name="T83" fmla="*/ 203 h 897"/>
                <a:gd name="T84" fmla="*/ 710 w 1107"/>
                <a:gd name="T85" fmla="*/ 255 h 897"/>
                <a:gd name="T86" fmla="*/ 712 w 1107"/>
                <a:gd name="T87" fmla="*/ 277 h 897"/>
                <a:gd name="T88" fmla="*/ 668 w 1107"/>
                <a:gd name="T89" fmla="*/ 347 h 897"/>
                <a:gd name="T90" fmla="*/ 745 w 1107"/>
                <a:gd name="T91" fmla="*/ 361 h 897"/>
                <a:gd name="T92" fmla="*/ 791 w 1107"/>
                <a:gd name="T93" fmla="*/ 377 h 897"/>
                <a:gd name="T94" fmla="*/ 799 w 1107"/>
                <a:gd name="T95" fmla="*/ 443 h 897"/>
                <a:gd name="T96" fmla="*/ 859 w 1107"/>
                <a:gd name="T97" fmla="*/ 456 h 897"/>
                <a:gd name="T98" fmla="*/ 894 w 1107"/>
                <a:gd name="T99" fmla="*/ 393 h 897"/>
                <a:gd name="T100" fmla="*/ 941 w 1107"/>
                <a:gd name="T101" fmla="*/ 401 h 897"/>
                <a:gd name="T102" fmla="*/ 1018 w 1107"/>
                <a:gd name="T103" fmla="*/ 415 h 897"/>
                <a:gd name="T104" fmla="*/ 825 w 1107"/>
                <a:gd name="T105" fmla="*/ 164 h 897"/>
                <a:gd name="T106" fmla="*/ 803 w 1107"/>
                <a:gd name="T107" fmla="*/ 279 h 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107" h="897">
                  <a:moveTo>
                    <a:pt x="654" y="716"/>
                  </a:moveTo>
                  <a:cubicBezTo>
                    <a:pt x="616" y="670"/>
                    <a:pt x="616" y="670"/>
                    <a:pt x="616" y="670"/>
                  </a:cubicBezTo>
                  <a:cubicBezTo>
                    <a:pt x="593" y="654"/>
                    <a:pt x="603" y="638"/>
                    <a:pt x="600" y="625"/>
                  </a:cubicBezTo>
                  <a:cubicBezTo>
                    <a:pt x="600" y="625"/>
                    <a:pt x="600" y="625"/>
                    <a:pt x="600" y="625"/>
                  </a:cubicBezTo>
                  <a:cubicBezTo>
                    <a:pt x="605" y="617"/>
                    <a:pt x="611" y="609"/>
                    <a:pt x="608" y="596"/>
                  </a:cubicBezTo>
                  <a:cubicBezTo>
                    <a:pt x="618" y="580"/>
                    <a:pt x="623" y="572"/>
                    <a:pt x="649" y="567"/>
                  </a:cubicBezTo>
                  <a:cubicBezTo>
                    <a:pt x="715" y="553"/>
                    <a:pt x="715" y="553"/>
                    <a:pt x="715" y="553"/>
                  </a:cubicBezTo>
                  <a:cubicBezTo>
                    <a:pt x="728" y="550"/>
                    <a:pt x="733" y="542"/>
                    <a:pt x="730" y="529"/>
                  </a:cubicBezTo>
                  <a:cubicBezTo>
                    <a:pt x="727" y="482"/>
                    <a:pt x="727" y="482"/>
                    <a:pt x="727" y="482"/>
                  </a:cubicBezTo>
                  <a:cubicBezTo>
                    <a:pt x="724" y="469"/>
                    <a:pt x="717" y="463"/>
                    <a:pt x="701" y="453"/>
                  </a:cubicBezTo>
                  <a:cubicBezTo>
                    <a:pt x="641" y="459"/>
                    <a:pt x="641" y="459"/>
                    <a:pt x="641" y="459"/>
                  </a:cubicBezTo>
                  <a:cubicBezTo>
                    <a:pt x="620" y="457"/>
                    <a:pt x="604" y="447"/>
                    <a:pt x="601" y="434"/>
                  </a:cubicBezTo>
                  <a:cubicBezTo>
                    <a:pt x="598" y="421"/>
                    <a:pt x="590" y="416"/>
                    <a:pt x="580" y="397"/>
                  </a:cubicBezTo>
                  <a:cubicBezTo>
                    <a:pt x="577" y="384"/>
                    <a:pt x="574" y="371"/>
                    <a:pt x="584" y="355"/>
                  </a:cubicBezTo>
                  <a:cubicBezTo>
                    <a:pt x="628" y="305"/>
                    <a:pt x="628" y="305"/>
                    <a:pt x="628" y="305"/>
                  </a:cubicBezTo>
                  <a:cubicBezTo>
                    <a:pt x="634" y="297"/>
                    <a:pt x="631" y="284"/>
                    <a:pt x="623" y="279"/>
                  </a:cubicBezTo>
                  <a:cubicBezTo>
                    <a:pt x="581" y="240"/>
                    <a:pt x="581" y="240"/>
                    <a:pt x="581" y="240"/>
                  </a:cubicBezTo>
                  <a:cubicBezTo>
                    <a:pt x="573" y="235"/>
                    <a:pt x="560" y="238"/>
                    <a:pt x="547" y="240"/>
                  </a:cubicBezTo>
                  <a:cubicBezTo>
                    <a:pt x="503" y="291"/>
                    <a:pt x="503" y="291"/>
                    <a:pt x="503" y="291"/>
                  </a:cubicBezTo>
                  <a:cubicBezTo>
                    <a:pt x="484" y="302"/>
                    <a:pt x="471" y="304"/>
                    <a:pt x="463" y="299"/>
                  </a:cubicBezTo>
                  <a:cubicBezTo>
                    <a:pt x="456" y="294"/>
                    <a:pt x="435" y="292"/>
                    <a:pt x="427" y="287"/>
                  </a:cubicBezTo>
                  <a:cubicBezTo>
                    <a:pt x="419" y="282"/>
                    <a:pt x="403" y="271"/>
                    <a:pt x="400" y="258"/>
                  </a:cubicBezTo>
                  <a:cubicBezTo>
                    <a:pt x="386" y="193"/>
                    <a:pt x="386" y="193"/>
                    <a:pt x="386" y="193"/>
                  </a:cubicBezTo>
                  <a:cubicBezTo>
                    <a:pt x="384" y="180"/>
                    <a:pt x="368" y="170"/>
                    <a:pt x="368" y="170"/>
                  </a:cubicBezTo>
                  <a:cubicBezTo>
                    <a:pt x="308" y="176"/>
                    <a:pt x="308" y="176"/>
                    <a:pt x="308" y="176"/>
                  </a:cubicBezTo>
                  <a:cubicBezTo>
                    <a:pt x="308" y="176"/>
                    <a:pt x="289" y="187"/>
                    <a:pt x="292" y="200"/>
                  </a:cubicBezTo>
                  <a:cubicBezTo>
                    <a:pt x="285" y="263"/>
                    <a:pt x="285" y="263"/>
                    <a:pt x="285" y="263"/>
                  </a:cubicBezTo>
                  <a:cubicBezTo>
                    <a:pt x="291" y="289"/>
                    <a:pt x="277" y="292"/>
                    <a:pt x="272" y="300"/>
                  </a:cubicBezTo>
                  <a:cubicBezTo>
                    <a:pt x="272" y="300"/>
                    <a:pt x="272" y="300"/>
                    <a:pt x="267" y="308"/>
                  </a:cubicBezTo>
                  <a:cubicBezTo>
                    <a:pt x="259" y="302"/>
                    <a:pt x="246" y="305"/>
                    <a:pt x="241" y="313"/>
                  </a:cubicBezTo>
                  <a:cubicBezTo>
                    <a:pt x="236" y="321"/>
                    <a:pt x="236" y="321"/>
                    <a:pt x="236" y="321"/>
                  </a:cubicBezTo>
                  <a:cubicBezTo>
                    <a:pt x="223" y="324"/>
                    <a:pt x="210" y="327"/>
                    <a:pt x="194" y="317"/>
                  </a:cubicBezTo>
                  <a:cubicBezTo>
                    <a:pt x="139" y="281"/>
                    <a:pt x="139" y="281"/>
                    <a:pt x="139" y="281"/>
                  </a:cubicBezTo>
                  <a:cubicBezTo>
                    <a:pt x="131" y="276"/>
                    <a:pt x="110" y="273"/>
                    <a:pt x="104" y="281"/>
                  </a:cubicBezTo>
                  <a:cubicBezTo>
                    <a:pt x="79" y="321"/>
                    <a:pt x="79" y="321"/>
                    <a:pt x="79" y="321"/>
                  </a:cubicBezTo>
                  <a:cubicBezTo>
                    <a:pt x="66" y="324"/>
                    <a:pt x="68" y="337"/>
                    <a:pt x="79" y="355"/>
                  </a:cubicBezTo>
                  <a:cubicBezTo>
                    <a:pt x="121" y="394"/>
                    <a:pt x="121" y="394"/>
                    <a:pt x="121" y="394"/>
                  </a:cubicBezTo>
                  <a:cubicBezTo>
                    <a:pt x="140" y="417"/>
                    <a:pt x="135" y="425"/>
                    <a:pt x="132" y="446"/>
                  </a:cubicBezTo>
                  <a:cubicBezTo>
                    <a:pt x="132" y="446"/>
                    <a:pt x="132" y="446"/>
                    <a:pt x="132" y="446"/>
                  </a:cubicBezTo>
                  <a:cubicBezTo>
                    <a:pt x="127" y="454"/>
                    <a:pt x="122" y="462"/>
                    <a:pt x="117" y="470"/>
                  </a:cubicBezTo>
                  <a:cubicBezTo>
                    <a:pt x="117" y="470"/>
                    <a:pt x="117" y="470"/>
                    <a:pt x="117" y="470"/>
                  </a:cubicBezTo>
                  <a:cubicBezTo>
                    <a:pt x="120" y="483"/>
                    <a:pt x="109" y="499"/>
                    <a:pt x="83" y="505"/>
                  </a:cubicBezTo>
                  <a:cubicBezTo>
                    <a:pt x="23" y="511"/>
                    <a:pt x="23" y="511"/>
                    <a:pt x="23" y="511"/>
                  </a:cubicBezTo>
                  <a:cubicBezTo>
                    <a:pt x="10" y="514"/>
                    <a:pt x="0" y="529"/>
                    <a:pt x="2" y="543"/>
                  </a:cubicBezTo>
                  <a:cubicBezTo>
                    <a:pt x="5" y="590"/>
                    <a:pt x="5" y="590"/>
                    <a:pt x="5" y="590"/>
                  </a:cubicBezTo>
                  <a:cubicBezTo>
                    <a:pt x="8" y="603"/>
                    <a:pt x="16" y="608"/>
                    <a:pt x="37" y="610"/>
                  </a:cubicBezTo>
                  <a:cubicBezTo>
                    <a:pt x="92" y="612"/>
                    <a:pt x="92" y="612"/>
                    <a:pt x="92" y="612"/>
                  </a:cubicBezTo>
                  <a:cubicBezTo>
                    <a:pt x="113" y="614"/>
                    <a:pt x="129" y="625"/>
                    <a:pt x="132" y="638"/>
                  </a:cubicBezTo>
                  <a:cubicBezTo>
                    <a:pt x="132" y="638"/>
                    <a:pt x="132" y="638"/>
                    <a:pt x="132" y="638"/>
                  </a:cubicBezTo>
                  <a:cubicBezTo>
                    <a:pt x="140" y="643"/>
                    <a:pt x="142" y="656"/>
                    <a:pt x="150" y="661"/>
                  </a:cubicBezTo>
                  <a:cubicBezTo>
                    <a:pt x="145" y="669"/>
                    <a:pt x="145" y="669"/>
                    <a:pt x="145" y="669"/>
                  </a:cubicBezTo>
                  <a:cubicBezTo>
                    <a:pt x="153" y="674"/>
                    <a:pt x="156" y="687"/>
                    <a:pt x="140" y="711"/>
                  </a:cubicBezTo>
                  <a:cubicBezTo>
                    <a:pt x="109" y="759"/>
                    <a:pt x="109" y="759"/>
                    <a:pt x="109" y="759"/>
                  </a:cubicBezTo>
                  <a:cubicBezTo>
                    <a:pt x="99" y="775"/>
                    <a:pt x="102" y="788"/>
                    <a:pt x="110" y="793"/>
                  </a:cubicBezTo>
                  <a:cubicBezTo>
                    <a:pt x="152" y="832"/>
                    <a:pt x="152" y="832"/>
                    <a:pt x="152" y="832"/>
                  </a:cubicBezTo>
                  <a:cubicBezTo>
                    <a:pt x="160" y="837"/>
                    <a:pt x="173" y="834"/>
                    <a:pt x="178" y="826"/>
                  </a:cubicBezTo>
                  <a:cubicBezTo>
                    <a:pt x="230" y="781"/>
                    <a:pt x="230" y="781"/>
                    <a:pt x="230" y="781"/>
                  </a:cubicBezTo>
                  <a:cubicBezTo>
                    <a:pt x="248" y="770"/>
                    <a:pt x="261" y="767"/>
                    <a:pt x="269" y="772"/>
                  </a:cubicBezTo>
                  <a:cubicBezTo>
                    <a:pt x="269" y="772"/>
                    <a:pt x="269" y="772"/>
                    <a:pt x="269" y="772"/>
                  </a:cubicBezTo>
                  <a:cubicBezTo>
                    <a:pt x="282" y="769"/>
                    <a:pt x="298" y="779"/>
                    <a:pt x="306" y="785"/>
                  </a:cubicBezTo>
                  <a:cubicBezTo>
                    <a:pt x="306" y="785"/>
                    <a:pt x="306" y="785"/>
                    <a:pt x="306" y="785"/>
                  </a:cubicBezTo>
                  <a:cubicBezTo>
                    <a:pt x="319" y="782"/>
                    <a:pt x="327" y="787"/>
                    <a:pt x="332" y="813"/>
                  </a:cubicBezTo>
                  <a:cubicBezTo>
                    <a:pt x="346" y="878"/>
                    <a:pt x="346" y="878"/>
                    <a:pt x="346" y="878"/>
                  </a:cubicBezTo>
                  <a:cubicBezTo>
                    <a:pt x="349" y="892"/>
                    <a:pt x="357" y="897"/>
                    <a:pt x="370" y="894"/>
                  </a:cubicBezTo>
                  <a:cubicBezTo>
                    <a:pt x="425" y="896"/>
                    <a:pt x="425" y="896"/>
                    <a:pt x="425" y="896"/>
                  </a:cubicBezTo>
                  <a:cubicBezTo>
                    <a:pt x="430" y="888"/>
                    <a:pt x="443" y="885"/>
                    <a:pt x="440" y="872"/>
                  </a:cubicBezTo>
                  <a:cubicBezTo>
                    <a:pt x="440" y="804"/>
                    <a:pt x="440" y="804"/>
                    <a:pt x="440" y="804"/>
                  </a:cubicBezTo>
                  <a:cubicBezTo>
                    <a:pt x="442" y="783"/>
                    <a:pt x="460" y="772"/>
                    <a:pt x="466" y="764"/>
                  </a:cubicBezTo>
                  <a:cubicBezTo>
                    <a:pt x="466" y="764"/>
                    <a:pt x="466" y="764"/>
                    <a:pt x="466" y="764"/>
                  </a:cubicBezTo>
                  <a:cubicBezTo>
                    <a:pt x="479" y="761"/>
                    <a:pt x="492" y="758"/>
                    <a:pt x="497" y="750"/>
                  </a:cubicBezTo>
                  <a:cubicBezTo>
                    <a:pt x="497" y="750"/>
                    <a:pt x="497" y="750"/>
                    <a:pt x="497" y="750"/>
                  </a:cubicBezTo>
                  <a:cubicBezTo>
                    <a:pt x="510" y="747"/>
                    <a:pt x="523" y="745"/>
                    <a:pt x="539" y="755"/>
                  </a:cubicBezTo>
                  <a:cubicBezTo>
                    <a:pt x="594" y="791"/>
                    <a:pt x="594" y="791"/>
                    <a:pt x="594" y="791"/>
                  </a:cubicBezTo>
                  <a:cubicBezTo>
                    <a:pt x="602" y="796"/>
                    <a:pt x="623" y="798"/>
                    <a:pt x="628" y="790"/>
                  </a:cubicBezTo>
                  <a:cubicBezTo>
                    <a:pt x="659" y="743"/>
                    <a:pt x="659" y="743"/>
                    <a:pt x="659" y="743"/>
                  </a:cubicBezTo>
                  <a:cubicBezTo>
                    <a:pt x="659" y="743"/>
                    <a:pt x="669" y="727"/>
                    <a:pt x="654" y="716"/>
                  </a:cubicBezTo>
                  <a:close/>
                  <a:moveTo>
                    <a:pt x="281" y="633"/>
                  </a:moveTo>
                  <a:cubicBezTo>
                    <a:pt x="223" y="584"/>
                    <a:pt x="219" y="502"/>
                    <a:pt x="263" y="452"/>
                  </a:cubicBezTo>
                  <a:cubicBezTo>
                    <a:pt x="313" y="393"/>
                    <a:pt x="399" y="382"/>
                    <a:pt x="457" y="431"/>
                  </a:cubicBezTo>
                  <a:cubicBezTo>
                    <a:pt x="507" y="475"/>
                    <a:pt x="518" y="561"/>
                    <a:pt x="469" y="619"/>
                  </a:cubicBezTo>
                  <a:cubicBezTo>
                    <a:pt x="420" y="678"/>
                    <a:pt x="339" y="682"/>
                    <a:pt x="281" y="633"/>
                  </a:cubicBezTo>
                  <a:close/>
                  <a:moveTo>
                    <a:pt x="1019" y="398"/>
                  </a:moveTo>
                  <a:cubicBezTo>
                    <a:pt x="1004" y="362"/>
                    <a:pt x="1004" y="362"/>
                    <a:pt x="1004" y="362"/>
                  </a:cubicBezTo>
                  <a:cubicBezTo>
                    <a:pt x="992" y="348"/>
                    <a:pt x="1002" y="340"/>
                    <a:pt x="1002" y="332"/>
                  </a:cubicBezTo>
                  <a:cubicBezTo>
                    <a:pt x="1002" y="332"/>
                    <a:pt x="1002" y="332"/>
                    <a:pt x="1002" y="332"/>
                  </a:cubicBezTo>
                  <a:cubicBezTo>
                    <a:pt x="1007" y="328"/>
                    <a:pt x="1011" y="324"/>
                    <a:pt x="1012" y="315"/>
                  </a:cubicBezTo>
                  <a:cubicBezTo>
                    <a:pt x="1021" y="307"/>
                    <a:pt x="1026" y="303"/>
                    <a:pt x="1043" y="304"/>
                  </a:cubicBezTo>
                  <a:cubicBezTo>
                    <a:pt x="1086" y="307"/>
                    <a:pt x="1086" y="307"/>
                    <a:pt x="1086" y="307"/>
                  </a:cubicBezTo>
                  <a:cubicBezTo>
                    <a:pt x="1095" y="308"/>
                    <a:pt x="1099" y="304"/>
                    <a:pt x="1100" y="295"/>
                  </a:cubicBezTo>
                  <a:cubicBezTo>
                    <a:pt x="1107" y="266"/>
                    <a:pt x="1107" y="266"/>
                    <a:pt x="1107" y="266"/>
                  </a:cubicBezTo>
                  <a:cubicBezTo>
                    <a:pt x="1107" y="257"/>
                    <a:pt x="1103" y="252"/>
                    <a:pt x="1095" y="243"/>
                  </a:cubicBezTo>
                  <a:cubicBezTo>
                    <a:pt x="1057" y="236"/>
                    <a:pt x="1057" y="236"/>
                    <a:pt x="1057" y="236"/>
                  </a:cubicBezTo>
                  <a:cubicBezTo>
                    <a:pt x="1044" y="231"/>
                    <a:pt x="1036" y="222"/>
                    <a:pt x="1037" y="213"/>
                  </a:cubicBezTo>
                  <a:cubicBezTo>
                    <a:pt x="1038" y="205"/>
                    <a:pt x="1034" y="200"/>
                    <a:pt x="1030" y="187"/>
                  </a:cubicBezTo>
                  <a:cubicBezTo>
                    <a:pt x="1031" y="178"/>
                    <a:pt x="1032" y="170"/>
                    <a:pt x="1041" y="162"/>
                  </a:cubicBezTo>
                  <a:cubicBezTo>
                    <a:pt x="1077" y="138"/>
                    <a:pt x="1077" y="138"/>
                    <a:pt x="1077" y="138"/>
                  </a:cubicBezTo>
                  <a:cubicBezTo>
                    <a:pt x="1082" y="134"/>
                    <a:pt x="1083" y="126"/>
                    <a:pt x="1079" y="121"/>
                  </a:cubicBezTo>
                  <a:cubicBezTo>
                    <a:pt x="1059" y="89"/>
                    <a:pt x="1059" y="89"/>
                    <a:pt x="1059" y="89"/>
                  </a:cubicBezTo>
                  <a:cubicBezTo>
                    <a:pt x="1055" y="85"/>
                    <a:pt x="1047" y="84"/>
                    <a:pt x="1038" y="83"/>
                  </a:cubicBezTo>
                  <a:cubicBezTo>
                    <a:pt x="1002" y="107"/>
                    <a:pt x="1002" y="107"/>
                    <a:pt x="1002" y="107"/>
                  </a:cubicBezTo>
                  <a:cubicBezTo>
                    <a:pt x="989" y="110"/>
                    <a:pt x="980" y="110"/>
                    <a:pt x="976" y="105"/>
                  </a:cubicBezTo>
                  <a:cubicBezTo>
                    <a:pt x="972" y="100"/>
                    <a:pt x="960" y="95"/>
                    <a:pt x="956" y="91"/>
                  </a:cubicBezTo>
                  <a:cubicBezTo>
                    <a:pt x="952" y="86"/>
                    <a:pt x="944" y="77"/>
                    <a:pt x="944" y="68"/>
                  </a:cubicBezTo>
                  <a:cubicBezTo>
                    <a:pt x="948" y="25"/>
                    <a:pt x="948" y="25"/>
                    <a:pt x="948" y="25"/>
                  </a:cubicBezTo>
                  <a:cubicBezTo>
                    <a:pt x="948" y="17"/>
                    <a:pt x="940" y="7"/>
                    <a:pt x="940" y="7"/>
                  </a:cubicBezTo>
                  <a:cubicBezTo>
                    <a:pt x="902" y="0"/>
                    <a:pt x="902" y="0"/>
                    <a:pt x="902" y="0"/>
                  </a:cubicBezTo>
                  <a:cubicBezTo>
                    <a:pt x="902" y="0"/>
                    <a:pt x="889" y="4"/>
                    <a:pt x="888" y="12"/>
                  </a:cubicBezTo>
                  <a:cubicBezTo>
                    <a:pt x="872" y="50"/>
                    <a:pt x="872" y="50"/>
                    <a:pt x="872" y="50"/>
                  </a:cubicBezTo>
                  <a:cubicBezTo>
                    <a:pt x="871" y="67"/>
                    <a:pt x="862" y="67"/>
                    <a:pt x="858" y="71"/>
                  </a:cubicBezTo>
                  <a:cubicBezTo>
                    <a:pt x="858" y="71"/>
                    <a:pt x="858" y="71"/>
                    <a:pt x="853" y="75"/>
                  </a:cubicBezTo>
                  <a:cubicBezTo>
                    <a:pt x="849" y="70"/>
                    <a:pt x="840" y="70"/>
                    <a:pt x="836" y="74"/>
                  </a:cubicBezTo>
                  <a:cubicBezTo>
                    <a:pt x="831" y="78"/>
                    <a:pt x="831" y="78"/>
                    <a:pt x="831" y="78"/>
                  </a:cubicBezTo>
                  <a:cubicBezTo>
                    <a:pt x="822" y="77"/>
                    <a:pt x="814" y="76"/>
                    <a:pt x="806" y="67"/>
                  </a:cubicBezTo>
                  <a:cubicBezTo>
                    <a:pt x="778" y="35"/>
                    <a:pt x="778" y="35"/>
                    <a:pt x="778" y="35"/>
                  </a:cubicBezTo>
                  <a:cubicBezTo>
                    <a:pt x="774" y="30"/>
                    <a:pt x="762" y="25"/>
                    <a:pt x="757" y="29"/>
                  </a:cubicBezTo>
                  <a:cubicBezTo>
                    <a:pt x="734" y="49"/>
                    <a:pt x="734" y="49"/>
                    <a:pt x="734" y="49"/>
                  </a:cubicBezTo>
                  <a:cubicBezTo>
                    <a:pt x="725" y="49"/>
                    <a:pt x="725" y="57"/>
                    <a:pt x="728" y="70"/>
                  </a:cubicBezTo>
                  <a:cubicBezTo>
                    <a:pt x="747" y="102"/>
                    <a:pt x="747" y="102"/>
                    <a:pt x="747" y="102"/>
                  </a:cubicBezTo>
                  <a:cubicBezTo>
                    <a:pt x="754" y="120"/>
                    <a:pt x="750" y="124"/>
                    <a:pt x="744" y="136"/>
                  </a:cubicBezTo>
                  <a:cubicBezTo>
                    <a:pt x="744" y="136"/>
                    <a:pt x="744" y="136"/>
                    <a:pt x="744" y="136"/>
                  </a:cubicBezTo>
                  <a:cubicBezTo>
                    <a:pt x="740" y="140"/>
                    <a:pt x="735" y="144"/>
                    <a:pt x="731" y="148"/>
                  </a:cubicBezTo>
                  <a:cubicBezTo>
                    <a:pt x="731" y="148"/>
                    <a:pt x="731" y="148"/>
                    <a:pt x="731" y="148"/>
                  </a:cubicBezTo>
                  <a:cubicBezTo>
                    <a:pt x="730" y="157"/>
                    <a:pt x="721" y="165"/>
                    <a:pt x="703" y="164"/>
                  </a:cubicBezTo>
                  <a:cubicBezTo>
                    <a:pt x="665" y="157"/>
                    <a:pt x="665" y="157"/>
                    <a:pt x="665" y="157"/>
                  </a:cubicBezTo>
                  <a:cubicBezTo>
                    <a:pt x="656" y="156"/>
                    <a:pt x="647" y="164"/>
                    <a:pt x="647" y="173"/>
                  </a:cubicBezTo>
                  <a:cubicBezTo>
                    <a:pt x="640" y="203"/>
                    <a:pt x="640" y="203"/>
                    <a:pt x="640" y="203"/>
                  </a:cubicBezTo>
                  <a:cubicBezTo>
                    <a:pt x="639" y="211"/>
                    <a:pt x="643" y="216"/>
                    <a:pt x="656" y="221"/>
                  </a:cubicBezTo>
                  <a:cubicBezTo>
                    <a:pt x="690" y="232"/>
                    <a:pt x="690" y="232"/>
                    <a:pt x="690" y="232"/>
                  </a:cubicBezTo>
                  <a:cubicBezTo>
                    <a:pt x="702" y="237"/>
                    <a:pt x="710" y="246"/>
                    <a:pt x="710" y="255"/>
                  </a:cubicBezTo>
                  <a:cubicBezTo>
                    <a:pt x="710" y="255"/>
                    <a:pt x="710" y="255"/>
                    <a:pt x="710" y="255"/>
                  </a:cubicBezTo>
                  <a:cubicBezTo>
                    <a:pt x="714" y="260"/>
                    <a:pt x="713" y="268"/>
                    <a:pt x="717" y="273"/>
                  </a:cubicBezTo>
                  <a:cubicBezTo>
                    <a:pt x="712" y="277"/>
                    <a:pt x="712" y="277"/>
                    <a:pt x="712" y="277"/>
                  </a:cubicBezTo>
                  <a:cubicBezTo>
                    <a:pt x="716" y="281"/>
                    <a:pt x="716" y="290"/>
                    <a:pt x="702" y="302"/>
                  </a:cubicBezTo>
                  <a:cubicBezTo>
                    <a:pt x="674" y="326"/>
                    <a:pt x="674" y="326"/>
                    <a:pt x="674" y="326"/>
                  </a:cubicBezTo>
                  <a:cubicBezTo>
                    <a:pt x="665" y="334"/>
                    <a:pt x="664" y="343"/>
                    <a:pt x="668" y="347"/>
                  </a:cubicBezTo>
                  <a:cubicBezTo>
                    <a:pt x="687" y="379"/>
                    <a:pt x="687" y="379"/>
                    <a:pt x="687" y="379"/>
                  </a:cubicBezTo>
                  <a:cubicBezTo>
                    <a:pt x="691" y="383"/>
                    <a:pt x="700" y="384"/>
                    <a:pt x="704" y="380"/>
                  </a:cubicBezTo>
                  <a:cubicBezTo>
                    <a:pt x="745" y="361"/>
                    <a:pt x="745" y="361"/>
                    <a:pt x="745" y="361"/>
                  </a:cubicBezTo>
                  <a:cubicBezTo>
                    <a:pt x="758" y="358"/>
                    <a:pt x="767" y="358"/>
                    <a:pt x="771" y="363"/>
                  </a:cubicBezTo>
                  <a:cubicBezTo>
                    <a:pt x="771" y="363"/>
                    <a:pt x="771" y="363"/>
                    <a:pt x="771" y="363"/>
                  </a:cubicBezTo>
                  <a:cubicBezTo>
                    <a:pt x="779" y="364"/>
                    <a:pt x="787" y="373"/>
                    <a:pt x="791" y="377"/>
                  </a:cubicBezTo>
                  <a:cubicBezTo>
                    <a:pt x="791" y="377"/>
                    <a:pt x="791" y="377"/>
                    <a:pt x="791" y="377"/>
                  </a:cubicBezTo>
                  <a:cubicBezTo>
                    <a:pt x="800" y="378"/>
                    <a:pt x="804" y="383"/>
                    <a:pt x="802" y="400"/>
                  </a:cubicBezTo>
                  <a:cubicBezTo>
                    <a:pt x="799" y="443"/>
                    <a:pt x="799" y="443"/>
                    <a:pt x="799" y="443"/>
                  </a:cubicBezTo>
                  <a:cubicBezTo>
                    <a:pt x="798" y="451"/>
                    <a:pt x="802" y="456"/>
                    <a:pt x="811" y="457"/>
                  </a:cubicBezTo>
                  <a:cubicBezTo>
                    <a:pt x="845" y="468"/>
                    <a:pt x="845" y="468"/>
                    <a:pt x="845" y="468"/>
                  </a:cubicBezTo>
                  <a:cubicBezTo>
                    <a:pt x="849" y="464"/>
                    <a:pt x="858" y="464"/>
                    <a:pt x="859" y="456"/>
                  </a:cubicBezTo>
                  <a:cubicBezTo>
                    <a:pt x="871" y="413"/>
                    <a:pt x="871" y="413"/>
                    <a:pt x="871" y="413"/>
                  </a:cubicBezTo>
                  <a:cubicBezTo>
                    <a:pt x="876" y="401"/>
                    <a:pt x="889" y="397"/>
                    <a:pt x="894" y="393"/>
                  </a:cubicBezTo>
                  <a:cubicBezTo>
                    <a:pt x="894" y="393"/>
                    <a:pt x="894" y="393"/>
                    <a:pt x="894" y="393"/>
                  </a:cubicBezTo>
                  <a:cubicBezTo>
                    <a:pt x="902" y="394"/>
                    <a:pt x="911" y="395"/>
                    <a:pt x="916" y="391"/>
                  </a:cubicBezTo>
                  <a:cubicBezTo>
                    <a:pt x="916" y="391"/>
                    <a:pt x="916" y="391"/>
                    <a:pt x="916" y="391"/>
                  </a:cubicBezTo>
                  <a:cubicBezTo>
                    <a:pt x="924" y="391"/>
                    <a:pt x="933" y="392"/>
                    <a:pt x="941" y="401"/>
                  </a:cubicBezTo>
                  <a:cubicBezTo>
                    <a:pt x="969" y="433"/>
                    <a:pt x="969" y="433"/>
                    <a:pt x="969" y="433"/>
                  </a:cubicBezTo>
                  <a:cubicBezTo>
                    <a:pt x="973" y="438"/>
                    <a:pt x="985" y="443"/>
                    <a:pt x="990" y="439"/>
                  </a:cubicBezTo>
                  <a:cubicBezTo>
                    <a:pt x="1018" y="415"/>
                    <a:pt x="1018" y="415"/>
                    <a:pt x="1018" y="415"/>
                  </a:cubicBezTo>
                  <a:cubicBezTo>
                    <a:pt x="1018" y="415"/>
                    <a:pt x="1027" y="407"/>
                    <a:pt x="1019" y="398"/>
                  </a:cubicBezTo>
                  <a:close/>
                  <a:moveTo>
                    <a:pt x="803" y="279"/>
                  </a:moveTo>
                  <a:cubicBezTo>
                    <a:pt x="776" y="238"/>
                    <a:pt x="788" y="187"/>
                    <a:pt x="825" y="164"/>
                  </a:cubicBezTo>
                  <a:cubicBezTo>
                    <a:pt x="866" y="136"/>
                    <a:pt x="921" y="144"/>
                    <a:pt x="948" y="185"/>
                  </a:cubicBezTo>
                  <a:cubicBezTo>
                    <a:pt x="972" y="221"/>
                    <a:pt x="963" y="277"/>
                    <a:pt x="922" y="304"/>
                  </a:cubicBezTo>
                  <a:cubicBezTo>
                    <a:pt x="881" y="332"/>
                    <a:pt x="830" y="320"/>
                    <a:pt x="803" y="279"/>
                  </a:cubicBezTo>
                  <a:close/>
                </a:path>
              </a:pathLst>
            </a:custGeom>
            <a:solidFill>
              <a:schemeClr val="tx1"/>
            </a:solidFill>
            <a:ln>
              <a:noFill/>
            </a:ln>
          </p:spPr>
          <p:txBody>
            <a:bodyPr vert="horz" wrap="square" lIns="68574" tIns="34287" rIns="68574" bIns="34287"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17346"/>
                </a:solidFill>
                <a:effectLst/>
                <a:uLnTx/>
                <a:uFillTx/>
                <a:latin typeface="Segoe UI"/>
                <a:ea typeface="+mn-ea"/>
                <a:cs typeface="+mn-cs"/>
              </a:endParaRPr>
            </a:p>
          </p:txBody>
        </p:sp>
        <p:sp>
          <p:nvSpPr>
            <p:cNvPr id="104" name="Freeform 103"/>
            <p:cNvSpPr>
              <a:spLocks noChangeAspect="1"/>
            </p:cNvSpPr>
            <p:nvPr/>
          </p:nvSpPr>
          <p:spPr bwMode="black">
            <a:xfrm>
              <a:off x="776985" y="4213905"/>
              <a:ext cx="342871" cy="335728"/>
            </a:xfrm>
            <a:custGeom>
              <a:avLst/>
              <a:gdLst>
                <a:gd name="connsiteX0" fmla="*/ 3713863 w 4893730"/>
                <a:gd name="connsiteY0" fmla="*/ 2130808 h 4791777"/>
                <a:gd name="connsiteX1" fmla="*/ 4426142 w 4893730"/>
                <a:gd name="connsiteY1" fmla="*/ 2130808 h 4791777"/>
                <a:gd name="connsiteX2" fmla="*/ 4598071 w 4893730"/>
                <a:gd name="connsiteY2" fmla="*/ 2301547 h 4791777"/>
                <a:gd name="connsiteX3" fmla="*/ 4598071 w 4893730"/>
                <a:gd name="connsiteY3" fmla="*/ 3886978 h 4791777"/>
                <a:gd name="connsiteX4" fmla="*/ 4426142 w 4893730"/>
                <a:gd name="connsiteY4" fmla="*/ 4057717 h 4791777"/>
                <a:gd name="connsiteX5" fmla="*/ 3713863 w 4893730"/>
                <a:gd name="connsiteY5" fmla="*/ 4057717 h 4791777"/>
                <a:gd name="connsiteX6" fmla="*/ 3517372 w 4893730"/>
                <a:gd name="connsiteY6" fmla="*/ 3886978 h 4791777"/>
                <a:gd name="connsiteX7" fmla="*/ 3517372 w 4893730"/>
                <a:gd name="connsiteY7" fmla="*/ 2301547 h 4791777"/>
                <a:gd name="connsiteX8" fmla="*/ 3713863 w 4893730"/>
                <a:gd name="connsiteY8" fmla="*/ 2130808 h 4791777"/>
                <a:gd name="connsiteX9" fmla="*/ 904368 w 4893730"/>
                <a:gd name="connsiteY9" fmla="*/ 1223432 h 4791777"/>
                <a:gd name="connsiteX10" fmla="*/ 1609930 w 4893730"/>
                <a:gd name="connsiteY10" fmla="*/ 1223432 h 4791777"/>
                <a:gd name="connsiteX11" fmla="*/ 1804567 w 4893730"/>
                <a:gd name="connsiteY11" fmla="*/ 1394467 h 4791777"/>
                <a:gd name="connsiteX12" fmla="*/ 1804567 w 4893730"/>
                <a:gd name="connsiteY12" fmla="*/ 3886683 h 4791777"/>
                <a:gd name="connsiteX13" fmla="*/ 1609930 w 4893730"/>
                <a:gd name="connsiteY13" fmla="*/ 4057717 h 4791777"/>
                <a:gd name="connsiteX14" fmla="*/ 904368 w 4893730"/>
                <a:gd name="connsiteY14" fmla="*/ 4057717 h 4791777"/>
                <a:gd name="connsiteX15" fmla="*/ 734060 w 4893730"/>
                <a:gd name="connsiteY15" fmla="*/ 3886683 h 4791777"/>
                <a:gd name="connsiteX16" fmla="*/ 734060 w 4893730"/>
                <a:gd name="connsiteY16" fmla="*/ 1394467 h 4791777"/>
                <a:gd name="connsiteX17" fmla="*/ 904368 w 4893730"/>
                <a:gd name="connsiteY17" fmla="*/ 1223432 h 4791777"/>
                <a:gd name="connsiteX18" fmla="*/ 2325453 w 4893730"/>
                <a:gd name="connsiteY18" fmla="*/ 316050 h 4791777"/>
                <a:gd name="connsiteX19" fmla="*/ 3031014 w 4893730"/>
                <a:gd name="connsiteY19" fmla="*/ 316050 h 4791777"/>
                <a:gd name="connsiteX20" fmla="*/ 3201322 w 4893730"/>
                <a:gd name="connsiteY20" fmla="*/ 487238 h 4791777"/>
                <a:gd name="connsiteX21" fmla="*/ 3201322 w 4893730"/>
                <a:gd name="connsiteY21" fmla="*/ 3886530 h 4791777"/>
                <a:gd name="connsiteX22" fmla="*/ 3031014 w 4893730"/>
                <a:gd name="connsiteY22" fmla="*/ 4057717 h 4791777"/>
                <a:gd name="connsiteX23" fmla="*/ 2325453 w 4893730"/>
                <a:gd name="connsiteY23" fmla="*/ 4057717 h 4791777"/>
                <a:gd name="connsiteX24" fmla="*/ 2130815 w 4893730"/>
                <a:gd name="connsiteY24" fmla="*/ 3886530 h 4791777"/>
                <a:gd name="connsiteX25" fmla="*/ 2130815 w 4893730"/>
                <a:gd name="connsiteY25" fmla="*/ 487238 h 4791777"/>
                <a:gd name="connsiteX26" fmla="*/ 2325453 w 4893730"/>
                <a:gd name="connsiteY26" fmla="*/ 316050 h 4791777"/>
                <a:gd name="connsiteX27" fmla="*/ 269155 w 4893730"/>
                <a:gd name="connsiteY27" fmla="*/ 0 h 4791777"/>
                <a:gd name="connsiteX28" fmla="*/ 538311 w 4893730"/>
                <a:gd name="connsiteY28" fmla="*/ 268927 h 4791777"/>
                <a:gd name="connsiteX29" fmla="*/ 538311 w 4893730"/>
                <a:gd name="connsiteY29" fmla="*/ 4253925 h 4791777"/>
                <a:gd name="connsiteX30" fmla="*/ 4624575 w 4893730"/>
                <a:gd name="connsiteY30" fmla="*/ 4253925 h 4791777"/>
                <a:gd name="connsiteX31" fmla="*/ 4893730 w 4893730"/>
                <a:gd name="connsiteY31" fmla="*/ 4522851 h 4791777"/>
                <a:gd name="connsiteX32" fmla="*/ 4624575 w 4893730"/>
                <a:gd name="connsiteY32" fmla="*/ 4791777 h 4791777"/>
                <a:gd name="connsiteX33" fmla="*/ 269155 w 4893730"/>
                <a:gd name="connsiteY33" fmla="*/ 4791777 h 4791777"/>
                <a:gd name="connsiteX34" fmla="*/ 0 w 4893730"/>
                <a:gd name="connsiteY34" fmla="*/ 4522851 h 4791777"/>
                <a:gd name="connsiteX35" fmla="*/ 0 w 4893730"/>
                <a:gd name="connsiteY35" fmla="*/ 268927 h 4791777"/>
                <a:gd name="connsiteX36" fmla="*/ 269155 w 4893730"/>
                <a:gd name="connsiteY36" fmla="*/ 0 h 4791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4893730" h="4791777">
                  <a:moveTo>
                    <a:pt x="3713863" y="2130808"/>
                  </a:moveTo>
                  <a:cubicBezTo>
                    <a:pt x="3713863" y="2130808"/>
                    <a:pt x="3713863" y="2130808"/>
                    <a:pt x="4426142" y="2130808"/>
                  </a:cubicBezTo>
                  <a:cubicBezTo>
                    <a:pt x="4524387" y="2130808"/>
                    <a:pt x="4598071" y="2203982"/>
                    <a:pt x="4598071" y="2301547"/>
                  </a:cubicBezTo>
                  <a:cubicBezTo>
                    <a:pt x="4598071" y="2301547"/>
                    <a:pt x="4598071" y="2301547"/>
                    <a:pt x="4598071" y="3886978"/>
                  </a:cubicBezTo>
                  <a:cubicBezTo>
                    <a:pt x="4598071" y="3984543"/>
                    <a:pt x="4524387" y="4057717"/>
                    <a:pt x="4426142" y="4057717"/>
                  </a:cubicBezTo>
                  <a:cubicBezTo>
                    <a:pt x="4426142" y="4057717"/>
                    <a:pt x="4426142" y="4057717"/>
                    <a:pt x="3713863" y="4057717"/>
                  </a:cubicBezTo>
                  <a:cubicBezTo>
                    <a:pt x="3615618" y="4057717"/>
                    <a:pt x="3517372" y="3984543"/>
                    <a:pt x="3517372" y="3886978"/>
                  </a:cubicBezTo>
                  <a:cubicBezTo>
                    <a:pt x="3517372" y="3886978"/>
                    <a:pt x="3517372" y="3886978"/>
                    <a:pt x="3517372" y="2301547"/>
                  </a:cubicBezTo>
                  <a:cubicBezTo>
                    <a:pt x="3517372" y="2203982"/>
                    <a:pt x="3615618" y="2130808"/>
                    <a:pt x="3713863" y="2130808"/>
                  </a:cubicBezTo>
                  <a:close/>
                  <a:moveTo>
                    <a:pt x="904368" y="1223432"/>
                  </a:moveTo>
                  <a:cubicBezTo>
                    <a:pt x="904368" y="1223432"/>
                    <a:pt x="904368" y="1223432"/>
                    <a:pt x="1609930" y="1223432"/>
                  </a:cubicBezTo>
                  <a:cubicBezTo>
                    <a:pt x="1731578" y="1223432"/>
                    <a:pt x="1804567" y="1296733"/>
                    <a:pt x="1804567" y="1394467"/>
                  </a:cubicBezTo>
                  <a:cubicBezTo>
                    <a:pt x="1804567" y="1394467"/>
                    <a:pt x="1804567" y="1394467"/>
                    <a:pt x="1804567" y="3886683"/>
                  </a:cubicBezTo>
                  <a:cubicBezTo>
                    <a:pt x="1804567" y="3984417"/>
                    <a:pt x="1731578" y="4057717"/>
                    <a:pt x="1609930" y="4057717"/>
                  </a:cubicBezTo>
                  <a:cubicBezTo>
                    <a:pt x="1609930" y="4057717"/>
                    <a:pt x="1609930" y="4057717"/>
                    <a:pt x="904368" y="4057717"/>
                  </a:cubicBezTo>
                  <a:cubicBezTo>
                    <a:pt x="807049" y="4057717"/>
                    <a:pt x="734060" y="3984417"/>
                    <a:pt x="734060" y="3886683"/>
                  </a:cubicBezTo>
                  <a:cubicBezTo>
                    <a:pt x="734060" y="3886683"/>
                    <a:pt x="734060" y="3886683"/>
                    <a:pt x="734060" y="1394467"/>
                  </a:cubicBezTo>
                  <a:cubicBezTo>
                    <a:pt x="734060" y="1296733"/>
                    <a:pt x="807049" y="1223432"/>
                    <a:pt x="904368" y="1223432"/>
                  </a:cubicBezTo>
                  <a:close/>
                  <a:moveTo>
                    <a:pt x="2325453" y="316050"/>
                  </a:moveTo>
                  <a:cubicBezTo>
                    <a:pt x="2325453" y="316050"/>
                    <a:pt x="2325453" y="316050"/>
                    <a:pt x="3031014" y="316050"/>
                  </a:cubicBezTo>
                  <a:cubicBezTo>
                    <a:pt x="3128333" y="316050"/>
                    <a:pt x="3201322" y="389416"/>
                    <a:pt x="3201322" y="487238"/>
                  </a:cubicBezTo>
                  <a:cubicBezTo>
                    <a:pt x="3201322" y="487238"/>
                    <a:pt x="3201322" y="487238"/>
                    <a:pt x="3201322" y="3886530"/>
                  </a:cubicBezTo>
                  <a:cubicBezTo>
                    <a:pt x="3201322" y="3984351"/>
                    <a:pt x="3128333" y="4057717"/>
                    <a:pt x="3031014" y="4057717"/>
                  </a:cubicBezTo>
                  <a:cubicBezTo>
                    <a:pt x="3031014" y="4057717"/>
                    <a:pt x="3031014" y="4057717"/>
                    <a:pt x="2325453" y="4057717"/>
                  </a:cubicBezTo>
                  <a:cubicBezTo>
                    <a:pt x="2203804" y="4057717"/>
                    <a:pt x="2130815" y="3984351"/>
                    <a:pt x="2130815" y="3886530"/>
                  </a:cubicBezTo>
                  <a:cubicBezTo>
                    <a:pt x="2130815" y="3886530"/>
                    <a:pt x="2130815" y="3886530"/>
                    <a:pt x="2130815" y="487238"/>
                  </a:cubicBezTo>
                  <a:cubicBezTo>
                    <a:pt x="2130815" y="389416"/>
                    <a:pt x="2203804" y="316050"/>
                    <a:pt x="2325453" y="316050"/>
                  </a:cubicBezTo>
                  <a:close/>
                  <a:moveTo>
                    <a:pt x="269155" y="0"/>
                  </a:moveTo>
                  <a:cubicBezTo>
                    <a:pt x="415967" y="0"/>
                    <a:pt x="538311" y="122239"/>
                    <a:pt x="538311" y="268927"/>
                  </a:cubicBezTo>
                  <a:cubicBezTo>
                    <a:pt x="538311" y="268927"/>
                    <a:pt x="538311" y="268927"/>
                    <a:pt x="538311" y="4253925"/>
                  </a:cubicBezTo>
                  <a:cubicBezTo>
                    <a:pt x="538311" y="4253925"/>
                    <a:pt x="538311" y="4253925"/>
                    <a:pt x="4624575" y="4253925"/>
                  </a:cubicBezTo>
                  <a:cubicBezTo>
                    <a:pt x="4771387" y="4253925"/>
                    <a:pt x="4893730" y="4376164"/>
                    <a:pt x="4893730" y="4522851"/>
                  </a:cubicBezTo>
                  <a:cubicBezTo>
                    <a:pt x="4893730" y="4669538"/>
                    <a:pt x="4771387" y="4791777"/>
                    <a:pt x="4624575" y="4791777"/>
                  </a:cubicBezTo>
                  <a:cubicBezTo>
                    <a:pt x="4624575" y="4791777"/>
                    <a:pt x="4624575" y="4791777"/>
                    <a:pt x="269155" y="4791777"/>
                  </a:cubicBezTo>
                  <a:cubicBezTo>
                    <a:pt x="122344" y="4791777"/>
                    <a:pt x="0" y="4669538"/>
                    <a:pt x="0" y="4522851"/>
                  </a:cubicBezTo>
                  <a:cubicBezTo>
                    <a:pt x="0" y="4522851"/>
                    <a:pt x="0" y="4522851"/>
                    <a:pt x="0" y="268927"/>
                  </a:cubicBezTo>
                  <a:cubicBezTo>
                    <a:pt x="0" y="122239"/>
                    <a:pt x="122344" y="0"/>
                    <a:pt x="269155"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37148" tIns="109719" rIns="137148" bIns="109719"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699261"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5" name="Rectangle 104"/>
            <p:cNvSpPr/>
            <p:nvPr/>
          </p:nvSpPr>
          <p:spPr bwMode="auto">
            <a:xfrm rot="2745734">
              <a:off x="886688" y="2210975"/>
              <a:ext cx="1598323" cy="1625795"/>
            </a:xfrm>
            <a:prstGeom prst="rect">
              <a:avLst/>
            </a:prstGeom>
            <a:solidFill>
              <a:schemeClr val="tx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6" name="Rectangle 105"/>
            <p:cNvSpPr/>
            <p:nvPr/>
          </p:nvSpPr>
          <p:spPr bwMode="auto">
            <a:xfrm rot="2745734">
              <a:off x="292433" y="3819160"/>
              <a:ext cx="1610349" cy="1235003"/>
            </a:xfrm>
            <a:prstGeom prst="rect">
              <a:avLst/>
            </a:prstGeom>
            <a:solidFill>
              <a:schemeClr val="tx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7" name="Rectangle 106"/>
            <p:cNvSpPr/>
            <p:nvPr/>
          </p:nvSpPr>
          <p:spPr bwMode="auto">
            <a:xfrm rot="2745734">
              <a:off x="1315610" y="4915701"/>
              <a:ext cx="1263370" cy="1255989"/>
            </a:xfrm>
            <a:prstGeom prst="rect">
              <a:avLst/>
            </a:prstGeom>
            <a:solidFill>
              <a:schemeClr val="tx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37" name="Title 10"/>
          <p:cNvSpPr txBox="1">
            <a:spLocks/>
          </p:cNvSpPr>
          <p:nvPr/>
        </p:nvSpPr>
        <p:spPr>
          <a:xfrm>
            <a:off x="2849060" y="0"/>
            <a:ext cx="9342940" cy="665151"/>
          </a:xfrm>
          <a:prstGeom prst="rect">
            <a:avLst/>
          </a:prstGeom>
          <a:noFill/>
        </p:spPr>
        <p:txBody>
          <a:bodyPr vert="horz" wrap="square" lIns="0" tIns="91440" rIns="0" bIns="91440" rtlCol="0" anchor="t">
            <a:noAutofit/>
          </a:bodyPr>
          <a:lstStyle>
            <a:lvl1pPr defTabSz="914367">
              <a:lnSpc>
                <a:spcPct val="90000"/>
              </a:lnSpc>
              <a:spcBef>
                <a:spcPct val="0"/>
              </a:spcBef>
              <a:buNone/>
              <a:defRPr lang="en-US" sz="5294" b="0" cap="none" spc="-100" baseline="0" dirty="0" smtClean="0">
                <a:ln w="3175">
                  <a:noFill/>
                </a:ln>
                <a:solidFill>
                  <a:schemeClr val="tx2"/>
                </a:solidFill>
                <a:effectLst/>
                <a:latin typeface="+mj-lt"/>
                <a:cs typeface="Segoe UI" pitchFamily="34" charset="0"/>
              </a:defRPr>
            </a:lvl1pPr>
          </a:lstStyle>
          <a:p>
            <a:pPr marL="168275" marR="0" lvl="0" indent="0" algn="l" defTabSz="914367" rtl="0" eaLnBrk="1" fontAlgn="auto" latinLnBrk="0" hangingPunct="1">
              <a:lnSpc>
                <a:spcPct val="90000"/>
              </a:lnSpc>
              <a:spcBef>
                <a:spcPct val="0"/>
              </a:spcBef>
              <a:spcAft>
                <a:spcPts val="0"/>
              </a:spcAft>
              <a:buClrTx/>
              <a:buSzTx/>
              <a:buFontTx/>
              <a:buNone/>
              <a:tabLst/>
              <a:defRPr/>
            </a:pPr>
            <a:r>
              <a:rPr kumimoji="0" lang="en-US" sz="3600" b="0" i="0" u="none" strike="noStrike" kern="1200" cap="none" spc="-100" normalizeH="0" baseline="0" noProof="0">
                <a:ln w="3175">
                  <a:noFill/>
                </a:ln>
                <a:solidFill>
                  <a:prstClr val="black"/>
                </a:solidFill>
                <a:effectLst/>
                <a:uLnTx/>
                <a:uFillTx/>
                <a:latin typeface="Segoe UI Light"/>
                <a:ea typeface="+mn-ea"/>
                <a:cs typeface="Segoe UI" pitchFamily="34" charset="0"/>
              </a:rPr>
              <a:t>Creating a Data Model</a:t>
            </a:r>
            <a:endParaRPr kumimoji="0" lang="en-IN" sz="3600" b="0" i="0" u="none" strike="noStrike" kern="1200" cap="none" spc="-100" normalizeH="0" baseline="0" noProof="0">
              <a:ln w="3175">
                <a:noFill/>
              </a:ln>
              <a:solidFill>
                <a:prstClr val="black"/>
              </a:solidFill>
              <a:effectLst/>
              <a:uLnTx/>
              <a:uFillTx/>
              <a:latin typeface="Segoe UI Light"/>
              <a:ea typeface="+mn-ea"/>
              <a:cs typeface="Segoe UI" pitchFamily="34" charset="0"/>
            </a:endParaRPr>
          </a:p>
        </p:txBody>
      </p:sp>
      <p:sp>
        <p:nvSpPr>
          <p:cNvPr id="40" name="TextBox 39"/>
          <p:cNvSpPr txBox="1"/>
          <p:nvPr/>
        </p:nvSpPr>
        <p:spPr>
          <a:xfrm>
            <a:off x="3" y="51415"/>
            <a:ext cx="2849058" cy="430887"/>
          </a:xfrm>
          <a:prstGeom prst="rect">
            <a:avLst/>
          </a:prstGeom>
        </p:spPr>
        <p:txBody>
          <a:bodyPr wrap="square">
            <a:spAutoFit/>
          </a:bodyPr>
          <a:lstStyle>
            <a:defPPr>
              <a:defRPr lang="en-US"/>
            </a:defPPr>
            <a:lvl1pPr defTabSz="914192">
              <a:defRPr sz="2800" b="1" spc="-100">
                <a:ln w="3175">
                  <a:noFill/>
                </a:ln>
                <a:solidFill>
                  <a:srgbClr val="F2C812"/>
                </a:solidFill>
                <a:latin typeface="Segoe UI" panose="020B0502040204020203" pitchFamily="34" charset="0"/>
                <a:ea typeface="ＭＳ Ｐゴシック" charset="0"/>
                <a:cs typeface="Segoe UI" panose="020B0502040204020203" pitchFamily="34" charset="0"/>
              </a:defRPr>
            </a:lvl1pPr>
          </a:lstStyle>
          <a:p>
            <a:pPr marL="0" marR="0" lvl="0" indent="0" algn="l" defTabSz="914192" rtl="0" eaLnBrk="1" fontAlgn="auto" latinLnBrk="0" hangingPunct="1">
              <a:lnSpc>
                <a:spcPct val="100000"/>
              </a:lnSpc>
              <a:spcBef>
                <a:spcPts val="0"/>
              </a:spcBef>
              <a:spcAft>
                <a:spcPts val="0"/>
              </a:spcAft>
              <a:buClrTx/>
              <a:buSzTx/>
              <a:buFontTx/>
              <a:buNone/>
              <a:tabLst/>
              <a:defRPr/>
            </a:pPr>
            <a:r>
              <a:rPr kumimoji="0" lang="en-US" sz="2200" b="1" i="0" u="none" strike="noStrike" kern="1200" cap="none" spc="-100" normalizeH="0" baseline="0" noProof="0">
                <a:ln w="3175">
                  <a:noFill/>
                </a:ln>
                <a:solidFill>
                  <a:srgbClr val="F2C812"/>
                </a:solidFill>
                <a:effectLst/>
                <a:uLnTx/>
                <a:uFillTx/>
                <a:latin typeface="Segoe UI Light"/>
                <a:ea typeface="ＭＳ Ｐゴシック" charset="0"/>
                <a:cs typeface="Segoe UI" panose="020B0502040204020203" pitchFamily="34" charset="0"/>
              </a:rPr>
              <a:t>Power BI Desktop</a:t>
            </a:r>
          </a:p>
        </p:txBody>
      </p:sp>
      <p:sp>
        <p:nvSpPr>
          <p:cNvPr id="36" name="Rectangle 3"/>
          <p:cNvSpPr/>
          <p:nvPr/>
        </p:nvSpPr>
        <p:spPr bwMode="auto">
          <a:xfrm>
            <a:off x="3202216" y="665151"/>
            <a:ext cx="8105312" cy="44435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PT" sz="2000" b="0" i="1" u="none" strike="noStrike" kern="1200" cap="none" spc="0" normalizeH="0" baseline="0" noProof="0">
                <a:ln>
                  <a:noFill/>
                </a:ln>
                <a:solidFill>
                  <a:prstClr val="black"/>
                </a:solidFill>
                <a:effectLst/>
                <a:uLnTx/>
                <a:uFillTx/>
                <a:latin typeface="Segoe UI Light"/>
                <a:ea typeface="+mn-ea"/>
                <a:cs typeface="+mn-cs"/>
              </a:rPr>
              <a:t>Relationship View</a:t>
            </a:r>
            <a:endParaRPr kumimoji="0" lang="en-US" sz="2000" b="0" i="1" u="none" strike="noStrike" kern="1200" cap="none" spc="0" normalizeH="0" baseline="0" noProof="0">
              <a:ln>
                <a:noFill/>
              </a:ln>
              <a:solidFill>
                <a:prstClr val="black"/>
              </a:solidFill>
              <a:effectLst/>
              <a:uLnTx/>
              <a:uFillTx/>
              <a:latin typeface="Segoe UI Light"/>
              <a:ea typeface="+mn-ea"/>
              <a:cs typeface="+mn-cs"/>
            </a:endParaRPr>
          </a:p>
        </p:txBody>
      </p:sp>
      <p:sp>
        <p:nvSpPr>
          <p:cNvPr id="48" name="TextBox 47"/>
          <p:cNvSpPr txBox="1"/>
          <p:nvPr/>
        </p:nvSpPr>
        <p:spPr>
          <a:xfrm>
            <a:off x="8599544" y="1368948"/>
            <a:ext cx="3490856" cy="1181862"/>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600" b="1" i="0" u="none" strike="noStrike" kern="1200" cap="none" spc="0" normalizeH="0" baseline="0" noProof="0">
                <a:ln>
                  <a:noFill/>
                </a:ln>
                <a:solidFill>
                  <a:prstClr val="black"/>
                </a:solidFill>
                <a:effectLst/>
                <a:uLnTx/>
                <a:uFillTx/>
                <a:latin typeface="Segoe UI Light"/>
                <a:ea typeface="Calibri" panose="020F0502020204030204" pitchFamily="34" charset="0"/>
                <a:cs typeface="Times New Roman" panose="02020603050405020304" pitchFamily="18" charset="0"/>
              </a:rPr>
              <a:t>Relationship View icon</a:t>
            </a:r>
            <a:r>
              <a:rPr kumimoji="0" lang="en-US" sz="1600" b="0" i="0" u="none" strike="noStrike" kern="1200" cap="none" spc="0" normalizeH="0" baseline="0" noProof="0">
                <a:ln>
                  <a:noFill/>
                </a:ln>
                <a:solidFill>
                  <a:prstClr val="black"/>
                </a:solidFill>
                <a:effectLst/>
                <a:uLnTx/>
                <a:uFillTx/>
                <a:latin typeface="Segoe UI Light"/>
                <a:ea typeface="Calibri" panose="020F0502020204030204" pitchFamily="34" charset="0"/>
                <a:cs typeface="Times New Roman" panose="02020603050405020304" pitchFamily="18" charset="0"/>
              </a:rPr>
              <a:t> – Shows the relationships in the model. Here you can create relationships or view them. </a:t>
            </a:r>
            <a:endParaRPr kumimoji="0" lang="en-US" sz="1600" b="1" i="0" u="none" strike="noStrike" kern="1200" cap="none" spc="0" normalizeH="0" baseline="0" noProof="0">
              <a:ln>
                <a:noFill/>
              </a:ln>
              <a:solidFill>
                <a:prstClr val="black"/>
              </a:solidFill>
              <a:effectLst/>
              <a:uLnTx/>
              <a:uFillTx/>
              <a:latin typeface="Segoe UI Light"/>
              <a:ea typeface="Calibri" panose="020F0502020204030204" pitchFamily="34" charset="0"/>
              <a:cs typeface="Times New Roman" panose="02020603050405020304" pitchFamily="18" charset="0"/>
            </a:endParaRPr>
          </a:p>
        </p:txBody>
      </p:sp>
      <p:sp>
        <p:nvSpPr>
          <p:cNvPr id="59" name="Oval 58"/>
          <p:cNvSpPr/>
          <p:nvPr/>
        </p:nvSpPr>
        <p:spPr bwMode="auto">
          <a:xfrm>
            <a:off x="8400386" y="1482026"/>
            <a:ext cx="252000" cy="252000"/>
          </a:xfrm>
          <a:prstGeom prst="ellipse">
            <a:avLst/>
          </a:prstGeom>
          <a:solidFill>
            <a:srgbClr val="FF00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pt-PT" sz="12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A</a:t>
            </a:r>
            <a:endParaRPr kumimoji="0" lang="en-US" sz="12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0" name="TextBox 59"/>
          <p:cNvSpPr txBox="1"/>
          <p:nvPr/>
        </p:nvSpPr>
        <p:spPr>
          <a:xfrm>
            <a:off x="8652386" y="2646131"/>
            <a:ext cx="3438014" cy="2520690"/>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600" b="1" i="0" u="none" strike="noStrike" kern="1200" cap="none" spc="0" normalizeH="0" baseline="0" noProof="0">
                <a:ln>
                  <a:noFill/>
                </a:ln>
                <a:solidFill>
                  <a:prstClr val="black"/>
                </a:solidFill>
                <a:effectLst/>
                <a:uLnTx/>
                <a:uFillTx/>
                <a:latin typeface="Segoe UI Light"/>
                <a:ea typeface="Calibri" panose="020F0502020204030204" pitchFamily="34" charset="0"/>
                <a:cs typeface="Times New Roman" panose="02020603050405020304" pitchFamily="18" charset="0"/>
              </a:rPr>
              <a:t>Relationship </a:t>
            </a:r>
            <a:r>
              <a:rPr kumimoji="0" lang="en-US" sz="1600" b="0" i="0" u="none" strike="noStrike" kern="1200" cap="none" spc="0" normalizeH="0" baseline="0" noProof="0">
                <a:ln>
                  <a:noFill/>
                </a:ln>
                <a:solidFill>
                  <a:prstClr val="black"/>
                </a:solidFill>
                <a:effectLst/>
                <a:uLnTx/>
                <a:uFillTx/>
                <a:latin typeface="Segoe UI Light"/>
                <a:ea typeface="Calibri" panose="020F0502020204030204" pitchFamily="34" charset="0"/>
                <a:cs typeface="Times New Roman" panose="02020603050405020304" pitchFamily="18" charset="0"/>
              </a:rPr>
              <a:t>– You can </a:t>
            </a:r>
            <a:r>
              <a:rPr kumimoji="0" lang="en-US" sz="1600" b="1" i="0" u="none" strike="noStrike" kern="1200" cap="none" spc="0" normalizeH="0" baseline="0" noProof="0">
                <a:ln>
                  <a:noFill/>
                </a:ln>
                <a:solidFill>
                  <a:prstClr val="black"/>
                </a:solidFill>
                <a:effectLst/>
                <a:uLnTx/>
                <a:uFillTx/>
                <a:latin typeface="Segoe UI Light"/>
                <a:ea typeface="Calibri" panose="020F0502020204030204" pitchFamily="34" charset="0"/>
                <a:cs typeface="Times New Roman" panose="02020603050405020304" pitchFamily="18" charset="0"/>
              </a:rPr>
              <a:t>hover</a:t>
            </a:r>
            <a:r>
              <a:rPr kumimoji="0" lang="en-US" sz="1600" b="0" i="0" u="none" strike="noStrike" kern="1200" cap="none" spc="0" normalizeH="0" baseline="0" noProof="0">
                <a:ln>
                  <a:noFill/>
                </a:ln>
                <a:solidFill>
                  <a:prstClr val="black"/>
                </a:solidFill>
                <a:effectLst/>
                <a:uLnTx/>
                <a:uFillTx/>
                <a:latin typeface="Segoe UI Light"/>
                <a:ea typeface="Calibri" panose="020F0502020204030204" pitchFamily="34" charset="0"/>
                <a:cs typeface="Times New Roman" panose="02020603050405020304" pitchFamily="18" charset="0"/>
              </a:rPr>
              <a:t> your cursor over a </a:t>
            </a:r>
            <a:r>
              <a:rPr kumimoji="0" lang="en-US" sz="1600" b="1" i="0" u="none" strike="noStrike" kern="1200" cap="none" spc="0" normalizeH="0" baseline="0" noProof="0">
                <a:ln>
                  <a:noFill/>
                </a:ln>
                <a:solidFill>
                  <a:prstClr val="black"/>
                </a:solidFill>
                <a:effectLst/>
                <a:uLnTx/>
                <a:uFillTx/>
                <a:latin typeface="Segoe UI Light"/>
                <a:ea typeface="Calibri" panose="020F0502020204030204" pitchFamily="34" charset="0"/>
                <a:cs typeface="Times New Roman" panose="02020603050405020304" pitchFamily="18" charset="0"/>
              </a:rPr>
              <a:t>relationship</a:t>
            </a:r>
            <a:r>
              <a:rPr kumimoji="0" lang="en-US" sz="1600" b="0" i="0" u="none" strike="noStrike" kern="1200" cap="none" spc="0" normalizeH="0" baseline="0" noProof="0">
                <a:ln>
                  <a:noFill/>
                </a:ln>
                <a:solidFill>
                  <a:prstClr val="black"/>
                </a:solidFill>
                <a:effectLst/>
                <a:uLnTx/>
                <a:uFillTx/>
                <a:latin typeface="Segoe UI Light"/>
                <a:ea typeface="Calibri" panose="020F0502020204030204" pitchFamily="34" charset="0"/>
                <a:cs typeface="Times New Roman" panose="02020603050405020304" pitchFamily="18" charset="0"/>
              </a:rPr>
              <a:t> to show the columns used. </a:t>
            </a:r>
          </a:p>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600" b="1" i="0" u="none" strike="noStrike" kern="1200" cap="none" spc="0" normalizeH="0" baseline="0" noProof="0">
                <a:ln>
                  <a:noFill/>
                </a:ln>
                <a:solidFill>
                  <a:prstClr val="black"/>
                </a:solidFill>
                <a:effectLst/>
                <a:uLnTx/>
                <a:uFillTx/>
                <a:latin typeface="Segoe UI Light"/>
                <a:ea typeface="Calibri" panose="020F0502020204030204" pitchFamily="34" charset="0"/>
                <a:cs typeface="Times New Roman" panose="02020603050405020304" pitchFamily="18" charset="0"/>
              </a:rPr>
              <a:t>Double-click</a:t>
            </a:r>
            <a:r>
              <a:rPr kumimoji="0" lang="en-US" sz="1600" b="0" i="0" u="none" strike="noStrike" kern="1200" cap="none" spc="0" normalizeH="0" baseline="0" noProof="0">
                <a:ln>
                  <a:noFill/>
                </a:ln>
                <a:solidFill>
                  <a:prstClr val="black"/>
                </a:solidFill>
                <a:effectLst/>
                <a:uLnTx/>
                <a:uFillTx/>
                <a:latin typeface="Segoe UI Light"/>
                <a:ea typeface="Calibri" panose="020F0502020204030204" pitchFamily="34" charset="0"/>
                <a:cs typeface="Times New Roman" panose="02020603050405020304" pitchFamily="18" charset="0"/>
              </a:rPr>
              <a:t> on a relationship to open it in the </a:t>
            </a:r>
            <a:r>
              <a:rPr kumimoji="0" lang="en-US" sz="1600" b="1" i="0" u="none" strike="noStrike" kern="1200" cap="none" spc="0" normalizeH="0" baseline="0" noProof="0">
                <a:ln>
                  <a:noFill/>
                </a:ln>
                <a:solidFill>
                  <a:prstClr val="black"/>
                </a:solidFill>
                <a:effectLst/>
                <a:uLnTx/>
                <a:uFillTx/>
                <a:latin typeface="Segoe UI Light"/>
                <a:ea typeface="Calibri" panose="020F0502020204030204" pitchFamily="34" charset="0"/>
                <a:cs typeface="Times New Roman" panose="02020603050405020304" pitchFamily="18" charset="0"/>
              </a:rPr>
              <a:t>Edit</a:t>
            </a:r>
            <a:r>
              <a:rPr kumimoji="0" lang="en-US" sz="1600" b="0" i="0" u="none" strike="noStrike" kern="1200" cap="none" spc="0" normalizeH="0" baseline="0" noProof="0">
                <a:ln>
                  <a:noFill/>
                </a:ln>
                <a:solidFill>
                  <a:prstClr val="black"/>
                </a:solidFill>
                <a:effectLst/>
                <a:uLnTx/>
                <a:uFillTx/>
                <a:latin typeface="Segoe UI Light"/>
                <a:ea typeface="Calibri" panose="020F0502020204030204" pitchFamily="34" charset="0"/>
                <a:cs typeface="Times New Roman" panose="02020603050405020304" pitchFamily="18" charset="0"/>
              </a:rPr>
              <a:t> Relationship dialog box</a:t>
            </a:r>
          </a:p>
          <a:p>
            <a:pPr marL="0" marR="0" lvl="0" indent="0" algn="l" defTabSz="914400" rtl="0" eaLnBrk="1" fontAlgn="auto" latinLnBrk="0" hangingPunct="1">
              <a:lnSpc>
                <a:spcPct val="90000"/>
              </a:lnSpc>
              <a:spcBef>
                <a:spcPts val="0"/>
              </a:spcBef>
              <a:spcAft>
                <a:spcPts val="600"/>
              </a:spcAft>
              <a:buClrTx/>
              <a:buSzTx/>
              <a:buFontTx/>
              <a:buNone/>
              <a:tabLst/>
              <a:defRPr/>
            </a:pPr>
            <a:endParaRPr kumimoji="0" lang="pt-PT" sz="1600" b="0" i="0" u="none" strike="noStrike" kern="1200" cap="none" spc="0" normalizeH="0" baseline="0" noProof="0">
              <a:ln>
                <a:noFill/>
              </a:ln>
              <a:solidFill>
                <a:prstClr val="black"/>
              </a:solidFill>
              <a:effectLst/>
              <a:uLnTx/>
              <a:uFillTx/>
              <a:latin typeface="Segoe UI Light"/>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90000"/>
              </a:lnSpc>
              <a:spcBef>
                <a:spcPts val="0"/>
              </a:spcBef>
              <a:spcAft>
                <a:spcPts val="600"/>
              </a:spcAft>
              <a:buClrTx/>
              <a:buSzTx/>
              <a:buFontTx/>
              <a:buNone/>
              <a:tabLst/>
              <a:defRPr/>
            </a:pPr>
            <a:r>
              <a:rPr kumimoji="0" lang="pt-PT" sz="1600" b="0" i="0" u="none" strike="noStrike" kern="1200" cap="none" spc="0" normalizeH="0" baseline="0" noProof="0">
                <a:ln>
                  <a:noFill/>
                </a:ln>
                <a:solidFill>
                  <a:prstClr val="black"/>
                </a:solidFill>
                <a:effectLst/>
                <a:uLnTx/>
                <a:uFillTx/>
                <a:latin typeface="Segoe UI Light"/>
                <a:ea typeface="Calibri" panose="020F0502020204030204" pitchFamily="34" charset="0"/>
                <a:cs typeface="Times New Roman" panose="02020603050405020304" pitchFamily="18" charset="0"/>
              </a:rPr>
              <a:t>In the example, Sales and Stores have a relationship via StoreKey</a:t>
            </a:r>
            <a:endParaRPr kumimoji="0" lang="en-US" sz="1600" b="0" i="0" u="none" strike="noStrike" kern="1200" cap="none" spc="0" normalizeH="0" baseline="0" noProof="0">
              <a:ln>
                <a:noFill/>
              </a:ln>
              <a:solidFill>
                <a:prstClr val="black"/>
              </a:solidFill>
              <a:effectLst/>
              <a:uLnTx/>
              <a:uFillTx/>
              <a:latin typeface="Segoe UI Light"/>
              <a:ea typeface="Calibri" panose="020F0502020204030204" pitchFamily="34" charset="0"/>
              <a:cs typeface="Times New Roman" panose="02020603050405020304" pitchFamily="18" charset="0"/>
            </a:endParaRPr>
          </a:p>
        </p:txBody>
      </p:sp>
      <p:sp>
        <p:nvSpPr>
          <p:cNvPr id="61" name="Oval 60"/>
          <p:cNvSpPr/>
          <p:nvPr/>
        </p:nvSpPr>
        <p:spPr bwMode="auto">
          <a:xfrm>
            <a:off x="8453228" y="2759209"/>
            <a:ext cx="252000" cy="252000"/>
          </a:xfrm>
          <a:prstGeom prst="ellipse">
            <a:avLst/>
          </a:prstGeom>
          <a:solidFill>
            <a:srgbClr val="FF00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pt-PT" sz="12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B</a:t>
            </a:r>
            <a:endParaRPr kumimoji="0" lang="en-US" sz="12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103013" y="1368948"/>
            <a:ext cx="5133869" cy="5349276"/>
          </a:xfrm>
          <a:prstGeom prst="rect">
            <a:avLst/>
          </a:prstGeom>
        </p:spPr>
      </p:pic>
    </p:spTree>
    <p:extLst>
      <p:ext uri="{BB962C8B-B14F-4D97-AF65-F5344CB8AC3E}">
        <p14:creationId xmlns:p14="http://schemas.microsoft.com/office/powerpoint/2010/main" val="41724045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p:cNvGrpSpPr/>
          <p:nvPr/>
        </p:nvGrpSpPr>
        <p:grpSpPr>
          <a:xfrm>
            <a:off x="-11149" y="0"/>
            <a:ext cx="2849058" cy="6858000"/>
            <a:chOff x="2" y="1"/>
            <a:chExt cx="2849058" cy="6858000"/>
          </a:xfrm>
        </p:grpSpPr>
        <p:sp>
          <p:nvSpPr>
            <p:cNvPr id="70" name="Rectangle 69"/>
            <p:cNvSpPr/>
            <p:nvPr/>
          </p:nvSpPr>
          <p:spPr bwMode="auto">
            <a:xfrm>
              <a:off x="2" y="1"/>
              <a:ext cx="2849058"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5" name="Oval 70"/>
            <p:cNvSpPr/>
            <p:nvPr/>
          </p:nvSpPr>
          <p:spPr>
            <a:xfrm>
              <a:off x="1413521" y="4951537"/>
              <a:ext cx="1119626" cy="1119626"/>
            </a:xfrm>
            <a:prstGeom prst="ellipse">
              <a:avLst/>
            </a:prstGeom>
            <a:solidFill>
              <a:srgbClr val="F2C812"/>
            </a:solidFill>
            <a:ln w="3175" cap="flat" cmpd="sng" algn="ctr">
              <a:noFill/>
              <a:prstDash val="solid"/>
            </a:ln>
            <a:effectLst/>
          </p:spPr>
          <p:txBody>
            <a:bodyPr vert="horz" wrap="none" lIns="0" tIns="45720" rIns="0" bIns="0" rtlCol="0" anchor="t"/>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Segoe UI"/>
                  <a:ea typeface="Segoe UI" pitchFamily="34" charset="0"/>
                  <a:cs typeface="Segoe UI" pitchFamily="34" charset="0"/>
                </a:rPr>
                <a:t>Share &amp;</a:t>
              </a:r>
            </a:p>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Segoe UI"/>
                  <a:ea typeface="Segoe UI" pitchFamily="34" charset="0"/>
                  <a:cs typeface="Segoe UI" pitchFamily="34" charset="0"/>
                </a:rPr>
                <a:t>collaborate </a:t>
              </a:r>
            </a:p>
          </p:txBody>
        </p:sp>
        <p:grpSp>
          <p:nvGrpSpPr>
            <p:cNvPr id="66" name="Group 38"/>
            <p:cNvGrpSpPr>
              <a:grpSpLocks noChangeAspect="1"/>
            </p:cNvGrpSpPr>
            <p:nvPr/>
          </p:nvGrpSpPr>
          <p:grpSpPr>
            <a:xfrm>
              <a:off x="676996" y="3930692"/>
              <a:ext cx="383905" cy="351536"/>
              <a:chOff x="4363684" y="5330386"/>
              <a:chExt cx="1409956" cy="1291077"/>
            </a:xfrm>
            <a:solidFill>
              <a:srgbClr val="217346"/>
            </a:solidFill>
          </p:grpSpPr>
          <p:sp>
            <p:nvSpPr>
              <p:cNvPr id="67" name="Donut 3"/>
              <p:cNvSpPr/>
              <p:nvPr/>
            </p:nvSpPr>
            <p:spPr bwMode="auto">
              <a:xfrm>
                <a:off x="4363684" y="5330386"/>
                <a:ext cx="1409956" cy="1291077"/>
              </a:xfrm>
              <a:custGeom>
                <a:avLst/>
                <a:gdLst/>
                <a:ahLst/>
                <a:cxnLst/>
                <a:rect l="l" t="t" r="r" b="b"/>
                <a:pathLst>
                  <a:path w="1409956" h="1291077">
                    <a:moveTo>
                      <a:pt x="956401" y="78410"/>
                    </a:moveTo>
                    <a:cubicBezTo>
                      <a:pt x="747518" y="78410"/>
                      <a:pt x="578184" y="247744"/>
                      <a:pt x="578184" y="456627"/>
                    </a:cubicBezTo>
                    <a:cubicBezTo>
                      <a:pt x="578184" y="665510"/>
                      <a:pt x="747518" y="834844"/>
                      <a:pt x="956401" y="834844"/>
                    </a:cubicBezTo>
                    <a:cubicBezTo>
                      <a:pt x="1165284" y="834844"/>
                      <a:pt x="1334618" y="665510"/>
                      <a:pt x="1334618" y="456627"/>
                    </a:cubicBezTo>
                    <a:cubicBezTo>
                      <a:pt x="1334618" y="247744"/>
                      <a:pt x="1165284" y="78410"/>
                      <a:pt x="956401" y="78410"/>
                    </a:cubicBezTo>
                    <a:close/>
                    <a:moveTo>
                      <a:pt x="952756" y="0"/>
                    </a:moveTo>
                    <a:cubicBezTo>
                      <a:pt x="1205261" y="0"/>
                      <a:pt x="1409956" y="204695"/>
                      <a:pt x="1409956" y="457200"/>
                    </a:cubicBezTo>
                    <a:cubicBezTo>
                      <a:pt x="1409956" y="709705"/>
                      <a:pt x="1205261" y="914400"/>
                      <a:pt x="952756" y="914400"/>
                    </a:cubicBezTo>
                    <a:cubicBezTo>
                      <a:pt x="862133" y="914400"/>
                      <a:pt x="777669" y="888034"/>
                      <a:pt x="707132" y="841746"/>
                    </a:cubicBezTo>
                    <a:lnTo>
                      <a:pt x="136495" y="1280102"/>
                    </a:lnTo>
                    <a:cubicBezTo>
                      <a:pt x="21896" y="1327168"/>
                      <a:pt x="-44029" y="1213730"/>
                      <a:pt x="33797" y="1113182"/>
                    </a:cubicBezTo>
                    <a:lnTo>
                      <a:pt x="568587" y="703518"/>
                    </a:lnTo>
                    <a:cubicBezTo>
                      <a:pt x="522087" y="632814"/>
                      <a:pt x="495556" y="548105"/>
                      <a:pt x="495556" y="457200"/>
                    </a:cubicBezTo>
                    <a:cubicBezTo>
                      <a:pt x="495556" y="204695"/>
                      <a:pt x="700251" y="0"/>
                      <a:pt x="952756" y="0"/>
                    </a:cubicBezTo>
                    <a:close/>
                  </a:path>
                </a:pathLst>
              </a:custGeom>
              <a:grpFill/>
              <a:ln>
                <a:solidFill>
                  <a:srgbClr val="21734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sp>
            <p:nvSpPr>
              <p:cNvPr id="68" name="Rectangle 4"/>
              <p:cNvSpPr/>
              <p:nvPr/>
            </p:nvSpPr>
            <p:spPr>
              <a:xfrm>
                <a:off x="5058389" y="5528247"/>
                <a:ext cx="490885" cy="490020"/>
              </a:xfrm>
              <a:custGeom>
                <a:avLst/>
                <a:gdLst/>
                <a:ahLst/>
                <a:cxnLst/>
                <a:rect l="l" t="t" r="r" b="b"/>
                <a:pathLst>
                  <a:path w="490885" h="490020">
                    <a:moveTo>
                      <a:pt x="240752" y="0"/>
                    </a:moveTo>
                    <a:cubicBezTo>
                      <a:pt x="253961" y="11844"/>
                      <a:pt x="293310" y="49692"/>
                      <a:pt x="337332" y="92439"/>
                    </a:cubicBezTo>
                    <a:lnTo>
                      <a:pt x="328342" y="81259"/>
                    </a:lnTo>
                    <a:cubicBezTo>
                      <a:pt x="356946" y="111282"/>
                      <a:pt x="377251" y="107167"/>
                      <a:pt x="382515" y="87941"/>
                    </a:cubicBezTo>
                    <a:cubicBezTo>
                      <a:pt x="383951" y="76921"/>
                      <a:pt x="384595" y="68732"/>
                      <a:pt x="396997" y="52239"/>
                    </a:cubicBezTo>
                    <a:cubicBezTo>
                      <a:pt x="420362" y="32084"/>
                      <a:pt x="442294" y="41736"/>
                      <a:pt x="454920" y="51330"/>
                    </a:cubicBezTo>
                    <a:cubicBezTo>
                      <a:pt x="467834" y="62761"/>
                      <a:pt x="477920" y="86882"/>
                      <a:pt x="460392" y="109714"/>
                    </a:cubicBezTo>
                    <a:cubicBezTo>
                      <a:pt x="451128" y="121912"/>
                      <a:pt x="437554" y="126838"/>
                      <a:pt x="425922" y="126505"/>
                    </a:cubicBezTo>
                    <a:cubicBezTo>
                      <a:pt x="424301" y="127609"/>
                      <a:pt x="382890" y="134974"/>
                      <a:pt x="427348" y="177672"/>
                    </a:cubicBezTo>
                    <a:lnTo>
                      <a:pt x="416886" y="169735"/>
                    </a:lnTo>
                    <a:cubicBezTo>
                      <a:pt x="450207" y="202177"/>
                      <a:pt x="478424" y="229744"/>
                      <a:pt x="490885" y="241900"/>
                    </a:cubicBezTo>
                    <a:lnTo>
                      <a:pt x="417150" y="317347"/>
                    </a:lnTo>
                    <a:cubicBezTo>
                      <a:pt x="417744" y="316535"/>
                      <a:pt x="418443" y="316123"/>
                      <a:pt x="419047" y="315822"/>
                    </a:cubicBezTo>
                    <a:cubicBezTo>
                      <a:pt x="389023" y="344426"/>
                      <a:pt x="393138" y="364731"/>
                      <a:pt x="412364" y="369995"/>
                    </a:cubicBezTo>
                    <a:cubicBezTo>
                      <a:pt x="423384" y="371431"/>
                      <a:pt x="431574" y="372075"/>
                      <a:pt x="448067" y="384477"/>
                    </a:cubicBezTo>
                    <a:cubicBezTo>
                      <a:pt x="468221" y="407842"/>
                      <a:pt x="458569" y="429774"/>
                      <a:pt x="448975" y="442400"/>
                    </a:cubicBezTo>
                    <a:cubicBezTo>
                      <a:pt x="437545" y="455314"/>
                      <a:pt x="413423" y="465400"/>
                      <a:pt x="390591" y="447872"/>
                    </a:cubicBezTo>
                    <a:cubicBezTo>
                      <a:pt x="378394" y="438608"/>
                      <a:pt x="373468" y="425034"/>
                      <a:pt x="373800" y="413402"/>
                    </a:cubicBezTo>
                    <a:cubicBezTo>
                      <a:pt x="372696" y="411781"/>
                      <a:pt x="365332" y="370370"/>
                      <a:pt x="322634" y="414828"/>
                    </a:cubicBezTo>
                    <a:lnTo>
                      <a:pt x="325243" y="411388"/>
                    </a:lnTo>
                    <a:lnTo>
                      <a:pt x="248395" y="490020"/>
                    </a:lnTo>
                    <a:cubicBezTo>
                      <a:pt x="208939" y="451897"/>
                      <a:pt x="199129" y="442073"/>
                      <a:pt x="174192" y="418236"/>
                    </a:cubicBezTo>
                    <a:cubicBezTo>
                      <a:pt x="145587" y="388212"/>
                      <a:pt x="125282" y="392327"/>
                      <a:pt x="120018" y="411553"/>
                    </a:cubicBezTo>
                    <a:cubicBezTo>
                      <a:pt x="118582" y="422573"/>
                      <a:pt x="117938" y="430763"/>
                      <a:pt x="105536" y="447256"/>
                    </a:cubicBezTo>
                    <a:cubicBezTo>
                      <a:pt x="82171" y="467410"/>
                      <a:pt x="60239" y="457758"/>
                      <a:pt x="47614" y="448164"/>
                    </a:cubicBezTo>
                    <a:cubicBezTo>
                      <a:pt x="34699" y="436734"/>
                      <a:pt x="24614" y="412612"/>
                      <a:pt x="42141" y="389780"/>
                    </a:cubicBezTo>
                    <a:cubicBezTo>
                      <a:pt x="51405" y="377583"/>
                      <a:pt x="64979" y="372657"/>
                      <a:pt x="76612" y="372989"/>
                    </a:cubicBezTo>
                    <a:cubicBezTo>
                      <a:pt x="78232" y="371886"/>
                      <a:pt x="119644" y="364521"/>
                      <a:pt x="75186" y="321823"/>
                    </a:cubicBezTo>
                    <a:cubicBezTo>
                      <a:pt x="58767" y="305402"/>
                      <a:pt x="23648" y="271235"/>
                      <a:pt x="0" y="248738"/>
                    </a:cubicBezTo>
                    <a:lnTo>
                      <a:pt x="77303" y="168146"/>
                    </a:lnTo>
                    <a:cubicBezTo>
                      <a:pt x="104269" y="140313"/>
                      <a:pt x="122130" y="156409"/>
                      <a:pt x="124388" y="175543"/>
                    </a:cubicBezTo>
                    <a:cubicBezTo>
                      <a:pt x="124457" y="182466"/>
                      <a:pt x="127106" y="193106"/>
                      <a:pt x="137575" y="203052"/>
                    </a:cubicBezTo>
                    <a:cubicBezTo>
                      <a:pt x="153931" y="220277"/>
                      <a:pt x="181252" y="217451"/>
                      <a:pt x="196721" y="201951"/>
                    </a:cubicBezTo>
                    <a:cubicBezTo>
                      <a:pt x="211961" y="185740"/>
                      <a:pt x="213057" y="157882"/>
                      <a:pt x="196146" y="142797"/>
                    </a:cubicBezTo>
                    <a:cubicBezTo>
                      <a:pt x="184301" y="132637"/>
                      <a:pt x="177155" y="131453"/>
                      <a:pt x="166513" y="129894"/>
                    </a:cubicBezTo>
                    <a:cubicBezTo>
                      <a:pt x="154522" y="129013"/>
                      <a:pt x="131185" y="112953"/>
                      <a:pt x="157905" y="85228"/>
                    </a:cubicBezTo>
                    <a:close/>
                  </a:path>
                </a:pathLst>
              </a:custGeom>
              <a:grpFill/>
              <a:ln>
                <a:solidFill>
                  <a:srgbClr val="21734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grpSp>
        <p:sp>
          <p:nvSpPr>
            <p:cNvPr id="69" name="Oval 47"/>
            <p:cNvSpPr/>
            <p:nvPr/>
          </p:nvSpPr>
          <p:spPr>
            <a:xfrm>
              <a:off x="388608" y="3710471"/>
              <a:ext cx="1119626" cy="1119626"/>
            </a:xfrm>
            <a:prstGeom prst="ellipse">
              <a:avLst/>
            </a:prstGeom>
            <a:solidFill>
              <a:srgbClr val="F2C812"/>
            </a:solidFill>
            <a:ln w="3175" cap="flat" cmpd="sng" algn="ctr">
              <a:noFill/>
              <a:prstDash val="solid"/>
            </a:ln>
            <a:effectLst/>
          </p:spPr>
          <p:txBody>
            <a:bodyPr vert="horz" wrap="none" lIns="0" tIns="45720" rIns="0" bIns="0" rtlCol="0" anchor="t"/>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Segoe UI"/>
                  <a:ea typeface="Segoe UI" pitchFamily="34" charset="0"/>
                  <a:cs typeface="Segoe UI" pitchFamily="34" charset="0"/>
                </a:rPr>
                <a:t>Report</a:t>
              </a:r>
            </a:p>
          </p:txBody>
        </p:sp>
        <p:sp>
          <p:nvSpPr>
            <p:cNvPr id="85" name="Oval 950"/>
            <p:cNvSpPr/>
            <p:nvPr/>
          </p:nvSpPr>
          <p:spPr>
            <a:xfrm>
              <a:off x="388608" y="1252295"/>
              <a:ext cx="1119626" cy="1119626"/>
            </a:xfrm>
            <a:prstGeom prst="ellipse">
              <a:avLst/>
            </a:prstGeom>
            <a:solidFill>
              <a:srgbClr val="F2C812"/>
            </a:solidFill>
            <a:ln w="3175" cap="flat" cmpd="sng" algn="ctr">
              <a:noFill/>
              <a:prstDash val="solid"/>
            </a:ln>
            <a:effectLst/>
          </p:spPr>
          <p:txBody>
            <a:bodyPr vert="horz" wrap="none" lIns="0" tIns="45720" rIns="0" bIns="0" rtlCol="0" anchor="t"/>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1" i="0" u="none" strike="noStrike" kern="1200" cap="none" spc="0" normalizeH="0" baseline="0" noProof="0">
                <a:ln>
                  <a:noFill/>
                </a:ln>
                <a:solidFill>
                  <a:srgbClr val="217346"/>
                </a:solidFill>
                <a:effectLst/>
                <a:uLnTx/>
                <a:uFillTx/>
                <a:latin typeface="Segoe UI"/>
                <a:ea typeface="Segoe UI" pitchFamily="34" charset="0"/>
                <a:cs typeface="Segoe UI" pitchFamily="34" charset="0"/>
              </a:endParaRPr>
            </a:p>
          </p:txBody>
        </p:sp>
        <p:grpSp>
          <p:nvGrpSpPr>
            <p:cNvPr id="86" name="Group 85"/>
            <p:cNvGrpSpPr/>
            <p:nvPr/>
          </p:nvGrpSpPr>
          <p:grpSpPr>
            <a:xfrm>
              <a:off x="1264851" y="3482890"/>
              <a:ext cx="292254" cy="354906"/>
              <a:chOff x="1296521" y="3253388"/>
              <a:chExt cx="292254" cy="354906"/>
            </a:xfrm>
            <a:solidFill>
              <a:srgbClr val="F2C812"/>
            </a:solidFill>
          </p:grpSpPr>
          <p:sp>
            <p:nvSpPr>
              <p:cNvPr id="87" name="Isosceles Triangle 86"/>
              <p:cNvSpPr/>
              <p:nvPr/>
            </p:nvSpPr>
            <p:spPr bwMode="auto">
              <a:xfrm rot="13636515">
                <a:off x="1461362" y="328936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8" name="Isosceles Triangle 87"/>
              <p:cNvSpPr/>
              <p:nvPr/>
            </p:nvSpPr>
            <p:spPr bwMode="auto">
              <a:xfrm rot="13636515">
                <a:off x="1357669" y="338258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9" name="Isosceles Triangle 88"/>
              <p:cNvSpPr/>
              <p:nvPr/>
            </p:nvSpPr>
            <p:spPr bwMode="auto">
              <a:xfrm rot="13636515">
                <a:off x="1260548" y="3480882"/>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90" name="Group 89"/>
            <p:cNvGrpSpPr/>
            <p:nvPr/>
          </p:nvGrpSpPr>
          <p:grpSpPr>
            <a:xfrm rot="15940603">
              <a:off x="1334576" y="2204404"/>
              <a:ext cx="292254" cy="354906"/>
              <a:chOff x="1296521" y="3253388"/>
              <a:chExt cx="292254" cy="354906"/>
            </a:xfrm>
            <a:solidFill>
              <a:srgbClr val="F2C812"/>
            </a:solidFill>
          </p:grpSpPr>
          <p:sp>
            <p:nvSpPr>
              <p:cNvPr id="91" name="Isosceles Triangle 90"/>
              <p:cNvSpPr/>
              <p:nvPr/>
            </p:nvSpPr>
            <p:spPr bwMode="auto">
              <a:xfrm rot="13636515">
                <a:off x="1461362" y="328936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2" name="Isosceles Triangle 91"/>
              <p:cNvSpPr/>
              <p:nvPr/>
            </p:nvSpPr>
            <p:spPr bwMode="auto">
              <a:xfrm rot="13636515">
                <a:off x="1357669" y="338258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3" name="Isosceles Triangle 92"/>
              <p:cNvSpPr/>
              <p:nvPr/>
            </p:nvSpPr>
            <p:spPr bwMode="auto">
              <a:xfrm rot="13636515">
                <a:off x="1260548" y="3480882"/>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94" name="Group 93"/>
            <p:cNvGrpSpPr/>
            <p:nvPr/>
          </p:nvGrpSpPr>
          <p:grpSpPr>
            <a:xfrm rot="16043978">
              <a:off x="1317220" y="4717577"/>
              <a:ext cx="292254" cy="354906"/>
              <a:chOff x="1296521" y="3253388"/>
              <a:chExt cx="292254" cy="354906"/>
            </a:xfrm>
            <a:solidFill>
              <a:srgbClr val="F2C812"/>
            </a:solidFill>
          </p:grpSpPr>
          <p:sp>
            <p:nvSpPr>
              <p:cNvPr id="95" name="Isosceles Triangle 94"/>
              <p:cNvSpPr/>
              <p:nvPr/>
            </p:nvSpPr>
            <p:spPr bwMode="auto">
              <a:xfrm rot="13636515">
                <a:off x="1461362" y="328936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6" name="Isosceles Triangle 95"/>
              <p:cNvSpPr/>
              <p:nvPr/>
            </p:nvSpPr>
            <p:spPr bwMode="auto">
              <a:xfrm rot="13636515">
                <a:off x="1357669" y="338258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7" name="Isosceles Triangle 96"/>
              <p:cNvSpPr/>
              <p:nvPr/>
            </p:nvSpPr>
            <p:spPr bwMode="auto">
              <a:xfrm rot="13636515">
                <a:off x="1260548" y="3480882"/>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98" name="Oval 36"/>
            <p:cNvSpPr/>
            <p:nvPr/>
          </p:nvSpPr>
          <p:spPr>
            <a:xfrm>
              <a:off x="1413521" y="2481383"/>
              <a:ext cx="1119626" cy="1119626"/>
            </a:xfrm>
            <a:prstGeom prst="ellipse">
              <a:avLst/>
            </a:prstGeom>
            <a:solidFill>
              <a:srgbClr val="F2C812"/>
            </a:solidFill>
            <a:ln w="3175" cap="flat" cmpd="sng" algn="ctr">
              <a:noFill/>
              <a:prstDash val="solid"/>
            </a:ln>
            <a:effectLst/>
          </p:spPr>
          <p:txBody>
            <a:bodyPr vert="horz" wrap="none" lIns="0" tIns="0" rIns="0" bIns="0" rtlCol="0" anchor="t"/>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400" b="1" i="0" u="none" strike="noStrike" kern="1200" cap="none" spc="0" normalizeH="0" baseline="0" noProof="0">
                <a:ln>
                  <a:noFill/>
                </a:ln>
                <a:solidFill>
                  <a:srgbClr val="217346"/>
                </a:solidFill>
                <a:effectLst/>
                <a:uLnTx/>
                <a:uFillTx/>
                <a:latin typeface="Segoe UI"/>
                <a:ea typeface="Segoe UI" pitchFamily="34" charset="0"/>
                <a:cs typeface="Segoe UI" pitchFamily="34" charset="0"/>
              </a:endParaRPr>
            </a:p>
          </p:txBody>
        </p:sp>
        <p:sp>
          <p:nvSpPr>
            <p:cNvPr id="99" name="Donut 3"/>
            <p:cNvSpPr/>
            <p:nvPr/>
          </p:nvSpPr>
          <p:spPr bwMode="auto">
            <a:xfrm>
              <a:off x="1742065" y="3002355"/>
              <a:ext cx="383905" cy="351537"/>
            </a:xfrm>
            <a:custGeom>
              <a:avLst/>
              <a:gdLst/>
              <a:ahLst/>
              <a:cxnLst/>
              <a:rect l="l" t="t" r="r" b="b"/>
              <a:pathLst>
                <a:path w="1409956" h="1291077">
                  <a:moveTo>
                    <a:pt x="956401" y="78410"/>
                  </a:moveTo>
                  <a:cubicBezTo>
                    <a:pt x="747518" y="78410"/>
                    <a:pt x="578184" y="247744"/>
                    <a:pt x="578184" y="456627"/>
                  </a:cubicBezTo>
                  <a:cubicBezTo>
                    <a:pt x="578184" y="665510"/>
                    <a:pt x="747518" y="834844"/>
                    <a:pt x="956401" y="834844"/>
                  </a:cubicBezTo>
                  <a:cubicBezTo>
                    <a:pt x="1165284" y="834844"/>
                    <a:pt x="1334618" y="665510"/>
                    <a:pt x="1334618" y="456627"/>
                  </a:cubicBezTo>
                  <a:cubicBezTo>
                    <a:pt x="1334618" y="247744"/>
                    <a:pt x="1165284" y="78410"/>
                    <a:pt x="956401" y="78410"/>
                  </a:cubicBezTo>
                  <a:close/>
                  <a:moveTo>
                    <a:pt x="952756" y="0"/>
                  </a:moveTo>
                  <a:cubicBezTo>
                    <a:pt x="1205261" y="0"/>
                    <a:pt x="1409956" y="204695"/>
                    <a:pt x="1409956" y="457200"/>
                  </a:cubicBezTo>
                  <a:cubicBezTo>
                    <a:pt x="1409956" y="709705"/>
                    <a:pt x="1205261" y="914400"/>
                    <a:pt x="952756" y="914400"/>
                  </a:cubicBezTo>
                  <a:cubicBezTo>
                    <a:pt x="862133" y="914400"/>
                    <a:pt x="777669" y="888034"/>
                    <a:pt x="707132" y="841746"/>
                  </a:cubicBezTo>
                  <a:lnTo>
                    <a:pt x="136495" y="1280102"/>
                  </a:lnTo>
                  <a:cubicBezTo>
                    <a:pt x="21896" y="1327168"/>
                    <a:pt x="-44029" y="1213730"/>
                    <a:pt x="33797" y="1113182"/>
                  </a:cubicBezTo>
                  <a:lnTo>
                    <a:pt x="568587" y="703518"/>
                  </a:lnTo>
                  <a:cubicBezTo>
                    <a:pt x="522087" y="632814"/>
                    <a:pt x="495556" y="548105"/>
                    <a:pt x="495556" y="457200"/>
                  </a:cubicBezTo>
                  <a:cubicBezTo>
                    <a:pt x="495556" y="204695"/>
                    <a:pt x="700251" y="0"/>
                    <a:pt x="952756" y="0"/>
                  </a:cubicBezTo>
                  <a:close/>
                </a:path>
              </a:pathLst>
            </a:cu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ysClr val="windowText" lastClr="000000"/>
                </a:solidFill>
                <a:effectLst/>
                <a:uLnTx/>
                <a:uFillTx/>
                <a:latin typeface="Segoe UI"/>
                <a:ea typeface="+mn-ea"/>
                <a:cs typeface="+mn-cs"/>
              </a:endParaRPr>
            </a:p>
          </p:txBody>
        </p:sp>
        <p:sp>
          <p:nvSpPr>
            <p:cNvPr id="100" name="Rectangle 99"/>
            <p:cNvSpPr/>
            <p:nvPr/>
          </p:nvSpPr>
          <p:spPr>
            <a:xfrm>
              <a:off x="1600398" y="2677430"/>
              <a:ext cx="820353" cy="307777"/>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Segoe UI"/>
                  <a:ea typeface="Segoe UI" pitchFamily="34" charset="0"/>
                  <a:cs typeface="Segoe UI" pitchFamily="34" charset="0"/>
                </a:rPr>
                <a:t>Explore</a:t>
              </a:r>
              <a:endParaRPr kumimoji="0" lang="en-US" sz="1600" b="0" i="0" u="none" strike="noStrike" kern="1200" cap="none" spc="0" normalizeH="0" baseline="0" noProof="0">
                <a:ln>
                  <a:noFill/>
                </a:ln>
                <a:solidFill>
                  <a:prstClr val="black"/>
                </a:solidFill>
                <a:effectLst/>
                <a:uLnTx/>
                <a:uFillTx/>
                <a:latin typeface="Segoe UI"/>
                <a:ea typeface="+mn-ea"/>
                <a:cs typeface="+mn-cs"/>
              </a:endParaRPr>
            </a:p>
          </p:txBody>
        </p:sp>
        <p:sp>
          <p:nvSpPr>
            <p:cNvPr id="101" name="Rectangle 100"/>
            <p:cNvSpPr/>
            <p:nvPr/>
          </p:nvSpPr>
          <p:spPr>
            <a:xfrm>
              <a:off x="509174" y="1475232"/>
              <a:ext cx="838756" cy="307777"/>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Segoe UI"/>
                  <a:ea typeface="Segoe UI" pitchFamily="34" charset="0"/>
                  <a:cs typeface="Segoe UI" pitchFamily="34" charset="0"/>
                </a:rPr>
                <a:t>Prepare</a:t>
              </a:r>
              <a:endParaRPr kumimoji="0" lang="en-US" sz="1400" b="0" i="0" u="none" strike="noStrike" kern="1200" cap="none" spc="0" normalizeH="0" baseline="0" noProof="0">
                <a:ln>
                  <a:noFill/>
                </a:ln>
                <a:solidFill>
                  <a:prstClr val="black"/>
                </a:solidFill>
                <a:effectLst/>
                <a:uLnTx/>
                <a:uFillTx/>
                <a:latin typeface="Segoe UI"/>
                <a:ea typeface="+mn-ea"/>
                <a:cs typeface="+mn-cs"/>
              </a:endParaRPr>
            </a:p>
          </p:txBody>
        </p:sp>
        <p:sp>
          <p:nvSpPr>
            <p:cNvPr id="102" name="Freeform 101"/>
            <p:cNvSpPr>
              <a:spLocks noChangeAspect="1"/>
            </p:cNvSpPr>
            <p:nvPr/>
          </p:nvSpPr>
          <p:spPr bwMode="black">
            <a:xfrm>
              <a:off x="1836174" y="5643069"/>
              <a:ext cx="274320" cy="284173"/>
            </a:xfrm>
            <a:custGeom>
              <a:avLst/>
              <a:gdLst>
                <a:gd name="T0" fmla="*/ 539 w 669"/>
                <a:gd name="T1" fmla="*/ 5 h 693"/>
                <a:gd name="T2" fmla="*/ 640 w 669"/>
                <a:gd name="T3" fmla="*/ 55 h 693"/>
                <a:gd name="T4" fmla="*/ 603 w 669"/>
                <a:gd name="T5" fmla="*/ 195 h 693"/>
                <a:gd name="T6" fmla="*/ 490 w 669"/>
                <a:gd name="T7" fmla="*/ 188 h 693"/>
                <a:gd name="T8" fmla="*/ 479 w 669"/>
                <a:gd name="T9" fmla="*/ 176 h 693"/>
                <a:gd name="T10" fmla="*/ 213 w 669"/>
                <a:gd name="T11" fmla="*/ 330 h 693"/>
                <a:gd name="T12" fmla="*/ 218 w 669"/>
                <a:gd name="T13" fmla="*/ 345 h 693"/>
                <a:gd name="T14" fmla="*/ 218 w 669"/>
                <a:gd name="T15" fmla="*/ 375 h 693"/>
                <a:gd name="T16" fmla="*/ 209 w 669"/>
                <a:gd name="T17" fmla="*/ 402 h 693"/>
                <a:gd name="T18" fmla="*/ 369 w 669"/>
                <a:gd name="T19" fmla="*/ 503 h 693"/>
                <a:gd name="T20" fmla="*/ 373 w 669"/>
                <a:gd name="T21" fmla="*/ 498 h 693"/>
                <a:gd name="T22" fmla="*/ 456 w 669"/>
                <a:gd name="T23" fmla="*/ 475 h 693"/>
                <a:gd name="T24" fmla="*/ 494 w 669"/>
                <a:gd name="T25" fmla="*/ 489 h 693"/>
                <a:gd name="T26" fmla="*/ 527 w 669"/>
                <a:gd name="T27" fmla="*/ 630 h 693"/>
                <a:gd name="T28" fmla="*/ 386 w 669"/>
                <a:gd name="T29" fmla="*/ 663 h 693"/>
                <a:gd name="T30" fmla="*/ 339 w 669"/>
                <a:gd name="T31" fmla="*/ 560 h 693"/>
                <a:gd name="T32" fmla="*/ 345 w 669"/>
                <a:gd name="T33" fmla="*/ 544 h 693"/>
                <a:gd name="T34" fmla="*/ 177 w 669"/>
                <a:gd name="T35" fmla="*/ 439 h 693"/>
                <a:gd name="T36" fmla="*/ 168 w 669"/>
                <a:gd name="T37" fmla="*/ 446 h 693"/>
                <a:gd name="T38" fmla="*/ 28 w 669"/>
                <a:gd name="T39" fmla="*/ 409 h 693"/>
                <a:gd name="T40" fmla="*/ 65 w 669"/>
                <a:gd name="T41" fmla="*/ 269 h 693"/>
                <a:gd name="T42" fmla="*/ 178 w 669"/>
                <a:gd name="T43" fmla="*/ 276 h 693"/>
                <a:gd name="T44" fmla="*/ 189 w 669"/>
                <a:gd name="T45" fmla="*/ 288 h 693"/>
                <a:gd name="T46" fmla="*/ 455 w 669"/>
                <a:gd name="T47" fmla="*/ 134 h 693"/>
                <a:gd name="T48" fmla="*/ 450 w 669"/>
                <a:gd name="T49" fmla="*/ 119 h 693"/>
                <a:gd name="T50" fmla="*/ 501 w 669"/>
                <a:gd name="T51" fmla="*/ 18 h 693"/>
                <a:gd name="T52" fmla="*/ 539 w 669"/>
                <a:gd name="T53" fmla="*/ 5 h 6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69" h="693">
                  <a:moveTo>
                    <a:pt x="539" y="5"/>
                  </a:moveTo>
                  <a:cubicBezTo>
                    <a:pt x="579" y="0"/>
                    <a:pt x="619" y="19"/>
                    <a:pt x="640" y="55"/>
                  </a:cubicBezTo>
                  <a:cubicBezTo>
                    <a:pt x="669" y="104"/>
                    <a:pt x="652" y="167"/>
                    <a:pt x="603" y="195"/>
                  </a:cubicBezTo>
                  <a:cubicBezTo>
                    <a:pt x="566" y="216"/>
                    <a:pt x="522" y="212"/>
                    <a:pt x="490" y="188"/>
                  </a:cubicBezTo>
                  <a:cubicBezTo>
                    <a:pt x="479" y="176"/>
                    <a:pt x="479" y="176"/>
                    <a:pt x="479" y="176"/>
                  </a:cubicBezTo>
                  <a:cubicBezTo>
                    <a:pt x="213" y="330"/>
                    <a:pt x="213" y="330"/>
                    <a:pt x="213" y="330"/>
                  </a:cubicBezTo>
                  <a:cubicBezTo>
                    <a:pt x="218" y="345"/>
                    <a:pt x="218" y="345"/>
                    <a:pt x="218" y="345"/>
                  </a:cubicBezTo>
                  <a:cubicBezTo>
                    <a:pt x="219" y="355"/>
                    <a:pt x="219" y="365"/>
                    <a:pt x="218" y="375"/>
                  </a:cubicBezTo>
                  <a:cubicBezTo>
                    <a:pt x="209" y="402"/>
                    <a:pt x="209" y="402"/>
                    <a:pt x="209" y="402"/>
                  </a:cubicBezTo>
                  <a:cubicBezTo>
                    <a:pt x="369" y="503"/>
                    <a:pt x="369" y="503"/>
                    <a:pt x="369" y="503"/>
                  </a:cubicBezTo>
                  <a:cubicBezTo>
                    <a:pt x="373" y="498"/>
                    <a:pt x="373" y="498"/>
                    <a:pt x="373" y="498"/>
                  </a:cubicBezTo>
                  <a:cubicBezTo>
                    <a:pt x="396" y="479"/>
                    <a:pt x="427" y="470"/>
                    <a:pt x="456" y="475"/>
                  </a:cubicBezTo>
                  <a:cubicBezTo>
                    <a:pt x="470" y="477"/>
                    <a:pt x="482" y="482"/>
                    <a:pt x="494" y="489"/>
                  </a:cubicBezTo>
                  <a:cubicBezTo>
                    <a:pt x="542" y="519"/>
                    <a:pt x="557" y="583"/>
                    <a:pt x="527" y="630"/>
                  </a:cubicBezTo>
                  <a:cubicBezTo>
                    <a:pt x="497" y="678"/>
                    <a:pt x="433" y="693"/>
                    <a:pt x="386" y="663"/>
                  </a:cubicBezTo>
                  <a:cubicBezTo>
                    <a:pt x="350" y="640"/>
                    <a:pt x="333" y="599"/>
                    <a:pt x="339" y="560"/>
                  </a:cubicBezTo>
                  <a:cubicBezTo>
                    <a:pt x="345" y="544"/>
                    <a:pt x="345" y="544"/>
                    <a:pt x="345" y="544"/>
                  </a:cubicBezTo>
                  <a:cubicBezTo>
                    <a:pt x="177" y="439"/>
                    <a:pt x="177" y="439"/>
                    <a:pt x="177" y="439"/>
                  </a:cubicBezTo>
                  <a:cubicBezTo>
                    <a:pt x="168" y="446"/>
                    <a:pt x="168" y="446"/>
                    <a:pt x="168" y="446"/>
                  </a:cubicBezTo>
                  <a:cubicBezTo>
                    <a:pt x="119" y="475"/>
                    <a:pt x="56" y="458"/>
                    <a:pt x="28" y="409"/>
                  </a:cubicBezTo>
                  <a:cubicBezTo>
                    <a:pt x="0" y="360"/>
                    <a:pt x="16" y="297"/>
                    <a:pt x="65" y="269"/>
                  </a:cubicBezTo>
                  <a:cubicBezTo>
                    <a:pt x="102" y="248"/>
                    <a:pt x="147" y="252"/>
                    <a:pt x="178" y="276"/>
                  </a:cubicBezTo>
                  <a:cubicBezTo>
                    <a:pt x="189" y="288"/>
                    <a:pt x="189" y="288"/>
                    <a:pt x="189" y="288"/>
                  </a:cubicBezTo>
                  <a:cubicBezTo>
                    <a:pt x="455" y="134"/>
                    <a:pt x="455" y="134"/>
                    <a:pt x="455" y="134"/>
                  </a:cubicBezTo>
                  <a:cubicBezTo>
                    <a:pt x="450" y="119"/>
                    <a:pt x="450" y="119"/>
                    <a:pt x="450" y="119"/>
                  </a:cubicBezTo>
                  <a:cubicBezTo>
                    <a:pt x="445" y="80"/>
                    <a:pt x="464" y="39"/>
                    <a:pt x="501" y="18"/>
                  </a:cubicBezTo>
                  <a:cubicBezTo>
                    <a:pt x="513" y="11"/>
                    <a:pt x="526" y="6"/>
                    <a:pt x="539" y="5"/>
                  </a:cubicBezTo>
                  <a:close/>
                </a:path>
              </a:pathLst>
            </a:custGeom>
            <a:solidFill>
              <a:schemeClr val="tx1"/>
            </a:solidFill>
            <a:ln>
              <a:noFill/>
            </a:ln>
          </p:spPr>
          <p:txBody>
            <a:bodyPr vert="horz" wrap="square" lIns="68574" tIns="34287" rIns="68574" bIns="34287"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Segoe UI"/>
                <a:ea typeface="+mn-ea"/>
                <a:cs typeface="+mn-cs"/>
              </a:endParaRPr>
            </a:p>
          </p:txBody>
        </p:sp>
        <p:sp>
          <p:nvSpPr>
            <p:cNvPr id="103" name="Freeform 102"/>
            <p:cNvSpPr>
              <a:spLocks noChangeAspect="1" noEditPoints="1"/>
            </p:cNvSpPr>
            <p:nvPr/>
          </p:nvSpPr>
          <p:spPr bwMode="black">
            <a:xfrm>
              <a:off x="722320" y="1783009"/>
              <a:ext cx="452202" cy="366660"/>
            </a:xfrm>
            <a:custGeom>
              <a:avLst/>
              <a:gdLst>
                <a:gd name="T0" fmla="*/ 600 w 1107"/>
                <a:gd name="T1" fmla="*/ 625 h 897"/>
                <a:gd name="T2" fmla="*/ 649 w 1107"/>
                <a:gd name="T3" fmla="*/ 567 h 897"/>
                <a:gd name="T4" fmla="*/ 727 w 1107"/>
                <a:gd name="T5" fmla="*/ 482 h 897"/>
                <a:gd name="T6" fmla="*/ 601 w 1107"/>
                <a:gd name="T7" fmla="*/ 434 h 897"/>
                <a:gd name="T8" fmla="*/ 628 w 1107"/>
                <a:gd name="T9" fmla="*/ 305 h 897"/>
                <a:gd name="T10" fmla="*/ 547 w 1107"/>
                <a:gd name="T11" fmla="*/ 240 h 897"/>
                <a:gd name="T12" fmla="*/ 427 w 1107"/>
                <a:gd name="T13" fmla="*/ 287 h 897"/>
                <a:gd name="T14" fmla="*/ 368 w 1107"/>
                <a:gd name="T15" fmla="*/ 170 h 897"/>
                <a:gd name="T16" fmla="*/ 285 w 1107"/>
                <a:gd name="T17" fmla="*/ 263 h 897"/>
                <a:gd name="T18" fmla="*/ 241 w 1107"/>
                <a:gd name="T19" fmla="*/ 313 h 897"/>
                <a:gd name="T20" fmla="*/ 139 w 1107"/>
                <a:gd name="T21" fmla="*/ 281 h 897"/>
                <a:gd name="T22" fmla="*/ 79 w 1107"/>
                <a:gd name="T23" fmla="*/ 355 h 897"/>
                <a:gd name="T24" fmla="*/ 132 w 1107"/>
                <a:gd name="T25" fmla="*/ 446 h 897"/>
                <a:gd name="T26" fmla="*/ 83 w 1107"/>
                <a:gd name="T27" fmla="*/ 505 h 897"/>
                <a:gd name="T28" fmla="*/ 5 w 1107"/>
                <a:gd name="T29" fmla="*/ 590 h 897"/>
                <a:gd name="T30" fmla="*/ 132 w 1107"/>
                <a:gd name="T31" fmla="*/ 638 h 897"/>
                <a:gd name="T32" fmla="*/ 145 w 1107"/>
                <a:gd name="T33" fmla="*/ 669 h 897"/>
                <a:gd name="T34" fmla="*/ 110 w 1107"/>
                <a:gd name="T35" fmla="*/ 793 h 897"/>
                <a:gd name="T36" fmla="*/ 230 w 1107"/>
                <a:gd name="T37" fmla="*/ 781 h 897"/>
                <a:gd name="T38" fmla="*/ 306 w 1107"/>
                <a:gd name="T39" fmla="*/ 785 h 897"/>
                <a:gd name="T40" fmla="*/ 346 w 1107"/>
                <a:gd name="T41" fmla="*/ 878 h 897"/>
                <a:gd name="T42" fmla="*/ 440 w 1107"/>
                <a:gd name="T43" fmla="*/ 872 h 897"/>
                <a:gd name="T44" fmla="*/ 466 w 1107"/>
                <a:gd name="T45" fmla="*/ 764 h 897"/>
                <a:gd name="T46" fmla="*/ 539 w 1107"/>
                <a:gd name="T47" fmla="*/ 755 h 897"/>
                <a:gd name="T48" fmla="*/ 659 w 1107"/>
                <a:gd name="T49" fmla="*/ 743 h 897"/>
                <a:gd name="T50" fmla="*/ 263 w 1107"/>
                <a:gd name="T51" fmla="*/ 452 h 897"/>
                <a:gd name="T52" fmla="*/ 281 w 1107"/>
                <a:gd name="T53" fmla="*/ 633 h 897"/>
                <a:gd name="T54" fmla="*/ 1002 w 1107"/>
                <a:gd name="T55" fmla="*/ 332 h 897"/>
                <a:gd name="T56" fmla="*/ 1043 w 1107"/>
                <a:gd name="T57" fmla="*/ 304 h 897"/>
                <a:gd name="T58" fmla="*/ 1107 w 1107"/>
                <a:gd name="T59" fmla="*/ 266 h 897"/>
                <a:gd name="T60" fmla="*/ 1037 w 1107"/>
                <a:gd name="T61" fmla="*/ 213 h 897"/>
                <a:gd name="T62" fmla="*/ 1077 w 1107"/>
                <a:gd name="T63" fmla="*/ 138 h 897"/>
                <a:gd name="T64" fmla="*/ 1038 w 1107"/>
                <a:gd name="T65" fmla="*/ 83 h 897"/>
                <a:gd name="T66" fmla="*/ 956 w 1107"/>
                <a:gd name="T67" fmla="*/ 91 h 897"/>
                <a:gd name="T68" fmla="*/ 940 w 1107"/>
                <a:gd name="T69" fmla="*/ 7 h 897"/>
                <a:gd name="T70" fmla="*/ 872 w 1107"/>
                <a:gd name="T71" fmla="*/ 50 h 897"/>
                <a:gd name="T72" fmla="*/ 836 w 1107"/>
                <a:gd name="T73" fmla="*/ 74 h 897"/>
                <a:gd name="T74" fmla="*/ 778 w 1107"/>
                <a:gd name="T75" fmla="*/ 35 h 897"/>
                <a:gd name="T76" fmla="*/ 728 w 1107"/>
                <a:gd name="T77" fmla="*/ 70 h 897"/>
                <a:gd name="T78" fmla="*/ 744 w 1107"/>
                <a:gd name="T79" fmla="*/ 136 h 897"/>
                <a:gd name="T80" fmla="*/ 703 w 1107"/>
                <a:gd name="T81" fmla="*/ 164 h 897"/>
                <a:gd name="T82" fmla="*/ 640 w 1107"/>
                <a:gd name="T83" fmla="*/ 203 h 897"/>
                <a:gd name="T84" fmla="*/ 710 w 1107"/>
                <a:gd name="T85" fmla="*/ 255 h 897"/>
                <a:gd name="T86" fmla="*/ 712 w 1107"/>
                <a:gd name="T87" fmla="*/ 277 h 897"/>
                <a:gd name="T88" fmla="*/ 668 w 1107"/>
                <a:gd name="T89" fmla="*/ 347 h 897"/>
                <a:gd name="T90" fmla="*/ 745 w 1107"/>
                <a:gd name="T91" fmla="*/ 361 h 897"/>
                <a:gd name="T92" fmla="*/ 791 w 1107"/>
                <a:gd name="T93" fmla="*/ 377 h 897"/>
                <a:gd name="T94" fmla="*/ 799 w 1107"/>
                <a:gd name="T95" fmla="*/ 443 h 897"/>
                <a:gd name="T96" fmla="*/ 859 w 1107"/>
                <a:gd name="T97" fmla="*/ 456 h 897"/>
                <a:gd name="T98" fmla="*/ 894 w 1107"/>
                <a:gd name="T99" fmla="*/ 393 h 897"/>
                <a:gd name="T100" fmla="*/ 941 w 1107"/>
                <a:gd name="T101" fmla="*/ 401 h 897"/>
                <a:gd name="T102" fmla="*/ 1018 w 1107"/>
                <a:gd name="T103" fmla="*/ 415 h 897"/>
                <a:gd name="T104" fmla="*/ 825 w 1107"/>
                <a:gd name="T105" fmla="*/ 164 h 897"/>
                <a:gd name="T106" fmla="*/ 803 w 1107"/>
                <a:gd name="T107" fmla="*/ 279 h 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107" h="897">
                  <a:moveTo>
                    <a:pt x="654" y="716"/>
                  </a:moveTo>
                  <a:cubicBezTo>
                    <a:pt x="616" y="670"/>
                    <a:pt x="616" y="670"/>
                    <a:pt x="616" y="670"/>
                  </a:cubicBezTo>
                  <a:cubicBezTo>
                    <a:pt x="593" y="654"/>
                    <a:pt x="603" y="638"/>
                    <a:pt x="600" y="625"/>
                  </a:cubicBezTo>
                  <a:cubicBezTo>
                    <a:pt x="600" y="625"/>
                    <a:pt x="600" y="625"/>
                    <a:pt x="600" y="625"/>
                  </a:cubicBezTo>
                  <a:cubicBezTo>
                    <a:pt x="605" y="617"/>
                    <a:pt x="611" y="609"/>
                    <a:pt x="608" y="596"/>
                  </a:cubicBezTo>
                  <a:cubicBezTo>
                    <a:pt x="618" y="580"/>
                    <a:pt x="623" y="572"/>
                    <a:pt x="649" y="567"/>
                  </a:cubicBezTo>
                  <a:cubicBezTo>
                    <a:pt x="715" y="553"/>
                    <a:pt x="715" y="553"/>
                    <a:pt x="715" y="553"/>
                  </a:cubicBezTo>
                  <a:cubicBezTo>
                    <a:pt x="728" y="550"/>
                    <a:pt x="733" y="542"/>
                    <a:pt x="730" y="529"/>
                  </a:cubicBezTo>
                  <a:cubicBezTo>
                    <a:pt x="727" y="482"/>
                    <a:pt x="727" y="482"/>
                    <a:pt x="727" y="482"/>
                  </a:cubicBezTo>
                  <a:cubicBezTo>
                    <a:pt x="724" y="469"/>
                    <a:pt x="717" y="463"/>
                    <a:pt x="701" y="453"/>
                  </a:cubicBezTo>
                  <a:cubicBezTo>
                    <a:pt x="641" y="459"/>
                    <a:pt x="641" y="459"/>
                    <a:pt x="641" y="459"/>
                  </a:cubicBezTo>
                  <a:cubicBezTo>
                    <a:pt x="620" y="457"/>
                    <a:pt x="604" y="447"/>
                    <a:pt x="601" y="434"/>
                  </a:cubicBezTo>
                  <a:cubicBezTo>
                    <a:pt x="598" y="421"/>
                    <a:pt x="590" y="416"/>
                    <a:pt x="580" y="397"/>
                  </a:cubicBezTo>
                  <a:cubicBezTo>
                    <a:pt x="577" y="384"/>
                    <a:pt x="574" y="371"/>
                    <a:pt x="584" y="355"/>
                  </a:cubicBezTo>
                  <a:cubicBezTo>
                    <a:pt x="628" y="305"/>
                    <a:pt x="628" y="305"/>
                    <a:pt x="628" y="305"/>
                  </a:cubicBezTo>
                  <a:cubicBezTo>
                    <a:pt x="634" y="297"/>
                    <a:pt x="631" y="284"/>
                    <a:pt x="623" y="279"/>
                  </a:cubicBezTo>
                  <a:cubicBezTo>
                    <a:pt x="581" y="240"/>
                    <a:pt x="581" y="240"/>
                    <a:pt x="581" y="240"/>
                  </a:cubicBezTo>
                  <a:cubicBezTo>
                    <a:pt x="573" y="235"/>
                    <a:pt x="560" y="238"/>
                    <a:pt x="547" y="240"/>
                  </a:cubicBezTo>
                  <a:cubicBezTo>
                    <a:pt x="503" y="291"/>
                    <a:pt x="503" y="291"/>
                    <a:pt x="503" y="291"/>
                  </a:cubicBezTo>
                  <a:cubicBezTo>
                    <a:pt x="484" y="302"/>
                    <a:pt x="471" y="304"/>
                    <a:pt x="463" y="299"/>
                  </a:cubicBezTo>
                  <a:cubicBezTo>
                    <a:pt x="456" y="294"/>
                    <a:pt x="435" y="292"/>
                    <a:pt x="427" y="287"/>
                  </a:cubicBezTo>
                  <a:cubicBezTo>
                    <a:pt x="419" y="282"/>
                    <a:pt x="403" y="271"/>
                    <a:pt x="400" y="258"/>
                  </a:cubicBezTo>
                  <a:cubicBezTo>
                    <a:pt x="386" y="193"/>
                    <a:pt x="386" y="193"/>
                    <a:pt x="386" y="193"/>
                  </a:cubicBezTo>
                  <a:cubicBezTo>
                    <a:pt x="384" y="180"/>
                    <a:pt x="368" y="170"/>
                    <a:pt x="368" y="170"/>
                  </a:cubicBezTo>
                  <a:cubicBezTo>
                    <a:pt x="308" y="176"/>
                    <a:pt x="308" y="176"/>
                    <a:pt x="308" y="176"/>
                  </a:cubicBezTo>
                  <a:cubicBezTo>
                    <a:pt x="308" y="176"/>
                    <a:pt x="289" y="187"/>
                    <a:pt x="292" y="200"/>
                  </a:cubicBezTo>
                  <a:cubicBezTo>
                    <a:pt x="285" y="263"/>
                    <a:pt x="285" y="263"/>
                    <a:pt x="285" y="263"/>
                  </a:cubicBezTo>
                  <a:cubicBezTo>
                    <a:pt x="291" y="289"/>
                    <a:pt x="277" y="292"/>
                    <a:pt x="272" y="300"/>
                  </a:cubicBezTo>
                  <a:cubicBezTo>
                    <a:pt x="272" y="300"/>
                    <a:pt x="272" y="300"/>
                    <a:pt x="267" y="308"/>
                  </a:cubicBezTo>
                  <a:cubicBezTo>
                    <a:pt x="259" y="302"/>
                    <a:pt x="246" y="305"/>
                    <a:pt x="241" y="313"/>
                  </a:cubicBezTo>
                  <a:cubicBezTo>
                    <a:pt x="236" y="321"/>
                    <a:pt x="236" y="321"/>
                    <a:pt x="236" y="321"/>
                  </a:cubicBezTo>
                  <a:cubicBezTo>
                    <a:pt x="223" y="324"/>
                    <a:pt x="210" y="327"/>
                    <a:pt x="194" y="317"/>
                  </a:cubicBezTo>
                  <a:cubicBezTo>
                    <a:pt x="139" y="281"/>
                    <a:pt x="139" y="281"/>
                    <a:pt x="139" y="281"/>
                  </a:cubicBezTo>
                  <a:cubicBezTo>
                    <a:pt x="131" y="276"/>
                    <a:pt x="110" y="273"/>
                    <a:pt x="104" y="281"/>
                  </a:cubicBezTo>
                  <a:cubicBezTo>
                    <a:pt x="79" y="321"/>
                    <a:pt x="79" y="321"/>
                    <a:pt x="79" y="321"/>
                  </a:cubicBezTo>
                  <a:cubicBezTo>
                    <a:pt x="66" y="324"/>
                    <a:pt x="68" y="337"/>
                    <a:pt x="79" y="355"/>
                  </a:cubicBezTo>
                  <a:cubicBezTo>
                    <a:pt x="121" y="394"/>
                    <a:pt x="121" y="394"/>
                    <a:pt x="121" y="394"/>
                  </a:cubicBezTo>
                  <a:cubicBezTo>
                    <a:pt x="140" y="417"/>
                    <a:pt x="135" y="425"/>
                    <a:pt x="132" y="446"/>
                  </a:cubicBezTo>
                  <a:cubicBezTo>
                    <a:pt x="132" y="446"/>
                    <a:pt x="132" y="446"/>
                    <a:pt x="132" y="446"/>
                  </a:cubicBezTo>
                  <a:cubicBezTo>
                    <a:pt x="127" y="454"/>
                    <a:pt x="122" y="462"/>
                    <a:pt x="117" y="470"/>
                  </a:cubicBezTo>
                  <a:cubicBezTo>
                    <a:pt x="117" y="470"/>
                    <a:pt x="117" y="470"/>
                    <a:pt x="117" y="470"/>
                  </a:cubicBezTo>
                  <a:cubicBezTo>
                    <a:pt x="120" y="483"/>
                    <a:pt x="109" y="499"/>
                    <a:pt x="83" y="505"/>
                  </a:cubicBezTo>
                  <a:cubicBezTo>
                    <a:pt x="23" y="511"/>
                    <a:pt x="23" y="511"/>
                    <a:pt x="23" y="511"/>
                  </a:cubicBezTo>
                  <a:cubicBezTo>
                    <a:pt x="10" y="514"/>
                    <a:pt x="0" y="529"/>
                    <a:pt x="2" y="543"/>
                  </a:cubicBezTo>
                  <a:cubicBezTo>
                    <a:pt x="5" y="590"/>
                    <a:pt x="5" y="590"/>
                    <a:pt x="5" y="590"/>
                  </a:cubicBezTo>
                  <a:cubicBezTo>
                    <a:pt x="8" y="603"/>
                    <a:pt x="16" y="608"/>
                    <a:pt x="37" y="610"/>
                  </a:cubicBezTo>
                  <a:cubicBezTo>
                    <a:pt x="92" y="612"/>
                    <a:pt x="92" y="612"/>
                    <a:pt x="92" y="612"/>
                  </a:cubicBezTo>
                  <a:cubicBezTo>
                    <a:pt x="113" y="614"/>
                    <a:pt x="129" y="625"/>
                    <a:pt x="132" y="638"/>
                  </a:cubicBezTo>
                  <a:cubicBezTo>
                    <a:pt x="132" y="638"/>
                    <a:pt x="132" y="638"/>
                    <a:pt x="132" y="638"/>
                  </a:cubicBezTo>
                  <a:cubicBezTo>
                    <a:pt x="140" y="643"/>
                    <a:pt x="142" y="656"/>
                    <a:pt x="150" y="661"/>
                  </a:cubicBezTo>
                  <a:cubicBezTo>
                    <a:pt x="145" y="669"/>
                    <a:pt x="145" y="669"/>
                    <a:pt x="145" y="669"/>
                  </a:cubicBezTo>
                  <a:cubicBezTo>
                    <a:pt x="153" y="674"/>
                    <a:pt x="156" y="687"/>
                    <a:pt x="140" y="711"/>
                  </a:cubicBezTo>
                  <a:cubicBezTo>
                    <a:pt x="109" y="759"/>
                    <a:pt x="109" y="759"/>
                    <a:pt x="109" y="759"/>
                  </a:cubicBezTo>
                  <a:cubicBezTo>
                    <a:pt x="99" y="775"/>
                    <a:pt x="102" y="788"/>
                    <a:pt x="110" y="793"/>
                  </a:cubicBezTo>
                  <a:cubicBezTo>
                    <a:pt x="152" y="832"/>
                    <a:pt x="152" y="832"/>
                    <a:pt x="152" y="832"/>
                  </a:cubicBezTo>
                  <a:cubicBezTo>
                    <a:pt x="160" y="837"/>
                    <a:pt x="173" y="834"/>
                    <a:pt x="178" y="826"/>
                  </a:cubicBezTo>
                  <a:cubicBezTo>
                    <a:pt x="230" y="781"/>
                    <a:pt x="230" y="781"/>
                    <a:pt x="230" y="781"/>
                  </a:cubicBezTo>
                  <a:cubicBezTo>
                    <a:pt x="248" y="770"/>
                    <a:pt x="261" y="767"/>
                    <a:pt x="269" y="772"/>
                  </a:cubicBezTo>
                  <a:cubicBezTo>
                    <a:pt x="269" y="772"/>
                    <a:pt x="269" y="772"/>
                    <a:pt x="269" y="772"/>
                  </a:cubicBezTo>
                  <a:cubicBezTo>
                    <a:pt x="282" y="769"/>
                    <a:pt x="298" y="779"/>
                    <a:pt x="306" y="785"/>
                  </a:cubicBezTo>
                  <a:cubicBezTo>
                    <a:pt x="306" y="785"/>
                    <a:pt x="306" y="785"/>
                    <a:pt x="306" y="785"/>
                  </a:cubicBezTo>
                  <a:cubicBezTo>
                    <a:pt x="319" y="782"/>
                    <a:pt x="327" y="787"/>
                    <a:pt x="332" y="813"/>
                  </a:cubicBezTo>
                  <a:cubicBezTo>
                    <a:pt x="346" y="878"/>
                    <a:pt x="346" y="878"/>
                    <a:pt x="346" y="878"/>
                  </a:cubicBezTo>
                  <a:cubicBezTo>
                    <a:pt x="349" y="892"/>
                    <a:pt x="357" y="897"/>
                    <a:pt x="370" y="894"/>
                  </a:cubicBezTo>
                  <a:cubicBezTo>
                    <a:pt x="425" y="896"/>
                    <a:pt x="425" y="896"/>
                    <a:pt x="425" y="896"/>
                  </a:cubicBezTo>
                  <a:cubicBezTo>
                    <a:pt x="430" y="888"/>
                    <a:pt x="443" y="885"/>
                    <a:pt x="440" y="872"/>
                  </a:cubicBezTo>
                  <a:cubicBezTo>
                    <a:pt x="440" y="804"/>
                    <a:pt x="440" y="804"/>
                    <a:pt x="440" y="804"/>
                  </a:cubicBezTo>
                  <a:cubicBezTo>
                    <a:pt x="442" y="783"/>
                    <a:pt x="460" y="772"/>
                    <a:pt x="466" y="764"/>
                  </a:cubicBezTo>
                  <a:cubicBezTo>
                    <a:pt x="466" y="764"/>
                    <a:pt x="466" y="764"/>
                    <a:pt x="466" y="764"/>
                  </a:cubicBezTo>
                  <a:cubicBezTo>
                    <a:pt x="479" y="761"/>
                    <a:pt x="492" y="758"/>
                    <a:pt x="497" y="750"/>
                  </a:cubicBezTo>
                  <a:cubicBezTo>
                    <a:pt x="497" y="750"/>
                    <a:pt x="497" y="750"/>
                    <a:pt x="497" y="750"/>
                  </a:cubicBezTo>
                  <a:cubicBezTo>
                    <a:pt x="510" y="747"/>
                    <a:pt x="523" y="745"/>
                    <a:pt x="539" y="755"/>
                  </a:cubicBezTo>
                  <a:cubicBezTo>
                    <a:pt x="594" y="791"/>
                    <a:pt x="594" y="791"/>
                    <a:pt x="594" y="791"/>
                  </a:cubicBezTo>
                  <a:cubicBezTo>
                    <a:pt x="602" y="796"/>
                    <a:pt x="623" y="798"/>
                    <a:pt x="628" y="790"/>
                  </a:cubicBezTo>
                  <a:cubicBezTo>
                    <a:pt x="659" y="743"/>
                    <a:pt x="659" y="743"/>
                    <a:pt x="659" y="743"/>
                  </a:cubicBezTo>
                  <a:cubicBezTo>
                    <a:pt x="659" y="743"/>
                    <a:pt x="669" y="727"/>
                    <a:pt x="654" y="716"/>
                  </a:cubicBezTo>
                  <a:close/>
                  <a:moveTo>
                    <a:pt x="281" y="633"/>
                  </a:moveTo>
                  <a:cubicBezTo>
                    <a:pt x="223" y="584"/>
                    <a:pt x="219" y="502"/>
                    <a:pt x="263" y="452"/>
                  </a:cubicBezTo>
                  <a:cubicBezTo>
                    <a:pt x="313" y="393"/>
                    <a:pt x="399" y="382"/>
                    <a:pt x="457" y="431"/>
                  </a:cubicBezTo>
                  <a:cubicBezTo>
                    <a:pt x="507" y="475"/>
                    <a:pt x="518" y="561"/>
                    <a:pt x="469" y="619"/>
                  </a:cubicBezTo>
                  <a:cubicBezTo>
                    <a:pt x="420" y="678"/>
                    <a:pt x="339" y="682"/>
                    <a:pt x="281" y="633"/>
                  </a:cubicBezTo>
                  <a:close/>
                  <a:moveTo>
                    <a:pt x="1019" y="398"/>
                  </a:moveTo>
                  <a:cubicBezTo>
                    <a:pt x="1004" y="362"/>
                    <a:pt x="1004" y="362"/>
                    <a:pt x="1004" y="362"/>
                  </a:cubicBezTo>
                  <a:cubicBezTo>
                    <a:pt x="992" y="348"/>
                    <a:pt x="1002" y="340"/>
                    <a:pt x="1002" y="332"/>
                  </a:cubicBezTo>
                  <a:cubicBezTo>
                    <a:pt x="1002" y="332"/>
                    <a:pt x="1002" y="332"/>
                    <a:pt x="1002" y="332"/>
                  </a:cubicBezTo>
                  <a:cubicBezTo>
                    <a:pt x="1007" y="328"/>
                    <a:pt x="1011" y="324"/>
                    <a:pt x="1012" y="315"/>
                  </a:cubicBezTo>
                  <a:cubicBezTo>
                    <a:pt x="1021" y="307"/>
                    <a:pt x="1026" y="303"/>
                    <a:pt x="1043" y="304"/>
                  </a:cubicBezTo>
                  <a:cubicBezTo>
                    <a:pt x="1086" y="307"/>
                    <a:pt x="1086" y="307"/>
                    <a:pt x="1086" y="307"/>
                  </a:cubicBezTo>
                  <a:cubicBezTo>
                    <a:pt x="1095" y="308"/>
                    <a:pt x="1099" y="304"/>
                    <a:pt x="1100" y="295"/>
                  </a:cubicBezTo>
                  <a:cubicBezTo>
                    <a:pt x="1107" y="266"/>
                    <a:pt x="1107" y="266"/>
                    <a:pt x="1107" y="266"/>
                  </a:cubicBezTo>
                  <a:cubicBezTo>
                    <a:pt x="1107" y="257"/>
                    <a:pt x="1103" y="252"/>
                    <a:pt x="1095" y="243"/>
                  </a:cubicBezTo>
                  <a:cubicBezTo>
                    <a:pt x="1057" y="236"/>
                    <a:pt x="1057" y="236"/>
                    <a:pt x="1057" y="236"/>
                  </a:cubicBezTo>
                  <a:cubicBezTo>
                    <a:pt x="1044" y="231"/>
                    <a:pt x="1036" y="222"/>
                    <a:pt x="1037" y="213"/>
                  </a:cubicBezTo>
                  <a:cubicBezTo>
                    <a:pt x="1038" y="205"/>
                    <a:pt x="1034" y="200"/>
                    <a:pt x="1030" y="187"/>
                  </a:cubicBezTo>
                  <a:cubicBezTo>
                    <a:pt x="1031" y="178"/>
                    <a:pt x="1032" y="170"/>
                    <a:pt x="1041" y="162"/>
                  </a:cubicBezTo>
                  <a:cubicBezTo>
                    <a:pt x="1077" y="138"/>
                    <a:pt x="1077" y="138"/>
                    <a:pt x="1077" y="138"/>
                  </a:cubicBezTo>
                  <a:cubicBezTo>
                    <a:pt x="1082" y="134"/>
                    <a:pt x="1083" y="126"/>
                    <a:pt x="1079" y="121"/>
                  </a:cubicBezTo>
                  <a:cubicBezTo>
                    <a:pt x="1059" y="89"/>
                    <a:pt x="1059" y="89"/>
                    <a:pt x="1059" y="89"/>
                  </a:cubicBezTo>
                  <a:cubicBezTo>
                    <a:pt x="1055" y="85"/>
                    <a:pt x="1047" y="84"/>
                    <a:pt x="1038" y="83"/>
                  </a:cubicBezTo>
                  <a:cubicBezTo>
                    <a:pt x="1002" y="107"/>
                    <a:pt x="1002" y="107"/>
                    <a:pt x="1002" y="107"/>
                  </a:cubicBezTo>
                  <a:cubicBezTo>
                    <a:pt x="989" y="110"/>
                    <a:pt x="980" y="110"/>
                    <a:pt x="976" y="105"/>
                  </a:cubicBezTo>
                  <a:cubicBezTo>
                    <a:pt x="972" y="100"/>
                    <a:pt x="960" y="95"/>
                    <a:pt x="956" y="91"/>
                  </a:cubicBezTo>
                  <a:cubicBezTo>
                    <a:pt x="952" y="86"/>
                    <a:pt x="944" y="77"/>
                    <a:pt x="944" y="68"/>
                  </a:cubicBezTo>
                  <a:cubicBezTo>
                    <a:pt x="948" y="25"/>
                    <a:pt x="948" y="25"/>
                    <a:pt x="948" y="25"/>
                  </a:cubicBezTo>
                  <a:cubicBezTo>
                    <a:pt x="948" y="17"/>
                    <a:pt x="940" y="7"/>
                    <a:pt x="940" y="7"/>
                  </a:cubicBezTo>
                  <a:cubicBezTo>
                    <a:pt x="902" y="0"/>
                    <a:pt x="902" y="0"/>
                    <a:pt x="902" y="0"/>
                  </a:cubicBezTo>
                  <a:cubicBezTo>
                    <a:pt x="902" y="0"/>
                    <a:pt x="889" y="4"/>
                    <a:pt x="888" y="12"/>
                  </a:cubicBezTo>
                  <a:cubicBezTo>
                    <a:pt x="872" y="50"/>
                    <a:pt x="872" y="50"/>
                    <a:pt x="872" y="50"/>
                  </a:cubicBezTo>
                  <a:cubicBezTo>
                    <a:pt x="871" y="67"/>
                    <a:pt x="862" y="67"/>
                    <a:pt x="858" y="71"/>
                  </a:cubicBezTo>
                  <a:cubicBezTo>
                    <a:pt x="858" y="71"/>
                    <a:pt x="858" y="71"/>
                    <a:pt x="853" y="75"/>
                  </a:cubicBezTo>
                  <a:cubicBezTo>
                    <a:pt x="849" y="70"/>
                    <a:pt x="840" y="70"/>
                    <a:pt x="836" y="74"/>
                  </a:cubicBezTo>
                  <a:cubicBezTo>
                    <a:pt x="831" y="78"/>
                    <a:pt x="831" y="78"/>
                    <a:pt x="831" y="78"/>
                  </a:cubicBezTo>
                  <a:cubicBezTo>
                    <a:pt x="822" y="77"/>
                    <a:pt x="814" y="76"/>
                    <a:pt x="806" y="67"/>
                  </a:cubicBezTo>
                  <a:cubicBezTo>
                    <a:pt x="778" y="35"/>
                    <a:pt x="778" y="35"/>
                    <a:pt x="778" y="35"/>
                  </a:cubicBezTo>
                  <a:cubicBezTo>
                    <a:pt x="774" y="30"/>
                    <a:pt x="762" y="25"/>
                    <a:pt x="757" y="29"/>
                  </a:cubicBezTo>
                  <a:cubicBezTo>
                    <a:pt x="734" y="49"/>
                    <a:pt x="734" y="49"/>
                    <a:pt x="734" y="49"/>
                  </a:cubicBezTo>
                  <a:cubicBezTo>
                    <a:pt x="725" y="49"/>
                    <a:pt x="725" y="57"/>
                    <a:pt x="728" y="70"/>
                  </a:cubicBezTo>
                  <a:cubicBezTo>
                    <a:pt x="747" y="102"/>
                    <a:pt x="747" y="102"/>
                    <a:pt x="747" y="102"/>
                  </a:cubicBezTo>
                  <a:cubicBezTo>
                    <a:pt x="754" y="120"/>
                    <a:pt x="750" y="124"/>
                    <a:pt x="744" y="136"/>
                  </a:cubicBezTo>
                  <a:cubicBezTo>
                    <a:pt x="744" y="136"/>
                    <a:pt x="744" y="136"/>
                    <a:pt x="744" y="136"/>
                  </a:cubicBezTo>
                  <a:cubicBezTo>
                    <a:pt x="740" y="140"/>
                    <a:pt x="735" y="144"/>
                    <a:pt x="731" y="148"/>
                  </a:cubicBezTo>
                  <a:cubicBezTo>
                    <a:pt x="731" y="148"/>
                    <a:pt x="731" y="148"/>
                    <a:pt x="731" y="148"/>
                  </a:cubicBezTo>
                  <a:cubicBezTo>
                    <a:pt x="730" y="157"/>
                    <a:pt x="721" y="165"/>
                    <a:pt x="703" y="164"/>
                  </a:cubicBezTo>
                  <a:cubicBezTo>
                    <a:pt x="665" y="157"/>
                    <a:pt x="665" y="157"/>
                    <a:pt x="665" y="157"/>
                  </a:cubicBezTo>
                  <a:cubicBezTo>
                    <a:pt x="656" y="156"/>
                    <a:pt x="647" y="164"/>
                    <a:pt x="647" y="173"/>
                  </a:cubicBezTo>
                  <a:cubicBezTo>
                    <a:pt x="640" y="203"/>
                    <a:pt x="640" y="203"/>
                    <a:pt x="640" y="203"/>
                  </a:cubicBezTo>
                  <a:cubicBezTo>
                    <a:pt x="639" y="211"/>
                    <a:pt x="643" y="216"/>
                    <a:pt x="656" y="221"/>
                  </a:cubicBezTo>
                  <a:cubicBezTo>
                    <a:pt x="690" y="232"/>
                    <a:pt x="690" y="232"/>
                    <a:pt x="690" y="232"/>
                  </a:cubicBezTo>
                  <a:cubicBezTo>
                    <a:pt x="702" y="237"/>
                    <a:pt x="710" y="246"/>
                    <a:pt x="710" y="255"/>
                  </a:cubicBezTo>
                  <a:cubicBezTo>
                    <a:pt x="710" y="255"/>
                    <a:pt x="710" y="255"/>
                    <a:pt x="710" y="255"/>
                  </a:cubicBezTo>
                  <a:cubicBezTo>
                    <a:pt x="714" y="260"/>
                    <a:pt x="713" y="268"/>
                    <a:pt x="717" y="273"/>
                  </a:cubicBezTo>
                  <a:cubicBezTo>
                    <a:pt x="712" y="277"/>
                    <a:pt x="712" y="277"/>
                    <a:pt x="712" y="277"/>
                  </a:cubicBezTo>
                  <a:cubicBezTo>
                    <a:pt x="716" y="281"/>
                    <a:pt x="716" y="290"/>
                    <a:pt x="702" y="302"/>
                  </a:cubicBezTo>
                  <a:cubicBezTo>
                    <a:pt x="674" y="326"/>
                    <a:pt x="674" y="326"/>
                    <a:pt x="674" y="326"/>
                  </a:cubicBezTo>
                  <a:cubicBezTo>
                    <a:pt x="665" y="334"/>
                    <a:pt x="664" y="343"/>
                    <a:pt x="668" y="347"/>
                  </a:cubicBezTo>
                  <a:cubicBezTo>
                    <a:pt x="687" y="379"/>
                    <a:pt x="687" y="379"/>
                    <a:pt x="687" y="379"/>
                  </a:cubicBezTo>
                  <a:cubicBezTo>
                    <a:pt x="691" y="383"/>
                    <a:pt x="700" y="384"/>
                    <a:pt x="704" y="380"/>
                  </a:cubicBezTo>
                  <a:cubicBezTo>
                    <a:pt x="745" y="361"/>
                    <a:pt x="745" y="361"/>
                    <a:pt x="745" y="361"/>
                  </a:cubicBezTo>
                  <a:cubicBezTo>
                    <a:pt x="758" y="358"/>
                    <a:pt x="767" y="358"/>
                    <a:pt x="771" y="363"/>
                  </a:cubicBezTo>
                  <a:cubicBezTo>
                    <a:pt x="771" y="363"/>
                    <a:pt x="771" y="363"/>
                    <a:pt x="771" y="363"/>
                  </a:cubicBezTo>
                  <a:cubicBezTo>
                    <a:pt x="779" y="364"/>
                    <a:pt x="787" y="373"/>
                    <a:pt x="791" y="377"/>
                  </a:cubicBezTo>
                  <a:cubicBezTo>
                    <a:pt x="791" y="377"/>
                    <a:pt x="791" y="377"/>
                    <a:pt x="791" y="377"/>
                  </a:cubicBezTo>
                  <a:cubicBezTo>
                    <a:pt x="800" y="378"/>
                    <a:pt x="804" y="383"/>
                    <a:pt x="802" y="400"/>
                  </a:cubicBezTo>
                  <a:cubicBezTo>
                    <a:pt x="799" y="443"/>
                    <a:pt x="799" y="443"/>
                    <a:pt x="799" y="443"/>
                  </a:cubicBezTo>
                  <a:cubicBezTo>
                    <a:pt x="798" y="451"/>
                    <a:pt x="802" y="456"/>
                    <a:pt x="811" y="457"/>
                  </a:cubicBezTo>
                  <a:cubicBezTo>
                    <a:pt x="845" y="468"/>
                    <a:pt x="845" y="468"/>
                    <a:pt x="845" y="468"/>
                  </a:cubicBezTo>
                  <a:cubicBezTo>
                    <a:pt x="849" y="464"/>
                    <a:pt x="858" y="464"/>
                    <a:pt x="859" y="456"/>
                  </a:cubicBezTo>
                  <a:cubicBezTo>
                    <a:pt x="871" y="413"/>
                    <a:pt x="871" y="413"/>
                    <a:pt x="871" y="413"/>
                  </a:cubicBezTo>
                  <a:cubicBezTo>
                    <a:pt x="876" y="401"/>
                    <a:pt x="889" y="397"/>
                    <a:pt x="894" y="393"/>
                  </a:cubicBezTo>
                  <a:cubicBezTo>
                    <a:pt x="894" y="393"/>
                    <a:pt x="894" y="393"/>
                    <a:pt x="894" y="393"/>
                  </a:cubicBezTo>
                  <a:cubicBezTo>
                    <a:pt x="902" y="394"/>
                    <a:pt x="911" y="395"/>
                    <a:pt x="916" y="391"/>
                  </a:cubicBezTo>
                  <a:cubicBezTo>
                    <a:pt x="916" y="391"/>
                    <a:pt x="916" y="391"/>
                    <a:pt x="916" y="391"/>
                  </a:cubicBezTo>
                  <a:cubicBezTo>
                    <a:pt x="924" y="391"/>
                    <a:pt x="933" y="392"/>
                    <a:pt x="941" y="401"/>
                  </a:cubicBezTo>
                  <a:cubicBezTo>
                    <a:pt x="969" y="433"/>
                    <a:pt x="969" y="433"/>
                    <a:pt x="969" y="433"/>
                  </a:cubicBezTo>
                  <a:cubicBezTo>
                    <a:pt x="973" y="438"/>
                    <a:pt x="985" y="443"/>
                    <a:pt x="990" y="439"/>
                  </a:cubicBezTo>
                  <a:cubicBezTo>
                    <a:pt x="1018" y="415"/>
                    <a:pt x="1018" y="415"/>
                    <a:pt x="1018" y="415"/>
                  </a:cubicBezTo>
                  <a:cubicBezTo>
                    <a:pt x="1018" y="415"/>
                    <a:pt x="1027" y="407"/>
                    <a:pt x="1019" y="398"/>
                  </a:cubicBezTo>
                  <a:close/>
                  <a:moveTo>
                    <a:pt x="803" y="279"/>
                  </a:moveTo>
                  <a:cubicBezTo>
                    <a:pt x="776" y="238"/>
                    <a:pt x="788" y="187"/>
                    <a:pt x="825" y="164"/>
                  </a:cubicBezTo>
                  <a:cubicBezTo>
                    <a:pt x="866" y="136"/>
                    <a:pt x="921" y="144"/>
                    <a:pt x="948" y="185"/>
                  </a:cubicBezTo>
                  <a:cubicBezTo>
                    <a:pt x="972" y="221"/>
                    <a:pt x="963" y="277"/>
                    <a:pt x="922" y="304"/>
                  </a:cubicBezTo>
                  <a:cubicBezTo>
                    <a:pt x="881" y="332"/>
                    <a:pt x="830" y="320"/>
                    <a:pt x="803" y="279"/>
                  </a:cubicBezTo>
                  <a:close/>
                </a:path>
              </a:pathLst>
            </a:custGeom>
            <a:solidFill>
              <a:schemeClr val="tx1"/>
            </a:solidFill>
            <a:ln>
              <a:noFill/>
            </a:ln>
          </p:spPr>
          <p:txBody>
            <a:bodyPr vert="horz" wrap="square" lIns="68574" tIns="34287" rIns="68574" bIns="34287"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17346"/>
                </a:solidFill>
                <a:effectLst/>
                <a:uLnTx/>
                <a:uFillTx/>
                <a:latin typeface="Segoe UI"/>
                <a:ea typeface="+mn-ea"/>
                <a:cs typeface="+mn-cs"/>
              </a:endParaRPr>
            </a:p>
          </p:txBody>
        </p:sp>
        <p:sp>
          <p:nvSpPr>
            <p:cNvPr id="104" name="Freeform 103"/>
            <p:cNvSpPr>
              <a:spLocks noChangeAspect="1"/>
            </p:cNvSpPr>
            <p:nvPr/>
          </p:nvSpPr>
          <p:spPr bwMode="black">
            <a:xfrm>
              <a:off x="776985" y="4213905"/>
              <a:ext cx="342871" cy="335728"/>
            </a:xfrm>
            <a:custGeom>
              <a:avLst/>
              <a:gdLst>
                <a:gd name="connsiteX0" fmla="*/ 3713863 w 4893730"/>
                <a:gd name="connsiteY0" fmla="*/ 2130808 h 4791777"/>
                <a:gd name="connsiteX1" fmla="*/ 4426142 w 4893730"/>
                <a:gd name="connsiteY1" fmla="*/ 2130808 h 4791777"/>
                <a:gd name="connsiteX2" fmla="*/ 4598071 w 4893730"/>
                <a:gd name="connsiteY2" fmla="*/ 2301547 h 4791777"/>
                <a:gd name="connsiteX3" fmla="*/ 4598071 w 4893730"/>
                <a:gd name="connsiteY3" fmla="*/ 3886978 h 4791777"/>
                <a:gd name="connsiteX4" fmla="*/ 4426142 w 4893730"/>
                <a:gd name="connsiteY4" fmla="*/ 4057717 h 4791777"/>
                <a:gd name="connsiteX5" fmla="*/ 3713863 w 4893730"/>
                <a:gd name="connsiteY5" fmla="*/ 4057717 h 4791777"/>
                <a:gd name="connsiteX6" fmla="*/ 3517372 w 4893730"/>
                <a:gd name="connsiteY6" fmla="*/ 3886978 h 4791777"/>
                <a:gd name="connsiteX7" fmla="*/ 3517372 w 4893730"/>
                <a:gd name="connsiteY7" fmla="*/ 2301547 h 4791777"/>
                <a:gd name="connsiteX8" fmla="*/ 3713863 w 4893730"/>
                <a:gd name="connsiteY8" fmla="*/ 2130808 h 4791777"/>
                <a:gd name="connsiteX9" fmla="*/ 904368 w 4893730"/>
                <a:gd name="connsiteY9" fmla="*/ 1223432 h 4791777"/>
                <a:gd name="connsiteX10" fmla="*/ 1609930 w 4893730"/>
                <a:gd name="connsiteY10" fmla="*/ 1223432 h 4791777"/>
                <a:gd name="connsiteX11" fmla="*/ 1804567 w 4893730"/>
                <a:gd name="connsiteY11" fmla="*/ 1394467 h 4791777"/>
                <a:gd name="connsiteX12" fmla="*/ 1804567 w 4893730"/>
                <a:gd name="connsiteY12" fmla="*/ 3886683 h 4791777"/>
                <a:gd name="connsiteX13" fmla="*/ 1609930 w 4893730"/>
                <a:gd name="connsiteY13" fmla="*/ 4057717 h 4791777"/>
                <a:gd name="connsiteX14" fmla="*/ 904368 w 4893730"/>
                <a:gd name="connsiteY14" fmla="*/ 4057717 h 4791777"/>
                <a:gd name="connsiteX15" fmla="*/ 734060 w 4893730"/>
                <a:gd name="connsiteY15" fmla="*/ 3886683 h 4791777"/>
                <a:gd name="connsiteX16" fmla="*/ 734060 w 4893730"/>
                <a:gd name="connsiteY16" fmla="*/ 1394467 h 4791777"/>
                <a:gd name="connsiteX17" fmla="*/ 904368 w 4893730"/>
                <a:gd name="connsiteY17" fmla="*/ 1223432 h 4791777"/>
                <a:gd name="connsiteX18" fmla="*/ 2325453 w 4893730"/>
                <a:gd name="connsiteY18" fmla="*/ 316050 h 4791777"/>
                <a:gd name="connsiteX19" fmla="*/ 3031014 w 4893730"/>
                <a:gd name="connsiteY19" fmla="*/ 316050 h 4791777"/>
                <a:gd name="connsiteX20" fmla="*/ 3201322 w 4893730"/>
                <a:gd name="connsiteY20" fmla="*/ 487238 h 4791777"/>
                <a:gd name="connsiteX21" fmla="*/ 3201322 w 4893730"/>
                <a:gd name="connsiteY21" fmla="*/ 3886530 h 4791777"/>
                <a:gd name="connsiteX22" fmla="*/ 3031014 w 4893730"/>
                <a:gd name="connsiteY22" fmla="*/ 4057717 h 4791777"/>
                <a:gd name="connsiteX23" fmla="*/ 2325453 w 4893730"/>
                <a:gd name="connsiteY23" fmla="*/ 4057717 h 4791777"/>
                <a:gd name="connsiteX24" fmla="*/ 2130815 w 4893730"/>
                <a:gd name="connsiteY24" fmla="*/ 3886530 h 4791777"/>
                <a:gd name="connsiteX25" fmla="*/ 2130815 w 4893730"/>
                <a:gd name="connsiteY25" fmla="*/ 487238 h 4791777"/>
                <a:gd name="connsiteX26" fmla="*/ 2325453 w 4893730"/>
                <a:gd name="connsiteY26" fmla="*/ 316050 h 4791777"/>
                <a:gd name="connsiteX27" fmla="*/ 269155 w 4893730"/>
                <a:gd name="connsiteY27" fmla="*/ 0 h 4791777"/>
                <a:gd name="connsiteX28" fmla="*/ 538311 w 4893730"/>
                <a:gd name="connsiteY28" fmla="*/ 268927 h 4791777"/>
                <a:gd name="connsiteX29" fmla="*/ 538311 w 4893730"/>
                <a:gd name="connsiteY29" fmla="*/ 4253925 h 4791777"/>
                <a:gd name="connsiteX30" fmla="*/ 4624575 w 4893730"/>
                <a:gd name="connsiteY30" fmla="*/ 4253925 h 4791777"/>
                <a:gd name="connsiteX31" fmla="*/ 4893730 w 4893730"/>
                <a:gd name="connsiteY31" fmla="*/ 4522851 h 4791777"/>
                <a:gd name="connsiteX32" fmla="*/ 4624575 w 4893730"/>
                <a:gd name="connsiteY32" fmla="*/ 4791777 h 4791777"/>
                <a:gd name="connsiteX33" fmla="*/ 269155 w 4893730"/>
                <a:gd name="connsiteY33" fmla="*/ 4791777 h 4791777"/>
                <a:gd name="connsiteX34" fmla="*/ 0 w 4893730"/>
                <a:gd name="connsiteY34" fmla="*/ 4522851 h 4791777"/>
                <a:gd name="connsiteX35" fmla="*/ 0 w 4893730"/>
                <a:gd name="connsiteY35" fmla="*/ 268927 h 4791777"/>
                <a:gd name="connsiteX36" fmla="*/ 269155 w 4893730"/>
                <a:gd name="connsiteY36" fmla="*/ 0 h 4791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4893730" h="4791777">
                  <a:moveTo>
                    <a:pt x="3713863" y="2130808"/>
                  </a:moveTo>
                  <a:cubicBezTo>
                    <a:pt x="3713863" y="2130808"/>
                    <a:pt x="3713863" y="2130808"/>
                    <a:pt x="4426142" y="2130808"/>
                  </a:cubicBezTo>
                  <a:cubicBezTo>
                    <a:pt x="4524387" y="2130808"/>
                    <a:pt x="4598071" y="2203982"/>
                    <a:pt x="4598071" y="2301547"/>
                  </a:cubicBezTo>
                  <a:cubicBezTo>
                    <a:pt x="4598071" y="2301547"/>
                    <a:pt x="4598071" y="2301547"/>
                    <a:pt x="4598071" y="3886978"/>
                  </a:cubicBezTo>
                  <a:cubicBezTo>
                    <a:pt x="4598071" y="3984543"/>
                    <a:pt x="4524387" y="4057717"/>
                    <a:pt x="4426142" y="4057717"/>
                  </a:cubicBezTo>
                  <a:cubicBezTo>
                    <a:pt x="4426142" y="4057717"/>
                    <a:pt x="4426142" y="4057717"/>
                    <a:pt x="3713863" y="4057717"/>
                  </a:cubicBezTo>
                  <a:cubicBezTo>
                    <a:pt x="3615618" y="4057717"/>
                    <a:pt x="3517372" y="3984543"/>
                    <a:pt x="3517372" y="3886978"/>
                  </a:cubicBezTo>
                  <a:cubicBezTo>
                    <a:pt x="3517372" y="3886978"/>
                    <a:pt x="3517372" y="3886978"/>
                    <a:pt x="3517372" y="2301547"/>
                  </a:cubicBezTo>
                  <a:cubicBezTo>
                    <a:pt x="3517372" y="2203982"/>
                    <a:pt x="3615618" y="2130808"/>
                    <a:pt x="3713863" y="2130808"/>
                  </a:cubicBezTo>
                  <a:close/>
                  <a:moveTo>
                    <a:pt x="904368" y="1223432"/>
                  </a:moveTo>
                  <a:cubicBezTo>
                    <a:pt x="904368" y="1223432"/>
                    <a:pt x="904368" y="1223432"/>
                    <a:pt x="1609930" y="1223432"/>
                  </a:cubicBezTo>
                  <a:cubicBezTo>
                    <a:pt x="1731578" y="1223432"/>
                    <a:pt x="1804567" y="1296733"/>
                    <a:pt x="1804567" y="1394467"/>
                  </a:cubicBezTo>
                  <a:cubicBezTo>
                    <a:pt x="1804567" y="1394467"/>
                    <a:pt x="1804567" y="1394467"/>
                    <a:pt x="1804567" y="3886683"/>
                  </a:cubicBezTo>
                  <a:cubicBezTo>
                    <a:pt x="1804567" y="3984417"/>
                    <a:pt x="1731578" y="4057717"/>
                    <a:pt x="1609930" y="4057717"/>
                  </a:cubicBezTo>
                  <a:cubicBezTo>
                    <a:pt x="1609930" y="4057717"/>
                    <a:pt x="1609930" y="4057717"/>
                    <a:pt x="904368" y="4057717"/>
                  </a:cubicBezTo>
                  <a:cubicBezTo>
                    <a:pt x="807049" y="4057717"/>
                    <a:pt x="734060" y="3984417"/>
                    <a:pt x="734060" y="3886683"/>
                  </a:cubicBezTo>
                  <a:cubicBezTo>
                    <a:pt x="734060" y="3886683"/>
                    <a:pt x="734060" y="3886683"/>
                    <a:pt x="734060" y="1394467"/>
                  </a:cubicBezTo>
                  <a:cubicBezTo>
                    <a:pt x="734060" y="1296733"/>
                    <a:pt x="807049" y="1223432"/>
                    <a:pt x="904368" y="1223432"/>
                  </a:cubicBezTo>
                  <a:close/>
                  <a:moveTo>
                    <a:pt x="2325453" y="316050"/>
                  </a:moveTo>
                  <a:cubicBezTo>
                    <a:pt x="2325453" y="316050"/>
                    <a:pt x="2325453" y="316050"/>
                    <a:pt x="3031014" y="316050"/>
                  </a:cubicBezTo>
                  <a:cubicBezTo>
                    <a:pt x="3128333" y="316050"/>
                    <a:pt x="3201322" y="389416"/>
                    <a:pt x="3201322" y="487238"/>
                  </a:cubicBezTo>
                  <a:cubicBezTo>
                    <a:pt x="3201322" y="487238"/>
                    <a:pt x="3201322" y="487238"/>
                    <a:pt x="3201322" y="3886530"/>
                  </a:cubicBezTo>
                  <a:cubicBezTo>
                    <a:pt x="3201322" y="3984351"/>
                    <a:pt x="3128333" y="4057717"/>
                    <a:pt x="3031014" y="4057717"/>
                  </a:cubicBezTo>
                  <a:cubicBezTo>
                    <a:pt x="3031014" y="4057717"/>
                    <a:pt x="3031014" y="4057717"/>
                    <a:pt x="2325453" y="4057717"/>
                  </a:cubicBezTo>
                  <a:cubicBezTo>
                    <a:pt x="2203804" y="4057717"/>
                    <a:pt x="2130815" y="3984351"/>
                    <a:pt x="2130815" y="3886530"/>
                  </a:cubicBezTo>
                  <a:cubicBezTo>
                    <a:pt x="2130815" y="3886530"/>
                    <a:pt x="2130815" y="3886530"/>
                    <a:pt x="2130815" y="487238"/>
                  </a:cubicBezTo>
                  <a:cubicBezTo>
                    <a:pt x="2130815" y="389416"/>
                    <a:pt x="2203804" y="316050"/>
                    <a:pt x="2325453" y="316050"/>
                  </a:cubicBezTo>
                  <a:close/>
                  <a:moveTo>
                    <a:pt x="269155" y="0"/>
                  </a:moveTo>
                  <a:cubicBezTo>
                    <a:pt x="415967" y="0"/>
                    <a:pt x="538311" y="122239"/>
                    <a:pt x="538311" y="268927"/>
                  </a:cubicBezTo>
                  <a:cubicBezTo>
                    <a:pt x="538311" y="268927"/>
                    <a:pt x="538311" y="268927"/>
                    <a:pt x="538311" y="4253925"/>
                  </a:cubicBezTo>
                  <a:cubicBezTo>
                    <a:pt x="538311" y="4253925"/>
                    <a:pt x="538311" y="4253925"/>
                    <a:pt x="4624575" y="4253925"/>
                  </a:cubicBezTo>
                  <a:cubicBezTo>
                    <a:pt x="4771387" y="4253925"/>
                    <a:pt x="4893730" y="4376164"/>
                    <a:pt x="4893730" y="4522851"/>
                  </a:cubicBezTo>
                  <a:cubicBezTo>
                    <a:pt x="4893730" y="4669538"/>
                    <a:pt x="4771387" y="4791777"/>
                    <a:pt x="4624575" y="4791777"/>
                  </a:cubicBezTo>
                  <a:cubicBezTo>
                    <a:pt x="4624575" y="4791777"/>
                    <a:pt x="4624575" y="4791777"/>
                    <a:pt x="269155" y="4791777"/>
                  </a:cubicBezTo>
                  <a:cubicBezTo>
                    <a:pt x="122344" y="4791777"/>
                    <a:pt x="0" y="4669538"/>
                    <a:pt x="0" y="4522851"/>
                  </a:cubicBezTo>
                  <a:cubicBezTo>
                    <a:pt x="0" y="4522851"/>
                    <a:pt x="0" y="4522851"/>
                    <a:pt x="0" y="268927"/>
                  </a:cubicBezTo>
                  <a:cubicBezTo>
                    <a:pt x="0" y="122239"/>
                    <a:pt x="122344" y="0"/>
                    <a:pt x="269155"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37148" tIns="109719" rIns="137148" bIns="109719"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699261"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5" name="Rectangle 104"/>
            <p:cNvSpPr/>
            <p:nvPr/>
          </p:nvSpPr>
          <p:spPr bwMode="auto">
            <a:xfrm rot="2745734">
              <a:off x="886688" y="2210975"/>
              <a:ext cx="1598323" cy="1625795"/>
            </a:xfrm>
            <a:prstGeom prst="rect">
              <a:avLst/>
            </a:prstGeom>
            <a:solidFill>
              <a:schemeClr val="tx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6" name="Rectangle 105"/>
            <p:cNvSpPr/>
            <p:nvPr/>
          </p:nvSpPr>
          <p:spPr bwMode="auto">
            <a:xfrm rot="2745734">
              <a:off x="292433" y="3819160"/>
              <a:ext cx="1610349" cy="1235003"/>
            </a:xfrm>
            <a:prstGeom prst="rect">
              <a:avLst/>
            </a:prstGeom>
            <a:solidFill>
              <a:schemeClr val="tx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7" name="Rectangle 106"/>
            <p:cNvSpPr/>
            <p:nvPr/>
          </p:nvSpPr>
          <p:spPr bwMode="auto">
            <a:xfrm rot="2745734">
              <a:off x="1315610" y="4915701"/>
              <a:ext cx="1263370" cy="1255989"/>
            </a:xfrm>
            <a:prstGeom prst="rect">
              <a:avLst/>
            </a:prstGeom>
            <a:solidFill>
              <a:schemeClr val="tx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37" name="Title 10"/>
          <p:cNvSpPr txBox="1">
            <a:spLocks/>
          </p:cNvSpPr>
          <p:nvPr/>
        </p:nvSpPr>
        <p:spPr>
          <a:xfrm>
            <a:off x="2849060" y="0"/>
            <a:ext cx="9342940" cy="665151"/>
          </a:xfrm>
          <a:prstGeom prst="rect">
            <a:avLst/>
          </a:prstGeom>
          <a:noFill/>
        </p:spPr>
        <p:txBody>
          <a:bodyPr vert="horz" wrap="square" lIns="0" tIns="91440" rIns="0" bIns="91440" rtlCol="0" anchor="t">
            <a:noAutofit/>
          </a:bodyPr>
          <a:lstStyle>
            <a:lvl1pPr defTabSz="914367">
              <a:lnSpc>
                <a:spcPct val="90000"/>
              </a:lnSpc>
              <a:spcBef>
                <a:spcPct val="0"/>
              </a:spcBef>
              <a:buNone/>
              <a:defRPr lang="en-US" sz="5294" b="0" cap="none" spc="-100" baseline="0" dirty="0" smtClean="0">
                <a:ln w="3175">
                  <a:noFill/>
                </a:ln>
                <a:solidFill>
                  <a:schemeClr val="tx2"/>
                </a:solidFill>
                <a:effectLst/>
                <a:latin typeface="+mj-lt"/>
                <a:cs typeface="Segoe UI" pitchFamily="34" charset="0"/>
              </a:defRPr>
            </a:lvl1pPr>
          </a:lstStyle>
          <a:p>
            <a:pPr marL="168275" marR="0" lvl="0" indent="0" algn="l" defTabSz="914367" rtl="0" eaLnBrk="1" fontAlgn="auto" latinLnBrk="0" hangingPunct="1">
              <a:lnSpc>
                <a:spcPct val="90000"/>
              </a:lnSpc>
              <a:spcBef>
                <a:spcPct val="0"/>
              </a:spcBef>
              <a:spcAft>
                <a:spcPts val="0"/>
              </a:spcAft>
              <a:buClrTx/>
              <a:buSzTx/>
              <a:buFontTx/>
              <a:buNone/>
              <a:tabLst/>
              <a:defRPr/>
            </a:pPr>
            <a:r>
              <a:rPr kumimoji="0" lang="en-US" sz="3600" b="0" i="0" u="none" strike="noStrike" kern="1200" cap="none" spc="-100" normalizeH="0" baseline="0" noProof="0">
                <a:ln w="3175">
                  <a:noFill/>
                </a:ln>
                <a:solidFill>
                  <a:prstClr val="black"/>
                </a:solidFill>
                <a:effectLst/>
                <a:uLnTx/>
                <a:uFillTx/>
                <a:latin typeface="Segoe UI Light"/>
                <a:ea typeface="+mn-ea"/>
                <a:cs typeface="Segoe UI" pitchFamily="34" charset="0"/>
              </a:rPr>
              <a:t>Creating a Data Model</a:t>
            </a:r>
            <a:endParaRPr kumimoji="0" lang="en-IN" sz="3600" b="0" i="0" u="none" strike="noStrike" kern="1200" cap="none" spc="-100" normalizeH="0" baseline="0" noProof="0">
              <a:ln w="3175">
                <a:noFill/>
              </a:ln>
              <a:solidFill>
                <a:prstClr val="black"/>
              </a:solidFill>
              <a:effectLst/>
              <a:uLnTx/>
              <a:uFillTx/>
              <a:latin typeface="Segoe UI Light"/>
              <a:ea typeface="+mn-ea"/>
              <a:cs typeface="Segoe UI" pitchFamily="34" charset="0"/>
            </a:endParaRPr>
          </a:p>
        </p:txBody>
      </p:sp>
      <p:sp>
        <p:nvSpPr>
          <p:cNvPr id="40" name="TextBox 39"/>
          <p:cNvSpPr txBox="1"/>
          <p:nvPr/>
        </p:nvSpPr>
        <p:spPr>
          <a:xfrm>
            <a:off x="3" y="51415"/>
            <a:ext cx="2849058" cy="430887"/>
          </a:xfrm>
          <a:prstGeom prst="rect">
            <a:avLst/>
          </a:prstGeom>
        </p:spPr>
        <p:txBody>
          <a:bodyPr wrap="square">
            <a:spAutoFit/>
          </a:bodyPr>
          <a:lstStyle>
            <a:defPPr>
              <a:defRPr lang="en-US"/>
            </a:defPPr>
            <a:lvl1pPr defTabSz="914192">
              <a:defRPr sz="2800" b="1" spc="-100">
                <a:ln w="3175">
                  <a:noFill/>
                </a:ln>
                <a:solidFill>
                  <a:srgbClr val="F2C812"/>
                </a:solidFill>
                <a:latin typeface="Segoe UI" panose="020B0502040204020203" pitchFamily="34" charset="0"/>
                <a:ea typeface="ＭＳ Ｐゴシック" charset="0"/>
                <a:cs typeface="Segoe UI" panose="020B0502040204020203" pitchFamily="34" charset="0"/>
              </a:defRPr>
            </a:lvl1pPr>
          </a:lstStyle>
          <a:p>
            <a:pPr marL="0" marR="0" lvl="0" indent="0" algn="l" defTabSz="914192" rtl="0" eaLnBrk="1" fontAlgn="auto" latinLnBrk="0" hangingPunct="1">
              <a:lnSpc>
                <a:spcPct val="100000"/>
              </a:lnSpc>
              <a:spcBef>
                <a:spcPts val="0"/>
              </a:spcBef>
              <a:spcAft>
                <a:spcPts val="0"/>
              </a:spcAft>
              <a:buClrTx/>
              <a:buSzTx/>
              <a:buFontTx/>
              <a:buNone/>
              <a:tabLst/>
              <a:defRPr/>
            </a:pPr>
            <a:r>
              <a:rPr kumimoji="0" lang="en-US" sz="2200" b="1" i="0" u="none" strike="noStrike" kern="1200" cap="none" spc="-100" normalizeH="0" baseline="0" noProof="0">
                <a:ln w="3175">
                  <a:noFill/>
                </a:ln>
                <a:solidFill>
                  <a:srgbClr val="F2C812"/>
                </a:solidFill>
                <a:effectLst/>
                <a:uLnTx/>
                <a:uFillTx/>
                <a:latin typeface="Segoe UI Light"/>
                <a:ea typeface="ＭＳ Ｐゴシック" charset="0"/>
                <a:cs typeface="Segoe UI" panose="020B0502040204020203" pitchFamily="34" charset="0"/>
              </a:rPr>
              <a:t>Power BI Desktop</a:t>
            </a:r>
          </a:p>
        </p:txBody>
      </p:sp>
      <p:sp>
        <p:nvSpPr>
          <p:cNvPr id="36" name="Rectangle 3"/>
          <p:cNvSpPr/>
          <p:nvPr/>
        </p:nvSpPr>
        <p:spPr bwMode="auto">
          <a:xfrm>
            <a:off x="3202216" y="665151"/>
            <a:ext cx="8105312" cy="44435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PT" sz="2000" b="0" i="1" u="none" strike="noStrike" kern="1200" cap="none" spc="0" normalizeH="0" baseline="0" noProof="0">
                <a:ln>
                  <a:noFill/>
                </a:ln>
                <a:solidFill>
                  <a:prstClr val="black"/>
                </a:solidFill>
                <a:effectLst/>
                <a:uLnTx/>
                <a:uFillTx/>
                <a:latin typeface="Segoe UI Light"/>
                <a:ea typeface="+mn-ea"/>
                <a:cs typeface="+mn-cs"/>
              </a:rPr>
              <a:t>Relationships</a:t>
            </a:r>
            <a:endParaRPr kumimoji="0" lang="en-US" sz="2000" b="0" i="1" u="none" strike="noStrike" kern="1200" cap="none" spc="0" normalizeH="0" baseline="0" noProof="0">
              <a:ln>
                <a:noFill/>
              </a:ln>
              <a:solidFill>
                <a:prstClr val="black"/>
              </a:solidFill>
              <a:effectLst/>
              <a:uLnTx/>
              <a:uFillTx/>
              <a:latin typeface="Segoe UI Light"/>
              <a:ea typeface="+mn-ea"/>
              <a:cs typeface="+mn-cs"/>
            </a:endParaRPr>
          </a:p>
        </p:txBody>
      </p:sp>
      <p:sp>
        <p:nvSpPr>
          <p:cNvPr id="41" name="Text Placeholder 2"/>
          <p:cNvSpPr txBox="1">
            <a:spLocks/>
          </p:cNvSpPr>
          <p:nvPr/>
        </p:nvSpPr>
        <p:spPr>
          <a:xfrm>
            <a:off x="2862141" y="1252294"/>
            <a:ext cx="9090381" cy="5262077"/>
          </a:xfrm>
          <a:prstGeom prst="rect">
            <a:avLst/>
          </a:prstGeom>
        </p:spPr>
        <p:txBody>
          <a:bodyPr vert="horz" wrap="square" lIns="182880" tIns="146304" rIns="182880" bIns="146304" rtlCol="0">
            <a:noAutofit/>
          </a:bodyPr>
          <a:lstStyle>
            <a:lvl1pPr marL="182845" marR="0"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3921" kern="1200" spc="0" baseline="0">
                <a:gradFill>
                  <a:gsLst>
                    <a:gs pos="1250">
                      <a:schemeClr val="tx2"/>
                    </a:gs>
                    <a:gs pos="99000">
                      <a:schemeClr val="tx2"/>
                    </a:gs>
                  </a:gsLst>
                  <a:lin ang="5400000" scaled="0"/>
                </a:gradFill>
                <a:latin typeface="+mj-lt"/>
                <a:ea typeface="+mn-ea"/>
                <a:cs typeface="+mn-cs"/>
              </a:defRPr>
            </a:lvl1pPr>
            <a:lvl2pPr marL="365690" marR="0"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2400" kern="1200" spc="0" baseline="0">
                <a:solidFill>
                  <a:schemeClr val="tx2"/>
                </a:solidFill>
                <a:latin typeface="+mj-lt"/>
                <a:ea typeface="+mn-ea"/>
                <a:cs typeface="+mn-cs"/>
              </a:defRPr>
            </a:lvl2pPr>
            <a:lvl3pPr marL="548535" marR="0"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2000" kern="1200" spc="0" baseline="0">
                <a:solidFill>
                  <a:schemeClr val="tx2"/>
                </a:solidFill>
                <a:latin typeface="+mj-lt"/>
                <a:ea typeface="+mn-ea"/>
                <a:cs typeface="+mn-cs"/>
              </a:defRPr>
            </a:lvl3pPr>
            <a:lvl4pPr marL="733802" marR="0" indent="-28569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1765" kern="1200" spc="0" baseline="0">
                <a:solidFill>
                  <a:schemeClr val="tx2"/>
                </a:solidFill>
                <a:latin typeface="+mn-lt"/>
                <a:ea typeface="+mn-ea"/>
                <a:cs typeface="+mn-cs"/>
              </a:defRPr>
            </a:lvl4pPr>
            <a:lvl5pPr marL="957856" marR="0" indent="-28569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1765" kern="1200" spc="0" baseline="0">
                <a:solidFill>
                  <a:schemeClr val="tx2"/>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r>
              <a:rPr kumimoji="0" lang="en-US" sz="2400" b="0" i="0" u="none" strike="noStrike" kern="1200" cap="none" spc="0" normalizeH="0" baseline="0" noProof="0">
                <a:ln>
                  <a:noFill/>
                </a:ln>
                <a:solidFill>
                  <a:prstClr val="black"/>
                </a:solidFill>
                <a:effectLst/>
                <a:uLnTx/>
                <a:uFillTx/>
                <a:latin typeface="Segoe UI Light"/>
                <a:ea typeface="Calibri" panose="020F0502020204030204" pitchFamily="34" charset="0"/>
                <a:cs typeface="Times New Roman" panose="02020603050405020304" pitchFamily="18" charset="0"/>
              </a:rPr>
              <a:t>They </a:t>
            </a:r>
            <a:r>
              <a:rPr kumimoji="0" lang="en-US" sz="2400" b="1" i="0" u="none" strike="noStrike" kern="1200" cap="none" spc="0" normalizeH="0" baseline="0" noProof="0">
                <a:ln>
                  <a:noFill/>
                </a:ln>
                <a:solidFill>
                  <a:prstClr val="black"/>
                </a:solidFill>
                <a:effectLst/>
                <a:uLnTx/>
                <a:uFillTx/>
                <a:latin typeface="Segoe UI Light"/>
                <a:ea typeface="Calibri" panose="020F0502020204030204" pitchFamily="34" charset="0"/>
                <a:cs typeface="Times New Roman" panose="02020603050405020304" pitchFamily="18" charset="0"/>
              </a:rPr>
              <a:t>connect two tables </a:t>
            </a:r>
            <a:r>
              <a:rPr kumimoji="0" lang="en-US" sz="2400" b="0" i="0" u="none" strike="noStrike" kern="1200" cap="none" spc="0" normalizeH="0" baseline="0" noProof="0">
                <a:ln>
                  <a:noFill/>
                </a:ln>
                <a:solidFill>
                  <a:prstClr val="black"/>
                </a:solidFill>
                <a:effectLst/>
                <a:uLnTx/>
                <a:uFillTx/>
                <a:latin typeface="Segoe UI Light"/>
                <a:ea typeface="Calibri" panose="020F0502020204030204" pitchFamily="34" charset="0"/>
                <a:cs typeface="Times New Roman" panose="02020603050405020304" pitchFamily="18" charset="0"/>
              </a:rPr>
              <a:t>allowing filtering and calculations that leverage columns from both. </a:t>
            </a:r>
            <a:r>
              <a:rPr kumimoji="0" lang="en-US" sz="2400" b="1" i="0" u="none" strike="noStrike" kern="1200" cap="none" spc="0" normalizeH="0" baseline="0" noProof="0">
                <a:ln>
                  <a:noFill/>
                </a:ln>
                <a:solidFill>
                  <a:prstClr val="black"/>
                </a:solidFill>
                <a:effectLst/>
                <a:uLnTx/>
                <a:uFillTx/>
                <a:latin typeface="Segoe UI Light"/>
                <a:ea typeface="Calibri" panose="020F0502020204030204" pitchFamily="34" charset="0"/>
                <a:cs typeface="Times New Roman" panose="02020603050405020304" pitchFamily="18" charset="0"/>
              </a:rPr>
              <a:t>No need to flatten!</a:t>
            </a: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pt-PT" sz="2400" b="0" i="0" u="none" strike="noStrike" kern="1200" cap="none" spc="0" normalizeH="0" baseline="0" noProof="0">
              <a:ln>
                <a:noFill/>
              </a:ln>
              <a:solidFill>
                <a:prstClr val="black"/>
              </a:solidFill>
              <a:effectLst/>
              <a:uLnTx/>
              <a:uFillTx/>
              <a:latin typeface="Segoe UI Light"/>
              <a:ea typeface="Calibri" panose="020F0502020204030204" pitchFamily="34" charset="0"/>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r>
              <a:rPr kumimoji="0" lang="pt-PT" sz="2400" b="0" i="0" u="none" strike="noStrike" kern="1200" cap="none" spc="0" normalizeH="0" baseline="0" noProof="0">
                <a:ln>
                  <a:noFill/>
                </a:ln>
                <a:solidFill>
                  <a:prstClr val="black"/>
                </a:solidFill>
                <a:effectLst/>
                <a:uLnTx/>
                <a:uFillTx/>
                <a:latin typeface="Segoe UI Light"/>
                <a:ea typeface="Calibri" panose="020F0502020204030204" pitchFamily="34" charset="0"/>
                <a:cs typeface="Times New Roman" panose="02020603050405020304" pitchFamily="18" charset="0"/>
              </a:rPr>
              <a:t>They are based on a </a:t>
            </a:r>
            <a:r>
              <a:rPr kumimoji="0" lang="pt-PT" sz="2400" b="1" i="0" u="none" strike="noStrike" kern="1200" cap="none" spc="0" normalizeH="0" baseline="0" noProof="0">
                <a:ln>
                  <a:noFill/>
                </a:ln>
                <a:solidFill>
                  <a:prstClr val="black"/>
                </a:solidFill>
                <a:effectLst/>
                <a:uLnTx/>
                <a:uFillTx/>
                <a:latin typeface="Segoe UI Light"/>
                <a:ea typeface="Calibri" panose="020F0502020204030204" pitchFamily="34" charset="0"/>
                <a:cs typeface="Times New Roman" panose="02020603050405020304" pitchFamily="18" charset="0"/>
              </a:rPr>
              <a:t>single column </a:t>
            </a:r>
            <a:r>
              <a:rPr kumimoji="0" lang="pt-PT" sz="2400" b="0" i="0" u="none" strike="noStrike" kern="1200" cap="none" spc="0" normalizeH="0" baseline="0" noProof="0">
                <a:ln>
                  <a:noFill/>
                </a:ln>
                <a:solidFill>
                  <a:prstClr val="black"/>
                </a:solidFill>
                <a:effectLst/>
                <a:uLnTx/>
                <a:uFillTx/>
                <a:latin typeface="Segoe UI Light"/>
                <a:ea typeface="Calibri" panose="020F0502020204030204" pitchFamily="34" charset="0"/>
                <a:cs typeface="Times New Roman" panose="02020603050405020304" pitchFamily="18" charset="0"/>
              </a:rPr>
              <a:t>from </a:t>
            </a:r>
            <a:r>
              <a:rPr kumimoji="0" lang="pt-PT" sz="2400" b="1" i="0" u="none" strike="noStrike" kern="1200" cap="none" spc="0" normalizeH="0" baseline="0" noProof="0">
                <a:ln>
                  <a:noFill/>
                </a:ln>
                <a:solidFill>
                  <a:prstClr val="black"/>
                </a:solidFill>
                <a:effectLst/>
                <a:uLnTx/>
                <a:uFillTx/>
                <a:latin typeface="Segoe UI Light"/>
                <a:ea typeface="Calibri" panose="020F0502020204030204" pitchFamily="34" charset="0"/>
                <a:cs typeface="Times New Roman" panose="02020603050405020304" pitchFamily="18" charset="0"/>
              </a:rPr>
              <a:t>each table. </a:t>
            </a:r>
            <a:r>
              <a:rPr kumimoji="0" lang="pt-PT" sz="2400" b="0" i="0" u="none" strike="noStrike" kern="1200" cap="none" spc="0" normalizeH="0" baseline="0" noProof="0">
                <a:ln>
                  <a:noFill/>
                </a:ln>
                <a:solidFill>
                  <a:prstClr val="black"/>
                </a:solidFill>
                <a:effectLst/>
                <a:uLnTx/>
                <a:uFillTx/>
                <a:latin typeface="Segoe UI Light"/>
                <a:ea typeface="Calibri" panose="020F0502020204030204" pitchFamily="34" charset="0"/>
                <a:cs typeface="Times New Roman" panose="02020603050405020304" pitchFamily="18" charset="0"/>
              </a:rPr>
              <a:t>One table acts as a lookup table and the other as a referencing table</a:t>
            </a:r>
            <a:endParaRPr kumimoji="0" lang="pt-PT" sz="2400" b="1" i="0" u="none" strike="noStrike" kern="1200" cap="none" spc="0" normalizeH="0" baseline="0" noProof="0">
              <a:ln>
                <a:noFill/>
              </a:ln>
              <a:solidFill>
                <a:prstClr val="black"/>
              </a:solidFill>
              <a:effectLst/>
              <a:uLnTx/>
              <a:uFillTx/>
              <a:latin typeface="Segoe UI Light"/>
              <a:ea typeface="Calibri" panose="020F0502020204030204" pitchFamily="34" charset="0"/>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pt-PT" sz="2400" b="1" i="0" u="none" strike="noStrike" kern="1200" cap="none" spc="0" normalizeH="0" baseline="0" noProof="0">
              <a:ln>
                <a:noFill/>
              </a:ln>
              <a:solidFill>
                <a:prstClr val="black"/>
              </a:solidFill>
              <a:effectLst/>
              <a:uLnTx/>
              <a:uFillTx/>
              <a:latin typeface="Segoe UI Light"/>
              <a:ea typeface="Calibri" panose="020F0502020204030204" pitchFamily="34" charset="0"/>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r>
              <a:rPr kumimoji="0" lang="pt-PT" sz="2400" b="0" i="0" u="none" strike="noStrike" kern="1200" cap="none" spc="0" normalizeH="0" baseline="0" noProof="0">
                <a:ln>
                  <a:noFill/>
                </a:ln>
                <a:solidFill>
                  <a:prstClr val="black"/>
                </a:solidFill>
                <a:effectLst/>
                <a:uLnTx/>
                <a:uFillTx/>
                <a:latin typeface="Segoe UI Light"/>
                <a:ea typeface="Calibri" panose="020F0502020204030204" pitchFamily="34" charset="0"/>
                <a:cs typeface="Times New Roman" panose="02020603050405020304" pitchFamily="18" charset="0"/>
              </a:rPr>
              <a:t>The </a:t>
            </a:r>
            <a:r>
              <a:rPr kumimoji="0" lang="pt-PT" sz="2400" b="1" i="0" u="none" strike="noStrike" kern="1200" cap="none" spc="0" normalizeH="0" baseline="0" noProof="0">
                <a:ln>
                  <a:noFill/>
                </a:ln>
                <a:solidFill>
                  <a:prstClr val="black"/>
                </a:solidFill>
                <a:effectLst/>
                <a:uLnTx/>
                <a:uFillTx/>
                <a:latin typeface="Segoe UI Light"/>
                <a:ea typeface="Calibri" panose="020F0502020204030204" pitchFamily="34" charset="0"/>
                <a:cs typeface="Times New Roman" panose="02020603050405020304" pitchFamily="18" charset="0"/>
              </a:rPr>
              <a:t>datatypes</a:t>
            </a:r>
            <a:r>
              <a:rPr kumimoji="0" lang="pt-PT" sz="2400" b="0" i="0" u="none" strike="noStrike" kern="1200" cap="none" spc="0" normalizeH="0" baseline="0" noProof="0">
                <a:ln>
                  <a:noFill/>
                </a:ln>
                <a:solidFill>
                  <a:prstClr val="black"/>
                </a:solidFill>
                <a:effectLst/>
                <a:uLnTx/>
                <a:uFillTx/>
                <a:latin typeface="Segoe UI Light"/>
                <a:ea typeface="Calibri" panose="020F0502020204030204" pitchFamily="34" charset="0"/>
                <a:cs typeface="Times New Roman" panose="02020603050405020304" pitchFamily="18" charset="0"/>
              </a:rPr>
              <a:t> for the columns </a:t>
            </a:r>
            <a:r>
              <a:rPr kumimoji="0" lang="pt-PT" sz="2400" b="1" i="0" u="none" strike="noStrike" kern="1200" cap="none" spc="0" normalizeH="0" baseline="0" noProof="0">
                <a:ln>
                  <a:noFill/>
                </a:ln>
                <a:solidFill>
                  <a:prstClr val="black"/>
                </a:solidFill>
                <a:effectLst/>
                <a:uLnTx/>
                <a:uFillTx/>
                <a:latin typeface="Segoe UI Light"/>
                <a:ea typeface="Calibri" panose="020F0502020204030204" pitchFamily="34" charset="0"/>
                <a:cs typeface="Times New Roman" panose="02020603050405020304" pitchFamily="18" charset="0"/>
              </a:rPr>
              <a:t>do not have to be the same</a:t>
            </a: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pt-PT" sz="2400" b="1" i="0" u="none" strike="noStrike" kern="1200" cap="none" spc="0" normalizeH="0" baseline="0" noProof="0">
              <a:ln>
                <a:noFill/>
              </a:ln>
              <a:solidFill>
                <a:prstClr val="black"/>
              </a:solidFill>
              <a:effectLst/>
              <a:uLnTx/>
              <a:uFillTx/>
              <a:latin typeface="Segoe UI Light"/>
              <a:ea typeface="Calibri" panose="020F0502020204030204" pitchFamily="34" charset="0"/>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r>
              <a:rPr kumimoji="0" lang="pt-PT" sz="2400" b="0" i="0" u="none" strike="noStrike" kern="1200" cap="none" spc="0" normalizeH="0" baseline="0" noProof="0">
                <a:ln>
                  <a:noFill/>
                </a:ln>
                <a:solidFill>
                  <a:prstClr val="black"/>
                </a:solidFill>
                <a:effectLst/>
                <a:uLnTx/>
                <a:uFillTx/>
                <a:latin typeface="Segoe UI Light"/>
                <a:ea typeface="Calibri" panose="020F0502020204030204" pitchFamily="34" charset="0"/>
                <a:cs typeface="Times New Roman" panose="02020603050405020304" pitchFamily="18" charset="0"/>
              </a:rPr>
              <a:t>Relationships can be </a:t>
            </a:r>
            <a:r>
              <a:rPr kumimoji="0" lang="pt-PT" sz="2400" b="1" i="0" u="none" strike="noStrike" kern="1200" cap="none" spc="0" normalizeH="0" baseline="0" noProof="0">
                <a:ln>
                  <a:noFill/>
                </a:ln>
                <a:solidFill>
                  <a:prstClr val="black"/>
                </a:solidFill>
                <a:effectLst/>
                <a:uLnTx/>
                <a:uFillTx/>
                <a:latin typeface="Segoe UI Light"/>
                <a:ea typeface="Calibri" panose="020F0502020204030204" pitchFamily="34" charset="0"/>
                <a:cs typeface="Times New Roman" panose="02020603050405020304" pitchFamily="18" charset="0"/>
              </a:rPr>
              <a:t>created manually</a:t>
            </a:r>
            <a:r>
              <a:rPr kumimoji="0" lang="pt-PT" sz="2400" b="0" i="0" u="none" strike="noStrike" kern="1200" cap="none" spc="0" normalizeH="0" baseline="0" noProof="0">
                <a:ln>
                  <a:noFill/>
                </a:ln>
                <a:solidFill>
                  <a:prstClr val="black"/>
                </a:solidFill>
                <a:effectLst/>
                <a:uLnTx/>
                <a:uFillTx/>
                <a:latin typeface="Segoe UI Light"/>
                <a:ea typeface="Calibri" panose="020F0502020204030204" pitchFamily="34" charset="0"/>
                <a:cs typeface="Times New Roman" panose="02020603050405020304" pitchFamily="18" charset="0"/>
              </a:rPr>
              <a:t> or </a:t>
            </a:r>
            <a:r>
              <a:rPr kumimoji="0" lang="pt-PT" sz="2400" b="1" i="0" u="none" strike="noStrike" kern="1200" cap="none" spc="0" normalizeH="0" baseline="0" noProof="0">
                <a:ln>
                  <a:noFill/>
                </a:ln>
                <a:solidFill>
                  <a:prstClr val="black"/>
                </a:solidFill>
                <a:effectLst/>
                <a:uLnTx/>
                <a:uFillTx/>
                <a:latin typeface="Segoe UI Light"/>
                <a:ea typeface="Calibri" panose="020F0502020204030204" pitchFamily="34" charset="0"/>
                <a:cs typeface="Times New Roman" panose="02020603050405020304" pitchFamily="18" charset="0"/>
              </a:rPr>
              <a:t>automatically inferred </a:t>
            </a:r>
            <a:r>
              <a:rPr kumimoji="0" lang="pt-PT" sz="2400" b="0" i="0" u="none" strike="noStrike" kern="1200" cap="none" spc="0" normalizeH="0" baseline="0" noProof="0">
                <a:ln>
                  <a:noFill/>
                </a:ln>
                <a:solidFill>
                  <a:prstClr val="black"/>
                </a:solidFill>
                <a:effectLst/>
                <a:uLnTx/>
                <a:uFillTx/>
                <a:latin typeface="Segoe UI Light"/>
                <a:ea typeface="Calibri" panose="020F0502020204030204" pitchFamily="34" charset="0"/>
                <a:cs typeface="Times New Roman" panose="02020603050405020304" pitchFamily="18" charset="0"/>
              </a:rPr>
              <a:t>by the tool</a:t>
            </a: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pt-PT" sz="2400" b="0" i="0" u="none" strike="noStrike" kern="1200" cap="none" spc="0" normalizeH="0" baseline="0" noProof="0">
              <a:ln>
                <a:noFill/>
              </a:ln>
              <a:solidFill>
                <a:prstClr val="black"/>
              </a:solidFill>
              <a:effectLst/>
              <a:uLnTx/>
              <a:uFillTx/>
              <a:latin typeface="Segoe UI Light"/>
              <a:ea typeface="Calibri" panose="020F0502020204030204" pitchFamily="34" charset="0"/>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r>
              <a:rPr kumimoji="0" lang="pt-PT" sz="2400" b="1" i="0" u="none" strike="noStrike" kern="1200" cap="none" spc="0" normalizeH="0" baseline="0" noProof="0">
                <a:ln>
                  <a:noFill/>
                </a:ln>
                <a:solidFill>
                  <a:prstClr val="black"/>
                </a:solidFill>
                <a:effectLst/>
                <a:uLnTx/>
                <a:uFillTx/>
                <a:latin typeface="Segoe UI Light"/>
                <a:ea typeface="Calibri" panose="020F0502020204030204" pitchFamily="34" charset="0"/>
                <a:cs typeface="Times New Roman" panose="02020603050405020304" pitchFamily="18" charset="0"/>
              </a:rPr>
              <a:t>More than one relationship can exist </a:t>
            </a:r>
            <a:r>
              <a:rPr kumimoji="0" lang="pt-PT" sz="2400" b="0" i="0" u="none" strike="noStrike" kern="1200" cap="none" spc="0" normalizeH="0" baseline="0" noProof="0">
                <a:ln>
                  <a:noFill/>
                </a:ln>
                <a:solidFill>
                  <a:prstClr val="black"/>
                </a:solidFill>
                <a:effectLst/>
                <a:uLnTx/>
                <a:uFillTx/>
                <a:latin typeface="Segoe UI Light"/>
                <a:ea typeface="Calibri" panose="020F0502020204030204" pitchFamily="34" charset="0"/>
                <a:cs typeface="Times New Roman" panose="02020603050405020304" pitchFamily="18" charset="0"/>
              </a:rPr>
              <a:t>between two tables</a:t>
            </a:r>
          </a:p>
        </p:txBody>
      </p:sp>
    </p:spTree>
    <p:extLst>
      <p:ext uri="{BB962C8B-B14F-4D97-AF65-F5344CB8AC3E}">
        <p14:creationId xmlns:p14="http://schemas.microsoft.com/office/powerpoint/2010/main" val="26928646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p:cNvGrpSpPr/>
          <p:nvPr/>
        </p:nvGrpSpPr>
        <p:grpSpPr>
          <a:xfrm>
            <a:off x="-11149" y="0"/>
            <a:ext cx="2849058" cy="6858000"/>
            <a:chOff x="2" y="1"/>
            <a:chExt cx="2849058" cy="6858000"/>
          </a:xfrm>
        </p:grpSpPr>
        <p:sp>
          <p:nvSpPr>
            <p:cNvPr id="70" name="Rectangle 69"/>
            <p:cNvSpPr/>
            <p:nvPr/>
          </p:nvSpPr>
          <p:spPr bwMode="auto">
            <a:xfrm>
              <a:off x="2" y="1"/>
              <a:ext cx="2849058"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5" name="Oval 70"/>
            <p:cNvSpPr/>
            <p:nvPr/>
          </p:nvSpPr>
          <p:spPr>
            <a:xfrm>
              <a:off x="1413521" y="4951537"/>
              <a:ext cx="1119626" cy="1119626"/>
            </a:xfrm>
            <a:prstGeom prst="ellipse">
              <a:avLst/>
            </a:prstGeom>
            <a:solidFill>
              <a:srgbClr val="F2C812"/>
            </a:solidFill>
            <a:ln w="3175" cap="flat" cmpd="sng" algn="ctr">
              <a:noFill/>
              <a:prstDash val="solid"/>
            </a:ln>
            <a:effectLst/>
          </p:spPr>
          <p:txBody>
            <a:bodyPr vert="horz" wrap="none" lIns="0" tIns="45720" rIns="0" bIns="0" rtlCol="0" anchor="t"/>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Segoe UI"/>
                  <a:ea typeface="Segoe UI" pitchFamily="34" charset="0"/>
                  <a:cs typeface="Segoe UI" pitchFamily="34" charset="0"/>
                </a:rPr>
                <a:t>Share &amp;</a:t>
              </a:r>
            </a:p>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Segoe UI"/>
                  <a:ea typeface="Segoe UI" pitchFamily="34" charset="0"/>
                  <a:cs typeface="Segoe UI" pitchFamily="34" charset="0"/>
                </a:rPr>
                <a:t>collaborate </a:t>
              </a:r>
            </a:p>
          </p:txBody>
        </p:sp>
        <p:grpSp>
          <p:nvGrpSpPr>
            <p:cNvPr id="66" name="Group 38"/>
            <p:cNvGrpSpPr>
              <a:grpSpLocks noChangeAspect="1"/>
            </p:cNvGrpSpPr>
            <p:nvPr/>
          </p:nvGrpSpPr>
          <p:grpSpPr>
            <a:xfrm>
              <a:off x="676996" y="3930692"/>
              <a:ext cx="383905" cy="351536"/>
              <a:chOff x="4363684" y="5330386"/>
              <a:chExt cx="1409956" cy="1291077"/>
            </a:xfrm>
            <a:solidFill>
              <a:srgbClr val="217346"/>
            </a:solidFill>
          </p:grpSpPr>
          <p:sp>
            <p:nvSpPr>
              <p:cNvPr id="67" name="Donut 3"/>
              <p:cNvSpPr/>
              <p:nvPr/>
            </p:nvSpPr>
            <p:spPr bwMode="auto">
              <a:xfrm>
                <a:off x="4363684" y="5330386"/>
                <a:ext cx="1409956" cy="1291077"/>
              </a:xfrm>
              <a:custGeom>
                <a:avLst/>
                <a:gdLst/>
                <a:ahLst/>
                <a:cxnLst/>
                <a:rect l="l" t="t" r="r" b="b"/>
                <a:pathLst>
                  <a:path w="1409956" h="1291077">
                    <a:moveTo>
                      <a:pt x="956401" y="78410"/>
                    </a:moveTo>
                    <a:cubicBezTo>
                      <a:pt x="747518" y="78410"/>
                      <a:pt x="578184" y="247744"/>
                      <a:pt x="578184" y="456627"/>
                    </a:cubicBezTo>
                    <a:cubicBezTo>
                      <a:pt x="578184" y="665510"/>
                      <a:pt x="747518" y="834844"/>
                      <a:pt x="956401" y="834844"/>
                    </a:cubicBezTo>
                    <a:cubicBezTo>
                      <a:pt x="1165284" y="834844"/>
                      <a:pt x="1334618" y="665510"/>
                      <a:pt x="1334618" y="456627"/>
                    </a:cubicBezTo>
                    <a:cubicBezTo>
                      <a:pt x="1334618" y="247744"/>
                      <a:pt x="1165284" y="78410"/>
                      <a:pt x="956401" y="78410"/>
                    </a:cubicBezTo>
                    <a:close/>
                    <a:moveTo>
                      <a:pt x="952756" y="0"/>
                    </a:moveTo>
                    <a:cubicBezTo>
                      <a:pt x="1205261" y="0"/>
                      <a:pt x="1409956" y="204695"/>
                      <a:pt x="1409956" y="457200"/>
                    </a:cubicBezTo>
                    <a:cubicBezTo>
                      <a:pt x="1409956" y="709705"/>
                      <a:pt x="1205261" y="914400"/>
                      <a:pt x="952756" y="914400"/>
                    </a:cubicBezTo>
                    <a:cubicBezTo>
                      <a:pt x="862133" y="914400"/>
                      <a:pt x="777669" y="888034"/>
                      <a:pt x="707132" y="841746"/>
                    </a:cubicBezTo>
                    <a:lnTo>
                      <a:pt x="136495" y="1280102"/>
                    </a:lnTo>
                    <a:cubicBezTo>
                      <a:pt x="21896" y="1327168"/>
                      <a:pt x="-44029" y="1213730"/>
                      <a:pt x="33797" y="1113182"/>
                    </a:cubicBezTo>
                    <a:lnTo>
                      <a:pt x="568587" y="703518"/>
                    </a:lnTo>
                    <a:cubicBezTo>
                      <a:pt x="522087" y="632814"/>
                      <a:pt x="495556" y="548105"/>
                      <a:pt x="495556" y="457200"/>
                    </a:cubicBezTo>
                    <a:cubicBezTo>
                      <a:pt x="495556" y="204695"/>
                      <a:pt x="700251" y="0"/>
                      <a:pt x="952756" y="0"/>
                    </a:cubicBezTo>
                    <a:close/>
                  </a:path>
                </a:pathLst>
              </a:custGeom>
              <a:grpFill/>
              <a:ln>
                <a:solidFill>
                  <a:srgbClr val="21734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sp>
            <p:nvSpPr>
              <p:cNvPr id="68" name="Rectangle 4"/>
              <p:cNvSpPr/>
              <p:nvPr/>
            </p:nvSpPr>
            <p:spPr>
              <a:xfrm>
                <a:off x="5058389" y="5528247"/>
                <a:ext cx="490885" cy="490020"/>
              </a:xfrm>
              <a:custGeom>
                <a:avLst/>
                <a:gdLst/>
                <a:ahLst/>
                <a:cxnLst/>
                <a:rect l="l" t="t" r="r" b="b"/>
                <a:pathLst>
                  <a:path w="490885" h="490020">
                    <a:moveTo>
                      <a:pt x="240752" y="0"/>
                    </a:moveTo>
                    <a:cubicBezTo>
                      <a:pt x="253961" y="11844"/>
                      <a:pt x="293310" y="49692"/>
                      <a:pt x="337332" y="92439"/>
                    </a:cubicBezTo>
                    <a:lnTo>
                      <a:pt x="328342" y="81259"/>
                    </a:lnTo>
                    <a:cubicBezTo>
                      <a:pt x="356946" y="111282"/>
                      <a:pt x="377251" y="107167"/>
                      <a:pt x="382515" y="87941"/>
                    </a:cubicBezTo>
                    <a:cubicBezTo>
                      <a:pt x="383951" y="76921"/>
                      <a:pt x="384595" y="68732"/>
                      <a:pt x="396997" y="52239"/>
                    </a:cubicBezTo>
                    <a:cubicBezTo>
                      <a:pt x="420362" y="32084"/>
                      <a:pt x="442294" y="41736"/>
                      <a:pt x="454920" y="51330"/>
                    </a:cubicBezTo>
                    <a:cubicBezTo>
                      <a:pt x="467834" y="62761"/>
                      <a:pt x="477920" y="86882"/>
                      <a:pt x="460392" y="109714"/>
                    </a:cubicBezTo>
                    <a:cubicBezTo>
                      <a:pt x="451128" y="121912"/>
                      <a:pt x="437554" y="126838"/>
                      <a:pt x="425922" y="126505"/>
                    </a:cubicBezTo>
                    <a:cubicBezTo>
                      <a:pt x="424301" y="127609"/>
                      <a:pt x="382890" y="134974"/>
                      <a:pt x="427348" y="177672"/>
                    </a:cubicBezTo>
                    <a:lnTo>
                      <a:pt x="416886" y="169735"/>
                    </a:lnTo>
                    <a:cubicBezTo>
                      <a:pt x="450207" y="202177"/>
                      <a:pt x="478424" y="229744"/>
                      <a:pt x="490885" y="241900"/>
                    </a:cubicBezTo>
                    <a:lnTo>
                      <a:pt x="417150" y="317347"/>
                    </a:lnTo>
                    <a:cubicBezTo>
                      <a:pt x="417744" y="316535"/>
                      <a:pt x="418443" y="316123"/>
                      <a:pt x="419047" y="315822"/>
                    </a:cubicBezTo>
                    <a:cubicBezTo>
                      <a:pt x="389023" y="344426"/>
                      <a:pt x="393138" y="364731"/>
                      <a:pt x="412364" y="369995"/>
                    </a:cubicBezTo>
                    <a:cubicBezTo>
                      <a:pt x="423384" y="371431"/>
                      <a:pt x="431574" y="372075"/>
                      <a:pt x="448067" y="384477"/>
                    </a:cubicBezTo>
                    <a:cubicBezTo>
                      <a:pt x="468221" y="407842"/>
                      <a:pt x="458569" y="429774"/>
                      <a:pt x="448975" y="442400"/>
                    </a:cubicBezTo>
                    <a:cubicBezTo>
                      <a:pt x="437545" y="455314"/>
                      <a:pt x="413423" y="465400"/>
                      <a:pt x="390591" y="447872"/>
                    </a:cubicBezTo>
                    <a:cubicBezTo>
                      <a:pt x="378394" y="438608"/>
                      <a:pt x="373468" y="425034"/>
                      <a:pt x="373800" y="413402"/>
                    </a:cubicBezTo>
                    <a:cubicBezTo>
                      <a:pt x="372696" y="411781"/>
                      <a:pt x="365332" y="370370"/>
                      <a:pt x="322634" y="414828"/>
                    </a:cubicBezTo>
                    <a:lnTo>
                      <a:pt x="325243" y="411388"/>
                    </a:lnTo>
                    <a:lnTo>
                      <a:pt x="248395" y="490020"/>
                    </a:lnTo>
                    <a:cubicBezTo>
                      <a:pt x="208939" y="451897"/>
                      <a:pt x="199129" y="442073"/>
                      <a:pt x="174192" y="418236"/>
                    </a:cubicBezTo>
                    <a:cubicBezTo>
                      <a:pt x="145587" y="388212"/>
                      <a:pt x="125282" y="392327"/>
                      <a:pt x="120018" y="411553"/>
                    </a:cubicBezTo>
                    <a:cubicBezTo>
                      <a:pt x="118582" y="422573"/>
                      <a:pt x="117938" y="430763"/>
                      <a:pt x="105536" y="447256"/>
                    </a:cubicBezTo>
                    <a:cubicBezTo>
                      <a:pt x="82171" y="467410"/>
                      <a:pt x="60239" y="457758"/>
                      <a:pt x="47614" y="448164"/>
                    </a:cubicBezTo>
                    <a:cubicBezTo>
                      <a:pt x="34699" y="436734"/>
                      <a:pt x="24614" y="412612"/>
                      <a:pt x="42141" y="389780"/>
                    </a:cubicBezTo>
                    <a:cubicBezTo>
                      <a:pt x="51405" y="377583"/>
                      <a:pt x="64979" y="372657"/>
                      <a:pt x="76612" y="372989"/>
                    </a:cubicBezTo>
                    <a:cubicBezTo>
                      <a:pt x="78232" y="371886"/>
                      <a:pt x="119644" y="364521"/>
                      <a:pt x="75186" y="321823"/>
                    </a:cubicBezTo>
                    <a:cubicBezTo>
                      <a:pt x="58767" y="305402"/>
                      <a:pt x="23648" y="271235"/>
                      <a:pt x="0" y="248738"/>
                    </a:cubicBezTo>
                    <a:lnTo>
                      <a:pt x="77303" y="168146"/>
                    </a:lnTo>
                    <a:cubicBezTo>
                      <a:pt x="104269" y="140313"/>
                      <a:pt x="122130" y="156409"/>
                      <a:pt x="124388" y="175543"/>
                    </a:cubicBezTo>
                    <a:cubicBezTo>
                      <a:pt x="124457" y="182466"/>
                      <a:pt x="127106" y="193106"/>
                      <a:pt x="137575" y="203052"/>
                    </a:cubicBezTo>
                    <a:cubicBezTo>
                      <a:pt x="153931" y="220277"/>
                      <a:pt x="181252" y="217451"/>
                      <a:pt x="196721" y="201951"/>
                    </a:cubicBezTo>
                    <a:cubicBezTo>
                      <a:pt x="211961" y="185740"/>
                      <a:pt x="213057" y="157882"/>
                      <a:pt x="196146" y="142797"/>
                    </a:cubicBezTo>
                    <a:cubicBezTo>
                      <a:pt x="184301" y="132637"/>
                      <a:pt x="177155" y="131453"/>
                      <a:pt x="166513" y="129894"/>
                    </a:cubicBezTo>
                    <a:cubicBezTo>
                      <a:pt x="154522" y="129013"/>
                      <a:pt x="131185" y="112953"/>
                      <a:pt x="157905" y="85228"/>
                    </a:cubicBezTo>
                    <a:close/>
                  </a:path>
                </a:pathLst>
              </a:custGeom>
              <a:grpFill/>
              <a:ln>
                <a:solidFill>
                  <a:srgbClr val="21734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grpSp>
        <p:sp>
          <p:nvSpPr>
            <p:cNvPr id="69" name="Oval 47"/>
            <p:cNvSpPr/>
            <p:nvPr/>
          </p:nvSpPr>
          <p:spPr>
            <a:xfrm>
              <a:off x="388608" y="3710471"/>
              <a:ext cx="1119626" cy="1119626"/>
            </a:xfrm>
            <a:prstGeom prst="ellipse">
              <a:avLst/>
            </a:prstGeom>
            <a:solidFill>
              <a:srgbClr val="F2C812"/>
            </a:solidFill>
            <a:ln w="3175" cap="flat" cmpd="sng" algn="ctr">
              <a:noFill/>
              <a:prstDash val="solid"/>
            </a:ln>
            <a:effectLst/>
          </p:spPr>
          <p:txBody>
            <a:bodyPr vert="horz" wrap="none" lIns="0" tIns="45720" rIns="0" bIns="0" rtlCol="0" anchor="t"/>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Segoe UI"/>
                  <a:ea typeface="Segoe UI" pitchFamily="34" charset="0"/>
                  <a:cs typeface="Segoe UI" pitchFamily="34" charset="0"/>
                </a:rPr>
                <a:t>Report</a:t>
              </a:r>
            </a:p>
          </p:txBody>
        </p:sp>
        <p:sp>
          <p:nvSpPr>
            <p:cNvPr id="85" name="Oval 950"/>
            <p:cNvSpPr/>
            <p:nvPr/>
          </p:nvSpPr>
          <p:spPr>
            <a:xfrm>
              <a:off x="388608" y="1252295"/>
              <a:ext cx="1119626" cy="1119626"/>
            </a:xfrm>
            <a:prstGeom prst="ellipse">
              <a:avLst/>
            </a:prstGeom>
            <a:solidFill>
              <a:srgbClr val="F2C812"/>
            </a:solidFill>
            <a:ln w="3175" cap="flat" cmpd="sng" algn="ctr">
              <a:noFill/>
              <a:prstDash val="solid"/>
            </a:ln>
            <a:effectLst/>
          </p:spPr>
          <p:txBody>
            <a:bodyPr vert="horz" wrap="none" lIns="0" tIns="45720" rIns="0" bIns="0" rtlCol="0" anchor="t"/>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1" i="0" u="none" strike="noStrike" kern="1200" cap="none" spc="0" normalizeH="0" baseline="0" noProof="0">
                <a:ln>
                  <a:noFill/>
                </a:ln>
                <a:solidFill>
                  <a:srgbClr val="217346"/>
                </a:solidFill>
                <a:effectLst/>
                <a:uLnTx/>
                <a:uFillTx/>
                <a:latin typeface="Segoe UI"/>
                <a:ea typeface="Segoe UI" pitchFamily="34" charset="0"/>
                <a:cs typeface="Segoe UI" pitchFamily="34" charset="0"/>
              </a:endParaRPr>
            </a:p>
          </p:txBody>
        </p:sp>
        <p:grpSp>
          <p:nvGrpSpPr>
            <p:cNvPr id="86" name="Group 85"/>
            <p:cNvGrpSpPr/>
            <p:nvPr/>
          </p:nvGrpSpPr>
          <p:grpSpPr>
            <a:xfrm>
              <a:off x="1264851" y="3482890"/>
              <a:ext cx="292254" cy="354906"/>
              <a:chOff x="1296521" y="3253388"/>
              <a:chExt cx="292254" cy="354906"/>
            </a:xfrm>
            <a:solidFill>
              <a:srgbClr val="F2C812"/>
            </a:solidFill>
          </p:grpSpPr>
          <p:sp>
            <p:nvSpPr>
              <p:cNvPr id="87" name="Isosceles Triangle 86"/>
              <p:cNvSpPr/>
              <p:nvPr/>
            </p:nvSpPr>
            <p:spPr bwMode="auto">
              <a:xfrm rot="13636515">
                <a:off x="1461362" y="328936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8" name="Isosceles Triangle 87"/>
              <p:cNvSpPr/>
              <p:nvPr/>
            </p:nvSpPr>
            <p:spPr bwMode="auto">
              <a:xfrm rot="13636515">
                <a:off x="1357669" y="338258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9" name="Isosceles Triangle 88"/>
              <p:cNvSpPr/>
              <p:nvPr/>
            </p:nvSpPr>
            <p:spPr bwMode="auto">
              <a:xfrm rot="13636515">
                <a:off x="1260548" y="3480882"/>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90" name="Group 89"/>
            <p:cNvGrpSpPr/>
            <p:nvPr/>
          </p:nvGrpSpPr>
          <p:grpSpPr>
            <a:xfrm rot="15940603">
              <a:off x="1334576" y="2204404"/>
              <a:ext cx="292254" cy="354906"/>
              <a:chOff x="1296521" y="3253388"/>
              <a:chExt cx="292254" cy="354906"/>
            </a:xfrm>
            <a:solidFill>
              <a:srgbClr val="F2C812"/>
            </a:solidFill>
          </p:grpSpPr>
          <p:sp>
            <p:nvSpPr>
              <p:cNvPr id="91" name="Isosceles Triangle 90"/>
              <p:cNvSpPr/>
              <p:nvPr/>
            </p:nvSpPr>
            <p:spPr bwMode="auto">
              <a:xfrm rot="13636515">
                <a:off x="1461362" y="328936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2" name="Isosceles Triangle 91"/>
              <p:cNvSpPr/>
              <p:nvPr/>
            </p:nvSpPr>
            <p:spPr bwMode="auto">
              <a:xfrm rot="13636515">
                <a:off x="1357669" y="338258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3" name="Isosceles Triangle 92"/>
              <p:cNvSpPr/>
              <p:nvPr/>
            </p:nvSpPr>
            <p:spPr bwMode="auto">
              <a:xfrm rot="13636515">
                <a:off x="1260548" y="3480882"/>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94" name="Group 93"/>
            <p:cNvGrpSpPr/>
            <p:nvPr/>
          </p:nvGrpSpPr>
          <p:grpSpPr>
            <a:xfrm rot="16043978">
              <a:off x="1317220" y="4717577"/>
              <a:ext cx="292254" cy="354906"/>
              <a:chOff x="1296521" y="3253388"/>
              <a:chExt cx="292254" cy="354906"/>
            </a:xfrm>
            <a:solidFill>
              <a:srgbClr val="F2C812"/>
            </a:solidFill>
          </p:grpSpPr>
          <p:sp>
            <p:nvSpPr>
              <p:cNvPr id="95" name="Isosceles Triangle 94"/>
              <p:cNvSpPr/>
              <p:nvPr/>
            </p:nvSpPr>
            <p:spPr bwMode="auto">
              <a:xfrm rot="13636515">
                <a:off x="1461362" y="328936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6" name="Isosceles Triangle 95"/>
              <p:cNvSpPr/>
              <p:nvPr/>
            </p:nvSpPr>
            <p:spPr bwMode="auto">
              <a:xfrm rot="13636515">
                <a:off x="1357669" y="338258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7" name="Isosceles Triangle 96"/>
              <p:cNvSpPr/>
              <p:nvPr/>
            </p:nvSpPr>
            <p:spPr bwMode="auto">
              <a:xfrm rot="13636515">
                <a:off x="1260548" y="3480882"/>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98" name="Oval 36"/>
            <p:cNvSpPr/>
            <p:nvPr/>
          </p:nvSpPr>
          <p:spPr>
            <a:xfrm>
              <a:off x="1413521" y="2481383"/>
              <a:ext cx="1119626" cy="1119626"/>
            </a:xfrm>
            <a:prstGeom prst="ellipse">
              <a:avLst/>
            </a:prstGeom>
            <a:solidFill>
              <a:srgbClr val="F2C812"/>
            </a:solidFill>
            <a:ln w="3175" cap="flat" cmpd="sng" algn="ctr">
              <a:noFill/>
              <a:prstDash val="solid"/>
            </a:ln>
            <a:effectLst/>
          </p:spPr>
          <p:txBody>
            <a:bodyPr vert="horz" wrap="none" lIns="0" tIns="0" rIns="0" bIns="0" rtlCol="0" anchor="t"/>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400" b="1" i="0" u="none" strike="noStrike" kern="1200" cap="none" spc="0" normalizeH="0" baseline="0" noProof="0">
                <a:ln>
                  <a:noFill/>
                </a:ln>
                <a:solidFill>
                  <a:srgbClr val="217346"/>
                </a:solidFill>
                <a:effectLst/>
                <a:uLnTx/>
                <a:uFillTx/>
                <a:latin typeface="Segoe UI"/>
                <a:ea typeface="Segoe UI" pitchFamily="34" charset="0"/>
                <a:cs typeface="Segoe UI" pitchFamily="34" charset="0"/>
              </a:endParaRPr>
            </a:p>
          </p:txBody>
        </p:sp>
        <p:sp>
          <p:nvSpPr>
            <p:cNvPr id="99" name="Donut 3"/>
            <p:cNvSpPr/>
            <p:nvPr/>
          </p:nvSpPr>
          <p:spPr bwMode="auto">
            <a:xfrm>
              <a:off x="1742065" y="3002355"/>
              <a:ext cx="383905" cy="351537"/>
            </a:xfrm>
            <a:custGeom>
              <a:avLst/>
              <a:gdLst/>
              <a:ahLst/>
              <a:cxnLst/>
              <a:rect l="l" t="t" r="r" b="b"/>
              <a:pathLst>
                <a:path w="1409956" h="1291077">
                  <a:moveTo>
                    <a:pt x="956401" y="78410"/>
                  </a:moveTo>
                  <a:cubicBezTo>
                    <a:pt x="747518" y="78410"/>
                    <a:pt x="578184" y="247744"/>
                    <a:pt x="578184" y="456627"/>
                  </a:cubicBezTo>
                  <a:cubicBezTo>
                    <a:pt x="578184" y="665510"/>
                    <a:pt x="747518" y="834844"/>
                    <a:pt x="956401" y="834844"/>
                  </a:cubicBezTo>
                  <a:cubicBezTo>
                    <a:pt x="1165284" y="834844"/>
                    <a:pt x="1334618" y="665510"/>
                    <a:pt x="1334618" y="456627"/>
                  </a:cubicBezTo>
                  <a:cubicBezTo>
                    <a:pt x="1334618" y="247744"/>
                    <a:pt x="1165284" y="78410"/>
                    <a:pt x="956401" y="78410"/>
                  </a:cubicBezTo>
                  <a:close/>
                  <a:moveTo>
                    <a:pt x="952756" y="0"/>
                  </a:moveTo>
                  <a:cubicBezTo>
                    <a:pt x="1205261" y="0"/>
                    <a:pt x="1409956" y="204695"/>
                    <a:pt x="1409956" y="457200"/>
                  </a:cubicBezTo>
                  <a:cubicBezTo>
                    <a:pt x="1409956" y="709705"/>
                    <a:pt x="1205261" y="914400"/>
                    <a:pt x="952756" y="914400"/>
                  </a:cubicBezTo>
                  <a:cubicBezTo>
                    <a:pt x="862133" y="914400"/>
                    <a:pt x="777669" y="888034"/>
                    <a:pt x="707132" y="841746"/>
                  </a:cubicBezTo>
                  <a:lnTo>
                    <a:pt x="136495" y="1280102"/>
                  </a:lnTo>
                  <a:cubicBezTo>
                    <a:pt x="21896" y="1327168"/>
                    <a:pt x="-44029" y="1213730"/>
                    <a:pt x="33797" y="1113182"/>
                  </a:cubicBezTo>
                  <a:lnTo>
                    <a:pt x="568587" y="703518"/>
                  </a:lnTo>
                  <a:cubicBezTo>
                    <a:pt x="522087" y="632814"/>
                    <a:pt x="495556" y="548105"/>
                    <a:pt x="495556" y="457200"/>
                  </a:cubicBezTo>
                  <a:cubicBezTo>
                    <a:pt x="495556" y="204695"/>
                    <a:pt x="700251" y="0"/>
                    <a:pt x="952756" y="0"/>
                  </a:cubicBezTo>
                  <a:close/>
                </a:path>
              </a:pathLst>
            </a:cu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ysClr val="windowText" lastClr="000000"/>
                </a:solidFill>
                <a:effectLst/>
                <a:uLnTx/>
                <a:uFillTx/>
                <a:latin typeface="Segoe UI"/>
                <a:ea typeface="+mn-ea"/>
                <a:cs typeface="+mn-cs"/>
              </a:endParaRPr>
            </a:p>
          </p:txBody>
        </p:sp>
        <p:sp>
          <p:nvSpPr>
            <p:cNvPr id="100" name="Rectangle 99"/>
            <p:cNvSpPr/>
            <p:nvPr/>
          </p:nvSpPr>
          <p:spPr>
            <a:xfrm>
              <a:off x="1600398" y="2677430"/>
              <a:ext cx="820353" cy="307777"/>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Segoe UI"/>
                  <a:ea typeface="Segoe UI" pitchFamily="34" charset="0"/>
                  <a:cs typeface="Segoe UI" pitchFamily="34" charset="0"/>
                </a:rPr>
                <a:t>Explore</a:t>
              </a:r>
              <a:endParaRPr kumimoji="0" lang="en-US" sz="1600" b="0" i="0" u="none" strike="noStrike" kern="1200" cap="none" spc="0" normalizeH="0" baseline="0" noProof="0">
                <a:ln>
                  <a:noFill/>
                </a:ln>
                <a:solidFill>
                  <a:prstClr val="black"/>
                </a:solidFill>
                <a:effectLst/>
                <a:uLnTx/>
                <a:uFillTx/>
                <a:latin typeface="Segoe UI"/>
                <a:ea typeface="+mn-ea"/>
                <a:cs typeface="+mn-cs"/>
              </a:endParaRPr>
            </a:p>
          </p:txBody>
        </p:sp>
        <p:sp>
          <p:nvSpPr>
            <p:cNvPr id="101" name="Rectangle 100"/>
            <p:cNvSpPr/>
            <p:nvPr/>
          </p:nvSpPr>
          <p:spPr>
            <a:xfrm>
              <a:off x="509174" y="1475232"/>
              <a:ext cx="838756" cy="307777"/>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Segoe UI"/>
                  <a:ea typeface="Segoe UI" pitchFamily="34" charset="0"/>
                  <a:cs typeface="Segoe UI" pitchFamily="34" charset="0"/>
                </a:rPr>
                <a:t>Prepare</a:t>
              </a:r>
              <a:endParaRPr kumimoji="0" lang="en-US" sz="1400" b="0" i="0" u="none" strike="noStrike" kern="1200" cap="none" spc="0" normalizeH="0" baseline="0" noProof="0">
                <a:ln>
                  <a:noFill/>
                </a:ln>
                <a:solidFill>
                  <a:prstClr val="black"/>
                </a:solidFill>
                <a:effectLst/>
                <a:uLnTx/>
                <a:uFillTx/>
                <a:latin typeface="Segoe UI"/>
                <a:ea typeface="+mn-ea"/>
                <a:cs typeface="+mn-cs"/>
              </a:endParaRPr>
            </a:p>
          </p:txBody>
        </p:sp>
        <p:sp>
          <p:nvSpPr>
            <p:cNvPr id="102" name="Freeform 101"/>
            <p:cNvSpPr>
              <a:spLocks noChangeAspect="1"/>
            </p:cNvSpPr>
            <p:nvPr/>
          </p:nvSpPr>
          <p:spPr bwMode="black">
            <a:xfrm>
              <a:off x="1836174" y="5643069"/>
              <a:ext cx="274320" cy="284173"/>
            </a:xfrm>
            <a:custGeom>
              <a:avLst/>
              <a:gdLst>
                <a:gd name="T0" fmla="*/ 539 w 669"/>
                <a:gd name="T1" fmla="*/ 5 h 693"/>
                <a:gd name="T2" fmla="*/ 640 w 669"/>
                <a:gd name="T3" fmla="*/ 55 h 693"/>
                <a:gd name="T4" fmla="*/ 603 w 669"/>
                <a:gd name="T5" fmla="*/ 195 h 693"/>
                <a:gd name="T6" fmla="*/ 490 w 669"/>
                <a:gd name="T7" fmla="*/ 188 h 693"/>
                <a:gd name="T8" fmla="*/ 479 w 669"/>
                <a:gd name="T9" fmla="*/ 176 h 693"/>
                <a:gd name="T10" fmla="*/ 213 w 669"/>
                <a:gd name="T11" fmla="*/ 330 h 693"/>
                <a:gd name="T12" fmla="*/ 218 w 669"/>
                <a:gd name="T13" fmla="*/ 345 h 693"/>
                <a:gd name="T14" fmla="*/ 218 w 669"/>
                <a:gd name="T15" fmla="*/ 375 h 693"/>
                <a:gd name="T16" fmla="*/ 209 w 669"/>
                <a:gd name="T17" fmla="*/ 402 h 693"/>
                <a:gd name="T18" fmla="*/ 369 w 669"/>
                <a:gd name="T19" fmla="*/ 503 h 693"/>
                <a:gd name="T20" fmla="*/ 373 w 669"/>
                <a:gd name="T21" fmla="*/ 498 h 693"/>
                <a:gd name="T22" fmla="*/ 456 w 669"/>
                <a:gd name="T23" fmla="*/ 475 h 693"/>
                <a:gd name="T24" fmla="*/ 494 w 669"/>
                <a:gd name="T25" fmla="*/ 489 h 693"/>
                <a:gd name="T26" fmla="*/ 527 w 669"/>
                <a:gd name="T27" fmla="*/ 630 h 693"/>
                <a:gd name="T28" fmla="*/ 386 w 669"/>
                <a:gd name="T29" fmla="*/ 663 h 693"/>
                <a:gd name="T30" fmla="*/ 339 w 669"/>
                <a:gd name="T31" fmla="*/ 560 h 693"/>
                <a:gd name="T32" fmla="*/ 345 w 669"/>
                <a:gd name="T33" fmla="*/ 544 h 693"/>
                <a:gd name="T34" fmla="*/ 177 w 669"/>
                <a:gd name="T35" fmla="*/ 439 h 693"/>
                <a:gd name="T36" fmla="*/ 168 w 669"/>
                <a:gd name="T37" fmla="*/ 446 h 693"/>
                <a:gd name="T38" fmla="*/ 28 w 669"/>
                <a:gd name="T39" fmla="*/ 409 h 693"/>
                <a:gd name="T40" fmla="*/ 65 w 669"/>
                <a:gd name="T41" fmla="*/ 269 h 693"/>
                <a:gd name="T42" fmla="*/ 178 w 669"/>
                <a:gd name="T43" fmla="*/ 276 h 693"/>
                <a:gd name="T44" fmla="*/ 189 w 669"/>
                <a:gd name="T45" fmla="*/ 288 h 693"/>
                <a:gd name="T46" fmla="*/ 455 w 669"/>
                <a:gd name="T47" fmla="*/ 134 h 693"/>
                <a:gd name="T48" fmla="*/ 450 w 669"/>
                <a:gd name="T49" fmla="*/ 119 h 693"/>
                <a:gd name="T50" fmla="*/ 501 w 669"/>
                <a:gd name="T51" fmla="*/ 18 h 693"/>
                <a:gd name="T52" fmla="*/ 539 w 669"/>
                <a:gd name="T53" fmla="*/ 5 h 6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69" h="693">
                  <a:moveTo>
                    <a:pt x="539" y="5"/>
                  </a:moveTo>
                  <a:cubicBezTo>
                    <a:pt x="579" y="0"/>
                    <a:pt x="619" y="19"/>
                    <a:pt x="640" y="55"/>
                  </a:cubicBezTo>
                  <a:cubicBezTo>
                    <a:pt x="669" y="104"/>
                    <a:pt x="652" y="167"/>
                    <a:pt x="603" y="195"/>
                  </a:cubicBezTo>
                  <a:cubicBezTo>
                    <a:pt x="566" y="216"/>
                    <a:pt x="522" y="212"/>
                    <a:pt x="490" y="188"/>
                  </a:cubicBezTo>
                  <a:cubicBezTo>
                    <a:pt x="479" y="176"/>
                    <a:pt x="479" y="176"/>
                    <a:pt x="479" y="176"/>
                  </a:cubicBezTo>
                  <a:cubicBezTo>
                    <a:pt x="213" y="330"/>
                    <a:pt x="213" y="330"/>
                    <a:pt x="213" y="330"/>
                  </a:cubicBezTo>
                  <a:cubicBezTo>
                    <a:pt x="218" y="345"/>
                    <a:pt x="218" y="345"/>
                    <a:pt x="218" y="345"/>
                  </a:cubicBezTo>
                  <a:cubicBezTo>
                    <a:pt x="219" y="355"/>
                    <a:pt x="219" y="365"/>
                    <a:pt x="218" y="375"/>
                  </a:cubicBezTo>
                  <a:cubicBezTo>
                    <a:pt x="209" y="402"/>
                    <a:pt x="209" y="402"/>
                    <a:pt x="209" y="402"/>
                  </a:cubicBezTo>
                  <a:cubicBezTo>
                    <a:pt x="369" y="503"/>
                    <a:pt x="369" y="503"/>
                    <a:pt x="369" y="503"/>
                  </a:cubicBezTo>
                  <a:cubicBezTo>
                    <a:pt x="373" y="498"/>
                    <a:pt x="373" y="498"/>
                    <a:pt x="373" y="498"/>
                  </a:cubicBezTo>
                  <a:cubicBezTo>
                    <a:pt x="396" y="479"/>
                    <a:pt x="427" y="470"/>
                    <a:pt x="456" y="475"/>
                  </a:cubicBezTo>
                  <a:cubicBezTo>
                    <a:pt x="470" y="477"/>
                    <a:pt x="482" y="482"/>
                    <a:pt x="494" y="489"/>
                  </a:cubicBezTo>
                  <a:cubicBezTo>
                    <a:pt x="542" y="519"/>
                    <a:pt x="557" y="583"/>
                    <a:pt x="527" y="630"/>
                  </a:cubicBezTo>
                  <a:cubicBezTo>
                    <a:pt x="497" y="678"/>
                    <a:pt x="433" y="693"/>
                    <a:pt x="386" y="663"/>
                  </a:cubicBezTo>
                  <a:cubicBezTo>
                    <a:pt x="350" y="640"/>
                    <a:pt x="333" y="599"/>
                    <a:pt x="339" y="560"/>
                  </a:cubicBezTo>
                  <a:cubicBezTo>
                    <a:pt x="345" y="544"/>
                    <a:pt x="345" y="544"/>
                    <a:pt x="345" y="544"/>
                  </a:cubicBezTo>
                  <a:cubicBezTo>
                    <a:pt x="177" y="439"/>
                    <a:pt x="177" y="439"/>
                    <a:pt x="177" y="439"/>
                  </a:cubicBezTo>
                  <a:cubicBezTo>
                    <a:pt x="168" y="446"/>
                    <a:pt x="168" y="446"/>
                    <a:pt x="168" y="446"/>
                  </a:cubicBezTo>
                  <a:cubicBezTo>
                    <a:pt x="119" y="475"/>
                    <a:pt x="56" y="458"/>
                    <a:pt x="28" y="409"/>
                  </a:cubicBezTo>
                  <a:cubicBezTo>
                    <a:pt x="0" y="360"/>
                    <a:pt x="16" y="297"/>
                    <a:pt x="65" y="269"/>
                  </a:cubicBezTo>
                  <a:cubicBezTo>
                    <a:pt x="102" y="248"/>
                    <a:pt x="147" y="252"/>
                    <a:pt x="178" y="276"/>
                  </a:cubicBezTo>
                  <a:cubicBezTo>
                    <a:pt x="189" y="288"/>
                    <a:pt x="189" y="288"/>
                    <a:pt x="189" y="288"/>
                  </a:cubicBezTo>
                  <a:cubicBezTo>
                    <a:pt x="455" y="134"/>
                    <a:pt x="455" y="134"/>
                    <a:pt x="455" y="134"/>
                  </a:cubicBezTo>
                  <a:cubicBezTo>
                    <a:pt x="450" y="119"/>
                    <a:pt x="450" y="119"/>
                    <a:pt x="450" y="119"/>
                  </a:cubicBezTo>
                  <a:cubicBezTo>
                    <a:pt x="445" y="80"/>
                    <a:pt x="464" y="39"/>
                    <a:pt x="501" y="18"/>
                  </a:cubicBezTo>
                  <a:cubicBezTo>
                    <a:pt x="513" y="11"/>
                    <a:pt x="526" y="6"/>
                    <a:pt x="539" y="5"/>
                  </a:cubicBezTo>
                  <a:close/>
                </a:path>
              </a:pathLst>
            </a:custGeom>
            <a:solidFill>
              <a:schemeClr val="tx1"/>
            </a:solidFill>
            <a:ln>
              <a:noFill/>
            </a:ln>
          </p:spPr>
          <p:txBody>
            <a:bodyPr vert="horz" wrap="square" lIns="68574" tIns="34287" rIns="68574" bIns="34287"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Segoe UI"/>
                <a:ea typeface="+mn-ea"/>
                <a:cs typeface="+mn-cs"/>
              </a:endParaRPr>
            </a:p>
          </p:txBody>
        </p:sp>
        <p:sp>
          <p:nvSpPr>
            <p:cNvPr id="103" name="Freeform 102"/>
            <p:cNvSpPr>
              <a:spLocks noChangeAspect="1" noEditPoints="1"/>
            </p:cNvSpPr>
            <p:nvPr/>
          </p:nvSpPr>
          <p:spPr bwMode="black">
            <a:xfrm>
              <a:off x="722320" y="1783009"/>
              <a:ext cx="452202" cy="366660"/>
            </a:xfrm>
            <a:custGeom>
              <a:avLst/>
              <a:gdLst>
                <a:gd name="T0" fmla="*/ 600 w 1107"/>
                <a:gd name="T1" fmla="*/ 625 h 897"/>
                <a:gd name="T2" fmla="*/ 649 w 1107"/>
                <a:gd name="T3" fmla="*/ 567 h 897"/>
                <a:gd name="T4" fmla="*/ 727 w 1107"/>
                <a:gd name="T5" fmla="*/ 482 h 897"/>
                <a:gd name="T6" fmla="*/ 601 w 1107"/>
                <a:gd name="T7" fmla="*/ 434 h 897"/>
                <a:gd name="T8" fmla="*/ 628 w 1107"/>
                <a:gd name="T9" fmla="*/ 305 h 897"/>
                <a:gd name="T10" fmla="*/ 547 w 1107"/>
                <a:gd name="T11" fmla="*/ 240 h 897"/>
                <a:gd name="T12" fmla="*/ 427 w 1107"/>
                <a:gd name="T13" fmla="*/ 287 h 897"/>
                <a:gd name="T14" fmla="*/ 368 w 1107"/>
                <a:gd name="T15" fmla="*/ 170 h 897"/>
                <a:gd name="T16" fmla="*/ 285 w 1107"/>
                <a:gd name="T17" fmla="*/ 263 h 897"/>
                <a:gd name="T18" fmla="*/ 241 w 1107"/>
                <a:gd name="T19" fmla="*/ 313 h 897"/>
                <a:gd name="T20" fmla="*/ 139 w 1107"/>
                <a:gd name="T21" fmla="*/ 281 h 897"/>
                <a:gd name="T22" fmla="*/ 79 w 1107"/>
                <a:gd name="T23" fmla="*/ 355 h 897"/>
                <a:gd name="T24" fmla="*/ 132 w 1107"/>
                <a:gd name="T25" fmla="*/ 446 h 897"/>
                <a:gd name="T26" fmla="*/ 83 w 1107"/>
                <a:gd name="T27" fmla="*/ 505 h 897"/>
                <a:gd name="T28" fmla="*/ 5 w 1107"/>
                <a:gd name="T29" fmla="*/ 590 h 897"/>
                <a:gd name="T30" fmla="*/ 132 w 1107"/>
                <a:gd name="T31" fmla="*/ 638 h 897"/>
                <a:gd name="T32" fmla="*/ 145 w 1107"/>
                <a:gd name="T33" fmla="*/ 669 h 897"/>
                <a:gd name="T34" fmla="*/ 110 w 1107"/>
                <a:gd name="T35" fmla="*/ 793 h 897"/>
                <a:gd name="T36" fmla="*/ 230 w 1107"/>
                <a:gd name="T37" fmla="*/ 781 h 897"/>
                <a:gd name="T38" fmla="*/ 306 w 1107"/>
                <a:gd name="T39" fmla="*/ 785 h 897"/>
                <a:gd name="T40" fmla="*/ 346 w 1107"/>
                <a:gd name="T41" fmla="*/ 878 h 897"/>
                <a:gd name="T42" fmla="*/ 440 w 1107"/>
                <a:gd name="T43" fmla="*/ 872 h 897"/>
                <a:gd name="T44" fmla="*/ 466 w 1107"/>
                <a:gd name="T45" fmla="*/ 764 h 897"/>
                <a:gd name="T46" fmla="*/ 539 w 1107"/>
                <a:gd name="T47" fmla="*/ 755 h 897"/>
                <a:gd name="T48" fmla="*/ 659 w 1107"/>
                <a:gd name="T49" fmla="*/ 743 h 897"/>
                <a:gd name="T50" fmla="*/ 263 w 1107"/>
                <a:gd name="T51" fmla="*/ 452 h 897"/>
                <a:gd name="T52" fmla="*/ 281 w 1107"/>
                <a:gd name="T53" fmla="*/ 633 h 897"/>
                <a:gd name="T54" fmla="*/ 1002 w 1107"/>
                <a:gd name="T55" fmla="*/ 332 h 897"/>
                <a:gd name="T56" fmla="*/ 1043 w 1107"/>
                <a:gd name="T57" fmla="*/ 304 h 897"/>
                <a:gd name="T58" fmla="*/ 1107 w 1107"/>
                <a:gd name="T59" fmla="*/ 266 h 897"/>
                <a:gd name="T60" fmla="*/ 1037 w 1107"/>
                <a:gd name="T61" fmla="*/ 213 h 897"/>
                <a:gd name="T62" fmla="*/ 1077 w 1107"/>
                <a:gd name="T63" fmla="*/ 138 h 897"/>
                <a:gd name="T64" fmla="*/ 1038 w 1107"/>
                <a:gd name="T65" fmla="*/ 83 h 897"/>
                <a:gd name="T66" fmla="*/ 956 w 1107"/>
                <a:gd name="T67" fmla="*/ 91 h 897"/>
                <a:gd name="T68" fmla="*/ 940 w 1107"/>
                <a:gd name="T69" fmla="*/ 7 h 897"/>
                <a:gd name="T70" fmla="*/ 872 w 1107"/>
                <a:gd name="T71" fmla="*/ 50 h 897"/>
                <a:gd name="T72" fmla="*/ 836 w 1107"/>
                <a:gd name="T73" fmla="*/ 74 h 897"/>
                <a:gd name="T74" fmla="*/ 778 w 1107"/>
                <a:gd name="T75" fmla="*/ 35 h 897"/>
                <a:gd name="T76" fmla="*/ 728 w 1107"/>
                <a:gd name="T77" fmla="*/ 70 h 897"/>
                <a:gd name="T78" fmla="*/ 744 w 1107"/>
                <a:gd name="T79" fmla="*/ 136 h 897"/>
                <a:gd name="T80" fmla="*/ 703 w 1107"/>
                <a:gd name="T81" fmla="*/ 164 h 897"/>
                <a:gd name="T82" fmla="*/ 640 w 1107"/>
                <a:gd name="T83" fmla="*/ 203 h 897"/>
                <a:gd name="T84" fmla="*/ 710 w 1107"/>
                <a:gd name="T85" fmla="*/ 255 h 897"/>
                <a:gd name="T86" fmla="*/ 712 w 1107"/>
                <a:gd name="T87" fmla="*/ 277 h 897"/>
                <a:gd name="T88" fmla="*/ 668 w 1107"/>
                <a:gd name="T89" fmla="*/ 347 h 897"/>
                <a:gd name="T90" fmla="*/ 745 w 1107"/>
                <a:gd name="T91" fmla="*/ 361 h 897"/>
                <a:gd name="T92" fmla="*/ 791 w 1107"/>
                <a:gd name="T93" fmla="*/ 377 h 897"/>
                <a:gd name="T94" fmla="*/ 799 w 1107"/>
                <a:gd name="T95" fmla="*/ 443 h 897"/>
                <a:gd name="T96" fmla="*/ 859 w 1107"/>
                <a:gd name="T97" fmla="*/ 456 h 897"/>
                <a:gd name="T98" fmla="*/ 894 w 1107"/>
                <a:gd name="T99" fmla="*/ 393 h 897"/>
                <a:gd name="T100" fmla="*/ 941 w 1107"/>
                <a:gd name="T101" fmla="*/ 401 h 897"/>
                <a:gd name="T102" fmla="*/ 1018 w 1107"/>
                <a:gd name="T103" fmla="*/ 415 h 897"/>
                <a:gd name="T104" fmla="*/ 825 w 1107"/>
                <a:gd name="T105" fmla="*/ 164 h 897"/>
                <a:gd name="T106" fmla="*/ 803 w 1107"/>
                <a:gd name="T107" fmla="*/ 279 h 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107" h="897">
                  <a:moveTo>
                    <a:pt x="654" y="716"/>
                  </a:moveTo>
                  <a:cubicBezTo>
                    <a:pt x="616" y="670"/>
                    <a:pt x="616" y="670"/>
                    <a:pt x="616" y="670"/>
                  </a:cubicBezTo>
                  <a:cubicBezTo>
                    <a:pt x="593" y="654"/>
                    <a:pt x="603" y="638"/>
                    <a:pt x="600" y="625"/>
                  </a:cubicBezTo>
                  <a:cubicBezTo>
                    <a:pt x="600" y="625"/>
                    <a:pt x="600" y="625"/>
                    <a:pt x="600" y="625"/>
                  </a:cubicBezTo>
                  <a:cubicBezTo>
                    <a:pt x="605" y="617"/>
                    <a:pt x="611" y="609"/>
                    <a:pt x="608" y="596"/>
                  </a:cubicBezTo>
                  <a:cubicBezTo>
                    <a:pt x="618" y="580"/>
                    <a:pt x="623" y="572"/>
                    <a:pt x="649" y="567"/>
                  </a:cubicBezTo>
                  <a:cubicBezTo>
                    <a:pt x="715" y="553"/>
                    <a:pt x="715" y="553"/>
                    <a:pt x="715" y="553"/>
                  </a:cubicBezTo>
                  <a:cubicBezTo>
                    <a:pt x="728" y="550"/>
                    <a:pt x="733" y="542"/>
                    <a:pt x="730" y="529"/>
                  </a:cubicBezTo>
                  <a:cubicBezTo>
                    <a:pt x="727" y="482"/>
                    <a:pt x="727" y="482"/>
                    <a:pt x="727" y="482"/>
                  </a:cubicBezTo>
                  <a:cubicBezTo>
                    <a:pt x="724" y="469"/>
                    <a:pt x="717" y="463"/>
                    <a:pt x="701" y="453"/>
                  </a:cubicBezTo>
                  <a:cubicBezTo>
                    <a:pt x="641" y="459"/>
                    <a:pt x="641" y="459"/>
                    <a:pt x="641" y="459"/>
                  </a:cubicBezTo>
                  <a:cubicBezTo>
                    <a:pt x="620" y="457"/>
                    <a:pt x="604" y="447"/>
                    <a:pt x="601" y="434"/>
                  </a:cubicBezTo>
                  <a:cubicBezTo>
                    <a:pt x="598" y="421"/>
                    <a:pt x="590" y="416"/>
                    <a:pt x="580" y="397"/>
                  </a:cubicBezTo>
                  <a:cubicBezTo>
                    <a:pt x="577" y="384"/>
                    <a:pt x="574" y="371"/>
                    <a:pt x="584" y="355"/>
                  </a:cubicBezTo>
                  <a:cubicBezTo>
                    <a:pt x="628" y="305"/>
                    <a:pt x="628" y="305"/>
                    <a:pt x="628" y="305"/>
                  </a:cubicBezTo>
                  <a:cubicBezTo>
                    <a:pt x="634" y="297"/>
                    <a:pt x="631" y="284"/>
                    <a:pt x="623" y="279"/>
                  </a:cubicBezTo>
                  <a:cubicBezTo>
                    <a:pt x="581" y="240"/>
                    <a:pt x="581" y="240"/>
                    <a:pt x="581" y="240"/>
                  </a:cubicBezTo>
                  <a:cubicBezTo>
                    <a:pt x="573" y="235"/>
                    <a:pt x="560" y="238"/>
                    <a:pt x="547" y="240"/>
                  </a:cubicBezTo>
                  <a:cubicBezTo>
                    <a:pt x="503" y="291"/>
                    <a:pt x="503" y="291"/>
                    <a:pt x="503" y="291"/>
                  </a:cubicBezTo>
                  <a:cubicBezTo>
                    <a:pt x="484" y="302"/>
                    <a:pt x="471" y="304"/>
                    <a:pt x="463" y="299"/>
                  </a:cubicBezTo>
                  <a:cubicBezTo>
                    <a:pt x="456" y="294"/>
                    <a:pt x="435" y="292"/>
                    <a:pt x="427" y="287"/>
                  </a:cubicBezTo>
                  <a:cubicBezTo>
                    <a:pt x="419" y="282"/>
                    <a:pt x="403" y="271"/>
                    <a:pt x="400" y="258"/>
                  </a:cubicBezTo>
                  <a:cubicBezTo>
                    <a:pt x="386" y="193"/>
                    <a:pt x="386" y="193"/>
                    <a:pt x="386" y="193"/>
                  </a:cubicBezTo>
                  <a:cubicBezTo>
                    <a:pt x="384" y="180"/>
                    <a:pt x="368" y="170"/>
                    <a:pt x="368" y="170"/>
                  </a:cubicBezTo>
                  <a:cubicBezTo>
                    <a:pt x="308" y="176"/>
                    <a:pt x="308" y="176"/>
                    <a:pt x="308" y="176"/>
                  </a:cubicBezTo>
                  <a:cubicBezTo>
                    <a:pt x="308" y="176"/>
                    <a:pt x="289" y="187"/>
                    <a:pt x="292" y="200"/>
                  </a:cubicBezTo>
                  <a:cubicBezTo>
                    <a:pt x="285" y="263"/>
                    <a:pt x="285" y="263"/>
                    <a:pt x="285" y="263"/>
                  </a:cubicBezTo>
                  <a:cubicBezTo>
                    <a:pt x="291" y="289"/>
                    <a:pt x="277" y="292"/>
                    <a:pt x="272" y="300"/>
                  </a:cubicBezTo>
                  <a:cubicBezTo>
                    <a:pt x="272" y="300"/>
                    <a:pt x="272" y="300"/>
                    <a:pt x="267" y="308"/>
                  </a:cubicBezTo>
                  <a:cubicBezTo>
                    <a:pt x="259" y="302"/>
                    <a:pt x="246" y="305"/>
                    <a:pt x="241" y="313"/>
                  </a:cubicBezTo>
                  <a:cubicBezTo>
                    <a:pt x="236" y="321"/>
                    <a:pt x="236" y="321"/>
                    <a:pt x="236" y="321"/>
                  </a:cubicBezTo>
                  <a:cubicBezTo>
                    <a:pt x="223" y="324"/>
                    <a:pt x="210" y="327"/>
                    <a:pt x="194" y="317"/>
                  </a:cubicBezTo>
                  <a:cubicBezTo>
                    <a:pt x="139" y="281"/>
                    <a:pt x="139" y="281"/>
                    <a:pt x="139" y="281"/>
                  </a:cubicBezTo>
                  <a:cubicBezTo>
                    <a:pt x="131" y="276"/>
                    <a:pt x="110" y="273"/>
                    <a:pt x="104" y="281"/>
                  </a:cubicBezTo>
                  <a:cubicBezTo>
                    <a:pt x="79" y="321"/>
                    <a:pt x="79" y="321"/>
                    <a:pt x="79" y="321"/>
                  </a:cubicBezTo>
                  <a:cubicBezTo>
                    <a:pt x="66" y="324"/>
                    <a:pt x="68" y="337"/>
                    <a:pt x="79" y="355"/>
                  </a:cubicBezTo>
                  <a:cubicBezTo>
                    <a:pt x="121" y="394"/>
                    <a:pt x="121" y="394"/>
                    <a:pt x="121" y="394"/>
                  </a:cubicBezTo>
                  <a:cubicBezTo>
                    <a:pt x="140" y="417"/>
                    <a:pt x="135" y="425"/>
                    <a:pt x="132" y="446"/>
                  </a:cubicBezTo>
                  <a:cubicBezTo>
                    <a:pt x="132" y="446"/>
                    <a:pt x="132" y="446"/>
                    <a:pt x="132" y="446"/>
                  </a:cubicBezTo>
                  <a:cubicBezTo>
                    <a:pt x="127" y="454"/>
                    <a:pt x="122" y="462"/>
                    <a:pt x="117" y="470"/>
                  </a:cubicBezTo>
                  <a:cubicBezTo>
                    <a:pt x="117" y="470"/>
                    <a:pt x="117" y="470"/>
                    <a:pt x="117" y="470"/>
                  </a:cubicBezTo>
                  <a:cubicBezTo>
                    <a:pt x="120" y="483"/>
                    <a:pt x="109" y="499"/>
                    <a:pt x="83" y="505"/>
                  </a:cubicBezTo>
                  <a:cubicBezTo>
                    <a:pt x="23" y="511"/>
                    <a:pt x="23" y="511"/>
                    <a:pt x="23" y="511"/>
                  </a:cubicBezTo>
                  <a:cubicBezTo>
                    <a:pt x="10" y="514"/>
                    <a:pt x="0" y="529"/>
                    <a:pt x="2" y="543"/>
                  </a:cubicBezTo>
                  <a:cubicBezTo>
                    <a:pt x="5" y="590"/>
                    <a:pt x="5" y="590"/>
                    <a:pt x="5" y="590"/>
                  </a:cubicBezTo>
                  <a:cubicBezTo>
                    <a:pt x="8" y="603"/>
                    <a:pt x="16" y="608"/>
                    <a:pt x="37" y="610"/>
                  </a:cubicBezTo>
                  <a:cubicBezTo>
                    <a:pt x="92" y="612"/>
                    <a:pt x="92" y="612"/>
                    <a:pt x="92" y="612"/>
                  </a:cubicBezTo>
                  <a:cubicBezTo>
                    <a:pt x="113" y="614"/>
                    <a:pt x="129" y="625"/>
                    <a:pt x="132" y="638"/>
                  </a:cubicBezTo>
                  <a:cubicBezTo>
                    <a:pt x="132" y="638"/>
                    <a:pt x="132" y="638"/>
                    <a:pt x="132" y="638"/>
                  </a:cubicBezTo>
                  <a:cubicBezTo>
                    <a:pt x="140" y="643"/>
                    <a:pt x="142" y="656"/>
                    <a:pt x="150" y="661"/>
                  </a:cubicBezTo>
                  <a:cubicBezTo>
                    <a:pt x="145" y="669"/>
                    <a:pt x="145" y="669"/>
                    <a:pt x="145" y="669"/>
                  </a:cubicBezTo>
                  <a:cubicBezTo>
                    <a:pt x="153" y="674"/>
                    <a:pt x="156" y="687"/>
                    <a:pt x="140" y="711"/>
                  </a:cubicBezTo>
                  <a:cubicBezTo>
                    <a:pt x="109" y="759"/>
                    <a:pt x="109" y="759"/>
                    <a:pt x="109" y="759"/>
                  </a:cubicBezTo>
                  <a:cubicBezTo>
                    <a:pt x="99" y="775"/>
                    <a:pt x="102" y="788"/>
                    <a:pt x="110" y="793"/>
                  </a:cubicBezTo>
                  <a:cubicBezTo>
                    <a:pt x="152" y="832"/>
                    <a:pt x="152" y="832"/>
                    <a:pt x="152" y="832"/>
                  </a:cubicBezTo>
                  <a:cubicBezTo>
                    <a:pt x="160" y="837"/>
                    <a:pt x="173" y="834"/>
                    <a:pt x="178" y="826"/>
                  </a:cubicBezTo>
                  <a:cubicBezTo>
                    <a:pt x="230" y="781"/>
                    <a:pt x="230" y="781"/>
                    <a:pt x="230" y="781"/>
                  </a:cubicBezTo>
                  <a:cubicBezTo>
                    <a:pt x="248" y="770"/>
                    <a:pt x="261" y="767"/>
                    <a:pt x="269" y="772"/>
                  </a:cubicBezTo>
                  <a:cubicBezTo>
                    <a:pt x="269" y="772"/>
                    <a:pt x="269" y="772"/>
                    <a:pt x="269" y="772"/>
                  </a:cubicBezTo>
                  <a:cubicBezTo>
                    <a:pt x="282" y="769"/>
                    <a:pt x="298" y="779"/>
                    <a:pt x="306" y="785"/>
                  </a:cubicBezTo>
                  <a:cubicBezTo>
                    <a:pt x="306" y="785"/>
                    <a:pt x="306" y="785"/>
                    <a:pt x="306" y="785"/>
                  </a:cubicBezTo>
                  <a:cubicBezTo>
                    <a:pt x="319" y="782"/>
                    <a:pt x="327" y="787"/>
                    <a:pt x="332" y="813"/>
                  </a:cubicBezTo>
                  <a:cubicBezTo>
                    <a:pt x="346" y="878"/>
                    <a:pt x="346" y="878"/>
                    <a:pt x="346" y="878"/>
                  </a:cubicBezTo>
                  <a:cubicBezTo>
                    <a:pt x="349" y="892"/>
                    <a:pt x="357" y="897"/>
                    <a:pt x="370" y="894"/>
                  </a:cubicBezTo>
                  <a:cubicBezTo>
                    <a:pt x="425" y="896"/>
                    <a:pt x="425" y="896"/>
                    <a:pt x="425" y="896"/>
                  </a:cubicBezTo>
                  <a:cubicBezTo>
                    <a:pt x="430" y="888"/>
                    <a:pt x="443" y="885"/>
                    <a:pt x="440" y="872"/>
                  </a:cubicBezTo>
                  <a:cubicBezTo>
                    <a:pt x="440" y="804"/>
                    <a:pt x="440" y="804"/>
                    <a:pt x="440" y="804"/>
                  </a:cubicBezTo>
                  <a:cubicBezTo>
                    <a:pt x="442" y="783"/>
                    <a:pt x="460" y="772"/>
                    <a:pt x="466" y="764"/>
                  </a:cubicBezTo>
                  <a:cubicBezTo>
                    <a:pt x="466" y="764"/>
                    <a:pt x="466" y="764"/>
                    <a:pt x="466" y="764"/>
                  </a:cubicBezTo>
                  <a:cubicBezTo>
                    <a:pt x="479" y="761"/>
                    <a:pt x="492" y="758"/>
                    <a:pt x="497" y="750"/>
                  </a:cubicBezTo>
                  <a:cubicBezTo>
                    <a:pt x="497" y="750"/>
                    <a:pt x="497" y="750"/>
                    <a:pt x="497" y="750"/>
                  </a:cubicBezTo>
                  <a:cubicBezTo>
                    <a:pt x="510" y="747"/>
                    <a:pt x="523" y="745"/>
                    <a:pt x="539" y="755"/>
                  </a:cubicBezTo>
                  <a:cubicBezTo>
                    <a:pt x="594" y="791"/>
                    <a:pt x="594" y="791"/>
                    <a:pt x="594" y="791"/>
                  </a:cubicBezTo>
                  <a:cubicBezTo>
                    <a:pt x="602" y="796"/>
                    <a:pt x="623" y="798"/>
                    <a:pt x="628" y="790"/>
                  </a:cubicBezTo>
                  <a:cubicBezTo>
                    <a:pt x="659" y="743"/>
                    <a:pt x="659" y="743"/>
                    <a:pt x="659" y="743"/>
                  </a:cubicBezTo>
                  <a:cubicBezTo>
                    <a:pt x="659" y="743"/>
                    <a:pt x="669" y="727"/>
                    <a:pt x="654" y="716"/>
                  </a:cubicBezTo>
                  <a:close/>
                  <a:moveTo>
                    <a:pt x="281" y="633"/>
                  </a:moveTo>
                  <a:cubicBezTo>
                    <a:pt x="223" y="584"/>
                    <a:pt x="219" y="502"/>
                    <a:pt x="263" y="452"/>
                  </a:cubicBezTo>
                  <a:cubicBezTo>
                    <a:pt x="313" y="393"/>
                    <a:pt x="399" y="382"/>
                    <a:pt x="457" y="431"/>
                  </a:cubicBezTo>
                  <a:cubicBezTo>
                    <a:pt x="507" y="475"/>
                    <a:pt x="518" y="561"/>
                    <a:pt x="469" y="619"/>
                  </a:cubicBezTo>
                  <a:cubicBezTo>
                    <a:pt x="420" y="678"/>
                    <a:pt x="339" y="682"/>
                    <a:pt x="281" y="633"/>
                  </a:cubicBezTo>
                  <a:close/>
                  <a:moveTo>
                    <a:pt x="1019" y="398"/>
                  </a:moveTo>
                  <a:cubicBezTo>
                    <a:pt x="1004" y="362"/>
                    <a:pt x="1004" y="362"/>
                    <a:pt x="1004" y="362"/>
                  </a:cubicBezTo>
                  <a:cubicBezTo>
                    <a:pt x="992" y="348"/>
                    <a:pt x="1002" y="340"/>
                    <a:pt x="1002" y="332"/>
                  </a:cubicBezTo>
                  <a:cubicBezTo>
                    <a:pt x="1002" y="332"/>
                    <a:pt x="1002" y="332"/>
                    <a:pt x="1002" y="332"/>
                  </a:cubicBezTo>
                  <a:cubicBezTo>
                    <a:pt x="1007" y="328"/>
                    <a:pt x="1011" y="324"/>
                    <a:pt x="1012" y="315"/>
                  </a:cubicBezTo>
                  <a:cubicBezTo>
                    <a:pt x="1021" y="307"/>
                    <a:pt x="1026" y="303"/>
                    <a:pt x="1043" y="304"/>
                  </a:cubicBezTo>
                  <a:cubicBezTo>
                    <a:pt x="1086" y="307"/>
                    <a:pt x="1086" y="307"/>
                    <a:pt x="1086" y="307"/>
                  </a:cubicBezTo>
                  <a:cubicBezTo>
                    <a:pt x="1095" y="308"/>
                    <a:pt x="1099" y="304"/>
                    <a:pt x="1100" y="295"/>
                  </a:cubicBezTo>
                  <a:cubicBezTo>
                    <a:pt x="1107" y="266"/>
                    <a:pt x="1107" y="266"/>
                    <a:pt x="1107" y="266"/>
                  </a:cubicBezTo>
                  <a:cubicBezTo>
                    <a:pt x="1107" y="257"/>
                    <a:pt x="1103" y="252"/>
                    <a:pt x="1095" y="243"/>
                  </a:cubicBezTo>
                  <a:cubicBezTo>
                    <a:pt x="1057" y="236"/>
                    <a:pt x="1057" y="236"/>
                    <a:pt x="1057" y="236"/>
                  </a:cubicBezTo>
                  <a:cubicBezTo>
                    <a:pt x="1044" y="231"/>
                    <a:pt x="1036" y="222"/>
                    <a:pt x="1037" y="213"/>
                  </a:cubicBezTo>
                  <a:cubicBezTo>
                    <a:pt x="1038" y="205"/>
                    <a:pt x="1034" y="200"/>
                    <a:pt x="1030" y="187"/>
                  </a:cubicBezTo>
                  <a:cubicBezTo>
                    <a:pt x="1031" y="178"/>
                    <a:pt x="1032" y="170"/>
                    <a:pt x="1041" y="162"/>
                  </a:cubicBezTo>
                  <a:cubicBezTo>
                    <a:pt x="1077" y="138"/>
                    <a:pt x="1077" y="138"/>
                    <a:pt x="1077" y="138"/>
                  </a:cubicBezTo>
                  <a:cubicBezTo>
                    <a:pt x="1082" y="134"/>
                    <a:pt x="1083" y="126"/>
                    <a:pt x="1079" y="121"/>
                  </a:cubicBezTo>
                  <a:cubicBezTo>
                    <a:pt x="1059" y="89"/>
                    <a:pt x="1059" y="89"/>
                    <a:pt x="1059" y="89"/>
                  </a:cubicBezTo>
                  <a:cubicBezTo>
                    <a:pt x="1055" y="85"/>
                    <a:pt x="1047" y="84"/>
                    <a:pt x="1038" y="83"/>
                  </a:cubicBezTo>
                  <a:cubicBezTo>
                    <a:pt x="1002" y="107"/>
                    <a:pt x="1002" y="107"/>
                    <a:pt x="1002" y="107"/>
                  </a:cubicBezTo>
                  <a:cubicBezTo>
                    <a:pt x="989" y="110"/>
                    <a:pt x="980" y="110"/>
                    <a:pt x="976" y="105"/>
                  </a:cubicBezTo>
                  <a:cubicBezTo>
                    <a:pt x="972" y="100"/>
                    <a:pt x="960" y="95"/>
                    <a:pt x="956" y="91"/>
                  </a:cubicBezTo>
                  <a:cubicBezTo>
                    <a:pt x="952" y="86"/>
                    <a:pt x="944" y="77"/>
                    <a:pt x="944" y="68"/>
                  </a:cubicBezTo>
                  <a:cubicBezTo>
                    <a:pt x="948" y="25"/>
                    <a:pt x="948" y="25"/>
                    <a:pt x="948" y="25"/>
                  </a:cubicBezTo>
                  <a:cubicBezTo>
                    <a:pt x="948" y="17"/>
                    <a:pt x="940" y="7"/>
                    <a:pt x="940" y="7"/>
                  </a:cubicBezTo>
                  <a:cubicBezTo>
                    <a:pt x="902" y="0"/>
                    <a:pt x="902" y="0"/>
                    <a:pt x="902" y="0"/>
                  </a:cubicBezTo>
                  <a:cubicBezTo>
                    <a:pt x="902" y="0"/>
                    <a:pt x="889" y="4"/>
                    <a:pt x="888" y="12"/>
                  </a:cubicBezTo>
                  <a:cubicBezTo>
                    <a:pt x="872" y="50"/>
                    <a:pt x="872" y="50"/>
                    <a:pt x="872" y="50"/>
                  </a:cubicBezTo>
                  <a:cubicBezTo>
                    <a:pt x="871" y="67"/>
                    <a:pt x="862" y="67"/>
                    <a:pt x="858" y="71"/>
                  </a:cubicBezTo>
                  <a:cubicBezTo>
                    <a:pt x="858" y="71"/>
                    <a:pt x="858" y="71"/>
                    <a:pt x="853" y="75"/>
                  </a:cubicBezTo>
                  <a:cubicBezTo>
                    <a:pt x="849" y="70"/>
                    <a:pt x="840" y="70"/>
                    <a:pt x="836" y="74"/>
                  </a:cubicBezTo>
                  <a:cubicBezTo>
                    <a:pt x="831" y="78"/>
                    <a:pt x="831" y="78"/>
                    <a:pt x="831" y="78"/>
                  </a:cubicBezTo>
                  <a:cubicBezTo>
                    <a:pt x="822" y="77"/>
                    <a:pt x="814" y="76"/>
                    <a:pt x="806" y="67"/>
                  </a:cubicBezTo>
                  <a:cubicBezTo>
                    <a:pt x="778" y="35"/>
                    <a:pt x="778" y="35"/>
                    <a:pt x="778" y="35"/>
                  </a:cubicBezTo>
                  <a:cubicBezTo>
                    <a:pt x="774" y="30"/>
                    <a:pt x="762" y="25"/>
                    <a:pt x="757" y="29"/>
                  </a:cubicBezTo>
                  <a:cubicBezTo>
                    <a:pt x="734" y="49"/>
                    <a:pt x="734" y="49"/>
                    <a:pt x="734" y="49"/>
                  </a:cubicBezTo>
                  <a:cubicBezTo>
                    <a:pt x="725" y="49"/>
                    <a:pt x="725" y="57"/>
                    <a:pt x="728" y="70"/>
                  </a:cubicBezTo>
                  <a:cubicBezTo>
                    <a:pt x="747" y="102"/>
                    <a:pt x="747" y="102"/>
                    <a:pt x="747" y="102"/>
                  </a:cubicBezTo>
                  <a:cubicBezTo>
                    <a:pt x="754" y="120"/>
                    <a:pt x="750" y="124"/>
                    <a:pt x="744" y="136"/>
                  </a:cubicBezTo>
                  <a:cubicBezTo>
                    <a:pt x="744" y="136"/>
                    <a:pt x="744" y="136"/>
                    <a:pt x="744" y="136"/>
                  </a:cubicBezTo>
                  <a:cubicBezTo>
                    <a:pt x="740" y="140"/>
                    <a:pt x="735" y="144"/>
                    <a:pt x="731" y="148"/>
                  </a:cubicBezTo>
                  <a:cubicBezTo>
                    <a:pt x="731" y="148"/>
                    <a:pt x="731" y="148"/>
                    <a:pt x="731" y="148"/>
                  </a:cubicBezTo>
                  <a:cubicBezTo>
                    <a:pt x="730" y="157"/>
                    <a:pt x="721" y="165"/>
                    <a:pt x="703" y="164"/>
                  </a:cubicBezTo>
                  <a:cubicBezTo>
                    <a:pt x="665" y="157"/>
                    <a:pt x="665" y="157"/>
                    <a:pt x="665" y="157"/>
                  </a:cubicBezTo>
                  <a:cubicBezTo>
                    <a:pt x="656" y="156"/>
                    <a:pt x="647" y="164"/>
                    <a:pt x="647" y="173"/>
                  </a:cubicBezTo>
                  <a:cubicBezTo>
                    <a:pt x="640" y="203"/>
                    <a:pt x="640" y="203"/>
                    <a:pt x="640" y="203"/>
                  </a:cubicBezTo>
                  <a:cubicBezTo>
                    <a:pt x="639" y="211"/>
                    <a:pt x="643" y="216"/>
                    <a:pt x="656" y="221"/>
                  </a:cubicBezTo>
                  <a:cubicBezTo>
                    <a:pt x="690" y="232"/>
                    <a:pt x="690" y="232"/>
                    <a:pt x="690" y="232"/>
                  </a:cubicBezTo>
                  <a:cubicBezTo>
                    <a:pt x="702" y="237"/>
                    <a:pt x="710" y="246"/>
                    <a:pt x="710" y="255"/>
                  </a:cubicBezTo>
                  <a:cubicBezTo>
                    <a:pt x="710" y="255"/>
                    <a:pt x="710" y="255"/>
                    <a:pt x="710" y="255"/>
                  </a:cubicBezTo>
                  <a:cubicBezTo>
                    <a:pt x="714" y="260"/>
                    <a:pt x="713" y="268"/>
                    <a:pt x="717" y="273"/>
                  </a:cubicBezTo>
                  <a:cubicBezTo>
                    <a:pt x="712" y="277"/>
                    <a:pt x="712" y="277"/>
                    <a:pt x="712" y="277"/>
                  </a:cubicBezTo>
                  <a:cubicBezTo>
                    <a:pt x="716" y="281"/>
                    <a:pt x="716" y="290"/>
                    <a:pt x="702" y="302"/>
                  </a:cubicBezTo>
                  <a:cubicBezTo>
                    <a:pt x="674" y="326"/>
                    <a:pt x="674" y="326"/>
                    <a:pt x="674" y="326"/>
                  </a:cubicBezTo>
                  <a:cubicBezTo>
                    <a:pt x="665" y="334"/>
                    <a:pt x="664" y="343"/>
                    <a:pt x="668" y="347"/>
                  </a:cubicBezTo>
                  <a:cubicBezTo>
                    <a:pt x="687" y="379"/>
                    <a:pt x="687" y="379"/>
                    <a:pt x="687" y="379"/>
                  </a:cubicBezTo>
                  <a:cubicBezTo>
                    <a:pt x="691" y="383"/>
                    <a:pt x="700" y="384"/>
                    <a:pt x="704" y="380"/>
                  </a:cubicBezTo>
                  <a:cubicBezTo>
                    <a:pt x="745" y="361"/>
                    <a:pt x="745" y="361"/>
                    <a:pt x="745" y="361"/>
                  </a:cubicBezTo>
                  <a:cubicBezTo>
                    <a:pt x="758" y="358"/>
                    <a:pt x="767" y="358"/>
                    <a:pt x="771" y="363"/>
                  </a:cubicBezTo>
                  <a:cubicBezTo>
                    <a:pt x="771" y="363"/>
                    <a:pt x="771" y="363"/>
                    <a:pt x="771" y="363"/>
                  </a:cubicBezTo>
                  <a:cubicBezTo>
                    <a:pt x="779" y="364"/>
                    <a:pt x="787" y="373"/>
                    <a:pt x="791" y="377"/>
                  </a:cubicBezTo>
                  <a:cubicBezTo>
                    <a:pt x="791" y="377"/>
                    <a:pt x="791" y="377"/>
                    <a:pt x="791" y="377"/>
                  </a:cubicBezTo>
                  <a:cubicBezTo>
                    <a:pt x="800" y="378"/>
                    <a:pt x="804" y="383"/>
                    <a:pt x="802" y="400"/>
                  </a:cubicBezTo>
                  <a:cubicBezTo>
                    <a:pt x="799" y="443"/>
                    <a:pt x="799" y="443"/>
                    <a:pt x="799" y="443"/>
                  </a:cubicBezTo>
                  <a:cubicBezTo>
                    <a:pt x="798" y="451"/>
                    <a:pt x="802" y="456"/>
                    <a:pt x="811" y="457"/>
                  </a:cubicBezTo>
                  <a:cubicBezTo>
                    <a:pt x="845" y="468"/>
                    <a:pt x="845" y="468"/>
                    <a:pt x="845" y="468"/>
                  </a:cubicBezTo>
                  <a:cubicBezTo>
                    <a:pt x="849" y="464"/>
                    <a:pt x="858" y="464"/>
                    <a:pt x="859" y="456"/>
                  </a:cubicBezTo>
                  <a:cubicBezTo>
                    <a:pt x="871" y="413"/>
                    <a:pt x="871" y="413"/>
                    <a:pt x="871" y="413"/>
                  </a:cubicBezTo>
                  <a:cubicBezTo>
                    <a:pt x="876" y="401"/>
                    <a:pt x="889" y="397"/>
                    <a:pt x="894" y="393"/>
                  </a:cubicBezTo>
                  <a:cubicBezTo>
                    <a:pt x="894" y="393"/>
                    <a:pt x="894" y="393"/>
                    <a:pt x="894" y="393"/>
                  </a:cubicBezTo>
                  <a:cubicBezTo>
                    <a:pt x="902" y="394"/>
                    <a:pt x="911" y="395"/>
                    <a:pt x="916" y="391"/>
                  </a:cubicBezTo>
                  <a:cubicBezTo>
                    <a:pt x="916" y="391"/>
                    <a:pt x="916" y="391"/>
                    <a:pt x="916" y="391"/>
                  </a:cubicBezTo>
                  <a:cubicBezTo>
                    <a:pt x="924" y="391"/>
                    <a:pt x="933" y="392"/>
                    <a:pt x="941" y="401"/>
                  </a:cubicBezTo>
                  <a:cubicBezTo>
                    <a:pt x="969" y="433"/>
                    <a:pt x="969" y="433"/>
                    <a:pt x="969" y="433"/>
                  </a:cubicBezTo>
                  <a:cubicBezTo>
                    <a:pt x="973" y="438"/>
                    <a:pt x="985" y="443"/>
                    <a:pt x="990" y="439"/>
                  </a:cubicBezTo>
                  <a:cubicBezTo>
                    <a:pt x="1018" y="415"/>
                    <a:pt x="1018" y="415"/>
                    <a:pt x="1018" y="415"/>
                  </a:cubicBezTo>
                  <a:cubicBezTo>
                    <a:pt x="1018" y="415"/>
                    <a:pt x="1027" y="407"/>
                    <a:pt x="1019" y="398"/>
                  </a:cubicBezTo>
                  <a:close/>
                  <a:moveTo>
                    <a:pt x="803" y="279"/>
                  </a:moveTo>
                  <a:cubicBezTo>
                    <a:pt x="776" y="238"/>
                    <a:pt x="788" y="187"/>
                    <a:pt x="825" y="164"/>
                  </a:cubicBezTo>
                  <a:cubicBezTo>
                    <a:pt x="866" y="136"/>
                    <a:pt x="921" y="144"/>
                    <a:pt x="948" y="185"/>
                  </a:cubicBezTo>
                  <a:cubicBezTo>
                    <a:pt x="972" y="221"/>
                    <a:pt x="963" y="277"/>
                    <a:pt x="922" y="304"/>
                  </a:cubicBezTo>
                  <a:cubicBezTo>
                    <a:pt x="881" y="332"/>
                    <a:pt x="830" y="320"/>
                    <a:pt x="803" y="279"/>
                  </a:cubicBezTo>
                  <a:close/>
                </a:path>
              </a:pathLst>
            </a:custGeom>
            <a:solidFill>
              <a:schemeClr val="tx1"/>
            </a:solidFill>
            <a:ln>
              <a:noFill/>
            </a:ln>
          </p:spPr>
          <p:txBody>
            <a:bodyPr vert="horz" wrap="square" lIns="68574" tIns="34287" rIns="68574" bIns="34287"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17346"/>
                </a:solidFill>
                <a:effectLst/>
                <a:uLnTx/>
                <a:uFillTx/>
                <a:latin typeface="Segoe UI"/>
                <a:ea typeface="+mn-ea"/>
                <a:cs typeface="+mn-cs"/>
              </a:endParaRPr>
            </a:p>
          </p:txBody>
        </p:sp>
        <p:sp>
          <p:nvSpPr>
            <p:cNvPr id="104" name="Freeform 103"/>
            <p:cNvSpPr>
              <a:spLocks noChangeAspect="1"/>
            </p:cNvSpPr>
            <p:nvPr/>
          </p:nvSpPr>
          <p:spPr bwMode="black">
            <a:xfrm>
              <a:off x="776985" y="4213905"/>
              <a:ext cx="342871" cy="335728"/>
            </a:xfrm>
            <a:custGeom>
              <a:avLst/>
              <a:gdLst>
                <a:gd name="connsiteX0" fmla="*/ 3713863 w 4893730"/>
                <a:gd name="connsiteY0" fmla="*/ 2130808 h 4791777"/>
                <a:gd name="connsiteX1" fmla="*/ 4426142 w 4893730"/>
                <a:gd name="connsiteY1" fmla="*/ 2130808 h 4791777"/>
                <a:gd name="connsiteX2" fmla="*/ 4598071 w 4893730"/>
                <a:gd name="connsiteY2" fmla="*/ 2301547 h 4791777"/>
                <a:gd name="connsiteX3" fmla="*/ 4598071 w 4893730"/>
                <a:gd name="connsiteY3" fmla="*/ 3886978 h 4791777"/>
                <a:gd name="connsiteX4" fmla="*/ 4426142 w 4893730"/>
                <a:gd name="connsiteY4" fmla="*/ 4057717 h 4791777"/>
                <a:gd name="connsiteX5" fmla="*/ 3713863 w 4893730"/>
                <a:gd name="connsiteY5" fmla="*/ 4057717 h 4791777"/>
                <a:gd name="connsiteX6" fmla="*/ 3517372 w 4893730"/>
                <a:gd name="connsiteY6" fmla="*/ 3886978 h 4791777"/>
                <a:gd name="connsiteX7" fmla="*/ 3517372 w 4893730"/>
                <a:gd name="connsiteY7" fmla="*/ 2301547 h 4791777"/>
                <a:gd name="connsiteX8" fmla="*/ 3713863 w 4893730"/>
                <a:gd name="connsiteY8" fmla="*/ 2130808 h 4791777"/>
                <a:gd name="connsiteX9" fmla="*/ 904368 w 4893730"/>
                <a:gd name="connsiteY9" fmla="*/ 1223432 h 4791777"/>
                <a:gd name="connsiteX10" fmla="*/ 1609930 w 4893730"/>
                <a:gd name="connsiteY10" fmla="*/ 1223432 h 4791777"/>
                <a:gd name="connsiteX11" fmla="*/ 1804567 w 4893730"/>
                <a:gd name="connsiteY11" fmla="*/ 1394467 h 4791777"/>
                <a:gd name="connsiteX12" fmla="*/ 1804567 w 4893730"/>
                <a:gd name="connsiteY12" fmla="*/ 3886683 h 4791777"/>
                <a:gd name="connsiteX13" fmla="*/ 1609930 w 4893730"/>
                <a:gd name="connsiteY13" fmla="*/ 4057717 h 4791777"/>
                <a:gd name="connsiteX14" fmla="*/ 904368 w 4893730"/>
                <a:gd name="connsiteY14" fmla="*/ 4057717 h 4791777"/>
                <a:gd name="connsiteX15" fmla="*/ 734060 w 4893730"/>
                <a:gd name="connsiteY15" fmla="*/ 3886683 h 4791777"/>
                <a:gd name="connsiteX16" fmla="*/ 734060 w 4893730"/>
                <a:gd name="connsiteY16" fmla="*/ 1394467 h 4791777"/>
                <a:gd name="connsiteX17" fmla="*/ 904368 w 4893730"/>
                <a:gd name="connsiteY17" fmla="*/ 1223432 h 4791777"/>
                <a:gd name="connsiteX18" fmla="*/ 2325453 w 4893730"/>
                <a:gd name="connsiteY18" fmla="*/ 316050 h 4791777"/>
                <a:gd name="connsiteX19" fmla="*/ 3031014 w 4893730"/>
                <a:gd name="connsiteY19" fmla="*/ 316050 h 4791777"/>
                <a:gd name="connsiteX20" fmla="*/ 3201322 w 4893730"/>
                <a:gd name="connsiteY20" fmla="*/ 487238 h 4791777"/>
                <a:gd name="connsiteX21" fmla="*/ 3201322 w 4893730"/>
                <a:gd name="connsiteY21" fmla="*/ 3886530 h 4791777"/>
                <a:gd name="connsiteX22" fmla="*/ 3031014 w 4893730"/>
                <a:gd name="connsiteY22" fmla="*/ 4057717 h 4791777"/>
                <a:gd name="connsiteX23" fmla="*/ 2325453 w 4893730"/>
                <a:gd name="connsiteY23" fmla="*/ 4057717 h 4791777"/>
                <a:gd name="connsiteX24" fmla="*/ 2130815 w 4893730"/>
                <a:gd name="connsiteY24" fmla="*/ 3886530 h 4791777"/>
                <a:gd name="connsiteX25" fmla="*/ 2130815 w 4893730"/>
                <a:gd name="connsiteY25" fmla="*/ 487238 h 4791777"/>
                <a:gd name="connsiteX26" fmla="*/ 2325453 w 4893730"/>
                <a:gd name="connsiteY26" fmla="*/ 316050 h 4791777"/>
                <a:gd name="connsiteX27" fmla="*/ 269155 w 4893730"/>
                <a:gd name="connsiteY27" fmla="*/ 0 h 4791777"/>
                <a:gd name="connsiteX28" fmla="*/ 538311 w 4893730"/>
                <a:gd name="connsiteY28" fmla="*/ 268927 h 4791777"/>
                <a:gd name="connsiteX29" fmla="*/ 538311 w 4893730"/>
                <a:gd name="connsiteY29" fmla="*/ 4253925 h 4791777"/>
                <a:gd name="connsiteX30" fmla="*/ 4624575 w 4893730"/>
                <a:gd name="connsiteY30" fmla="*/ 4253925 h 4791777"/>
                <a:gd name="connsiteX31" fmla="*/ 4893730 w 4893730"/>
                <a:gd name="connsiteY31" fmla="*/ 4522851 h 4791777"/>
                <a:gd name="connsiteX32" fmla="*/ 4624575 w 4893730"/>
                <a:gd name="connsiteY32" fmla="*/ 4791777 h 4791777"/>
                <a:gd name="connsiteX33" fmla="*/ 269155 w 4893730"/>
                <a:gd name="connsiteY33" fmla="*/ 4791777 h 4791777"/>
                <a:gd name="connsiteX34" fmla="*/ 0 w 4893730"/>
                <a:gd name="connsiteY34" fmla="*/ 4522851 h 4791777"/>
                <a:gd name="connsiteX35" fmla="*/ 0 w 4893730"/>
                <a:gd name="connsiteY35" fmla="*/ 268927 h 4791777"/>
                <a:gd name="connsiteX36" fmla="*/ 269155 w 4893730"/>
                <a:gd name="connsiteY36" fmla="*/ 0 h 4791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4893730" h="4791777">
                  <a:moveTo>
                    <a:pt x="3713863" y="2130808"/>
                  </a:moveTo>
                  <a:cubicBezTo>
                    <a:pt x="3713863" y="2130808"/>
                    <a:pt x="3713863" y="2130808"/>
                    <a:pt x="4426142" y="2130808"/>
                  </a:cubicBezTo>
                  <a:cubicBezTo>
                    <a:pt x="4524387" y="2130808"/>
                    <a:pt x="4598071" y="2203982"/>
                    <a:pt x="4598071" y="2301547"/>
                  </a:cubicBezTo>
                  <a:cubicBezTo>
                    <a:pt x="4598071" y="2301547"/>
                    <a:pt x="4598071" y="2301547"/>
                    <a:pt x="4598071" y="3886978"/>
                  </a:cubicBezTo>
                  <a:cubicBezTo>
                    <a:pt x="4598071" y="3984543"/>
                    <a:pt x="4524387" y="4057717"/>
                    <a:pt x="4426142" y="4057717"/>
                  </a:cubicBezTo>
                  <a:cubicBezTo>
                    <a:pt x="4426142" y="4057717"/>
                    <a:pt x="4426142" y="4057717"/>
                    <a:pt x="3713863" y="4057717"/>
                  </a:cubicBezTo>
                  <a:cubicBezTo>
                    <a:pt x="3615618" y="4057717"/>
                    <a:pt x="3517372" y="3984543"/>
                    <a:pt x="3517372" y="3886978"/>
                  </a:cubicBezTo>
                  <a:cubicBezTo>
                    <a:pt x="3517372" y="3886978"/>
                    <a:pt x="3517372" y="3886978"/>
                    <a:pt x="3517372" y="2301547"/>
                  </a:cubicBezTo>
                  <a:cubicBezTo>
                    <a:pt x="3517372" y="2203982"/>
                    <a:pt x="3615618" y="2130808"/>
                    <a:pt x="3713863" y="2130808"/>
                  </a:cubicBezTo>
                  <a:close/>
                  <a:moveTo>
                    <a:pt x="904368" y="1223432"/>
                  </a:moveTo>
                  <a:cubicBezTo>
                    <a:pt x="904368" y="1223432"/>
                    <a:pt x="904368" y="1223432"/>
                    <a:pt x="1609930" y="1223432"/>
                  </a:cubicBezTo>
                  <a:cubicBezTo>
                    <a:pt x="1731578" y="1223432"/>
                    <a:pt x="1804567" y="1296733"/>
                    <a:pt x="1804567" y="1394467"/>
                  </a:cubicBezTo>
                  <a:cubicBezTo>
                    <a:pt x="1804567" y="1394467"/>
                    <a:pt x="1804567" y="1394467"/>
                    <a:pt x="1804567" y="3886683"/>
                  </a:cubicBezTo>
                  <a:cubicBezTo>
                    <a:pt x="1804567" y="3984417"/>
                    <a:pt x="1731578" y="4057717"/>
                    <a:pt x="1609930" y="4057717"/>
                  </a:cubicBezTo>
                  <a:cubicBezTo>
                    <a:pt x="1609930" y="4057717"/>
                    <a:pt x="1609930" y="4057717"/>
                    <a:pt x="904368" y="4057717"/>
                  </a:cubicBezTo>
                  <a:cubicBezTo>
                    <a:pt x="807049" y="4057717"/>
                    <a:pt x="734060" y="3984417"/>
                    <a:pt x="734060" y="3886683"/>
                  </a:cubicBezTo>
                  <a:cubicBezTo>
                    <a:pt x="734060" y="3886683"/>
                    <a:pt x="734060" y="3886683"/>
                    <a:pt x="734060" y="1394467"/>
                  </a:cubicBezTo>
                  <a:cubicBezTo>
                    <a:pt x="734060" y="1296733"/>
                    <a:pt x="807049" y="1223432"/>
                    <a:pt x="904368" y="1223432"/>
                  </a:cubicBezTo>
                  <a:close/>
                  <a:moveTo>
                    <a:pt x="2325453" y="316050"/>
                  </a:moveTo>
                  <a:cubicBezTo>
                    <a:pt x="2325453" y="316050"/>
                    <a:pt x="2325453" y="316050"/>
                    <a:pt x="3031014" y="316050"/>
                  </a:cubicBezTo>
                  <a:cubicBezTo>
                    <a:pt x="3128333" y="316050"/>
                    <a:pt x="3201322" y="389416"/>
                    <a:pt x="3201322" y="487238"/>
                  </a:cubicBezTo>
                  <a:cubicBezTo>
                    <a:pt x="3201322" y="487238"/>
                    <a:pt x="3201322" y="487238"/>
                    <a:pt x="3201322" y="3886530"/>
                  </a:cubicBezTo>
                  <a:cubicBezTo>
                    <a:pt x="3201322" y="3984351"/>
                    <a:pt x="3128333" y="4057717"/>
                    <a:pt x="3031014" y="4057717"/>
                  </a:cubicBezTo>
                  <a:cubicBezTo>
                    <a:pt x="3031014" y="4057717"/>
                    <a:pt x="3031014" y="4057717"/>
                    <a:pt x="2325453" y="4057717"/>
                  </a:cubicBezTo>
                  <a:cubicBezTo>
                    <a:pt x="2203804" y="4057717"/>
                    <a:pt x="2130815" y="3984351"/>
                    <a:pt x="2130815" y="3886530"/>
                  </a:cubicBezTo>
                  <a:cubicBezTo>
                    <a:pt x="2130815" y="3886530"/>
                    <a:pt x="2130815" y="3886530"/>
                    <a:pt x="2130815" y="487238"/>
                  </a:cubicBezTo>
                  <a:cubicBezTo>
                    <a:pt x="2130815" y="389416"/>
                    <a:pt x="2203804" y="316050"/>
                    <a:pt x="2325453" y="316050"/>
                  </a:cubicBezTo>
                  <a:close/>
                  <a:moveTo>
                    <a:pt x="269155" y="0"/>
                  </a:moveTo>
                  <a:cubicBezTo>
                    <a:pt x="415967" y="0"/>
                    <a:pt x="538311" y="122239"/>
                    <a:pt x="538311" y="268927"/>
                  </a:cubicBezTo>
                  <a:cubicBezTo>
                    <a:pt x="538311" y="268927"/>
                    <a:pt x="538311" y="268927"/>
                    <a:pt x="538311" y="4253925"/>
                  </a:cubicBezTo>
                  <a:cubicBezTo>
                    <a:pt x="538311" y="4253925"/>
                    <a:pt x="538311" y="4253925"/>
                    <a:pt x="4624575" y="4253925"/>
                  </a:cubicBezTo>
                  <a:cubicBezTo>
                    <a:pt x="4771387" y="4253925"/>
                    <a:pt x="4893730" y="4376164"/>
                    <a:pt x="4893730" y="4522851"/>
                  </a:cubicBezTo>
                  <a:cubicBezTo>
                    <a:pt x="4893730" y="4669538"/>
                    <a:pt x="4771387" y="4791777"/>
                    <a:pt x="4624575" y="4791777"/>
                  </a:cubicBezTo>
                  <a:cubicBezTo>
                    <a:pt x="4624575" y="4791777"/>
                    <a:pt x="4624575" y="4791777"/>
                    <a:pt x="269155" y="4791777"/>
                  </a:cubicBezTo>
                  <a:cubicBezTo>
                    <a:pt x="122344" y="4791777"/>
                    <a:pt x="0" y="4669538"/>
                    <a:pt x="0" y="4522851"/>
                  </a:cubicBezTo>
                  <a:cubicBezTo>
                    <a:pt x="0" y="4522851"/>
                    <a:pt x="0" y="4522851"/>
                    <a:pt x="0" y="268927"/>
                  </a:cubicBezTo>
                  <a:cubicBezTo>
                    <a:pt x="0" y="122239"/>
                    <a:pt x="122344" y="0"/>
                    <a:pt x="269155"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37148" tIns="109719" rIns="137148" bIns="109719"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699261"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5" name="Rectangle 104"/>
            <p:cNvSpPr/>
            <p:nvPr/>
          </p:nvSpPr>
          <p:spPr bwMode="auto">
            <a:xfrm rot="2745734">
              <a:off x="886688" y="2210975"/>
              <a:ext cx="1598323" cy="1625795"/>
            </a:xfrm>
            <a:prstGeom prst="rect">
              <a:avLst/>
            </a:prstGeom>
            <a:solidFill>
              <a:schemeClr val="tx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6" name="Rectangle 105"/>
            <p:cNvSpPr/>
            <p:nvPr/>
          </p:nvSpPr>
          <p:spPr bwMode="auto">
            <a:xfrm rot="2745734">
              <a:off x="292433" y="3819160"/>
              <a:ext cx="1610349" cy="1235003"/>
            </a:xfrm>
            <a:prstGeom prst="rect">
              <a:avLst/>
            </a:prstGeom>
            <a:solidFill>
              <a:schemeClr val="tx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7" name="Rectangle 106"/>
            <p:cNvSpPr/>
            <p:nvPr/>
          </p:nvSpPr>
          <p:spPr bwMode="auto">
            <a:xfrm rot="2745734">
              <a:off x="1315610" y="4915701"/>
              <a:ext cx="1263370" cy="1255989"/>
            </a:xfrm>
            <a:prstGeom prst="rect">
              <a:avLst/>
            </a:prstGeom>
            <a:solidFill>
              <a:schemeClr val="tx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37" name="Title 10"/>
          <p:cNvSpPr txBox="1">
            <a:spLocks/>
          </p:cNvSpPr>
          <p:nvPr/>
        </p:nvSpPr>
        <p:spPr>
          <a:xfrm>
            <a:off x="2849060" y="0"/>
            <a:ext cx="9342940" cy="665151"/>
          </a:xfrm>
          <a:prstGeom prst="rect">
            <a:avLst/>
          </a:prstGeom>
          <a:noFill/>
        </p:spPr>
        <p:txBody>
          <a:bodyPr vert="horz" wrap="square" lIns="0" tIns="91440" rIns="0" bIns="91440" rtlCol="0" anchor="t">
            <a:noAutofit/>
          </a:bodyPr>
          <a:lstStyle>
            <a:lvl1pPr defTabSz="914367">
              <a:lnSpc>
                <a:spcPct val="90000"/>
              </a:lnSpc>
              <a:spcBef>
                <a:spcPct val="0"/>
              </a:spcBef>
              <a:buNone/>
              <a:defRPr lang="en-US" sz="5294" b="0" cap="none" spc="-100" baseline="0" dirty="0" smtClean="0">
                <a:ln w="3175">
                  <a:noFill/>
                </a:ln>
                <a:solidFill>
                  <a:schemeClr val="tx2"/>
                </a:solidFill>
                <a:effectLst/>
                <a:latin typeface="+mj-lt"/>
                <a:cs typeface="Segoe UI" pitchFamily="34" charset="0"/>
              </a:defRPr>
            </a:lvl1pPr>
          </a:lstStyle>
          <a:p>
            <a:pPr marL="168275" marR="0" lvl="0" indent="0" algn="l" defTabSz="914367" rtl="0" eaLnBrk="1" fontAlgn="auto" latinLnBrk="0" hangingPunct="1">
              <a:lnSpc>
                <a:spcPct val="90000"/>
              </a:lnSpc>
              <a:spcBef>
                <a:spcPct val="0"/>
              </a:spcBef>
              <a:spcAft>
                <a:spcPts val="0"/>
              </a:spcAft>
              <a:buClrTx/>
              <a:buSzTx/>
              <a:buFontTx/>
              <a:buNone/>
              <a:tabLst/>
              <a:defRPr/>
            </a:pPr>
            <a:r>
              <a:rPr kumimoji="0" lang="en-US" sz="3600" b="0" i="0" u="none" strike="noStrike" kern="1200" cap="none" spc="-100" normalizeH="0" baseline="0" noProof="0">
                <a:ln w="3175">
                  <a:noFill/>
                </a:ln>
                <a:solidFill>
                  <a:prstClr val="black"/>
                </a:solidFill>
                <a:effectLst/>
                <a:uLnTx/>
                <a:uFillTx/>
                <a:latin typeface="Segoe UI Light"/>
                <a:ea typeface="+mn-ea"/>
                <a:cs typeface="Segoe UI" pitchFamily="34" charset="0"/>
              </a:rPr>
              <a:t>Creating a Data Model</a:t>
            </a:r>
            <a:endParaRPr kumimoji="0" lang="en-IN" sz="3600" b="0" i="0" u="none" strike="noStrike" kern="1200" cap="none" spc="-100" normalizeH="0" baseline="0" noProof="0">
              <a:ln w="3175">
                <a:noFill/>
              </a:ln>
              <a:solidFill>
                <a:prstClr val="black"/>
              </a:solidFill>
              <a:effectLst/>
              <a:uLnTx/>
              <a:uFillTx/>
              <a:latin typeface="Segoe UI Light"/>
              <a:ea typeface="+mn-ea"/>
              <a:cs typeface="Segoe UI" pitchFamily="34" charset="0"/>
            </a:endParaRPr>
          </a:p>
        </p:txBody>
      </p:sp>
      <p:sp>
        <p:nvSpPr>
          <p:cNvPr id="40" name="TextBox 39"/>
          <p:cNvSpPr txBox="1"/>
          <p:nvPr/>
        </p:nvSpPr>
        <p:spPr>
          <a:xfrm>
            <a:off x="3" y="51415"/>
            <a:ext cx="2849058" cy="430887"/>
          </a:xfrm>
          <a:prstGeom prst="rect">
            <a:avLst/>
          </a:prstGeom>
        </p:spPr>
        <p:txBody>
          <a:bodyPr wrap="square">
            <a:spAutoFit/>
          </a:bodyPr>
          <a:lstStyle>
            <a:defPPr>
              <a:defRPr lang="en-US"/>
            </a:defPPr>
            <a:lvl1pPr defTabSz="914192">
              <a:defRPr sz="2800" b="1" spc="-100">
                <a:ln w="3175">
                  <a:noFill/>
                </a:ln>
                <a:solidFill>
                  <a:srgbClr val="F2C812"/>
                </a:solidFill>
                <a:latin typeface="Segoe UI" panose="020B0502040204020203" pitchFamily="34" charset="0"/>
                <a:ea typeface="ＭＳ Ｐゴシック" charset="0"/>
                <a:cs typeface="Segoe UI" panose="020B0502040204020203" pitchFamily="34" charset="0"/>
              </a:defRPr>
            </a:lvl1pPr>
          </a:lstStyle>
          <a:p>
            <a:pPr marL="0" marR="0" lvl="0" indent="0" algn="l" defTabSz="914192" rtl="0" eaLnBrk="1" fontAlgn="auto" latinLnBrk="0" hangingPunct="1">
              <a:lnSpc>
                <a:spcPct val="100000"/>
              </a:lnSpc>
              <a:spcBef>
                <a:spcPts val="0"/>
              </a:spcBef>
              <a:spcAft>
                <a:spcPts val="0"/>
              </a:spcAft>
              <a:buClrTx/>
              <a:buSzTx/>
              <a:buFontTx/>
              <a:buNone/>
              <a:tabLst/>
              <a:defRPr/>
            </a:pPr>
            <a:r>
              <a:rPr kumimoji="0" lang="en-US" sz="2200" b="1" i="0" u="none" strike="noStrike" kern="1200" cap="none" spc="-100" normalizeH="0" baseline="0" noProof="0">
                <a:ln w="3175">
                  <a:noFill/>
                </a:ln>
                <a:solidFill>
                  <a:srgbClr val="F2C812"/>
                </a:solidFill>
                <a:effectLst/>
                <a:uLnTx/>
                <a:uFillTx/>
                <a:latin typeface="Segoe UI Light"/>
                <a:ea typeface="ＭＳ Ｐゴシック" charset="0"/>
                <a:cs typeface="Segoe UI" panose="020B0502040204020203" pitchFamily="34" charset="0"/>
              </a:rPr>
              <a:t>Power BI Desktop</a:t>
            </a:r>
          </a:p>
        </p:txBody>
      </p:sp>
      <p:sp>
        <p:nvSpPr>
          <p:cNvPr id="36" name="Rectangle 3"/>
          <p:cNvSpPr/>
          <p:nvPr/>
        </p:nvSpPr>
        <p:spPr bwMode="auto">
          <a:xfrm>
            <a:off x="3202216" y="665151"/>
            <a:ext cx="8105312" cy="44435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PT" sz="2000" b="0" i="1" u="none" strike="noStrike" kern="1200" cap="none" spc="0" normalizeH="0" baseline="0" noProof="0">
                <a:ln>
                  <a:noFill/>
                </a:ln>
                <a:solidFill>
                  <a:prstClr val="black"/>
                </a:solidFill>
                <a:effectLst/>
                <a:uLnTx/>
                <a:uFillTx/>
                <a:latin typeface="Segoe UI Light"/>
                <a:ea typeface="+mn-ea"/>
                <a:cs typeface="+mn-cs"/>
              </a:rPr>
              <a:t>Relationships – Active and Inactive</a:t>
            </a:r>
            <a:endParaRPr kumimoji="0" lang="en-US" sz="2000" b="0" i="1" u="none" strike="noStrike" kern="1200" cap="none" spc="0" normalizeH="0" baseline="0" noProof="0">
              <a:ln>
                <a:noFill/>
              </a:ln>
              <a:solidFill>
                <a:prstClr val="black"/>
              </a:solidFill>
              <a:effectLst/>
              <a:uLnTx/>
              <a:uFillTx/>
              <a:latin typeface="Segoe UI Light"/>
              <a:ea typeface="+mn-ea"/>
              <a:cs typeface="+mn-cs"/>
            </a:endParaRPr>
          </a:p>
        </p:txBody>
      </p:sp>
      <p:sp>
        <p:nvSpPr>
          <p:cNvPr id="41" name="Text Placeholder 2"/>
          <p:cNvSpPr txBox="1">
            <a:spLocks/>
          </p:cNvSpPr>
          <p:nvPr/>
        </p:nvSpPr>
        <p:spPr>
          <a:xfrm>
            <a:off x="2862141" y="1252294"/>
            <a:ext cx="9090381" cy="5262077"/>
          </a:xfrm>
          <a:prstGeom prst="rect">
            <a:avLst/>
          </a:prstGeom>
        </p:spPr>
        <p:txBody>
          <a:bodyPr vert="horz" wrap="square" lIns="182880" tIns="146304" rIns="182880" bIns="146304" rtlCol="0">
            <a:noAutofit/>
          </a:bodyPr>
          <a:lstStyle>
            <a:lvl1pPr marL="182845" marR="0"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3921" kern="1200" spc="0" baseline="0">
                <a:gradFill>
                  <a:gsLst>
                    <a:gs pos="1250">
                      <a:schemeClr val="tx2"/>
                    </a:gs>
                    <a:gs pos="99000">
                      <a:schemeClr val="tx2"/>
                    </a:gs>
                  </a:gsLst>
                  <a:lin ang="5400000" scaled="0"/>
                </a:gradFill>
                <a:latin typeface="+mj-lt"/>
                <a:ea typeface="+mn-ea"/>
                <a:cs typeface="+mn-cs"/>
              </a:defRPr>
            </a:lvl1pPr>
            <a:lvl2pPr marL="365690" marR="0"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2400" kern="1200" spc="0" baseline="0">
                <a:solidFill>
                  <a:schemeClr val="tx2"/>
                </a:solidFill>
                <a:latin typeface="+mj-lt"/>
                <a:ea typeface="+mn-ea"/>
                <a:cs typeface="+mn-cs"/>
              </a:defRPr>
            </a:lvl2pPr>
            <a:lvl3pPr marL="548535" marR="0"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2000" kern="1200" spc="0" baseline="0">
                <a:solidFill>
                  <a:schemeClr val="tx2"/>
                </a:solidFill>
                <a:latin typeface="+mj-lt"/>
                <a:ea typeface="+mn-ea"/>
                <a:cs typeface="+mn-cs"/>
              </a:defRPr>
            </a:lvl3pPr>
            <a:lvl4pPr marL="733802" marR="0" indent="-28569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1765" kern="1200" spc="0" baseline="0">
                <a:solidFill>
                  <a:schemeClr val="tx2"/>
                </a:solidFill>
                <a:latin typeface="+mn-lt"/>
                <a:ea typeface="+mn-ea"/>
                <a:cs typeface="+mn-cs"/>
              </a:defRPr>
            </a:lvl4pPr>
            <a:lvl5pPr marL="957856" marR="0" indent="-28569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1765" kern="1200" spc="0" baseline="0">
                <a:solidFill>
                  <a:schemeClr val="tx2"/>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r>
              <a:rPr kumimoji="0" lang="pt-PT" sz="2400" b="0" i="0" u="none" strike="noStrike" kern="1200" cap="none" spc="0" normalizeH="0" baseline="0" noProof="0" dirty="0">
                <a:ln>
                  <a:noFill/>
                </a:ln>
                <a:solidFill>
                  <a:prstClr val="black"/>
                </a:solidFill>
                <a:effectLst/>
                <a:uLnTx/>
                <a:uFillTx/>
                <a:latin typeface="Segoe UI Light"/>
                <a:ea typeface="Calibri" panose="020F0502020204030204" pitchFamily="34" charset="0"/>
                <a:cs typeface="Times New Roman" panose="02020603050405020304" pitchFamily="18" charset="0"/>
              </a:rPr>
              <a:t>It is possible to </a:t>
            </a:r>
            <a:r>
              <a:rPr kumimoji="0" lang="pt-PT" sz="2400" b="1" i="0" u="none" strike="noStrike" kern="1200" cap="none" spc="0" normalizeH="0" baseline="0" noProof="0" dirty="0">
                <a:ln>
                  <a:noFill/>
                </a:ln>
                <a:solidFill>
                  <a:prstClr val="black"/>
                </a:solidFill>
                <a:effectLst/>
                <a:uLnTx/>
                <a:uFillTx/>
                <a:latin typeface="Segoe UI Light"/>
                <a:ea typeface="Calibri" panose="020F0502020204030204" pitchFamily="34" charset="0"/>
                <a:cs typeface="Times New Roman" panose="02020603050405020304" pitchFamily="18" charset="0"/>
              </a:rPr>
              <a:t>control what relationship is active </a:t>
            </a:r>
            <a:r>
              <a:rPr kumimoji="0" lang="pt-PT" sz="2400" b="0" i="0" u="none" strike="noStrike" kern="1200" cap="none" spc="0" normalizeH="0" baseline="0" noProof="0" dirty="0">
                <a:ln>
                  <a:noFill/>
                </a:ln>
                <a:solidFill>
                  <a:prstClr val="black"/>
                </a:solidFill>
                <a:effectLst/>
                <a:uLnTx/>
                <a:uFillTx/>
                <a:latin typeface="Segoe UI Light"/>
                <a:ea typeface="Calibri" panose="020F0502020204030204" pitchFamily="34" charset="0"/>
                <a:cs typeface="Times New Roman" panose="02020603050405020304" pitchFamily="18" charset="0"/>
              </a:rPr>
              <a:t>via the </a:t>
            </a:r>
            <a:r>
              <a:rPr kumimoji="0" lang="pt-PT" sz="2400" b="1" i="0" u="none" strike="noStrike" kern="1200" cap="none" spc="0" normalizeH="0" baseline="0" noProof="0" dirty="0">
                <a:ln>
                  <a:noFill/>
                </a:ln>
                <a:solidFill>
                  <a:prstClr val="black"/>
                </a:solidFill>
                <a:effectLst/>
                <a:uLnTx/>
                <a:uFillTx/>
                <a:latin typeface="Segoe UI Light"/>
                <a:ea typeface="Calibri" panose="020F0502020204030204" pitchFamily="34" charset="0"/>
                <a:cs typeface="Times New Roman" panose="02020603050405020304" pitchFamily="18" charset="0"/>
              </a:rPr>
              <a:t>Manage Relationships </a:t>
            </a:r>
            <a:r>
              <a:rPr kumimoji="0" lang="pt-PT" sz="2400" b="0" i="0" u="none" strike="noStrike" kern="1200" cap="none" spc="0" normalizeH="0" baseline="0" noProof="0" dirty="0">
                <a:ln>
                  <a:noFill/>
                </a:ln>
                <a:solidFill>
                  <a:prstClr val="black"/>
                </a:solidFill>
                <a:effectLst/>
                <a:uLnTx/>
                <a:uFillTx/>
                <a:latin typeface="Segoe UI Light"/>
                <a:ea typeface="Calibri" panose="020F0502020204030204" pitchFamily="34" charset="0"/>
                <a:cs typeface="Times New Roman" panose="02020603050405020304" pitchFamily="18" charset="0"/>
              </a:rPr>
              <a:t>window</a:t>
            </a: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pt-PT" sz="2400" b="0" i="0" u="none" strike="noStrike" kern="1200" cap="none" spc="0" normalizeH="0" baseline="0" noProof="0" dirty="0">
              <a:ln>
                <a:noFill/>
              </a:ln>
              <a:solidFill>
                <a:prstClr val="black"/>
              </a:solidFill>
              <a:effectLst/>
              <a:uLnTx/>
              <a:uFillTx/>
              <a:latin typeface="Segoe UI Light"/>
              <a:ea typeface="Calibri" panose="020F0502020204030204" pitchFamily="34" charset="0"/>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pt-PT" sz="2400" b="0" i="0" u="none" strike="noStrike" kern="1200" cap="none" spc="0" normalizeH="0" baseline="0" noProof="0" dirty="0">
              <a:ln>
                <a:noFill/>
              </a:ln>
              <a:solidFill>
                <a:prstClr val="black"/>
              </a:solidFill>
              <a:effectLst/>
              <a:uLnTx/>
              <a:uFillTx/>
              <a:latin typeface="Segoe UI Light"/>
              <a:ea typeface="Calibri" panose="020F0502020204030204" pitchFamily="34" charset="0"/>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pt-PT" sz="2400" b="0" i="0" u="none" strike="noStrike" kern="1200" cap="none" spc="0" normalizeH="0" baseline="0" noProof="0" dirty="0">
              <a:ln>
                <a:noFill/>
              </a:ln>
              <a:solidFill>
                <a:prstClr val="black"/>
              </a:solidFill>
              <a:effectLst/>
              <a:uLnTx/>
              <a:uFillTx/>
              <a:latin typeface="Segoe UI Light"/>
              <a:ea typeface="Calibri" panose="020F0502020204030204" pitchFamily="34" charset="0"/>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pt-PT" sz="2400" b="0" i="0" u="none" strike="noStrike" kern="1200" cap="none" spc="0" normalizeH="0" baseline="0" noProof="0" dirty="0">
              <a:ln>
                <a:noFill/>
              </a:ln>
              <a:solidFill>
                <a:prstClr val="black"/>
              </a:solidFill>
              <a:effectLst/>
              <a:uLnTx/>
              <a:uFillTx/>
              <a:latin typeface="Segoe UI Light"/>
              <a:ea typeface="Calibri" panose="020F0502020204030204" pitchFamily="34" charset="0"/>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pt-PT" sz="2400" b="0" i="0" u="none" strike="noStrike" kern="1200" cap="none" spc="0" normalizeH="0" baseline="0" noProof="0" dirty="0">
              <a:ln>
                <a:noFill/>
              </a:ln>
              <a:solidFill>
                <a:prstClr val="black"/>
              </a:solidFill>
              <a:effectLst/>
              <a:uLnTx/>
              <a:uFillTx/>
              <a:latin typeface="Segoe UI Light"/>
              <a:ea typeface="Calibri" panose="020F0502020204030204" pitchFamily="34" charset="0"/>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pt-PT" sz="2400" b="0" i="0" u="none" strike="noStrike" kern="1200" cap="none" spc="0" normalizeH="0" baseline="0" noProof="0" dirty="0">
              <a:ln>
                <a:noFill/>
              </a:ln>
              <a:solidFill>
                <a:prstClr val="black"/>
              </a:solidFill>
              <a:effectLst/>
              <a:uLnTx/>
              <a:uFillTx/>
              <a:latin typeface="Segoe UI Light"/>
              <a:ea typeface="Calibri" panose="020F0502020204030204" pitchFamily="34" charset="0"/>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pt-PT" sz="2400" b="0" i="0" u="none" strike="noStrike" kern="1200" cap="none" spc="0" normalizeH="0" baseline="0" noProof="0" dirty="0">
              <a:ln>
                <a:noFill/>
              </a:ln>
              <a:solidFill>
                <a:prstClr val="black"/>
              </a:solidFill>
              <a:effectLst/>
              <a:uLnTx/>
              <a:uFillTx/>
              <a:latin typeface="Segoe UI Light"/>
              <a:ea typeface="Calibri" panose="020F0502020204030204" pitchFamily="34" charset="0"/>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pt-PT" sz="2400" b="0" i="0" u="none" strike="noStrike" kern="1200" cap="none" spc="0" normalizeH="0" baseline="0" noProof="0" dirty="0">
              <a:ln>
                <a:noFill/>
              </a:ln>
              <a:solidFill>
                <a:prstClr val="black"/>
              </a:solidFill>
              <a:effectLst/>
              <a:uLnTx/>
              <a:uFillTx/>
              <a:latin typeface="Segoe UI Light"/>
              <a:ea typeface="Calibri" panose="020F0502020204030204" pitchFamily="34" charset="0"/>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pt-PT" sz="2400" b="0" i="0" u="none" strike="noStrike" kern="1200" cap="none" spc="0" normalizeH="0" baseline="0" noProof="0" dirty="0">
              <a:ln>
                <a:noFill/>
              </a:ln>
              <a:solidFill>
                <a:prstClr val="black"/>
              </a:solidFill>
              <a:effectLst/>
              <a:uLnTx/>
              <a:uFillTx/>
              <a:latin typeface="Segoe UI Light"/>
              <a:ea typeface="Calibri" panose="020F0502020204030204" pitchFamily="34" charset="0"/>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r>
              <a:rPr kumimoji="0" lang="pt-PT" sz="2400" b="0" i="0" u="none" strike="noStrike" kern="1200" cap="none" spc="0" normalizeH="0" baseline="0" noProof="0" dirty="0">
                <a:ln>
                  <a:noFill/>
                </a:ln>
                <a:solidFill>
                  <a:prstClr val="black"/>
                </a:solidFill>
                <a:effectLst/>
                <a:uLnTx/>
                <a:uFillTx/>
                <a:latin typeface="Segoe UI Light"/>
                <a:ea typeface="Calibri" panose="020F0502020204030204" pitchFamily="34" charset="0"/>
                <a:cs typeface="Times New Roman" panose="02020603050405020304" pitchFamily="18" charset="0"/>
              </a:rPr>
              <a:t>It is also possible to use </a:t>
            </a:r>
            <a:r>
              <a:rPr kumimoji="0" lang="pt-PT" sz="2400" b="1" i="0" u="none" strike="noStrike" kern="1200" cap="none" spc="0" normalizeH="0" baseline="0" noProof="0" dirty="0">
                <a:ln>
                  <a:noFill/>
                </a:ln>
                <a:solidFill>
                  <a:prstClr val="black"/>
                </a:solidFill>
                <a:effectLst/>
                <a:uLnTx/>
                <a:uFillTx/>
                <a:latin typeface="Segoe UI Light"/>
                <a:ea typeface="Calibri" panose="020F0502020204030204" pitchFamily="34" charset="0"/>
                <a:cs typeface="Times New Roman" panose="02020603050405020304" pitchFamily="18" charset="0"/>
              </a:rPr>
              <a:t>DAX to activate a relationship </a:t>
            </a:r>
            <a:r>
              <a:rPr kumimoji="0" lang="pt-PT" sz="2400" b="0" i="0" u="none" strike="noStrike" kern="1200" cap="none" spc="0" normalizeH="0" baseline="0" noProof="0" dirty="0">
                <a:ln>
                  <a:noFill/>
                </a:ln>
                <a:solidFill>
                  <a:prstClr val="black"/>
                </a:solidFill>
                <a:effectLst/>
                <a:uLnTx/>
                <a:uFillTx/>
                <a:latin typeface="Segoe UI Light"/>
                <a:ea typeface="Calibri" panose="020F0502020204030204" pitchFamily="34" charset="0"/>
                <a:cs typeface="Times New Roman" panose="02020603050405020304" pitchFamily="18" charset="0"/>
              </a:rPr>
              <a:t>in a calculation or </a:t>
            </a:r>
            <a:r>
              <a:rPr kumimoji="0" lang="pt-PT" sz="2400" b="1" i="0" u="none" strike="noStrike" kern="1200" cap="none" spc="0" normalizeH="0" baseline="0" noProof="0" dirty="0">
                <a:ln>
                  <a:noFill/>
                </a:ln>
                <a:solidFill>
                  <a:prstClr val="black"/>
                </a:solidFill>
                <a:effectLst/>
                <a:uLnTx/>
                <a:uFillTx/>
                <a:latin typeface="Segoe UI Light"/>
                <a:ea typeface="Calibri" panose="020F0502020204030204" pitchFamily="34" charset="0"/>
                <a:cs typeface="Times New Roman" panose="02020603050405020304" pitchFamily="18" charset="0"/>
              </a:rPr>
              <a:t>import the lookup table more than once</a:t>
            </a:r>
            <a:r>
              <a:rPr kumimoji="0" lang="pt-PT" sz="2400" b="0" i="0" u="none" strike="noStrike" kern="1200" cap="none" spc="0" normalizeH="0" baseline="0" noProof="0" dirty="0">
                <a:ln>
                  <a:noFill/>
                </a:ln>
                <a:solidFill>
                  <a:prstClr val="black"/>
                </a:solidFill>
                <a:effectLst/>
                <a:uLnTx/>
                <a:uFillTx/>
                <a:latin typeface="Segoe UI Light"/>
                <a:ea typeface="Calibri" panose="020F0502020204030204" pitchFamily="34" charset="0"/>
                <a:cs typeface="Times New Roman" panose="02020603050405020304" pitchFamily="18" charset="0"/>
              </a:rPr>
              <a:t>.</a:t>
            </a: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pt-PT" sz="2400" b="0" i="0" u="none" strike="noStrike" kern="1200" cap="none" spc="0" normalizeH="0" baseline="0" noProof="0" dirty="0">
              <a:ln>
                <a:noFill/>
              </a:ln>
              <a:solidFill>
                <a:prstClr val="black"/>
              </a:solidFill>
              <a:effectLst/>
              <a:uLnTx/>
              <a:uFillTx/>
              <a:latin typeface="Segoe UI Light"/>
              <a:ea typeface="Calibri" panose="020F0502020204030204" pitchFamily="34" charset="0"/>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pt-PT" sz="2400" b="0" i="0" u="none" strike="noStrike" kern="1200" cap="none" spc="0" normalizeH="0" baseline="0" noProof="0" dirty="0">
              <a:ln>
                <a:noFill/>
              </a:ln>
              <a:solidFill>
                <a:prstClr val="black"/>
              </a:solidFill>
              <a:effectLst/>
              <a:uLnTx/>
              <a:uFillTx/>
              <a:latin typeface="Segoe UI Light"/>
              <a:ea typeface="Calibri" panose="020F0502020204030204" pitchFamily="34" charset="0"/>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pt-PT" sz="2400" b="0" i="0" u="none" strike="noStrike" kern="1200" cap="none" spc="0" normalizeH="0" baseline="0" noProof="0" dirty="0">
              <a:ln>
                <a:noFill/>
              </a:ln>
              <a:solidFill>
                <a:prstClr val="black"/>
              </a:solidFill>
              <a:effectLst/>
              <a:uLnTx/>
              <a:uFillTx/>
              <a:latin typeface="Segoe UI Light"/>
              <a:ea typeface="Calibri" panose="020F0502020204030204" pitchFamily="34" charset="0"/>
              <a:cs typeface="Times New Roman" panose="02020603050405020304" pitchFamily="18" charset="0"/>
            </a:endParaRPr>
          </a:p>
        </p:txBody>
      </p:sp>
      <p:pic>
        <p:nvPicPr>
          <p:cNvPr id="3" name="Picture 2"/>
          <p:cNvPicPr>
            <a:picLocks noChangeAspect="1"/>
          </p:cNvPicPr>
          <p:nvPr/>
        </p:nvPicPr>
        <p:blipFill>
          <a:blip r:embed="rId3"/>
          <a:stretch>
            <a:fillRect/>
          </a:stretch>
        </p:blipFill>
        <p:spPr>
          <a:xfrm>
            <a:off x="5176859" y="2371920"/>
            <a:ext cx="4156026" cy="2957172"/>
          </a:xfrm>
          <a:prstGeom prst="rect">
            <a:avLst/>
          </a:prstGeom>
          <a:ln>
            <a:noFill/>
          </a:ln>
          <a:effectLst>
            <a:outerShdw blurRad="190500" algn="tl" rotWithShape="0">
              <a:srgbClr val="000000">
                <a:alpha val="70000"/>
              </a:srgbClr>
            </a:outerShdw>
          </a:effectLst>
        </p:spPr>
      </p:pic>
      <p:sp>
        <p:nvSpPr>
          <p:cNvPr id="38" name="Rectangle 37"/>
          <p:cNvSpPr/>
          <p:nvPr/>
        </p:nvSpPr>
        <p:spPr bwMode="auto">
          <a:xfrm>
            <a:off x="5410754" y="3202939"/>
            <a:ext cx="2707086" cy="270609"/>
          </a:xfrm>
          <a:prstGeom prst="rect">
            <a:avLst/>
          </a:prstGeom>
          <a:noFill/>
          <a:ln w="38100">
            <a:solidFill>
              <a:srgbClr val="FF00F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9" name="Rectangle 38"/>
          <p:cNvSpPr/>
          <p:nvPr/>
        </p:nvSpPr>
        <p:spPr bwMode="auto">
          <a:xfrm>
            <a:off x="5410754" y="4033959"/>
            <a:ext cx="2707086" cy="129582"/>
          </a:xfrm>
          <a:prstGeom prst="rect">
            <a:avLst/>
          </a:prstGeom>
          <a:noFill/>
          <a:ln w="38100">
            <a:solidFill>
              <a:srgbClr val="FF00F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27281645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38"/>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8" grpId="0" animBg="1"/>
      <p:bldP spid="39" grpId="0" animBg="1"/>
    </p:bld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3"/>
          <a:stretch>
            <a:fillRect/>
          </a:stretch>
        </p:blipFill>
        <p:spPr>
          <a:xfrm>
            <a:off x="3143169" y="2379900"/>
            <a:ext cx="8477250" cy="1438275"/>
          </a:xfrm>
          <a:prstGeom prst="rect">
            <a:avLst/>
          </a:prstGeom>
        </p:spPr>
      </p:pic>
      <p:grpSp>
        <p:nvGrpSpPr>
          <p:cNvPr id="4" name="Group 3"/>
          <p:cNvGrpSpPr/>
          <p:nvPr/>
        </p:nvGrpSpPr>
        <p:grpSpPr>
          <a:xfrm>
            <a:off x="-11149" y="0"/>
            <a:ext cx="2849058" cy="6858000"/>
            <a:chOff x="2" y="1"/>
            <a:chExt cx="2849058" cy="6858000"/>
          </a:xfrm>
        </p:grpSpPr>
        <p:sp>
          <p:nvSpPr>
            <p:cNvPr id="70" name="Rectangle 69"/>
            <p:cNvSpPr/>
            <p:nvPr/>
          </p:nvSpPr>
          <p:spPr bwMode="auto">
            <a:xfrm>
              <a:off x="2" y="1"/>
              <a:ext cx="2849058"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5" name="Oval 70"/>
            <p:cNvSpPr/>
            <p:nvPr/>
          </p:nvSpPr>
          <p:spPr>
            <a:xfrm>
              <a:off x="1413521" y="4951537"/>
              <a:ext cx="1119626" cy="1119626"/>
            </a:xfrm>
            <a:prstGeom prst="ellipse">
              <a:avLst/>
            </a:prstGeom>
            <a:solidFill>
              <a:srgbClr val="F2C812"/>
            </a:solidFill>
            <a:ln w="3175" cap="flat" cmpd="sng" algn="ctr">
              <a:noFill/>
              <a:prstDash val="solid"/>
            </a:ln>
            <a:effectLst/>
          </p:spPr>
          <p:txBody>
            <a:bodyPr vert="horz" wrap="none" lIns="0" tIns="45720" rIns="0" bIns="0" rtlCol="0" anchor="t"/>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Segoe UI"/>
                  <a:ea typeface="Segoe UI" pitchFamily="34" charset="0"/>
                  <a:cs typeface="Segoe UI" pitchFamily="34" charset="0"/>
                </a:rPr>
                <a:t>Share &amp;</a:t>
              </a:r>
            </a:p>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Segoe UI"/>
                  <a:ea typeface="Segoe UI" pitchFamily="34" charset="0"/>
                  <a:cs typeface="Segoe UI" pitchFamily="34" charset="0"/>
                </a:rPr>
                <a:t>collaborate </a:t>
              </a:r>
            </a:p>
          </p:txBody>
        </p:sp>
        <p:grpSp>
          <p:nvGrpSpPr>
            <p:cNvPr id="66" name="Group 38"/>
            <p:cNvGrpSpPr>
              <a:grpSpLocks noChangeAspect="1"/>
            </p:cNvGrpSpPr>
            <p:nvPr/>
          </p:nvGrpSpPr>
          <p:grpSpPr>
            <a:xfrm>
              <a:off x="676996" y="3930692"/>
              <a:ext cx="383905" cy="351536"/>
              <a:chOff x="4363684" y="5330386"/>
              <a:chExt cx="1409956" cy="1291077"/>
            </a:xfrm>
            <a:solidFill>
              <a:srgbClr val="217346"/>
            </a:solidFill>
          </p:grpSpPr>
          <p:sp>
            <p:nvSpPr>
              <p:cNvPr id="67" name="Donut 3"/>
              <p:cNvSpPr/>
              <p:nvPr/>
            </p:nvSpPr>
            <p:spPr bwMode="auto">
              <a:xfrm>
                <a:off x="4363684" y="5330386"/>
                <a:ext cx="1409956" cy="1291077"/>
              </a:xfrm>
              <a:custGeom>
                <a:avLst/>
                <a:gdLst/>
                <a:ahLst/>
                <a:cxnLst/>
                <a:rect l="l" t="t" r="r" b="b"/>
                <a:pathLst>
                  <a:path w="1409956" h="1291077">
                    <a:moveTo>
                      <a:pt x="956401" y="78410"/>
                    </a:moveTo>
                    <a:cubicBezTo>
                      <a:pt x="747518" y="78410"/>
                      <a:pt x="578184" y="247744"/>
                      <a:pt x="578184" y="456627"/>
                    </a:cubicBezTo>
                    <a:cubicBezTo>
                      <a:pt x="578184" y="665510"/>
                      <a:pt x="747518" y="834844"/>
                      <a:pt x="956401" y="834844"/>
                    </a:cubicBezTo>
                    <a:cubicBezTo>
                      <a:pt x="1165284" y="834844"/>
                      <a:pt x="1334618" y="665510"/>
                      <a:pt x="1334618" y="456627"/>
                    </a:cubicBezTo>
                    <a:cubicBezTo>
                      <a:pt x="1334618" y="247744"/>
                      <a:pt x="1165284" y="78410"/>
                      <a:pt x="956401" y="78410"/>
                    </a:cubicBezTo>
                    <a:close/>
                    <a:moveTo>
                      <a:pt x="952756" y="0"/>
                    </a:moveTo>
                    <a:cubicBezTo>
                      <a:pt x="1205261" y="0"/>
                      <a:pt x="1409956" y="204695"/>
                      <a:pt x="1409956" y="457200"/>
                    </a:cubicBezTo>
                    <a:cubicBezTo>
                      <a:pt x="1409956" y="709705"/>
                      <a:pt x="1205261" y="914400"/>
                      <a:pt x="952756" y="914400"/>
                    </a:cubicBezTo>
                    <a:cubicBezTo>
                      <a:pt x="862133" y="914400"/>
                      <a:pt x="777669" y="888034"/>
                      <a:pt x="707132" y="841746"/>
                    </a:cubicBezTo>
                    <a:lnTo>
                      <a:pt x="136495" y="1280102"/>
                    </a:lnTo>
                    <a:cubicBezTo>
                      <a:pt x="21896" y="1327168"/>
                      <a:pt x="-44029" y="1213730"/>
                      <a:pt x="33797" y="1113182"/>
                    </a:cubicBezTo>
                    <a:lnTo>
                      <a:pt x="568587" y="703518"/>
                    </a:lnTo>
                    <a:cubicBezTo>
                      <a:pt x="522087" y="632814"/>
                      <a:pt x="495556" y="548105"/>
                      <a:pt x="495556" y="457200"/>
                    </a:cubicBezTo>
                    <a:cubicBezTo>
                      <a:pt x="495556" y="204695"/>
                      <a:pt x="700251" y="0"/>
                      <a:pt x="952756" y="0"/>
                    </a:cubicBezTo>
                    <a:close/>
                  </a:path>
                </a:pathLst>
              </a:custGeom>
              <a:grpFill/>
              <a:ln>
                <a:solidFill>
                  <a:srgbClr val="21734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sp>
            <p:nvSpPr>
              <p:cNvPr id="68" name="Rectangle 4"/>
              <p:cNvSpPr/>
              <p:nvPr/>
            </p:nvSpPr>
            <p:spPr>
              <a:xfrm>
                <a:off x="5058389" y="5528247"/>
                <a:ext cx="490885" cy="490020"/>
              </a:xfrm>
              <a:custGeom>
                <a:avLst/>
                <a:gdLst/>
                <a:ahLst/>
                <a:cxnLst/>
                <a:rect l="l" t="t" r="r" b="b"/>
                <a:pathLst>
                  <a:path w="490885" h="490020">
                    <a:moveTo>
                      <a:pt x="240752" y="0"/>
                    </a:moveTo>
                    <a:cubicBezTo>
                      <a:pt x="253961" y="11844"/>
                      <a:pt x="293310" y="49692"/>
                      <a:pt x="337332" y="92439"/>
                    </a:cubicBezTo>
                    <a:lnTo>
                      <a:pt x="328342" y="81259"/>
                    </a:lnTo>
                    <a:cubicBezTo>
                      <a:pt x="356946" y="111282"/>
                      <a:pt x="377251" y="107167"/>
                      <a:pt x="382515" y="87941"/>
                    </a:cubicBezTo>
                    <a:cubicBezTo>
                      <a:pt x="383951" y="76921"/>
                      <a:pt x="384595" y="68732"/>
                      <a:pt x="396997" y="52239"/>
                    </a:cubicBezTo>
                    <a:cubicBezTo>
                      <a:pt x="420362" y="32084"/>
                      <a:pt x="442294" y="41736"/>
                      <a:pt x="454920" y="51330"/>
                    </a:cubicBezTo>
                    <a:cubicBezTo>
                      <a:pt x="467834" y="62761"/>
                      <a:pt x="477920" y="86882"/>
                      <a:pt x="460392" y="109714"/>
                    </a:cubicBezTo>
                    <a:cubicBezTo>
                      <a:pt x="451128" y="121912"/>
                      <a:pt x="437554" y="126838"/>
                      <a:pt x="425922" y="126505"/>
                    </a:cubicBezTo>
                    <a:cubicBezTo>
                      <a:pt x="424301" y="127609"/>
                      <a:pt x="382890" y="134974"/>
                      <a:pt x="427348" y="177672"/>
                    </a:cubicBezTo>
                    <a:lnTo>
                      <a:pt x="416886" y="169735"/>
                    </a:lnTo>
                    <a:cubicBezTo>
                      <a:pt x="450207" y="202177"/>
                      <a:pt x="478424" y="229744"/>
                      <a:pt x="490885" y="241900"/>
                    </a:cubicBezTo>
                    <a:lnTo>
                      <a:pt x="417150" y="317347"/>
                    </a:lnTo>
                    <a:cubicBezTo>
                      <a:pt x="417744" y="316535"/>
                      <a:pt x="418443" y="316123"/>
                      <a:pt x="419047" y="315822"/>
                    </a:cubicBezTo>
                    <a:cubicBezTo>
                      <a:pt x="389023" y="344426"/>
                      <a:pt x="393138" y="364731"/>
                      <a:pt x="412364" y="369995"/>
                    </a:cubicBezTo>
                    <a:cubicBezTo>
                      <a:pt x="423384" y="371431"/>
                      <a:pt x="431574" y="372075"/>
                      <a:pt x="448067" y="384477"/>
                    </a:cubicBezTo>
                    <a:cubicBezTo>
                      <a:pt x="468221" y="407842"/>
                      <a:pt x="458569" y="429774"/>
                      <a:pt x="448975" y="442400"/>
                    </a:cubicBezTo>
                    <a:cubicBezTo>
                      <a:pt x="437545" y="455314"/>
                      <a:pt x="413423" y="465400"/>
                      <a:pt x="390591" y="447872"/>
                    </a:cubicBezTo>
                    <a:cubicBezTo>
                      <a:pt x="378394" y="438608"/>
                      <a:pt x="373468" y="425034"/>
                      <a:pt x="373800" y="413402"/>
                    </a:cubicBezTo>
                    <a:cubicBezTo>
                      <a:pt x="372696" y="411781"/>
                      <a:pt x="365332" y="370370"/>
                      <a:pt x="322634" y="414828"/>
                    </a:cubicBezTo>
                    <a:lnTo>
                      <a:pt x="325243" y="411388"/>
                    </a:lnTo>
                    <a:lnTo>
                      <a:pt x="248395" y="490020"/>
                    </a:lnTo>
                    <a:cubicBezTo>
                      <a:pt x="208939" y="451897"/>
                      <a:pt x="199129" y="442073"/>
                      <a:pt x="174192" y="418236"/>
                    </a:cubicBezTo>
                    <a:cubicBezTo>
                      <a:pt x="145587" y="388212"/>
                      <a:pt x="125282" y="392327"/>
                      <a:pt x="120018" y="411553"/>
                    </a:cubicBezTo>
                    <a:cubicBezTo>
                      <a:pt x="118582" y="422573"/>
                      <a:pt x="117938" y="430763"/>
                      <a:pt x="105536" y="447256"/>
                    </a:cubicBezTo>
                    <a:cubicBezTo>
                      <a:pt x="82171" y="467410"/>
                      <a:pt x="60239" y="457758"/>
                      <a:pt x="47614" y="448164"/>
                    </a:cubicBezTo>
                    <a:cubicBezTo>
                      <a:pt x="34699" y="436734"/>
                      <a:pt x="24614" y="412612"/>
                      <a:pt x="42141" y="389780"/>
                    </a:cubicBezTo>
                    <a:cubicBezTo>
                      <a:pt x="51405" y="377583"/>
                      <a:pt x="64979" y="372657"/>
                      <a:pt x="76612" y="372989"/>
                    </a:cubicBezTo>
                    <a:cubicBezTo>
                      <a:pt x="78232" y="371886"/>
                      <a:pt x="119644" y="364521"/>
                      <a:pt x="75186" y="321823"/>
                    </a:cubicBezTo>
                    <a:cubicBezTo>
                      <a:pt x="58767" y="305402"/>
                      <a:pt x="23648" y="271235"/>
                      <a:pt x="0" y="248738"/>
                    </a:cubicBezTo>
                    <a:lnTo>
                      <a:pt x="77303" y="168146"/>
                    </a:lnTo>
                    <a:cubicBezTo>
                      <a:pt x="104269" y="140313"/>
                      <a:pt x="122130" y="156409"/>
                      <a:pt x="124388" y="175543"/>
                    </a:cubicBezTo>
                    <a:cubicBezTo>
                      <a:pt x="124457" y="182466"/>
                      <a:pt x="127106" y="193106"/>
                      <a:pt x="137575" y="203052"/>
                    </a:cubicBezTo>
                    <a:cubicBezTo>
                      <a:pt x="153931" y="220277"/>
                      <a:pt x="181252" y="217451"/>
                      <a:pt x="196721" y="201951"/>
                    </a:cubicBezTo>
                    <a:cubicBezTo>
                      <a:pt x="211961" y="185740"/>
                      <a:pt x="213057" y="157882"/>
                      <a:pt x="196146" y="142797"/>
                    </a:cubicBezTo>
                    <a:cubicBezTo>
                      <a:pt x="184301" y="132637"/>
                      <a:pt x="177155" y="131453"/>
                      <a:pt x="166513" y="129894"/>
                    </a:cubicBezTo>
                    <a:cubicBezTo>
                      <a:pt x="154522" y="129013"/>
                      <a:pt x="131185" y="112953"/>
                      <a:pt x="157905" y="85228"/>
                    </a:cubicBezTo>
                    <a:close/>
                  </a:path>
                </a:pathLst>
              </a:custGeom>
              <a:grpFill/>
              <a:ln>
                <a:solidFill>
                  <a:srgbClr val="21734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grpSp>
        <p:sp>
          <p:nvSpPr>
            <p:cNvPr id="69" name="Oval 47"/>
            <p:cNvSpPr/>
            <p:nvPr/>
          </p:nvSpPr>
          <p:spPr>
            <a:xfrm>
              <a:off x="388608" y="3710471"/>
              <a:ext cx="1119626" cy="1119626"/>
            </a:xfrm>
            <a:prstGeom prst="ellipse">
              <a:avLst/>
            </a:prstGeom>
            <a:solidFill>
              <a:srgbClr val="F2C812"/>
            </a:solidFill>
            <a:ln w="3175" cap="flat" cmpd="sng" algn="ctr">
              <a:noFill/>
              <a:prstDash val="solid"/>
            </a:ln>
            <a:effectLst/>
          </p:spPr>
          <p:txBody>
            <a:bodyPr vert="horz" wrap="none" lIns="0" tIns="45720" rIns="0" bIns="0" rtlCol="0" anchor="t"/>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Segoe UI"/>
                  <a:ea typeface="Segoe UI" pitchFamily="34" charset="0"/>
                  <a:cs typeface="Segoe UI" pitchFamily="34" charset="0"/>
                </a:rPr>
                <a:t>Report</a:t>
              </a:r>
            </a:p>
          </p:txBody>
        </p:sp>
        <p:sp>
          <p:nvSpPr>
            <p:cNvPr id="85" name="Oval 950"/>
            <p:cNvSpPr/>
            <p:nvPr/>
          </p:nvSpPr>
          <p:spPr>
            <a:xfrm>
              <a:off x="388608" y="1252295"/>
              <a:ext cx="1119626" cy="1119626"/>
            </a:xfrm>
            <a:prstGeom prst="ellipse">
              <a:avLst/>
            </a:prstGeom>
            <a:solidFill>
              <a:srgbClr val="F2C812"/>
            </a:solidFill>
            <a:ln w="3175" cap="flat" cmpd="sng" algn="ctr">
              <a:noFill/>
              <a:prstDash val="solid"/>
            </a:ln>
            <a:effectLst/>
          </p:spPr>
          <p:txBody>
            <a:bodyPr vert="horz" wrap="none" lIns="0" tIns="45720" rIns="0" bIns="0" rtlCol="0" anchor="t"/>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1" i="0" u="none" strike="noStrike" kern="1200" cap="none" spc="0" normalizeH="0" baseline="0" noProof="0">
                <a:ln>
                  <a:noFill/>
                </a:ln>
                <a:solidFill>
                  <a:srgbClr val="217346"/>
                </a:solidFill>
                <a:effectLst/>
                <a:uLnTx/>
                <a:uFillTx/>
                <a:latin typeface="Segoe UI"/>
                <a:ea typeface="Segoe UI" pitchFamily="34" charset="0"/>
                <a:cs typeface="Segoe UI" pitchFamily="34" charset="0"/>
              </a:endParaRPr>
            </a:p>
          </p:txBody>
        </p:sp>
        <p:grpSp>
          <p:nvGrpSpPr>
            <p:cNvPr id="86" name="Group 85"/>
            <p:cNvGrpSpPr/>
            <p:nvPr/>
          </p:nvGrpSpPr>
          <p:grpSpPr>
            <a:xfrm>
              <a:off x="1264851" y="3482890"/>
              <a:ext cx="292254" cy="354906"/>
              <a:chOff x="1296521" y="3253388"/>
              <a:chExt cx="292254" cy="354906"/>
            </a:xfrm>
            <a:solidFill>
              <a:srgbClr val="F2C812"/>
            </a:solidFill>
          </p:grpSpPr>
          <p:sp>
            <p:nvSpPr>
              <p:cNvPr id="87" name="Isosceles Triangle 86"/>
              <p:cNvSpPr/>
              <p:nvPr/>
            </p:nvSpPr>
            <p:spPr bwMode="auto">
              <a:xfrm rot="13636515">
                <a:off x="1461362" y="328936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8" name="Isosceles Triangle 87"/>
              <p:cNvSpPr/>
              <p:nvPr/>
            </p:nvSpPr>
            <p:spPr bwMode="auto">
              <a:xfrm rot="13636515">
                <a:off x="1357669" y="338258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9" name="Isosceles Triangle 88"/>
              <p:cNvSpPr/>
              <p:nvPr/>
            </p:nvSpPr>
            <p:spPr bwMode="auto">
              <a:xfrm rot="13636515">
                <a:off x="1260548" y="3480882"/>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90" name="Group 89"/>
            <p:cNvGrpSpPr/>
            <p:nvPr/>
          </p:nvGrpSpPr>
          <p:grpSpPr>
            <a:xfrm rot="15940603">
              <a:off x="1334576" y="2204404"/>
              <a:ext cx="292254" cy="354906"/>
              <a:chOff x="1296521" y="3253388"/>
              <a:chExt cx="292254" cy="354906"/>
            </a:xfrm>
            <a:solidFill>
              <a:srgbClr val="F2C812"/>
            </a:solidFill>
          </p:grpSpPr>
          <p:sp>
            <p:nvSpPr>
              <p:cNvPr id="91" name="Isosceles Triangle 90"/>
              <p:cNvSpPr/>
              <p:nvPr/>
            </p:nvSpPr>
            <p:spPr bwMode="auto">
              <a:xfrm rot="13636515">
                <a:off x="1461362" y="328936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2" name="Isosceles Triangle 91"/>
              <p:cNvSpPr/>
              <p:nvPr/>
            </p:nvSpPr>
            <p:spPr bwMode="auto">
              <a:xfrm rot="13636515">
                <a:off x="1357669" y="338258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3" name="Isosceles Triangle 92"/>
              <p:cNvSpPr/>
              <p:nvPr/>
            </p:nvSpPr>
            <p:spPr bwMode="auto">
              <a:xfrm rot="13636515">
                <a:off x="1260548" y="3480882"/>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94" name="Group 93"/>
            <p:cNvGrpSpPr/>
            <p:nvPr/>
          </p:nvGrpSpPr>
          <p:grpSpPr>
            <a:xfrm rot="16043978">
              <a:off x="1317220" y="4717577"/>
              <a:ext cx="292254" cy="354906"/>
              <a:chOff x="1296521" y="3253388"/>
              <a:chExt cx="292254" cy="354906"/>
            </a:xfrm>
            <a:solidFill>
              <a:srgbClr val="F2C812"/>
            </a:solidFill>
          </p:grpSpPr>
          <p:sp>
            <p:nvSpPr>
              <p:cNvPr id="95" name="Isosceles Triangle 94"/>
              <p:cNvSpPr/>
              <p:nvPr/>
            </p:nvSpPr>
            <p:spPr bwMode="auto">
              <a:xfrm rot="13636515">
                <a:off x="1461362" y="328936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6" name="Isosceles Triangle 95"/>
              <p:cNvSpPr/>
              <p:nvPr/>
            </p:nvSpPr>
            <p:spPr bwMode="auto">
              <a:xfrm rot="13636515">
                <a:off x="1357669" y="338258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7" name="Isosceles Triangle 96"/>
              <p:cNvSpPr/>
              <p:nvPr/>
            </p:nvSpPr>
            <p:spPr bwMode="auto">
              <a:xfrm rot="13636515">
                <a:off x="1260548" y="3480882"/>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98" name="Oval 36"/>
            <p:cNvSpPr/>
            <p:nvPr/>
          </p:nvSpPr>
          <p:spPr>
            <a:xfrm>
              <a:off x="1413521" y="2481383"/>
              <a:ext cx="1119626" cy="1119626"/>
            </a:xfrm>
            <a:prstGeom prst="ellipse">
              <a:avLst/>
            </a:prstGeom>
            <a:solidFill>
              <a:srgbClr val="F2C812"/>
            </a:solidFill>
            <a:ln w="3175" cap="flat" cmpd="sng" algn="ctr">
              <a:noFill/>
              <a:prstDash val="solid"/>
            </a:ln>
            <a:effectLst/>
          </p:spPr>
          <p:txBody>
            <a:bodyPr vert="horz" wrap="none" lIns="0" tIns="0" rIns="0" bIns="0" rtlCol="0" anchor="t"/>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400" b="1" i="0" u="none" strike="noStrike" kern="1200" cap="none" spc="0" normalizeH="0" baseline="0" noProof="0">
                <a:ln>
                  <a:noFill/>
                </a:ln>
                <a:solidFill>
                  <a:srgbClr val="217346"/>
                </a:solidFill>
                <a:effectLst/>
                <a:uLnTx/>
                <a:uFillTx/>
                <a:latin typeface="Segoe UI"/>
                <a:ea typeface="Segoe UI" pitchFamily="34" charset="0"/>
                <a:cs typeface="Segoe UI" pitchFamily="34" charset="0"/>
              </a:endParaRPr>
            </a:p>
          </p:txBody>
        </p:sp>
        <p:sp>
          <p:nvSpPr>
            <p:cNvPr id="99" name="Donut 3"/>
            <p:cNvSpPr/>
            <p:nvPr/>
          </p:nvSpPr>
          <p:spPr bwMode="auto">
            <a:xfrm>
              <a:off x="1742065" y="3002355"/>
              <a:ext cx="383905" cy="351537"/>
            </a:xfrm>
            <a:custGeom>
              <a:avLst/>
              <a:gdLst/>
              <a:ahLst/>
              <a:cxnLst/>
              <a:rect l="l" t="t" r="r" b="b"/>
              <a:pathLst>
                <a:path w="1409956" h="1291077">
                  <a:moveTo>
                    <a:pt x="956401" y="78410"/>
                  </a:moveTo>
                  <a:cubicBezTo>
                    <a:pt x="747518" y="78410"/>
                    <a:pt x="578184" y="247744"/>
                    <a:pt x="578184" y="456627"/>
                  </a:cubicBezTo>
                  <a:cubicBezTo>
                    <a:pt x="578184" y="665510"/>
                    <a:pt x="747518" y="834844"/>
                    <a:pt x="956401" y="834844"/>
                  </a:cubicBezTo>
                  <a:cubicBezTo>
                    <a:pt x="1165284" y="834844"/>
                    <a:pt x="1334618" y="665510"/>
                    <a:pt x="1334618" y="456627"/>
                  </a:cubicBezTo>
                  <a:cubicBezTo>
                    <a:pt x="1334618" y="247744"/>
                    <a:pt x="1165284" y="78410"/>
                    <a:pt x="956401" y="78410"/>
                  </a:cubicBezTo>
                  <a:close/>
                  <a:moveTo>
                    <a:pt x="952756" y="0"/>
                  </a:moveTo>
                  <a:cubicBezTo>
                    <a:pt x="1205261" y="0"/>
                    <a:pt x="1409956" y="204695"/>
                    <a:pt x="1409956" y="457200"/>
                  </a:cubicBezTo>
                  <a:cubicBezTo>
                    <a:pt x="1409956" y="709705"/>
                    <a:pt x="1205261" y="914400"/>
                    <a:pt x="952756" y="914400"/>
                  </a:cubicBezTo>
                  <a:cubicBezTo>
                    <a:pt x="862133" y="914400"/>
                    <a:pt x="777669" y="888034"/>
                    <a:pt x="707132" y="841746"/>
                  </a:cubicBezTo>
                  <a:lnTo>
                    <a:pt x="136495" y="1280102"/>
                  </a:lnTo>
                  <a:cubicBezTo>
                    <a:pt x="21896" y="1327168"/>
                    <a:pt x="-44029" y="1213730"/>
                    <a:pt x="33797" y="1113182"/>
                  </a:cubicBezTo>
                  <a:lnTo>
                    <a:pt x="568587" y="703518"/>
                  </a:lnTo>
                  <a:cubicBezTo>
                    <a:pt x="522087" y="632814"/>
                    <a:pt x="495556" y="548105"/>
                    <a:pt x="495556" y="457200"/>
                  </a:cubicBezTo>
                  <a:cubicBezTo>
                    <a:pt x="495556" y="204695"/>
                    <a:pt x="700251" y="0"/>
                    <a:pt x="952756" y="0"/>
                  </a:cubicBezTo>
                  <a:close/>
                </a:path>
              </a:pathLst>
            </a:cu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ysClr val="windowText" lastClr="000000"/>
                </a:solidFill>
                <a:effectLst/>
                <a:uLnTx/>
                <a:uFillTx/>
                <a:latin typeface="Segoe UI"/>
                <a:ea typeface="+mn-ea"/>
                <a:cs typeface="+mn-cs"/>
              </a:endParaRPr>
            </a:p>
          </p:txBody>
        </p:sp>
        <p:sp>
          <p:nvSpPr>
            <p:cNvPr id="100" name="Rectangle 99"/>
            <p:cNvSpPr/>
            <p:nvPr/>
          </p:nvSpPr>
          <p:spPr>
            <a:xfrm>
              <a:off x="1600398" y="2677430"/>
              <a:ext cx="820353" cy="307777"/>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Segoe UI"/>
                  <a:ea typeface="Segoe UI" pitchFamily="34" charset="0"/>
                  <a:cs typeface="Segoe UI" pitchFamily="34" charset="0"/>
                </a:rPr>
                <a:t>Explore</a:t>
              </a:r>
              <a:endParaRPr kumimoji="0" lang="en-US" sz="1600" b="0" i="0" u="none" strike="noStrike" kern="1200" cap="none" spc="0" normalizeH="0" baseline="0" noProof="0">
                <a:ln>
                  <a:noFill/>
                </a:ln>
                <a:solidFill>
                  <a:prstClr val="black"/>
                </a:solidFill>
                <a:effectLst/>
                <a:uLnTx/>
                <a:uFillTx/>
                <a:latin typeface="Segoe UI"/>
                <a:ea typeface="+mn-ea"/>
                <a:cs typeface="+mn-cs"/>
              </a:endParaRPr>
            </a:p>
          </p:txBody>
        </p:sp>
        <p:sp>
          <p:nvSpPr>
            <p:cNvPr id="101" name="Rectangle 100"/>
            <p:cNvSpPr/>
            <p:nvPr/>
          </p:nvSpPr>
          <p:spPr>
            <a:xfrm>
              <a:off x="509174" y="1475232"/>
              <a:ext cx="838756" cy="307777"/>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Segoe UI"/>
                  <a:ea typeface="Segoe UI" pitchFamily="34" charset="0"/>
                  <a:cs typeface="Segoe UI" pitchFamily="34" charset="0"/>
                </a:rPr>
                <a:t>Prepare</a:t>
              </a:r>
              <a:endParaRPr kumimoji="0" lang="en-US" sz="1400" b="0" i="0" u="none" strike="noStrike" kern="1200" cap="none" spc="0" normalizeH="0" baseline="0" noProof="0">
                <a:ln>
                  <a:noFill/>
                </a:ln>
                <a:solidFill>
                  <a:prstClr val="black"/>
                </a:solidFill>
                <a:effectLst/>
                <a:uLnTx/>
                <a:uFillTx/>
                <a:latin typeface="Segoe UI"/>
                <a:ea typeface="+mn-ea"/>
                <a:cs typeface="+mn-cs"/>
              </a:endParaRPr>
            </a:p>
          </p:txBody>
        </p:sp>
        <p:sp>
          <p:nvSpPr>
            <p:cNvPr id="102" name="Freeform 101"/>
            <p:cNvSpPr>
              <a:spLocks noChangeAspect="1"/>
            </p:cNvSpPr>
            <p:nvPr/>
          </p:nvSpPr>
          <p:spPr bwMode="black">
            <a:xfrm>
              <a:off x="1836174" y="5643069"/>
              <a:ext cx="274320" cy="284173"/>
            </a:xfrm>
            <a:custGeom>
              <a:avLst/>
              <a:gdLst>
                <a:gd name="T0" fmla="*/ 539 w 669"/>
                <a:gd name="T1" fmla="*/ 5 h 693"/>
                <a:gd name="T2" fmla="*/ 640 w 669"/>
                <a:gd name="T3" fmla="*/ 55 h 693"/>
                <a:gd name="T4" fmla="*/ 603 w 669"/>
                <a:gd name="T5" fmla="*/ 195 h 693"/>
                <a:gd name="T6" fmla="*/ 490 w 669"/>
                <a:gd name="T7" fmla="*/ 188 h 693"/>
                <a:gd name="T8" fmla="*/ 479 w 669"/>
                <a:gd name="T9" fmla="*/ 176 h 693"/>
                <a:gd name="T10" fmla="*/ 213 w 669"/>
                <a:gd name="T11" fmla="*/ 330 h 693"/>
                <a:gd name="T12" fmla="*/ 218 w 669"/>
                <a:gd name="T13" fmla="*/ 345 h 693"/>
                <a:gd name="T14" fmla="*/ 218 w 669"/>
                <a:gd name="T15" fmla="*/ 375 h 693"/>
                <a:gd name="T16" fmla="*/ 209 w 669"/>
                <a:gd name="T17" fmla="*/ 402 h 693"/>
                <a:gd name="T18" fmla="*/ 369 w 669"/>
                <a:gd name="T19" fmla="*/ 503 h 693"/>
                <a:gd name="T20" fmla="*/ 373 w 669"/>
                <a:gd name="T21" fmla="*/ 498 h 693"/>
                <a:gd name="T22" fmla="*/ 456 w 669"/>
                <a:gd name="T23" fmla="*/ 475 h 693"/>
                <a:gd name="T24" fmla="*/ 494 w 669"/>
                <a:gd name="T25" fmla="*/ 489 h 693"/>
                <a:gd name="T26" fmla="*/ 527 w 669"/>
                <a:gd name="T27" fmla="*/ 630 h 693"/>
                <a:gd name="T28" fmla="*/ 386 w 669"/>
                <a:gd name="T29" fmla="*/ 663 h 693"/>
                <a:gd name="T30" fmla="*/ 339 w 669"/>
                <a:gd name="T31" fmla="*/ 560 h 693"/>
                <a:gd name="T32" fmla="*/ 345 w 669"/>
                <a:gd name="T33" fmla="*/ 544 h 693"/>
                <a:gd name="T34" fmla="*/ 177 w 669"/>
                <a:gd name="T35" fmla="*/ 439 h 693"/>
                <a:gd name="T36" fmla="*/ 168 w 669"/>
                <a:gd name="T37" fmla="*/ 446 h 693"/>
                <a:gd name="T38" fmla="*/ 28 w 669"/>
                <a:gd name="T39" fmla="*/ 409 h 693"/>
                <a:gd name="T40" fmla="*/ 65 w 669"/>
                <a:gd name="T41" fmla="*/ 269 h 693"/>
                <a:gd name="T42" fmla="*/ 178 w 669"/>
                <a:gd name="T43" fmla="*/ 276 h 693"/>
                <a:gd name="T44" fmla="*/ 189 w 669"/>
                <a:gd name="T45" fmla="*/ 288 h 693"/>
                <a:gd name="T46" fmla="*/ 455 w 669"/>
                <a:gd name="T47" fmla="*/ 134 h 693"/>
                <a:gd name="T48" fmla="*/ 450 w 669"/>
                <a:gd name="T49" fmla="*/ 119 h 693"/>
                <a:gd name="T50" fmla="*/ 501 w 669"/>
                <a:gd name="T51" fmla="*/ 18 h 693"/>
                <a:gd name="T52" fmla="*/ 539 w 669"/>
                <a:gd name="T53" fmla="*/ 5 h 6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69" h="693">
                  <a:moveTo>
                    <a:pt x="539" y="5"/>
                  </a:moveTo>
                  <a:cubicBezTo>
                    <a:pt x="579" y="0"/>
                    <a:pt x="619" y="19"/>
                    <a:pt x="640" y="55"/>
                  </a:cubicBezTo>
                  <a:cubicBezTo>
                    <a:pt x="669" y="104"/>
                    <a:pt x="652" y="167"/>
                    <a:pt x="603" y="195"/>
                  </a:cubicBezTo>
                  <a:cubicBezTo>
                    <a:pt x="566" y="216"/>
                    <a:pt x="522" y="212"/>
                    <a:pt x="490" y="188"/>
                  </a:cubicBezTo>
                  <a:cubicBezTo>
                    <a:pt x="479" y="176"/>
                    <a:pt x="479" y="176"/>
                    <a:pt x="479" y="176"/>
                  </a:cubicBezTo>
                  <a:cubicBezTo>
                    <a:pt x="213" y="330"/>
                    <a:pt x="213" y="330"/>
                    <a:pt x="213" y="330"/>
                  </a:cubicBezTo>
                  <a:cubicBezTo>
                    <a:pt x="218" y="345"/>
                    <a:pt x="218" y="345"/>
                    <a:pt x="218" y="345"/>
                  </a:cubicBezTo>
                  <a:cubicBezTo>
                    <a:pt x="219" y="355"/>
                    <a:pt x="219" y="365"/>
                    <a:pt x="218" y="375"/>
                  </a:cubicBezTo>
                  <a:cubicBezTo>
                    <a:pt x="209" y="402"/>
                    <a:pt x="209" y="402"/>
                    <a:pt x="209" y="402"/>
                  </a:cubicBezTo>
                  <a:cubicBezTo>
                    <a:pt x="369" y="503"/>
                    <a:pt x="369" y="503"/>
                    <a:pt x="369" y="503"/>
                  </a:cubicBezTo>
                  <a:cubicBezTo>
                    <a:pt x="373" y="498"/>
                    <a:pt x="373" y="498"/>
                    <a:pt x="373" y="498"/>
                  </a:cubicBezTo>
                  <a:cubicBezTo>
                    <a:pt x="396" y="479"/>
                    <a:pt x="427" y="470"/>
                    <a:pt x="456" y="475"/>
                  </a:cubicBezTo>
                  <a:cubicBezTo>
                    <a:pt x="470" y="477"/>
                    <a:pt x="482" y="482"/>
                    <a:pt x="494" y="489"/>
                  </a:cubicBezTo>
                  <a:cubicBezTo>
                    <a:pt x="542" y="519"/>
                    <a:pt x="557" y="583"/>
                    <a:pt x="527" y="630"/>
                  </a:cubicBezTo>
                  <a:cubicBezTo>
                    <a:pt x="497" y="678"/>
                    <a:pt x="433" y="693"/>
                    <a:pt x="386" y="663"/>
                  </a:cubicBezTo>
                  <a:cubicBezTo>
                    <a:pt x="350" y="640"/>
                    <a:pt x="333" y="599"/>
                    <a:pt x="339" y="560"/>
                  </a:cubicBezTo>
                  <a:cubicBezTo>
                    <a:pt x="345" y="544"/>
                    <a:pt x="345" y="544"/>
                    <a:pt x="345" y="544"/>
                  </a:cubicBezTo>
                  <a:cubicBezTo>
                    <a:pt x="177" y="439"/>
                    <a:pt x="177" y="439"/>
                    <a:pt x="177" y="439"/>
                  </a:cubicBezTo>
                  <a:cubicBezTo>
                    <a:pt x="168" y="446"/>
                    <a:pt x="168" y="446"/>
                    <a:pt x="168" y="446"/>
                  </a:cubicBezTo>
                  <a:cubicBezTo>
                    <a:pt x="119" y="475"/>
                    <a:pt x="56" y="458"/>
                    <a:pt x="28" y="409"/>
                  </a:cubicBezTo>
                  <a:cubicBezTo>
                    <a:pt x="0" y="360"/>
                    <a:pt x="16" y="297"/>
                    <a:pt x="65" y="269"/>
                  </a:cubicBezTo>
                  <a:cubicBezTo>
                    <a:pt x="102" y="248"/>
                    <a:pt x="147" y="252"/>
                    <a:pt x="178" y="276"/>
                  </a:cubicBezTo>
                  <a:cubicBezTo>
                    <a:pt x="189" y="288"/>
                    <a:pt x="189" y="288"/>
                    <a:pt x="189" y="288"/>
                  </a:cubicBezTo>
                  <a:cubicBezTo>
                    <a:pt x="455" y="134"/>
                    <a:pt x="455" y="134"/>
                    <a:pt x="455" y="134"/>
                  </a:cubicBezTo>
                  <a:cubicBezTo>
                    <a:pt x="450" y="119"/>
                    <a:pt x="450" y="119"/>
                    <a:pt x="450" y="119"/>
                  </a:cubicBezTo>
                  <a:cubicBezTo>
                    <a:pt x="445" y="80"/>
                    <a:pt x="464" y="39"/>
                    <a:pt x="501" y="18"/>
                  </a:cubicBezTo>
                  <a:cubicBezTo>
                    <a:pt x="513" y="11"/>
                    <a:pt x="526" y="6"/>
                    <a:pt x="539" y="5"/>
                  </a:cubicBezTo>
                  <a:close/>
                </a:path>
              </a:pathLst>
            </a:custGeom>
            <a:solidFill>
              <a:schemeClr val="tx1"/>
            </a:solidFill>
            <a:ln>
              <a:noFill/>
            </a:ln>
          </p:spPr>
          <p:txBody>
            <a:bodyPr vert="horz" wrap="square" lIns="68574" tIns="34287" rIns="68574" bIns="34287"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Segoe UI"/>
                <a:ea typeface="+mn-ea"/>
                <a:cs typeface="+mn-cs"/>
              </a:endParaRPr>
            </a:p>
          </p:txBody>
        </p:sp>
        <p:sp>
          <p:nvSpPr>
            <p:cNvPr id="103" name="Freeform 102"/>
            <p:cNvSpPr>
              <a:spLocks noChangeAspect="1" noEditPoints="1"/>
            </p:cNvSpPr>
            <p:nvPr/>
          </p:nvSpPr>
          <p:spPr bwMode="black">
            <a:xfrm>
              <a:off x="722320" y="1783009"/>
              <a:ext cx="452202" cy="366660"/>
            </a:xfrm>
            <a:custGeom>
              <a:avLst/>
              <a:gdLst>
                <a:gd name="T0" fmla="*/ 600 w 1107"/>
                <a:gd name="T1" fmla="*/ 625 h 897"/>
                <a:gd name="T2" fmla="*/ 649 w 1107"/>
                <a:gd name="T3" fmla="*/ 567 h 897"/>
                <a:gd name="T4" fmla="*/ 727 w 1107"/>
                <a:gd name="T5" fmla="*/ 482 h 897"/>
                <a:gd name="T6" fmla="*/ 601 w 1107"/>
                <a:gd name="T7" fmla="*/ 434 h 897"/>
                <a:gd name="T8" fmla="*/ 628 w 1107"/>
                <a:gd name="T9" fmla="*/ 305 h 897"/>
                <a:gd name="T10" fmla="*/ 547 w 1107"/>
                <a:gd name="T11" fmla="*/ 240 h 897"/>
                <a:gd name="T12" fmla="*/ 427 w 1107"/>
                <a:gd name="T13" fmla="*/ 287 h 897"/>
                <a:gd name="T14" fmla="*/ 368 w 1107"/>
                <a:gd name="T15" fmla="*/ 170 h 897"/>
                <a:gd name="T16" fmla="*/ 285 w 1107"/>
                <a:gd name="T17" fmla="*/ 263 h 897"/>
                <a:gd name="T18" fmla="*/ 241 w 1107"/>
                <a:gd name="T19" fmla="*/ 313 h 897"/>
                <a:gd name="T20" fmla="*/ 139 w 1107"/>
                <a:gd name="T21" fmla="*/ 281 h 897"/>
                <a:gd name="T22" fmla="*/ 79 w 1107"/>
                <a:gd name="T23" fmla="*/ 355 h 897"/>
                <a:gd name="T24" fmla="*/ 132 w 1107"/>
                <a:gd name="T25" fmla="*/ 446 h 897"/>
                <a:gd name="T26" fmla="*/ 83 w 1107"/>
                <a:gd name="T27" fmla="*/ 505 h 897"/>
                <a:gd name="T28" fmla="*/ 5 w 1107"/>
                <a:gd name="T29" fmla="*/ 590 h 897"/>
                <a:gd name="T30" fmla="*/ 132 w 1107"/>
                <a:gd name="T31" fmla="*/ 638 h 897"/>
                <a:gd name="T32" fmla="*/ 145 w 1107"/>
                <a:gd name="T33" fmla="*/ 669 h 897"/>
                <a:gd name="T34" fmla="*/ 110 w 1107"/>
                <a:gd name="T35" fmla="*/ 793 h 897"/>
                <a:gd name="T36" fmla="*/ 230 w 1107"/>
                <a:gd name="T37" fmla="*/ 781 h 897"/>
                <a:gd name="T38" fmla="*/ 306 w 1107"/>
                <a:gd name="T39" fmla="*/ 785 h 897"/>
                <a:gd name="T40" fmla="*/ 346 w 1107"/>
                <a:gd name="T41" fmla="*/ 878 h 897"/>
                <a:gd name="T42" fmla="*/ 440 w 1107"/>
                <a:gd name="T43" fmla="*/ 872 h 897"/>
                <a:gd name="T44" fmla="*/ 466 w 1107"/>
                <a:gd name="T45" fmla="*/ 764 h 897"/>
                <a:gd name="T46" fmla="*/ 539 w 1107"/>
                <a:gd name="T47" fmla="*/ 755 h 897"/>
                <a:gd name="T48" fmla="*/ 659 w 1107"/>
                <a:gd name="T49" fmla="*/ 743 h 897"/>
                <a:gd name="T50" fmla="*/ 263 w 1107"/>
                <a:gd name="T51" fmla="*/ 452 h 897"/>
                <a:gd name="T52" fmla="*/ 281 w 1107"/>
                <a:gd name="T53" fmla="*/ 633 h 897"/>
                <a:gd name="T54" fmla="*/ 1002 w 1107"/>
                <a:gd name="T55" fmla="*/ 332 h 897"/>
                <a:gd name="T56" fmla="*/ 1043 w 1107"/>
                <a:gd name="T57" fmla="*/ 304 h 897"/>
                <a:gd name="T58" fmla="*/ 1107 w 1107"/>
                <a:gd name="T59" fmla="*/ 266 h 897"/>
                <a:gd name="T60" fmla="*/ 1037 w 1107"/>
                <a:gd name="T61" fmla="*/ 213 h 897"/>
                <a:gd name="T62" fmla="*/ 1077 w 1107"/>
                <a:gd name="T63" fmla="*/ 138 h 897"/>
                <a:gd name="T64" fmla="*/ 1038 w 1107"/>
                <a:gd name="T65" fmla="*/ 83 h 897"/>
                <a:gd name="T66" fmla="*/ 956 w 1107"/>
                <a:gd name="T67" fmla="*/ 91 h 897"/>
                <a:gd name="T68" fmla="*/ 940 w 1107"/>
                <a:gd name="T69" fmla="*/ 7 h 897"/>
                <a:gd name="T70" fmla="*/ 872 w 1107"/>
                <a:gd name="T71" fmla="*/ 50 h 897"/>
                <a:gd name="T72" fmla="*/ 836 w 1107"/>
                <a:gd name="T73" fmla="*/ 74 h 897"/>
                <a:gd name="T74" fmla="*/ 778 w 1107"/>
                <a:gd name="T75" fmla="*/ 35 h 897"/>
                <a:gd name="T76" fmla="*/ 728 w 1107"/>
                <a:gd name="T77" fmla="*/ 70 h 897"/>
                <a:gd name="T78" fmla="*/ 744 w 1107"/>
                <a:gd name="T79" fmla="*/ 136 h 897"/>
                <a:gd name="T80" fmla="*/ 703 w 1107"/>
                <a:gd name="T81" fmla="*/ 164 h 897"/>
                <a:gd name="T82" fmla="*/ 640 w 1107"/>
                <a:gd name="T83" fmla="*/ 203 h 897"/>
                <a:gd name="T84" fmla="*/ 710 w 1107"/>
                <a:gd name="T85" fmla="*/ 255 h 897"/>
                <a:gd name="T86" fmla="*/ 712 w 1107"/>
                <a:gd name="T87" fmla="*/ 277 h 897"/>
                <a:gd name="T88" fmla="*/ 668 w 1107"/>
                <a:gd name="T89" fmla="*/ 347 h 897"/>
                <a:gd name="T90" fmla="*/ 745 w 1107"/>
                <a:gd name="T91" fmla="*/ 361 h 897"/>
                <a:gd name="T92" fmla="*/ 791 w 1107"/>
                <a:gd name="T93" fmla="*/ 377 h 897"/>
                <a:gd name="T94" fmla="*/ 799 w 1107"/>
                <a:gd name="T95" fmla="*/ 443 h 897"/>
                <a:gd name="T96" fmla="*/ 859 w 1107"/>
                <a:gd name="T97" fmla="*/ 456 h 897"/>
                <a:gd name="T98" fmla="*/ 894 w 1107"/>
                <a:gd name="T99" fmla="*/ 393 h 897"/>
                <a:gd name="T100" fmla="*/ 941 w 1107"/>
                <a:gd name="T101" fmla="*/ 401 h 897"/>
                <a:gd name="T102" fmla="*/ 1018 w 1107"/>
                <a:gd name="T103" fmla="*/ 415 h 897"/>
                <a:gd name="T104" fmla="*/ 825 w 1107"/>
                <a:gd name="T105" fmla="*/ 164 h 897"/>
                <a:gd name="T106" fmla="*/ 803 w 1107"/>
                <a:gd name="T107" fmla="*/ 279 h 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107" h="897">
                  <a:moveTo>
                    <a:pt x="654" y="716"/>
                  </a:moveTo>
                  <a:cubicBezTo>
                    <a:pt x="616" y="670"/>
                    <a:pt x="616" y="670"/>
                    <a:pt x="616" y="670"/>
                  </a:cubicBezTo>
                  <a:cubicBezTo>
                    <a:pt x="593" y="654"/>
                    <a:pt x="603" y="638"/>
                    <a:pt x="600" y="625"/>
                  </a:cubicBezTo>
                  <a:cubicBezTo>
                    <a:pt x="600" y="625"/>
                    <a:pt x="600" y="625"/>
                    <a:pt x="600" y="625"/>
                  </a:cubicBezTo>
                  <a:cubicBezTo>
                    <a:pt x="605" y="617"/>
                    <a:pt x="611" y="609"/>
                    <a:pt x="608" y="596"/>
                  </a:cubicBezTo>
                  <a:cubicBezTo>
                    <a:pt x="618" y="580"/>
                    <a:pt x="623" y="572"/>
                    <a:pt x="649" y="567"/>
                  </a:cubicBezTo>
                  <a:cubicBezTo>
                    <a:pt x="715" y="553"/>
                    <a:pt x="715" y="553"/>
                    <a:pt x="715" y="553"/>
                  </a:cubicBezTo>
                  <a:cubicBezTo>
                    <a:pt x="728" y="550"/>
                    <a:pt x="733" y="542"/>
                    <a:pt x="730" y="529"/>
                  </a:cubicBezTo>
                  <a:cubicBezTo>
                    <a:pt x="727" y="482"/>
                    <a:pt x="727" y="482"/>
                    <a:pt x="727" y="482"/>
                  </a:cubicBezTo>
                  <a:cubicBezTo>
                    <a:pt x="724" y="469"/>
                    <a:pt x="717" y="463"/>
                    <a:pt x="701" y="453"/>
                  </a:cubicBezTo>
                  <a:cubicBezTo>
                    <a:pt x="641" y="459"/>
                    <a:pt x="641" y="459"/>
                    <a:pt x="641" y="459"/>
                  </a:cubicBezTo>
                  <a:cubicBezTo>
                    <a:pt x="620" y="457"/>
                    <a:pt x="604" y="447"/>
                    <a:pt x="601" y="434"/>
                  </a:cubicBezTo>
                  <a:cubicBezTo>
                    <a:pt x="598" y="421"/>
                    <a:pt x="590" y="416"/>
                    <a:pt x="580" y="397"/>
                  </a:cubicBezTo>
                  <a:cubicBezTo>
                    <a:pt x="577" y="384"/>
                    <a:pt x="574" y="371"/>
                    <a:pt x="584" y="355"/>
                  </a:cubicBezTo>
                  <a:cubicBezTo>
                    <a:pt x="628" y="305"/>
                    <a:pt x="628" y="305"/>
                    <a:pt x="628" y="305"/>
                  </a:cubicBezTo>
                  <a:cubicBezTo>
                    <a:pt x="634" y="297"/>
                    <a:pt x="631" y="284"/>
                    <a:pt x="623" y="279"/>
                  </a:cubicBezTo>
                  <a:cubicBezTo>
                    <a:pt x="581" y="240"/>
                    <a:pt x="581" y="240"/>
                    <a:pt x="581" y="240"/>
                  </a:cubicBezTo>
                  <a:cubicBezTo>
                    <a:pt x="573" y="235"/>
                    <a:pt x="560" y="238"/>
                    <a:pt x="547" y="240"/>
                  </a:cubicBezTo>
                  <a:cubicBezTo>
                    <a:pt x="503" y="291"/>
                    <a:pt x="503" y="291"/>
                    <a:pt x="503" y="291"/>
                  </a:cubicBezTo>
                  <a:cubicBezTo>
                    <a:pt x="484" y="302"/>
                    <a:pt x="471" y="304"/>
                    <a:pt x="463" y="299"/>
                  </a:cubicBezTo>
                  <a:cubicBezTo>
                    <a:pt x="456" y="294"/>
                    <a:pt x="435" y="292"/>
                    <a:pt x="427" y="287"/>
                  </a:cubicBezTo>
                  <a:cubicBezTo>
                    <a:pt x="419" y="282"/>
                    <a:pt x="403" y="271"/>
                    <a:pt x="400" y="258"/>
                  </a:cubicBezTo>
                  <a:cubicBezTo>
                    <a:pt x="386" y="193"/>
                    <a:pt x="386" y="193"/>
                    <a:pt x="386" y="193"/>
                  </a:cubicBezTo>
                  <a:cubicBezTo>
                    <a:pt x="384" y="180"/>
                    <a:pt x="368" y="170"/>
                    <a:pt x="368" y="170"/>
                  </a:cubicBezTo>
                  <a:cubicBezTo>
                    <a:pt x="308" y="176"/>
                    <a:pt x="308" y="176"/>
                    <a:pt x="308" y="176"/>
                  </a:cubicBezTo>
                  <a:cubicBezTo>
                    <a:pt x="308" y="176"/>
                    <a:pt x="289" y="187"/>
                    <a:pt x="292" y="200"/>
                  </a:cubicBezTo>
                  <a:cubicBezTo>
                    <a:pt x="285" y="263"/>
                    <a:pt x="285" y="263"/>
                    <a:pt x="285" y="263"/>
                  </a:cubicBezTo>
                  <a:cubicBezTo>
                    <a:pt x="291" y="289"/>
                    <a:pt x="277" y="292"/>
                    <a:pt x="272" y="300"/>
                  </a:cubicBezTo>
                  <a:cubicBezTo>
                    <a:pt x="272" y="300"/>
                    <a:pt x="272" y="300"/>
                    <a:pt x="267" y="308"/>
                  </a:cubicBezTo>
                  <a:cubicBezTo>
                    <a:pt x="259" y="302"/>
                    <a:pt x="246" y="305"/>
                    <a:pt x="241" y="313"/>
                  </a:cubicBezTo>
                  <a:cubicBezTo>
                    <a:pt x="236" y="321"/>
                    <a:pt x="236" y="321"/>
                    <a:pt x="236" y="321"/>
                  </a:cubicBezTo>
                  <a:cubicBezTo>
                    <a:pt x="223" y="324"/>
                    <a:pt x="210" y="327"/>
                    <a:pt x="194" y="317"/>
                  </a:cubicBezTo>
                  <a:cubicBezTo>
                    <a:pt x="139" y="281"/>
                    <a:pt x="139" y="281"/>
                    <a:pt x="139" y="281"/>
                  </a:cubicBezTo>
                  <a:cubicBezTo>
                    <a:pt x="131" y="276"/>
                    <a:pt x="110" y="273"/>
                    <a:pt x="104" y="281"/>
                  </a:cubicBezTo>
                  <a:cubicBezTo>
                    <a:pt x="79" y="321"/>
                    <a:pt x="79" y="321"/>
                    <a:pt x="79" y="321"/>
                  </a:cubicBezTo>
                  <a:cubicBezTo>
                    <a:pt x="66" y="324"/>
                    <a:pt x="68" y="337"/>
                    <a:pt x="79" y="355"/>
                  </a:cubicBezTo>
                  <a:cubicBezTo>
                    <a:pt x="121" y="394"/>
                    <a:pt x="121" y="394"/>
                    <a:pt x="121" y="394"/>
                  </a:cubicBezTo>
                  <a:cubicBezTo>
                    <a:pt x="140" y="417"/>
                    <a:pt x="135" y="425"/>
                    <a:pt x="132" y="446"/>
                  </a:cubicBezTo>
                  <a:cubicBezTo>
                    <a:pt x="132" y="446"/>
                    <a:pt x="132" y="446"/>
                    <a:pt x="132" y="446"/>
                  </a:cubicBezTo>
                  <a:cubicBezTo>
                    <a:pt x="127" y="454"/>
                    <a:pt x="122" y="462"/>
                    <a:pt x="117" y="470"/>
                  </a:cubicBezTo>
                  <a:cubicBezTo>
                    <a:pt x="117" y="470"/>
                    <a:pt x="117" y="470"/>
                    <a:pt x="117" y="470"/>
                  </a:cubicBezTo>
                  <a:cubicBezTo>
                    <a:pt x="120" y="483"/>
                    <a:pt x="109" y="499"/>
                    <a:pt x="83" y="505"/>
                  </a:cubicBezTo>
                  <a:cubicBezTo>
                    <a:pt x="23" y="511"/>
                    <a:pt x="23" y="511"/>
                    <a:pt x="23" y="511"/>
                  </a:cubicBezTo>
                  <a:cubicBezTo>
                    <a:pt x="10" y="514"/>
                    <a:pt x="0" y="529"/>
                    <a:pt x="2" y="543"/>
                  </a:cubicBezTo>
                  <a:cubicBezTo>
                    <a:pt x="5" y="590"/>
                    <a:pt x="5" y="590"/>
                    <a:pt x="5" y="590"/>
                  </a:cubicBezTo>
                  <a:cubicBezTo>
                    <a:pt x="8" y="603"/>
                    <a:pt x="16" y="608"/>
                    <a:pt x="37" y="610"/>
                  </a:cubicBezTo>
                  <a:cubicBezTo>
                    <a:pt x="92" y="612"/>
                    <a:pt x="92" y="612"/>
                    <a:pt x="92" y="612"/>
                  </a:cubicBezTo>
                  <a:cubicBezTo>
                    <a:pt x="113" y="614"/>
                    <a:pt x="129" y="625"/>
                    <a:pt x="132" y="638"/>
                  </a:cubicBezTo>
                  <a:cubicBezTo>
                    <a:pt x="132" y="638"/>
                    <a:pt x="132" y="638"/>
                    <a:pt x="132" y="638"/>
                  </a:cubicBezTo>
                  <a:cubicBezTo>
                    <a:pt x="140" y="643"/>
                    <a:pt x="142" y="656"/>
                    <a:pt x="150" y="661"/>
                  </a:cubicBezTo>
                  <a:cubicBezTo>
                    <a:pt x="145" y="669"/>
                    <a:pt x="145" y="669"/>
                    <a:pt x="145" y="669"/>
                  </a:cubicBezTo>
                  <a:cubicBezTo>
                    <a:pt x="153" y="674"/>
                    <a:pt x="156" y="687"/>
                    <a:pt x="140" y="711"/>
                  </a:cubicBezTo>
                  <a:cubicBezTo>
                    <a:pt x="109" y="759"/>
                    <a:pt x="109" y="759"/>
                    <a:pt x="109" y="759"/>
                  </a:cubicBezTo>
                  <a:cubicBezTo>
                    <a:pt x="99" y="775"/>
                    <a:pt x="102" y="788"/>
                    <a:pt x="110" y="793"/>
                  </a:cubicBezTo>
                  <a:cubicBezTo>
                    <a:pt x="152" y="832"/>
                    <a:pt x="152" y="832"/>
                    <a:pt x="152" y="832"/>
                  </a:cubicBezTo>
                  <a:cubicBezTo>
                    <a:pt x="160" y="837"/>
                    <a:pt x="173" y="834"/>
                    <a:pt x="178" y="826"/>
                  </a:cubicBezTo>
                  <a:cubicBezTo>
                    <a:pt x="230" y="781"/>
                    <a:pt x="230" y="781"/>
                    <a:pt x="230" y="781"/>
                  </a:cubicBezTo>
                  <a:cubicBezTo>
                    <a:pt x="248" y="770"/>
                    <a:pt x="261" y="767"/>
                    <a:pt x="269" y="772"/>
                  </a:cubicBezTo>
                  <a:cubicBezTo>
                    <a:pt x="269" y="772"/>
                    <a:pt x="269" y="772"/>
                    <a:pt x="269" y="772"/>
                  </a:cubicBezTo>
                  <a:cubicBezTo>
                    <a:pt x="282" y="769"/>
                    <a:pt x="298" y="779"/>
                    <a:pt x="306" y="785"/>
                  </a:cubicBezTo>
                  <a:cubicBezTo>
                    <a:pt x="306" y="785"/>
                    <a:pt x="306" y="785"/>
                    <a:pt x="306" y="785"/>
                  </a:cubicBezTo>
                  <a:cubicBezTo>
                    <a:pt x="319" y="782"/>
                    <a:pt x="327" y="787"/>
                    <a:pt x="332" y="813"/>
                  </a:cubicBezTo>
                  <a:cubicBezTo>
                    <a:pt x="346" y="878"/>
                    <a:pt x="346" y="878"/>
                    <a:pt x="346" y="878"/>
                  </a:cubicBezTo>
                  <a:cubicBezTo>
                    <a:pt x="349" y="892"/>
                    <a:pt x="357" y="897"/>
                    <a:pt x="370" y="894"/>
                  </a:cubicBezTo>
                  <a:cubicBezTo>
                    <a:pt x="425" y="896"/>
                    <a:pt x="425" y="896"/>
                    <a:pt x="425" y="896"/>
                  </a:cubicBezTo>
                  <a:cubicBezTo>
                    <a:pt x="430" y="888"/>
                    <a:pt x="443" y="885"/>
                    <a:pt x="440" y="872"/>
                  </a:cubicBezTo>
                  <a:cubicBezTo>
                    <a:pt x="440" y="804"/>
                    <a:pt x="440" y="804"/>
                    <a:pt x="440" y="804"/>
                  </a:cubicBezTo>
                  <a:cubicBezTo>
                    <a:pt x="442" y="783"/>
                    <a:pt x="460" y="772"/>
                    <a:pt x="466" y="764"/>
                  </a:cubicBezTo>
                  <a:cubicBezTo>
                    <a:pt x="466" y="764"/>
                    <a:pt x="466" y="764"/>
                    <a:pt x="466" y="764"/>
                  </a:cubicBezTo>
                  <a:cubicBezTo>
                    <a:pt x="479" y="761"/>
                    <a:pt x="492" y="758"/>
                    <a:pt x="497" y="750"/>
                  </a:cubicBezTo>
                  <a:cubicBezTo>
                    <a:pt x="497" y="750"/>
                    <a:pt x="497" y="750"/>
                    <a:pt x="497" y="750"/>
                  </a:cubicBezTo>
                  <a:cubicBezTo>
                    <a:pt x="510" y="747"/>
                    <a:pt x="523" y="745"/>
                    <a:pt x="539" y="755"/>
                  </a:cubicBezTo>
                  <a:cubicBezTo>
                    <a:pt x="594" y="791"/>
                    <a:pt x="594" y="791"/>
                    <a:pt x="594" y="791"/>
                  </a:cubicBezTo>
                  <a:cubicBezTo>
                    <a:pt x="602" y="796"/>
                    <a:pt x="623" y="798"/>
                    <a:pt x="628" y="790"/>
                  </a:cubicBezTo>
                  <a:cubicBezTo>
                    <a:pt x="659" y="743"/>
                    <a:pt x="659" y="743"/>
                    <a:pt x="659" y="743"/>
                  </a:cubicBezTo>
                  <a:cubicBezTo>
                    <a:pt x="659" y="743"/>
                    <a:pt x="669" y="727"/>
                    <a:pt x="654" y="716"/>
                  </a:cubicBezTo>
                  <a:close/>
                  <a:moveTo>
                    <a:pt x="281" y="633"/>
                  </a:moveTo>
                  <a:cubicBezTo>
                    <a:pt x="223" y="584"/>
                    <a:pt x="219" y="502"/>
                    <a:pt x="263" y="452"/>
                  </a:cubicBezTo>
                  <a:cubicBezTo>
                    <a:pt x="313" y="393"/>
                    <a:pt x="399" y="382"/>
                    <a:pt x="457" y="431"/>
                  </a:cubicBezTo>
                  <a:cubicBezTo>
                    <a:pt x="507" y="475"/>
                    <a:pt x="518" y="561"/>
                    <a:pt x="469" y="619"/>
                  </a:cubicBezTo>
                  <a:cubicBezTo>
                    <a:pt x="420" y="678"/>
                    <a:pt x="339" y="682"/>
                    <a:pt x="281" y="633"/>
                  </a:cubicBezTo>
                  <a:close/>
                  <a:moveTo>
                    <a:pt x="1019" y="398"/>
                  </a:moveTo>
                  <a:cubicBezTo>
                    <a:pt x="1004" y="362"/>
                    <a:pt x="1004" y="362"/>
                    <a:pt x="1004" y="362"/>
                  </a:cubicBezTo>
                  <a:cubicBezTo>
                    <a:pt x="992" y="348"/>
                    <a:pt x="1002" y="340"/>
                    <a:pt x="1002" y="332"/>
                  </a:cubicBezTo>
                  <a:cubicBezTo>
                    <a:pt x="1002" y="332"/>
                    <a:pt x="1002" y="332"/>
                    <a:pt x="1002" y="332"/>
                  </a:cubicBezTo>
                  <a:cubicBezTo>
                    <a:pt x="1007" y="328"/>
                    <a:pt x="1011" y="324"/>
                    <a:pt x="1012" y="315"/>
                  </a:cubicBezTo>
                  <a:cubicBezTo>
                    <a:pt x="1021" y="307"/>
                    <a:pt x="1026" y="303"/>
                    <a:pt x="1043" y="304"/>
                  </a:cubicBezTo>
                  <a:cubicBezTo>
                    <a:pt x="1086" y="307"/>
                    <a:pt x="1086" y="307"/>
                    <a:pt x="1086" y="307"/>
                  </a:cubicBezTo>
                  <a:cubicBezTo>
                    <a:pt x="1095" y="308"/>
                    <a:pt x="1099" y="304"/>
                    <a:pt x="1100" y="295"/>
                  </a:cubicBezTo>
                  <a:cubicBezTo>
                    <a:pt x="1107" y="266"/>
                    <a:pt x="1107" y="266"/>
                    <a:pt x="1107" y="266"/>
                  </a:cubicBezTo>
                  <a:cubicBezTo>
                    <a:pt x="1107" y="257"/>
                    <a:pt x="1103" y="252"/>
                    <a:pt x="1095" y="243"/>
                  </a:cubicBezTo>
                  <a:cubicBezTo>
                    <a:pt x="1057" y="236"/>
                    <a:pt x="1057" y="236"/>
                    <a:pt x="1057" y="236"/>
                  </a:cubicBezTo>
                  <a:cubicBezTo>
                    <a:pt x="1044" y="231"/>
                    <a:pt x="1036" y="222"/>
                    <a:pt x="1037" y="213"/>
                  </a:cubicBezTo>
                  <a:cubicBezTo>
                    <a:pt x="1038" y="205"/>
                    <a:pt x="1034" y="200"/>
                    <a:pt x="1030" y="187"/>
                  </a:cubicBezTo>
                  <a:cubicBezTo>
                    <a:pt x="1031" y="178"/>
                    <a:pt x="1032" y="170"/>
                    <a:pt x="1041" y="162"/>
                  </a:cubicBezTo>
                  <a:cubicBezTo>
                    <a:pt x="1077" y="138"/>
                    <a:pt x="1077" y="138"/>
                    <a:pt x="1077" y="138"/>
                  </a:cubicBezTo>
                  <a:cubicBezTo>
                    <a:pt x="1082" y="134"/>
                    <a:pt x="1083" y="126"/>
                    <a:pt x="1079" y="121"/>
                  </a:cubicBezTo>
                  <a:cubicBezTo>
                    <a:pt x="1059" y="89"/>
                    <a:pt x="1059" y="89"/>
                    <a:pt x="1059" y="89"/>
                  </a:cubicBezTo>
                  <a:cubicBezTo>
                    <a:pt x="1055" y="85"/>
                    <a:pt x="1047" y="84"/>
                    <a:pt x="1038" y="83"/>
                  </a:cubicBezTo>
                  <a:cubicBezTo>
                    <a:pt x="1002" y="107"/>
                    <a:pt x="1002" y="107"/>
                    <a:pt x="1002" y="107"/>
                  </a:cubicBezTo>
                  <a:cubicBezTo>
                    <a:pt x="989" y="110"/>
                    <a:pt x="980" y="110"/>
                    <a:pt x="976" y="105"/>
                  </a:cubicBezTo>
                  <a:cubicBezTo>
                    <a:pt x="972" y="100"/>
                    <a:pt x="960" y="95"/>
                    <a:pt x="956" y="91"/>
                  </a:cubicBezTo>
                  <a:cubicBezTo>
                    <a:pt x="952" y="86"/>
                    <a:pt x="944" y="77"/>
                    <a:pt x="944" y="68"/>
                  </a:cubicBezTo>
                  <a:cubicBezTo>
                    <a:pt x="948" y="25"/>
                    <a:pt x="948" y="25"/>
                    <a:pt x="948" y="25"/>
                  </a:cubicBezTo>
                  <a:cubicBezTo>
                    <a:pt x="948" y="17"/>
                    <a:pt x="940" y="7"/>
                    <a:pt x="940" y="7"/>
                  </a:cubicBezTo>
                  <a:cubicBezTo>
                    <a:pt x="902" y="0"/>
                    <a:pt x="902" y="0"/>
                    <a:pt x="902" y="0"/>
                  </a:cubicBezTo>
                  <a:cubicBezTo>
                    <a:pt x="902" y="0"/>
                    <a:pt x="889" y="4"/>
                    <a:pt x="888" y="12"/>
                  </a:cubicBezTo>
                  <a:cubicBezTo>
                    <a:pt x="872" y="50"/>
                    <a:pt x="872" y="50"/>
                    <a:pt x="872" y="50"/>
                  </a:cubicBezTo>
                  <a:cubicBezTo>
                    <a:pt x="871" y="67"/>
                    <a:pt x="862" y="67"/>
                    <a:pt x="858" y="71"/>
                  </a:cubicBezTo>
                  <a:cubicBezTo>
                    <a:pt x="858" y="71"/>
                    <a:pt x="858" y="71"/>
                    <a:pt x="853" y="75"/>
                  </a:cubicBezTo>
                  <a:cubicBezTo>
                    <a:pt x="849" y="70"/>
                    <a:pt x="840" y="70"/>
                    <a:pt x="836" y="74"/>
                  </a:cubicBezTo>
                  <a:cubicBezTo>
                    <a:pt x="831" y="78"/>
                    <a:pt x="831" y="78"/>
                    <a:pt x="831" y="78"/>
                  </a:cubicBezTo>
                  <a:cubicBezTo>
                    <a:pt x="822" y="77"/>
                    <a:pt x="814" y="76"/>
                    <a:pt x="806" y="67"/>
                  </a:cubicBezTo>
                  <a:cubicBezTo>
                    <a:pt x="778" y="35"/>
                    <a:pt x="778" y="35"/>
                    <a:pt x="778" y="35"/>
                  </a:cubicBezTo>
                  <a:cubicBezTo>
                    <a:pt x="774" y="30"/>
                    <a:pt x="762" y="25"/>
                    <a:pt x="757" y="29"/>
                  </a:cubicBezTo>
                  <a:cubicBezTo>
                    <a:pt x="734" y="49"/>
                    <a:pt x="734" y="49"/>
                    <a:pt x="734" y="49"/>
                  </a:cubicBezTo>
                  <a:cubicBezTo>
                    <a:pt x="725" y="49"/>
                    <a:pt x="725" y="57"/>
                    <a:pt x="728" y="70"/>
                  </a:cubicBezTo>
                  <a:cubicBezTo>
                    <a:pt x="747" y="102"/>
                    <a:pt x="747" y="102"/>
                    <a:pt x="747" y="102"/>
                  </a:cubicBezTo>
                  <a:cubicBezTo>
                    <a:pt x="754" y="120"/>
                    <a:pt x="750" y="124"/>
                    <a:pt x="744" y="136"/>
                  </a:cubicBezTo>
                  <a:cubicBezTo>
                    <a:pt x="744" y="136"/>
                    <a:pt x="744" y="136"/>
                    <a:pt x="744" y="136"/>
                  </a:cubicBezTo>
                  <a:cubicBezTo>
                    <a:pt x="740" y="140"/>
                    <a:pt x="735" y="144"/>
                    <a:pt x="731" y="148"/>
                  </a:cubicBezTo>
                  <a:cubicBezTo>
                    <a:pt x="731" y="148"/>
                    <a:pt x="731" y="148"/>
                    <a:pt x="731" y="148"/>
                  </a:cubicBezTo>
                  <a:cubicBezTo>
                    <a:pt x="730" y="157"/>
                    <a:pt x="721" y="165"/>
                    <a:pt x="703" y="164"/>
                  </a:cubicBezTo>
                  <a:cubicBezTo>
                    <a:pt x="665" y="157"/>
                    <a:pt x="665" y="157"/>
                    <a:pt x="665" y="157"/>
                  </a:cubicBezTo>
                  <a:cubicBezTo>
                    <a:pt x="656" y="156"/>
                    <a:pt x="647" y="164"/>
                    <a:pt x="647" y="173"/>
                  </a:cubicBezTo>
                  <a:cubicBezTo>
                    <a:pt x="640" y="203"/>
                    <a:pt x="640" y="203"/>
                    <a:pt x="640" y="203"/>
                  </a:cubicBezTo>
                  <a:cubicBezTo>
                    <a:pt x="639" y="211"/>
                    <a:pt x="643" y="216"/>
                    <a:pt x="656" y="221"/>
                  </a:cubicBezTo>
                  <a:cubicBezTo>
                    <a:pt x="690" y="232"/>
                    <a:pt x="690" y="232"/>
                    <a:pt x="690" y="232"/>
                  </a:cubicBezTo>
                  <a:cubicBezTo>
                    <a:pt x="702" y="237"/>
                    <a:pt x="710" y="246"/>
                    <a:pt x="710" y="255"/>
                  </a:cubicBezTo>
                  <a:cubicBezTo>
                    <a:pt x="710" y="255"/>
                    <a:pt x="710" y="255"/>
                    <a:pt x="710" y="255"/>
                  </a:cubicBezTo>
                  <a:cubicBezTo>
                    <a:pt x="714" y="260"/>
                    <a:pt x="713" y="268"/>
                    <a:pt x="717" y="273"/>
                  </a:cubicBezTo>
                  <a:cubicBezTo>
                    <a:pt x="712" y="277"/>
                    <a:pt x="712" y="277"/>
                    <a:pt x="712" y="277"/>
                  </a:cubicBezTo>
                  <a:cubicBezTo>
                    <a:pt x="716" y="281"/>
                    <a:pt x="716" y="290"/>
                    <a:pt x="702" y="302"/>
                  </a:cubicBezTo>
                  <a:cubicBezTo>
                    <a:pt x="674" y="326"/>
                    <a:pt x="674" y="326"/>
                    <a:pt x="674" y="326"/>
                  </a:cubicBezTo>
                  <a:cubicBezTo>
                    <a:pt x="665" y="334"/>
                    <a:pt x="664" y="343"/>
                    <a:pt x="668" y="347"/>
                  </a:cubicBezTo>
                  <a:cubicBezTo>
                    <a:pt x="687" y="379"/>
                    <a:pt x="687" y="379"/>
                    <a:pt x="687" y="379"/>
                  </a:cubicBezTo>
                  <a:cubicBezTo>
                    <a:pt x="691" y="383"/>
                    <a:pt x="700" y="384"/>
                    <a:pt x="704" y="380"/>
                  </a:cubicBezTo>
                  <a:cubicBezTo>
                    <a:pt x="745" y="361"/>
                    <a:pt x="745" y="361"/>
                    <a:pt x="745" y="361"/>
                  </a:cubicBezTo>
                  <a:cubicBezTo>
                    <a:pt x="758" y="358"/>
                    <a:pt x="767" y="358"/>
                    <a:pt x="771" y="363"/>
                  </a:cubicBezTo>
                  <a:cubicBezTo>
                    <a:pt x="771" y="363"/>
                    <a:pt x="771" y="363"/>
                    <a:pt x="771" y="363"/>
                  </a:cubicBezTo>
                  <a:cubicBezTo>
                    <a:pt x="779" y="364"/>
                    <a:pt x="787" y="373"/>
                    <a:pt x="791" y="377"/>
                  </a:cubicBezTo>
                  <a:cubicBezTo>
                    <a:pt x="791" y="377"/>
                    <a:pt x="791" y="377"/>
                    <a:pt x="791" y="377"/>
                  </a:cubicBezTo>
                  <a:cubicBezTo>
                    <a:pt x="800" y="378"/>
                    <a:pt x="804" y="383"/>
                    <a:pt x="802" y="400"/>
                  </a:cubicBezTo>
                  <a:cubicBezTo>
                    <a:pt x="799" y="443"/>
                    <a:pt x="799" y="443"/>
                    <a:pt x="799" y="443"/>
                  </a:cubicBezTo>
                  <a:cubicBezTo>
                    <a:pt x="798" y="451"/>
                    <a:pt x="802" y="456"/>
                    <a:pt x="811" y="457"/>
                  </a:cubicBezTo>
                  <a:cubicBezTo>
                    <a:pt x="845" y="468"/>
                    <a:pt x="845" y="468"/>
                    <a:pt x="845" y="468"/>
                  </a:cubicBezTo>
                  <a:cubicBezTo>
                    <a:pt x="849" y="464"/>
                    <a:pt x="858" y="464"/>
                    <a:pt x="859" y="456"/>
                  </a:cubicBezTo>
                  <a:cubicBezTo>
                    <a:pt x="871" y="413"/>
                    <a:pt x="871" y="413"/>
                    <a:pt x="871" y="413"/>
                  </a:cubicBezTo>
                  <a:cubicBezTo>
                    <a:pt x="876" y="401"/>
                    <a:pt x="889" y="397"/>
                    <a:pt x="894" y="393"/>
                  </a:cubicBezTo>
                  <a:cubicBezTo>
                    <a:pt x="894" y="393"/>
                    <a:pt x="894" y="393"/>
                    <a:pt x="894" y="393"/>
                  </a:cubicBezTo>
                  <a:cubicBezTo>
                    <a:pt x="902" y="394"/>
                    <a:pt x="911" y="395"/>
                    <a:pt x="916" y="391"/>
                  </a:cubicBezTo>
                  <a:cubicBezTo>
                    <a:pt x="916" y="391"/>
                    <a:pt x="916" y="391"/>
                    <a:pt x="916" y="391"/>
                  </a:cubicBezTo>
                  <a:cubicBezTo>
                    <a:pt x="924" y="391"/>
                    <a:pt x="933" y="392"/>
                    <a:pt x="941" y="401"/>
                  </a:cubicBezTo>
                  <a:cubicBezTo>
                    <a:pt x="969" y="433"/>
                    <a:pt x="969" y="433"/>
                    <a:pt x="969" y="433"/>
                  </a:cubicBezTo>
                  <a:cubicBezTo>
                    <a:pt x="973" y="438"/>
                    <a:pt x="985" y="443"/>
                    <a:pt x="990" y="439"/>
                  </a:cubicBezTo>
                  <a:cubicBezTo>
                    <a:pt x="1018" y="415"/>
                    <a:pt x="1018" y="415"/>
                    <a:pt x="1018" y="415"/>
                  </a:cubicBezTo>
                  <a:cubicBezTo>
                    <a:pt x="1018" y="415"/>
                    <a:pt x="1027" y="407"/>
                    <a:pt x="1019" y="398"/>
                  </a:cubicBezTo>
                  <a:close/>
                  <a:moveTo>
                    <a:pt x="803" y="279"/>
                  </a:moveTo>
                  <a:cubicBezTo>
                    <a:pt x="776" y="238"/>
                    <a:pt x="788" y="187"/>
                    <a:pt x="825" y="164"/>
                  </a:cubicBezTo>
                  <a:cubicBezTo>
                    <a:pt x="866" y="136"/>
                    <a:pt x="921" y="144"/>
                    <a:pt x="948" y="185"/>
                  </a:cubicBezTo>
                  <a:cubicBezTo>
                    <a:pt x="972" y="221"/>
                    <a:pt x="963" y="277"/>
                    <a:pt x="922" y="304"/>
                  </a:cubicBezTo>
                  <a:cubicBezTo>
                    <a:pt x="881" y="332"/>
                    <a:pt x="830" y="320"/>
                    <a:pt x="803" y="279"/>
                  </a:cubicBezTo>
                  <a:close/>
                </a:path>
              </a:pathLst>
            </a:custGeom>
            <a:solidFill>
              <a:schemeClr val="tx1"/>
            </a:solidFill>
            <a:ln>
              <a:noFill/>
            </a:ln>
          </p:spPr>
          <p:txBody>
            <a:bodyPr vert="horz" wrap="square" lIns="68574" tIns="34287" rIns="68574" bIns="34287"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17346"/>
                </a:solidFill>
                <a:effectLst/>
                <a:uLnTx/>
                <a:uFillTx/>
                <a:latin typeface="Segoe UI"/>
                <a:ea typeface="+mn-ea"/>
                <a:cs typeface="+mn-cs"/>
              </a:endParaRPr>
            </a:p>
          </p:txBody>
        </p:sp>
        <p:sp>
          <p:nvSpPr>
            <p:cNvPr id="104" name="Freeform 103"/>
            <p:cNvSpPr>
              <a:spLocks noChangeAspect="1"/>
            </p:cNvSpPr>
            <p:nvPr/>
          </p:nvSpPr>
          <p:spPr bwMode="black">
            <a:xfrm>
              <a:off x="776985" y="4213905"/>
              <a:ext cx="342871" cy="335728"/>
            </a:xfrm>
            <a:custGeom>
              <a:avLst/>
              <a:gdLst>
                <a:gd name="connsiteX0" fmla="*/ 3713863 w 4893730"/>
                <a:gd name="connsiteY0" fmla="*/ 2130808 h 4791777"/>
                <a:gd name="connsiteX1" fmla="*/ 4426142 w 4893730"/>
                <a:gd name="connsiteY1" fmla="*/ 2130808 h 4791777"/>
                <a:gd name="connsiteX2" fmla="*/ 4598071 w 4893730"/>
                <a:gd name="connsiteY2" fmla="*/ 2301547 h 4791777"/>
                <a:gd name="connsiteX3" fmla="*/ 4598071 w 4893730"/>
                <a:gd name="connsiteY3" fmla="*/ 3886978 h 4791777"/>
                <a:gd name="connsiteX4" fmla="*/ 4426142 w 4893730"/>
                <a:gd name="connsiteY4" fmla="*/ 4057717 h 4791777"/>
                <a:gd name="connsiteX5" fmla="*/ 3713863 w 4893730"/>
                <a:gd name="connsiteY5" fmla="*/ 4057717 h 4791777"/>
                <a:gd name="connsiteX6" fmla="*/ 3517372 w 4893730"/>
                <a:gd name="connsiteY6" fmla="*/ 3886978 h 4791777"/>
                <a:gd name="connsiteX7" fmla="*/ 3517372 w 4893730"/>
                <a:gd name="connsiteY7" fmla="*/ 2301547 h 4791777"/>
                <a:gd name="connsiteX8" fmla="*/ 3713863 w 4893730"/>
                <a:gd name="connsiteY8" fmla="*/ 2130808 h 4791777"/>
                <a:gd name="connsiteX9" fmla="*/ 904368 w 4893730"/>
                <a:gd name="connsiteY9" fmla="*/ 1223432 h 4791777"/>
                <a:gd name="connsiteX10" fmla="*/ 1609930 w 4893730"/>
                <a:gd name="connsiteY10" fmla="*/ 1223432 h 4791777"/>
                <a:gd name="connsiteX11" fmla="*/ 1804567 w 4893730"/>
                <a:gd name="connsiteY11" fmla="*/ 1394467 h 4791777"/>
                <a:gd name="connsiteX12" fmla="*/ 1804567 w 4893730"/>
                <a:gd name="connsiteY12" fmla="*/ 3886683 h 4791777"/>
                <a:gd name="connsiteX13" fmla="*/ 1609930 w 4893730"/>
                <a:gd name="connsiteY13" fmla="*/ 4057717 h 4791777"/>
                <a:gd name="connsiteX14" fmla="*/ 904368 w 4893730"/>
                <a:gd name="connsiteY14" fmla="*/ 4057717 h 4791777"/>
                <a:gd name="connsiteX15" fmla="*/ 734060 w 4893730"/>
                <a:gd name="connsiteY15" fmla="*/ 3886683 h 4791777"/>
                <a:gd name="connsiteX16" fmla="*/ 734060 w 4893730"/>
                <a:gd name="connsiteY16" fmla="*/ 1394467 h 4791777"/>
                <a:gd name="connsiteX17" fmla="*/ 904368 w 4893730"/>
                <a:gd name="connsiteY17" fmla="*/ 1223432 h 4791777"/>
                <a:gd name="connsiteX18" fmla="*/ 2325453 w 4893730"/>
                <a:gd name="connsiteY18" fmla="*/ 316050 h 4791777"/>
                <a:gd name="connsiteX19" fmla="*/ 3031014 w 4893730"/>
                <a:gd name="connsiteY19" fmla="*/ 316050 h 4791777"/>
                <a:gd name="connsiteX20" fmla="*/ 3201322 w 4893730"/>
                <a:gd name="connsiteY20" fmla="*/ 487238 h 4791777"/>
                <a:gd name="connsiteX21" fmla="*/ 3201322 w 4893730"/>
                <a:gd name="connsiteY21" fmla="*/ 3886530 h 4791777"/>
                <a:gd name="connsiteX22" fmla="*/ 3031014 w 4893730"/>
                <a:gd name="connsiteY22" fmla="*/ 4057717 h 4791777"/>
                <a:gd name="connsiteX23" fmla="*/ 2325453 w 4893730"/>
                <a:gd name="connsiteY23" fmla="*/ 4057717 h 4791777"/>
                <a:gd name="connsiteX24" fmla="*/ 2130815 w 4893730"/>
                <a:gd name="connsiteY24" fmla="*/ 3886530 h 4791777"/>
                <a:gd name="connsiteX25" fmla="*/ 2130815 w 4893730"/>
                <a:gd name="connsiteY25" fmla="*/ 487238 h 4791777"/>
                <a:gd name="connsiteX26" fmla="*/ 2325453 w 4893730"/>
                <a:gd name="connsiteY26" fmla="*/ 316050 h 4791777"/>
                <a:gd name="connsiteX27" fmla="*/ 269155 w 4893730"/>
                <a:gd name="connsiteY27" fmla="*/ 0 h 4791777"/>
                <a:gd name="connsiteX28" fmla="*/ 538311 w 4893730"/>
                <a:gd name="connsiteY28" fmla="*/ 268927 h 4791777"/>
                <a:gd name="connsiteX29" fmla="*/ 538311 w 4893730"/>
                <a:gd name="connsiteY29" fmla="*/ 4253925 h 4791777"/>
                <a:gd name="connsiteX30" fmla="*/ 4624575 w 4893730"/>
                <a:gd name="connsiteY30" fmla="*/ 4253925 h 4791777"/>
                <a:gd name="connsiteX31" fmla="*/ 4893730 w 4893730"/>
                <a:gd name="connsiteY31" fmla="*/ 4522851 h 4791777"/>
                <a:gd name="connsiteX32" fmla="*/ 4624575 w 4893730"/>
                <a:gd name="connsiteY32" fmla="*/ 4791777 h 4791777"/>
                <a:gd name="connsiteX33" fmla="*/ 269155 w 4893730"/>
                <a:gd name="connsiteY33" fmla="*/ 4791777 h 4791777"/>
                <a:gd name="connsiteX34" fmla="*/ 0 w 4893730"/>
                <a:gd name="connsiteY34" fmla="*/ 4522851 h 4791777"/>
                <a:gd name="connsiteX35" fmla="*/ 0 w 4893730"/>
                <a:gd name="connsiteY35" fmla="*/ 268927 h 4791777"/>
                <a:gd name="connsiteX36" fmla="*/ 269155 w 4893730"/>
                <a:gd name="connsiteY36" fmla="*/ 0 h 4791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4893730" h="4791777">
                  <a:moveTo>
                    <a:pt x="3713863" y="2130808"/>
                  </a:moveTo>
                  <a:cubicBezTo>
                    <a:pt x="3713863" y="2130808"/>
                    <a:pt x="3713863" y="2130808"/>
                    <a:pt x="4426142" y="2130808"/>
                  </a:cubicBezTo>
                  <a:cubicBezTo>
                    <a:pt x="4524387" y="2130808"/>
                    <a:pt x="4598071" y="2203982"/>
                    <a:pt x="4598071" y="2301547"/>
                  </a:cubicBezTo>
                  <a:cubicBezTo>
                    <a:pt x="4598071" y="2301547"/>
                    <a:pt x="4598071" y="2301547"/>
                    <a:pt x="4598071" y="3886978"/>
                  </a:cubicBezTo>
                  <a:cubicBezTo>
                    <a:pt x="4598071" y="3984543"/>
                    <a:pt x="4524387" y="4057717"/>
                    <a:pt x="4426142" y="4057717"/>
                  </a:cubicBezTo>
                  <a:cubicBezTo>
                    <a:pt x="4426142" y="4057717"/>
                    <a:pt x="4426142" y="4057717"/>
                    <a:pt x="3713863" y="4057717"/>
                  </a:cubicBezTo>
                  <a:cubicBezTo>
                    <a:pt x="3615618" y="4057717"/>
                    <a:pt x="3517372" y="3984543"/>
                    <a:pt x="3517372" y="3886978"/>
                  </a:cubicBezTo>
                  <a:cubicBezTo>
                    <a:pt x="3517372" y="3886978"/>
                    <a:pt x="3517372" y="3886978"/>
                    <a:pt x="3517372" y="2301547"/>
                  </a:cubicBezTo>
                  <a:cubicBezTo>
                    <a:pt x="3517372" y="2203982"/>
                    <a:pt x="3615618" y="2130808"/>
                    <a:pt x="3713863" y="2130808"/>
                  </a:cubicBezTo>
                  <a:close/>
                  <a:moveTo>
                    <a:pt x="904368" y="1223432"/>
                  </a:moveTo>
                  <a:cubicBezTo>
                    <a:pt x="904368" y="1223432"/>
                    <a:pt x="904368" y="1223432"/>
                    <a:pt x="1609930" y="1223432"/>
                  </a:cubicBezTo>
                  <a:cubicBezTo>
                    <a:pt x="1731578" y="1223432"/>
                    <a:pt x="1804567" y="1296733"/>
                    <a:pt x="1804567" y="1394467"/>
                  </a:cubicBezTo>
                  <a:cubicBezTo>
                    <a:pt x="1804567" y="1394467"/>
                    <a:pt x="1804567" y="1394467"/>
                    <a:pt x="1804567" y="3886683"/>
                  </a:cubicBezTo>
                  <a:cubicBezTo>
                    <a:pt x="1804567" y="3984417"/>
                    <a:pt x="1731578" y="4057717"/>
                    <a:pt x="1609930" y="4057717"/>
                  </a:cubicBezTo>
                  <a:cubicBezTo>
                    <a:pt x="1609930" y="4057717"/>
                    <a:pt x="1609930" y="4057717"/>
                    <a:pt x="904368" y="4057717"/>
                  </a:cubicBezTo>
                  <a:cubicBezTo>
                    <a:pt x="807049" y="4057717"/>
                    <a:pt x="734060" y="3984417"/>
                    <a:pt x="734060" y="3886683"/>
                  </a:cubicBezTo>
                  <a:cubicBezTo>
                    <a:pt x="734060" y="3886683"/>
                    <a:pt x="734060" y="3886683"/>
                    <a:pt x="734060" y="1394467"/>
                  </a:cubicBezTo>
                  <a:cubicBezTo>
                    <a:pt x="734060" y="1296733"/>
                    <a:pt x="807049" y="1223432"/>
                    <a:pt x="904368" y="1223432"/>
                  </a:cubicBezTo>
                  <a:close/>
                  <a:moveTo>
                    <a:pt x="2325453" y="316050"/>
                  </a:moveTo>
                  <a:cubicBezTo>
                    <a:pt x="2325453" y="316050"/>
                    <a:pt x="2325453" y="316050"/>
                    <a:pt x="3031014" y="316050"/>
                  </a:cubicBezTo>
                  <a:cubicBezTo>
                    <a:pt x="3128333" y="316050"/>
                    <a:pt x="3201322" y="389416"/>
                    <a:pt x="3201322" y="487238"/>
                  </a:cubicBezTo>
                  <a:cubicBezTo>
                    <a:pt x="3201322" y="487238"/>
                    <a:pt x="3201322" y="487238"/>
                    <a:pt x="3201322" y="3886530"/>
                  </a:cubicBezTo>
                  <a:cubicBezTo>
                    <a:pt x="3201322" y="3984351"/>
                    <a:pt x="3128333" y="4057717"/>
                    <a:pt x="3031014" y="4057717"/>
                  </a:cubicBezTo>
                  <a:cubicBezTo>
                    <a:pt x="3031014" y="4057717"/>
                    <a:pt x="3031014" y="4057717"/>
                    <a:pt x="2325453" y="4057717"/>
                  </a:cubicBezTo>
                  <a:cubicBezTo>
                    <a:pt x="2203804" y="4057717"/>
                    <a:pt x="2130815" y="3984351"/>
                    <a:pt x="2130815" y="3886530"/>
                  </a:cubicBezTo>
                  <a:cubicBezTo>
                    <a:pt x="2130815" y="3886530"/>
                    <a:pt x="2130815" y="3886530"/>
                    <a:pt x="2130815" y="487238"/>
                  </a:cubicBezTo>
                  <a:cubicBezTo>
                    <a:pt x="2130815" y="389416"/>
                    <a:pt x="2203804" y="316050"/>
                    <a:pt x="2325453" y="316050"/>
                  </a:cubicBezTo>
                  <a:close/>
                  <a:moveTo>
                    <a:pt x="269155" y="0"/>
                  </a:moveTo>
                  <a:cubicBezTo>
                    <a:pt x="415967" y="0"/>
                    <a:pt x="538311" y="122239"/>
                    <a:pt x="538311" y="268927"/>
                  </a:cubicBezTo>
                  <a:cubicBezTo>
                    <a:pt x="538311" y="268927"/>
                    <a:pt x="538311" y="268927"/>
                    <a:pt x="538311" y="4253925"/>
                  </a:cubicBezTo>
                  <a:cubicBezTo>
                    <a:pt x="538311" y="4253925"/>
                    <a:pt x="538311" y="4253925"/>
                    <a:pt x="4624575" y="4253925"/>
                  </a:cubicBezTo>
                  <a:cubicBezTo>
                    <a:pt x="4771387" y="4253925"/>
                    <a:pt x="4893730" y="4376164"/>
                    <a:pt x="4893730" y="4522851"/>
                  </a:cubicBezTo>
                  <a:cubicBezTo>
                    <a:pt x="4893730" y="4669538"/>
                    <a:pt x="4771387" y="4791777"/>
                    <a:pt x="4624575" y="4791777"/>
                  </a:cubicBezTo>
                  <a:cubicBezTo>
                    <a:pt x="4624575" y="4791777"/>
                    <a:pt x="4624575" y="4791777"/>
                    <a:pt x="269155" y="4791777"/>
                  </a:cubicBezTo>
                  <a:cubicBezTo>
                    <a:pt x="122344" y="4791777"/>
                    <a:pt x="0" y="4669538"/>
                    <a:pt x="0" y="4522851"/>
                  </a:cubicBezTo>
                  <a:cubicBezTo>
                    <a:pt x="0" y="4522851"/>
                    <a:pt x="0" y="4522851"/>
                    <a:pt x="0" y="268927"/>
                  </a:cubicBezTo>
                  <a:cubicBezTo>
                    <a:pt x="0" y="122239"/>
                    <a:pt x="122344" y="0"/>
                    <a:pt x="269155"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37148" tIns="109719" rIns="137148" bIns="109719"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699261"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5" name="Rectangle 104"/>
            <p:cNvSpPr/>
            <p:nvPr/>
          </p:nvSpPr>
          <p:spPr bwMode="auto">
            <a:xfrm rot="2745734">
              <a:off x="886688" y="2210975"/>
              <a:ext cx="1598323" cy="1625795"/>
            </a:xfrm>
            <a:prstGeom prst="rect">
              <a:avLst/>
            </a:prstGeom>
            <a:solidFill>
              <a:schemeClr val="tx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6" name="Rectangle 105"/>
            <p:cNvSpPr/>
            <p:nvPr/>
          </p:nvSpPr>
          <p:spPr bwMode="auto">
            <a:xfrm rot="2745734">
              <a:off x="292433" y="3819160"/>
              <a:ext cx="1610349" cy="1235003"/>
            </a:xfrm>
            <a:prstGeom prst="rect">
              <a:avLst/>
            </a:prstGeom>
            <a:solidFill>
              <a:schemeClr val="tx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7" name="Rectangle 106"/>
            <p:cNvSpPr/>
            <p:nvPr/>
          </p:nvSpPr>
          <p:spPr bwMode="auto">
            <a:xfrm rot="2745734">
              <a:off x="1315610" y="4915701"/>
              <a:ext cx="1263370" cy="1255989"/>
            </a:xfrm>
            <a:prstGeom prst="rect">
              <a:avLst/>
            </a:prstGeom>
            <a:solidFill>
              <a:schemeClr val="tx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37" name="Title 10"/>
          <p:cNvSpPr txBox="1">
            <a:spLocks/>
          </p:cNvSpPr>
          <p:nvPr/>
        </p:nvSpPr>
        <p:spPr>
          <a:xfrm>
            <a:off x="2849060" y="0"/>
            <a:ext cx="9342940" cy="665151"/>
          </a:xfrm>
          <a:prstGeom prst="rect">
            <a:avLst/>
          </a:prstGeom>
          <a:noFill/>
        </p:spPr>
        <p:txBody>
          <a:bodyPr vert="horz" wrap="square" lIns="0" tIns="91440" rIns="0" bIns="91440" rtlCol="0" anchor="t">
            <a:noAutofit/>
          </a:bodyPr>
          <a:lstStyle>
            <a:lvl1pPr defTabSz="914367">
              <a:lnSpc>
                <a:spcPct val="90000"/>
              </a:lnSpc>
              <a:spcBef>
                <a:spcPct val="0"/>
              </a:spcBef>
              <a:buNone/>
              <a:defRPr lang="en-US" sz="5294" b="0" cap="none" spc="-100" baseline="0" dirty="0" smtClean="0">
                <a:ln w="3175">
                  <a:noFill/>
                </a:ln>
                <a:solidFill>
                  <a:schemeClr val="tx2"/>
                </a:solidFill>
                <a:effectLst/>
                <a:latin typeface="+mj-lt"/>
                <a:cs typeface="Segoe UI" pitchFamily="34" charset="0"/>
              </a:defRPr>
            </a:lvl1pPr>
          </a:lstStyle>
          <a:p>
            <a:pPr marL="168275" marR="0" lvl="0" indent="0" algn="l" defTabSz="914367" rtl="0" eaLnBrk="1" fontAlgn="auto" latinLnBrk="0" hangingPunct="1">
              <a:lnSpc>
                <a:spcPct val="90000"/>
              </a:lnSpc>
              <a:spcBef>
                <a:spcPct val="0"/>
              </a:spcBef>
              <a:spcAft>
                <a:spcPts val="0"/>
              </a:spcAft>
              <a:buClrTx/>
              <a:buSzTx/>
              <a:buFontTx/>
              <a:buNone/>
              <a:tabLst/>
              <a:defRPr/>
            </a:pPr>
            <a:r>
              <a:rPr kumimoji="0" lang="en-US" sz="3600" b="0" i="0" u="none" strike="noStrike" kern="1200" cap="none" spc="-100" normalizeH="0" baseline="0" noProof="0">
                <a:ln w="3175">
                  <a:noFill/>
                </a:ln>
                <a:solidFill>
                  <a:prstClr val="black"/>
                </a:solidFill>
                <a:effectLst/>
                <a:uLnTx/>
                <a:uFillTx/>
                <a:latin typeface="Segoe UI Light"/>
                <a:ea typeface="+mn-ea"/>
                <a:cs typeface="Segoe UI" pitchFamily="34" charset="0"/>
              </a:rPr>
              <a:t>Creating a Data Model</a:t>
            </a:r>
            <a:endParaRPr kumimoji="0" lang="en-IN" sz="3600" b="0" i="0" u="none" strike="noStrike" kern="1200" cap="none" spc="-100" normalizeH="0" baseline="0" noProof="0">
              <a:ln w="3175">
                <a:noFill/>
              </a:ln>
              <a:solidFill>
                <a:prstClr val="black"/>
              </a:solidFill>
              <a:effectLst/>
              <a:uLnTx/>
              <a:uFillTx/>
              <a:latin typeface="Segoe UI Light"/>
              <a:ea typeface="+mn-ea"/>
              <a:cs typeface="Segoe UI" pitchFamily="34" charset="0"/>
            </a:endParaRPr>
          </a:p>
        </p:txBody>
      </p:sp>
      <p:sp>
        <p:nvSpPr>
          <p:cNvPr id="40" name="TextBox 39"/>
          <p:cNvSpPr txBox="1"/>
          <p:nvPr/>
        </p:nvSpPr>
        <p:spPr>
          <a:xfrm>
            <a:off x="3" y="51415"/>
            <a:ext cx="2849058" cy="430887"/>
          </a:xfrm>
          <a:prstGeom prst="rect">
            <a:avLst/>
          </a:prstGeom>
        </p:spPr>
        <p:txBody>
          <a:bodyPr wrap="square">
            <a:spAutoFit/>
          </a:bodyPr>
          <a:lstStyle>
            <a:defPPr>
              <a:defRPr lang="en-US"/>
            </a:defPPr>
            <a:lvl1pPr defTabSz="914192">
              <a:defRPr sz="2800" b="1" spc="-100">
                <a:ln w="3175">
                  <a:noFill/>
                </a:ln>
                <a:solidFill>
                  <a:srgbClr val="F2C812"/>
                </a:solidFill>
                <a:latin typeface="Segoe UI" panose="020B0502040204020203" pitchFamily="34" charset="0"/>
                <a:ea typeface="ＭＳ Ｐゴシック" charset="0"/>
                <a:cs typeface="Segoe UI" panose="020B0502040204020203" pitchFamily="34" charset="0"/>
              </a:defRPr>
            </a:lvl1pPr>
          </a:lstStyle>
          <a:p>
            <a:pPr marL="0" marR="0" lvl="0" indent="0" algn="l" defTabSz="914192" rtl="0" eaLnBrk="1" fontAlgn="auto" latinLnBrk="0" hangingPunct="1">
              <a:lnSpc>
                <a:spcPct val="100000"/>
              </a:lnSpc>
              <a:spcBef>
                <a:spcPts val="0"/>
              </a:spcBef>
              <a:spcAft>
                <a:spcPts val="0"/>
              </a:spcAft>
              <a:buClrTx/>
              <a:buSzTx/>
              <a:buFontTx/>
              <a:buNone/>
              <a:tabLst/>
              <a:defRPr/>
            </a:pPr>
            <a:r>
              <a:rPr kumimoji="0" lang="en-US" sz="2200" b="1" i="0" u="none" strike="noStrike" kern="1200" cap="none" spc="-100" normalizeH="0" baseline="0" noProof="0">
                <a:ln w="3175">
                  <a:noFill/>
                </a:ln>
                <a:solidFill>
                  <a:srgbClr val="F2C812"/>
                </a:solidFill>
                <a:effectLst/>
                <a:uLnTx/>
                <a:uFillTx/>
                <a:latin typeface="Segoe UI Light"/>
                <a:ea typeface="ＭＳ Ｐゴシック" charset="0"/>
                <a:cs typeface="Segoe UI" panose="020B0502040204020203" pitchFamily="34" charset="0"/>
              </a:rPr>
              <a:t>Power BI Desktop</a:t>
            </a:r>
          </a:p>
        </p:txBody>
      </p:sp>
      <p:sp>
        <p:nvSpPr>
          <p:cNvPr id="36" name="Rectangle 3"/>
          <p:cNvSpPr/>
          <p:nvPr/>
        </p:nvSpPr>
        <p:spPr bwMode="auto">
          <a:xfrm>
            <a:off x="3202216" y="665151"/>
            <a:ext cx="8105312" cy="44435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PT" sz="2000" b="0" i="1" u="none" strike="noStrike" kern="1200" cap="none" spc="0" normalizeH="0" baseline="0" noProof="0">
                <a:ln>
                  <a:noFill/>
                </a:ln>
                <a:solidFill>
                  <a:prstClr val="black"/>
                </a:solidFill>
                <a:effectLst/>
                <a:uLnTx/>
                <a:uFillTx/>
                <a:latin typeface="Segoe UI Light"/>
                <a:ea typeface="+mn-ea"/>
                <a:cs typeface="+mn-cs"/>
              </a:rPr>
              <a:t>Relationships – Creation</a:t>
            </a:r>
            <a:endParaRPr kumimoji="0" lang="en-US" sz="2000" b="0" i="1" u="none" strike="noStrike" kern="1200" cap="none" spc="0" normalizeH="0" baseline="0" noProof="0">
              <a:ln>
                <a:noFill/>
              </a:ln>
              <a:solidFill>
                <a:prstClr val="black"/>
              </a:solidFill>
              <a:effectLst/>
              <a:uLnTx/>
              <a:uFillTx/>
              <a:latin typeface="Segoe UI Light"/>
              <a:ea typeface="+mn-ea"/>
              <a:cs typeface="+mn-cs"/>
            </a:endParaRPr>
          </a:p>
        </p:txBody>
      </p:sp>
      <p:sp>
        <p:nvSpPr>
          <p:cNvPr id="41" name="Text Placeholder 2"/>
          <p:cNvSpPr txBox="1">
            <a:spLocks/>
          </p:cNvSpPr>
          <p:nvPr/>
        </p:nvSpPr>
        <p:spPr>
          <a:xfrm>
            <a:off x="2915396" y="1412203"/>
            <a:ext cx="9090381" cy="897374"/>
          </a:xfrm>
          <a:prstGeom prst="rect">
            <a:avLst/>
          </a:prstGeom>
        </p:spPr>
        <p:txBody>
          <a:bodyPr vert="horz" wrap="square" lIns="182880" tIns="146304" rIns="182880" bIns="146304" rtlCol="0">
            <a:noAutofit/>
          </a:bodyPr>
          <a:lstStyle>
            <a:lvl1pPr marL="182845" marR="0"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3921" kern="1200" spc="0" baseline="0">
                <a:gradFill>
                  <a:gsLst>
                    <a:gs pos="1250">
                      <a:schemeClr val="tx2"/>
                    </a:gs>
                    <a:gs pos="99000">
                      <a:schemeClr val="tx2"/>
                    </a:gs>
                  </a:gsLst>
                  <a:lin ang="5400000" scaled="0"/>
                </a:gradFill>
                <a:latin typeface="+mj-lt"/>
                <a:ea typeface="+mn-ea"/>
                <a:cs typeface="+mn-cs"/>
              </a:defRPr>
            </a:lvl1pPr>
            <a:lvl2pPr marL="365690" marR="0"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2400" kern="1200" spc="0" baseline="0">
                <a:solidFill>
                  <a:schemeClr val="tx2"/>
                </a:solidFill>
                <a:latin typeface="+mj-lt"/>
                <a:ea typeface="+mn-ea"/>
                <a:cs typeface="+mn-cs"/>
              </a:defRPr>
            </a:lvl2pPr>
            <a:lvl3pPr marL="548535" marR="0"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2000" kern="1200" spc="0" baseline="0">
                <a:solidFill>
                  <a:schemeClr val="tx2"/>
                </a:solidFill>
                <a:latin typeface="+mj-lt"/>
                <a:ea typeface="+mn-ea"/>
                <a:cs typeface="+mn-cs"/>
              </a:defRPr>
            </a:lvl3pPr>
            <a:lvl4pPr marL="733802" marR="0" indent="-28569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1765" kern="1200" spc="0" baseline="0">
                <a:solidFill>
                  <a:schemeClr val="tx2"/>
                </a:solidFill>
                <a:latin typeface="+mn-lt"/>
                <a:ea typeface="+mn-ea"/>
                <a:cs typeface="+mn-cs"/>
              </a:defRPr>
            </a:lvl4pPr>
            <a:lvl5pPr marL="957856" marR="0" indent="-28569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1765" kern="1200" spc="0" baseline="0">
                <a:solidFill>
                  <a:schemeClr val="tx2"/>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r>
              <a:rPr kumimoji="0" lang="pt-PT" sz="2400" b="0" i="0" u="none" strike="noStrike" kern="1200" cap="none" spc="0" normalizeH="0" baseline="0" noProof="0">
                <a:ln>
                  <a:noFill/>
                </a:ln>
                <a:solidFill>
                  <a:prstClr val="black"/>
                </a:solidFill>
                <a:effectLst/>
                <a:uLnTx/>
                <a:uFillTx/>
                <a:latin typeface="Segoe UI Light"/>
                <a:ea typeface="Calibri" panose="020F0502020204030204" pitchFamily="34" charset="0"/>
                <a:cs typeface="Times New Roman" panose="02020603050405020304" pitchFamily="18" charset="0"/>
              </a:rPr>
              <a:t>Relationships can be created manually via the </a:t>
            </a:r>
            <a:r>
              <a:rPr kumimoji="0" lang="pt-PT" sz="2400" b="1" i="0" u="none" strike="noStrike" kern="1200" cap="none" spc="0" normalizeH="0" baseline="0" noProof="0">
                <a:ln>
                  <a:noFill/>
                </a:ln>
                <a:solidFill>
                  <a:prstClr val="black"/>
                </a:solidFill>
                <a:effectLst/>
                <a:uLnTx/>
                <a:uFillTx/>
                <a:latin typeface="Segoe UI Light"/>
                <a:ea typeface="Calibri" panose="020F0502020204030204" pitchFamily="34" charset="0"/>
                <a:cs typeface="Times New Roman" panose="02020603050405020304" pitchFamily="18" charset="0"/>
              </a:rPr>
              <a:t>Manage Relationships</a:t>
            </a:r>
            <a:r>
              <a:rPr kumimoji="0" lang="pt-PT" sz="2400" b="0" i="0" u="none" strike="noStrike" kern="1200" cap="none" spc="0" normalizeH="0" baseline="0" noProof="0">
                <a:ln>
                  <a:noFill/>
                </a:ln>
                <a:solidFill>
                  <a:prstClr val="black"/>
                </a:solidFill>
                <a:effectLst/>
                <a:uLnTx/>
                <a:uFillTx/>
                <a:latin typeface="Segoe UI Light"/>
                <a:ea typeface="Calibri" panose="020F0502020204030204" pitchFamily="34" charset="0"/>
                <a:cs typeface="Times New Roman" panose="02020603050405020304" pitchFamily="18" charset="0"/>
              </a:rPr>
              <a:t> tab.</a:t>
            </a: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pt-PT" sz="2400" b="0" i="0" u="none" strike="noStrike" kern="1200" cap="none" spc="0" normalizeH="0" baseline="0" noProof="0">
              <a:ln>
                <a:noFill/>
              </a:ln>
              <a:solidFill>
                <a:prstClr val="black"/>
              </a:solidFill>
              <a:effectLst/>
              <a:uLnTx/>
              <a:uFillTx/>
              <a:latin typeface="Segoe UI Light"/>
              <a:ea typeface="Calibri" panose="020F0502020204030204" pitchFamily="34" charset="0"/>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pt-PT" sz="2400" b="0" i="0" u="none" strike="noStrike" kern="1200" cap="none" spc="0" normalizeH="0" baseline="0" noProof="0">
              <a:ln>
                <a:noFill/>
              </a:ln>
              <a:solidFill>
                <a:prstClr val="black"/>
              </a:solidFill>
              <a:effectLst/>
              <a:uLnTx/>
              <a:uFillTx/>
              <a:latin typeface="Segoe UI Light"/>
              <a:ea typeface="Calibri" panose="020F0502020204030204" pitchFamily="34" charset="0"/>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pt-PT" sz="2400" b="0" i="0" u="none" strike="noStrike" kern="1200" cap="none" spc="0" normalizeH="0" baseline="0" noProof="0">
              <a:ln>
                <a:noFill/>
              </a:ln>
              <a:solidFill>
                <a:prstClr val="black"/>
              </a:solidFill>
              <a:effectLst/>
              <a:uLnTx/>
              <a:uFillTx/>
              <a:latin typeface="Segoe UI Light"/>
              <a:ea typeface="Calibri" panose="020F0502020204030204" pitchFamily="34" charset="0"/>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pt-PT" sz="2400" b="0" i="0" u="none" strike="noStrike" kern="1200" cap="none" spc="0" normalizeH="0" baseline="0" noProof="0">
              <a:ln>
                <a:noFill/>
              </a:ln>
              <a:solidFill>
                <a:prstClr val="black"/>
              </a:solidFill>
              <a:effectLst/>
              <a:uLnTx/>
              <a:uFillTx/>
              <a:latin typeface="Segoe UI Light"/>
              <a:ea typeface="Calibri" panose="020F0502020204030204" pitchFamily="34" charset="0"/>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pt-PT" sz="2400" b="0" i="0" u="none" strike="noStrike" kern="1200" cap="none" spc="0" normalizeH="0" baseline="0" noProof="0">
              <a:ln>
                <a:noFill/>
              </a:ln>
              <a:solidFill>
                <a:prstClr val="black"/>
              </a:solidFill>
              <a:effectLst/>
              <a:uLnTx/>
              <a:uFillTx/>
              <a:latin typeface="Segoe UI Light"/>
              <a:ea typeface="Calibri" panose="020F0502020204030204" pitchFamily="34" charset="0"/>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r>
              <a:rPr kumimoji="0" lang="pt-PT" sz="2400" b="0" i="0" u="none" strike="noStrike" kern="1200" cap="none" spc="0" normalizeH="0" baseline="0" noProof="0">
                <a:ln>
                  <a:noFill/>
                </a:ln>
                <a:solidFill>
                  <a:prstClr val="black"/>
                </a:solidFill>
                <a:effectLst/>
                <a:uLnTx/>
                <a:uFillTx/>
                <a:latin typeface="Segoe UI Light"/>
                <a:ea typeface="Calibri" panose="020F0502020204030204" pitchFamily="34" charset="0"/>
                <a:cs typeface="Times New Roman" panose="02020603050405020304" pitchFamily="18" charset="0"/>
              </a:rPr>
              <a:t>Or by dragging-and-dropping in the Relationship Viewer</a:t>
            </a: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pt-PT" sz="2400" b="0" i="0" u="none" strike="noStrike" kern="1200" cap="none" spc="0" normalizeH="0" baseline="0" noProof="0">
              <a:ln>
                <a:noFill/>
              </a:ln>
              <a:solidFill>
                <a:prstClr val="black"/>
              </a:solidFill>
              <a:effectLst/>
              <a:uLnTx/>
              <a:uFillTx/>
              <a:latin typeface="Segoe UI Light"/>
              <a:ea typeface="Calibri" panose="020F0502020204030204" pitchFamily="34" charset="0"/>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r>
              <a:rPr kumimoji="0" lang="pt-PT" sz="2400" b="0" i="0" u="none" strike="noStrike" kern="1200" cap="none" spc="0" normalizeH="0" baseline="0" noProof="0">
                <a:ln>
                  <a:noFill/>
                </a:ln>
                <a:solidFill>
                  <a:prstClr val="black"/>
                </a:solidFill>
                <a:effectLst/>
                <a:uLnTx/>
                <a:uFillTx/>
                <a:latin typeface="Segoe UI Light"/>
                <a:ea typeface="Calibri" panose="020F0502020204030204" pitchFamily="34" charset="0"/>
                <a:cs typeface="Times New Roman" panose="02020603050405020304" pitchFamily="18" charset="0"/>
              </a:rPr>
              <a:t>There is also an </a:t>
            </a:r>
            <a:r>
              <a:rPr kumimoji="0" lang="pt-PT" sz="2400" b="1" i="0" u="none" strike="noStrike" kern="1200" cap="none" spc="0" normalizeH="0" baseline="0" noProof="0">
                <a:ln>
                  <a:noFill/>
                </a:ln>
                <a:solidFill>
                  <a:prstClr val="black"/>
                </a:solidFill>
                <a:effectLst/>
                <a:uLnTx/>
                <a:uFillTx/>
                <a:latin typeface="Segoe UI Light"/>
                <a:ea typeface="Calibri" panose="020F0502020204030204" pitchFamily="34" charset="0"/>
                <a:cs typeface="Times New Roman" panose="02020603050405020304" pitchFamily="18" charset="0"/>
              </a:rPr>
              <a:t>auto-detect </a:t>
            </a:r>
            <a:r>
              <a:rPr kumimoji="0" lang="pt-PT" sz="2400" b="0" i="0" u="none" strike="noStrike" kern="1200" cap="none" spc="0" normalizeH="0" baseline="0" noProof="0">
                <a:ln>
                  <a:noFill/>
                </a:ln>
                <a:solidFill>
                  <a:prstClr val="black"/>
                </a:solidFill>
                <a:effectLst/>
                <a:uLnTx/>
                <a:uFillTx/>
                <a:latin typeface="Segoe UI Light"/>
                <a:ea typeface="Calibri" panose="020F0502020204030204" pitchFamily="34" charset="0"/>
                <a:cs typeface="Times New Roman" panose="02020603050405020304" pitchFamily="18" charset="0"/>
              </a:rPr>
              <a:t>feature where Power BI desktop will rely on </a:t>
            </a:r>
            <a:r>
              <a:rPr kumimoji="0" lang="pt-PT" sz="2400" b="1" i="0" u="none" strike="noStrike" kern="1200" cap="none" spc="0" normalizeH="0" baseline="0" noProof="0">
                <a:ln>
                  <a:noFill/>
                </a:ln>
                <a:solidFill>
                  <a:prstClr val="black"/>
                </a:solidFill>
                <a:effectLst/>
                <a:uLnTx/>
                <a:uFillTx/>
                <a:latin typeface="Segoe UI Light"/>
                <a:ea typeface="Calibri" panose="020F0502020204030204" pitchFamily="34" charset="0"/>
                <a:cs typeface="Times New Roman" panose="02020603050405020304" pitchFamily="18" charset="0"/>
              </a:rPr>
              <a:t>column names and data types </a:t>
            </a:r>
            <a:r>
              <a:rPr kumimoji="0" lang="pt-PT" sz="2400" b="0" i="0" u="none" strike="noStrike" kern="1200" cap="none" spc="0" normalizeH="0" baseline="0" noProof="0">
                <a:ln>
                  <a:noFill/>
                </a:ln>
                <a:solidFill>
                  <a:prstClr val="black"/>
                </a:solidFill>
                <a:effectLst/>
                <a:uLnTx/>
                <a:uFillTx/>
                <a:latin typeface="Segoe UI Light"/>
                <a:ea typeface="Calibri" panose="020F0502020204030204" pitchFamily="34" charset="0"/>
                <a:cs typeface="Times New Roman" panose="02020603050405020304" pitchFamily="18" charset="0"/>
              </a:rPr>
              <a:t>(or constraints defined in the data source) to detect relationships.</a:t>
            </a: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pt-PT" sz="2400" b="0" i="0" u="none" strike="noStrike" kern="1200" cap="none" spc="0" normalizeH="0" baseline="0" noProof="0">
              <a:ln>
                <a:noFill/>
              </a:ln>
              <a:solidFill>
                <a:prstClr val="black"/>
              </a:solidFill>
              <a:effectLst/>
              <a:uLnTx/>
              <a:uFillTx/>
              <a:latin typeface="Segoe UI Light"/>
              <a:ea typeface="Calibri" panose="020F0502020204030204" pitchFamily="34" charset="0"/>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pt-PT" sz="2400" b="0" i="0" u="none" strike="noStrike" kern="1200" cap="none" spc="0" normalizeH="0" baseline="0" noProof="0">
              <a:ln>
                <a:noFill/>
              </a:ln>
              <a:solidFill>
                <a:prstClr val="black"/>
              </a:solidFill>
              <a:effectLst/>
              <a:uLnTx/>
              <a:uFillTx/>
              <a:latin typeface="Segoe UI Light"/>
              <a:ea typeface="Calibri" panose="020F0502020204030204" pitchFamily="34" charset="0"/>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pt-PT" sz="2400" b="0" i="0" u="none" strike="noStrike" kern="1200" cap="none" spc="0" normalizeH="0" baseline="0" noProof="0">
              <a:ln>
                <a:noFill/>
              </a:ln>
              <a:solidFill>
                <a:prstClr val="black"/>
              </a:solidFill>
              <a:effectLst/>
              <a:uLnTx/>
              <a:uFillTx/>
              <a:latin typeface="Segoe UI Light"/>
              <a:ea typeface="Calibri" panose="020F0502020204030204" pitchFamily="34" charset="0"/>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400" b="1" i="0" u="none" strike="noStrike" kern="1200" cap="none" spc="0" normalizeH="0" baseline="0" noProof="0">
              <a:ln>
                <a:noFill/>
              </a:ln>
              <a:solidFill>
                <a:prstClr val="black"/>
              </a:solidFill>
              <a:effectLst/>
              <a:uLnTx/>
              <a:uFillTx/>
              <a:latin typeface="Segoe UI Light"/>
              <a:ea typeface="Calibri" panose="020F0502020204030204" pitchFamily="34" charset="0"/>
              <a:cs typeface="Times New Roman" panose="02020603050405020304" pitchFamily="18" charset="0"/>
            </a:endParaRPr>
          </a:p>
        </p:txBody>
      </p:sp>
      <p:sp>
        <p:nvSpPr>
          <p:cNvPr id="52" name="Rectangle 51"/>
          <p:cNvSpPr/>
          <p:nvPr/>
        </p:nvSpPr>
        <p:spPr bwMode="auto">
          <a:xfrm>
            <a:off x="10609138" y="2654203"/>
            <a:ext cx="790382" cy="819703"/>
          </a:xfrm>
          <a:prstGeom prst="rect">
            <a:avLst/>
          </a:prstGeom>
          <a:noFill/>
          <a:ln w="38100">
            <a:solidFill>
              <a:srgbClr val="FF00F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26390392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5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2" grpId="0" animBg="1"/>
    </p:bld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p:cNvGrpSpPr/>
          <p:nvPr/>
        </p:nvGrpSpPr>
        <p:grpSpPr>
          <a:xfrm>
            <a:off x="-11149" y="0"/>
            <a:ext cx="2849058" cy="6858000"/>
            <a:chOff x="2" y="1"/>
            <a:chExt cx="2849058" cy="6858000"/>
          </a:xfrm>
        </p:grpSpPr>
        <p:sp>
          <p:nvSpPr>
            <p:cNvPr id="70" name="Rectangle 69"/>
            <p:cNvSpPr/>
            <p:nvPr/>
          </p:nvSpPr>
          <p:spPr bwMode="auto">
            <a:xfrm>
              <a:off x="2" y="1"/>
              <a:ext cx="2849058"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5" name="Oval 70"/>
            <p:cNvSpPr/>
            <p:nvPr/>
          </p:nvSpPr>
          <p:spPr>
            <a:xfrm>
              <a:off x="1413521" y="4951537"/>
              <a:ext cx="1119626" cy="1119626"/>
            </a:xfrm>
            <a:prstGeom prst="ellipse">
              <a:avLst/>
            </a:prstGeom>
            <a:solidFill>
              <a:srgbClr val="F2C812"/>
            </a:solidFill>
            <a:ln w="3175" cap="flat" cmpd="sng" algn="ctr">
              <a:noFill/>
              <a:prstDash val="solid"/>
            </a:ln>
            <a:effectLst/>
          </p:spPr>
          <p:txBody>
            <a:bodyPr vert="horz" wrap="none" lIns="0" tIns="45720" rIns="0" bIns="0" rtlCol="0" anchor="t"/>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Segoe UI"/>
                  <a:ea typeface="Segoe UI" pitchFamily="34" charset="0"/>
                  <a:cs typeface="Segoe UI" pitchFamily="34" charset="0"/>
                </a:rPr>
                <a:t>Share &amp;</a:t>
              </a:r>
            </a:p>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Segoe UI"/>
                  <a:ea typeface="Segoe UI" pitchFamily="34" charset="0"/>
                  <a:cs typeface="Segoe UI" pitchFamily="34" charset="0"/>
                </a:rPr>
                <a:t>collaborate </a:t>
              </a:r>
            </a:p>
          </p:txBody>
        </p:sp>
        <p:grpSp>
          <p:nvGrpSpPr>
            <p:cNvPr id="66" name="Group 38"/>
            <p:cNvGrpSpPr>
              <a:grpSpLocks noChangeAspect="1"/>
            </p:cNvGrpSpPr>
            <p:nvPr/>
          </p:nvGrpSpPr>
          <p:grpSpPr>
            <a:xfrm>
              <a:off x="676996" y="3930692"/>
              <a:ext cx="383905" cy="351536"/>
              <a:chOff x="4363684" y="5330386"/>
              <a:chExt cx="1409956" cy="1291077"/>
            </a:xfrm>
            <a:solidFill>
              <a:srgbClr val="217346"/>
            </a:solidFill>
          </p:grpSpPr>
          <p:sp>
            <p:nvSpPr>
              <p:cNvPr id="67" name="Donut 3"/>
              <p:cNvSpPr/>
              <p:nvPr/>
            </p:nvSpPr>
            <p:spPr bwMode="auto">
              <a:xfrm>
                <a:off x="4363684" y="5330386"/>
                <a:ext cx="1409956" cy="1291077"/>
              </a:xfrm>
              <a:custGeom>
                <a:avLst/>
                <a:gdLst/>
                <a:ahLst/>
                <a:cxnLst/>
                <a:rect l="l" t="t" r="r" b="b"/>
                <a:pathLst>
                  <a:path w="1409956" h="1291077">
                    <a:moveTo>
                      <a:pt x="956401" y="78410"/>
                    </a:moveTo>
                    <a:cubicBezTo>
                      <a:pt x="747518" y="78410"/>
                      <a:pt x="578184" y="247744"/>
                      <a:pt x="578184" y="456627"/>
                    </a:cubicBezTo>
                    <a:cubicBezTo>
                      <a:pt x="578184" y="665510"/>
                      <a:pt x="747518" y="834844"/>
                      <a:pt x="956401" y="834844"/>
                    </a:cubicBezTo>
                    <a:cubicBezTo>
                      <a:pt x="1165284" y="834844"/>
                      <a:pt x="1334618" y="665510"/>
                      <a:pt x="1334618" y="456627"/>
                    </a:cubicBezTo>
                    <a:cubicBezTo>
                      <a:pt x="1334618" y="247744"/>
                      <a:pt x="1165284" y="78410"/>
                      <a:pt x="956401" y="78410"/>
                    </a:cubicBezTo>
                    <a:close/>
                    <a:moveTo>
                      <a:pt x="952756" y="0"/>
                    </a:moveTo>
                    <a:cubicBezTo>
                      <a:pt x="1205261" y="0"/>
                      <a:pt x="1409956" y="204695"/>
                      <a:pt x="1409956" y="457200"/>
                    </a:cubicBezTo>
                    <a:cubicBezTo>
                      <a:pt x="1409956" y="709705"/>
                      <a:pt x="1205261" y="914400"/>
                      <a:pt x="952756" y="914400"/>
                    </a:cubicBezTo>
                    <a:cubicBezTo>
                      <a:pt x="862133" y="914400"/>
                      <a:pt x="777669" y="888034"/>
                      <a:pt x="707132" y="841746"/>
                    </a:cubicBezTo>
                    <a:lnTo>
                      <a:pt x="136495" y="1280102"/>
                    </a:lnTo>
                    <a:cubicBezTo>
                      <a:pt x="21896" y="1327168"/>
                      <a:pt x="-44029" y="1213730"/>
                      <a:pt x="33797" y="1113182"/>
                    </a:cubicBezTo>
                    <a:lnTo>
                      <a:pt x="568587" y="703518"/>
                    </a:lnTo>
                    <a:cubicBezTo>
                      <a:pt x="522087" y="632814"/>
                      <a:pt x="495556" y="548105"/>
                      <a:pt x="495556" y="457200"/>
                    </a:cubicBezTo>
                    <a:cubicBezTo>
                      <a:pt x="495556" y="204695"/>
                      <a:pt x="700251" y="0"/>
                      <a:pt x="952756" y="0"/>
                    </a:cubicBezTo>
                    <a:close/>
                  </a:path>
                </a:pathLst>
              </a:custGeom>
              <a:grpFill/>
              <a:ln>
                <a:solidFill>
                  <a:srgbClr val="21734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sp>
            <p:nvSpPr>
              <p:cNvPr id="68" name="Rectangle 4"/>
              <p:cNvSpPr/>
              <p:nvPr/>
            </p:nvSpPr>
            <p:spPr>
              <a:xfrm>
                <a:off x="5058389" y="5528247"/>
                <a:ext cx="490885" cy="490020"/>
              </a:xfrm>
              <a:custGeom>
                <a:avLst/>
                <a:gdLst/>
                <a:ahLst/>
                <a:cxnLst/>
                <a:rect l="l" t="t" r="r" b="b"/>
                <a:pathLst>
                  <a:path w="490885" h="490020">
                    <a:moveTo>
                      <a:pt x="240752" y="0"/>
                    </a:moveTo>
                    <a:cubicBezTo>
                      <a:pt x="253961" y="11844"/>
                      <a:pt x="293310" y="49692"/>
                      <a:pt x="337332" y="92439"/>
                    </a:cubicBezTo>
                    <a:lnTo>
                      <a:pt x="328342" y="81259"/>
                    </a:lnTo>
                    <a:cubicBezTo>
                      <a:pt x="356946" y="111282"/>
                      <a:pt x="377251" y="107167"/>
                      <a:pt x="382515" y="87941"/>
                    </a:cubicBezTo>
                    <a:cubicBezTo>
                      <a:pt x="383951" y="76921"/>
                      <a:pt x="384595" y="68732"/>
                      <a:pt x="396997" y="52239"/>
                    </a:cubicBezTo>
                    <a:cubicBezTo>
                      <a:pt x="420362" y="32084"/>
                      <a:pt x="442294" y="41736"/>
                      <a:pt x="454920" y="51330"/>
                    </a:cubicBezTo>
                    <a:cubicBezTo>
                      <a:pt x="467834" y="62761"/>
                      <a:pt x="477920" y="86882"/>
                      <a:pt x="460392" y="109714"/>
                    </a:cubicBezTo>
                    <a:cubicBezTo>
                      <a:pt x="451128" y="121912"/>
                      <a:pt x="437554" y="126838"/>
                      <a:pt x="425922" y="126505"/>
                    </a:cubicBezTo>
                    <a:cubicBezTo>
                      <a:pt x="424301" y="127609"/>
                      <a:pt x="382890" y="134974"/>
                      <a:pt x="427348" y="177672"/>
                    </a:cubicBezTo>
                    <a:lnTo>
                      <a:pt x="416886" y="169735"/>
                    </a:lnTo>
                    <a:cubicBezTo>
                      <a:pt x="450207" y="202177"/>
                      <a:pt x="478424" y="229744"/>
                      <a:pt x="490885" y="241900"/>
                    </a:cubicBezTo>
                    <a:lnTo>
                      <a:pt x="417150" y="317347"/>
                    </a:lnTo>
                    <a:cubicBezTo>
                      <a:pt x="417744" y="316535"/>
                      <a:pt x="418443" y="316123"/>
                      <a:pt x="419047" y="315822"/>
                    </a:cubicBezTo>
                    <a:cubicBezTo>
                      <a:pt x="389023" y="344426"/>
                      <a:pt x="393138" y="364731"/>
                      <a:pt x="412364" y="369995"/>
                    </a:cubicBezTo>
                    <a:cubicBezTo>
                      <a:pt x="423384" y="371431"/>
                      <a:pt x="431574" y="372075"/>
                      <a:pt x="448067" y="384477"/>
                    </a:cubicBezTo>
                    <a:cubicBezTo>
                      <a:pt x="468221" y="407842"/>
                      <a:pt x="458569" y="429774"/>
                      <a:pt x="448975" y="442400"/>
                    </a:cubicBezTo>
                    <a:cubicBezTo>
                      <a:pt x="437545" y="455314"/>
                      <a:pt x="413423" y="465400"/>
                      <a:pt x="390591" y="447872"/>
                    </a:cubicBezTo>
                    <a:cubicBezTo>
                      <a:pt x="378394" y="438608"/>
                      <a:pt x="373468" y="425034"/>
                      <a:pt x="373800" y="413402"/>
                    </a:cubicBezTo>
                    <a:cubicBezTo>
                      <a:pt x="372696" y="411781"/>
                      <a:pt x="365332" y="370370"/>
                      <a:pt x="322634" y="414828"/>
                    </a:cubicBezTo>
                    <a:lnTo>
                      <a:pt x="325243" y="411388"/>
                    </a:lnTo>
                    <a:lnTo>
                      <a:pt x="248395" y="490020"/>
                    </a:lnTo>
                    <a:cubicBezTo>
                      <a:pt x="208939" y="451897"/>
                      <a:pt x="199129" y="442073"/>
                      <a:pt x="174192" y="418236"/>
                    </a:cubicBezTo>
                    <a:cubicBezTo>
                      <a:pt x="145587" y="388212"/>
                      <a:pt x="125282" y="392327"/>
                      <a:pt x="120018" y="411553"/>
                    </a:cubicBezTo>
                    <a:cubicBezTo>
                      <a:pt x="118582" y="422573"/>
                      <a:pt x="117938" y="430763"/>
                      <a:pt x="105536" y="447256"/>
                    </a:cubicBezTo>
                    <a:cubicBezTo>
                      <a:pt x="82171" y="467410"/>
                      <a:pt x="60239" y="457758"/>
                      <a:pt x="47614" y="448164"/>
                    </a:cubicBezTo>
                    <a:cubicBezTo>
                      <a:pt x="34699" y="436734"/>
                      <a:pt x="24614" y="412612"/>
                      <a:pt x="42141" y="389780"/>
                    </a:cubicBezTo>
                    <a:cubicBezTo>
                      <a:pt x="51405" y="377583"/>
                      <a:pt x="64979" y="372657"/>
                      <a:pt x="76612" y="372989"/>
                    </a:cubicBezTo>
                    <a:cubicBezTo>
                      <a:pt x="78232" y="371886"/>
                      <a:pt x="119644" y="364521"/>
                      <a:pt x="75186" y="321823"/>
                    </a:cubicBezTo>
                    <a:cubicBezTo>
                      <a:pt x="58767" y="305402"/>
                      <a:pt x="23648" y="271235"/>
                      <a:pt x="0" y="248738"/>
                    </a:cubicBezTo>
                    <a:lnTo>
                      <a:pt x="77303" y="168146"/>
                    </a:lnTo>
                    <a:cubicBezTo>
                      <a:pt x="104269" y="140313"/>
                      <a:pt x="122130" y="156409"/>
                      <a:pt x="124388" y="175543"/>
                    </a:cubicBezTo>
                    <a:cubicBezTo>
                      <a:pt x="124457" y="182466"/>
                      <a:pt x="127106" y="193106"/>
                      <a:pt x="137575" y="203052"/>
                    </a:cubicBezTo>
                    <a:cubicBezTo>
                      <a:pt x="153931" y="220277"/>
                      <a:pt x="181252" y="217451"/>
                      <a:pt x="196721" y="201951"/>
                    </a:cubicBezTo>
                    <a:cubicBezTo>
                      <a:pt x="211961" y="185740"/>
                      <a:pt x="213057" y="157882"/>
                      <a:pt x="196146" y="142797"/>
                    </a:cubicBezTo>
                    <a:cubicBezTo>
                      <a:pt x="184301" y="132637"/>
                      <a:pt x="177155" y="131453"/>
                      <a:pt x="166513" y="129894"/>
                    </a:cubicBezTo>
                    <a:cubicBezTo>
                      <a:pt x="154522" y="129013"/>
                      <a:pt x="131185" y="112953"/>
                      <a:pt x="157905" y="85228"/>
                    </a:cubicBezTo>
                    <a:close/>
                  </a:path>
                </a:pathLst>
              </a:custGeom>
              <a:grpFill/>
              <a:ln>
                <a:solidFill>
                  <a:srgbClr val="21734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grpSp>
        <p:sp>
          <p:nvSpPr>
            <p:cNvPr id="69" name="Oval 47"/>
            <p:cNvSpPr/>
            <p:nvPr/>
          </p:nvSpPr>
          <p:spPr>
            <a:xfrm>
              <a:off x="388608" y="3710471"/>
              <a:ext cx="1119626" cy="1119626"/>
            </a:xfrm>
            <a:prstGeom prst="ellipse">
              <a:avLst/>
            </a:prstGeom>
            <a:solidFill>
              <a:srgbClr val="F2C812"/>
            </a:solidFill>
            <a:ln w="3175" cap="flat" cmpd="sng" algn="ctr">
              <a:noFill/>
              <a:prstDash val="solid"/>
            </a:ln>
            <a:effectLst/>
          </p:spPr>
          <p:txBody>
            <a:bodyPr vert="horz" wrap="none" lIns="0" tIns="45720" rIns="0" bIns="0" rtlCol="0" anchor="t"/>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Segoe UI"/>
                  <a:ea typeface="Segoe UI" pitchFamily="34" charset="0"/>
                  <a:cs typeface="Segoe UI" pitchFamily="34" charset="0"/>
                </a:rPr>
                <a:t>Report</a:t>
              </a:r>
            </a:p>
          </p:txBody>
        </p:sp>
        <p:sp>
          <p:nvSpPr>
            <p:cNvPr id="85" name="Oval 950"/>
            <p:cNvSpPr/>
            <p:nvPr/>
          </p:nvSpPr>
          <p:spPr>
            <a:xfrm>
              <a:off x="388608" y="1252295"/>
              <a:ext cx="1119626" cy="1119626"/>
            </a:xfrm>
            <a:prstGeom prst="ellipse">
              <a:avLst/>
            </a:prstGeom>
            <a:solidFill>
              <a:srgbClr val="F2C812"/>
            </a:solidFill>
            <a:ln w="3175" cap="flat" cmpd="sng" algn="ctr">
              <a:noFill/>
              <a:prstDash val="solid"/>
            </a:ln>
            <a:effectLst/>
          </p:spPr>
          <p:txBody>
            <a:bodyPr vert="horz" wrap="none" lIns="0" tIns="45720" rIns="0" bIns="0" rtlCol="0" anchor="t"/>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1" i="0" u="none" strike="noStrike" kern="1200" cap="none" spc="0" normalizeH="0" baseline="0" noProof="0">
                <a:ln>
                  <a:noFill/>
                </a:ln>
                <a:solidFill>
                  <a:srgbClr val="217346"/>
                </a:solidFill>
                <a:effectLst/>
                <a:uLnTx/>
                <a:uFillTx/>
                <a:latin typeface="Segoe UI"/>
                <a:ea typeface="Segoe UI" pitchFamily="34" charset="0"/>
                <a:cs typeface="Segoe UI" pitchFamily="34" charset="0"/>
              </a:endParaRPr>
            </a:p>
          </p:txBody>
        </p:sp>
        <p:grpSp>
          <p:nvGrpSpPr>
            <p:cNvPr id="86" name="Group 85"/>
            <p:cNvGrpSpPr/>
            <p:nvPr/>
          </p:nvGrpSpPr>
          <p:grpSpPr>
            <a:xfrm>
              <a:off x="1264851" y="3482890"/>
              <a:ext cx="292254" cy="354906"/>
              <a:chOff x="1296521" y="3253388"/>
              <a:chExt cx="292254" cy="354906"/>
            </a:xfrm>
            <a:solidFill>
              <a:srgbClr val="F2C812"/>
            </a:solidFill>
          </p:grpSpPr>
          <p:sp>
            <p:nvSpPr>
              <p:cNvPr id="87" name="Isosceles Triangle 86"/>
              <p:cNvSpPr/>
              <p:nvPr/>
            </p:nvSpPr>
            <p:spPr bwMode="auto">
              <a:xfrm rot="13636515">
                <a:off x="1461362" y="328936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8" name="Isosceles Triangle 87"/>
              <p:cNvSpPr/>
              <p:nvPr/>
            </p:nvSpPr>
            <p:spPr bwMode="auto">
              <a:xfrm rot="13636515">
                <a:off x="1357669" y="338258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9" name="Isosceles Triangle 88"/>
              <p:cNvSpPr/>
              <p:nvPr/>
            </p:nvSpPr>
            <p:spPr bwMode="auto">
              <a:xfrm rot="13636515">
                <a:off x="1260548" y="3480882"/>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90" name="Group 89"/>
            <p:cNvGrpSpPr/>
            <p:nvPr/>
          </p:nvGrpSpPr>
          <p:grpSpPr>
            <a:xfrm rot="15940603">
              <a:off x="1334576" y="2204404"/>
              <a:ext cx="292254" cy="354906"/>
              <a:chOff x="1296521" y="3253388"/>
              <a:chExt cx="292254" cy="354906"/>
            </a:xfrm>
            <a:solidFill>
              <a:srgbClr val="F2C812"/>
            </a:solidFill>
          </p:grpSpPr>
          <p:sp>
            <p:nvSpPr>
              <p:cNvPr id="91" name="Isosceles Triangle 90"/>
              <p:cNvSpPr/>
              <p:nvPr/>
            </p:nvSpPr>
            <p:spPr bwMode="auto">
              <a:xfrm rot="13636515">
                <a:off x="1461362" y="328936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2" name="Isosceles Triangle 91"/>
              <p:cNvSpPr/>
              <p:nvPr/>
            </p:nvSpPr>
            <p:spPr bwMode="auto">
              <a:xfrm rot="13636515">
                <a:off x="1357669" y="338258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3" name="Isosceles Triangle 92"/>
              <p:cNvSpPr/>
              <p:nvPr/>
            </p:nvSpPr>
            <p:spPr bwMode="auto">
              <a:xfrm rot="13636515">
                <a:off x="1260548" y="3480882"/>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94" name="Group 93"/>
            <p:cNvGrpSpPr/>
            <p:nvPr/>
          </p:nvGrpSpPr>
          <p:grpSpPr>
            <a:xfrm rot="16043978">
              <a:off x="1317220" y="4717577"/>
              <a:ext cx="292254" cy="354906"/>
              <a:chOff x="1296521" y="3253388"/>
              <a:chExt cx="292254" cy="354906"/>
            </a:xfrm>
            <a:solidFill>
              <a:srgbClr val="F2C812"/>
            </a:solidFill>
          </p:grpSpPr>
          <p:sp>
            <p:nvSpPr>
              <p:cNvPr id="95" name="Isosceles Triangle 94"/>
              <p:cNvSpPr/>
              <p:nvPr/>
            </p:nvSpPr>
            <p:spPr bwMode="auto">
              <a:xfrm rot="13636515">
                <a:off x="1461362" y="328936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6" name="Isosceles Triangle 95"/>
              <p:cNvSpPr/>
              <p:nvPr/>
            </p:nvSpPr>
            <p:spPr bwMode="auto">
              <a:xfrm rot="13636515">
                <a:off x="1357669" y="338258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7" name="Isosceles Triangle 96"/>
              <p:cNvSpPr/>
              <p:nvPr/>
            </p:nvSpPr>
            <p:spPr bwMode="auto">
              <a:xfrm rot="13636515">
                <a:off x="1260548" y="3480882"/>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98" name="Oval 36"/>
            <p:cNvSpPr/>
            <p:nvPr/>
          </p:nvSpPr>
          <p:spPr>
            <a:xfrm>
              <a:off x="1413521" y="2481383"/>
              <a:ext cx="1119626" cy="1119626"/>
            </a:xfrm>
            <a:prstGeom prst="ellipse">
              <a:avLst/>
            </a:prstGeom>
            <a:solidFill>
              <a:srgbClr val="F2C812"/>
            </a:solidFill>
            <a:ln w="3175" cap="flat" cmpd="sng" algn="ctr">
              <a:noFill/>
              <a:prstDash val="solid"/>
            </a:ln>
            <a:effectLst/>
          </p:spPr>
          <p:txBody>
            <a:bodyPr vert="horz" wrap="none" lIns="0" tIns="0" rIns="0" bIns="0" rtlCol="0" anchor="t"/>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400" b="1" i="0" u="none" strike="noStrike" kern="1200" cap="none" spc="0" normalizeH="0" baseline="0" noProof="0">
                <a:ln>
                  <a:noFill/>
                </a:ln>
                <a:solidFill>
                  <a:srgbClr val="217346"/>
                </a:solidFill>
                <a:effectLst/>
                <a:uLnTx/>
                <a:uFillTx/>
                <a:latin typeface="Segoe UI"/>
                <a:ea typeface="Segoe UI" pitchFamily="34" charset="0"/>
                <a:cs typeface="Segoe UI" pitchFamily="34" charset="0"/>
              </a:endParaRPr>
            </a:p>
          </p:txBody>
        </p:sp>
        <p:sp>
          <p:nvSpPr>
            <p:cNvPr id="99" name="Donut 3"/>
            <p:cNvSpPr/>
            <p:nvPr/>
          </p:nvSpPr>
          <p:spPr bwMode="auto">
            <a:xfrm>
              <a:off x="1742065" y="3002355"/>
              <a:ext cx="383905" cy="351537"/>
            </a:xfrm>
            <a:custGeom>
              <a:avLst/>
              <a:gdLst/>
              <a:ahLst/>
              <a:cxnLst/>
              <a:rect l="l" t="t" r="r" b="b"/>
              <a:pathLst>
                <a:path w="1409956" h="1291077">
                  <a:moveTo>
                    <a:pt x="956401" y="78410"/>
                  </a:moveTo>
                  <a:cubicBezTo>
                    <a:pt x="747518" y="78410"/>
                    <a:pt x="578184" y="247744"/>
                    <a:pt x="578184" y="456627"/>
                  </a:cubicBezTo>
                  <a:cubicBezTo>
                    <a:pt x="578184" y="665510"/>
                    <a:pt x="747518" y="834844"/>
                    <a:pt x="956401" y="834844"/>
                  </a:cubicBezTo>
                  <a:cubicBezTo>
                    <a:pt x="1165284" y="834844"/>
                    <a:pt x="1334618" y="665510"/>
                    <a:pt x="1334618" y="456627"/>
                  </a:cubicBezTo>
                  <a:cubicBezTo>
                    <a:pt x="1334618" y="247744"/>
                    <a:pt x="1165284" y="78410"/>
                    <a:pt x="956401" y="78410"/>
                  </a:cubicBezTo>
                  <a:close/>
                  <a:moveTo>
                    <a:pt x="952756" y="0"/>
                  </a:moveTo>
                  <a:cubicBezTo>
                    <a:pt x="1205261" y="0"/>
                    <a:pt x="1409956" y="204695"/>
                    <a:pt x="1409956" y="457200"/>
                  </a:cubicBezTo>
                  <a:cubicBezTo>
                    <a:pt x="1409956" y="709705"/>
                    <a:pt x="1205261" y="914400"/>
                    <a:pt x="952756" y="914400"/>
                  </a:cubicBezTo>
                  <a:cubicBezTo>
                    <a:pt x="862133" y="914400"/>
                    <a:pt x="777669" y="888034"/>
                    <a:pt x="707132" y="841746"/>
                  </a:cubicBezTo>
                  <a:lnTo>
                    <a:pt x="136495" y="1280102"/>
                  </a:lnTo>
                  <a:cubicBezTo>
                    <a:pt x="21896" y="1327168"/>
                    <a:pt x="-44029" y="1213730"/>
                    <a:pt x="33797" y="1113182"/>
                  </a:cubicBezTo>
                  <a:lnTo>
                    <a:pt x="568587" y="703518"/>
                  </a:lnTo>
                  <a:cubicBezTo>
                    <a:pt x="522087" y="632814"/>
                    <a:pt x="495556" y="548105"/>
                    <a:pt x="495556" y="457200"/>
                  </a:cubicBezTo>
                  <a:cubicBezTo>
                    <a:pt x="495556" y="204695"/>
                    <a:pt x="700251" y="0"/>
                    <a:pt x="952756" y="0"/>
                  </a:cubicBezTo>
                  <a:close/>
                </a:path>
              </a:pathLst>
            </a:cu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ysClr val="windowText" lastClr="000000"/>
                </a:solidFill>
                <a:effectLst/>
                <a:uLnTx/>
                <a:uFillTx/>
                <a:latin typeface="Segoe UI"/>
                <a:ea typeface="+mn-ea"/>
                <a:cs typeface="+mn-cs"/>
              </a:endParaRPr>
            </a:p>
          </p:txBody>
        </p:sp>
        <p:sp>
          <p:nvSpPr>
            <p:cNvPr id="100" name="Rectangle 99"/>
            <p:cNvSpPr/>
            <p:nvPr/>
          </p:nvSpPr>
          <p:spPr>
            <a:xfrm>
              <a:off x="1600398" y="2677430"/>
              <a:ext cx="820353" cy="307777"/>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Segoe UI"/>
                  <a:ea typeface="Segoe UI" pitchFamily="34" charset="0"/>
                  <a:cs typeface="Segoe UI" pitchFamily="34" charset="0"/>
                </a:rPr>
                <a:t>Explore</a:t>
              </a:r>
              <a:endParaRPr kumimoji="0" lang="en-US" sz="1600" b="0" i="0" u="none" strike="noStrike" kern="1200" cap="none" spc="0" normalizeH="0" baseline="0" noProof="0">
                <a:ln>
                  <a:noFill/>
                </a:ln>
                <a:solidFill>
                  <a:prstClr val="black"/>
                </a:solidFill>
                <a:effectLst/>
                <a:uLnTx/>
                <a:uFillTx/>
                <a:latin typeface="Segoe UI"/>
                <a:ea typeface="+mn-ea"/>
                <a:cs typeface="+mn-cs"/>
              </a:endParaRPr>
            </a:p>
          </p:txBody>
        </p:sp>
        <p:sp>
          <p:nvSpPr>
            <p:cNvPr id="101" name="Rectangle 100"/>
            <p:cNvSpPr/>
            <p:nvPr/>
          </p:nvSpPr>
          <p:spPr>
            <a:xfrm>
              <a:off x="509174" y="1475232"/>
              <a:ext cx="838756" cy="307777"/>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Segoe UI"/>
                  <a:ea typeface="Segoe UI" pitchFamily="34" charset="0"/>
                  <a:cs typeface="Segoe UI" pitchFamily="34" charset="0"/>
                </a:rPr>
                <a:t>Prepare</a:t>
              </a:r>
              <a:endParaRPr kumimoji="0" lang="en-US" sz="1400" b="0" i="0" u="none" strike="noStrike" kern="1200" cap="none" spc="0" normalizeH="0" baseline="0" noProof="0">
                <a:ln>
                  <a:noFill/>
                </a:ln>
                <a:solidFill>
                  <a:prstClr val="black"/>
                </a:solidFill>
                <a:effectLst/>
                <a:uLnTx/>
                <a:uFillTx/>
                <a:latin typeface="Segoe UI"/>
                <a:ea typeface="+mn-ea"/>
                <a:cs typeface="+mn-cs"/>
              </a:endParaRPr>
            </a:p>
          </p:txBody>
        </p:sp>
        <p:sp>
          <p:nvSpPr>
            <p:cNvPr id="102" name="Freeform 101"/>
            <p:cNvSpPr>
              <a:spLocks noChangeAspect="1"/>
            </p:cNvSpPr>
            <p:nvPr/>
          </p:nvSpPr>
          <p:spPr bwMode="black">
            <a:xfrm>
              <a:off x="1836174" y="5643069"/>
              <a:ext cx="274320" cy="284173"/>
            </a:xfrm>
            <a:custGeom>
              <a:avLst/>
              <a:gdLst>
                <a:gd name="T0" fmla="*/ 539 w 669"/>
                <a:gd name="T1" fmla="*/ 5 h 693"/>
                <a:gd name="T2" fmla="*/ 640 w 669"/>
                <a:gd name="T3" fmla="*/ 55 h 693"/>
                <a:gd name="T4" fmla="*/ 603 w 669"/>
                <a:gd name="T5" fmla="*/ 195 h 693"/>
                <a:gd name="T6" fmla="*/ 490 w 669"/>
                <a:gd name="T7" fmla="*/ 188 h 693"/>
                <a:gd name="T8" fmla="*/ 479 w 669"/>
                <a:gd name="T9" fmla="*/ 176 h 693"/>
                <a:gd name="T10" fmla="*/ 213 w 669"/>
                <a:gd name="T11" fmla="*/ 330 h 693"/>
                <a:gd name="T12" fmla="*/ 218 w 669"/>
                <a:gd name="T13" fmla="*/ 345 h 693"/>
                <a:gd name="T14" fmla="*/ 218 w 669"/>
                <a:gd name="T15" fmla="*/ 375 h 693"/>
                <a:gd name="T16" fmla="*/ 209 w 669"/>
                <a:gd name="T17" fmla="*/ 402 h 693"/>
                <a:gd name="T18" fmla="*/ 369 w 669"/>
                <a:gd name="T19" fmla="*/ 503 h 693"/>
                <a:gd name="T20" fmla="*/ 373 w 669"/>
                <a:gd name="T21" fmla="*/ 498 h 693"/>
                <a:gd name="T22" fmla="*/ 456 w 669"/>
                <a:gd name="T23" fmla="*/ 475 h 693"/>
                <a:gd name="T24" fmla="*/ 494 w 669"/>
                <a:gd name="T25" fmla="*/ 489 h 693"/>
                <a:gd name="T26" fmla="*/ 527 w 669"/>
                <a:gd name="T27" fmla="*/ 630 h 693"/>
                <a:gd name="T28" fmla="*/ 386 w 669"/>
                <a:gd name="T29" fmla="*/ 663 h 693"/>
                <a:gd name="T30" fmla="*/ 339 w 669"/>
                <a:gd name="T31" fmla="*/ 560 h 693"/>
                <a:gd name="T32" fmla="*/ 345 w 669"/>
                <a:gd name="T33" fmla="*/ 544 h 693"/>
                <a:gd name="T34" fmla="*/ 177 w 669"/>
                <a:gd name="T35" fmla="*/ 439 h 693"/>
                <a:gd name="T36" fmla="*/ 168 w 669"/>
                <a:gd name="T37" fmla="*/ 446 h 693"/>
                <a:gd name="T38" fmla="*/ 28 w 669"/>
                <a:gd name="T39" fmla="*/ 409 h 693"/>
                <a:gd name="T40" fmla="*/ 65 w 669"/>
                <a:gd name="T41" fmla="*/ 269 h 693"/>
                <a:gd name="T42" fmla="*/ 178 w 669"/>
                <a:gd name="T43" fmla="*/ 276 h 693"/>
                <a:gd name="T44" fmla="*/ 189 w 669"/>
                <a:gd name="T45" fmla="*/ 288 h 693"/>
                <a:gd name="T46" fmla="*/ 455 w 669"/>
                <a:gd name="T47" fmla="*/ 134 h 693"/>
                <a:gd name="T48" fmla="*/ 450 w 669"/>
                <a:gd name="T49" fmla="*/ 119 h 693"/>
                <a:gd name="T50" fmla="*/ 501 w 669"/>
                <a:gd name="T51" fmla="*/ 18 h 693"/>
                <a:gd name="T52" fmla="*/ 539 w 669"/>
                <a:gd name="T53" fmla="*/ 5 h 6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69" h="693">
                  <a:moveTo>
                    <a:pt x="539" y="5"/>
                  </a:moveTo>
                  <a:cubicBezTo>
                    <a:pt x="579" y="0"/>
                    <a:pt x="619" y="19"/>
                    <a:pt x="640" y="55"/>
                  </a:cubicBezTo>
                  <a:cubicBezTo>
                    <a:pt x="669" y="104"/>
                    <a:pt x="652" y="167"/>
                    <a:pt x="603" y="195"/>
                  </a:cubicBezTo>
                  <a:cubicBezTo>
                    <a:pt x="566" y="216"/>
                    <a:pt x="522" y="212"/>
                    <a:pt x="490" y="188"/>
                  </a:cubicBezTo>
                  <a:cubicBezTo>
                    <a:pt x="479" y="176"/>
                    <a:pt x="479" y="176"/>
                    <a:pt x="479" y="176"/>
                  </a:cubicBezTo>
                  <a:cubicBezTo>
                    <a:pt x="213" y="330"/>
                    <a:pt x="213" y="330"/>
                    <a:pt x="213" y="330"/>
                  </a:cubicBezTo>
                  <a:cubicBezTo>
                    <a:pt x="218" y="345"/>
                    <a:pt x="218" y="345"/>
                    <a:pt x="218" y="345"/>
                  </a:cubicBezTo>
                  <a:cubicBezTo>
                    <a:pt x="219" y="355"/>
                    <a:pt x="219" y="365"/>
                    <a:pt x="218" y="375"/>
                  </a:cubicBezTo>
                  <a:cubicBezTo>
                    <a:pt x="209" y="402"/>
                    <a:pt x="209" y="402"/>
                    <a:pt x="209" y="402"/>
                  </a:cubicBezTo>
                  <a:cubicBezTo>
                    <a:pt x="369" y="503"/>
                    <a:pt x="369" y="503"/>
                    <a:pt x="369" y="503"/>
                  </a:cubicBezTo>
                  <a:cubicBezTo>
                    <a:pt x="373" y="498"/>
                    <a:pt x="373" y="498"/>
                    <a:pt x="373" y="498"/>
                  </a:cubicBezTo>
                  <a:cubicBezTo>
                    <a:pt x="396" y="479"/>
                    <a:pt x="427" y="470"/>
                    <a:pt x="456" y="475"/>
                  </a:cubicBezTo>
                  <a:cubicBezTo>
                    <a:pt x="470" y="477"/>
                    <a:pt x="482" y="482"/>
                    <a:pt x="494" y="489"/>
                  </a:cubicBezTo>
                  <a:cubicBezTo>
                    <a:pt x="542" y="519"/>
                    <a:pt x="557" y="583"/>
                    <a:pt x="527" y="630"/>
                  </a:cubicBezTo>
                  <a:cubicBezTo>
                    <a:pt x="497" y="678"/>
                    <a:pt x="433" y="693"/>
                    <a:pt x="386" y="663"/>
                  </a:cubicBezTo>
                  <a:cubicBezTo>
                    <a:pt x="350" y="640"/>
                    <a:pt x="333" y="599"/>
                    <a:pt x="339" y="560"/>
                  </a:cubicBezTo>
                  <a:cubicBezTo>
                    <a:pt x="345" y="544"/>
                    <a:pt x="345" y="544"/>
                    <a:pt x="345" y="544"/>
                  </a:cubicBezTo>
                  <a:cubicBezTo>
                    <a:pt x="177" y="439"/>
                    <a:pt x="177" y="439"/>
                    <a:pt x="177" y="439"/>
                  </a:cubicBezTo>
                  <a:cubicBezTo>
                    <a:pt x="168" y="446"/>
                    <a:pt x="168" y="446"/>
                    <a:pt x="168" y="446"/>
                  </a:cubicBezTo>
                  <a:cubicBezTo>
                    <a:pt x="119" y="475"/>
                    <a:pt x="56" y="458"/>
                    <a:pt x="28" y="409"/>
                  </a:cubicBezTo>
                  <a:cubicBezTo>
                    <a:pt x="0" y="360"/>
                    <a:pt x="16" y="297"/>
                    <a:pt x="65" y="269"/>
                  </a:cubicBezTo>
                  <a:cubicBezTo>
                    <a:pt x="102" y="248"/>
                    <a:pt x="147" y="252"/>
                    <a:pt x="178" y="276"/>
                  </a:cubicBezTo>
                  <a:cubicBezTo>
                    <a:pt x="189" y="288"/>
                    <a:pt x="189" y="288"/>
                    <a:pt x="189" y="288"/>
                  </a:cubicBezTo>
                  <a:cubicBezTo>
                    <a:pt x="455" y="134"/>
                    <a:pt x="455" y="134"/>
                    <a:pt x="455" y="134"/>
                  </a:cubicBezTo>
                  <a:cubicBezTo>
                    <a:pt x="450" y="119"/>
                    <a:pt x="450" y="119"/>
                    <a:pt x="450" y="119"/>
                  </a:cubicBezTo>
                  <a:cubicBezTo>
                    <a:pt x="445" y="80"/>
                    <a:pt x="464" y="39"/>
                    <a:pt x="501" y="18"/>
                  </a:cubicBezTo>
                  <a:cubicBezTo>
                    <a:pt x="513" y="11"/>
                    <a:pt x="526" y="6"/>
                    <a:pt x="539" y="5"/>
                  </a:cubicBezTo>
                  <a:close/>
                </a:path>
              </a:pathLst>
            </a:custGeom>
            <a:solidFill>
              <a:schemeClr val="tx1"/>
            </a:solidFill>
            <a:ln>
              <a:noFill/>
            </a:ln>
          </p:spPr>
          <p:txBody>
            <a:bodyPr vert="horz" wrap="square" lIns="68574" tIns="34287" rIns="68574" bIns="34287"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Segoe UI"/>
                <a:ea typeface="+mn-ea"/>
                <a:cs typeface="+mn-cs"/>
              </a:endParaRPr>
            </a:p>
          </p:txBody>
        </p:sp>
        <p:sp>
          <p:nvSpPr>
            <p:cNvPr id="103" name="Freeform 102"/>
            <p:cNvSpPr>
              <a:spLocks noChangeAspect="1" noEditPoints="1"/>
            </p:cNvSpPr>
            <p:nvPr/>
          </p:nvSpPr>
          <p:spPr bwMode="black">
            <a:xfrm>
              <a:off x="722320" y="1783009"/>
              <a:ext cx="452202" cy="366660"/>
            </a:xfrm>
            <a:custGeom>
              <a:avLst/>
              <a:gdLst>
                <a:gd name="T0" fmla="*/ 600 w 1107"/>
                <a:gd name="T1" fmla="*/ 625 h 897"/>
                <a:gd name="T2" fmla="*/ 649 w 1107"/>
                <a:gd name="T3" fmla="*/ 567 h 897"/>
                <a:gd name="T4" fmla="*/ 727 w 1107"/>
                <a:gd name="T5" fmla="*/ 482 h 897"/>
                <a:gd name="T6" fmla="*/ 601 w 1107"/>
                <a:gd name="T7" fmla="*/ 434 h 897"/>
                <a:gd name="T8" fmla="*/ 628 w 1107"/>
                <a:gd name="T9" fmla="*/ 305 h 897"/>
                <a:gd name="T10" fmla="*/ 547 w 1107"/>
                <a:gd name="T11" fmla="*/ 240 h 897"/>
                <a:gd name="T12" fmla="*/ 427 w 1107"/>
                <a:gd name="T13" fmla="*/ 287 h 897"/>
                <a:gd name="T14" fmla="*/ 368 w 1107"/>
                <a:gd name="T15" fmla="*/ 170 h 897"/>
                <a:gd name="T16" fmla="*/ 285 w 1107"/>
                <a:gd name="T17" fmla="*/ 263 h 897"/>
                <a:gd name="T18" fmla="*/ 241 w 1107"/>
                <a:gd name="T19" fmla="*/ 313 h 897"/>
                <a:gd name="T20" fmla="*/ 139 w 1107"/>
                <a:gd name="T21" fmla="*/ 281 h 897"/>
                <a:gd name="T22" fmla="*/ 79 w 1107"/>
                <a:gd name="T23" fmla="*/ 355 h 897"/>
                <a:gd name="T24" fmla="*/ 132 w 1107"/>
                <a:gd name="T25" fmla="*/ 446 h 897"/>
                <a:gd name="T26" fmla="*/ 83 w 1107"/>
                <a:gd name="T27" fmla="*/ 505 h 897"/>
                <a:gd name="T28" fmla="*/ 5 w 1107"/>
                <a:gd name="T29" fmla="*/ 590 h 897"/>
                <a:gd name="T30" fmla="*/ 132 w 1107"/>
                <a:gd name="T31" fmla="*/ 638 h 897"/>
                <a:gd name="T32" fmla="*/ 145 w 1107"/>
                <a:gd name="T33" fmla="*/ 669 h 897"/>
                <a:gd name="T34" fmla="*/ 110 w 1107"/>
                <a:gd name="T35" fmla="*/ 793 h 897"/>
                <a:gd name="T36" fmla="*/ 230 w 1107"/>
                <a:gd name="T37" fmla="*/ 781 h 897"/>
                <a:gd name="T38" fmla="*/ 306 w 1107"/>
                <a:gd name="T39" fmla="*/ 785 h 897"/>
                <a:gd name="T40" fmla="*/ 346 w 1107"/>
                <a:gd name="T41" fmla="*/ 878 h 897"/>
                <a:gd name="T42" fmla="*/ 440 w 1107"/>
                <a:gd name="T43" fmla="*/ 872 h 897"/>
                <a:gd name="T44" fmla="*/ 466 w 1107"/>
                <a:gd name="T45" fmla="*/ 764 h 897"/>
                <a:gd name="T46" fmla="*/ 539 w 1107"/>
                <a:gd name="T47" fmla="*/ 755 h 897"/>
                <a:gd name="T48" fmla="*/ 659 w 1107"/>
                <a:gd name="T49" fmla="*/ 743 h 897"/>
                <a:gd name="T50" fmla="*/ 263 w 1107"/>
                <a:gd name="T51" fmla="*/ 452 h 897"/>
                <a:gd name="T52" fmla="*/ 281 w 1107"/>
                <a:gd name="T53" fmla="*/ 633 h 897"/>
                <a:gd name="T54" fmla="*/ 1002 w 1107"/>
                <a:gd name="T55" fmla="*/ 332 h 897"/>
                <a:gd name="T56" fmla="*/ 1043 w 1107"/>
                <a:gd name="T57" fmla="*/ 304 h 897"/>
                <a:gd name="T58" fmla="*/ 1107 w 1107"/>
                <a:gd name="T59" fmla="*/ 266 h 897"/>
                <a:gd name="T60" fmla="*/ 1037 w 1107"/>
                <a:gd name="T61" fmla="*/ 213 h 897"/>
                <a:gd name="T62" fmla="*/ 1077 w 1107"/>
                <a:gd name="T63" fmla="*/ 138 h 897"/>
                <a:gd name="T64" fmla="*/ 1038 w 1107"/>
                <a:gd name="T65" fmla="*/ 83 h 897"/>
                <a:gd name="T66" fmla="*/ 956 w 1107"/>
                <a:gd name="T67" fmla="*/ 91 h 897"/>
                <a:gd name="T68" fmla="*/ 940 w 1107"/>
                <a:gd name="T69" fmla="*/ 7 h 897"/>
                <a:gd name="T70" fmla="*/ 872 w 1107"/>
                <a:gd name="T71" fmla="*/ 50 h 897"/>
                <a:gd name="T72" fmla="*/ 836 w 1107"/>
                <a:gd name="T73" fmla="*/ 74 h 897"/>
                <a:gd name="T74" fmla="*/ 778 w 1107"/>
                <a:gd name="T75" fmla="*/ 35 h 897"/>
                <a:gd name="T76" fmla="*/ 728 w 1107"/>
                <a:gd name="T77" fmla="*/ 70 h 897"/>
                <a:gd name="T78" fmla="*/ 744 w 1107"/>
                <a:gd name="T79" fmla="*/ 136 h 897"/>
                <a:gd name="T80" fmla="*/ 703 w 1107"/>
                <a:gd name="T81" fmla="*/ 164 h 897"/>
                <a:gd name="T82" fmla="*/ 640 w 1107"/>
                <a:gd name="T83" fmla="*/ 203 h 897"/>
                <a:gd name="T84" fmla="*/ 710 w 1107"/>
                <a:gd name="T85" fmla="*/ 255 h 897"/>
                <a:gd name="T86" fmla="*/ 712 w 1107"/>
                <a:gd name="T87" fmla="*/ 277 h 897"/>
                <a:gd name="T88" fmla="*/ 668 w 1107"/>
                <a:gd name="T89" fmla="*/ 347 h 897"/>
                <a:gd name="T90" fmla="*/ 745 w 1107"/>
                <a:gd name="T91" fmla="*/ 361 h 897"/>
                <a:gd name="T92" fmla="*/ 791 w 1107"/>
                <a:gd name="T93" fmla="*/ 377 h 897"/>
                <a:gd name="T94" fmla="*/ 799 w 1107"/>
                <a:gd name="T95" fmla="*/ 443 h 897"/>
                <a:gd name="T96" fmla="*/ 859 w 1107"/>
                <a:gd name="T97" fmla="*/ 456 h 897"/>
                <a:gd name="T98" fmla="*/ 894 w 1107"/>
                <a:gd name="T99" fmla="*/ 393 h 897"/>
                <a:gd name="T100" fmla="*/ 941 w 1107"/>
                <a:gd name="T101" fmla="*/ 401 h 897"/>
                <a:gd name="T102" fmla="*/ 1018 w 1107"/>
                <a:gd name="T103" fmla="*/ 415 h 897"/>
                <a:gd name="T104" fmla="*/ 825 w 1107"/>
                <a:gd name="T105" fmla="*/ 164 h 897"/>
                <a:gd name="T106" fmla="*/ 803 w 1107"/>
                <a:gd name="T107" fmla="*/ 279 h 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107" h="897">
                  <a:moveTo>
                    <a:pt x="654" y="716"/>
                  </a:moveTo>
                  <a:cubicBezTo>
                    <a:pt x="616" y="670"/>
                    <a:pt x="616" y="670"/>
                    <a:pt x="616" y="670"/>
                  </a:cubicBezTo>
                  <a:cubicBezTo>
                    <a:pt x="593" y="654"/>
                    <a:pt x="603" y="638"/>
                    <a:pt x="600" y="625"/>
                  </a:cubicBezTo>
                  <a:cubicBezTo>
                    <a:pt x="600" y="625"/>
                    <a:pt x="600" y="625"/>
                    <a:pt x="600" y="625"/>
                  </a:cubicBezTo>
                  <a:cubicBezTo>
                    <a:pt x="605" y="617"/>
                    <a:pt x="611" y="609"/>
                    <a:pt x="608" y="596"/>
                  </a:cubicBezTo>
                  <a:cubicBezTo>
                    <a:pt x="618" y="580"/>
                    <a:pt x="623" y="572"/>
                    <a:pt x="649" y="567"/>
                  </a:cubicBezTo>
                  <a:cubicBezTo>
                    <a:pt x="715" y="553"/>
                    <a:pt x="715" y="553"/>
                    <a:pt x="715" y="553"/>
                  </a:cubicBezTo>
                  <a:cubicBezTo>
                    <a:pt x="728" y="550"/>
                    <a:pt x="733" y="542"/>
                    <a:pt x="730" y="529"/>
                  </a:cubicBezTo>
                  <a:cubicBezTo>
                    <a:pt x="727" y="482"/>
                    <a:pt x="727" y="482"/>
                    <a:pt x="727" y="482"/>
                  </a:cubicBezTo>
                  <a:cubicBezTo>
                    <a:pt x="724" y="469"/>
                    <a:pt x="717" y="463"/>
                    <a:pt x="701" y="453"/>
                  </a:cubicBezTo>
                  <a:cubicBezTo>
                    <a:pt x="641" y="459"/>
                    <a:pt x="641" y="459"/>
                    <a:pt x="641" y="459"/>
                  </a:cubicBezTo>
                  <a:cubicBezTo>
                    <a:pt x="620" y="457"/>
                    <a:pt x="604" y="447"/>
                    <a:pt x="601" y="434"/>
                  </a:cubicBezTo>
                  <a:cubicBezTo>
                    <a:pt x="598" y="421"/>
                    <a:pt x="590" y="416"/>
                    <a:pt x="580" y="397"/>
                  </a:cubicBezTo>
                  <a:cubicBezTo>
                    <a:pt x="577" y="384"/>
                    <a:pt x="574" y="371"/>
                    <a:pt x="584" y="355"/>
                  </a:cubicBezTo>
                  <a:cubicBezTo>
                    <a:pt x="628" y="305"/>
                    <a:pt x="628" y="305"/>
                    <a:pt x="628" y="305"/>
                  </a:cubicBezTo>
                  <a:cubicBezTo>
                    <a:pt x="634" y="297"/>
                    <a:pt x="631" y="284"/>
                    <a:pt x="623" y="279"/>
                  </a:cubicBezTo>
                  <a:cubicBezTo>
                    <a:pt x="581" y="240"/>
                    <a:pt x="581" y="240"/>
                    <a:pt x="581" y="240"/>
                  </a:cubicBezTo>
                  <a:cubicBezTo>
                    <a:pt x="573" y="235"/>
                    <a:pt x="560" y="238"/>
                    <a:pt x="547" y="240"/>
                  </a:cubicBezTo>
                  <a:cubicBezTo>
                    <a:pt x="503" y="291"/>
                    <a:pt x="503" y="291"/>
                    <a:pt x="503" y="291"/>
                  </a:cubicBezTo>
                  <a:cubicBezTo>
                    <a:pt x="484" y="302"/>
                    <a:pt x="471" y="304"/>
                    <a:pt x="463" y="299"/>
                  </a:cubicBezTo>
                  <a:cubicBezTo>
                    <a:pt x="456" y="294"/>
                    <a:pt x="435" y="292"/>
                    <a:pt x="427" y="287"/>
                  </a:cubicBezTo>
                  <a:cubicBezTo>
                    <a:pt x="419" y="282"/>
                    <a:pt x="403" y="271"/>
                    <a:pt x="400" y="258"/>
                  </a:cubicBezTo>
                  <a:cubicBezTo>
                    <a:pt x="386" y="193"/>
                    <a:pt x="386" y="193"/>
                    <a:pt x="386" y="193"/>
                  </a:cubicBezTo>
                  <a:cubicBezTo>
                    <a:pt x="384" y="180"/>
                    <a:pt x="368" y="170"/>
                    <a:pt x="368" y="170"/>
                  </a:cubicBezTo>
                  <a:cubicBezTo>
                    <a:pt x="308" y="176"/>
                    <a:pt x="308" y="176"/>
                    <a:pt x="308" y="176"/>
                  </a:cubicBezTo>
                  <a:cubicBezTo>
                    <a:pt x="308" y="176"/>
                    <a:pt x="289" y="187"/>
                    <a:pt x="292" y="200"/>
                  </a:cubicBezTo>
                  <a:cubicBezTo>
                    <a:pt x="285" y="263"/>
                    <a:pt x="285" y="263"/>
                    <a:pt x="285" y="263"/>
                  </a:cubicBezTo>
                  <a:cubicBezTo>
                    <a:pt x="291" y="289"/>
                    <a:pt x="277" y="292"/>
                    <a:pt x="272" y="300"/>
                  </a:cubicBezTo>
                  <a:cubicBezTo>
                    <a:pt x="272" y="300"/>
                    <a:pt x="272" y="300"/>
                    <a:pt x="267" y="308"/>
                  </a:cubicBezTo>
                  <a:cubicBezTo>
                    <a:pt x="259" y="302"/>
                    <a:pt x="246" y="305"/>
                    <a:pt x="241" y="313"/>
                  </a:cubicBezTo>
                  <a:cubicBezTo>
                    <a:pt x="236" y="321"/>
                    <a:pt x="236" y="321"/>
                    <a:pt x="236" y="321"/>
                  </a:cubicBezTo>
                  <a:cubicBezTo>
                    <a:pt x="223" y="324"/>
                    <a:pt x="210" y="327"/>
                    <a:pt x="194" y="317"/>
                  </a:cubicBezTo>
                  <a:cubicBezTo>
                    <a:pt x="139" y="281"/>
                    <a:pt x="139" y="281"/>
                    <a:pt x="139" y="281"/>
                  </a:cubicBezTo>
                  <a:cubicBezTo>
                    <a:pt x="131" y="276"/>
                    <a:pt x="110" y="273"/>
                    <a:pt x="104" y="281"/>
                  </a:cubicBezTo>
                  <a:cubicBezTo>
                    <a:pt x="79" y="321"/>
                    <a:pt x="79" y="321"/>
                    <a:pt x="79" y="321"/>
                  </a:cubicBezTo>
                  <a:cubicBezTo>
                    <a:pt x="66" y="324"/>
                    <a:pt x="68" y="337"/>
                    <a:pt x="79" y="355"/>
                  </a:cubicBezTo>
                  <a:cubicBezTo>
                    <a:pt x="121" y="394"/>
                    <a:pt x="121" y="394"/>
                    <a:pt x="121" y="394"/>
                  </a:cubicBezTo>
                  <a:cubicBezTo>
                    <a:pt x="140" y="417"/>
                    <a:pt x="135" y="425"/>
                    <a:pt x="132" y="446"/>
                  </a:cubicBezTo>
                  <a:cubicBezTo>
                    <a:pt x="132" y="446"/>
                    <a:pt x="132" y="446"/>
                    <a:pt x="132" y="446"/>
                  </a:cubicBezTo>
                  <a:cubicBezTo>
                    <a:pt x="127" y="454"/>
                    <a:pt x="122" y="462"/>
                    <a:pt x="117" y="470"/>
                  </a:cubicBezTo>
                  <a:cubicBezTo>
                    <a:pt x="117" y="470"/>
                    <a:pt x="117" y="470"/>
                    <a:pt x="117" y="470"/>
                  </a:cubicBezTo>
                  <a:cubicBezTo>
                    <a:pt x="120" y="483"/>
                    <a:pt x="109" y="499"/>
                    <a:pt x="83" y="505"/>
                  </a:cubicBezTo>
                  <a:cubicBezTo>
                    <a:pt x="23" y="511"/>
                    <a:pt x="23" y="511"/>
                    <a:pt x="23" y="511"/>
                  </a:cubicBezTo>
                  <a:cubicBezTo>
                    <a:pt x="10" y="514"/>
                    <a:pt x="0" y="529"/>
                    <a:pt x="2" y="543"/>
                  </a:cubicBezTo>
                  <a:cubicBezTo>
                    <a:pt x="5" y="590"/>
                    <a:pt x="5" y="590"/>
                    <a:pt x="5" y="590"/>
                  </a:cubicBezTo>
                  <a:cubicBezTo>
                    <a:pt x="8" y="603"/>
                    <a:pt x="16" y="608"/>
                    <a:pt x="37" y="610"/>
                  </a:cubicBezTo>
                  <a:cubicBezTo>
                    <a:pt x="92" y="612"/>
                    <a:pt x="92" y="612"/>
                    <a:pt x="92" y="612"/>
                  </a:cubicBezTo>
                  <a:cubicBezTo>
                    <a:pt x="113" y="614"/>
                    <a:pt x="129" y="625"/>
                    <a:pt x="132" y="638"/>
                  </a:cubicBezTo>
                  <a:cubicBezTo>
                    <a:pt x="132" y="638"/>
                    <a:pt x="132" y="638"/>
                    <a:pt x="132" y="638"/>
                  </a:cubicBezTo>
                  <a:cubicBezTo>
                    <a:pt x="140" y="643"/>
                    <a:pt x="142" y="656"/>
                    <a:pt x="150" y="661"/>
                  </a:cubicBezTo>
                  <a:cubicBezTo>
                    <a:pt x="145" y="669"/>
                    <a:pt x="145" y="669"/>
                    <a:pt x="145" y="669"/>
                  </a:cubicBezTo>
                  <a:cubicBezTo>
                    <a:pt x="153" y="674"/>
                    <a:pt x="156" y="687"/>
                    <a:pt x="140" y="711"/>
                  </a:cubicBezTo>
                  <a:cubicBezTo>
                    <a:pt x="109" y="759"/>
                    <a:pt x="109" y="759"/>
                    <a:pt x="109" y="759"/>
                  </a:cubicBezTo>
                  <a:cubicBezTo>
                    <a:pt x="99" y="775"/>
                    <a:pt x="102" y="788"/>
                    <a:pt x="110" y="793"/>
                  </a:cubicBezTo>
                  <a:cubicBezTo>
                    <a:pt x="152" y="832"/>
                    <a:pt x="152" y="832"/>
                    <a:pt x="152" y="832"/>
                  </a:cubicBezTo>
                  <a:cubicBezTo>
                    <a:pt x="160" y="837"/>
                    <a:pt x="173" y="834"/>
                    <a:pt x="178" y="826"/>
                  </a:cubicBezTo>
                  <a:cubicBezTo>
                    <a:pt x="230" y="781"/>
                    <a:pt x="230" y="781"/>
                    <a:pt x="230" y="781"/>
                  </a:cubicBezTo>
                  <a:cubicBezTo>
                    <a:pt x="248" y="770"/>
                    <a:pt x="261" y="767"/>
                    <a:pt x="269" y="772"/>
                  </a:cubicBezTo>
                  <a:cubicBezTo>
                    <a:pt x="269" y="772"/>
                    <a:pt x="269" y="772"/>
                    <a:pt x="269" y="772"/>
                  </a:cubicBezTo>
                  <a:cubicBezTo>
                    <a:pt x="282" y="769"/>
                    <a:pt x="298" y="779"/>
                    <a:pt x="306" y="785"/>
                  </a:cubicBezTo>
                  <a:cubicBezTo>
                    <a:pt x="306" y="785"/>
                    <a:pt x="306" y="785"/>
                    <a:pt x="306" y="785"/>
                  </a:cubicBezTo>
                  <a:cubicBezTo>
                    <a:pt x="319" y="782"/>
                    <a:pt x="327" y="787"/>
                    <a:pt x="332" y="813"/>
                  </a:cubicBezTo>
                  <a:cubicBezTo>
                    <a:pt x="346" y="878"/>
                    <a:pt x="346" y="878"/>
                    <a:pt x="346" y="878"/>
                  </a:cubicBezTo>
                  <a:cubicBezTo>
                    <a:pt x="349" y="892"/>
                    <a:pt x="357" y="897"/>
                    <a:pt x="370" y="894"/>
                  </a:cubicBezTo>
                  <a:cubicBezTo>
                    <a:pt x="425" y="896"/>
                    <a:pt x="425" y="896"/>
                    <a:pt x="425" y="896"/>
                  </a:cubicBezTo>
                  <a:cubicBezTo>
                    <a:pt x="430" y="888"/>
                    <a:pt x="443" y="885"/>
                    <a:pt x="440" y="872"/>
                  </a:cubicBezTo>
                  <a:cubicBezTo>
                    <a:pt x="440" y="804"/>
                    <a:pt x="440" y="804"/>
                    <a:pt x="440" y="804"/>
                  </a:cubicBezTo>
                  <a:cubicBezTo>
                    <a:pt x="442" y="783"/>
                    <a:pt x="460" y="772"/>
                    <a:pt x="466" y="764"/>
                  </a:cubicBezTo>
                  <a:cubicBezTo>
                    <a:pt x="466" y="764"/>
                    <a:pt x="466" y="764"/>
                    <a:pt x="466" y="764"/>
                  </a:cubicBezTo>
                  <a:cubicBezTo>
                    <a:pt x="479" y="761"/>
                    <a:pt x="492" y="758"/>
                    <a:pt x="497" y="750"/>
                  </a:cubicBezTo>
                  <a:cubicBezTo>
                    <a:pt x="497" y="750"/>
                    <a:pt x="497" y="750"/>
                    <a:pt x="497" y="750"/>
                  </a:cubicBezTo>
                  <a:cubicBezTo>
                    <a:pt x="510" y="747"/>
                    <a:pt x="523" y="745"/>
                    <a:pt x="539" y="755"/>
                  </a:cubicBezTo>
                  <a:cubicBezTo>
                    <a:pt x="594" y="791"/>
                    <a:pt x="594" y="791"/>
                    <a:pt x="594" y="791"/>
                  </a:cubicBezTo>
                  <a:cubicBezTo>
                    <a:pt x="602" y="796"/>
                    <a:pt x="623" y="798"/>
                    <a:pt x="628" y="790"/>
                  </a:cubicBezTo>
                  <a:cubicBezTo>
                    <a:pt x="659" y="743"/>
                    <a:pt x="659" y="743"/>
                    <a:pt x="659" y="743"/>
                  </a:cubicBezTo>
                  <a:cubicBezTo>
                    <a:pt x="659" y="743"/>
                    <a:pt x="669" y="727"/>
                    <a:pt x="654" y="716"/>
                  </a:cubicBezTo>
                  <a:close/>
                  <a:moveTo>
                    <a:pt x="281" y="633"/>
                  </a:moveTo>
                  <a:cubicBezTo>
                    <a:pt x="223" y="584"/>
                    <a:pt x="219" y="502"/>
                    <a:pt x="263" y="452"/>
                  </a:cubicBezTo>
                  <a:cubicBezTo>
                    <a:pt x="313" y="393"/>
                    <a:pt x="399" y="382"/>
                    <a:pt x="457" y="431"/>
                  </a:cubicBezTo>
                  <a:cubicBezTo>
                    <a:pt x="507" y="475"/>
                    <a:pt x="518" y="561"/>
                    <a:pt x="469" y="619"/>
                  </a:cubicBezTo>
                  <a:cubicBezTo>
                    <a:pt x="420" y="678"/>
                    <a:pt x="339" y="682"/>
                    <a:pt x="281" y="633"/>
                  </a:cubicBezTo>
                  <a:close/>
                  <a:moveTo>
                    <a:pt x="1019" y="398"/>
                  </a:moveTo>
                  <a:cubicBezTo>
                    <a:pt x="1004" y="362"/>
                    <a:pt x="1004" y="362"/>
                    <a:pt x="1004" y="362"/>
                  </a:cubicBezTo>
                  <a:cubicBezTo>
                    <a:pt x="992" y="348"/>
                    <a:pt x="1002" y="340"/>
                    <a:pt x="1002" y="332"/>
                  </a:cubicBezTo>
                  <a:cubicBezTo>
                    <a:pt x="1002" y="332"/>
                    <a:pt x="1002" y="332"/>
                    <a:pt x="1002" y="332"/>
                  </a:cubicBezTo>
                  <a:cubicBezTo>
                    <a:pt x="1007" y="328"/>
                    <a:pt x="1011" y="324"/>
                    <a:pt x="1012" y="315"/>
                  </a:cubicBezTo>
                  <a:cubicBezTo>
                    <a:pt x="1021" y="307"/>
                    <a:pt x="1026" y="303"/>
                    <a:pt x="1043" y="304"/>
                  </a:cubicBezTo>
                  <a:cubicBezTo>
                    <a:pt x="1086" y="307"/>
                    <a:pt x="1086" y="307"/>
                    <a:pt x="1086" y="307"/>
                  </a:cubicBezTo>
                  <a:cubicBezTo>
                    <a:pt x="1095" y="308"/>
                    <a:pt x="1099" y="304"/>
                    <a:pt x="1100" y="295"/>
                  </a:cubicBezTo>
                  <a:cubicBezTo>
                    <a:pt x="1107" y="266"/>
                    <a:pt x="1107" y="266"/>
                    <a:pt x="1107" y="266"/>
                  </a:cubicBezTo>
                  <a:cubicBezTo>
                    <a:pt x="1107" y="257"/>
                    <a:pt x="1103" y="252"/>
                    <a:pt x="1095" y="243"/>
                  </a:cubicBezTo>
                  <a:cubicBezTo>
                    <a:pt x="1057" y="236"/>
                    <a:pt x="1057" y="236"/>
                    <a:pt x="1057" y="236"/>
                  </a:cubicBezTo>
                  <a:cubicBezTo>
                    <a:pt x="1044" y="231"/>
                    <a:pt x="1036" y="222"/>
                    <a:pt x="1037" y="213"/>
                  </a:cubicBezTo>
                  <a:cubicBezTo>
                    <a:pt x="1038" y="205"/>
                    <a:pt x="1034" y="200"/>
                    <a:pt x="1030" y="187"/>
                  </a:cubicBezTo>
                  <a:cubicBezTo>
                    <a:pt x="1031" y="178"/>
                    <a:pt x="1032" y="170"/>
                    <a:pt x="1041" y="162"/>
                  </a:cubicBezTo>
                  <a:cubicBezTo>
                    <a:pt x="1077" y="138"/>
                    <a:pt x="1077" y="138"/>
                    <a:pt x="1077" y="138"/>
                  </a:cubicBezTo>
                  <a:cubicBezTo>
                    <a:pt x="1082" y="134"/>
                    <a:pt x="1083" y="126"/>
                    <a:pt x="1079" y="121"/>
                  </a:cubicBezTo>
                  <a:cubicBezTo>
                    <a:pt x="1059" y="89"/>
                    <a:pt x="1059" y="89"/>
                    <a:pt x="1059" y="89"/>
                  </a:cubicBezTo>
                  <a:cubicBezTo>
                    <a:pt x="1055" y="85"/>
                    <a:pt x="1047" y="84"/>
                    <a:pt x="1038" y="83"/>
                  </a:cubicBezTo>
                  <a:cubicBezTo>
                    <a:pt x="1002" y="107"/>
                    <a:pt x="1002" y="107"/>
                    <a:pt x="1002" y="107"/>
                  </a:cubicBezTo>
                  <a:cubicBezTo>
                    <a:pt x="989" y="110"/>
                    <a:pt x="980" y="110"/>
                    <a:pt x="976" y="105"/>
                  </a:cubicBezTo>
                  <a:cubicBezTo>
                    <a:pt x="972" y="100"/>
                    <a:pt x="960" y="95"/>
                    <a:pt x="956" y="91"/>
                  </a:cubicBezTo>
                  <a:cubicBezTo>
                    <a:pt x="952" y="86"/>
                    <a:pt x="944" y="77"/>
                    <a:pt x="944" y="68"/>
                  </a:cubicBezTo>
                  <a:cubicBezTo>
                    <a:pt x="948" y="25"/>
                    <a:pt x="948" y="25"/>
                    <a:pt x="948" y="25"/>
                  </a:cubicBezTo>
                  <a:cubicBezTo>
                    <a:pt x="948" y="17"/>
                    <a:pt x="940" y="7"/>
                    <a:pt x="940" y="7"/>
                  </a:cubicBezTo>
                  <a:cubicBezTo>
                    <a:pt x="902" y="0"/>
                    <a:pt x="902" y="0"/>
                    <a:pt x="902" y="0"/>
                  </a:cubicBezTo>
                  <a:cubicBezTo>
                    <a:pt x="902" y="0"/>
                    <a:pt x="889" y="4"/>
                    <a:pt x="888" y="12"/>
                  </a:cubicBezTo>
                  <a:cubicBezTo>
                    <a:pt x="872" y="50"/>
                    <a:pt x="872" y="50"/>
                    <a:pt x="872" y="50"/>
                  </a:cubicBezTo>
                  <a:cubicBezTo>
                    <a:pt x="871" y="67"/>
                    <a:pt x="862" y="67"/>
                    <a:pt x="858" y="71"/>
                  </a:cubicBezTo>
                  <a:cubicBezTo>
                    <a:pt x="858" y="71"/>
                    <a:pt x="858" y="71"/>
                    <a:pt x="853" y="75"/>
                  </a:cubicBezTo>
                  <a:cubicBezTo>
                    <a:pt x="849" y="70"/>
                    <a:pt x="840" y="70"/>
                    <a:pt x="836" y="74"/>
                  </a:cubicBezTo>
                  <a:cubicBezTo>
                    <a:pt x="831" y="78"/>
                    <a:pt x="831" y="78"/>
                    <a:pt x="831" y="78"/>
                  </a:cubicBezTo>
                  <a:cubicBezTo>
                    <a:pt x="822" y="77"/>
                    <a:pt x="814" y="76"/>
                    <a:pt x="806" y="67"/>
                  </a:cubicBezTo>
                  <a:cubicBezTo>
                    <a:pt x="778" y="35"/>
                    <a:pt x="778" y="35"/>
                    <a:pt x="778" y="35"/>
                  </a:cubicBezTo>
                  <a:cubicBezTo>
                    <a:pt x="774" y="30"/>
                    <a:pt x="762" y="25"/>
                    <a:pt x="757" y="29"/>
                  </a:cubicBezTo>
                  <a:cubicBezTo>
                    <a:pt x="734" y="49"/>
                    <a:pt x="734" y="49"/>
                    <a:pt x="734" y="49"/>
                  </a:cubicBezTo>
                  <a:cubicBezTo>
                    <a:pt x="725" y="49"/>
                    <a:pt x="725" y="57"/>
                    <a:pt x="728" y="70"/>
                  </a:cubicBezTo>
                  <a:cubicBezTo>
                    <a:pt x="747" y="102"/>
                    <a:pt x="747" y="102"/>
                    <a:pt x="747" y="102"/>
                  </a:cubicBezTo>
                  <a:cubicBezTo>
                    <a:pt x="754" y="120"/>
                    <a:pt x="750" y="124"/>
                    <a:pt x="744" y="136"/>
                  </a:cubicBezTo>
                  <a:cubicBezTo>
                    <a:pt x="744" y="136"/>
                    <a:pt x="744" y="136"/>
                    <a:pt x="744" y="136"/>
                  </a:cubicBezTo>
                  <a:cubicBezTo>
                    <a:pt x="740" y="140"/>
                    <a:pt x="735" y="144"/>
                    <a:pt x="731" y="148"/>
                  </a:cubicBezTo>
                  <a:cubicBezTo>
                    <a:pt x="731" y="148"/>
                    <a:pt x="731" y="148"/>
                    <a:pt x="731" y="148"/>
                  </a:cubicBezTo>
                  <a:cubicBezTo>
                    <a:pt x="730" y="157"/>
                    <a:pt x="721" y="165"/>
                    <a:pt x="703" y="164"/>
                  </a:cubicBezTo>
                  <a:cubicBezTo>
                    <a:pt x="665" y="157"/>
                    <a:pt x="665" y="157"/>
                    <a:pt x="665" y="157"/>
                  </a:cubicBezTo>
                  <a:cubicBezTo>
                    <a:pt x="656" y="156"/>
                    <a:pt x="647" y="164"/>
                    <a:pt x="647" y="173"/>
                  </a:cubicBezTo>
                  <a:cubicBezTo>
                    <a:pt x="640" y="203"/>
                    <a:pt x="640" y="203"/>
                    <a:pt x="640" y="203"/>
                  </a:cubicBezTo>
                  <a:cubicBezTo>
                    <a:pt x="639" y="211"/>
                    <a:pt x="643" y="216"/>
                    <a:pt x="656" y="221"/>
                  </a:cubicBezTo>
                  <a:cubicBezTo>
                    <a:pt x="690" y="232"/>
                    <a:pt x="690" y="232"/>
                    <a:pt x="690" y="232"/>
                  </a:cubicBezTo>
                  <a:cubicBezTo>
                    <a:pt x="702" y="237"/>
                    <a:pt x="710" y="246"/>
                    <a:pt x="710" y="255"/>
                  </a:cubicBezTo>
                  <a:cubicBezTo>
                    <a:pt x="710" y="255"/>
                    <a:pt x="710" y="255"/>
                    <a:pt x="710" y="255"/>
                  </a:cubicBezTo>
                  <a:cubicBezTo>
                    <a:pt x="714" y="260"/>
                    <a:pt x="713" y="268"/>
                    <a:pt x="717" y="273"/>
                  </a:cubicBezTo>
                  <a:cubicBezTo>
                    <a:pt x="712" y="277"/>
                    <a:pt x="712" y="277"/>
                    <a:pt x="712" y="277"/>
                  </a:cubicBezTo>
                  <a:cubicBezTo>
                    <a:pt x="716" y="281"/>
                    <a:pt x="716" y="290"/>
                    <a:pt x="702" y="302"/>
                  </a:cubicBezTo>
                  <a:cubicBezTo>
                    <a:pt x="674" y="326"/>
                    <a:pt x="674" y="326"/>
                    <a:pt x="674" y="326"/>
                  </a:cubicBezTo>
                  <a:cubicBezTo>
                    <a:pt x="665" y="334"/>
                    <a:pt x="664" y="343"/>
                    <a:pt x="668" y="347"/>
                  </a:cubicBezTo>
                  <a:cubicBezTo>
                    <a:pt x="687" y="379"/>
                    <a:pt x="687" y="379"/>
                    <a:pt x="687" y="379"/>
                  </a:cubicBezTo>
                  <a:cubicBezTo>
                    <a:pt x="691" y="383"/>
                    <a:pt x="700" y="384"/>
                    <a:pt x="704" y="380"/>
                  </a:cubicBezTo>
                  <a:cubicBezTo>
                    <a:pt x="745" y="361"/>
                    <a:pt x="745" y="361"/>
                    <a:pt x="745" y="361"/>
                  </a:cubicBezTo>
                  <a:cubicBezTo>
                    <a:pt x="758" y="358"/>
                    <a:pt x="767" y="358"/>
                    <a:pt x="771" y="363"/>
                  </a:cubicBezTo>
                  <a:cubicBezTo>
                    <a:pt x="771" y="363"/>
                    <a:pt x="771" y="363"/>
                    <a:pt x="771" y="363"/>
                  </a:cubicBezTo>
                  <a:cubicBezTo>
                    <a:pt x="779" y="364"/>
                    <a:pt x="787" y="373"/>
                    <a:pt x="791" y="377"/>
                  </a:cubicBezTo>
                  <a:cubicBezTo>
                    <a:pt x="791" y="377"/>
                    <a:pt x="791" y="377"/>
                    <a:pt x="791" y="377"/>
                  </a:cubicBezTo>
                  <a:cubicBezTo>
                    <a:pt x="800" y="378"/>
                    <a:pt x="804" y="383"/>
                    <a:pt x="802" y="400"/>
                  </a:cubicBezTo>
                  <a:cubicBezTo>
                    <a:pt x="799" y="443"/>
                    <a:pt x="799" y="443"/>
                    <a:pt x="799" y="443"/>
                  </a:cubicBezTo>
                  <a:cubicBezTo>
                    <a:pt x="798" y="451"/>
                    <a:pt x="802" y="456"/>
                    <a:pt x="811" y="457"/>
                  </a:cubicBezTo>
                  <a:cubicBezTo>
                    <a:pt x="845" y="468"/>
                    <a:pt x="845" y="468"/>
                    <a:pt x="845" y="468"/>
                  </a:cubicBezTo>
                  <a:cubicBezTo>
                    <a:pt x="849" y="464"/>
                    <a:pt x="858" y="464"/>
                    <a:pt x="859" y="456"/>
                  </a:cubicBezTo>
                  <a:cubicBezTo>
                    <a:pt x="871" y="413"/>
                    <a:pt x="871" y="413"/>
                    <a:pt x="871" y="413"/>
                  </a:cubicBezTo>
                  <a:cubicBezTo>
                    <a:pt x="876" y="401"/>
                    <a:pt x="889" y="397"/>
                    <a:pt x="894" y="393"/>
                  </a:cubicBezTo>
                  <a:cubicBezTo>
                    <a:pt x="894" y="393"/>
                    <a:pt x="894" y="393"/>
                    <a:pt x="894" y="393"/>
                  </a:cubicBezTo>
                  <a:cubicBezTo>
                    <a:pt x="902" y="394"/>
                    <a:pt x="911" y="395"/>
                    <a:pt x="916" y="391"/>
                  </a:cubicBezTo>
                  <a:cubicBezTo>
                    <a:pt x="916" y="391"/>
                    <a:pt x="916" y="391"/>
                    <a:pt x="916" y="391"/>
                  </a:cubicBezTo>
                  <a:cubicBezTo>
                    <a:pt x="924" y="391"/>
                    <a:pt x="933" y="392"/>
                    <a:pt x="941" y="401"/>
                  </a:cubicBezTo>
                  <a:cubicBezTo>
                    <a:pt x="969" y="433"/>
                    <a:pt x="969" y="433"/>
                    <a:pt x="969" y="433"/>
                  </a:cubicBezTo>
                  <a:cubicBezTo>
                    <a:pt x="973" y="438"/>
                    <a:pt x="985" y="443"/>
                    <a:pt x="990" y="439"/>
                  </a:cubicBezTo>
                  <a:cubicBezTo>
                    <a:pt x="1018" y="415"/>
                    <a:pt x="1018" y="415"/>
                    <a:pt x="1018" y="415"/>
                  </a:cubicBezTo>
                  <a:cubicBezTo>
                    <a:pt x="1018" y="415"/>
                    <a:pt x="1027" y="407"/>
                    <a:pt x="1019" y="398"/>
                  </a:cubicBezTo>
                  <a:close/>
                  <a:moveTo>
                    <a:pt x="803" y="279"/>
                  </a:moveTo>
                  <a:cubicBezTo>
                    <a:pt x="776" y="238"/>
                    <a:pt x="788" y="187"/>
                    <a:pt x="825" y="164"/>
                  </a:cubicBezTo>
                  <a:cubicBezTo>
                    <a:pt x="866" y="136"/>
                    <a:pt x="921" y="144"/>
                    <a:pt x="948" y="185"/>
                  </a:cubicBezTo>
                  <a:cubicBezTo>
                    <a:pt x="972" y="221"/>
                    <a:pt x="963" y="277"/>
                    <a:pt x="922" y="304"/>
                  </a:cubicBezTo>
                  <a:cubicBezTo>
                    <a:pt x="881" y="332"/>
                    <a:pt x="830" y="320"/>
                    <a:pt x="803" y="279"/>
                  </a:cubicBezTo>
                  <a:close/>
                </a:path>
              </a:pathLst>
            </a:custGeom>
            <a:solidFill>
              <a:schemeClr val="tx1"/>
            </a:solidFill>
            <a:ln>
              <a:noFill/>
            </a:ln>
          </p:spPr>
          <p:txBody>
            <a:bodyPr vert="horz" wrap="square" lIns="68574" tIns="34287" rIns="68574" bIns="34287"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17346"/>
                </a:solidFill>
                <a:effectLst/>
                <a:uLnTx/>
                <a:uFillTx/>
                <a:latin typeface="Segoe UI"/>
                <a:ea typeface="+mn-ea"/>
                <a:cs typeface="+mn-cs"/>
              </a:endParaRPr>
            </a:p>
          </p:txBody>
        </p:sp>
        <p:sp>
          <p:nvSpPr>
            <p:cNvPr id="104" name="Freeform 103"/>
            <p:cNvSpPr>
              <a:spLocks noChangeAspect="1"/>
            </p:cNvSpPr>
            <p:nvPr/>
          </p:nvSpPr>
          <p:spPr bwMode="black">
            <a:xfrm>
              <a:off x="776985" y="4213905"/>
              <a:ext cx="342871" cy="335728"/>
            </a:xfrm>
            <a:custGeom>
              <a:avLst/>
              <a:gdLst>
                <a:gd name="connsiteX0" fmla="*/ 3713863 w 4893730"/>
                <a:gd name="connsiteY0" fmla="*/ 2130808 h 4791777"/>
                <a:gd name="connsiteX1" fmla="*/ 4426142 w 4893730"/>
                <a:gd name="connsiteY1" fmla="*/ 2130808 h 4791777"/>
                <a:gd name="connsiteX2" fmla="*/ 4598071 w 4893730"/>
                <a:gd name="connsiteY2" fmla="*/ 2301547 h 4791777"/>
                <a:gd name="connsiteX3" fmla="*/ 4598071 w 4893730"/>
                <a:gd name="connsiteY3" fmla="*/ 3886978 h 4791777"/>
                <a:gd name="connsiteX4" fmla="*/ 4426142 w 4893730"/>
                <a:gd name="connsiteY4" fmla="*/ 4057717 h 4791777"/>
                <a:gd name="connsiteX5" fmla="*/ 3713863 w 4893730"/>
                <a:gd name="connsiteY5" fmla="*/ 4057717 h 4791777"/>
                <a:gd name="connsiteX6" fmla="*/ 3517372 w 4893730"/>
                <a:gd name="connsiteY6" fmla="*/ 3886978 h 4791777"/>
                <a:gd name="connsiteX7" fmla="*/ 3517372 w 4893730"/>
                <a:gd name="connsiteY7" fmla="*/ 2301547 h 4791777"/>
                <a:gd name="connsiteX8" fmla="*/ 3713863 w 4893730"/>
                <a:gd name="connsiteY8" fmla="*/ 2130808 h 4791777"/>
                <a:gd name="connsiteX9" fmla="*/ 904368 w 4893730"/>
                <a:gd name="connsiteY9" fmla="*/ 1223432 h 4791777"/>
                <a:gd name="connsiteX10" fmla="*/ 1609930 w 4893730"/>
                <a:gd name="connsiteY10" fmla="*/ 1223432 h 4791777"/>
                <a:gd name="connsiteX11" fmla="*/ 1804567 w 4893730"/>
                <a:gd name="connsiteY11" fmla="*/ 1394467 h 4791777"/>
                <a:gd name="connsiteX12" fmla="*/ 1804567 w 4893730"/>
                <a:gd name="connsiteY12" fmla="*/ 3886683 h 4791777"/>
                <a:gd name="connsiteX13" fmla="*/ 1609930 w 4893730"/>
                <a:gd name="connsiteY13" fmla="*/ 4057717 h 4791777"/>
                <a:gd name="connsiteX14" fmla="*/ 904368 w 4893730"/>
                <a:gd name="connsiteY14" fmla="*/ 4057717 h 4791777"/>
                <a:gd name="connsiteX15" fmla="*/ 734060 w 4893730"/>
                <a:gd name="connsiteY15" fmla="*/ 3886683 h 4791777"/>
                <a:gd name="connsiteX16" fmla="*/ 734060 w 4893730"/>
                <a:gd name="connsiteY16" fmla="*/ 1394467 h 4791777"/>
                <a:gd name="connsiteX17" fmla="*/ 904368 w 4893730"/>
                <a:gd name="connsiteY17" fmla="*/ 1223432 h 4791777"/>
                <a:gd name="connsiteX18" fmla="*/ 2325453 w 4893730"/>
                <a:gd name="connsiteY18" fmla="*/ 316050 h 4791777"/>
                <a:gd name="connsiteX19" fmla="*/ 3031014 w 4893730"/>
                <a:gd name="connsiteY19" fmla="*/ 316050 h 4791777"/>
                <a:gd name="connsiteX20" fmla="*/ 3201322 w 4893730"/>
                <a:gd name="connsiteY20" fmla="*/ 487238 h 4791777"/>
                <a:gd name="connsiteX21" fmla="*/ 3201322 w 4893730"/>
                <a:gd name="connsiteY21" fmla="*/ 3886530 h 4791777"/>
                <a:gd name="connsiteX22" fmla="*/ 3031014 w 4893730"/>
                <a:gd name="connsiteY22" fmla="*/ 4057717 h 4791777"/>
                <a:gd name="connsiteX23" fmla="*/ 2325453 w 4893730"/>
                <a:gd name="connsiteY23" fmla="*/ 4057717 h 4791777"/>
                <a:gd name="connsiteX24" fmla="*/ 2130815 w 4893730"/>
                <a:gd name="connsiteY24" fmla="*/ 3886530 h 4791777"/>
                <a:gd name="connsiteX25" fmla="*/ 2130815 w 4893730"/>
                <a:gd name="connsiteY25" fmla="*/ 487238 h 4791777"/>
                <a:gd name="connsiteX26" fmla="*/ 2325453 w 4893730"/>
                <a:gd name="connsiteY26" fmla="*/ 316050 h 4791777"/>
                <a:gd name="connsiteX27" fmla="*/ 269155 w 4893730"/>
                <a:gd name="connsiteY27" fmla="*/ 0 h 4791777"/>
                <a:gd name="connsiteX28" fmla="*/ 538311 w 4893730"/>
                <a:gd name="connsiteY28" fmla="*/ 268927 h 4791777"/>
                <a:gd name="connsiteX29" fmla="*/ 538311 w 4893730"/>
                <a:gd name="connsiteY29" fmla="*/ 4253925 h 4791777"/>
                <a:gd name="connsiteX30" fmla="*/ 4624575 w 4893730"/>
                <a:gd name="connsiteY30" fmla="*/ 4253925 h 4791777"/>
                <a:gd name="connsiteX31" fmla="*/ 4893730 w 4893730"/>
                <a:gd name="connsiteY31" fmla="*/ 4522851 h 4791777"/>
                <a:gd name="connsiteX32" fmla="*/ 4624575 w 4893730"/>
                <a:gd name="connsiteY32" fmla="*/ 4791777 h 4791777"/>
                <a:gd name="connsiteX33" fmla="*/ 269155 w 4893730"/>
                <a:gd name="connsiteY33" fmla="*/ 4791777 h 4791777"/>
                <a:gd name="connsiteX34" fmla="*/ 0 w 4893730"/>
                <a:gd name="connsiteY34" fmla="*/ 4522851 h 4791777"/>
                <a:gd name="connsiteX35" fmla="*/ 0 w 4893730"/>
                <a:gd name="connsiteY35" fmla="*/ 268927 h 4791777"/>
                <a:gd name="connsiteX36" fmla="*/ 269155 w 4893730"/>
                <a:gd name="connsiteY36" fmla="*/ 0 h 4791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4893730" h="4791777">
                  <a:moveTo>
                    <a:pt x="3713863" y="2130808"/>
                  </a:moveTo>
                  <a:cubicBezTo>
                    <a:pt x="3713863" y="2130808"/>
                    <a:pt x="3713863" y="2130808"/>
                    <a:pt x="4426142" y="2130808"/>
                  </a:cubicBezTo>
                  <a:cubicBezTo>
                    <a:pt x="4524387" y="2130808"/>
                    <a:pt x="4598071" y="2203982"/>
                    <a:pt x="4598071" y="2301547"/>
                  </a:cubicBezTo>
                  <a:cubicBezTo>
                    <a:pt x="4598071" y="2301547"/>
                    <a:pt x="4598071" y="2301547"/>
                    <a:pt x="4598071" y="3886978"/>
                  </a:cubicBezTo>
                  <a:cubicBezTo>
                    <a:pt x="4598071" y="3984543"/>
                    <a:pt x="4524387" y="4057717"/>
                    <a:pt x="4426142" y="4057717"/>
                  </a:cubicBezTo>
                  <a:cubicBezTo>
                    <a:pt x="4426142" y="4057717"/>
                    <a:pt x="4426142" y="4057717"/>
                    <a:pt x="3713863" y="4057717"/>
                  </a:cubicBezTo>
                  <a:cubicBezTo>
                    <a:pt x="3615618" y="4057717"/>
                    <a:pt x="3517372" y="3984543"/>
                    <a:pt x="3517372" y="3886978"/>
                  </a:cubicBezTo>
                  <a:cubicBezTo>
                    <a:pt x="3517372" y="3886978"/>
                    <a:pt x="3517372" y="3886978"/>
                    <a:pt x="3517372" y="2301547"/>
                  </a:cubicBezTo>
                  <a:cubicBezTo>
                    <a:pt x="3517372" y="2203982"/>
                    <a:pt x="3615618" y="2130808"/>
                    <a:pt x="3713863" y="2130808"/>
                  </a:cubicBezTo>
                  <a:close/>
                  <a:moveTo>
                    <a:pt x="904368" y="1223432"/>
                  </a:moveTo>
                  <a:cubicBezTo>
                    <a:pt x="904368" y="1223432"/>
                    <a:pt x="904368" y="1223432"/>
                    <a:pt x="1609930" y="1223432"/>
                  </a:cubicBezTo>
                  <a:cubicBezTo>
                    <a:pt x="1731578" y="1223432"/>
                    <a:pt x="1804567" y="1296733"/>
                    <a:pt x="1804567" y="1394467"/>
                  </a:cubicBezTo>
                  <a:cubicBezTo>
                    <a:pt x="1804567" y="1394467"/>
                    <a:pt x="1804567" y="1394467"/>
                    <a:pt x="1804567" y="3886683"/>
                  </a:cubicBezTo>
                  <a:cubicBezTo>
                    <a:pt x="1804567" y="3984417"/>
                    <a:pt x="1731578" y="4057717"/>
                    <a:pt x="1609930" y="4057717"/>
                  </a:cubicBezTo>
                  <a:cubicBezTo>
                    <a:pt x="1609930" y="4057717"/>
                    <a:pt x="1609930" y="4057717"/>
                    <a:pt x="904368" y="4057717"/>
                  </a:cubicBezTo>
                  <a:cubicBezTo>
                    <a:pt x="807049" y="4057717"/>
                    <a:pt x="734060" y="3984417"/>
                    <a:pt x="734060" y="3886683"/>
                  </a:cubicBezTo>
                  <a:cubicBezTo>
                    <a:pt x="734060" y="3886683"/>
                    <a:pt x="734060" y="3886683"/>
                    <a:pt x="734060" y="1394467"/>
                  </a:cubicBezTo>
                  <a:cubicBezTo>
                    <a:pt x="734060" y="1296733"/>
                    <a:pt x="807049" y="1223432"/>
                    <a:pt x="904368" y="1223432"/>
                  </a:cubicBezTo>
                  <a:close/>
                  <a:moveTo>
                    <a:pt x="2325453" y="316050"/>
                  </a:moveTo>
                  <a:cubicBezTo>
                    <a:pt x="2325453" y="316050"/>
                    <a:pt x="2325453" y="316050"/>
                    <a:pt x="3031014" y="316050"/>
                  </a:cubicBezTo>
                  <a:cubicBezTo>
                    <a:pt x="3128333" y="316050"/>
                    <a:pt x="3201322" y="389416"/>
                    <a:pt x="3201322" y="487238"/>
                  </a:cubicBezTo>
                  <a:cubicBezTo>
                    <a:pt x="3201322" y="487238"/>
                    <a:pt x="3201322" y="487238"/>
                    <a:pt x="3201322" y="3886530"/>
                  </a:cubicBezTo>
                  <a:cubicBezTo>
                    <a:pt x="3201322" y="3984351"/>
                    <a:pt x="3128333" y="4057717"/>
                    <a:pt x="3031014" y="4057717"/>
                  </a:cubicBezTo>
                  <a:cubicBezTo>
                    <a:pt x="3031014" y="4057717"/>
                    <a:pt x="3031014" y="4057717"/>
                    <a:pt x="2325453" y="4057717"/>
                  </a:cubicBezTo>
                  <a:cubicBezTo>
                    <a:pt x="2203804" y="4057717"/>
                    <a:pt x="2130815" y="3984351"/>
                    <a:pt x="2130815" y="3886530"/>
                  </a:cubicBezTo>
                  <a:cubicBezTo>
                    <a:pt x="2130815" y="3886530"/>
                    <a:pt x="2130815" y="3886530"/>
                    <a:pt x="2130815" y="487238"/>
                  </a:cubicBezTo>
                  <a:cubicBezTo>
                    <a:pt x="2130815" y="389416"/>
                    <a:pt x="2203804" y="316050"/>
                    <a:pt x="2325453" y="316050"/>
                  </a:cubicBezTo>
                  <a:close/>
                  <a:moveTo>
                    <a:pt x="269155" y="0"/>
                  </a:moveTo>
                  <a:cubicBezTo>
                    <a:pt x="415967" y="0"/>
                    <a:pt x="538311" y="122239"/>
                    <a:pt x="538311" y="268927"/>
                  </a:cubicBezTo>
                  <a:cubicBezTo>
                    <a:pt x="538311" y="268927"/>
                    <a:pt x="538311" y="268927"/>
                    <a:pt x="538311" y="4253925"/>
                  </a:cubicBezTo>
                  <a:cubicBezTo>
                    <a:pt x="538311" y="4253925"/>
                    <a:pt x="538311" y="4253925"/>
                    <a:pt x="4624575" y="4253925"/>
                  </a:cubicBezTo>
                  <a:cubicBezTo>
                    <a:pt x="4771387" y="4253925"/>
                    <a:pt x="4893730" y="4376164"/>
                    <a:pt x="4893730" y="4522851"/>
                  </a:cubicBezTo>
                  <a:cubicBezTo>
                    <a:pt x="4893730" y="4669538"/>
                    <a:pt x="4771387" y="4791777"/>
                    <a:pt x="4624575" y="4791777"/>
                  </a:cubicBezTo>
                  <a:cubicBezTo>
                    <a:pt x="4624575" y="4791777"/>
                    <a:pt x="4624575" y="4791777"/>
                    <a:pt x="269155" y="4791777"/>
                  </a:cubicBezTo>
                  <a:cubicBezTo>
                    <a:pt x="122344" y="4791777"/>
                    <a:pt x="0" y="4669538"/>
                    <a:pt x="0" y="4522851"/>
                  </a:cubicBezTo>
                  <a:cubicBezTo>
                    <a:pt x="0" y="4522851"/>
                    <a:pt x="0" y="4522851"/>
                    <a:pt x="0" y="268927"/>
                  </a:cubicBezTo>
                  <a:cubicBezTo>
                    <a:pt x="0" y="122239"/>
                    <a:pt x="122344" y="0"/>
                    <a:pt x="269155"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37148" tIns="109719" rIns="137148" bIns="109719"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699261"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5" name="Rectangle 104"/>
            <p:cNvSpPr/>
            <p:nvPr/>
          </p:nvSpPr>
          <p:spPr bwMode="auto">
            <a:xfrm rot="2745734">
              <a:off x="886688" y="2210975"/>
              <a:ext cx="1598323" cy="1625795"/>
            </a:xfrm>
            <a:prstGeom prst="rect">
              <a:avLst/>
            </a:prstGeom>
            <a:solidFill>
              <a:schemeClr val="tx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6" name="Rectangle 105"/>
            <p:cNvSpPr/>
            <p:nvPr/>
          </p:nvSpPr>
          <p:spPr bwMode="auto">
            <a:xfrm rot="2745734">
              <a:off x="292433" y="3819160"/>
              <a:ext cx="1610349" cy="1235003"/>
            </a:xfrm>
            <a:prstGeom prst="rect">
              <a:avLst/>
            </a:prstGeom>
            <a:solidFill>
              <a:schemeClr val="tx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7" name="Rectangle 106"/>
            <p:cNvSpPr/>
            <p:nvPr/>
          </p:nvSpPr>
          <p:spPr bwMode="auto">
            <a:xfrm rot="2745734">
              <a:off x="1315610" y="4915701"/>
              <a:ext cx="1263370" cy="1255989"/>
            </a:xfrm>
            <a:prstGeom prst="rect">
              <a:avLst/>
            </a:prstGeom>
            <a:solidFill>
              <a:schemeClr val="tx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37" name="Title 10"/>
          <p:cNvSpPr txBox="1">
            <a:spLocks/>
          </p:cNvSpPr>
          <p:nvPr/>
        </p:nvSpPr>
        <p:spPr>
          <a:xfrm>
            <a:off x="2849060" y="0"/>
            <a:ext cx="9342940" cy="665151"/>
          </a:xfrm>
          <a:prstGeom prst="rect">
            <a:avLst/>
          </a:prstGeom>
          <a:noFill/>
        </p:spPr>
        <p:txBody>
          <a:bodyPr vert="horz" wrap="square" lIns="0" tIns="91440" rIns="0" bIns="91440" rtlCol="0" anchor="t">
            <a:noAutofit/>
          </a:bodyPr>
          <a:lstStyle>
            <a:lvl1pPr defTabSz="914367">
              <a:lnSpc>
                <a:spcPct val="90000"/>
              </a:lnSpc>
              <a:spcBef>
                <a:spcPct val="0"/>
              </a:spcBef>
              <a:buNone/>
              <a:defRPr lang="en-US" sz="5294" b="0" cap="none" spc="-100" baseline="0" dirty="0" smtClean="0">
                <a:ln w="3175">
                  <a:noFill/>
                </a:ln>
                <a:solidFill>
                  <a:schemeClr val="tx2"/>
                </a:solidFill>
                <a:effectLst/>
                <a:latin typeface="+mj-lt"/>
                <a:cs typeface="Segoe UI" pitchFamily="34" charset="0"/>
              </a:defRPr>
            </a:lvl1pPr>
          </a:lstStyle>
          <a:p>
            <a:pPr marL="168275" marR="0" lvl="0" indent="0" algn="l" defTabSz="914367" rtl="0" eaLnBrk="1" fontAlgn="auto" latinLnBrk="0" hangingPunct="1">
              <a:lnSpc>
                <a:spcPct val="90000"/>
              </a:lnSpc>
              <a:spcBef>
                <a:spcPct val="0"/>
              </a:spcBef>
              <a:spcAft>
                <a:spcPts val="0"/>
              </a:spcAft>
              <a:buClrTx/>
              <a:buSzTx/>
              <a:buFontTx/>
              <a:buNone/>
              <a:tabLst/>
              <a:defRPr/>
            </a:pPr>
            <a:r>
              <a:rPr kumimoji="0" lang="en-US" sz="3600" b="0" i="0" u="none" strike="noStrike" kern="1200" cap="none" spc="-100" normalizeH="0" baseline="0" noProof="0">
                <a:ln w="3175">
                  <a:noFill/>
                </a:ln>
                <a:solidFill>
                  <a:prstClr val="black"/>
                </a:solidFill>
                <a:effectLst/>
                <a:uLnTx/>
                <a:uFillTx/>
                <a:latin typeface="Segoe UI Light"/>
                <a:ea typeface="+mn-ea"/>
                <a:cs typeface="Segoe UI" pitchFamily="34" charset="0"/>
              </a:rPr>
              <a:t>Creating a Data Model</a:t>
            </a:r>
            <a:endParaRPr kumimoji="0" lang="en-IN" sz="3600" b="0" i="0" u="none" strike="noStrike" kern="1200" cap="none" spc="-100" normalizeH="0" baseline="0" noProof="0">
              <a:ln w="3175">
                <a:noFill/>
              </a:ln>
              <a:solidFill>
                <a:prstClr val="black"/>
              </a:solidFill>
              <a:effectLst/>
              <a:uLnTx/>
              <a:uFillTx/>
              <a:latin typeface="Segoe UI Light"/>
              <a:ea typeface="+mn-ea"/>
              <a:cs typeface="Segoe UI" pitchFamily="34" charset="0"/>
            </a:endParaRPr>
          </a:p>
        </p:txBody>
      </p:sp>
      <p:sp>
        <p:nvSpPr>
          <p:cNvPr id="40" name="TextBox 39"/>
          <p:cNvSpPr txBox="1"/>
          <p:nvPr/>
        </p:nvSpPr>
        <p:spPr>
          <a:xfrm>
            <a:off x="3" y="51415"/>
            <a:ext cx="2849058" cy="430887"/>
          </a:xfrm>
          <a:prstGeom prst="rect">
            <a:avLst/>
          </a:prstGeom>
        </p:spPr>
        <p:txBody>
          <a:bodyPr wrap="square">
            <a:spAutoFit/>
          </a:bodyPr>
          <a:lstStyle>
            <a:defPPr>
              <a:defRPr lang="en-US"/>
            </a:defPPr>
            <a:lvl1pPr defTabSz="914192">
              <a:defRPr sz="2800" b="1" spc="-100">
                <a:ln w="3175">
                  <a:noFill/>
                </a:ln>
                <a:solidFill>
                  <a:srgbClr val="F2C812"/>
                </a:solidFill>
                <a:latin typeface="Segoe UI" panose="020B0502040204020203" pitchFamily="34" charset="0"/>
                <a:ea typeface="ＭＳ Ｐゴシック" charset="0"/>
                <a:cs typeface="Segoe UI" panose="020B0502040204020203" pitchFamily="34" charset="0"/>
              </a:defRPr>
            </a:lvl1pPr>
          </a:lstStyle>
          <a:p>
            <a:pPr marL="0" marR="0" lvl="0" indent="0" algn="l" defTabSz="914192" rtl="0" eaLnBrk="1" fontAlgn="auto" latinLnBrk="0" hangingPunct="1">
              <a:lnSpc>
                <a:spcPct val="100000"/>
              </a:lnSpc>
              <a:spcBef>
                <a:spcPts val="0"/>
              </a:spcBef>
              <a:spcAft>
                <a:spcPts val="0"/>
              </a:spcAft>
              <a:buClrTx/>
              <a:buSzTx/>
              <a:buFontTx/>
              <a:buNone/>
              <a:tabLst/>
              <a:defRPr/>
            </a:pPr>
            <a:r>
              <a:rPr kumimoji="0" lang="en-US" sz="2200" b="1" i="0" u="none" strike="noStrike" kern="1200" cap="none" spc="-100" normalizeH="0" baseline="0" noProof="0">
                <a:ln w="3175">
                  <a:noFill/>
                </a:ln>
                <a:solidFill>
                  <a:srgbClr val="F2C812"/>
                </a:solidFill>
                <a:effectLst/>
                <a:uLnTx/>
                <a:uFillTx/>
                <a:latin typeface="Segoe UI Light"/>
                <a:ea typeface="ＭＳ Ｐゴシック" charset="0"/>
                <a:cs typeface="Segoe UI" panose="020B0502040204020203" pitchFamily="34" charset="0"/>
              </a:rPr>
              <a:t>Power BI Desktop</a:t>
            </a:r>
          </a:p>
        </p:txBody>
      </p:sp>
      <p:sp>
        <p:nvSpPr>
          <p:cNvPr id="36" name="Rectangle 3"/>
          <p:cNvSpPr/>
          <p:nvPr/>
        </p:nvSpPr>
        <p:spPr bwMode="auto">
          <a:xfrm>
            <a:off x="3202216" y="665151"/>
            <a:ext cx="8105312" cy="44435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PT" sz="2000" b="0" i="1" u="none" strike="noStrike" kern="1200" cap="none" spc="0" normalizeH="0" baseline="0" noProof="0">
                <a:ln>
                  <a:noFill/>
                </a:ln>
                <a:solidFill>
                  <a:prstClr val="black"/>
                </a:solidFill>
                <a:effectLst/>
                <a:uLnTx/>
                <a:uFillTx/>
                <a:latin typeface="Segoe UI Light"/>
                <a:ea typeface="+mn-ea"/>
                <a:cs typeface="+mn-cs"/>
              </a:rPr>
              <a:t>Data </a:t>
            </a:r>
            <a:r>
              <a:rPr kumimoji="0" lang="pt-PT" sz="2000" b="0" i="1" u="none" strike="noStrike" kern="1200" cap="none" spc="0" normalizeH="0" baseline="0" noProof="0" dirty="0" err="1">
                <a:ln>
                  <a:noFill/>
                </a:ln>
                <a:solidFill>
                  <a:prstClr val="black"/>
                </a:solidFill>
                <a:effectLst/>
                <a:uLnTx/>
                <a:uFillTx/>
                <a:latin typeface="Segoe UI Light"/>
                <a:ea typeface="+mn-ea"/>
                <a:cs typeface="+mn-cs"/>
              </a:rPr>
              <a:t>Types</a:t>
            </a:r>
            <a:endParaRPr kumimoji="0" lang="en-US" sz="2000" b="0" i="1" u="none" strike="noStrike" kern="1200" cap="none" spc="0" normalizeH="0" baseline="0" noProof="0" dirty="0" err="1">
              <a:ln>
                <a:noFill/>
              </a:ln>
              <a:solidFill>
                <a:prstClr val="black"/>
              </a:solidFill>
              <a:effectLst/>
              <a:uLnTx/>
              <a:uFillTx/>
              <a:latin typeface="Segoe UI Light"/>
              <a:ea typeface="+mn-ea"/>
              <a:cs typeface="+mn-cs"/>
            </a:endParaRPr>
          </a:p>
        </p:txBody>
      </p:sp>
      <p:sp>
        <p:nvSpPr>
          <p:cNvPr id="38" name="Text Placeholder 2"/>
          <p:cNvSpPr txBox="1">
            <a:spLocks/>
          </p:cNvSpPr>
          <p:nvPr/>
        </p:nvSpPr>
        <p:spPr>
          <a:xfrm>
            <a:off x="2814625" y="1274537"/>
            <a:ext cx="9090381" cy="5312307"/>
          </a:xfrm>
          <a:prstGeom prst="rect">
            <a:avLst/>
          </a:prstGeom>
        </p:spPr>
        <p:txBody>
          <a:bodyPr vert="horz" wrap="square" lIns="182880" tIns="146304" rIns="182880" bIns="146304" rtlCol="0">
            <a:noAutofit/>
          </a:bodyPr>
          <a:lstStyle>
            <a:lvl1pPr marL="182845" marR="0"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3921" kern="1200" spc="0" baseline="0">
                <a:gradFill>
                  <a:gsLst>
                    <a:gs pos="1250">
                      <a:schemeClr val="tx2"/>
                    </a:gs>
                    <a:gs pos="99000">
                      <a:schemeClr val="tx2"/>
                    </a:gs>
                  </a:gsLst>
                  <a:lin ang="5400000" scaled="0"/>
                </a:gradFill>
                <a:latin typeface="+mj-lt"/>
                <a:ea typeface="+mn-ea"/>
                <a:cs typeface="+mn-cs"/>
              </a:defRPr>
            </a:lvl1pPr>
            <a:lvl2pPr marL="365690" marR="0"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2400" kern="1200" spc="0" baseline="0">
                <a:solidFill>
                  <a:schemeClr val="tx2"/>
                </a:solidFill>
                <a:latin typeface="+mj-lt"/>
                <a:ea typeface="+mn-ea"/>
                <a:cs typeface="+mn-cs"/>
              </a:defRPr>
            </a:lvl2pPr>
            <a:lvl3pPr marL="548535" marR="0"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2000" kern="1200" spc="0" baseline="0">
                <a:solidFill>
                  <a:schemeClr val="tx2"/>
                </a:solidFill>
                <a:latin typeface="+mj-lt"/>
                <a:ea typeface="+mn-ea"/>
                <a:cs typeface="+mn-cs"/>
              </a:defRPr>
            </a:lvl3pPr>
            <a:lvl4pPr marL="733802" marR="0" indent="-28569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1765" kern="1200" spc="0" baseline="0">
                <a:solidFill>
                  <a:schemeClr val="tx2"/>
                </a:solidFill>
                <a:latin typeface="+mn-lt"/>
                <a:ea typeface="+mn-ea"/>
                <a:cs typeface="+mn-cs"/>
              </a:defRPr>
            </a:lvl4pPr>
            <a:lvl5pPr marL="957856" marR="0" indent="-28569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1765" kern="1200" spc="0" baseline="0">
                <a:solidFill>
                  <a:schemeClr val="tx2"/>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r>
              <a:rPr kumimoji="0" lang="pt-PT" sz="2400" b="0" i="0" u="none" strike="noStrike" kern="1200" cap="none" spc="0" normalizeH="0" baseline="0" noProof="0" dirty="0" err="1">
                <a:ln>
                  <a:noFill/>
                </a:ln>
                <a:solidFill>
                  <a:prstClr val="black"/>
                </a:solidFill>
                <a:effectLst/>
                <a:uLnTx/>
                <a:uFillTx/>
                <a:latin typeface="Segoe UI Light"/>
                <a:ea typeface="Calibri" panose="020F0502020204030204" pitchFamily="34" charset="0"/>
                <a:cs typeface="Times New Roman" panose="02020603050405020304" pitchFamily="18" charset="0"/>
              </a:rPr>
              <a:t>Power</a:t>
            </a:r>
            <a:r>
              <a:rPr kumimoji="0" lang="pt-PT" sz="2400" b="0" i="0" u="none" strike="noStrike" kern="1200" cap="none" spc="0" normalizeH="0" baseline="0" noProof="0">
                <a:ln>
                  <a:noFill/>
                </a:ln>
                <a:solidFill>
                  <a:prstClr val="black"/>
                </a:solidFill>
                <a:effectLst/>
                <a:uLnTx/>
                <a:uFillTx/>
                <a:latin typeface="Segoe UI Light"/>
                <a:ea typeface="Calibri" panose="020F0502020204030204" pitchFamily="34" charset="0"/>
                <a:cs typeface="Times New Roman" panose="02020603050405020304" pitchFamily="18" charset="0"/>
              </a:rPr>
              <a:t> BI Desktop </a:t>
            </a:r>
            <a:r>
              <a:rPr kumimoji="0" lang="pt-PT" sz="2400" b="1" i="0" u="none" strike="noStrike" kern="1200" cap="none" spc="0" normalizeH="0" baseline="0" noProof="0" dirty="0" err="1">
                <a:ln>
                  <a:noFill/>
                </a:ln>
                <a:solidFill>
                  <a:prstClr val="black"/>
                </a:solidFill>
                <a:effectLst/>
                <a:uLnTx/>
                <a:uFillTx/>
                <a:latin typeface="Segoe UI Light"/>
                <a:ea typeface="Calibri" panose="020F0502020204030204" pitchFamily="34" charset="0"/>
                <a:cs typeface="Times New Roman" panose="02020603050405020304" pitchFamily="18" charset="0"/>
              </a:rPr>
              <a:t>optimizes</a:t>
            </a:r>
            <a:r>
              <a:rPr kumimoji="0" lang="pt-PT" sz="2400" b="1" i="0" u="none" strike="noStrike" kern="1200" cap="none" spc="0" normalizeH="0" baseline="0" noProof="0">
                <a:ln>
                  <a:noFill/>
                </a:ln>
                <a:solidFill>
                  <a:prstClr val="black"/>
                </a:solidFill>
                <a:effectLst/>
                <a:uLnTx/>
                <a:uFillTx/>
                <a:latin typeface="Segoe UI Light"/>
                <a:ea typeface="Calibri" panose="020F0502020204030204" pitchFamily="34" charset="0"/>
                <a:cs typeface="Times New Roman" panose="02020603050405020304" pitchFamily="18" charset="0"/>
              </a:rPr>
              <a:t> data </a:t>
            </a:r>
            <a:r>
              <a:rPr kumimoji="0" lang="pt-PT" sz="2400" b="1" i="0" u="none" strike="noStrike" kern="1200" cap="none" spc="0" normalizeH="0" baseline="0" noProof="0" dirty="0" err="1">
                <a:ln>
                  <a:noFill/>
                </a:ln>
                <a:solidFill>
                  <a:prstClr val="black"/>
                </a:solidFill>
                <a:effectLst/>
                <a:uLnTx/>
                <a:uFillTx/>
                <a:latin typeface="Segoe UI Light"/>
                <a:ea typeface="Calibri" panose="020F0502020204030204" pitchFamily="34" charset="0"/>
                <a:cs typeface="Times New Roman" panose="02020603050405020304" pitchFamily="18" charset="0"/>
              </a:rPr>
              <a:t>types</a:t>
            </a:r>
            <a:r>
              <a:rPr kumimoji="0" lang="pt-PT" sz="2400" b="1" i="0" u="none" strike="noStrike" kern="1200" cap="none" spc="0" normalizeH="0" baseline="0" noProof="0">
                <a:ln>
                  <a:noFill/>
                </a:ln>
                <a:solidFill>
                  <a:prstClr val="black"/>
                </a:solidFill>
                <a:effectLst/>
                <a:uLnTx/>
                <a:uFillTx/>
                <a:latin typeface="Segoe UI Light"/>
                <a:ea typeface="Calibri" panose="020F0502020204030204" pitchFamily="34" charset="0"/>
                <a:cs typeface="Times New Roman" panose="02020603050405020304" pitchFamily="18" charset="0"/>
              </a:rPr>
              <a:t> </a:t>
            </a:r>
            <a:r>
              <a:rPr kumimoji="0" lang="pt-PT" sz="2400" b="1" i="0" u="none" strike="noStrike" kern="1200" cap="none" spc="0" normalizeH="0" baseline="0" noProof="0" dirty="0" err="1">
                <a:ln>
                  <a:noFill/>
                </a:ln>
                <a:solidFill>
                  <a:prstClr val="black"/>
                </a:solidFill>
                <a:effectLst/>
                <a:uLnTx/>
                <a:uFillTx/>
                <a:latin typeface="Segoe UI Light"/>
                <a:ea typeface="Calibri" panose="020F0502020204030204" pitchFamily="34" charset="0"/>
                <a:cs typeface="Times New Roman" panose="02020603050405020304" pitchFamily="18" charset="0"/>
              </a:rPr>
              <a:t>automatically</a:t>
            </a:r>
            <a:r>
              <a:rPr kumimoji="0" lang="pt-PT" sz="2400" b="0" i="0" u="none" strike="noStrike" kern="1200" cap="none" spc="0" normalizeH="0" baseline="0" noProof="0">
                <a:ln>
                  <a:noFill/>
                </a:ln>
                <a:solidFill>
                  <a:prstClr val="black"/>
                </a:solidFill>
                <a:effectLst/>
                <a:uLnTx/>
                <a:uFillTx/>
                <a:latin typeface="Segoe UI Light"/>
                <a:ea typeface="Calibri" panose="020F0502020204030204" pitchFamily="34" charset="0"/>
                <a:cs typeface="Times New Roman" panose="02020603050405020304" pitchFamily="18" charset="0"/>
              </a:rPr>
              <a:t> </a:t>
            </a:r>
            <a:r>
              <a:rPr kumimoji="0" lang="pt-PT" sz="2400" b="0" i="0" u="none" strike="noStrike" kern="1200" cap="none" spc="0" normalizeH="0" baseline="0" noProof="0" dirty="0" err="1">
                <a:ln>
                  <a:noFill/>
                </a:ln>
                <a:solidFill>
                  <a:prstClr val="black"/>
                </a:solidFill>
                <a:effectLst/>
                <a:uLnTx/>
                <a:uFillTx/>
                <a:latin typeface="Segoe UI Light"/>
                <a:ea typeface="Calibri" panose="020F0502020204030204" pitchFamily="34" charset="0"/>
                <a:cs typeface="Times New Roman" panose="02020603050405020304" pitchFamily="18" charset="0"/>
              </a:rPr>
              <a:t>when</a:t>
            </a:r>
            <a:r>
              <a:rPr kumimoji="0" lang="pt-PT" sz="2400" b="0" i="0" u="none" strike="noStrike" kern="1200" cap="none" spc="0" normalizeH="0" baseline="0" noProof="0">
                <a:ln>
                  <a:noFill/>
                </a:ln>
                <a:solidFill>
                  <a:prstClr val="black"/>
                </a:solidFill>
                <a:effectLst/>
                <a:uLnTx/>
                <a:uFillTx/>
                <a:latin typeface="Segoe UI Light"/>
                <a:ea typeface="Calibri" panose="020F0502020204030204" pitchFamily="34" charset="0"/>
                <a:cs typeface="Times New Roman" panose="02020603050405020304" pitchFamily="18" charset="0"/>
              </a:rPr>
              <a:t> </a:t>
            </a:r>
            <a:r>
              <a:rPr kumimoji="0" lang="pt-PT" sz="2400" b="0" i="0" u="none" strike="noStrike" kern="1200" cap="none" spc="0" normalizeH="0" baseline="0" noProof="0" dirty="0" err="1">
                <a:ln>
                  <a:noFill/>
                </a:ln>
                <a:solidFill>
                  <a:prstClr val="black"/>
                </a:solidFill>
                <a:effectLst/>
                <a:uLnTx/>
                <a:uFillTx/>
                <a:latin typeface="Segoe UI Light"/>
                <a:ea typeface="Calibri" panose="020F0502020204030204" pitchFamily="34" charset="0"/>
                <a:cs typeface="Times New Roman" panose="02020603050405020304" pitchFamily="18" charset="0"/>
              </a:rPr>
              <a:t>loading</a:t>
            </a:r>
            <a:r>
              <a:rPr kumimoji="0" lang="pt-PT" sz="2400" b="0" i="0" u="none" strike="noStrike" kern="1200" cap="none" spc="0" normalizeH="0" baseline="0" noProof="0">
                <a:ln>
                  <a:noFill/>
                </a:ln>
                <a:solidFill>
                  <a:prstClr val="black"/>
                </a:solidFill>
                <a:effectLst/>
                <a:uLnTx/>
                <a:uFillTx/>
                <a:latin typeface="Segoe UI Light"/>
                <a:ea typeface="Calibri" panose="020F0502020204030204" pitchFamily="34" charset="0"/>
                <a:cs typeface="Times New Roman" panose="02020603050405020304" pitchFamily="18" charset="0"/>
              </a:rPr>
              <a:t> </a:t>
            </a:r>
            <a:r>
              <a:rPr kumimoji="0" lang="pt-PT" sz="2400" b="0" i="0" u="none" strike="noStrike" kern="1200" cap="none" spc="0" normalizeH="0" baseline="0" noProof="0" dirty="0" err="1">
                <a:ln>
                  <a:noFill/>
                </a:ln>
                <a:solidFill>
                  <a:prstClr val="black"/>
                </a:solidFill>
                <a:effectLst/>
                <a:uLnTx/>
                <a:uFillTx/>
                <a:latin typeface="Segoe UI Light"/>
                <a:ea typeface="Calibri" panose="020F0502020204030204" pitchFamily="34" charset="0"/>
                <a:cs typeface="Times New Roman" panose="02020603050405020304" pitchFamily="18" charset="0"/>
              </a:rPr>
              <a:t>the</a:t>
            </a:r>
            <a:r>
              <a:rPr kumimoji="0" lang="pt-PT" sz="2400" b="0" i="0" u="none" strike="noStrike" kern="1200" cap="none" spc="0" normalizeH="0" baseline="0" noProof="0">
                <a:ln>
                  <a:noFill/>
                </a:ln>
                <a:solidFill>
                  <a:prstClr val="black"/>
                </a:solidFill>
                <a:effectLst/>
                <a:uLnTx/>
                <a:uFillTx/>
                <a:latin typeface="Segoe UI Light"/>
                <a:ea typeface="Calibri" panose="020F0502020204030204" pitchFamily="34" charset="0"/>
                <a:cs typeface="Times New Roman" panose="02020603050405020304" pitchFamily="18" charset="0"/>
              </a:rPr>
              <a:t> data for more </a:t>
            </a:r>
            <a:r>
              <a:rPr kumimoji="0" lang="pt-PT" sz="2400" b="0" i="0" u="none" strike="noStrike" kern="1200" cap="none" spc="0" normalizeH="0" baseline="0" noProof="0" dirty="0" err="1">
                <a:ln>
                  <a:noFill/>
                </a:ln>
                <a:solidFill>
                  <a:prstClr val="black"/>
                </a:solidFill>
                <a:effectLst/>
                <a:uLnTx/>
                <a:uFillTx/>
                <a:latin typeface="Segoe UI Light"/>
                <a:ea typeface="Calibri" panose="020F0502020204030204" pitchFamily="34" charset="0"/>
                <a:cs typeface="Times New Roman" panose="02020603050405020304" pitchFamily="18" charset="0"/>
              </a:rPr>
              <a:t>efficient</a:t>
            </a:r>
            <a:r>
              <a:rPr kumimoji="0" lang="pt-PT" sz="2400" b="0" i="0" u="none" strike="noStrike" kern="1200" cap="none" spc="0" normalizeH="0" baseline="0" noProof="0">
                <a:ln>
                  <a:noFill/>
                </a:ln>
                <a:solidFill>
                  <a:prstClr val="black"/>
                </a:solidFill>
                <a:effectLst/>
                <a:uLnTx/>
                <a:uFillTx/>
                <a:latin typeface="Segoe UI Light"/>
                <a:ea typeface="Calibri" panose="020F0502020204030204" pitchFamily="34" charset="0"/>
                <a:cs typeface="Times New Roman" panose="02020603050405020304" pitchFamily="18" charset="0"/>
              </a:rPr>
              <a:t> </a:t>
            </a:r>
            <a:r>
              <a:rPr kumimoji="0" lang="pt-PT" sz="2400" b="0" i="0" u="none" strike="noStrike" kern="1200" cap="none" spc="0" normalizeH="0" baseline="0" noProof="0" dirty="0" err="1">
                <a:ln>
                  <a:noFill/>
                </a:ln>
                <a:solidFill>
                  <a:prstClr val="black"/>
                </a:solidFill>
                <a:effectLst/>
                <a:uLnTx/>
                <a:uFillTx/>
                <a:latin typeface="Segoe UI Light"/>
                <a:ea typeface="Calibri" panose="020F0502020204030204" pitchFamily="34" charset="0"/>
                <a:cs typeface="Times New Roman" panose="02020603050405020304" pitchFamily="18" charset="0"/>
              </a:rPr>
              <a:t>storage</a:t>
            </a:r>
            <a:r>
              <a:rPr kumimoji="0" lang="pt-PT" sz="2400" b="0" i="0" u="none" strike="noStrike" kern="1200" cap="none" spc="0" normalizeH="0" baseline="0" noProof="0">
                <a:ln>
                  <a:noFill/>
                </a:ln>
                <a:solidFill>
                  <a:prstClr val="black"/>
                </a:solidFill>
                <a:effectLst/>
                <a:uLnTx/>
                <a:uFillTx/>
                <a:latin typeface="Segoe UI Light"/>
                <a:ea typeface="Calibri" panose="020F0502020204030204" pitchFamily="34" charset="0"/>
                <a:cs typeface="Times New Roman" panose="02020603050405020304" pitchFamily="18" charset="0"/>
              </a:rPr>
              <a:t>, </a:t>
            </a:r>
            <a:r>
              <a:rPr kumimoji="0" lang="pt-PT" sz="2400" b="0" i="0" u="none" strike="noStrike" kern="1200" cap="none" spc="0" normalizeH="0" baseline="0" noProof="0" dirty="0" err="1">
                <a:ln>
                  <a:noFill/>
                </a:ln>
                <a:solidFill>
                  <a:prstClr val="black"/>
                </a:solidFill>
                <a:effectLst/>
                <a:uLnTx/>
                <a:uFillTx/>
                <a:latin typeface="Segoe UI Light"/>
                <a:ea typeface="Calibri" panose="020F0502020204030204" pitchFamily="34" charset="0"/>
                <a:cs typeface="Times New Roman" panose="02020603050405020304" pitchFamily="18" charset="0"/>
              </a:rPr>
              <a:t>calculations</a:t>
            </a:r>
            <a:r>
              <a:rPr kumimoji="0" lang="pt-PT" sz="2400" b="0" i="0" u="none" strike="noStrike" kern="1200" cap="none" spc="0" normalizeH="0" baseline="0" noProof="0">
                <a:ln>
                  <a:noFill/>
                </a:ln>
                <a:solidFill>
                  <a:prstClr val="black"/>
                </a:solidFill>
                <a:effectLst/>
                <a:uLnTx/>
                <a:uFillTx/>
                <a:latin typeface="Segoe UI Light"/>
                <a:ea typeface="Calibri" panose="020F0502020204030204" pitchFamily="34" charset="0"/>
                <a:cs typeface="Times New Roman" panose="02020603050405020304" pitchFamily="18" charset="0"/>
              </a:rPr>
              <a:t> </a:t>
            </a:r>
            <a:r>
              <a:rPr kumimoji="0" lang="pt-PT" sz="2400" b="0" i="0" u="none" strike="noStrike" kern="1200" cap="none" spc="0" normalizeH="0" baseline="0" noProof="0" dirty="0" err="1">
                <a:ln>
                  <a:noFill/>
                </a:ln>
                <a:solidFill>
                  <a:prstClr val="black"/>
                </a:solidFill>
                <a:effectLst/>
                <a:uLnTx/>
                <a:uFillTx/>
                <a:latin typeface="Segoe UI Light"/>
                <a:ea typeface="Calibri" panose="020F0502020204030204" pitchFamily="34" charset="0"/>
                <a:cs typeface="Times New Roman" panose="02020603050405020304" pitchFamily="18" charset="0"/>
              </a:rPr>
              <a:t>and</a:t>
            </a:r>
            <a:r>
              <a:rPr kumimoji="0" lang="pt-PT" sz="2400" b="0" i="0" u="none" strike="noStrike" kern="1200" cap="none" spc="0" normalizeH="0" baseline="0" noProof="0">
                <a:ln>
                  <a:noFill/>
                </a:ln>
                <a:solidFill>
                  <a:prstClr val="black"/>
                </a:solidFill>
                <a:effectLst/>
                <a:uLnTx/>
                <a:uFillTx/>
                <a:latin typeface="Segoe UI Light"/>
                <a:ea typeface="Calibri" panose="020F0502020204030204" pitchFamily="34" charset="0"/>
                <a:cs typeface="Times New Roman" panose="02020603050405020304" pitchFamily="18" charset="0"/>
              </a:rPr>
              <a:t> data </a:t>
            </a:r>
            <a:r>
              <a:rPr kumimoji="0" lang="pt-PT" sz="2400" b="0" i="0" u="none" strike="noStrike" kern="1200" cap="none" spc="0" normalizeH="0" baseline="0" noProof="0" dirty="0" err="1">
                <a:ln>
                  <a:noFill/>
                </a:ln>
                <a:solidFill>
                  <a:prstClr val="black"/>
                </a:solidFill>
                <a:effectLst/>
                <a:uLnTx/>
                <a:uFillTx/>
                <a:latin typeface="Segoe UI Light"/>
                <a:ea typeface="Calibri" panose="020F0502020204030204" pitchFamily="34" charset="0"/>
                <a:cs typeface="Times New Roman" panose="02020603050405020304" pitchFamily="18" charset="0"/>
              </a:rPr>
              <a:t>visualization</a:t>
            </a:r>
            <a:endParaRPr kumimoji="0" lang="en-US" sz="2400" b="0" i="0" u="none" strike="noStrike" kern="1200" cap="none" spc="0" normalizeH="0" baseline="0" noProof="0" dirty="0" err="1">
              <a:ln>
                <a:noFill/>
              </a:ln>
              <a:solidFill>
                <a:prstClr val="black"/>
              </a:solidFill>
              <a:effectLst/>
              <a:uLnTx/>
              <a:uFillTx/>
              <a:latin typeface="Segoe UI Light"/>
              <a:ea typeface="Calibri" panose="020F0502020204030204" pitchFamily="34" charset="0"/>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pt-PT" sz="2400" b="0" i="0" u="none" strike="noStrike" kern="1200" cap="none" spc="0" normalizeH="0" baseline="0" noProof="0">
              <a:ln>
                <a:noFill/>
              </a:ln>
              <a:solidFill>
                <a:prstClr val="black"/>
              </a:solidFill>
              <a:effectLst/>
              <a:uLnTx/>
              <a:uFillTx/>
              <a:latin typeface="Segoe UI Light"/>
              <a:ea typeface="Calibri" panose="020F0502020204030204" pitchFamily="34" charset="0"/>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r>
              <a:rPr kumimoji="0" lang="en-US" sz="2400" b="0" i="0" u="none" strike="noStrike" kern="1200" cap="none" spc="0" normalizeH="0" baseline="0" noProof="0">
                <a:ln>
                  <a:noFill/>
                </a:ln>
                <a:solidFill>
                  <a:prstClr val="black"/>
                </a:solidFill>
                <a:effectLst/>
                <a:uLnTx/>
                <a:uFillTx/>
                <a:latin typeface="Segoe UI Light"/>
                <a:ea typeface="Calibri" panose="020F0502020204030204" pitchFamily="34" charset="0"/>
                <a:cs typeface="Times New Roman" panose="02020603050405020304" pitchFamily="18" charset="0"/>
              </a:rPr>
              <a:t>Data types </a:t>
            </a:r>
            <a:r>
              <a:rPr kumimoji="0" lang="en-US" sz="2400" b="1" i="0" u="none" strike="noStrike" kern="1200" cap="none" spc="0" normalizeH="0" baseline="0" noProof="0">
                <a:ln>
                  <a:noFill/>
                </a:ln>
                <a:solidFill>
                  <a:prstClr val="black"/>
                </a:solidFill>
                <a:effectLst/>
                <a:uLnTx/>
                <a:uFillTx/>
                <a:latin typeface="Segoe UI Light"/>
                <a:ea typeface="Calibri" panose="020F0502020204030204" pitchFamily="34" charset="0"/>
                <a:cs typeface="Times New Roman" panose="02020603050405020304" pitchFamily="18" charset="0"/>
              </a:rPr>
              <a:t>can be set </a:t>
            </a:r>
            <a:r>
              <a:rPr kumimoji="0" lang="en-US" sz="2400" b="0" i="0" u="none" strike="noStrike" kern="1200" cap="none" spc="0" normalizeH="0" baseline="0" noProof="0">
                <a:ln>
                  <a:noFill/>
                </a:ln>
                <a:solidFill>
                  <a:prstClr val="black"/>
                </a:solidFill>
                <a:effectLst/>
                <a:uLnTx/>
                <a:uFillTx/>
                <a:latin typeface="Segoe UI Light"/>
                <a:ea typeface="Calibri" panose="020F0502020204030204" pitchFamily="34" charset="0"/>
                <a:cs typeface="Times New Roman" panose="02020603050405020304" pitchFamily="18" charset="0"/>
              </a:rPr>
              <a:t>both at the </a:t>
            </a:r>
            <a:r>
              <a:rPr kumimoji="0" lang="en-US" sz="2400" b="1" i="0" u="none" strike="noStrike" kern="1200" cap="none" spc="0" normalizeH="0" baseline="0" noProof="0">
                <a:ln>
                  <a:noFill/>
                </a:ln>
                <a:solidFill>
                  <a:prstClr val="black"/>
                </a:solidFill>
                <a:effectLst/>
                <a:uLnTx/>
                <a:uFillTx/>
                <a:latin typeface="Segoe UI Light"/>
                <a:ea typeface="Calibri" panose="020F0502020204030204" pitchFamily="34" charset="0"/>
                <a:cs typeface="Times New Roman" panose="02020603050405020304" pitchFamily="18" charset="0"/>
              </a:rPr>
              <a:t>Query Editor </a:t>
            </a:r>
            <a:r>
              <a:rPr kumimoji="0" lang="en-US" sz="2400" b="0" i="0" u="none" strike="noStrike" kern="1200" cap="none" spc="0" normalizeH="0" baseline="0" noProof="0">
                <a:ln>
                  <a:noFill/>
                </a:ln>
                <a:solidFill>
                  <a:prstClr val="black"/>
                </a:solidFill>
                <a:effectLst/>
                <a:uLnTx/>
                <a:uFillTx/>
                <a:latin typeface="Segoe UI Light"/>
                <a:ea typeface="Calibri" panose="020F0502020204030204" pitchFamily="34" charset="0"/>
                <a:cs typeface="Times New Roman" panose="02020603050405020304" pitchFamily="18" charset="0"/>
              </a:rPr>
              <a:t>and in the </a:t>
            </a:r>
            <a:r>
              <a:rPr kumimoji="0" lang="en-US" sz="2400" b="1" i="0" u="none" strike="noStrike" kern="1200" cap="none" spc="0" normalizeH="0" baseline="0" noProof="0">
                <a:ln>
                  <a:noFill/>
                </a:ln>
                <a:solidFill>
                  <a:prstClr val="black"/>
                </a:solidFill>
                <a:effectLst/>
                <a:uLnTx/>
                <a:uFillTx/>
                <a:latin typeface="Segoe UI Light"/>
                <a:ea typeface="Calibri" panose="020F0502020204030204" pitchFamily="34" charset="0"/>
                <a:cs typeface="Times New Roman" panose="02020603050405020304" pitchFamily="18" charset="0"/>
              </a:rPr>
              <a:t>Modeling tab</a:t>
            </a: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pt-PT" sz="2400" b="0" i="0" u="none" strike="noStrike" kern="1200" cap="none" spc="0" normalizeH="0" baseline="0" noProof="0">
              <a:ln>
                <a:noFill/>
              </a:ln>
              <a:solidFill>
                <a:prstClr val="black"/>
              </a:solidFill>
              <a:effectLst/>
              <a:uLnTx/>
              <a:uFillTx/>
              <a:latin typeface="Segoe UI Light"/>
              <a:ea typeface="Calibri" panose="020F0502020204030204" pitchFamily="34" charset="0"/>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400" b="1" i="0" u="none" strike="noStrike" kern="1200" cap="none" spc="0" normalizeH="0" baseline="0" noProof="0">
              <a:ln>
                <a:noFill/>
              </a:ln>
              <a:solidFill>
                <a:prstClr val="black"/>
              </a:solidFill>
              <a:effectLst/>
              <a:uLnTx/>
              <a:uFillTx/>
              <a:latin typeface="Segoe UI Light"/>
              <a:ea typeface="Calibri" panose="020F0502020204030204" pitchFamily="34" charset="0"/>
              <a:cs typeface="Times New Roman" panose="02020603050405020304" pitchFamily="18" charset="0"/>
            </a:endParaRPr>
          </a:p>
        </p:txBody>
      </p:sp>
      <p:pic>
        <p:nvPicPr>
          <p:cNvPr id="3" name="Picture 2"/>
          <p:cNvPicPr>
            <a:picLocks noChangeAspect="1"/>
          </p:cNvPicPr>
          <p:nvPr/>
        </p:nvPicPr>
        <p:blipFill>
          <a:blip r:embed="rId3"/>
          <a:stretch>
            <a:fillRect/>
          </a:stretch>
        </p:blipFill>
        <p:spPr>
          <a:xfrm>
            <a:off x="3934479" y="3886676"/>
            <a:ext cx="2847022" cy="2571737"/>
          </a:xfrm>
          <a:prstGeom prst="rect">
            <a:avLst/>
          </a:prstGeom>
          <a:ln>
            <a:noFill/>
          </a:ln>
          <a:effectLst>
            <a:outerShdw blurRad="190500" algn="tl" rotWithShape="0">
              <a:srgbClr val="000000">
                <a:alpha val="70000"/>
              </a:srgbClr>
            </a:outerShdw>
          </a:effectLst>
        </p:spPr>
      </p:pic>
      <p:pic>
        <p:nvPicPr>
          <p:cNvPr id="5" name="Picture 4"/>
          <p:cNvPicPr>
            <a:picLocks noChangeAspect="1"/>
          </p:cNvPicPr>
          <p:nvPr/>
        </p:nvPicPr>
        <p:blipFill rotWithShape="1">
          <a:blip r:embed="rId4"/>
          <a:srcRect t="8289"/>
          <a:stretch/>
        </p:blipFill>
        <p:spPr>
          <a:xfrm>
            <a:off x="7955641" y="3869616"/>
            <a:ext cx="2578597" cy="2701660"/>
          </a:xfrm>
          <a:prstGeom prst="rect">
            <a:avLst/>
          </a:prstGeom>
          <a:ln>
            <a:noFill/>
          </a:ln>
          <a:effectLst>
            <a:outerShdw blurRad="190500" algn="tl" rotWithShape="0">
              <a:srgbClr val="000000">
                <a:alpha val="70000"/>
              </a:srgbClr>
            </a:outerShdw>
          </a:effectLst>
        </p:spPr>
      </p:pic>
      <p:sp>
        <p:nvSpPr>
          <p:cNvPr id="42" name="Right Arrow 41"/>
          <p:cNvSpPr/>
          <p:nvPr/>
        </p:nvSpPr>
        <p:spPr bwMode="auto">
          <a:xfrm rot="2934197" flipV="1">
            <a:off x="3928265" y="3612399"/>
            <a:ext cx="500483" cy="272871"/>
          </a:xfrm>
          <a:prstGeom prst="rightArrow">
            <a:avLst/>
          </a:prstGeom>
          <a:solidFill>
            <a:srgbClr val="FF00FF"/>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pt-PT"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3" name="Right Arrow 42"/>
          <p:cNvSpPr/>
          <p:nvPr/>
        </p:nvSpPr>
        <p:spPr bwMode="auto">
          <a:xfrm rot="6172028" flipV="1">
            <a:off x="8286907" y="3393983"/>
            <a:ext cx="500483" cy="272871"/>
          </a:xfrm>
          <a:prstGeom prst="rightArrow">
            <a:avLst/>
          </a:prstGeom>
          <a:solidFill>
            <a:srgbClr val="FF00FF"/>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pt-PT"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17638814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p:cNvGrpSpPr/>
          <p:nvPr/>
        </p:nvGrpSpPr>
        <p:grpSpPr>
          <a:xfrm>
            <a:off x="-11149" y="0"/>
            <a:ext cx="2849058" cy="6858000"/>
            <a:chOff x="2" y="1"/>
            <a:chExt cx="2849058" cy="6858000"/>
          </a:xfrm>
        </p:grpSpPr>
        <p:sp>
          <p:nvSpPr>
            <p:cNvPr id="70" name="Rectangle 69"/>
            <p:cNvSpPr/>
            <p:nvPr/>
          </p:nvSpPr>
          <p:spPr bwMode="auto">
            <a:xfrm>
              <a:off x="2" y="1"/>
              <a:ext cx="2849058"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5" name="Oval 70"/>
            <p:cNvSpPr/>
            <p:nvPr/>
          </p:nvSpPr>
          <p:spPr>
            <a:xfrm>
              <a:off x="1413521" y="4951537"/>
              <a:ext cx="1119626" cy="1119626"/>
            </a:xfrm>
            <a:prstGeom prst="ellipse">
              <a:avLst/>
            </a:prstGeom>
            <a:solidFill>
              <a:srgbClr val="F2C812"/>
            </a:solidFill>
            <a:ln w="3175" cap="flat" cmpd="sng" algn="ctr">
              <a:noFill/>
              <a:prstDash val="solid"/>
            </a:ln>
            <a:effectLst/>
          </p:spPr>
          <p:txBody>
            <a:bodyPr vert="horz" wrap="none" lIns="0" tIns="45720" rIns="0" bIns="0" rtlCol="0" anchor="t"/>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Segoe UI"/>
                  <a:ea typeface="Segoe UI" pitchFamily="34" charset="0"/>
                  <a:cs typeface="Segoe UI" pitchFamily="34" charset="0"/>
                </a:rPr>
                <a:t>Share &amp;</a:t>
              </a:r>
            </a:p>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Segoe UI"/>
                  <a:ea typeface="Segoe UI" pitchFamily="34" charset="0"/>
                  <a:cs typeface="Segoe UI" pitchFamily="34" charset="0"/>
                </a:rPr>
                <a:t>collaborate </a:t>
              </a:r>
            </a:p>
          </p:txBody>
        </p:sp>
        <p:grpSp>
          <p:nvGrpSpPr>
            <p:cNvPr id="66" name="Group 38"/>
            <p:cNvGrpSpPr>
              <a:grpSpLocks noChangeAspect="1"/>
            </p:cNvGrpSpPr>
            <p:nvPr/>
          </p:nvGrpSpPr>
          <p:grpSpPr>
            <a:xfrm>
              <a:off x="676996" y="3930692"/>
              <a:ext cx="383905" cy="351536"/>
              <a:chOff x="4363684" y="5330386"/>
              <a:chExt cx="1409956" cy="1291077"/>
            </a:xfrm>
            <a:solidFill>
              <a:srgbClr val="217346"/>
            </a:solidFill>
          </p:grpSpPr>
          <p:sp>
            <p:nvSpPr>
              <p:cNvPr id="67" name="Donut 3"/>
              <p:cNvSpPr/>
              <p:nvPr/>
            </p:nvSpPr>
            <p:spPr bwMode="auto">
              <a:xfrm>
                <a:off x="4363684" y="5330386"/>
                <a:ext cx="1409956" cy="1291077"/>
              </a:xfrm>
              <a:custGeom>
                <a:avLst/>
                <a:gdLst/>
                <a:ahLst/>
                <a:cxnLst/>
                <a:rect l="l" t="t" r="r" b="b"/>
                <a:pathLst>
                  <a:path w="1409956" h="1291077">
                    <a:moveTo>
                      <a:pt x="956401" y="78410"/>
                    </a:moveTo>
                    <a:cubicBezTo>
                      <a:pt x="747518" y="78410"/>
                      <a:pt x="578184" y="247744"/>
                      <a:pt x="578184" y="456627"/>
                    </a:cubicBezTo>
                    <a:cubicBezTo>
                      <a:pt x="578184" y="665510"/>
                      <a:pt x="747518" y="834844"/>
                      <a:pt x="956401" y="834844"/>
                    </a:cubicBezTo>
                    <a:cubicBezTo>
                      <a:pt x="1165284" y="834844"/>
                      <a:pt x="1334618" y="665510"/>
                      <a:pt x="1334618" y="456627"/>
                    </a:cubicBezTo>
                    <a:cubicBezTo>
                      <a:pt x="1334618" y="247744"/>
                      <a:pt x="1165284" y="78410"/>
                      <a:pt x="956401" y="78410"/>
                    </a:cubicBezTo>
                    <a:close/>
                    <a:moveTo>
                      <a:pt x="952756" y="0"/>
                    </a:moveTo>
                    <a:cubicBezTo>
                      <a:pt x="1205261" y="0"/>
                      <a:pt x="1409956" y="204695"/>
                      <a:pt x="1409956" y="457200"/>
                    </a:cubicBezTo>
                    <a:cubicBezTo>
                      <a:pt x="1409956" y="709705"/>
                      <a:pt x="1205261" y="914400"/>
                      <a:pt x="952756" y="914400"/>
                    </a:cubicBezTo>
                    <a:cubicBezTo>
                      <a:pt x="862133" y="914400"/>
                      <a:pt x="777669" y="888034"/>
                      <a:pt x="707132" y="841746"/>
                    </a:cubicBezTo>
                    <a:lnTo>
                      <a:pt x="136495" y="1280102"/>
                    </a:lnTo>
                    <a:cubicBezTo>
                      <a:pt x="21896" y="1327168"/>
                      <a:pt x="-44029" y="1213730"/>
                      <a:pt x="33797" y="1113182"/>
                    </a:cubicBezTo>
                    <a:lnTo>
                      <a:pt x="568587" y="703518"/>
                    </a:lnTo>
                    <a:cubicBezTo>
                      <a:pt x="522087" y="632814"/>
                      <a:pt x="495556" y="548105"/>
                      <a:pt x="495556" y="457200"/>
                    </a:cubicBezTo>
                    <a:cubicBezTo>
                      <a:pt x="495556" y="204695"/>
                      <a:pt x="700251" y="0"/>
                      <a:pt x="952756" y="0"/>
                    </a:cubicBezTo>
                    <a:close/>
                  </a:path>
                </a:pathLst>
              </a:custGeom>
              <a:grpFill/>
              <a:ln>
                <a:solidFill>
                  <a:srgbClr val="21734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sp>
            <p:nvSpPr>
              <p:cNvPr id="68" name="Rectangle 4"/>
              <p:cNvSpPr/>
              <p:nvPr/>
            </p:nvSpPr>
            <p:spPr>
              <a:xfrm>
                <a:off x="5058389" y="5528247"/>
                <a:ext cx="490885" cy="490020"/>
              </a:xfrm>
              <a:custGeom>
                <a:avLst/>
                <a:gdLst/>
                <a:ahLst/>
                <a:cxnLst/>
                <a:rect l="l" t="t" r="r" b="b"/>
                <a:pathLst>
                  <a:path w="490885" h="490020">
                    <a:moveTo>
                      <a:pt x="240752" y="0"/>
                    </a:moveTo>
                    <a:cubicBezTo>
                      <a:pt x="253961" y="11844"/>
                      <a:pt x="293310" y="49692"/>
                      <a:pt x="337332" y="92439"/>
                    </a:cubicBezTo>
                    <a:lnTo>
                      <a:pt x="328342" y="81259"/>
                    </a:lnTo>
                    <a:cubicBezTo>
                      <a:pt x="356946" y="111282"/>
                      <a:pt x="377251" y="107167"/>
                      <a:pt x="382515" y="87941"/>
                    </a:cubicBezTo>
                    <a:cubicBezTo>
                      <a:pt x="383951" y="76921"/>
                      <a:pt x="384595" y="68732"/>
                      <a:pt x="396997" y="52239"/>
                    </a:cubicBezTo>
                    <a:cubicBezTo>
                      <a:pt x="420362" y="32084"/>
                      <a:pt x="442294" y="41736"/>
                      <a:pt x="454920" y="51330"/>
                    </a:cubicBezTo>
                    <a:cubicBezTo>
                      <a:pt x="467834" y="62761"/>
                      <a:pt x="477920" y="86882"/>
                      <a:pt x="460392" y="109714"/>
                    </a:cubicBezTo>
                    <a:cubicBezTo>
                      <a:pt x="451128" y="121912"/>
                      <a:pt x="437554" y="126838"/>
                      <a:pt x="425922" y="126505"/>
                    </a:cubicBezTo>
                    <a:cubicBezTo>
                      <a:pt x="424301" y="127609"/>
                      <a:pt x="382890" y="134974"/>
                      <a:pt x="427348" y="177672"/>
                    </a:cubicBezTo>
                    <a:lnTo>
                      <a:pt x="416886" y="169735"/>
                    </a:lnTo>
                    <a:cubicBezTo>
                      <a:pt x="450207" y="202177"/>
                      <a:pt x="478424" y="229744"/>
                      <a:pt x="490885" y="241900"/>
                    </a:cubicBezTo>
                    <a:lnTo>
                      <a:pt x="417150" y="317347"/>
                    </a:lnTo>
                    <a:cubicBezTo>
                      <a:pt x="417744" y="316535"/>
                      <a:pt x="418443" y="316123"/>
                      <a:pt x="419047" y="315822"/>
                    </a:cubicBezTo>
                    <a:cubicBezTo>
                      <a:pt x="389023" y="344426"/>
                      <a:pt x="393138" y="364731"/>
                      <a:pt x="412364" y="369995"/>
                    </a:cubicBezTo>
                    <a:cubicBezTo>
                      <a:pt x="423384" y="371431"/>
                      <a:pt x="431574" y="372075"/>
                      <a:pt x="448067" y="384477"/>
                    </a:cubicBezTo>
                    <a:cubicBezTo>
                      <a:pt x="468221" y="407842"/>
                      <a:pt x="458569" y="429774"/>
                      <a:pt x="448975" y="442400"/>
                    </a:cubicBezTo>
                    <a:cubicBezTo>
                      <a:pt x="437545" y="455314"/>
                      <a:pt x="413423" y="465400"/>
                      <a:pt x="390591" y="447872"/>
                    </a:cubicBezTo>
                    <a:cubicBezTo>
                      <a:pt x="378394" y="438608"/>
                      <a:pt x="373468" y="425034"/>
                      <a:pt x="373800" y="413402"/>
                    </a:cubicBezTo>
                    <a:cubicBezTo>
                      <a:pt x="372696" y="411781"/>
                      <a:pt x="365332" y="370370"/>
                      <a:pt x="322634" y="414828"/>
                    </a:cubicBezTo>
                    <a:lnTo>
                      <a:pt x="325243" y="411388"/>
                    </a:lnTo>
                    <a:lnTo>
                      <a:pt x="248395" y="490020"/>
                    </a:lnTo>
                    <a:cubicBezTo>
                      <a:pt x="208939" y="451897"/>
                      <a:pt x="199129" y="442073"/>
                      <a:pt x="174192" y="418236"/>
                    </a:cubicBezTo>
                    <a:cubicBezTo>
                      <a:pt x="145587" y="388212"/>
                      <a:pt x="125282" y="392327"/>
                      <a:pt x="120018" y="411553"/>
                    </a:cubicBezTo>
                    <a:cubicBezTo>
                      <a:pt x="118582" y="422573"/>
                      <a:pt x="117938" y="430763"/>
                      <a:pt x="105536" y="447256"/>
                    </a:cubicBezTo>
                    <a:cubicBezTo>
                      <a:pt x="82171" y="467410"/>
                      <a:pt x="60239" y="457758"/>
                      <a:pt x="47614" y="448164"/>
                    </a:cubicBezTo>
                    <a:cubicBezTo>
                      <a:pt x="34699" y="436734"/>
                      <a:pt x="24614" y="412612"/>
                      <a:pt x="42141" y="389780"/>
                    </a:cubicBezTo>
                    <a:cubicBezTo>
                      <a:pt x="51405" y="377583"/>
                      <a:pt x="64979" y="372657"/>
                      <a:pt x="76612" y="372989"/>
                    </a:cubicBezTo>
                    <a:cubicBezTo>
                      <a:pt x="78232" y="371886"/>
                      <a:pt x="119644" y="364521"/>
                      <a:pt x="75186" y="321823"/>
                    </a:cubicBezTo>
                    <a:cubicBezTo>
                      <a:pt x="58767" y="305402"/>
                      <a:pt x="23648" y="271235"/>
                      <a:pt x="0" y="248738"/>
                    </a:cubicBezTo>
                    <a:lnTo>
                      <a:pt x="77303" y="168146"/>
                    </a:lnTo>
                    <a:cubicBezTo>
                      <a:pt x="104269" y="140313"/>
                      <a:pt x="122130" y="156409"/>
                      <a:pt x="124388" y="175543"/>
                    </a:cubicBezTo>
                    <a:cubicBezTo>
                      <a:pt x="124457" y="182466"/>
                      <a:pt x="127106" y="193106"/>
                      <a:pt x="137575" y="203052"/>
                    </a:cubicBezTo>
                    <a:cubicBezTo>
                      <a:pt x="153931" y="220277"/>
                      <a:pt x="181252" y="217451"/>
                      <a:pt x="196721" y="201951"/>
                    </a:cubicBezTo>
                    <a:cubicBezTo>
                      <a:pt x="211961" y="185740"/>
                      <a:pt x="213057" y="157882"/>
                      <a:pt x="196146" y="142797"/>
                    </a:cubicBezTo>
                    <a:cubicBezTo>
                      <a:pt x="184301" y="132637"/>
                      <a:pt x="177155" y="131453"/>
                      <a:pt x="166513" y="129894"/>
                    </a:cubicBezTo>
                    <a:cubicBezTo>
                      <a:pt x="154522" y="129013"/>
                      <a:pt x="131185" y="112953"/>
                      <a:pt x="157905" y="85228"/>
                    </a:cubicBezTo>
                    <a:close/>
                  </a:path>
                </a:pathLst>
              </a:custGeom>
              <a:grpFill/>
              <a:ln>
                <a:solidFill>
                  <a:srgbClr val="21734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grpSp>
        <p:sp>
          <p:nvSpPr>
            <p:cNvPr id="69" name="Oval 47"/>
            <p:cNvSpPr/>
            <p:nvPr/>
          </p:nvSpPr>
          <p:spPr>
            <a:xfrm>
              <a:off x="388608" y="3710471"/>
              <a:ext cx="1119626" cy="1119626"/>
            </a:xfrm>
            <a:prstGeom prst="ellipse">
              <a:avLst/>
            </a:prstGeom>
            <a:solidFill>
              <a:srgbClr val="F2C812"/>
            </a:solidFill>
            <a:ln w="3175" cap="flat" cmpd="sng" algn="ctr">
              <a:noFill/>
              <a:prstDash val="solid"/>
            </a:ln>
            <a:effectLst/>
          </p:spPr>
          <p:txBody>
            <a:bodyPr vert="horz" wrap="none" lIns="0" tIns="45720" rIns="0" bIns="0" rtlCol="0" anchor="t"/>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Segoe UI"/>
                  <a:ea typeface="Segoe UI" pitchFamily="34" charset="0"/>
                  <a:cs typeface="Segoe UI" pitchFamily="34" charset="0"/>
                </a:rPr>
                <a:t>Report</a:t>
              </a:r>
            </a:p>
          </p:txBody>
        </p:sp>
        <p:sp>
          <p:nvSpPr>
            <p:cNvPr id="85" name="Oval 950"/>
            <p:cNvSpPr/>
            <p:nvPr/>
          </p:nvSpPr>
          <p:spPr>
            <a:xfrm>
              <a:off x="388608" y="1252295"/>
              <a:ext cx="1119626" cy="1119626"/>
            </a:xfrm>
            <a:prstGeom prst="ellipse">
              <a:avLst/>
            </a:prstGeom>
            <a:solidFill>
              <a:srgbClr val="F2C812"/>
            </a:solidFill>
            <a:ln w="3175" cap="flat" cmpd="sng" algn="ctr">
              <a:noFill/>
              <a:prstDash val="solid"/>
            </a:ln>
            <a:effectLst/>
          </p:spPr>
          <p:txBody>
            <a:bodyPr vert="horz" wrap="none" lIns="0" tIns="45720" rIns="0" bIns="0" rtlCol="0" anchor="t"/>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1" i="0" u="none" strike="noStrike" kern="1200" cap="none" spc="0" normalizeH="0" baseline="0" noProof="0">
                <a:ln>
                  <a:noFill/>
                </a:ln>
                <a:solidFill>
                  <a:srgbClr val="217346"/>
                </a:solidFill>
                <a:effectLst/>
                <a:uLnTx/>
                <a:uFillTx/>
                <a:latin typeface="Segoe UI"/>
                <a:ea typeface="Segoe UI" pitchFamily="34" charset="0"/>
                <a:cs typeface="Segoe UI" pitchFamily="34" charset="0"/>
              </a:endParaRPr>
            </a:p>
          </p:txBody>
        </p:sp>
        <p:grpSp>
          <p:nvGrpSpPr>
            <p:cNvPr id="86" name="Group 85"/>
            <p:cNvGrpSpPr/>
            <p:nvPr/>
          </p:nvGrpSpPr>
          <p:grpSpPr>
            <a:xfrm>
              <a:off x="1264851" y="3482890"/>
              <a:ext cx="292254" cy="354906"/>
              <a:chOff x="1296521" y="3253388"/>
              <a:chExt cx="292254" cy="354906"/>
            </a:xfrm>
            <a:solidFill>
              <a:srgbClr val="F2C812"/>
            </a:solidFill>
          </p:grpSpPr>
          <p:sp>
            <p:nvSpPr>
              <p:cNvPr id="87" name="Isosceles Triangle 86"/>
              <p:cNvSpPr/>
              <p:nvPr/>
            </p:nvSpPr>
            <p:spPr bwMode="auto">
              <a:xfrm rot="13636515">
                <a:off x="1461362" y="328936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8" name="Isosceles Triangle 87"/>
              <p:cNvSpPr/>
              <p:nvPr/>
            </p:nvSpPr>
            <p:spPr bwMode="auto">
              <a:xfrm rot="13636515">
                <a:off x="1357669" y="338258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9" name="Isosceles Triangle 88"/>
              <p:cNvSpPr/>
              <p:nvPr/>
            </p:nvSpPr>
            <p:spPr bwMode="auto">
              <a:xfrm rot="13636515">
                <a:off x="1260548" y="3480882"/>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90" name="Group 89"/>
            <p:cNvGrpSpPr/>
            <p:nvPr/>
          </p:nvGrpSpPr>
          <p:grpSpPr>
            <a:xfrm rot="15940603">
              <a:off x="1334576" y="2204404"/>
              <a:ext cx="292254" cy="354906"/>
              <a:chOff x="1296521" y="3253388"/>
              <a:chExt cx="292254" cy="354906"/>
            </a:xfrm>
            <a:solidFill>
              <a:srgbClr val="F2C812"/>
            </a:solidFill>
          </p:grpSpPr>
          <p:sp>
            <p:nvSpPr>
              <p:cNvPr id="91" name="Isosceles Triangle 90"/>
              <p:cNvSpPr/>
              <p:nvPr/>
            </p:nvSpPr>
            <p:spPr bwMode="auto">
              <a:xfrm rot="13636515">
                <a:off x="1461362" y="328936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2" name="Isosceles Triangle 91"/>
              <p:cNvSpPr/>
              <p:nvPr/>
            </p:nvSpPr>
            <p:spPr bwMode="auto">
              <a:xfrm rot="13636515">
                <a:off x="1357669" y="338258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3" name="Isosceles Triangle 92"/>
              <p:cNvSpPr/>
              <p:nvPr/>
            </p:nvSpPr>
            <p:spPr bwMode="auto">
              <a:xfrm rot="13636515">
                <a:off x="1260548" y="3480882"/>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94" name="Group 93"/>
            <p:cNvGrpSpPr/>
            <p:nvPr/>
          </p:nvGrpSpPr>
          <p:grpSpPr>
            <a:xfrm rot="16043978">
              <a:off x="1317220" y="4717577"/>
              <a:ext cx="292254" cy="354906"/>
              <a:chOff x="1296521" y="3253388"/>
              <a:chExt cx="292254" cy="354906"/>
            </a:xfrm>
            <a:solidFill>
              <a:srgbClr val="F2C812"/>
            </a:solidFill>
          </p:grpSpPr>
          <p:sp>
            <p:nvSpPr>
              <p:cNvPr id="95" name="Isosceles Triangle 94"/>
              <p:cNvSpPr/>
              <p:nvPr/>
            </p:nvSpPr>
            <p:spPr bwMode="auto">
              <a:xfrm rot="13636515">
                <a:off x="1461362" y="328936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6" name="Isosceles Triangle 95"/>
              <p:cNvSpPr/>
              <p:nvPr/>
            </p:nvSpPr>
            <p:spPr bwMode="auto">
              <a:xfrm rot="13636515">
                <a:off x="1357669" y="338258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7" name="Isosceles Triangle 96"/>
              <p:cNvSpPr/>
              <p:nvPr/>
            </p:nvSpPr>
            <p:spPr bwMode="auto">
              <a:xfrm rot="13636515">
                <a:off x="1260548" y="3480882"/>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98" name="Oval 36"/>
            <p:cNvSpPr/>
            <p:nvPr/>
          </p:nvSpPr>
          <p:spPr>
            <a:xfrm>
              <a:off x="1413521" y="2481383"/>
              <a:ext cx="1119626" cy="1119626"/>
            </a:xfrm>
            <a:prstGeom prst="ellipse">
              <a:avLst/>
            </a:prstGeom>
            <a:solidFill>
              <a:srgbClr val="F2C812"/>
            </a:solidFill>
            <a:ln w="3175" cap="flat" cmpd="sng" algn="ctr">
              <a:noFill/>
              <a:prstDash val="solid"/>
            </a:ln>
            <a:effectLst/>
          </p:spPr>
          <p:txBody>
            <a:bodyPr vert="horz" wrap="none" lIns="0" tIns="0" rIns="0" bIns="0" rtlCol="0" anchor="t"/>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400" b="1" i="0" u="none" strike="noStrike" kern="1200" cap="none" spc="0" normalizeH="0" baseline="0" noProof="0">
                <a:ln>
                  <a:noFill/>
                </a:ln>
                <a:solidFill>
                  <a:srgbClr val="217346"/>
                </a:solidFill>
                <a:effectLst/>
                <a:uLnTx/>
                <a:uFillTx/>
                <a:latin typeface="Segoe UI"/>
                <a:ea typeface="Segoe UI" pitchFamily="34" charset="0"/>
                <a:cs typeface="Segoe UI" pitchFamily="34" charset="0"/>
              </a:endParaRPr>
            </a:p>
          </p:txBody>
        </p:sp>
        <p:sp>
          <p:nvSpPr>
            <p:cNvPr id="99" name="Donut 3"/>
            <p:cNvSpPr/>
            <p:nvPr/>
          </p:nvSpPr>
          <p:spPr bwMode="auto">
            <a:xfrm>
              <a:off x="1742065" y="3002355"/>
              <a:ext cx="383905" cy="351537"/>
            </a:xfrm>
            <a:custGeom>
              <a:avLst/>
              <a:gdLst/>
              <a:ahLst/>
              <a:cxnLst/>
              <a:rect l="l" t="t" r="r" b="b"/>
              <a:pathLst>
                <a:path w="1409956" h="1291077">
                  <a:moveTo>
                    <a:pt x="956401" y="78410"/>
                  </a:moveTo>
                  <a:cubicBezTo>
                    <a:pt x="747518" y="78410"/>
                    <a:pt x="578184" y="247744"/>
                    <a:pt x="578184" y="456627"/>
                  </a:cubicBezTo>
                  <a:cubicBezTo>
                    <a:pt x="578184" y="665510"/>
                    <a:pt x="747518" y="834844"/>
                    <a:pt x="956401" y="834844"/>
                  </a:cubicBezTo>
                  <a:cubicBezTo>
                    <a:pt x="1165284" y="834844"/>
                    <a:pt x="1334618" y="665510"/>
                    <a:pt x="1334618" y="456627"/>
                  </a:cubicBezTo>
                  <a:cubicBezTo>
                    <a:pt x="1334618" y="247744"/>
                    <a:pt x="1165284" y="78410"/>
                    <a:pt x="956401" y="78410"/>
                  </a:cubicBezTo>
                  <a:close/>
                  <a:moveTo>
                    <a:pt x="952756" y="0"/>
                  </a:moveTo>
                  <a:cubicBezTo>
                    <a:pt x="1205261" y="0"/>
                    <a:pt x="1409956" y="204695"/>
                    <a:pt x="1409956" y="457200"/>
                  </a:cubicBezTo>
                  <a:cubicBezTo>
                    <a:pt x="1409956" y="709705"/>
                    <a:pt x="1205261" y="914400"/>
                    <a:pt x="952756" y="914400"/>
                  </a:cubicBezTo>
                  <a:cubicBezTo>
                    <a:pt x="862133" y="914400"/>
                    <a:pt x="777669" y="888034"/>
                    <a:pt x="707132" y="841746"/>
                  </a:cubicBezTo>
                  <a:lnTo>
                    <a:pt x="136495" y="1280102"/>
                  </a:lnTo>
                  <a:cubicBezTo>
                    <a:pt x="21896" y="1327168"/>
                    <a:pt x="-44029" y="1213730"/>
                    <a:pt x="33797" y="1113182"/>
                  </a:cubicBezTo>
                  <a:lnTo>
                    <a:pt x="568587" y="703518"/>
                  </a:lnTo>
                  <a:cubicBezTo>
                    <a:pt x="522087" y="632814"/>
                    <a:pt x="495556" y="548105"/>
                    <a:pt x="495556" y="457200"/>
                  </a:cubicBezTo>
                  <a:cubicBezTo>
                    <a:pt x="495556" y="204695"/>
                    <a:pt x="700251" y="0"/>
                    <a:pt x="952756" y="0"/>
                  </a:cubicBezTo>
                  <a:close/>
                </a:path>
              </a:pathLst>
            </a:cu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ysClr val="windowText" lastClr="000000"/>
                </a:solidFill>
                <a:effectLst/>
                <a:uLnTx/>
                <a:uFillTx/>
                <a:latin typeface="Segoe UI"/>
                <a:ea typeface="+mn-ea"/>
                <a:cs typeface="+mn-cs"/>
              </a:endParaRPr>
            </a:p>
          </p:txBody>
        </p:sp>
        <p:sp>
          <p:nvSpPr>
            <p:cNvPr id="100" name="Rectangle 99"/>
            <p:cNvSpPr/>
            <p:nvPr/>
          </p:nvSpPr>
          <p:spPr>
            <a:xfrm>
              <a:off x="1600398" y="2677430"/>
              <a:ext cx="820353" cy="307777"/>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Segoe UI"/>
                  <a:ea typeface="Segoe UI" pitchFamily="34" charset="0"/>
                  <a:cs typeface="Segoe UI" pitchFamily="34" charset="0"/>
                </a:rPr>
                <a:t>Explore</a:t>
              </a:r>
              <a:endParaRPr kumimoji="0" lang="en-US" sz="1600" b="0" i="0" u="none" strike="noStrike" kern="1200" cap="none" spc="0" normalizeH="0" baseline="0" noProof="0">
                <a:ln>
                  <a:noFill/>
                </a:ln>
                <a:solidFill>
                  <a:prstClr val="black"/>
                </a:solidFill>
                <a:effectLst/>
                <a:uLnTx/>
                <a:uFillTx/>
                <a:latin typeface="Segoe UI"/>
                <a:ea typeface="+mn-ea"/>
                <a:cs typeface="+mn-cs"/>
              </a:endParaRPr>
            </a:p>
          </p:txBody>
        </p:sp>
        <p:sp>
          <p:nvSpPr>
            <p:cNvPr id="101" name="Rectangle 100"/>
            <p:cNvSpPr/>
            <p:nvPr/>
          </p:nvSpPr>
          <p:spPr>
            <a:xfrm>
              <a:off x="509174" y="1475232"/>
              <a:ext cx="838756" cy="307777"/>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Segoe UI"/>
                  <a:ea typeface="Segoe UI" pitchFamily="34" charset="0"/>
                  <a:cs typeface="Segoe UI" pitchFamily="34" charset="0"/>
                </a:rPr>
                <a:t>Prepare</a:t>
              </a:r>
              <a:endParaRPr kumimoji="0" lang="en-US" sz="1400" b="0" i="0" u="none" strike="noStrike" kern="1200" cap="none" spc="0" normalizeH="0" baseline="0" noProof="0">
                <a:ln>
                  <a:noFill/>
                </a:ln>
                <a:solidFill>
                  <a:prstClr val="black"/>
                </a:solidFill>
                <a:effectLst/>
                <a:uLnTx/>
                <a:uFillTx/>
                <a:latin typeface="Segoe UI"/>
                <a:ea typeface="+mn-ea"/>
                <a:cs typeface="+mn-cs"/>
              </a:endParaRPr>
            </a:p>
          </p:txBody>
        </p:sp>
        <p:sp>
          <p:nvSpPr>
            <p:cNvPr id="102" name="Freeform 101"/>
            <p:cNvSpPr>
              <a:spLocks noChangeAspect="1"/>
            </p:cNvSpPr>
            <p:nvPr/>
          </p:nvSpPr>
          <p:spPr bwMode="black">
            <a:xfrm>
              <a:off x="1836174" y="5643069"/>
              <a:ext cx="274320" cy="284173"/>
            </a:xfrm>
            <a:custGeom>
              <a:avLst/>
              <a:gdLst>
                <a:gd name="T0" fmla="*/ 539 w 669"/>
                <a:gd name="T1" fmla="*/ 5 h 693"/>
                <a:gd name="T2" fmla="*/ 640 w 669"/>
                <a:gd name="T3" fmla="*/ 55 h 693"/>
                <a:gd name="T4" fmla="*/ 603 w 669"/>
                <a:gd name="T5" fmla="*/ 195 h 693"/>
                <a:gd name="T6" fmla="*/ 490 w 669"/>
                <a:gd name="T7" fmla="*/ 188 h 693"/>
                <a:gd name="T8" fmla="*/ 479 w 669"/>
                <a:gd name="T9" fmla="*/ 176 h 693"/>
                <a:gd name="T10" fmla="*/ 213 w 669"/>
                <a:gd name="T11" fmla="*/ 330 h 693"/>
                <a:gd name="T12" fmla="*/ 218 w 669"/>
                <a:gd name="T13" fmla="*/ 345 h 693"/>
                <a:gd name="T14" fmla="*/ 218 w 669"/>
                <a:gd name="T15" fmla="*/ 375 h 693"/>
                <a:gd name="T16" fmla="*/ 209 w 669"/>
                <a:gd name="T17" fmla="*/ 402 h 693"/>
                <a:gd name="T18" fmla="*/ 369 w 669"/>
                <a:gd name="T19" fmla="*/ 503 h 693"/>
                <a:gd name="T20" fmla="*/ 373 w 669"/>
                <a:gd name="T21" fmla="*/ 498 h 693"/>
                <a:gd name="T22" fmla="*/ 456 w 669"/>
                <a:gd name="T23" fmla="*/ 475 h 693"/>
                <a:gd name="T24" fmla="*/ 494 w 669"/>
                <a:gd name="T25" fmla="*/ 489 h 693"/>
                <a:gd name="T26" fmla="*/ 527 w 669"/>
                <a:gd name="T27" fmla="*/ 630 h 693"/>
                <a:gd name="T28" fmla="*/ 386 w 669"/>
                <a:gd name="T29" fmla="*/ 663 h 693"/>
                <a:gd name="T30" fmla="*/ 339 w 669"/>
                <a:gd name="T31" fmla="*/ 560 h 693"/>
                <a:gd name="T32" fmla="*/ 345 w 669"/>
                <a:gd name="T33" fmla="*/ 544 h 693"/>
                <a:gd name="T34" fmla="*/ 177 w 669"/>
                <a:gd name="T35" fmla="*/ 439 h 693"/>
                <a:gd name="T36" fmla="*/ 168 w 669"/>
                <a:gd name="T37" fmla="*/ 446 h 693"/>
                <a:gd name="T38" fmla="*/ 28 w 669"/>
                <a:gd name="T39" fmla="*/ 409 h 693"/>
                <a:gd name="T40" fmla="*/ 65 w 669"/>
                <a:gd name="T41" fmla="*/ 269 h 693"/>
                <a:gd name="T42" fmla="*/ 178 w 669"/>
                <a:gd name="T43" fmla="*/ 276 h 693"/>
                <a:gd name="T44" fmla="*/ 189 w 669"/>
                <a:gd name="T45" fmla="*/ 288 h 693"/>
                <a:gd name="T46" fmla="*/ 455 w 669"/>
                <a:gd name="T47" fmla="*/ 134 h 693"/>
                <a:gd name="T48" fmla="*/ 450 w 669"/>
                <a:gd name="T49" fmla="*/ 119 h 693"/>
                <a:gd name="T50" fmla="*/ 501 w 669"/>
                <a:gd name="T51" fmla="*/ 18 h 693"/>
                <a:gd name="T52" fmla="*/ 539 w 669"/>
                <a:gd name="T53" fmla="*/ 5 h 6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69" h="693">
                  <a:moveTo>
                    <a:pt x="539" y="5"/>
                  </a:moveTo>
                  <a:cubicBezTo>
                    <a:pt x="579" y="0"/>
                    <a:pt x="619" y="19"/>
                    <a:pt x="640" y="55"/>
                  </a:cubicBezTo>
                  <a:cubicBezTo>
                    <a:pt x="669" y="104"/>
                    <a:pt x="652" y="167"/>
                    <a:pt x="603" y="195"/>
                  </a:cubicBezTo>
                  <a:cubicBezTo>
                    <a:pt x="566" y="216"/>
                    <a:pt x="522" y="212"/>
                    <a:pt x="490" y="188"/>
                  </a:cubicBezTo>
                  <a:cubicBezTo>
                    <a:pt x="479" y="176"/>
                    <a:pt x="479" y="176"/>
                    <a:pt x="479" y="176"/>
                  </a:cubicBezTo>
                  <a:cubicBezTo>
                    <a:pt x="213" y="330"/>
                    <a:pt x="213" y="330"/>
                    <a:pt x="213" y="330"/>
                  </a:cubicBezTo>
                  <a:cubicBezTo>
                    <a:pt x="218" y="345"/>
                    <a:pt x="218" y="345"/>
                    <a:pt x="218" y="345"/>
                  </a:cubicBezTo>
                  <a:cubicBezTo>
                    <a:pt x="219" y="355"/>
                    <a:pt x="219" y="365"/>
                    <a:pt x="218" y="375"/>
                  </a:cubicBezTo>
                  <a:cubicBezTo>
                    <a:pt x="209" y="402"/>
                    <a:pt x="209" y="402"/>
                    <a:pt x="209" y="402"/>
                  </a:cubicBezTo>
                  <a:cubicBezTo>
                    <a:pt x="369" y="503"/>
                    <a:pt x="369" y="503"/>
                    <a:pt x="369" y="503"/>
                  </a:cubicBezTo>
                  <a:cubicBezTo>
                    <a:pt x="373" y="498"/>
                    <a:pt x="373" y="498"/>
                    <a:pt x="373" y="498"/>
                  </a:cubicBezTo>
                  <a:cubicBezTo>
                    <a:pt x="396" y="479"/>
                    <a:pt x="427" y="470"/>
                    <a:pt x="456" y="475"/>
                  </a:cubicBezTo>
                  <a:cubicBezTo>
                    <a:pt x="470" y="477"/>
                    <a:pt x="482" y="482"/>
                    <a:pt x="494" y="489"/>
                  </a:cubicBezTo>
                  <a:cubicBezTo>
                    <a:pt x="542" y="519"/>
                    <a:pt x="557" y="583"/>
                    <a:pt x="527" y="630"/>
                  </a:cubicBezTo>
                  <a:cubicBezTo>
                    <a:pt x="497" y="678"/>
                    <a:pt x="433" y="693"/>
                    <a:pt x="386" y="663"/>
                  </a:cubicBezTo>
                  <a:cubicBezTo>
                    <a:pt x="350" y="640"/>
                    <a:pt x="333" y="599"/>
                    <a:pt x="339" y="560"/>
                  </a:cubicBezTo>
                  <a:cubicBezTo>
                    <a:pt x="345" y="544"/>
                    <a:pt x="345" y="544"/>
                    <a:pt x="345" y="544"/>
                  </a:cubicBezTo>
                  <a:cubicBezTo>
                    <a:pt x="177" y="439"/>
                    <a:pt x="177" y="439"/>
                    <a:pt x="177" y="439"/>
                  </a:cubicBezTo>
                  <a:cubicBezTo>
                    <a:pt x="168" y="446"/>
                    <a:pt x="168" y="446"/>
                    <a:pt x="168" y="446"/>
                  </a:cubicBezTo>
                  <a:cubicBezTo>
                    <a:pt x="119" y="475"/>
                    <a:pt x="56" y="458"/>
                    <a:pt x="28" y="409"/>
                  </a:cubicBezTo>
                  <a:cubicBezTo>
                    <a:pt x="0" y="360"/>
                    <a:pt x="16" y="297"/>
                    <a:pt x="65" y="269"/>
                  </a:cubicBezTo>
                  <a:cubicBezTo>
                    <a:pt x="102" y="248"/>
                    <a:pt x="147" y="252"/>
                    <a:pt x="178" y="276"/>
                  </a:cubicBezTo>
                  <a:cubicBezTo>
                    <a:pt x="189" y="288"/>
                    <a:pt x="189" y="288"/>
                    <a:pt x="189" y="288"/>
                  </a:cubicBezTo>
                  <a:cubicBezTo>
                    <a:pt x="455" y="134"/>
                    <a:pt x="455" y="134"/>
                    <a:pt x="455" y="134"/>
                  </a:cubicBezTo>
                  <a:cubicBezTo>
                    <a:pt x="450" y="119"/>
                    <a:pt x="450" y="119"/>
                    <a:pt x="450" y="119"/>
                  </a:cubicBezTo>
                  <a:cubicBezTo>
                    <a:pt x="445" y="80"/>
                    <a:pt x="464" y="39"/>
                    <a:pt x="501" y="18"/>
                  </a:cubicBezTo>
                  <a:cubicBezTo>
                    <a:pt x="513" y="11"/>
                    <a:pt x="526" y="6"/>
                    <a:pt x="539" y="5"/>
                  </a:cubicBezTo>
                  <a:close/>
                </a:path>
              </a:pathLst>
            </a:custGeom>
            <a:solidFill>
              <a:schemeClr val="tx1"/>
            </a:solidFill>
            <a:ln>
              <a:noFill/>
            </a:ln>
          </p:spPr>
          <p:txBody>
            <a:bodyPr vert="horz" wrap="square" lIns="68574" tIns="34287" rIns="68574" bIns="34287"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Segoe UI"/>
                <a:ea typeface="+mn-ea"/>
                <a:cs typeface="+mn-cs"/>
              </a:endParaRPr>
            </a:p>
          </p:txBody>
        </p:sp>
        <p:sp>
          <p:nvSpPr>
            <p:cNvPr id="103" name="Freeform 102"/>
            <p:cNvSpPr>
              <a:spLocks noChangeAspect="1" noEditPoints="1"/>
            </p:cNvSpPr>
            <p:nvPr/>
          </p:nvSpPr>
          <p:spPr bwMode="black">
            <a:xfrm>
              <a:off x="722320" y="1783009"/>
              <a:ext cx="452202" cy="366660"/>
            </a:xfrm>
            <a:custGeom>
              <a:avLst/>
              <a:gdLst>
                <a:gd name="T0" fmla="*/ 600 w 1107"/>
                <a:gd name="T1" fmla="*/ 625 h 897"/>
                <a:gd name="T2" fmla="*/ 649 w 1107"/>
                <a:gd name="T3" fmla="*/ 567 h 897"/>
                <a:gd name="T4" fmla="*/ 727 w 1107"/>
                <a:gd name="T5" fmla="*/ 482 h 897"/>
                <a:gd name="T6" fmla="*/ 601 w 1107"/>
                <a:gd name="T7" fmla="*/ 434 h 897"/>
                <a:gd name="T8" fmla="*/ 628 w 1107"/>
                <a:gd name="T9" fmla="*/ 305 h 897"/>
                <a:gd name="T10" fmla="*/ 547 w 1107"/>
                <a:gd name="T11" fmla="*/ 240 h 897"/>
                <a:gd name="T12" fmla="*/ 427 w 1107"/>
                <a:gd name="T13" fmla="*/ 287 h 897"/>
                <a:gd name="T14" fmla="*/ 368 w 1107"/>
                <a:gd name="T15" fmla="*/ 170 h 897"/>
                <a:gd name="T16" fmla="*/ 285 w 1107"/>
                <a:gd name="T17" fmla="*/ 263 h 897"/>
                <a:gd name="T18" fmla="*/ 241 w 1107"/>
                <a:gd name="T19" fmla="*/ 313 h 897"/>
                <a:gd name="T20" fmla="*/ 139 w 1107"/>
                <a:gd name="T21" fmla="*/ 281 h 897"/>
                <a:gd name="T22" fmla="*/ 79 w 1107"/>
                <a:gd name="T23" fmla="*/ 355 h 897"/>
                <a:gd name="T24" fmla="*/ 132 w 1107"/>
                <a:gd name="T25" fmla="*/ 446 h 897"/>
                <a:gd name="T26" fmla="*/ 83 w 1107"/>
                <a:gd name="T27" fmla="*/ 505 h 897"/>
                <a:gd name="T28" fmla="*/ 5 w 1107"/>
                <a:gd name="T29" fmla="*/ 590 h 897"/>
                <a:gd name="T30" fmla="*/ 132 w 1107"/>
                <a:gd name="T31" fmla="*/ 638 h 897"/>
                <a:gd name="T32" fmla="*/ 145 w 1107"/>
                <a:gd name="T33" fmla="*/ 669 h 897"/>
                <a:gd name="T34" fmla="*/ 110 w 1107"/>
                <a:gd name="T35" fmla="*/ 793 h 897"/>
                <a:gd name="T36" fmla="*/ 230 w 1107"/>
                <a:gd name="T37" fmla="*/ 781 h 897"/>
                <a:gd name="T38" fmla="*/ 306 w 1107"/>
                <a:gd name="T39" fmla="*/ 785 h 897"/>
                <a:gd name="T40" fmla="*/ 346 w 1107"/>
                <a:gd name="T41" fmla="*/ 878 h 897"/>
                <a:gd name="T42" fmla="*/ 440 w 1107"/>
                <a:gd name="T43" fmla="*/ 872 h 897"/>
                <a:gd name="T44" fmla="*/ 466 w 1107"/>
                <a:gd name="T45" fmla="*/ 764 h 897"/>
                <a:gd name="T46" fmla="*/ 539 w 1107"/>
                <a:gd name="T47" fmla="*/ 755 h 897"/>
                <a:gd name="T48" fmla="*/ 659 w 1107"/>
                <a:gd name="T49" fmla="*/ 743 h 897"/>
                <a:gd name="T50" fmla="*/ 263 w 1107"/>
                <a:gd name="T51" fmla="*/ 452 h 897"/>
                <a:gd name="T52" fmla="*/ 281 w 1107"/>
                <a:gd name="T53" fmla="*/ 633 h 897"/>
                <a:gd name="T54" fmla="*/ 1002 w 1107"/>
                <a:gd name="T55" fmla="*/ 332 h 897"/>
                <a:gd name="T56" fmla="*/ 1043 w 1107"/>
                <a:gd name="T57" fmla="*/ 304 h 897"/>
                <a:gd name="T58" fmla="*/ 1107 w 1107"/>
                <a:gd name="T59" fmla="*/ 266 h 897"/>
                <a:gd name="T60" fmla="*/ 1037 w 1107"/>
                <a:gd name="T61" fmla="*/ 213 h 897"/>
                <a:gd name="T62" fmla="*/ 1077 w 1107"/>
                <a:gd name="T63" fmla="*/ 138 h 897"/>
                <a:gd name="T64" fmla="*/ 1038 w 1107"/>
                <a:gd name="T65" fmla="*/ 83 h 897"/>
                <a:gd name="T66" fmla="*/ 956 w 1107"/>
                <a:gd name="T67" fmla="*/ 91 h 897"/>
                <a:gd name="T68" fmla="*/ 940 w 1107"/>
                <a:gd name="T69" fmla="*/ 7 h 897"/>
                <a:gd name="T70" fmla="*/ 872 w 1107"/>
                <a:gd name="T71" fmla="*/ 50 h 897"/>
                <a:gd name="T72" fmla="*/ 836 w 1107"/>
                <a:gd name="T73" fmla="*/ 74 h 897"/>
                <a:gd name="T74" fmla="*/ 778 w 1107"/>
                <a:gd name="T75" fmla="*/ 35 h 897"/>
                <a:gd name="T76" fmla="*/ 728 w 1107"/>
                <a:gd name="T77" fmla="*/ 70 h 897"/>
                <a:gd name="T78" fmla="*/ 744 w 1107"/>
                <a:gd name="T79" fmla="*/ 136 h 897"/>
                <a:gd name="T80" fmla="*/ 703 w 1107"/>
                <a:gd name="T81" fmla="*/ 164 h 897"/>
                <a:gd name="T82" fmla="*/ 640 w 1107"/>
                <a:gd name="T83" fmla="*/ 203 h 897"/>
                <a:gd name="T84" fmla="*/ 710 w 1107"/>
                <a:gd name="T85" fmla="*/ 255 h 897"/>
                <a:gd name="T86" fmla="*/ 712 w 1107"/>
                <a:gd name="T87" fmla="*/ 277 h 897"/>
                <a:gd name="T88" fmla="*/ 668 w 1107"/>
                <a:gd name="T89" fmla="*/ 347 h 897"/>
                <a:gd name="T90" fmla="*/ 745 w 1107"/>
                <a:gd name="T91" fmla="*/ 361 h 897"/>
                <a:gd name="T92" fmla="*/ 791 w 1107"/>
                <a:gd name="T93" fmla="*/ 377 h 897"/>
                <a:gd name="T94" fmla="*/ 799 w 1107"/>
                <a:gd name="T95" fmla="*/ 443 h 897"/>
                <a:gd name="T96" fmla="*/ 859 w 1107"/>
                <a:gd name="T97" fmla="*/ 456 h 897"/>
                <a:gd name="T98" fmla="*/ 894 w 1107"/>
                <a:gd name="T99" fmla="*/ 393 h 897"/>
                <a:gd name="T100" fmla="*/ 941 w 1107"/>
                <a:gd name="T101" fmla="*/ 401 h 897"/>
                <a:gd name="T102" fmla="*/ 1018 w 1107"/>
                <a:gd name="T103" fmla="*/ 415 h 897"/>
                <a:gd name="T104" fmla="*/ 825 w 1107"/>
                <a:gd name="T105" fmla="*/ 164 h 897"/>
                <a:gd name="T106" fmla="*/ 803 w 1107"/>
                <a:gd name="T107" fmla="*/ 279 h 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107" h="897">
                  <a:moveTo>
                    <a:pt x="654" y="716"/>
                  </a:moveTo>
                  <a:cubicBezTo>
                    <a:pt x="616" y="670"/>
                    <a:pt x="616" y="670"/>
                    <a:pt x="616" y="670"/>
                  </a:cubicBezTo>
                  <a:cubicBezTo>
                    <a:pt x="593" y="654"/>
                    <a:pt x="603" y="638"/>
                    <a:pt x="600" y="625"/>
                  </a:cubicBezTo>
                  <a:cubicBezTo>
                    <a:pt x="600" y="625"/>
                    <a:pt x="600" y="625"/>
                    <a:pt x="600" y="625"/>
                  </a:cubicBezTo>
                  <a:cubicBezTo>
                    <a:pt x="605" y="617"/>
                    <a:pt x="611" y="609"/>
                    <a:pt x="608" y="596"/>
                  </a:cubicBezTo>
                  <a:cubicBezTo>
                    <a:pt x="618" y="580"/>
                    <a:pt x="623" y="572"/>
                    <a:pt x="649" y="567"/>
                  </a:cubicBezTo>
                  <a:cubicBezTo>
                    <a:pt x="715" y="553"/>
                    <a:pt x="715" y="553"/>
                    <a:pt x="715" y="553"/>
                  </a:cubicBezTo>
                  <a:cubicBezTo>
                    <a:pt x="728" y="550"/>
                    <a:pt x="733" y="542"/>
                    <a:pt x="730" y="529"/>
                  </a:cubicBezTo>
                  <a:cubicBezTo>
                    <a:pt x="727" y="482"/>
                    <a:pt x="727" y="482"/>
                    <a:pt x="727" y="482"/>
                  </a:cubicBezTo>
                  <a:cubicBezTo>
                    <a:pt x="724" y="469"/>
                    <a:pt x="717" y="463"/>
                    <a:pt x="701" y="453"/>
                  </a:cubicBezTo>
                  <a:cubicBezTo>
                    <a:pt x="641" y="459"/>
                    <a:pt x="641" y="459"/>
                    <a:pt x="641" y="459"/>
                  </a:cubicBezTo>
                  <a:cubicBezTo>
                    <a:pt x="620" y="457"/>
                    <a:pt x="604" y="447"/>
                    <a:pt x="601" y="434"/>
                  </a:cubicBezTo>
                  <a:cubicBezTo>
                    <a:pt x="598" y="421"/>
                    <a:pt x="590" y="416"/>
                    <a:pt x="580" y="397"/>
                  </a:cubicBezTo>
                  <a:cubicBezTo>
                    <a:pt x="577" y="384"/>
                    <a:pt x="574" y="371"/>
                    <a:pt x="584" y="355"/>
                  </a:cubicBezTo>
                  <a:cubicBezTo>
                    <a:pt x="628" y="305"/>
                    <a:pt x="628" y="305"/>
                    <a:pt x="628" y="305"/>
                  </a:cubicBezTo>
                  <a:cubicBezTo>
                    <a:pt x="634" y="297"/>
                    <a:pt x="631" y="284"/>
                    <a:pt x="623" y="279"/>
                  </a:cubicBezTo>
                  <a:cubicBezTo>
                    <a:pt x="581" y="240"/>
                    <a:pt x="581" y="240"/>
                    <a:pt x="581" y="240"/>
                  </a:cubicBezTo>
                  <a:cubicBezTo>
                    <a:pt x="573" y="235"/>
                    <a:pt x="560" y="238"/>
                    <a:pt x="547" y="240"/>
                  </a:cubicBezTo>
                  <a:cubicBezTo>
                    <a:pt x="503" y="291"/>
                    <a:pt x="503" y="291"/>
                    <a:pt x="503" y="291"/>
                  </a:cubicBezTo>
                  <a:cubicBezTo>
                    <a:pt x="484" y="302"/>
                    <a:pt x="471" y="304"/>
                    <a:pt x="463" y="299"/>
                  </a:cubicBezTo>
                  <a:cubicBezTo>
                    <a:pt x="456" y="294"/>
                    <a:pt x="435" y="292"/>
                    <a:pt x="427" y="287"/>
                  </a:cubicBezTo>
                  <a:cubicBezTo>
                    <a:pt x="419" y="282"/>
                    <a:pt x="403" y="271"/>
                    <a:pt x="400" y="258"/>
                  </a:cubicBezTo>
                  <a:cubicBezTo>
                    <a:pt x="386" y="193"/>
                    <a:pt x="386" y="193"/>
                    <a:pt x="386" y="193"/>
                  </a:cubicBezTo>
                  <a:cubicBezTo>
                    <a:pt x="384" y="180"/>
                    <a:pt x="368" y="170"/>
                    <a:pt x="368" y="170"/>
                  </a:cubicBezTo>
                  <a:cubicBezTo>
                    <a:pt x="308" y="176"/>
                    <a:pt x="308" y="176"/>
                    <a:pt x="308" y="176"/>
                  </a:cubicBezTo>
                  <a:cubicBezTo>
                    <a:pt x="308" y="176"/>
                    <a:pt x="289" y="187"/>
                    <a:pt x="292" y="200"/>
                  </a:cubicBezTo>
                  <a:cubicBezTo>
                    <a:pt x="285" y="263"/>
                    <a:pt x="285" y="263"/>
                    <a:pt x="285" y="263"/>
                  </a:cubicBezTo>
                  <a:cubicBezTo>
                    <a:pt x="291" y="289"/>
                    <a:pt x="277" y="292"/>
                    <a:pt x="272" y="300"/>
                  </a:cubicBezTo>
                  <a:cubicBezTo>
                    <a:pt x="272" y="300"/>
                    <a:pt x="272" y="300"/>
                    <a:pt x="267" y="308"/>
                  </a:cubicBezTo>
                  <a:cubicBezTo>
                    <a:pt x="259" y="302"/>
                    <a:pt x="246" y="305"/>
                    <a:pt x="241" y="313"/>
                  </a:cubicBezTo>
                  <a:cubicBezTo>
                    <a:pt x="236" y="321"/>
                    <a:pt x="236" y="321"/>
                    <a:pt x="236" y="321"/>
                  </a:cubicBezTo>
                  <a:cubicBezTo>
                    <a:pt x="223" y="324"/>
                    <a:pt x="210" y="327"/>
                    <a:pt x="194" y="317"/>
                  </a:cubicBezTo>
                  <a:cubicBezTo>
                    <a:pt x="139" y="281"/>
                    <a:pt x="139" y="281"/>
                    <a:pt x="139" y="281"/>
                  </a:cubicBezTo>
                  <a:cubicBezTo>
                    <a:pt x="131" y="276"/>
                    <a:pt x="110" y="273"/>
                    <a:pt x="104" y="281"/>
                  </a:cubicBezTo>
                  <a:cubicBezTo>
                    <a:pt x="79" y="321"/>
                    <a:pt x="79" y="321"/>
                    <a:pt x="79" y="321"/>
                  </a:cubicBezTo>
                  <a:cubicBezTo>
                    <a:pt x="66" y="324"/>
                    <a:pt x="68" y="337"/>
                    <a:pt x="79" y="355"/>
                  </a:cubicBezTo>
                  <a:cubicBezTo>
                    <a:pt x="121" y="394"/>
                    <a:pt x="121" y="394"/>
                    <a:pt x="121" y="394"/>
                  </a:cubicBezTo>
                  <a:cubicBezTo>
                    <a:pt x="140" y="417"/>
                    <a:pt x="135" y="425"/>
                    <a:pt x="132" y="446"/>
                  </a:cubicBezTo>
                  <a:cubicBezTo>
                    <a:pt x="132" y="446"/>
                    <a:pt x="132" y="446"/>
                    <a:pt x="132" y="446"/>
                  </a:cubicBezTo>
                  <a:cubicBezTo>
                    <a:pt x="127" y="454"/>
                    <a:pt x="122" y="462"/>
                    <a:pt x="117" y="470"/>
                  </a:cubicBezTo>
                  <a:cubicBezTo>
                    <a:pt x="117" y="470"/>
                    <a:pt x="117" y="470"/>
                    <a:pt x="117" y="470"/>
                  </a:cubicBezTo>
                  <a:cubicBezTo>
                    <a:pt x="120" y="483"/>
                    <a:pt x="109" y="499"/>
                    <a:pt x="83" y="505"/>
                  </a:cubicBezTo>
                  <a:cubicBezTo>
                    <a:pt x="23" y="511"/>
                    <a:pt x="23" y="511"/>
                    <a:pt x="23" y="511"/>
                  </a:cubicBezTo>
                  <a:cubicBezTo>
                    <a:pt x="10" y="514"/>
                    <a:pt x="0" y="529"/>
                    <a:pt x="2" y="543"/>
                  </a:cubicBezTo>
                  <a:cubicBezTo>
                    <a:pt x="5" y="590"/>
                    <a:pt x="5" y="590"/>
                    <a:pt x="5" y="590"/>
                  </a:cubicBezTo>
                  <a:cubicBezTo>
                    <a:pt x="8" y="603"/>
                    <a:pt x="16" y="608"/>
                    <a:pt x="37" y="610"/>
                  </a:cubicBezTo>
                  <a:cubicBezTo>
                    <a:pt x="92" y="612"/>
                    <a:pt x="92" y="612"/>
                    <a:pt x="92" y="612"/>
                  </a:cubicBezTo>
                  <a:cubicBezTo>
                    <a:pt x="113" y="614"/>
                    <a:pt x="129" y="625"/>
                    <a:pt x="132" y="638"/>
                  </a:cubicBezTo>
                  <a:cubicBezTo>
                    <a:pt x="132" y="638"/>
                    <a:pt x="132" y="638"/>
                    <a:pt x="132" y="638"/>
                  </a:cubicBezTo>
                  <a:cubicBezTo>
                    <a:pt x="140" y="643"/>
                    <a:pt x="142" y="656"/>
                    <a:pt x="150" y="661"/>
                  </a:cubicBezTo>
                  <a:cubicBezTo>
                    <a:pt x="145" y="669"/>
                    <a:pt x="145" y="669"/>
                    <a:pt x="145" y="669"/>
                  </a:cubicBezTo>
                  <a:cubicBezTo>
                    <a:pt x="153" y="674"/>
                    <a:pt x="156" y="687"/>
                    <a:pt x="140" y="711"/>
                  </a:cubicBezTo>
                  <a:cubicBezTo>
                    <a:pt x="109" y="759"/>
                    <a:pt x="109" y="759"/>
                    <a:pt x="109" y="759"/>
                  </a:cubicBezTo>
                  <a:cubicBezTo>
                    <a:pt x="99" y="775"/>
                    <a:pt x="102" y="788"/>
                    <a:pt x="110" y="793"/>
                  </a:cubicBezTo>
                  <a:cubicBezTo>
                    <a:pt x="152" y="832"/>
                    <a:pt x="152" y="832"/>
                    <a:pt x="152" y="832"/>
                  </a:cubicBezTo>
                  <a:cubicBezTo>
                    <a:pt x="160" y="837"/>
                    <a:pt x="173" y="834"/>
                    <a:pt x="178" y="826"/>
                  </a:cubicBezTo>
                  <a:cubicBezTo>
                    <a:pt x="230" y="781"/>
                    <a:pt x="230" y="781"/>
                    <a:pt x="230" y="781"/>
                  </a:cubicBezTo>
                  <a:cubicBezTo>
                    <a:pt x="248" y="770"/>
                    <a:pt x="261" y="767"/>
                    <a:pt x="269" y="772"/>
                  </a:cubicBezTo>
                  <a:cubicBezTo>
                    <a:pt x="269" y="772"/>
                    <a:pt x="269" y="772"/>
                    <a:pt x="269" y="772"/>
                  </a:cubicBezTo>
                  <a:cubicBezTo>
                    <a:pt x="282" y="769"/>
                    <a:pt x="298" y="779"/>
                    <a:pt x="306" y="785"/>
                  </a:cubicBezTo>
                  <a:cubicBezTo>
                    <a:pt x="306" y="785"/>
                    <a:pt x="306" y="785"/>
                    <a:pt x="306" y="785"/>
                  </a:cubicBezTo>
                  <a:cubicBezTo>
                    <a:pt x="319" y="782"/>
                    <a:pt x="327" y="787"/>
                    <a:pt x="332" y="813"/>
                  </a:cubicBezTo>
                  <a:cubicBezTo>
                    <a:pt x="346" y="878"/>
                    <a:pt x="346" y="878"/>
                    <a:pt x="346" y="878"/>
                  </a:cubicBezTo>
                  <a:cubicBezTo>
                    <a:pt x="349" y="892"/>
                    <a:pt x="357" y="897"/>
                    <a:pt x="370" y="894"/>
                  </a:cubicBezTo>
                  <a:cubicBezTo>
                    <a:pt x="425" y="896"/>
                    <a:pt x="425" y="896"/>
                    <a:pt x="425" y="896"/>
                  </a:cubicBezTo>
                  <a:cubicBezTo>
                    <a:pt x="430" y="888"/>
                    <a:pt x="443" y="885"/>
                    <a:pt x="440" y="872"/>
                  </a:cubicBezTo>
                  <a:cubicBezTo>
                    <a:pt x="440" y="804"/>
                    <a:pt x="440" y="804"/>
                    <a:pt x="440" y="804"/>
                  </a:cubicBezTo>
                  <a:cubicBezTo>
                    <a:pt x="442" y="783"/>
                    <a:pt x="460" y="772"/>
                    <a:pt x="466" y="764"/>
                  </a:cubicBezTo>
                  <a:cubicBezTo>
                    <a:pt x="466" y="764"/>
                    <a:pt x="466" y="764"/>
                    <a:pt x="466" y="764"/>
                  </a:cubicBezTo>
                  <a:cubicBezTo>
                    <a:pt x="479" y="761"/>
                    <a:pt x="492" y="758"/>
                    <a:pt x="497" y="750"/>
                  </a:cubicBezTo>
                  <a:cubicBezTo>
                    <a:pt x="497" y="750"/>
                    <a:pt x="497" y="750"/>
                    <a:pt x="497" y="750"/>
                  </a:cubicBezTo>
                  <a:cubicBezTo>
                    <a:pt x="510" y="747"/>
                    <a:pt x="523" y="745"/>
                    <a:pt x="539" y="755"/>
                  </a:cubicBezTo>
                  <a:cubicBezTo>
                    <a:pt x="594" y="791"/>
                    <a:pt x="594" y="791"/>
                    <a:pt x="594" y="791"/>
                  </a:cubicBezTo>
                  <a:cubicBezTo>
                    <a:pt x="602" y="796"/>
                    <a:pt x="623" y="798"/>
                    <a:pt x="628" y="790"/>
                  </a:cubicBezTo>
                  <a:cubicBezTo>
                    <a:pt x="659" y="743"/>
                    <a:pt x="659" y="743"/>
                    <a:pt x="659" y="743"/>
                  </a:cubicBezTo>
                  <a:cubicBezTo>
                    <a:pt x="659" y="743"/>
                    <a:pt x="669" y="727"/>
                    <a:pt x="654" y="716"/>
                  </a:cubicBezTo>
                  <a:close/>
                  <a:moveTo>
                    <a:pt x="281" y="633"/>
                  </a:moveTo>
                  <a:cubicBezTo>
                    <a:pt x="223" y="584"/>
                    <a:pt x="219" y="502"/>
                    <a:pt x="263" y="452"/>
                  </a:cubicBezTo>
                  <a:cubicBezTo>
                    <a:pt x="313" y="393"/>
                    <a:pt x="399" y="382"/>
                    <a:pt x="457" y="431"/>
                  </a:cubicBezTo>
                  <a:cubicBezTo>
                    <a:pt x="507" y="475"/>
                    <a:pt x="518" y="561"/>
                    <a:pt x="469" y="619"/>
                  </a:cubicBezTo>
                  <a:cubicBezTo>
                    <a:pt x="420" y="678"/>
                    <a:pt x="339" y="682"/>
                    <a:pt x="281" y="633"/>
                  </a:cubicBezTo>
                  <a:close/>
                  <a:moveTo>
                    <a:pt x="1019" y="398"/>
                  </a:moveTo>
                  <a:cubicBezTo>
                    <a:pt x="1004" y="362"/>
                    <a:pt x="1004" y="362"/>
                    <a:pt x="1004" y="362"/>
                  </a:cubicBezTo>
                  <a:cubicBezTo>
                    <a:pt x="992" y="348"/>
                    <a:pt x="1002" y="340"/>
                    <a:pt x="1002" y="332"/>
                  </a:cubicBezTo>
                  <a:cubicBezTo>
                    <a:pt x="1002" y="332"/>
                    <a:pt x="1002" y="332"/>
                    <a:pt x="1002" y="332"/>
                  </a:cubicBezTo>
                  <a:cubicBezTo>
                    <a:pt x="1007" y="328"/>
                    <a:pt x="1011" y="324"/>
                    <a:pt x="1012" y="315"/>
                  </a:cubicBezTo>
                  <a:cubicBezTo>
                    <a:pt x="1021" y="307"/>
                    <a:pt x="1026" y="303"/>
                    <a:pt x="1043" y="304"/>
                  </a:cubicBezTo>
                  <a:cubicBezTo>
                    <a:pt x="1086" y="307"/>
                    <a:pt x="1086" y="307"/>
                    <a:pt x="1086" y="307"/>
                  </a:cubicBezTo>
                  <a:cubicBezTo>
                    <a:pt x="1095" y="308"/>
                    <a:pt x="1099" y="304"/>
                    <a:pt x="1100" y="295"/>
                  </a:cubicBezTo>
                  <a:cubicBezTo>
                    <a:pt x="1107" y="266"/>
                    <a:pt x="1107" y="266"/>
                    <a:pt x="1107" y="266"/>
                  </a:cubicBezTo>
                  <a:cubicBezTo>
                    <a:pt x="1107" y="257"/>
                    <a:pt x="1103" y="252"/>
                    <a:pt x="1095" y="243"/>
                  </a:cubicBezTo>
                  <a:cubicBezTo>
                    <a:pt x="1057" y="236"/>
                    <a:pt x="1057" y="236"/>
                    <a:pt x="1057" y="236"/>
                  </a:cubicBezTo>
                  <a:cubicBezTo>
                    <a:pt x="1044" y="231"/>
                    <a:pt x="1036" y="222"/>
                    <a:pt x="1037" y="213"/>
                  </a:cubicBezTo>
                  <a:cubicBezTo>
                    <a:pt x="1038" y="205"/>
                    <a:pt x="1034" y="200"/>
                    <a:pt x="1030" y="187"/>
                  </a:cubicBezTo>
                  <a:cubicBezTo>
                    <a:pt x="1031" y="178"/>
                    <a:pt x="1032" y="170"/>
                    <a:pt x="1041" y="162"/>
                  </a:cubicBezTo>
                  <a:cubicBezTo>
                    <a:pt x="1077" y="138"/>
                    <a:pt x="1077" y="138"/>
                    <a:pt x="1077" y="138"/>
                  </a:cubicBezTo>
                  <a:cubicBezTo>
                    <a:pt x="1082" y="134"/>
                    <a:pt x="1083" y="126"/>
                    <a:pt x="1079" y="121"/>
                  </a:cubicBezTo>
                  <a:cubicBezTo>
                    <a:pt x="1059" y="89"/>
                    <a:pt x="1059" y="89"/>
                    <a:pt x="1059" y="89"/>
                  </a:cubicBezTo>
                  <a:cubicBezTo>
                    <a:pt x="1055" y="85"/>
                    <a:pt x="1047" y="84"/>
                    <a:pt x="1038" y="83"/>
                  </a:cubicBezTo>
                  <a:cubicBezTo>
                    <a:pt x="1002" y="107"/>
                    <a:pt x="1002" y="107"/>
                    <a:pt x="1002" y="107"/>
                  </a:cubicBezTo>
                  <a:cubicBezTo>
                    <a:pt x="989" y="110"/>
                    <a:pt x="980" y="110"/>
                    <a:pt x="976" y="105"/>
                  </a:cubicBezTo>
                  <a:cubicBezTo>
                    <a:pt x="972" y="100"/>
                    <a:pt x="960" y="95"/>
                    <a:pt x="956" y="91"/>
                  </a:cubicBezTo>
                  <a:cubicBezTo>
                    <a:pt x="952" y="86"/>
                    <a:pt x="944" y="77"/>
                    <a:pt x="944" y="68"/>
                  </a:cubicBezTo>
                  <a:cubicBezTo>
                    <a:pt x="948" y="25"/>
                    <a:pt x="948" y="25"/>
                    <a:pt x="948" y="25"/>
                  </a:cubicBezTo>
                  <a:cubicBezTo>
                    <a:pt x="948" y="17"/>
                    <a:pt x="940" y="7"/>
                    <a:pt x="940" y="7"/>
                  </a:cubicBezTo>
                  <a:cubicBezTo>
                    <a:pt x="902" y="0"/>
                    <a:pt x="902" y="0"/>
                    <a:pt x="902" y="0"/>
                  </a:cubicBezTo>
                  <a:cubicBezTo>
                    <a:pt x="902" y="0"/>
                    <a:pt x="889" y="4"/>
                    <a:pt x="888" y="12"/>
                  </a:cubicBezTo>
                  <a:cubicBezTo>
                    <a:pt x="872" y="50"/>
                    <a:pt x="872" y="50"/>
                    <a:pt x="872" y="50"/>
                  </a:cubicBezTo>
                  <a:cubicBezTo>
                    <a:pt x="871" y="67"/>
                    <a:pt x="862" y="67"/>
                    <a:pt x="858" y="71"/>
                  </a:cubicBezTo>
                  <a:cubicBezTo>
                    <a:pt x="858" y="71"/>
                    <a:pt x="858" y="71"/>
                    <a:pt x="853" y="75"/>
                  </a:cubicBezTo>
                  <a:cubicBezTo>
                    <a:pt x="849" y="70"/>
                    <a:pt x="840" y="70"/>
                    <a:pt x="836" y="74"/>
                  </a:cubicBezTo>
                  <a:cubicBezTo>
                    <a:pt x="831" y="78"/>
                    <a:pt x="831" y="78"/>
                    <a:pt x="831" y="78"/>
                  </a:cubicBezTo>
                  <a:cubicBezTo>
                    <a:pt x="822" y="77"/>
                    <a:pt x="814" y="76"/>
                    <a:pt x="806" y="67"/>
                  </a:cubicBezTo>
                  <a:cubicBezTo>
                    <a:pt x="778" y="35"/>
                    <a:pt x="778" y="35"/>
                    <a:pt x="778" y="35"/>
                  </a:cubicBezTo>
                  <a:cubicBezTo>
                    <a:pt x="774" y="30"/>
                    <a:pt x="762" y="25"/>
                    <a:pt x="757" y="29"/>
                  </a:cubicBezTo>
                  <a:cubicBezTo>
                    <a:pt x="734" y="49"/>
                    <a:pt x="734" y="49"/>
                    <a:pt x="734" y="49"/>
                  </a:cubicBezTo>
                  <a:cubicBezTo>
                    <a:pt x="725" y="49"/>
                    <a:pt x="725" y="57"/>
                    <a:pt x="728" y="70"/>
                  </a:cubicBezTo>
                  <a:cubicBezTo>
                    <a:pt x="747" y="102"/>
                    <a:pt x="747" y="102"/>
                    <a:pt x="747" y="102"/>
                  </a:cubicBezTo>
                  <a:cubicBezTo>
                    <a:pt x="754" y="120"/>
                    <a:pt x="750" y="124"/>
                    <a:pt x="744" y="136"/>
                  </a:cubicBezTo>
                  <a:cubicBezTo>
                    <a:pt x="744" y="136"/>
                    <a:pt x="744" y="136"/>
                    <a:pt x="744" y="136"/>
                  </a:cubicBezTo>
                  <a:cubicBezTo>
                    <a:pt x="740" y="140"/>
                    <a:pt x="735" y="144"/>
                    <a:pt x="731" y="148"/>
                  </a:cubicBezTo>
                  <a:cubicBezTo>
                    <a:pt x="731" y="148"/>
                    <a:pt x="731" y="148"/>
                    <a:pt x="731" y="148"/>
                  </a:cubicBezTo>
                  <a:cubicBezTo>
                    <a:pt x="730" y="157"/>
                    <a:pt x="721" y="165"/>
                    <a:pt x="703" y="164"/>
                  </a:cubicBezTo>
                  <a:cubicBezTo>
                    <a:pt x="665" y="157"/>
                    <a:pt x="665" y="157"/>
                    <a:pt x="665" y="157"/>
                  </a:cubicBezTo>
                  <a:cubicBezTo>
                    <a:pt x="656" y="156"/>
                    <a:pt x="647" y="164"/>
                    <a:pt x="647" y="173"/>
                  </a:cubicBezTo>
                  <a:cubicBezTo>
                    <a:pt x="640" y="203"/>
                    <a:pt x="640" y="203"/>
                    <a:pt x="640" y="203"/>
                  </a:cubicBezTo>
                  <a:cubicBezTo>
                    <a:pt x="639" y="211"/>
                    <a:pt x="643" y="216"/>
                    <a:pt x="656" y="221"/>
                  </a:cubicBezTo>
                  <a:cubicBezTo>
                    <a:pt x="690" y="232"/>
                    <a:pt x="690" y="232"/>
                    <a:pt x="690" y="232"/>
                  </a:cubicBezTo>
                  <a:cubicBezTo>
                    <a:pt x="702" y="237"/>
                    <a:pt x="710" y="246"/>
                    <a:pt x="710" y="255"/>
                  </a:cubicBezTo>
                  <a:cubicBezTo>
                    <a:pt x="710" y="255"/>
                    <a:pt x="710" y="255"/>
                    <a:pt x="710" y="255"/>
                  </a:cubicBezTo>
                  <a:cubicBezTo>
                    <a:pt x="714" y="260"/>
                    <a:pt x="713" y="268"/>
                    <a:pt x="717" y="273"/>
                  </a:cubicBezTo>
                  <a:cubicBezTo>
                    <a:pt x="712" y="277"/>
                    <a:pt x="712" y="277"/>
                    <a:pt x="712" y="277"/>
                  </a:cubicBezTo>
                  <a:cubicBezTo>
                    <a:pt x="716" y="281"/>
                    <a:pt x="716" y="290"/>
                    <a:pt x="702" y="302"/>
                  </a:cubicBezTo>
                  <a:cubicBezTo>
                    <a:pt x="674" y="326"/>
                    <a:pt x="674" y="326"/>
                    <a:pt x="674" y="326"/>
                  </a:cubicBezTo>
                  <a:cubicBezTo>
                    <a:pt x="665" y="334"/>
                    <a:pt x="664" y="343"/>
                    <a:pt x="668" y="347"/>
                  </a:cubicBezTo>
                  <a:cubicBezTo>
                    <a:pt x="687" y="379"/>
                    <a:pt x="687" y="379"/>
                    <a:pt x="687" y="379"/>
                  </a:cubicBezTo>
                  <a:cubicBezTo>
                    <a:pt x="691" y="383"/>
                    <a:pt x="700" y="384"/>
                    <a:pt x="704" y="380"/>
                  </a:cubicBezTo>
                  <a:cubicBezTo>
                    <a:pt x="745" y="361"/>
                    <a:pt x="745" y="361"/>
                    <a:pt x="745" y="361"/>
                  </a:cubicBezTo>
                  <a:cubicBezTo>
                    <a:pt x="758" y="358"/>
                    <a:pt x="767" y="358"/>
                    <a:pt x="771" y="363"/>
                  </a:cubicBezTo>
                  <a:cubicBezTo>
                    <a:pt x="771" y="363"/>
                    <a:pt x="771" y="363"/>
                    <a:pt x="771" y="363"/>
                  </a:cubicBezTo>
                  <a:cubicBezTo>
                    <a:pt x="779" y="364"/>
                    <a:pt x="787" y="373"/>
                    <a:pt x="791" y="377"/>
                  </a:cubicBezTo>
                  <a:cubicBezTo>
                    <a:pt x="791" y="377"/>
                    <a:pt x="791" y="377"/>
                    <a:pt x="791" y="377"/>
                  </a:cubicBezTo>
                  <a:cubicBezTo>
                    <a:pt x="800" y="378"/>
                    <a:pt x="804" y="383"/>
                    <a:pt x="802" y="400"/>
                  </a:cubicBezTo>
                  <a:cubicBezTo>
                    <a:pt x="799" y="443"/>
                    <a:pt x="799" y="443"/>
                    <a:pt x="799" y="443"/>
                  </a:cubicBezTo>
                  <a:cubicBezTo>
                    <a:pt x="798" y="451"/>
                    <a:pt x="802" y="456"/>
                    <a:pt x="811" y="457"/>
                  </a:cubicBezTo>
                  <a:cubicBezTo>
                    <a:pt x="845" y="468"/>
                    <a:pt x="845" y="468"/>
                    <a:pt x="845" y="468"/>
                  </a:cubicBezTo>
                  <a:cubicBezTo>
                    <a:pt x="849" y="464"/>
                    <a:pt x="858" y="464"/>
                    <a:pt x="859" y="456"/>
                  </a:cubicBezTo>
                  <a:cubicBezTo>
                    <a:pt x="871" y="413"/>
                    <a:pt x="871" y="413"/>
                    <a:pt x="871" y="413"/>
                  </a:cubicBezTo>
                  <a:cubicBezTo>
                    <a:pt x="876" y="401"/>
                    <a:pt x="889" y="397"/>
                    <a:pt x="894" y="393"/>
                  </a:cubicBezTo>
                  <a:cubicBezTo>
                    <a:pt x="894" y="393"/>
                    <a:pt x="894" y="393"/>
                    <a:pt x="894" y="393"/>
                  </a:cubicBezTo>
                  <a:cubicBezTo>
                    <a:pt x="902" y="394"/>
                    <a:pt x="911" y="395"/>
                    <a:pt x="916" y="391"/>
                  </a:cubicBezTo>
                  <a:cubicBezTo>
                    <a:pt x="916" y="391"/>
                    <a:pt x="916" y="391"/>
                    <a:pt x="916" y="391"/>
                  </a:cubicBezTo>
                  <a:cubicBezTo>
                    <a:pt x="924" y="391"/>
                    <a:pt x="933" y="392"/>
                    <a:pt x="941" y="401"/>
                  </a:cubicBezTo>
                  <a:cubicBezTo>
                    <a:pt x="969" y="433"/>
                    <a:pt x="969" y="433"/>
                    <a:pt x="969" y="433"/>
                  </a:cubicBezTo>
                  <a:cubicBezTo>
                    <a:pt x="973" y="438"/>
                    <a:pt x="985" y="443"/>
                    <a:pt x="990" y="439"/>
                  </a:cubicBezTo>
                  <a:cubicBezTo>
                    <a:pt x="1018" y="415"/>
                    <a:pt x="1018" y="415"/>
                    <a:pt x="1018" y="415"/>
                  </a:cubicBezTo>
                  <a:cubicBezTo>
                    <a:pt x="1018" y="415"/>
                    <a:pt x="1027" y="407"/>
                    <a:pt x="1019" y="398"/>
                  </a:cubicBezTo>
                  <a:close/>
                  <a:moveTo>
                    <a:pt x="803" y="279"/>
                  </a:moveTo>
                  <a:cubicBezTo>
                    <a:pt x="776" y="238"/>
                    <a:pt x="788" y="187"/>
                    <a:pt x="825" y="164"/>
                  </a:cubicBezTo>
                  <a:cubicBezTo>
                    <a:pt x="866" y="136"/>
                    <a:pt x="921" y="144"/>
                    <a:pt x="948" y="185"/>
                  </a:cubicBezTo>
                  <a:cubicBezTo>
                    <a:pt x="972" y="221"/>
                    <a:pt x="963" y="277"/>
                    <a:pt x="922" y="304"/>
                  </a:cubicBezTo>
                  <a:cubicBezTo>
                    <a:pt x="881" y="332"/>
                    <a:pt x="830" y="320"/>
                    <a:pt x="803" y="279"/>
                  </a:cubicBezTo>
                  <a:close/>
                </a:path>
              </a:pathLst>
            </a:custGeom>
            <a:solidFill>
              <a:schemeClr val="tx1"/>
            </a:solidFill>
            <a:ln>
              <a:noFill/>
            </a:ln>
          </p:spPr>
          <p:txBody>
            <a:bodyPr vert="horz" wrap="square" lIns="68574" tIns="34287" rIns="68574" bIns="34287"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17346"/>
                </a:solidFill>
                <a:effectLst/>
                <a:uLnTx/>
                <a:uFillTx/>
                <a:latin typeface="Segoe UI"/>
                <a:ea typeface="+mn-ea"/>
                <a:cs typeface="+mn-cs"/>
              </a:endParaRPr>
            </a:p>
          </p:txBody>
        </p:sp>
        <p:sp>
          <p:nvSpPr>
            <p:cNvPr id="104" name="Freeform 103"/>
            <p:cNvSpPr>
              <a:spLocks noChangeAspect="1"/>
            </p:cNvSpPr>
            <p:nvPr/>
          </p:nvSpPr>
          <p:spPr bwMode="black">
            <a:xfrm>
              <a:off x="776985" y="4213905"/>
              <a:ext cx="342871" cy="335728"/>
            </a:xfrm>
            <a:custGeom>
              <a:avLst/>
              <a:gdLst>
                <a:gd name="connsiteX0" fmla="*/ 3713863 w 4893730"/>
                <a:gd name="connsiteY0" fmla="*/ 2130808 h 4791777"/>
                <a:gd name="connsiteX1" fmla="*/ 4426142 w 4893730"/>
                <a:gd name="connsiteY1" fmla="*/ 2130808 h 4791777"/>
                <a:gd name="connsiteX2" fmla="*/ 4598071 w 4893730"/>
                <a:gd name="connsiteY2" fmla="*/ 2301547 h 4791777"/>
                <a:gd name="connsiteX3" fmla="*/ 4598071 w 4893730"/>
                <a:gd name="connsiteY3" fmla="*/ 3886978 h 4791777"/>
                <a:gd name="connsiteX4" fmla="*/ 4426142 w 4893730"/>
                <a:gd name="connsiteY4" fmla="*/ 4057717 h 4791777"/>
                <a:gd name="connsiteX5" fmla="*/ 3713863 w 4893730"/>
                <a:gd name="connsiteY5" fmla="*/ 4057717 h 4791777"/>
                <a:gd name="connsiteX6" fmla="*/ 3517372 w 4893730"/>
                <a:gd name="connsiteY6" fmla="*/ 3886978 h 4791777"/>
                <a:gd name="connsiteX7" fmla="*/ 3517372 w 4893730"/>
                <a:gd name="connsiteY7" fmla="*/ 2301547 h 4791777"/>
                <a:gd name="connsiteX8" fmla="*/ 3713863 w 4893730"/>
                <a:gd name="connsiteY8" fmla="*/ 2130808 h 4791777"/>
                <a:gd name="connsiteX9" fmla="*/ 904368 w 4893730"/>
                <a:gd name="connsiteY9" fmla="*/ 1223432 h 4791777"/>
                <a:gd name="connsiteX10" fmla="*/ 1609930 w 4893730"/>
                <a:gd name="connsiteY10" fmla="*/ 1223432 h 4791777"/>
                <a:gd name="connsiteX11" fmla="*/ 1804567 w 4893730"/>
                <a:gd name="connsiteY11" fmla="*/ 1394467 h 4791777"/>
                <a:gd name="connsiteX12" fmla="*/ 1804567 w 4893730"/>
                <a:gd name="connsiteY12" fmla="*/ 3886683 h 4791777"/>
                <a:gd name="connsiteX13" fmla="*/ 1609930 w 4893730"/>
                <a:gd name="connsiteY13" fmla="*/ 4057717 h 4791777"/>
                <a:gd name="connsiteX14" fmla="*/ 904368 w 4893730"/>
                <a:gd name="connsiteY14" fmla="*/ 4057717 h 4791777"/>
                <a:gd name="connsiteX15" fmla="*/ 734060 w 4893730"/>
                <a:gd name="connsiteY15" fmla="*/ 3886683 h 4791777"/>
                <a:gd name="connsiteX16" fmla="*/ 734060 w 4893730"/>
                <a:gd name="connsiteY16" fmla="*/ 1394467 h 4791777"/>
                <a:gd name="connsiteX17" fmla="*/ 904368 w 4893730"/>
                <a:gd name="connsiteY17" fmla="*/ 1223432 h 4791777"/>
                <a:gd name="connsiteX18" fmla="*/ 2325453 w 4893730"/>
                <a:gd name="connsiteY18" fmla="*/ 316050 h 4791777"/>
                <a:gd name="connsiteX19" fmla="*/ 3031014 w 4893730"/>
                <a:gd name="connsiteY19" fmla="*/ 316050 h 4791777"/>
                <a:gd name="connsiteX20" fmla="*/ 3201322 w 4893730"/>
                <a:gd name="connsiteY20" fmla="*/ 487238 h 4791777"/>
                <a:gd name="connsiteX21" fmla="*/ 3201322 w 4893730"/>
                <a:gd name="connsiteY21" fmla="*/ 3886530 h 4791777"/>
                <a:gd name="connsiteX22" fmla="*/ 3031014 w 4893730"/>
                <a:gd name="connsiteY22" fmla="*/ 4057717 h 4791777"/>
                <a:gd name="connsiteX23" fmla="*/ 2325453 w 4893730"/>
                <a:gd name="connsiteY23" fmla="*/ 4057717 h 4791777"/>
                <a:gd name="connsiteX24" fmla="*/ 2130815 w 4893730"/>
                <a:gd name="connsiteY24" fmla="*/ 3886530 h 4791777"/>
                <a:gd name="connsiteX25" fmla="*/ 2130815 w 4893730"/>
                <a:gd name="connsiteY25" fmla="*/ 487238 h 4791777"/>
                <a:gd name="connsiteX26" fmla="*/ 2325453 w 4893730"/>
                <a:gd name="connsiteY26" fmla="*/ 316050 h 4791777"/>
                <a:gd name="connsiteX27" fmla="*/ 269155 w 4893730"/>
                <a:gd name="connsiteY27" fmla="*/ 0 h 4791777"/>
                <a:gd name="connsiteX28" fmla="*/ 538311 w 4893730"/>
                <a:gd name="connsiteY28" fmla="*/ 268927 h 4791777"/>
                <a:gd name="connsiteX29" fmla="*/ 538311 w 4893730"/>
                <a:gd name="connsiteY29" fmla="*/ 4253925 h 4791777"/>
                <a:gd name="connsiteX30" fmla="*/ 4624575 w 4893730"/>
                <a:gd name="connsiteY30" fmla="*/ 4253925 h 4791777"/>
                <a:gd name="connsiteX31" fmla="*/ 4893730 w 4893730"/>
                <a:gd name="connsiteY31" fmla="*/ 4522851 h 4791777"/>
                <a:gd name="connsiteX32" fmla="*/ 4624575 w 4893730"/>
                <a:gd name="connsiteY32" fmla="*/ 4791777 h 4791777"/>
                <a:gd name="connsiteX33" fmla="*/ 269155 w 4893730"/>
                <a:gd name="connsiteY33" fmla="*/ 4791777 h 4791777"/>
                <a:gd name="connsiteX34" fmla="*/ 0 w 4893730"/>
                <a:gd name="connsiteY34" fmla="*/ 4522851 h 4791777"/>
                <a:gd name="connsiteX35" fmla="*/ 0 w 4893730"/>
                <a:gd name="connsiteY35" fmla="*/ 268927 h 4791777"/>
                <a:gd name="connsiteX36" fmla="*/ 269155 w 4893730"/>
                <a:gd name="connsiteY36" fmla="*/ 0 h 4791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4893730" h="4791777">
                  <a:moveTo>
                    <a:pt x="3713863" y="2130808"/>
                  </a:moveTo>
                  <a:cubicBezTo>
                    <a:pt x="3713863" y="2130808"/>
                    <a:pt x="3713863" y="2130808"/>
                    <a:pt x="4426142" y="2130808"/>
                  </a:cubicBezTo>
                  <a:cubicBezTo>
                    <a:pt x="4524387" y="2130808"/>
                    <a:pt x="4598071" y="2203982"/>
                    <a:pt x="4598071" y="2301547"/>
                  </a:cubicBezTo>
                  <a:cubicBezTo>
                    <a:pt x="4598071" y="2301547"/>
                    <a:pt x="4598071" y="2301547"/>
                    <a:pt x="4598071" y="3886978"/>
                  </a:cubicBezTo>
                  <a:cubicBezTo>
                    <a:pt x="4598071" y="3984543"/>
                    <a:pt x="4524387" y="4057717"/>
                    <a:pt x="4426142" y="4057717"/>
                  </a:cubicBezTo>
                  <a:cubicBezTo>
                    <a:pt x="4426142" y="4057717"/>
                    <a:pt x="4426142" y="4057717"/>
                    <a:pt x="3713863" y="4057717"/>
                  </a:cubicBezTo>
                  <a:cubicBezTo>
                    <a:pt x="3615618" y="4057717"/>
                    <a:pt x="3517372" y="3984543"/>
                    <a:pt x="3517372" y="3886978"/>
                  </a:cubicBezTo>
                  <a:cubicBezTo>
                    <a:pt x="3517372" y="3886978"/>
                    <a:pt x="3517372" y="3886978"/>
                    <a:pt x="3517372" y="2301547"/>
                  </a:cubicBezTo>
                  <a:cubicBezTo>
                    <a:pt x="3517372" y="2203982"/>
                    <a:pt x="3615618" y="2130808"/>
                    <a:pt x="3713863" y="2130808"/>
                  </a:cubicBezTo>
                  <a:close/>
                  <a:moveTo>
                    <a:pt x="904368" y="1223432"/>
                  </a:moveTo>
                  <a:cubicBezTo>
                    <a:pt x="904368" y="1223432"/>
                    <a:pt x="904368" y="1223432"/>
                    <a:pt x="1609930" y="1223432"/>
                  </a:cubicBezTo>
                  <a:cubicBezTo>
                    <a:pt x="1731578" y="1223432"/>
                    <a:pt x="1804567" y="1296733"/>
                    <a:pt x="1804567" y="1394467"/>
                  </a:cubicBezTo>
                  <a:cubicBezTo>
                    <a:pt x="1804567" y="1394467"/>
                    <a:pt x="1804567" y="1394467"/>
                    <a:pt x="1804567" y="3886683"/>
                  </a:cubicBezTo>
                  <a:cubicBezTo>
                    <a:pt x="1804567" y="3984417"/>
                    <a:pt x="1731578" y="4057717"/>
                    <a:pt x="1609930" y="4057717"/>
                  </a:cubicBezTo>
                  <a:cubicBezTo>
                    <a:pt x="1609930" y="4057717"/>
                    <a:pt x="1609930" y="4057717"/>
                    <a:pt x="904368" y="4057717"/>
                  </a:cubicBezTo>
                  <a:cubicBezTo>
                    <a:pt x="807049" y="4057717"/>
                    <a:pt x="734060" y="3984417"/>
                    <a:pt x="734060" y="3886683"/>
                  </a:cubicBezTo>
                  <a:cubicBezTo>
                    <a:pt x="734060" y="3886683"/>
                    <a:pt x="734060" y="3886683"/>
                    <a:pt x="734060" y="1394467"/>
                  </a:cubicBezTo>
                  <a:cubicBezTo>
                    <a:pt x="734060" y="1296733"/>
                    <a:pt x="807049" y="1223432"/>
                    <a:pt x="904368" y="1223432"/>
                  </a:cubicBezTo>
                  <a:close/>
                  <a:moveTo>
                    <a:pt x="2325453" y="316050"/>
                  </a:moveTo>
                  <a:cubicBezTo>
                    <a:pt x="2325453" y="316050"/>
                    <a:pt x="2325453" y="316050"/>
                    <a:pt x="3031014" y="316050"/>
                  </a:cubicBezTo>
                  <a:cubicBezTo>
                    <a:pt x="3128333" y="316050"/>
                    <a:pt x="3201322" y="389416"/>
                    <a:pt x="3201322" y="487238"/>
                  </a:cubicBezTo>
                  <a:cubicBezTo>
                    <a:pt x="3201322" y="487238"/>
                    <a:pt x="3201322" y="487238"/>
                    <a:pt x="3201322" y="3886530"/>
                  </a:cubicBezTo>
                  <a:cubicBezTo>
                    <a:pt x="3201322" y="3984351"/>
                    <a:pt x="3128333" y="4057717"/>
                    <a:pt x="3031014" y="4057717"/>
                  </a:cubicBezTo>
                  <a:cubicBezTo>
                    <a:pt x="3031014" y="4057717"/>
                    <a:pt x="3031014" y="4057717"/>
                    <a:pt x="2325453" y="4057717"/>
                  </a:cubicBezTo>
                  <a:cubicBezTo>
                    <a:pt x="2203804" y="4057717"/>
                    <a:pt x="2130815" y="3984351"/>
                    <a:pt x="2130815" y="3886530"/>
                  </a:cubicBezTo>
                  <a:cubicBezTo>
                    <a:pt x="2130815" y="3886530"/>
                    <a:pt x="2130815" y="3886530"/>
                    <a:pt x="2130815" y="487238"/>
                  </a:cubicBezTo>
                  <a:cubicBezTo>
                    <a:pt x="2130815" y="389416"/>
                    <a:pt x="2203804" y="316050"/>
                    <a:pt x="2325453" y="316050"/>
                  </a:cubicBezTo>
                  <a:close/>
                  <a:moveTo>
                    <a:pt x="269155" y="0"/>
                  </a:moveTo>
                  <a:cubicBezTo>
                    <a:pt x="415967" y="0"/>
                    <a:pt x="538311" y="122239"/>
                    <a:pt x="538311" y="268927"/>
                  </a:cubicBezTo>
                  <a:cubicBezTo>
                    <a:pt x="538311" y="268927"/>
                    <a:pt x="538311" y="268927"/>
                    <a:pt x="538311" y="4253925"/>
                  </a:cubicBezTo>
                  <a:cubicBezTo>
                    <a:pt x="538311" y="4253925"/>
                    <a:pt x="538311" y="4253925"/>
                    <a:pt x="4624575" y="4253925"/>
                  </a:cubicBezTo>
                  <a:cubicBezTo>
                    <a:pt x="4771387" y="4253925"/>
                    <a:pt x="4893730" y="4376164"/>
                    <a:pt x="4893730" y="4522851"/>
                  </a:cubicBezTo>
                  <a:cubicBezTo>
                    <a:pt x="4893730" y="4669538"/>
                    <a:pt x="4771387" y="4791777"/>
                    <a:pt x="4624575" y="4791777"/>
                  </a:cubicBezTo>
                  <a:cubicBezTo>
                    <a:pt x="4624575" y="4791777"/>
                    <a:pt x="4624575" y="4791777"/>
                    <a:pt x="269155" y="4791777"/>
                  </a:cubicBezTo>
                  <a:cubicBezTo>
                    <a:pt x="122344" y="4791777"/>
                    <a:pt x="0" y="4669538"/>
                    <a:pt x="0" y="4522851"/>
                  </a:cubicBezTo>
                  <a:cubicBezTo>
                    <a:pt x="0" y="4522851"/>
                    <a:pt x="0" y="4522851"/>
                    <a:pt x="0" y="268927"/>
                  </a:cubicBezTo>
                  <a:cubicBezTo>
                    <a:pt x="0" y="122239"/>
                    <a:pt x="122344" y="0"/>
                    <a:pt x="269155"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37148" tIns="109719" rIns="137148" bIns="109719"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699261"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5" name="Rectangle 104"/>
            <p:cNvSpPr/>
            <p:nvPr/>
          </p:nvSpPr>
          <p:spPr bwMode="auto">
            <a:xfrm rot="2745734">
              <a:off x="886688" y="2210975"/>
              <a:ext cx="1598323" cy="1625795"/>
            </a:xfrm>
            <a:prstGeom prst="rect">
              <a:avLst/>
            </a:prstGeom>
            <a:solidFill>
              <a:schemeClr val="tx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6" name="Rectangle 105"/>
            <p:cNvSpPr/>
            <p:nvPr/>
          </p:nvSpPr>
          <p:spPr bwMode="auto">
            <a:xfrm rot="2745734">
              <a:off x="292433" y="3819160"/>
              <a:ext cx="1610349" cy="1235003"/>
            </a:xfrm>
            <a:prstGeom prst="rect">
              <a:avLst/>
            </a:prstGeom>
            <a:solidFill>
              <a:schemeClr val="tx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7" name="Rectangle 106"/>
            <p:cNvSpPr/>
            <p:nvPr/>
          </p:nvSpPr>
          <p:spPr bwMode="auto">
            <a:xfrm rot="2745734">
              <a:off x="1315610" y="4915701"/>
              <a:ext cx="1263370" cy="1255989"/>
            </a:xfrm>
            <a:prstGeom prst="rect">
              <a:avLst/>
            </a:prstGeom>
            <a:solidFill>
              <a:schemeClr val="tx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37" name="Title 10"/>
          <p:cNvSpPr txBox="1">
            <a:spLocks/>
          </p:cNvSpPr>
          <p:nvPr/>
        </p:nvSpPr>
        <p:spPr>
          <a:xfrm>
            <a:off x="2849060" y="0"/>
            <a:ext cx="9342940" cy="665151"/>
          </a:xfrm>
          <a:prstGeom prst="rect">
            <a:avLst/>
          </a:prstGeom>
          <a:noFill/>
        </p:spPr>
        <p:txBody>
          <a:bodyPr vert="horz" wrap="square" lIns="0" tIns="91440" rIns="0" bIns="91440" rtlCol="0" anchor="t">
            <a:noAutofit/>
          </a:bodyPr>
          <a:lstStyle>
            <a:lvl1pPr defTabSz="914367">
              <a:lnSpc>
                <a:spcPct val="90000"/>
              </a:lnSpc>
              <a:spcBef>
                <a:spcPct val="0"/>
              </a:spcBef>
              <a:buNone/>
              <a:defRPr lang="en-US" sz="5294" b="0" cap="none" spc="-100" baseline="0" dirty="0" smtClean="0">
                <a:ln w="3175">
                  <a:noFill/>
                </a:ln>
                <a:solidFill>
                  <a:schemeClr val="tx2"/>
                </a:solidFill>
                <a:effectLst/>
                <a:latin typeface="+mj-lt"/>
                <a:cs typeface="Segoe UI" pitchFamily="34" charset="0"/>
              </a:defRPr>
            </a:lvl1pPr>
          </a:lstStyle>
          <a:p>
            <a:pPr marL="168275" marR="0" lvl="0" indent="0" algn="l" defTabSz="914367" rtl="0" eaLnBrk="1" fontAlgn="auto" latinLnBrk="0" hangingPunct="1">
              <a:lnSpc>
                <a:spcPct val="90000"/>
              </a:lnSpc>
              <a:spcBef>
                <a:spcPct val="0"/>
              </a:spcBef>
              <a:spcAft>
                <a:spcPts val="0"/>
              </a:spcAft>
              <a:buClrTx/>
              <a:buSzTx/>
              <a:buFontTx/>
              <a:buNone/>
              <a:tabLst/>
              <a:defRPr/>
            </a:pPr>
            <a:r>
              <a:rPr kumimoji="0" lang="en-US" sz="3600" b="0" i="0" u="none" strike="noStrike" kern="1200" cap="none" spc="-100" normalizeH="0" baseline="0" noProof="0">
                <a:ln w="3175">
                  <a:noFill/>
                </a:ln>
                <a:solidFill>
                  <a:prstClr val="black"/>
                </a:solidFill>
                <a:effectLst/>
                <a:uLnTx/>
                <a:uFillTx/>
                <a:latin typeface="Segoe UI Light"/>
                <a:ea typeface="+mn-ea"/>
                <a:cs typeface="Segoe UI" pitchFamily="34" charset="0"/>
              </a:rPr>
              <a:t>Creating a Data Model</a:t>
            </a:r>
            <a:endParaRPr kumimoji="0" lang="en-IN" sz="3600" b="0" i="0" u="none" strike="noStrike" kern="1200" cap="none" spc="-100" normalizeH="0" baseline="0" noProof="0">
              <a:ln w="3175">
                <a:noFill/>
              </a:ln>
              <a:solidFill>
                <a:prstClr val="black"/>
              </a:solidFill>
              <a:effectLst/>
              <a:uLnTx/>
              <a:uFillTx/>
              <a:latin typeface="Segoe UI Light"/>
              <a:ea typeface="+mn-ea"/>
              <a:cs typeface="Segoe UI" pitchFamily="34" charset="0"/>
            </a:endParaRPr>
          </a:p>
        </p:txBody>
      </p:sp>
      <p:sp>
        <p:nvSpPr>
          <p:cNvPr id="40" name="TextBox 39"/>
          <p:cNvSpPr txBox="1"/>
          <p:nvPr/>
        </p:nvSpPr>
        <p:spPr>
          <a:xfrm>
            <a:off x="3" y="51415"/>
            <a:ext cx="2849058" cy="430887"/>
          </a:xfrm>
          <a:prstGeom prst="rect">
            <a:avLst/>
          </a:prstGeom>
        </p:spPr>
        <p:txBody>
          <a:bodyPr wrap="square">
            <a:spAutoFit/>
          </a:bodyPr>
          <a:lstStyle>
            <a:defPPr>
              <a:defRPr lang="en-US"/>
            </a:defPPr>
            <a:lvl1pPr defTabSz="914192">
              <a:defRPr sz="2800" b="1" spc="-100">
                <a:ln w="3175">
                  <a:noFill/>
                </a:ln>
                <a:solidFill>
                  <a:srgbClr val="F2C812"/>
                </a:solidFill>
                <a:latin typeface="Segoe UI" panose="020B0502040204020203" pitchFamily="34" charset="0"/>
                <a:ea typeface="ＭＳ Ｐゴシック" charset="0"/>
                <a:cs typeface="Segoe UI" panose="020B0502040204020203" pitchFamily="34" charset="0"/>
              </a:defRPr>
            </a:lvl1pPr>
          </a:lstStyle>
          <a:p>
            <a:pPr marL="0" marR="0" lvl="0" indent="0" algn="l" defTabSz="914192" rtl="0" eaLnBrk="1" fontAlgn="auto" latinLnBrk="0" hangingPunct="1">
              <a:lnSpc>
                <a:spcPct val="100000"/>
              </a:lnSpc>
              <a:spcBef>
                <a:spcPts val="0"/>
              </a:spcBef>
              <a:spcAft>
                <a:spcPts val="0"/>
              </a:spcAft>
              <a:buClrTx/>
              <a:buSzTx/>
              <a:buFontTx/>
              <a:buNone/>
              <a:tabLst/>
              <a:defRPr/>
            </a:pPr>
            <a:r>
              <a:rPr kumimoji="0" lang="en-US" sz="2200" b="1" i="0" u="none" strike="noStrike" kern="1200" cap="none" spc="-100" normalizeH="0" baseline="0" noProof="0">
                <a:ln w="3175">
                  <a:noFill/>
                </a:ln>
                <a:solidFill>
                  <a:srgbClr val="F2C812"/>
                </a:solidFill>
                <a:effectLst/>
                <a:uLnTx/>
                <a:uFillTx/>
                <a:latin typeface="Segoe UI Light"/>
                <a:ea typeface="ＭＳ Ｐゴシック" charset="0"/>
                <a:cs typeface="Segoe UI" panose="020B0502040204020203" pitchFamily="34" charset="0"/>
              </a:rPr>
              <a:t>Power BI Desktop</a:t>
            </a:r>
          </a:p>
        </p:txBody>
      </p:sp>
      <p:sp>
        <p:nvSpPr>
          <p:cNvPr id="36" name="Rectangle 3"/>
          <p:cNvSpPr/>
          <p:nvPr/>
        </p:nvSpPr>
        <p:spPr bwMode="auto">
          <a:xfrm>
            <a:off x="3202216" y="665151"/>
            <a:ext cx="8105312" cy="44435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PT" sz="2000" b="0" i="1" u="none" strike="noStrike" kern="1200" cap="none" spc="0" normalizeH="0" baseline="0" noProof="0">
                <a:ln>
                  <a:noFill/>
                </a:ln>
                <a:solidFill>
                  <a:prstClr val="black"/>
                </a:solidFill>
                <a:effectLst/>
                <a:uLnTx/>
                <a:uFillTx/>
                <a:latin typeface="Segoe UI Light"/>
                <a:ea typeface="+mn-ea"/>
                <a:cs typeface="+mn-cs"/>
              </a:rPr>
              <a:t>Data Categorization</a:t>
            </a:r>
            <a:endParaRPr kumimoji="0" lang="en-US" sz="2000" b="0" i="1" u="none" strike="noStrike" kern="1200" cap="none" spc="0" normalizeH="0" baseline="0" noProof="0">
              <a:ln>
                <a:noFill/>
              </a:ln>
              <a:solidFill>
                <a:prstClr val="black"/>
              </a:solidFill>
              <a:effectLst/>
              <a:uLnTx/>
              <a:uFillTx/>
              <a:latin typeface="Segoe UI Light"/>
              <a:ea typeface="+mn-ea"/>
              <a:cs typeface="+mn-cs"/>
            </a:endParaRPr>
          </a:p>
        </p:txBody>
      </p:sp>
      <p:sp>
        <p:nvSpPr>
          <p:cNvPr id="35" name="Text Placeholder 2"/>
          <p:cNvSpPr txBox="1">
            <a:spLocks/>
          </p:cNvSpPr>
          <p:nvPr/>
        </p:nvSpPr>
        <p:spPr>
          <a:xfrm>
            <a:off x="2886854" y="1395122"/>
            <a:ext cx="6595283" cy="5312307"/>
          </a:xfrm>
          <a:prstGeom prst="rect">
            <a:avLst/>
          </a:prstGeom>
        </p:spPr>
        <p:txBody>
          <a:bodyPr vert="horz" wrap="square" lIns="182880" tIns="146304" rIns="182880" bIns="146304" rtlCol="0">
            <a:noAutofit/>
          </a:bodyPr>
          <a:lstStyle>
            <a:lvl1pPr marL="182845" marR="0"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3921" kern="1200" spc="0" baseline="0">
                <a:gradFill>
                  <a:gsLst>
                    <a:gs pos="1250">
                      <a:schemeClr val="tx2"/>
                    </a:gs>
                    <a:gs pos="99000">
                      <a:schemeClr val="tx2"/>
                    </a:gs>
                  </a:gsLst>
                  <a:lin ang="5400000" scaled="0"/>
                </a:gradFill>
                <a:latin typeface="+mj-lt"/>
                <a:ea typeface="+mn-ea"/>
                <a:cs typeface="+mn-cs"/>
              </a:defRPr>
            </a:lvl1pPr>
            <a:lvl2pPr marL="365690" marR="0"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2400" kern="1200" spc="0" baseline="0">
                <a:solidFill>
                  <a:schemeClr val="tx2"/>
                </a:solidFill>
                <a:latin typeface="+mj-lt"/>
                <a:ea typeface="+mn-ea"/>
                <a:cs typeface="+mn-cs"/>
              </a:defRPr>
            </a:lvl2pPr>
            <a:lvl3pPr marL="548535" marR="0"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2000" kern="1200" spc="0" baseline="0">
                <a:solidFill>
                  <a:schemeClr val="tx2"/>
                </a:solidFill>
                <a:latin typeface="+mj-lt"/>
                <a:ea typeface="+mn-ea"/>
                <a:cs typeface="+mn-cs"/>
              </a:defRPr>
            </a:lvl3pPr>
            <a:lvl4pPr marL="733802" marR="0" indent="-28569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1765" kern="1200" spc="0" baseline="0">
                <a:solidFill>
                  <a:schemeClr val="tx2"/>
                </a:solidFill>
                <a:latin typeface="+mn-lt"/>
                <a:ea typeface="+mn-ea"/>
                <a:cs typeface="+mn-cs"/>
              </a:defRPr>
            </a:lvl4pPr>
            <a:lvl5pPr marL="957856" marR="0" indent="-28569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1765" kern="1200" spc="0" baseline="0">
                <a:solidFill>
                  <a:schemeClr val="tx2"/>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r>
              <a:rPr kumimoji="0" lang="pt-PT" sz="2400" b="0" i="0" u="none" strike="noStrike" kern="1200" cap="none" spc="0" normalizeH="0" baseline="0" noProof="0">
                <a:ln>
                  <a:noFill/>
                </a:ln>
                <a:solidFill>
                  <a:prstClr val="black"/>
                </a:solidFill>
                <a:effectLst/>
                <a:uLnTx/>
                <a:uFillTx/>
                <a:latin typeface="Segoe UI Light"/>
                <a:ea typeface="Calibri" panose="020F0502020204030204" pitchFamily="34" charset="0"/>
                <a:cs typeface="Times New Roman" panose="02020603050405020304" pitchFamily="18" charset="0"/>
              </a:rPr>
              <a:t>Categorizing fields is </a:t>
            </a:r>
            <a:r>
              <a:rPr kumimoji="0" lang="pt-PT" sz="2400" b="1" i="0" u="none" strike="noStrike" kern="1200" cap="none" spc="0" normalizeH="0" baseline="0" noProof="0">
                <a:ln>
                  <a:noFill/>
                </a:ln>
                <a:solidFill>
                  <a:prstClr val="black"/>
                </a:solidFill>
                <a:effectLst/>
                <a:uLnTx/>
                <a:uFillTx/>
                <a:latin typeface="Segoe UI Light"/>
                <a:ea typeface="Calibri" panose="020F0502020204030204" pitchFamily="34" charset="0"/>
                <a:cs typeface="Times New Roman" panose="02020603050405020304" pitchFamily="18" charset="0"/>
              </a:rPr>
              <a:t>relevant</a:t>
            </a:r>
            <a:r>
              <a:rPr kumimoji="0" lang="pt-PT" sz="2400" b="0" i="0" u="none" strike="noStrike" kern="1200" cap="none" spc="0" normalizeH="0" baseline="0" noProof="0">
                <a:ln>
                  <a:noFill/>
                </a:ln>
                <a:solidFill>
                  <a:prstClr val="black"/>
                </a:solidFill>
                <a:effectLst/>
                <a:uLnTx/>
                <a:uFillTx/>
                <a:latin typeface="Segoe UI Light"/>
                <a:ea typeface="Calibri" panose="020F0502020204030204" pitchFamily="34" charset="0"/>
                <a:cs typeface="Times New Roman" panose="02020603050405020304" pitchFamily="18" charset="0"/>
              </a:rPr>
              <a:t> for </a:t>
            </a:r>
            <a:r>
              <a:rPr kumimoji="0" lang="pt-PT" sz="2400" b="1" i="0" u="none" strike="noStrike" kern="1200" cap="none" spc="0" normalizeH="0" baseline="0" noProof="0">
                <a:ln>
                  <a:noFill/>
                </a:ln>
                <a:solidFill>
                  <a:prstClr val="black"/>
                </a:solidFill>
                <a:effectLst/>
                <a:uLnTx/>
                <a:uFillTx/>
                <a:latin typeface="Segoe UI Light"/>
                <a:ea typeface="Calibri" panose="020F0502020204030204" pitchFamily="34" charset="0"/>
                <a:cs typeface="Times New Roman" panose="02020603050405020304" pitchFamily="18" charset="0"/>
              </a:rPr>
              <a:t>geographical</a:t>
            </a:r>
            <a:r>
              <a:rPr kumimoji="0" lang="pt-PT" sz="2400" b="0" i="0" u="none" strike="noStrike" kern="1200" cap="none" spc="0" normalizeH="0" baseline="0" noProof="0">
                <a:ln>
                  <a:noFill/>
                </a:ln>
                <a:solidFill>
                  <a:prstClr val="black"/>
                </a:solidFill>
                <a:effectLst/>
                <a:uLnTx/>
                <a:uFillTx/>
                <a:latin typeface="Segoe UI Light"/>
                <a:ea typeface="Calibri" panose="020F0502020204030204" pitchFamily="34" charset="0"/>
                <a:cs typeface="Times New Roman" panose="02020603050405020304" pitchFamily="18" charset="0"/>
              </a:rPr>
              <a:t> fields or for </a:t>
            </a:r>
            <a:r>
              <a:rPr kumimoji="0" lang="pt-PT" sz="2400" b="1" i="0" u="none" strike="noStrike" kern="1200" cap="none" spc="0" normalizeH="0" baseline="0" noProof="0">
                <a:ln>
                  <a:noFill/>
                </a:ln>
                <a:solidFill>
                  <a:prstClr val="black"/>
                </a:solidFill>
                <a:effectLst/>
                <a:uLnTx/>
                <a:uFillTx/>
                <a:latin typeface="Segoe UI Light"/>
                <a:ea typeface="Calibri" panose="020F0502020204030204" pitchFamily="34" charset="0"/>
                <a:cs typeface="Times New Roman" panose="02020603050405020304" pitchFamily="18" charset="0"/>
              </a:rPr>
              <a:t>image</a:t>
            </a:r>
            <a:r>
              <a:rPr kumimoji="0" lang="pt-PT" sz="2400" b="0" i="0" u="none" strike="noStrike" kern="1200" cap="none" spc="0" normalizeH="0" baseline="0" noProof="0">
                <a:ln>
                  <a:noFill/>
                </a:ln>
                <a:solidFill>
                  <a:prstClr val="black"/>
                </a:solidFill>
                <a:effectLst/>
                <a:uLnTx/>
                <a:uFillTx/>
                <a:latin typeface="Segoe UI Light"/>
                <a:ea typeface="Calibri" panose="020F0502020204030204" pitchFamily="34" charset="0"/>
                <a:cs typeface="Times New Roman" panose="02020603050405020304" pitchFamily="18" charset="0"/>
              </a:rPr>
              <a:t> or </a:t>
            </a:r>
            <a:r>
              <a:rPr kumimoji="0" lang="pt-PT" sz="2400" b="1" i="0" u="none" strike="noStrike" kern="1200" cap="none" spc="0" normalizeH="0" baseline="0" noProof="0">
                <a:ln>
                  <a:noFill/>
                </a:ln>
                <a:solidFill>
                  <a:prstClr val="black"/>
                </a:solidFill>
                <a:effectLst/>
                <a:uLnTx/>
                <a:uFillTx/>
                <a:latin typeface="Segoe UI Light"/>
                <a:ea typeface="Calibri" panose="020F0502020204030204" pitchFamily="34" charset="0"/>
                <a:cs typeface="Times New Roman" panose="02020603050405020304" pitchFamily="18" charset="0"/>
              </a:rPr>
              <a:t>URL</a:t>
            </a:r>
            <a:r>
              <a:rPr kumimoji="0" lang="pt-PT" sz="2400" b="0" i="0" u="none" strike="noStrike" kern="1200" cap="none" spc="0" normalizeH="0" baseline="0" noProof="0">
                <a:ln>
                  <a:noFill/>
                </a:ln>
                <a:solidFill>
                  <a:prstClr val="black"/>
                </a:solidFill>
                <a:effectLst/>
                <a:uLnTx/>
                <a:uFillTx/>
                <a:latin typeface="Segoe UI Light"/>
                <a:ea typeface="Calibri" panose="020F0502020204030204" pitchFamily="34" charset="0"/>
                <a:cs typeface="Times New Roman" panose="02020603050405020304" pitchFamily="18" charset="0"/>
              </a:rPr>
              <a:t> fields</a:t>
            </a: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pt-PT" sz="2400" b="0" i="0" u="none" strike="noStrike" kern="1200" cap="none" spc="0" normalizeH="0" baseline="0" noProof="0">
              <a:ln>
                <a:noFill/>
              </a:ln>
              <a:solidFill>
                <a:prstClr val="black"/>
              </a:solidFill>
              <a:effectLst/>
              <a:uLnTx/>
              <a:uFillTx/>
              <a:latin typeface="Segoe UI Light"/>
              <a:ea typeface="Calibri" panose="020F0502020204030204" pitchFamily="34" charset="0"/>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pt-PT" sz="2400" b="0" i="0" u="none" strike="noStrike" kern="1200" cap="none" spc="0" normalizeH="0" baseline="0" noProof="0">
              <a:ln>
                <a:noFill/>
              </a:ln>
              <a:solidFill>
                <a:prstClr val="black"/>
              </a:solidFill>
              <a:effectLst/>
              <a:uLnTx/>
              <a:uFillTx/>
              <a:latin typeface="Segoe UI Light"/>
              <a:ea typeface="Calibri" panose="020F0502020204030204" pitchFamily="34" charset="0"/>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pt-PT" sz="2400" b="0" i="0" u="none" strike="noStrike" kern="1200" cap="none" spc="0" normalizeH="0" baseline="0" noProof="0">
              <a:ln>
                <a:noFill/>
              </a:ln>
              <a:solidFill>
                <a:prstClr val="black"/>
              </a:solidFill>
              <a:effectLst/>
              <a:uLnTx/>
              <a:uFillTx/>
              <a:latin typeface="Segoe UI Light"/>
              <a:ea typeface="Calibri" panose="020F0502020204030204" pitchFamily="34" charset="0"/>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pt-PT" sz="2400" b="0" i="0" u="none" strike="noStrike" kern="1200" cap="none" spc="0" normalizeH="0" baseline="0" noProof="0">
              <a:ln>
                <a:noFill/>
              </a:ln>
              <a:solidFill>
                <a:prstClr val="black"/>
              </a:solidFill>
              <a:effectLst/>
              <a:uLnTx/>
              <a:uFillTx/>
              <a:latin typeface="Segoe UI Light"/>
              <a:ea typeface="Calibri" panose="020F0502020204030204" pitchFamily="34" charset="0"/>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pt-PT" sz="2400" b="0" i="0" u="none" strike="noStrike" kern="1200" cap="none" spc="0" normalizeH="0" baseline="0" noProof="0">
              <a:ln>
                <a:noFill/>
              </a:ln>
              <a:solidFill>
                <a:prstClr val="black"/>
              </a:solidFill>
              <a:effectLst/>
              <a:uLnTx/>
              <a:uFillTx/>
              <a:latin typeface="Segoe UI Light"/>
              <a:ea typeface="Calibri" panose="020F0502020204030204" pitchFamily="34" charset="0"/>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r>
              <a:rPr kumimoji="0" lang="pt-PT" sz="2400" b="0" i="0" u="none" strike="noStrike" kern="1200" cap="none" spc="0" normalizeH="0" baseline="0" noProof="0">
                <a:ln>
                  <a:noFill/>
                </a:ln>
                <a:solidFill>
                  <a:prstClr val="black"/>
                </a:solidFill>
                <a:effectLst/>
                <a:uLnTx/>
                <a:uFillTx/>
                <a:latin typeface="Segoe UI Light"/>
                <a:ea typeface="Calibri" panose="020F0502020204030204" pitchFamily="34" charset="0"/>
                <a:cs typeface="Times New Roman" panose="02020603050405020304" pitchFamily="18" charset="0"/>
              </a:rPr>
              <a:t>In the </a:t>
            </a:r>
            <a:r>
              <a:rPr kumimoji="0" lang="en-US" sz="2400" b="0" i="0" u="none" strike="noStrike" kern="1200" cap="none" spc="0" normalizeH="0" baseline="0" noProof="0">
                <a:ln>
                  <a:noFill/>
                </a:ln>
                <a:solidFill>
                  <a:prstClr val="black"/>
                </a:solidFill>
                <a:effectLst/>
                <a:uLnTx/>
                <a:uFillTx/>
                <a:latin typeface="Segoe UI Light"/>
                <a:ea typeface="Calibri" panose="020F0502020204030204" pitchFamily="34" charset="0"/>
                <a:cs typeface="Times New Roman" panose="02020603050405020304" pitchFamily="18" charset="0"/>
              </a:rPr>
              <a:t>modeling</a:t>
            </a:r>
            <a:r>
              <a:rPr kumimoji="0" lang="pt-PT" sz="2400" b="0" i="0" u="none" strike="noStrike" kern="1200" cap="none" spc="0" normalizeH="0" baseline="0" noProof="0">
                <a:ln>
                  <a:noFill/>
                </a:ln>
                <a:solidFill>
                  <a:prstClr val="black"/>
                </a:solidFill>
                <a:effectLst/>
                <a:uLnTx/>
                <a:uFillTx/>
                <a:latin typeface="Segoe UI Light"/>
                <a:ea typeface="Calibri" panose="020F0502020204030204" pitchFamily="34" charset="0"/>
                <a:cs typeface="Times New Roman" panose="02020603050405020304" pitchFamily="18" charset="0"/>
              </a:rPr>
              <a:t> tab a field can be classified at a certain </a:t>
            </a:r>
            <a:r>
              <a:rPr kumimoji="0" lang="pt-PT" sz="2400" b="1" i="0" u="none" strike="noStrike" kern="1200" cap="none" spc="0" normalizeH="0" baseline="0" noProof="0">
                <a:ln>
                  <a:noFill/>
                </a:ln>
                <a:solidFill>
                  <a:prstClr val="black"/>
                </a:solidFill>
                <a:effectLst/>
                <a:uLnTx/>
                <a:uFillTx/>
                <a:latin typeface="Segoe UI Light"/>
                <a:ea typeface="Calibri" panose="020F0502020204030204" pitchFamily="34" charset="0"/>
                <a:cs typeface="Times New Roman" panose="02020603050405020304" pitchFamily="18" charset="0"/>
              </a:rPr>
              <a:t>geographical</a:t>
            </a:r>
            <a:r>
              <a:rPr kumimoji="0" lang="pt-PT" sz="2400" b="0" i="0" u="none" strike="noStrike" kern="1200" cap="none" spc="0" normalizeH="0" baseline="0" noProof="0">
                <a:ln>
                  <a:noFill/>
                </a:ln>
                <a:solidFill>
                  <a:prstClr val="black"/>
                </a:solidFill>
                <a:effectLst/>
                <a:uLnTx/>
                <a:uFillTx/>
                <a:latin typeface="Segoe UI Light"/>
                <a:ea typeface="Calibri" panose="020F0502020204030204" pitchFamily="34" charset="0"/>
                <a:cs typeface="Times New Roman" panose="02020603050405020304" pitchFamily="18" charset="0"/>
              </a:rPr>
              <a:t> granularity or as an </a:t>
            </a:r>
            <a:r>
              <a:rPr kumimoji="0" lang="pt-PT" sz="2400" b="1" i="0" u="none" strike="noStrike" kern="1200" cap="none" spc="0" normalizeH="0" baseline="0" noProof="0">
                <a:ln>
                  <a:noFill/>
                </a:ln>
                <a:solidFill>
                  <a:prstClr val="black"/>
                </a:solidFill>
                <a:effectLst/>
                <a:uLnTx/>
                <a:uFillTx/>
                <a:latin typeface="Segoe UI Light"/>
                <a:ea typeface="Calibri" panose="020F0502020204030204" pitchFamily="34" charset="0"/>
                <a:cs typeface="Times New Roman" panose="02020603050405020304" pitchFamily="18" charset="0"/>
              </a:rPr>
              <a:t>image that comes from an URL </a:t>
            </a:r>
            <a:r>
              <a:rPr kumimoji="0" lang="pt-PT" sz="2400" b="0" i="0" u="none" strike="noStrike" kern="1200" cap="none" spc="0" normalizeH="0" baseline="0" noProof="0">
                <a:ln>
                  <a:noFill/>
                </a:ln>
                <a:solidFill>
                  <a:prstClr val="black"/>
                </a:solidFill>
                <a:effectLst/>
                <a:uLnTx/>
                <a:uFillTx/>
                <a:latin typeface="Segoe UI Light"/>
                <a:ea typeface="Calibri" panose="020F0502020204030204" pitchFamily="34" charset="0"/>
                <a:cs typeface="Times New Roman" panose="02020603050405020304" pitchFamily="18" charset="0"/>
              </a:rPr>
              <a:t>or a text field which is actually an </a:t>
            </a:r>
            <a:r>
              <a:rPr kumimoji="0" lang="pt-PT" sz="2400" b="1" i="0" u="none" strike="noStrike" kern="1200" cap="none" spc="0" normalizeH="0" baseline="0" noProof="0">
                <a:ln>
                  <a:noFill/>
                </a:ln>
                <a:solidFill>
                  <a:prstClr val="black"/>
                </a:solidFill>
                <a:effectLst/>
                <a:uLnTx/>
                <a:uFillTx/>
                <a:latin typeface="Segoe UI Light"/>
                <a:ea typeface="Calibri" panose="020F0502020204030204" pitchFamily="34" charset="0"/>
                <a:cs typeface="Times New Roman" panose="02020603050405020304" pitchFamily="18" charset="0"/>
              </a:rPr>
              <a:t>URL</a:t>
            </a:r>
            <a:r>
              <a:rPr kumimoji="0" lang="pt-PT" sz="2400" b="0" i="0" u="none" strike="noStrike" kern="1200" cap="none" spc="0" normalizeH="0" baseline="0" noProof="0">
                <a:ln>
                  <a:noFill/>
                </a:ln>
                <a:solidFill>
                  <a:prstClr val="black"/>
                </a:solidFill>
                <a:effectLst/>
                <a:uLnTx/>
                <a:uFillTx/>
                <a:latin typeface="Segoe UI Light"/>
                <a:ea typeface="Calibri" panose="020F0502020204030204" pitchFamily="34" charset="0"/>
                <a:cs typeface="Times New Roman" panose="02020603050405020304" pitchFamily="18" charset="0"/>
              </a:rPr>
              <a:t>.</a:t>
            </a: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pt-PT" sz="2400" b="0" i="0" u="none" strike="noStrike" kern="1200" cap="none" spc="0" normalizeH="0" baseline="0" noProof="0">
              <a:ln>
                <a:noFill/>
              </a:ln>
              <a:solidFill>
                <a:prstClr val="black"/>
              </a:solidFill>
              <a:effectLst/>
              <a:uLnTx/>
              <a:uFillTx/>
              <a:latin typeface="Segoe UI Light"/>
              <a:ea typeface="Calibri" panose="020F0502020204030204" pitchFamily="34" charset="0"/>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r>
              <a:rPr kumimoji="0" lang="pt-PT" sz="2400" b="0" i="0" u="none" strike="noStrike" kern="1200" cap="none" spc="0" normalizeH="0" baseline="0" noProof="0">
                <a:ln>
                  <a:noFill/>
                </a:ln>
                <a:solidFill>
                  <a:prstClr val="black"/>
                </a:solidFill>
                <a:effectLst/>
                <a:uLnTx/>
                <a:uFillTx/>
                <a:latin typeface="Segoe UI Light"/>
                <a:ea typeface="Calibri" panose="020F0502020204030204" pitchFamily="34" charset="0"/>
                <a:cs typeface="Times New Roman" panose="02020603050405020304" pitchFamily="18" charset="0"/>
              </a:rPr>
              <a:t>Power BI desktop will </a:t>
            </a:r>
            <a:r>
              <a:rPr kumimoji="0" lang="pt-PT" sz="2400" b="1" i="0" u="none" strike="noStrike" kern="1200" cap="none" spc="0" normalizeH="0" baseline="0" noProof="0">
                <a:ln>
                  <a:noFill/>
                </a:ln>
                <a:solidFill>
                  <a:prstClr val="black"/>
                </a:solidFill>
                <a:effectLst/>
                <a:uLnTx/>
                <a:uFillTx/>
                <a:latin typeface="Segoe UI Light"/>
                <a:ea typeface="Calibri" panose="020F0502020204030204" pitchFamily="34" charset="0"/>
                <a:cs typeface="Times New Roman" panose="02020603050405020304" pitchFamily="18" charset="0"/>
              </a:rPr>
              <a:t>render data based on this categorization</a:t>
            </a:r>
            <a:endParaRPr kumimoji="0" lang="en-US" sz="2400" b="1" i="0" u="none" strike="noStrike" kern="1200" cap="none" spc="0" normalizeH="0" baseline="0" noProof="0">
              <a:ln>
                <a:noFill/>
              </a:ln>
              <a:solidFill>
                <a:prstClr val="black"/>
              </a:solidFill>
              <a:effectLst/>
              <a:uLnTx/>
              <a:uFillTx/>
              <a:latin typeface="Segoe UI Light"/>
              <a:ea typeface="Calibri" panose="020F0502020204030204" pitchFamily="34" charset="0"/>
              <a:cs typeface="Times New Roman" panose="02020603050405020304" pitchFamily="18" charset="0"/>
            </a:endParaRPr>
          </a:p>
        </p:txBody>
      </p:sp>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490259" y="2743598"/>
            <a:ext cx="2085714" cy="1152381"/>
          </a:xfrm>
          <a:prstGeom prst="rect">
            <a:avLst/>
          </a:prstGeom>
          <a:ln>
            <a:noFill/>
          </a:ln>
          <a:effectLst>
            <a:outerShdw blurRad="190500" algn="tl" rotWithShape="0">
              <a:srgbClr val="000000">
                <a:alpha val="70000"/>
              </a:srgbClr>
            </a:outerShdw>
          </a:effectLst>
        </p:spPr>
      </p:pic>
      <p:pic>
        <p:nvPicPr>
          <p:cNvPr id="3" name="Picture 2"/>
          <p:cNvPicPr>
            <a:picLocks noChangeAspect="1"/>
          </p:cNvPicPr>
          <p:nvPr/>
        </p:nvPicPr>
        <p:blipFill>
          <a:blip r:embed="rId4"/>
          <a:stretch>
            <a:fillRect/>
          </a:stretch>
        </p:blipFill>
        <p:spPr>
          <a:xfrm>
            <a:off x="9696450" y="2474759"/>
            <a:ext cx="1943100" cy="3962400"/>
          </a:xfrm>
          <a:prstGeom prst="rect">
            <a:avLst/>
          </a:prstGeom>
          <a:ln>
            <a:noFill/>
          </a:ln>
          <a:effectLst>
            <a:outerShdw blurRad="190500" algn="tl" rotWithShape="0">
              <a:srgbClr val="000000">
                <a:alpha val="70000"/>
              </a:srgbClr>
            </a:outerShdw>
          </a:effectLst>
        </p:spPr>
      </p:pic>
      <p:sp>
        <p:nvSpPr>
          <p:cNvPr id="5" name="TextBox 4"/>
          <p:cNvSpPr txBox="1"/>
          <p:nvPr/>
        </p:nvSpPr>
        <p:spPr>
          <a:xfrm>
            <a:off x="5606051" y="2724878"/>
            <a:ext cx="3297642" cy="1557349"/>
          </a:xfrm>
          <a:prstGeom prst="rect">
            <a:avLst/>
          </a:prstGeom>
          <a:noFill/>
        </p:spPr>
        <p:txBody>
          <a:bodyPr wrap="square" lIns="182880" tIns="146304" rIns="182880" bIns="146304" rtlCol="0">
            <a:spAutoFit/>
          </a:bodyPr>
          <a:lstStyle/>
          <a:p>
            <a:pPr marL="0" marR="0" lvl="1" indent="0" algn="l" defTabSz="914400" rtl="0" eaLnBrk="1" fontAlgn="auto" latinLnBrk="0" hangingPunct="1">
              <a:lnSpc>
                <a:spcPct val="90000"/>
              </a:lnSpc>
              <a:spcBef>
                <a:spcPts val="0"/>
              </a:spcBef>
              <a:spcAft>
                <a:spcPts val="600"/>
              </a:spcAft>
              <a:buClrTx/>
              <a:buSzTx/>
              <a:buFontTx/>
              <a:buNone/>
              <a:tabLst/>
              <a:defRPr/>
            </a:pPr>
            <a:r>
              <a:rPr kumimoji="0" lang="pt-PT" sz="1600" b="0" i="0" u="none" strike="noStrike" kern="1200" cap="none" spc="0" normalizeH="0" baseline="0" noProof="0">
                <a:ln>
                  <a:noFill/>
                </a:ln>
                <a:solidFill>
                  <a:prstClr val="black"/>
                </a:solidFill>
                <a:effectLst/>
                <a:uLnTx/>
                <a:uFillTx/>
                <a:latin typeface="Segoe UI Light"/>
                <a:ea typeface="Calibri" panose="020F0502020204030204" pitchFamily="34" charset="0"/>
                <a:cs typeface="Times New Roman" panose="02020603050405020304" pitchFamily="18" charset="0"/>
              </a:rPr>
              <a:t>Am I seeing country sales or US states’ sales? </a:t>
            </a:r>
          </a:p>
          <a:p>
            <a:pPr marL="0" marR="0" lvl="1" indent="0" algn="l" defTabSz="914400" rtl="0" eaLnBrk="1" fontAlgn="auto" latinLnBrk="0" hangingPunct="1">
              <a:lnSpc>
                <a:spcPct val="90000"/>
              </a:lnSpc>
              <a:spcBef>
                <a:spcPts val="0"/>
              </a:spcBef>
              <a:spcAft>
                <a:spcPts val="600"/>
              </a:spcAft>
              <a:buClrTx/>
              <a:buSzTx/>
              <a:buFontTx/>
              <a:buNone/>
              <a:tabLst/>
              <a:defRPr/>
            </a:pPr>
            <a:r>
              <a:rPr kumimoji="0" lang="pt-PT" sz="1600" b="0" i="0" u="none" strike="noStrike" kern="1200" cap="none" spc="0" normalizeH="0" baseline="0" noProof="0">
                <a:ln>
                  <a:noFill/>
                </a:ln>
                <a:solidFill>
                  <a:prstClr val="black"/>
                </a:solidFill>
                <a:effectLst/>
                <a:uLnTx/>
                <a:uFillTx/>
                <a:latin typeface="Segoe UI Light"/>
                <a:ea typeface="Calibri" panose="020F0502020204030204" pitchFamily="34" charset="0"/>
                <a:cs typeface="Times New Roman" panose="02020603050405020304" pitchFamily="18" charset="0"/>
              </a:rPr>
              <a:t>Is AL, Albania or Alabama? Or, is AR, Argentina or Arkansas?</a:t>
            </a:r>
          </a:p>
          <a:p>
            <a:pPr marL="0" marR="0" lvl="0" indent="0" algn="l" defTabSz="914400" rtl="0" eaLnBrk="1" fontAlgn="auto" latinLnBrk="0" hangingPunct="1">
              <a:lnSpc>
                <a:spcPct val="90000"/>
              </a:lnSpc>
              <a:spcBef>
                <a:spcPts val="0"/>
              </a:spcBef>
              <a:spcAft>
                <a:spcPts val="60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Segoe UI Light"/>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17857938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168442" y="52742"/>
            <a:ext cx="9885055" cy="646331"/>
          </a:xfrm>
          <a:prstGeom prst="rect">
            <a:avLst/>
          </a:prstGeom>
          <a:noFill/>
        </p:spPr>
        <p:txBody>
          <a:bodyPr wrap="square" rtlCol="0">
            <a:spAutoFit/>
          </a:bodyPr>
          <a:lstStyle/>
          <a:p>
            <a:r>
              <a:rPr lang="en-IN" sz="3600" spc="-100">
                <a:ln w="3175">
                  <a:noFill/>
                </a:ln>
                <a:solidFill>
                  <a:srgbClr val="000000"/>
                </a:solidFill>
                <a:latin typeface="Segoe UI Light"/>
                <a:cs typeface="Segoe UI" pitchFamily="34" charset="0"/>
              </a:rPr>
              <a:t>Power BI Overview</a:t>
            </a:r>
          </a:p>
        </p:txBody>
      </p:sp>
      <p:sp>
        <p:nvSpPr>
          <p:cNvPr id="65" name="Flowchart: Process 64"/>
          <p:cNvSpPr/>
          <p:nvPr/>
        </p:nvSpPr>
        <p:spPr bwMode="auto">
          <a:xfrm>
            <a:off x="391418" y="1577067"/>
            <a:ext cx="3552200" cy="4583909"/>
          </a:xfrm>
          <a:prstGeom prst="flowChartProcess">
            <a:avLst/>
          </a:prstGeom>
          <a:solidFill>
            <a:srgbClr val="EDC30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solidFill>
                <a:srgbClr val="000000"/>
              </a:solidFill>
              <a:ea typeface="Segoe UI" pitchFamily="34" charset="0"/>
              <a:cs typeface="Segoe UI" pitchFamily="34" charset="0"/>
            </a:endParaRPr>
          </a:p>
        </p:txBody>
      </p:sp>
      <p:sp>
        <p:nvSpPr>
          <p:cNvPr id="66" name="Rectangle 65"/>
          <p:cNvSpPr/>
          <p:nvPr/>
        </p:nvSpPr>
        <p:spPr bwMode="auto">
          <a:xfrm>
            <a:off x="391416" y="1577068"/>
            <a:ext cx="11409165" cy="4583909"/>
          </a:xfrm>
          <a:prstGeom prst="rect">
            <a:avLst/>
          </a:prstGeom>
          <a:noFill/>
          <a:ln w="3175">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68" name="Rectangle 67"/>
          <p:cNvSpPr/>
          <p:nvPr/>
        </p:nvSpPr>
        <p:spPr>
          <a:xfrm>
            <a:off x="751805" y="1704548"/>
            <a:ext cx="1692204" cy="400110"/>
          </a:xfrm>
          <a:prstGeom prst="rect">
            <a:avLst/>
          </a:prstGeom>
        </p:spPr>
        <p:txBody>
          <a:bodyPr wrap="square">
            <a:spAutoFit/>
          </a:bodyPr>
          <a:lstStyle/>
          <a:p>
            <a:pPr defTabSz="914367">
              <a:spcAft>
                <a:spcPts val="588"/>
              </a:spcAft>
            </a:pPr>
            <a:r>
              <a:rPr lang="en-US" sz="2000">
                <a:solidFill>
                  <a:srgbClr val="000000"/>
                </a:solidFill>
              </a:rPr>
              <a:t>Data sources</a:t>
            </a:r>
          </a:p>
        </p:txBody>
      </p:sp>
      <p:cxnSp>
        <p:nvCxnSpPr>
          <p:cNvPr id="97" name="Straight Connector 96"/>
          <p:cNvCxnSpPr/>
          <p:nvPr/>
        </p:nvCxnSpPr>
        <p:spPr>
          <a:xfrm>
            <a:off x="1070439" y="2872886"/>
            <a:ext cx="1891470" cy="0"/>
          </a:xfrm>
          <a:prstGeom prst="line">
            <a:avLst/>
          </a:prstGeom>
          <a:ln w="28575">
            <a:solidFill>
              <a:schemeClr val="tx1"/>
            </a:solidFill>
            <a:prstDash val="sysDot"/>
            <a:headEnd type="oval" w="sm" len="sm"/>
            <a:tailEnd type="oval" w="sm" len="sm"/>
          </a:ln>
        </p:spPr>
        <p:style>
          <a:lnRef idx="1">
            <a:schemeClr val="accent1"/>
          </a:lnRef>
          <a:fillRef idx="0">
            <a:schemeClr val="accent1"/>
          </a:fillRef>
          <a:effectRef idx="0">
            <a:schemeClr val="accent1"/>
          </a:effectRef>
          <a:fontRef idx="minor">
            <a:schemeClr val="tx1"/>
          </a:fontRef>
        </p:style>
      </p:cxnSp>
      <p:sp>
        <p:nvSpPr>
          <p:cNvPr id="98" name="Rectangle 145"/>
          <p:cNvSpPr/>
          <p:nvPr/>
        </p:nvSpPr>
        <p:spPr bwMode="auto">
          <a:xfrm>
            <a:off x="1014872" y="2314939"/>
            <a:ext cx="2059649" cy="49525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14367"/>
            <a:r>
              <a:rPr lang="en-US" sz="1200">
                <a:solidFill>
                  <a:srgbClr val="000000"/>
                </a:solidFill>
                <a:cs typeface="Segoe UI Light" panose="020B0502040204020203" pitchFamily="34" charset="0"/>
              </a:rPr>
              <a:t>Cloud-based SaaS solutions</a:t>
            </a:r>
          </a:p>
          <a:p>
            <a:pPr defTabSz="914367">
              <a:spcAft>
                <a:spcPts val="600"/>
              </a:spcAft>
            </a:pPr>
            <a:r>
              <a:rPr lang="en-US" sz="900" i="1">
                <a:solidFill>
                  <a:srgbClr val="000000"/>
                </a:solidFill>
                <a:cs typeface="Segoe UI Light" panose="020B0502040204020203" pitchFamily="34" charset="0"/>
              </a:rPr>
              <a:t>e.g. </a:t>
            </a:r>
            <a:r>
              <a:rPr lang="en-US" sz="900" i="1" err="1">
                <a:solidFill>
                  <a:srgbClr val="000000"/>
                </a:solidFill>
                <a:cs typeface="Segoe UI Light" panose="020B0502040204020203" pitchFamily="34" charset="0"/>
              </a:rPr>
              <a:t>Marketo</a:t>
            </a:r>
            <a:r>
              <a:rPr lang="en-US" sz="900" i="1">
                <a:solidFill>
                  <a:srgbClr val="000000"/>
                </a:solidFill>
                <a:cs typeface="Segoe UI Light" panose="020B0502040204020203" pitchFamily="34" charset="0"/>
              </a:rPr>
              <a:t>, Salesforce, </a:t>
            </a:r>
            <a:r>
              <a:rPr lang="en-US" sz="900" i="1" err="1">
                <a:solidFill>
                  <a:srgbClr val="000000"/>
                </a:solidFill>
                <a:cs typeface="Segoe UI Light" panose="020B0502040204020203" pitchFamily="34" charset="0"/>
              </a:rPr>
              <a:t>Quickbooks</a:t>
            </a:r>
            <a:r>
              <a:rPr lang="en-US" sz="900" i="1">
                <a:solidFill>
                  <a:srgbClr val="000000"/>
                </a:solidFill>
                <a:cs typeface="Segoe UI Light" panose="020B0502040204020203" pitchFamily="34" charset="0"/>
              </a:rPr>
              <a:t>, Google Analytics, …</a:t>
            </a:r>
          </a:p>
        </p:txBody>
      </p:sp>
      <p:sp>
        <p:nvSpPr>
          <p:cNvPr id="100" name="Oval 147"/>
          <p:cNvSpPr/>
          <p:nvPr/>
        </p:nvSpPr>
        <p:spPr bwMode="auto">
          <a:xfrm>
            <a:off x="644325" y="2445639"/>
            <a:ext cx="365760" cy="365760"/>
          </a:xfrm>
          <a:prstGeom prst="ellipse">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2400" err="1">
              <a:gradFill>
                <a:gsLst>
                  <a:gs pos="0">
                    <a:srgbClr val="FFFFFF"/>
                  </a:gs>
                  <a:gs pos="100000">
                    <a:srgbClr val="FFFFFF"/>
                  </a:gs>
                </a:gsLst>
                <a:lin ang="5400000" scaled="0"/>
              </a:gradFill>
              <a:ea typeface="Segoe UI" pitchFamily="34" charset="0"/>
              <a:cs typeface="Segoe UI" pitchFamily="34" charset="0"/>
            </a:endParaRPr>
          </a:p>
        </p:txBody>
      </p:sp>
      <p:grpSp>
        <p:nvGrpSpPr>
          <p:cNvPr id="101" name="Group 332"/>
          <p:cNvGrpSpPr/>
          <p:nvPr/>
        </p:nvGrpSpPr>
        <p:grpSpPr>
          <a:xfrm>
            <a:off x="696368" y="2521568"/>
            <a:ext cx="261675" cy="213902"/>
            <a:chOff x="2123129" y="1797431"/>
            <a:chExt cx="2472585" cy="2021180"/>
          </a:xfrm>
        </p:grpSpPr>
        <p:sp>
          <p:nvSpPr>
            <p:cNvPr id="102" name="Freeform 13"/>
            <p:cNvSpPr>
              <a:spLocks/>
            </p:cNvSpPr>
            <p:nvPr/>
          </p:nvSpPr>
          <p:spPr bwMode="auto">
            <a:xfrm rot="20700000">
              <a:off x="3155851" y="2377161"/>
              <a:ext cx="1439863" cy="1441450"/>
            </a:xfrm>
            <a:custGeom>
              <a:avLst/>
              <a:gdLst>
                <a:gd name="T0" fmla="*/ 138 w 441"/>
                <a:gd name="T1" fmla="*/ 341 h 441"/>
                <a:gd name="T2" fmla="*/ 183 w 441"/>
                <a:gd name="T3" fmla="*/ 374 h 441"/>
                <a:gd name="T4" fmla="*/ 220 w 441"/>
                <a:gd name="T5" fmla="*/ 423 h 441"/>
                <a:gd name="T6" fmla="*/ 422 w 441"/>
                <a:gd name="T7" fmla="*/ 220 h 441"/>
                <a:gd name="T8" fmla="*/ 373 w 441"/>
                <a:gd name="T9" fmla="*/ 184 h 441"/>
                <a:gd name="T10" fmla="*/ 341 w 441"/>
                <a:gd name="T11" fmla="*/ 139 h 441"/>
                <a:gd name="T12" fmla="*/ 382 w 441"/>
                <a:gd name="T13" fmla="*/ 58 h 441"/>
                <a:gd name="T14" fmla="*/ 302 w 441"/>
                <a:gd name="T15" fmla="*/ 100 h 441"/>
                <a:gd name="T16" fmla="*/ 257 w 441"/>
                <a:gd name="T17" fmla="*/ 67 h 441"/>
                <a:gd name="T18" fmla="*/ 220 w 441"/>
                <a:gd name="T19" fmla="*/ 18 h 441"/>
                <a:gd name="T20" fmla="*/ 171 w 441"/>
                <a:gd name="T21" fmla="*/ 55 h 441"/>
                <a:gd name="T22" fmla="*/ 138 w 441"/>
                <a:gd name="T23" fmla="*/ 100 h 441"/>
                <a:gd name="T24" fmla="*/ 180 w 441"/>
                <a:gd name="T25" fmla="*/ 181 h 441"/>
                <a:gd name="T26" fmla="*/ 100 w 441"/>
                <a:gd name="T27" fmla="*/ 139 h 441"/>
                <a:gd name="T28" fmla="*/ 55 w 441"/>
                <a:gd name="T29" fmla="*/ 171 h 441"/>
                <a:gd name="T30" fmla="*/ 18 w 441"/>
                <a:gd name="T31" fmla="*/ 220 h 441"/>
                <a:gd name="T32" fmla="*/ 67 w 441"/>
                <a:gd name="T33" fmla="*/ 257 h 441"/>
                <a:gd name="T34" fmla="*/ 100 w 441"/>
                <a:gd name="T35" fmla="*/ 302 h 441"/>
                <a:gd name="T36" fmla="*/ 58 w 441"/>
                <a:gd name="T37" fmla="*/ 383 h 441"/>
                <a:gd name="T38" fmla="*/ 138 w 441"/>
                <a:gd name="T39" fmla="*/ 341 h 4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41" h="441">
                  <a:moveTo>
                    <a:pt x="138" y="341"/>
                  </a:moveTo>
                  <a:cubicBezTo>
                    <a:pt x="147" y="337"/>
                    <a:pt x="171" y="361"/>
                    <a:pt x="183" y="374"/>
                  </a:cubicBezTo>
                  <a:cubicBezTo>
                    <a:pt x="196" y="386"/>
                    <a:pt x="220" y="423"/>
                    <a:pt x="220" y="423"/>
                  </a:cubicBezTo>
                  <a:cubicBezTo>
                    <a:pt x="422" y="220"/>
                    <a:pt x="422" y="220"/>
                    <a:pt x="422" y="220"/>
                  </a:cubicBezTo>
                  <a:cubicBezTo>
                    <a:pt x="422" y="220"/>
                    <a:pt x="386" y="196"/>
                    <a:pt x="373" y="184"/>
                  </a:cubicBezTo>
                  <a:cubicBezTo>
                    <a:pt x="361" y="171"/>
                    <a:pt x="338" y="149"/>
                    <a:pt x="341" y="139"/>
                  </a:cubicBezTo>
                  <a:cubicBezTo>
                    <a:pt x="343" y="129"/>
                    <a:pt x="441" y="116"/>
                    <a:pt x="382" y="58"/>
                  </a:cubicBezTo>
                  <a:cubicBezTo>
                    <a:pt x="324" y="0"/>
                    <a:pt x="310" y="96"/>
                    <a:pt x="302" y="100"/>
                  </a:cubicBezTo>
                  <a:cubicBezTo>
                    <a:pt x="294" y="104"/>
                    <a:pt x="269" y="80"/>
                    <a:pt x="257" y="67"/>
                  </a:cubicBezTo>
                  <a:cubicBezTo>
                    <a:pt x="245" y="55"/>
                    <a:pt x="220" y="18"/>
                    <a:pt x="220" y="18"/>
                  </a:cubicBezTo>
                  <a:cubicBezTo>
                    <a:pt x="220" y="18"/>
                    <a:pt x="183" y="43"/>
                    <a:pt x="171" y="55"/>
                  </a:cubicBezTo>
                  <a:cubicBezTo>
                    <a:pt x="159" y="67"/>
                    <a:pt x="134" y="92"/>
                    <a:pt x="138" y="100"/>
                  </a:cubicBezTo>
                  <a:cubicBezTo>
                    <a:pt x="142" y="108"/>
                    <a:pt x="238" y="122"/>
                    <a:pt x="180" y="181"/>
                  </a:cubicBezTo>
                  <a:cubicBezTo>
                    <a:pt x="122" y="239"/>
                    <a:pt x="110" y="141"/>
                    <a:pt x="100" y="139"/>
                  </a:cubicBezTo>
                  <a:cubicBezTo>
                    <a:pt x="89" y="137"/>
                    <a:pt x="67" y="159"/>
                    <a:pt x="55" y="171"/>
                  </a:cubicBezTo>
                  <a:cubicBezTo>
                    <a:pt x="42" y="184"/>
                    <a:pt x="18" y="220"/>
                    <a:pt x="18" y="220"/>
                  </a:cubicBezTo>
                  <a:cubicBezTo>
                    <a:pt x="18" y="220"/>
                    <a:pt x="55" y="245"/>
                    <a:pt x="67" y="257"/>
                  </a:cubicBezTo>
                  <a:cubicBezTo>
                    <a:pt x="79" y="269"/>
                    <a:pt x="102" y="292"/>
                    <a:pt x="100" y="302"/>
                  </a:cubicBezTo>
                  <a:cubicBezTo>
                    <a:pt x="98" y="312"/>
                    <a:pt x="0" y="325"/>
                    <a:pt x="58" y="383"/>
                  </a:cubicBezTo>
                  <a:cubicBezTo>
                    <a:pt x="116" y="441"/>
                    <a:pt x="130" y="345"/>
                    <a:pt x="138" y="341"/>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03" name="Freeform 14"/>
            <p:cNvSpPr>
              <a:spLocks/>
            </p:cNvSpPr>
            <p:nvPr/>
          </p:nvSpPr>
          <p:spPr bwMode="auto">
            <a:xfrm rot="9900000">
              <a:off x="2123129" y="1797431"/>
              <a:ext cx="1377949" cy="1377949"/>
            </a:xfrm>
            <a:custGeom>
              <a:avLst/>
              <a:gdLst>
                <a:gd name="T0" fmla="*/ 422 w 422"/>
                <a:gd name="T1" fmla="*/ 220 h 422"/>
                <a:gd name="T2" fmla="*/ 386 w 422"/>
                <a:gd name="T3" fmla="*/ 171 h 422"/>
                <a:gd name="T4" fmla="*/ 341 w 422"/>
                <a:gd name="T5" fmla="*/ 138 h 422"/>
                <a:gd name="T6" fmla="*/ 260 w 422"/>
                <a:gd name="T7" fmla="*/ 180 h 422"/>
                <a:gd name="T8" fmla="*/ 302 w 422"/>
                <a:gd name="T9" fmla="*/ 100 h 422"/>
                <a:gd name="T10" fmla="*/ 269 w 422"/>
                <a:gd name="T11" fmla="*/ 55 h 422"/>
                <a:gd name="T12" fmla="*/ 220 w 422"/>
                <a:gd name="T13" fmla="*/ 18 h 422"/>
                <a:gd name="T14" fmla="*/ 183 w 422"/>
                <a:gd name="T15" fmla="*/ 67 h 422"/>
                <a:gd name="T16" fmla="*/ 138 w 422"/>
                <a:gd name="T17" fmla="*/ 100 h 422"/>
                <a:gd name="T18" fmla="*/ 58 w 422"/>
                <a:gd name="T19" fmla="*/ 58 h 422"/>
                <a:gd name="T20" fmla="*/ 100 w 422"/>
                <a:gd name="T21" fmla="*/ 138 h 422"/>
                <a:gd name="T22" fmla="*/ 67 w 422"/>
                <a:gd name="T23" fmla="*/ 183 h 422"/>
                <a:gd name="T24" fmla="*/ 18 w 422"/>
                <a:gd name="T25" fmla="*/ 220 h 422"/>
                <a:gd name="T26" fmla="*/ 55 w 422"/>
                <a:gd name="T27" fmla="*/ 269 h 422"/>
                <a:gd name="T28" fmla="*/ 100 w 422"/>
                <a:gd name="T29" fmla="*/ 302 h 422"/>
                <a:gd name="T30" fmla="*/ 180 w 422"/>
                <a:gd name="T31" fmla="*/ 260 h 422"/>
                <a:gd name="T32" fmla="*/ 138 w 422"/>
                <a:gd name="T33" fmla="*/ 341 h 422"/>
                <a:gd name="T34" fmla="*/ 171 w 422"/>
                <a:gd name="T35" fmla="*/ 386 h 422"/>
                <a:gd name="T36" fmla="*/ 220 w 422"/>
                <a:gd name="T37" fmla="*/ 422 h 422"/>
                <a:gd name="T38" fmla="*/ 422 w 422"/>
                <a:gd name="T39" fmla="*/ 220 h 4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22" h="422">
                  <a:moveTo>
                    <a:pt x="422" y="220"/>
                  </a:moveTo>
                  <a:cubicBezTo>
                    <a:pt x="422" y="220"/>
                    <a:pt x="398" y="183"/>
                    <a:pt x="386" y="171"/>
                  </a:cubicBezTo>
                  <a:cubicBezTo>
                    <a:pt x="373" y="159"/>
                    <a:pt x="349" y="134"/>
                    <a:pt x="341" y="138"/>
                  </a:cubicBezTo>
                  <a:cubicBezTo>
                    <a:pt x="332" y="142"/>
                    <a:pt x="318" y="239"/>
                    <a:pt x="260" y="180"/>
                  </a:cubicBezTo>
                  <a:cubicBezTo>
                    <a:pt x="202" y="122"/>
                    <a:pt x="300" y="110"/>
                    <a:pt x="302" y="100"/>
                  </a:cubicBezTo>
                  <a:cubicBezTo>
                    <a:pt x="304" y="90"/>
                    <a:pt x="281" y="67"/>
                    <a:pt x="269" y="55"/>
                  </a:cubicBezTo>
                  <a:cubicBezTo>
                    <a:pt x="257" y="42"/>
                    <a:pt x="220" y="18"/>
                    <a:pt x="220" y="18"/>
                  </a:cubicBezTo>
                  <a:cubicBezTo>
                    <a:pt x="220" y="18"/>
                    <a:pt x="196" y="55"/>
                    <a:pt x="183" y="67"/>
                  </a:cubicBezTo>
                  <a:cubicBezTo>
                    <a:pt x="171" y="79"/>
                    <a:pt x="149" y="102"/>
                    <a:pt x="138" y="100"/>
                  </a:cubicBezTo>
                  <a:cubicBezTo>
                    <a:pt x="128" y="98"/>
                    <a:pt x="116" y="0"/>
                    <a:pt x="58" y="58"/>
                  </a:cubicBezTo>
                  <a:cubicBezTo>
                    <a:pt x="0" y="116"/>
                    <a:pt x="96" y="130"/>
                    <a:pt x="100" y="138"/>
                  </a:cubicBezTo>
                  <a:cubicBezTo>
                    <a:pt x="104" y="147"/>
                    <a:pt x="79" y="171"/>
                    <a:pt x="67" y="183"/>
                  </a:cubicBezTo>
                  <a:cubicBezTo>
                    <a:pt x="55" y="196"/>
                    <a:pt x="18" y="220"/>
                    <a:pt x="18" y="220"/>
                  </a:cubicBezTo>
                  <a:cubicBezTo>
                    <a:pt x="18" y="220"/>
                    <a:pt x="42" y="257"/>
                    <a:pt x="55" y="269"/>
                  </a:cubicBezTo>
                  <a:cubicBezTo>
                    <a:pt x="67" y="281"/>
                    <a:pt x="91" y="306"/>
                    <a:pt x="100" y="302"/>
                  </a:cubicBezTo>
                  <a:cubicBezTo>
                    <a:pt x="108" y="298"/>
                    <a:pt x="122" y="202"/>
                    <a:pt x="180" y="260"/>
                  </a:cubicBezTo>
                  <a:cubicBezTo>
                    <a:pt x="238" y="318"/>
                    <a:pt x="140" y="330"/>
                    <a:pt x="138" y="341"/>
                  </a:cubicBezTo>
                  <a:cubicBezTo>
                    <a:pt x="136" y="351"/>
                    <a:pt x="159" y="373"/>
                    <a:pt x="171" y="386"/>
                  </a:cubicBezTo>
                  <a:cubicBezTo>
                    <a:pt x="183" y="398"/>
                    <a:pt x="220" y="422"/>
                    <a:pt x="220" y="422"/>
                  </a:cubicBezTo>
                  <a:lnTo>
                    <a:pt x="422" y="22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cxnSp>
        <p:nvCxnSpPr>
          <p:cNvPr id="104" name="Straight Connector 103"/>
          <p:cNvCxnSpPr/>
          <p:nvPr/>
        </p:nvCxnSpPr>
        <p:spPr>
          <a:xfrm>
            <a:off x="1070439" y="3414997"/>
            <a:ext cx="1891470" cy="0"/>
          </a:xfrm>
          <a:prstGeom prst="line">
            <a:avLst/>
          </a:prstGeom>
          <a:ln w="28575">
            <a:solidFill>
              <a:schemeClr val="tx1"/>
            </a:solidFill>
            <a:prstDash val="sysDot"/>
            <a:headEnd type="oval" w="sm" len="sm"/>
            <a:tailEnd type="oval" w="sm" len="sm"/>
          </a:ln>
        </p:spPr>
        <p:style>
          <a:lnRef idx="1">
            <a:schemeClr val="accent1"/>
          </a:lnRef>
          <a:fillRef idx="0">
            <a:schemeClr val="accent1"/>
          </a:fillRef>
          <a:effectRef idx="0">
            <a:schemeClr val="accent1"/>
          </a:effectRef>
          <a:fontRef idx="minor">
            <a:schemeClr val="tx1"/>
          </a:fontRef>
        </p:style>
      </p:cxnSp>
      <p:sp>
        <p:nvSpPr>
          <p:cNvPr id="105" name="Rectangle 152"/>
          <p:cNvSpPr/>
          <p:nvPr/>
        </p:nvSpPr>
        <p:spPr bwMode="auto">
          <a:xfrm>
            <a:off x="1009226" y="2903143"/>
            <a:ext cx="1982520" cy="43694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14367"/>
            <a:r>
              <a:rPr lang="en-US" sz="1200">
                <a:solidFill>
                  <a:srgbClr val="000000"/>
                </a:solidFill>
                <a:cs typeface="Segoe UI Light" panose="020B0502040204020203" pitchFamily="34" charset="0"/>
              </a:rPr>
              <a:t>On-premises data</a:t>
            </a:r>
          </a:p>
          <a:p>
            <a:pPr defTabSz="914367"/>
            <a:r>
              <a:rPr lang="en-US" sz="900">
                <a:solidFill>
                  <a:srgbClr val="000000"/>
                </a:solidFill>
                <a:cs typeface="Segoe UI Light" panose="020B0502040204020203" pitchFamily="34" charset="0"/>
              </a:rPr>
              <a:t>e.g. Analysis Services, SQL Server</a:t>
            </a:r>
          </a:p>
        </p:txBody>
      </p:sp>
      <p:sp>
        <p:nvSpPr>
          <p:cNvPr id="107" name="Oval 154"/>
          <p:cNvSpPr/>
          <p:nvPr/>
        </p:nvSpPr>
        <p:spPr bwMode="auto">
          <a:xfrm>
            <a:off x="644325" y="2974324"/>
            <a:ext cx="365760" cy="365760"/>
          </a:xfrm>
          <a:prstGeom prst="ellipse">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2400" err="1">
              <a:gradFill>
                <a:gsLst>
                  <a:gs pos="0">
                    <a:srgbClr val="FFFFFF"/>
                  </a:gs>
                  <a:gs pos="100000">
                    <a:srgbClr val="FFFFFF"/>
                  </a:gs>
                </a:gsLst>
                <a:lin ang="5400000" scaled="0"/>
              </a:gradFill>
              <a:ea typeface="Segoe UI" pitchFamily="34" charset="0"/>
              <a:cs typeface="Segoe UI" pitchFamily="34" charset="0"/>
            </a:endParaRPr>
          </a:p>
        </p:txBody>
      </p:sp>
      <p:sp>
        <p:nvSpPr>
          <p:cNvPr id="108" name="Freeform 30"/>
          <p:cNvSpPr>
            <a:spLocks noEditPoints="1"/>
          </p:cNvSpPr>
          <p:nvPr/>
        </p:nvSpPr>
        <p:spPr bwMode="auto">
          <a:xfrm>
            <a:off x="726710" y="3068558"/>
            <a:ext cx="200989" cy="177291"/>
          </a:xfrm>
          <a:custGeom>
            <a:avLst/>
            <a:gdLst>
              <a:gd name="T0" fmla="*/ 883 w 916"/>
              <a:gd name="T1" fmla="*/ 286 h 808"/>
              <a:gd name="T2" fmla="*/ 539 w 916"/>
              <a:gd name="T3" fmla="*/ 723 h 808"/>
              <a:gd name="T4" fmla="*/ 504 w 916"/>
              <a:gd name="T5" fmla="*/ 0 h 808"/>
              <a:gd name="T6" fmla="*/ 35 w 916"/>
              <a:gd name="T7" fmla="*/ 723 h 808"/>
              <a:gd name="T8" fmla="*/ 0 w 916"/>
              <a:gd name="T9" fmla="*/ 808 h 808"/>
              <a:gd name="T10" fmla="*/ 916 w 916"/>
              <a:gd name="T11" fmla="*/ 723 h 808"/>
              <a:gd name="T12" fmla="*/ 229 w 916"/>
              <a:gd name="T13" fmla="*/ 665 h 808"/>
              <a:gd name="T14" fmla="*/ 109 w 916"/>
              <a:gd name="T15" fmla="*/ 596 h 808"/>
              <a:gd name="T16" fmla="*/ 229 w 916"/>
              <a:gd name="T17" fmla="*/ 665 h 808"/>
              <a:gd name="T18" fmla="*/ 109 w 916"/>
              <a:gd name="T19" fmla="*/ 501 h 808"/>
              <a:gd name="T20" fmla="*/ 229 w 916"/>
              <a:gd name="T21" fmla="*/ 432 h 808"/>
              <a:gd name="T22" fmla="*/ 229 w 916"/>
              <a:gd name="T23" fmla="*/ 337 h 808"/>
              <a:gd name="T24" fmla="*/ 109 w 916"/>
              <a:gd name="T25" fmla="*/ 267 h 808"/>
              <a:gd name="T26" fmla="*/ 229 w 916"/>
              <a:gd name="T27" fmla="*/ 337 h 808"/>
              <a:gd name="T28" fmla="*/ 109 w 916"/>
              <a:gd name="T29" fmla="*/ 172 h 808"/>
              <a:gd name="T30" fmla="*/ 229 w 916"/>
              <a:gd name="T31" fmla="*/ 103 h 808"/>
              <a:gd name="T32" fmla="*/ 428 w 916"/>
              <a:gd name="T33" fmla="*/ 665 h 808"/>
              <a:gd name="T34" fmla="*/ 307 w 916"/>
              <a:gd name="T35" fmla="*/ 596 h 808"/>
              <a:gd name="T36" fmla="*/ 428 w 916"/>
              <a:gd name="T37" fmla="*/ 665 h 808"/>
              <a:gd name="T38" fmla="*/ 307 w 916"/>
              <a:gd name="T39" fmla="*/ 501 h 808"/>
              <a:gd name="T40" fmla="*/ 428 w 916"/>
              <a:gd name="T41" fmla="*/ 432 h 808"/>
              <a:gd name="T42" fmla="*/ 428 w 916"/>
              <a:gd name="T43" fmla="*/ 337 h 808"/>
              <a:gd name="T44" fmla="*/ 307 w 916"/>
              <a:gd name="T45" fmla="*/ 267 h 808"/>
              <a:gd name="T46" fmla="*/ 428 w 916"/>
              <a:gd name="T47" fmla="*/ 337 h 808"/>
              <a:gd name="T48" fmla="*/ 307 w 916"/>
              <a:gd name="T49" fmla="*/ 172 h 808"/>
              <a:gd name="T50" fmla="*/ 428 w 916"/>
              <a:gd name="T51" fmla="*/ 103 h 808"/>
              <a:gd name="T52" fmla="*/ 684 w 916"/>
              <a:gd name="T53" fmla="*/ 668 h 808"/>
              <a:gd name="T54" fmla="*/ 606 w 916"/>
              <a:gd name="T55" fmla="*/ 549 h 808"/>
              <a:gd name="T56" fmla="*/ 684 w 916"/>
              <a:gd name="T57" fmla="*/ 668 h 808"/>
              <a:gd name="T58" fmla="*/ 606 w 916"/>
              <a:gd name="T59" fmla="*/ 482 h 808"/>
              <a:gd name="T60" fmla="*/ 684 w 916"/>
              <a:gd name="T61" fmla="*/ 365 h 808"/>
              <a:gd name="T62" fmla="*/ 816 w 916"/>
              <a:gd name="T63" fmla="*/ 668 h 808"/>
              <a:gd name="T64" fmla="*/ 738 w 916"/>
              <a:gd name="T65" fmla="*/ 549 h 808"/>
              <a:gd name="T66" fmla="*/ 816 w 916"/>
              <a:gd name="T67" fmla="*/ 668 h 808"/>
              <a:gd name="T68" fmla="*/ 738 w 916"/>
              <a:gd name="T69" fmla="*/ 482 h 808"/>
              <a:gd name="T70" fmla="*/ 816 w 916"/>
              <a:gd name="T71" fmla="*/ 365 h 8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16" h="808">
                <a:moveTo>
                  <a:pt x="883" y="723"/>
                </a:moveTo>
                <a:lnTo>
                  <a:pt x="883" y="286"/>
                </a:lnTo>
                <a:lnTo>
                  <a:pt x="539" y="286"/>
                </a:lnTo>
                <a:lnTo>
                  <a:pt x="539" y="723"/>
                </a:lnTo>
                <a:lnTo>
                  <a:pt x="504" y="723"/>
                </a:lnTo>
                <a:lnTo>
                  <a:pt x="504" y="0"/>
                </a:lnTo>
                <a:lnTo>
                  <a:pt x="35" y="0"/>
                </a:lnTo>
                <a:lnTo>
                  <a:pt x="35" y="723"/>
                </a:lnTo>
                <a:lnTo>
                  <a:pt x="0" y="723"/>
                </a:lnTo>
                <a:lnTo>
                  <a:pt x="0" y="808"/>
                </a:lnTo>
                <a:lnTo>
                  <a:pt x="916" y="808"/>
                </a:lnTo>
                <a:lnTo>
                  <a:pt x="916" y="723"/>
                </a:lnTo>
                <a:lnTo>
                  <a:pt x="883" y="723"/>
                </a:lnTo>
                <a:close/>
                <a:moveTo>
                  <a:pt x="229" y="665"/>
                </a:moveTo>
                <a:lnTo>
                  <a:pt x="109" y="665"/>
                </a:lnTo>
                <a:lnTo>
                  <a:pt x="109" y="596"/>
                </a:lnTo>
                <a:lnTo>
                  <a:pt x="229" y="596"/>
                </a:lnTo>
                <a:lnTo>
                  <a:pt x="229" y="665"/>
                </a:lnTo>
                <a:close/>
                <a:moveTo>
                  <a:pt x="229" y="501"/>
                </a:moveTo>
                <a:lnTo>
                  <a:pt x="109" y="501"/>
                </a:lnTo>
                <a:lnTo>
                  <a:pt x="109" y="432"/>
                </a:lnTo>
                <a:lnTo>
                  <a:pt x="229" y="432"/>
                </a:lnTo>
                <a:lnTo>
                  <a:pt x="229" y="501"/>
                </a:lnTo>
                <a:close/>
                <a:moveTo>
                  <a:pt x="229" y="337"/>
                </a:moveTo>
                <a:lnTo>
                  <a:pt x="109" y="337"/>
                </a:lnTo>
                <a:lnTo>
                  <a:pt x="109" y="267"/>
                </a:lnTo>
                <a:lnTo>
                  <a:pt x="229" y="267"/>
                </a:lnTo>
                <a:lnTo>
                  <a:pt x="229" y="337"/>
                </a:lnTo>
                <a:close/>
                <a:moveTo>
                  <a:pt x="229" y="172"/>
                </a:moveTo>
                <a:lnTo>
                  <a:pt x="109" y="172"/>
                </a:lnTo>
                <a:lnTo>
                  <a:pt x="109" y="103"/>
                </a:lnTo>
                <a:lnTo>
                  <a:pt x="229" y="103"/>
                </a:lnTo>
                <a:lnTo>
                  <a:pt x="229" y="172"/>
                </a:lnTo>
                <a:close/>
                <a:moveTo>
                  <a:pt x="428" y="665"/>
                </a:moveTo>
                <a:lnTo>
                  <a:pt x="307" y="665"/>
                </a:lnTo>
                <a:lnTo>
                  <a:pt x="307" y="596"/>
                </a:lnTo>
                <a:lnTo>
                  <a:pt x="428" y="596"/>
                </a:lnTo>
                <a:lnTo>
                  <a:pt x="428" y="665"/>
                </a:lnTo>
                <a:close/>
                <a:moveTo>
                  <a:pt x="428" y="501"/>
                </a:moveTo>
                <a:lnTo>
                  <a:pt x="307" y="501"/>
                </a:lnTo>
                <a:lnTo>
                  <a:pt x="307" y="432"/>
                </a:lnTo>
                <a:lnTo>
                  <a:pt x="428" y="432"/>
                </a:lnTo>
                <a:lnTo>
                  <a:pt x="428" y="501"/>
                </a:lnTo>
                <a:close/>
                <a:moveTo>
                  <a:pt x="428" y="337"/>
                </a:moveTo>
                <a:lnTo>
                  <a:pt x="307" y="337"/>
                </a:lnTo>
                <a:lnTo>
                  <a:pt x="307" y="267"/>
                </a:lnTo>
                <a:lnTo>
                  <a:pt x="428" y="267"/>
                </a:lnTo>
                <a:lnTo>
                  <a:pt x="428" y="337"/>
                </a:lnTo>
                <a:close/>
                <a:moveTo>
                  <a:pt x="428" y="172"/>
                </a:moveTo>
                <a:lnTo>
                  <a:pt x="307" y="172"/>
                </a:lnTo>
                <a:lnTo>
                  <a:pt x="307" y="103"/>
                </a:lnTo>
                <a:lnTo>
                  <a:pt x="428" y="103"/>
                </a:lnTo>
                <a:lnTo>
                  <a:pt x="428" y="172"/>
                </a:lnTo>
                <a:close/>
                <a:moveTo>
                  <a:pt x="684" y="668"/>
                </a:moveTo>
                <a:lnTo>
                  <a:pt x="606" y="668"/>
                </a:lnTo>
                <a:lnTo>
                  <a:pt x="606" y="549"/>
                </a:lnTo>
                <a:lnTo>
                  <a:pt x="684" y="549"/>
                </a:lnTo>
                <a:lnTo>
                  <a:pt x="684" y="668"/>
                </a:lnTo>
                <a:close/>
                <a:moveTo>
                  <a:pt x="684" y="482"/>
                </a:moveTo>
                <a:lnTo>
                  <a:pt x="606" y="482"/>
                </a:lnTo>
                <a:lnTo>
                  <a:pt x="606" y="365"/>
                </a:lnTo>
                <a:lnTo>
                  <a:pt x="684" y="365"/>
                </a:lnTo>
                <a:lnTo>
                  <a:pt x="684" y="482"/>
                </a:lnTo>
                <a:close/>
                <a:moveTo>
                  <a:pt x="816" y="668"/>
                </a:moveTo>
                <a:lnTo>
                  <a:pt x="738" y="668"/>
                </a:lnTo>
                <a:lnTo>
                  <a:pt x="738" y="549"/>
                </a:lnTo>
                <a:lnTo>
                  <a:pt x="816" y="549"/>
                </a:lnTo>
                <a:lnTo>
                  <a:pt x="816" y="668"/>
                </a:lnTo>
                <a:close/>
                <a:moveTo>
                  <a:pt x="816" y="482"/>
                </a:moveTo>
                <a:lnTo>
                  <a:pt x="738" y="482"/>
                </a:lnTo>
                <a:lnTo>
                  <a:pt x="738" y="365"/>
                </a:lnTo>
                <a:lnTo>
                  <a:pt x="816" y="365"/>
                </a:lnTo>
                <a:lnTo>
                  <a:pt x="816" y="482"/>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cxnSp>
        <p:nvCxnSpPr>
          <p:cNvPr id="109" name="Straight Connector 108"/>
          <p:cNvCxnSpPr/>
          <p:nvPr/>
        </p:nvCxnSpPr>
        <p:spPr>
          <a:xfrm>
            <a:off x="1070439" y="3990784"/>
            <a:ext cx="1891470" cy="0"/>
          </a:xfrm>
          <a:prstGeom prst="line">
            <a:avLst/>
          </a:prstGeom>
          <a:ln w="28575">
            <a:solidFill>
              <a:schemeClr val="tx1"/>
            </a:solidFill>
            <a:prstDash val="sysDot"/>
            <a:headEnd type="oval" w="sm" len="sm"/>
            <a:tailEnd type="oval" w="sm" len="sm"/>
          </a:ln>
        </p:spPr>
        <p:style>
          <a:lnRef idx="1">
            <a:schemeClr val="accent1"/>
          </a:lnRef>
          <a:fillRef idx="0">
            <a:schemeClr val="accent1"/>
          </a:fillRef>
          <a:effectRef idx="0">
            <a:schemeClr val="accent1"/>
          </a:effectRef>
          <a:fontRef idx="minor">
            <a:schemeClr val="tx1"/>
          </a:fontRef>
        </p:style>
      </p:cxnSp>
      <p:sp>
        <p:nvSpPr>
          <p:cNvPr id="111" name="Rectangle 1074"/>
          <p:cNvSpPr/>
          <p:nvPr/>
        </p:nvSpPr>
        <p:spPr bwMode="auto">
          <a:xfrm>
            <a:off x="1009225" y="3313545"/>
            <a:ext cx="2065297" cy="79663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14367"/>
            <a:r>
              <a:rPr lang="en-US" sz="1100">
                <a:solidFill>
                  <a:srgbClr val="000000"/>
                </a:solidFill>
                <a:cs typeface="Segoe UI Light" panose="020B0502040204020203" pitchFamily="34" charset="0"/>
              </a:rPr>
              <a:t>Organizational content packs</a:t>
            </a:r>
            <a:br>
              <a:rPr lang="en-US" sz="1100">
                <a:solidFill>
                  <a:srgbClr val="000000"/>
                </a:solidFill>
                <a:cs typeface="Segoe UI Light" panose="020B0502040204020203" pitchFamily="34" charset="0"/>
              </a:rPr>
            </a:br>
            <a:r>
              <a:rPr lang="en-US" sz="900" i="1">
                <a:solidFill>
                  <a:srgbClr val="000000"/>
                </a:solidFill>
                <a:cs typeface="Segoe UI Light" panose="020B0502040204020203" pitchFamily="34" charset="0"/>
              </a:rPr>
              <a:t>Corporate data sources or external data services</a:t>
            </a:r>
          </a:p>
        </p:txBody>
      </p:sp>
      <p:sp>
        <p:nvSpPr>
          <p:cNvPr id="113" name="Oval 1076"/>
          <p:cNvSpPr/>
          <p:nvPr/>
        </p:nvSpPr>
        <p:spPr bwMode="auto">
          <a:xfrm>
            <a:off x="644325" y="3516632"/>
            <a:ext cx="365760" cy="365760"/>
          </a:xfrm>
          <a:prstGeom prst="ellipse">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2400" err="1">
              <a:gradFill>
                <a:gsLst>
                  <a:gs pos="0">
                    <a:srgbClr val="FFFFFF"/>
                  </a:gs>
                  <a:gs pos="100000">
                    <a:srgbClr val="FFFFFF"/>
                  </a:gs>
                </a:gsLst>
                <a:lin ang="5400000" scaled="0"/>
              </a:gradFill>
              <a:ea typeface="Segoe UI" pitchFamily="34" charset="0"/>
              <a:cs typeface="Segoe UI" pitchFamily="34" charset="0"/>
            </a:endParaRPr>
          </a:p>
        </p:txBody>
      </p:sp>
      <p:grpSp>
        <p:nvGrpSpPr>
          <p:cNvPr id="114" name="Group 113"/>
          <p:cNvGrpSpPr/>
          <p:nvPr/>
        </p:nvGrpSpPr>
        <p:grpSpPr>
          <a:xfrm>
            <a:off x="719568" y="3604903"/>
            <a:ext cx="215269" cy="189218"/>
            <a:chOff x="681704" y="2920140"/>
            <a:chExt cx="321649" cy="282723"/>
          </a:xfrm>
          <a:solidFill>
            <a:schemeClr val="tx1"/>
          </a:solidFill>
        </p:grpSpPr>
        <p:sp>
          <p:nvSpPr>
            <p:cNvPr id="115" name="Freeform 34"/>
            <p:cNvSpPr>
              <a:spLocks/>
            </p:cNvSpPr>
            <p:nvPr/>
          </p:nvSpPr>
          <p:spPr bwMode="auto">
            <a:xfrm>
              <a:off x="681704" y="2920140"/>
              <a:ext cx="270621" cy="210107"/>
            </a:xfrm>
            <a:custGeom>
              <a:avLst/>
              <a:gdLst>
                <a:gd name="T0" fmla="*/ 270 w 1048"/>
                <a:gd name="T1" fmla="*/ 104 h 814"/>
                <a:gd name="T2" fmla="*/ 328 w 1048"/>
                <a:gd name="T3" fmla="*/ 81 h 814"/>
                <a:gd name="T4" fmla="*/ 967 w 1048"/>
                <a:gd name="T5" fmla="*/ 81 h 814"/>
                <a:gd name="T6" fmla="*/ 967 w 1048"/>
                <a:gd name="T7" fmla="*/ 142 h 814"/>
                <a:gd name="T8" fmla="*/ 1048 w 1048"/>
                <a:gd name="T9" fmla="*/ 142 h 814"/>
                <a:gd name="T10" fmla="*/ 1048 w 1048"/>
                <a:gd name="T11" fmla="*/ 0 h 814"/>
                <a:gd name="T12" fmla="*/ 328 w 1048"/>
                <a:gd name="T13" fmla="*/ 0 h 814"/>
                <a:gd name="T14" fmla="*/ 205 w 1048"/>
                <a:gd name="T15" fmla="*/ 56 h 814"/>
                <a:gd name="T16" fmla="*/ 38 w 1048"/>
                <a:gd name="T17" fmla="*/ 318 h 814"/>
                <a:gd name="T18" fmla="*/ 0 w 1048"/>
                <a:gd name="T19" fmla="*/ 426 h 814"/>
                <a:gd name="T20" fmla="*/ 0 w 1048"/>
                <a:gd name="T21" fmla="*/ 814 h 814"/>
                <a:gd name="T22" fmla="*/ 240 w 1048"/>
                <a:gd name="T23" fmla="*/ 814 h 814"/>
                <a:gd name="T24" fmla="*/ 240 w 1048"/>
                <a:gd name="T25" fmla="*/ 733 h 814"/>
                <a:gd name="T26" fmla="*/ 81 w 1048"/>
                <a:gd name="T27" fmla="*/ 733 h 814"/>
                <a:gd name="T28" fmla="*/ 81 w 1048"/>
                <a:gd name="T29" fmla="*/ 426 h 814"/>
                <a:gd name="T30" fmla="*/ 280 w 1048"/>
                <a:gd name="T31" fmla="*/ 297 h 814"/>
                <a:gd name="T32" fmla="*/ 270 w 1048"/>
                <a:gd name="T33" fmla="*/ 104 h 8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48" h="814">
                  <a:moveTo>
                    <a:pt x="270" y="104"/>
                  </a:moveTo>
                  <a:cubicBezTo>
                    <a:pt x="274" y="98"/>
                    <a:pt x="287" y="81"/>
                    <a:pt x="328" y="81"/>
                  </a:cubicBezTo>
                  <a:cubicBezTo>
                    <a:pt x="967" y="81"/>
                    <a:pt x="967" y="81"/>
                    <a:pt x="967" y="81"/>
                  </a:cubicBezTo>
                  <a:cubicBezTo>
                    <a:pt x="967" y="142"/>
                    <a:pt x="967" y="142"/>
                    <a:pt x="967" y="142"/>
                  </a:cubicBezTo>
                  <a:cubicBezTo>
                    <a:pt x="1048" y="142"/>
                    <a:pt x="1048" y="142"/>
                    <a:pt x="1048" y="142"/>
                  </a:cubicBezTo>
                  <a:cubicBezTo>
                    <a:pt x="1048" y="0"/>
                    <a:pt x="1048" y="0"/>
                    <a:pt x="1048" y="0"/>
                  </a:cubicBezTo>
                  <a:cubicBezTo>
                    <a:pt x="328" y="0"/>
                    <a:pt x="328" y="0"/>
                    <a:pt x="328" y="0"/>
                  </a:cubicBezTo>
                  <a:cubicBezTo>
                    <a:pt x="260" y="0"/>
                    <a:pt x="223" y="30"/>
                    <a:pt x="205" y="56"/>
                  </a:cubicBezTo>
                  <a:cubicBezTo>
                    <a:pt x="38" y="318"/>
                    <a:pt x="38" y="318"/>
                    <a:pt x="38" y="318"/>
                  </a:cubicBezTo>
                  <a:cubicBezTo>
                    <a:pt x="19" y="345"/>
                    <a:pt x="0" y="383"/>
                    <a:pt x="0" y="426"/>
                  </a:cubicBezTo>
                  <a:cubicBezTo>
                    <a:pt x="0" y="814"/>
                    <a:pt x="0" y="814"/>
                    <a:pt x="0" y="814"/>
                  </a:cubicBezTo>
                  <a:cubicBezTo>
                    <a:pt x="240" y="814"/>
                    <a:pt x="240" y="814"/>
                    <a:pt x="240" y="814"/>
                  </a:cubicBezTo>
                  <a:cubicBezTo>
                    <a:pt x="240" y="733"/>
                    <a:pt x="240" y="733"/>
                    <a:pt x="240" y="733"/>
                  </a:cubicBezTo>
                  <a:cubicBezTo>
                    <a:pt x="81" y="733"/>
                    <a:pt x="81" y="733"/>
                    <a:pt x="81" y="733"/>
                  </a:cubicBezTo>
                  <a:cubicBezTo>
                    <a:pt x="81" y="426"/>
                    <a:pt x="81" y="426"/>
                    <a:pt x="81" y="426"/>
                  </a:cubicBezTo>
                  <a:cubicBezTo>
                    <a:pt x="81" y="357"/>
                    <a:pt x="213" y="303"/>
                    <a:pt x="280" y="297"/>
                  </a:cubicBezTo>
                  <a:cubicBezTo>
                    <a:pt x="258" y="241"/>
                    <a:pt x="241" y="148"/>
                    <a:pt x="270" y="10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16" name="Freeform 35"/>
            <p:cNvSpPr>
              <a:spLocks noEditPoints="1"/>
            </p:cNvSpPr>
            <p:nvPr/>
          </p:nvSpPr>
          <p:spPr bwMode="auto">
            <a:xfrm>
              <a:off x="760426" y="2959065"/>
              <a:ext cx="242927" cy="243798"/>
            </a:xfrm>
            <a:custGeom>
              <a:avLst/>
              <a:gdLst>
                <a:gd name="T0" fmla="*/ 327 w 941"/>
                <a:gd name="T1" fmla="*/ 277 h 944"/>
                <a:gd name="T2" fmla="*/ 327 w 941"/>
                <a:gd name="T3" fmla="*/ 321 h 944"/>
                <a:gd name="T4" fmla="*/ 344 w 941"/>
                <a:gd name="T5" fmla="*/ 338 h 944"/>
                <a:gd name="T6" fmla="*/ 45 w 941"/>
                <a:gd name="T7" fmla="*/ 510 h 944"/>
                <a:gd name="T8" fmla="*/ 44 w 941"/>
                <a:gd name="T9" fmla="*/ 547 h 944"/>
                <a:gd name="T10" fmla="*/ 0 w 941"/>
                <a:gd name="T11" fmla="*/ 640 h 944"/>
                <a:gd name="T12" fmla="*/ 72 w 941"/>
                <a:gd name="T13" fmla="*/ 596 h 944"/>
                <a:gd name="T14" fmla="*/ 87 w 941"/>
                <a:gd name="T15" fmla="*/ 595 h 944"/>
                <a:gd name="T16" fmla="*/ 414 w 941"/>
                <a:gd name="T17" fmla="*/ 408 h 944"/>
                <a:gd name="T18" fmla="*/ 449 w 941"/>
                <a:gd name="T19" fmla="*/ 443 h 944"/>
                <a:gd name="T20" fmla="*/ 443 w 941"/>
                <a:gd name="T21" fmla="*/ 449 h 944"/>
                <a:gd name="T22" fmla="*/ 443 w 941"/>
                <a:gd name="T23" fmla="*/ 502 h 944"/>
                <a:gd name="T24" fmla="*/ 496 w 941"/>
                <a:gd name="T25" fmla="*/ 502 h 944"/>
                <a:gd name="T26" fmla="*/ 502 w 941"/>
                <a:gd name="T27" fmla="*/ 496 h 944"/>
                <a:gd name="T28" fmla="*/ 536 w 941"/>
                <a:gd name="T29" fmla="*/ 530 h 944"/>
                <a:gd name="T30" fmla="*/ 349 w 941"/>
                <a:gd name="T31" fmla="*/ 855 h 944"/>
                <a:gd name="T32" fmla="*/ 348 w 941"/>
                <a:gd name="T33" fmla="*/ 872 h 944"/>
                <a:gd name="T34" fmla="*/ 304 w 941"/>
                <a:gd name="T35" fmla="*/ 944 h 944"/>
                <a:gd name="T36" fmla="*/ 396 w 941"/>
                <a:gd name="T37" fmla="*/ 899 h 944"/>
                <a:gd name="T38" fmla="*/ 433 w 941"/>
                <a:gd name="T39" fmla="*/ 899 h 944"/>
                <a:gd name="T40" fmla="*/ 605 w 941"/>
                <a:gd name="T41" fmla="*/ 599 h 944"/>
                <a:gd name="T42" fmla="*/ 624 w 941"/>
                <a:gd name="T43" fmla="*/ 618 h 944"/>
                <a:gd name="T44" fmla="*/ 668 w 941"/>
                <a:gd name="T45" fmla="*/ 618 h 944"/>
                <a:gd name="T46" fmla="*/ 668 w 941"/>
                <a:gd name="T47" fmla="*/ 575 h 944"/>
                <a:gd name="T48" fmla="*/ 637 w 941"/>
                <a:gd name="T49" fmla="*/ 544 h 944"/>
                <a:gd name="T50" fmla="*/ 747 w 941"/>
                <a:gd name="T51" fmla="*/ 353 h 944"/>
                <a:gd name="T52" fmla="*/ 843 w 941"/>
                <a:gd name="T53" fmla="*/ 310 h 944"/>
                <a:gd name="T54" fmla="*/ 866 w 941"/>
                <a:gd name="T55" fmla="*/ 132 h 944"/>
                <a:gd name="T56" fmla="*/ 927 w 941"/>
                <a:gd name="T57" fmla="*/ 71 h 944"/>
                <a:gd name="T58" fmla="*/ 927 w 941"/>
                <a:gd name="T59" fmla="*/ 18 h 944"/>
                <a:gd name="T60" fmla="*/ 874 w 941"/>
                <a:gd name="T61" fmla="*/ 18 h 944"/>
                <a:gd name="T62" fmla="*/ 813 w 941"/>
                <a:gd name="T63" fmla="*/ 79 h 944"/>
                <a:gd name="T64" fmla="*/ 635 w 941"/>
                <a:gd name="T65" fmla="*/ 102 h 944"/>
                <a:gd name="T66" fmla="*/ 592 w 941"/>
                <a:gd name="T67" fmla="*/ 196 h 944"/>
                <a:gd name="T68" fmla="*/ 400 w 941"/>
                <a:gd name="T69" fmla="*/ 306 h 944"/>
                <a:gd name="T70" fmla="*/ 370 w 941"/>
                <a:gd name="T71" fmla="*/ 277 h 944"/>
                <a:gd name="T72" fmla="*/ 327 w 941"/>
                <a:gd name="T73" fmla="*/ 277 h 944"/>
                <a:gd name="T74" fmla="*/ 500 w 941"/>
                <a:gd name="T75" fmla="*/ 393 h 944"/>
                <a:gd name="T76" fmla="*/ 493 w 941"/>
                <a:gd name="T77" fmla="*/ 399 h 944"/>
                <a:gd name="T78" fmla="*/ 470 w 941"/>
                <a:gd name="T79" fmla="*/ 376 h 944"/>
                <a:gd name="T80" fmla="*/ 618 w 941"/>
                <a:gd name="T81" fmla="*/ 290 h 944"/>
                <a:gd name="T82" fmla="*/ 635 w 941"/>
                <a:gd name="T83" fmla="*/ 310 h 944"/>
                <a:gd name="T84" fmla="*/ 653 w 941"/>
                <a:gd name="T85" fmla="*/ 325 h 944"/>
                <a:gd name="T86" fmla="*/ 568 w 941"/>
                <a:gd name="T87" fmla="*/ 474 h 944"/>
                <a:gd name="T88" fmla="*/ 546 w 941"/>
                <a:gd name="T89" fmla="*/ 452 h 944"/>
                <a:gd name="T90" fmla="*/ 552 w 941"/>
                <a:gd name="T91" fmla="*/ 445 h 944"/>
                <a:gd name="T92" fmla="*/ 552 w 941"/>
                <a:gd name="T93" fmla="*/ 393 h 944"/>
                <a:gd name="T94" fmla="*/ 500 w 941"/>
                <a:gd name="T95" fmla="*/ 393 h 944"/>
                <a:gd name="T96" fmla="*/ 739 w 941"/>
                <a:gd name="T97" fmla="*/ 270 h 944"/>
                <a:gd name="T98" fmla="*/ 675 w 941"/>
                <a:gd name="T99" fmla="*/ 206 h 944"/>
                <a:gd name="T100" fmla="*/ 739 w 941"/>
                <a:gd name="T101" fmla="*/ 142 h 944"/>
                <a:gd name="T102" fmla="*/ 803 w 941"/>
                <a:gd name="T103" fmla="*/ 206 h 944"/>
                <a:gd name="T104" fmla="*/ 739 w 941"/>
                <a:gd name="T105" fmla="*/ 270 h 9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941" h="944">
                  <a:moveTo>
                    <a:pt x="327" y="277"/>
                  </a:moveTo>
                  <a:cubicBezTo>
                    <a:pt x="314" y="289"/>
                    <a:pt x="314" y="308"/>
                    <a:pt x="327" y="321"/>
                  </a:cubicBezTo>
                  <a:cubicBezTo>
                    <a:pt x="344" y="338"/>
                    <a:pt x="344" y="338"/>
                    <a:pt x="344" y="338"/>
                  </a:cubicBezTo>
                  <a:cubicBezTo>
                    <a:pt x="45" y="510"/>
                    <a:pt x="45" y="510"/>
                    <a:pt x="45" y="510"/>
                  </a:cubicBezTo>
                  <a:cubicBezTo>
                    <a:pt x="44" y="547"/>
                    <a:pt x="44" y="547"/>
                    <a:pt x="44" y="547"/>
                  </a:cubicBezTo>
                  <a:cubicBezTo>
                    <a:pt x="0" y="640"/>
                    <a:pt x="0" y="640"/>
                    <a:pt x="0" y="640"/>
                  </a:cubicBezTo>
                  <a:cubicBezTo>
                    <a:pt x="72" y="596"/>
                    <a:pt x="72" y="596"/>
                    <a:pt x="72" y="596"/>
                  </a:cubicBezTo>
                  <a:cubicBezTo>
                    <a:pt x="87" y="595"/>
                    <a:pt x="87" y="595"/>
                    <a:pt x="87" y="595"/>
                  </a:cubicBezTo>
                  <a:cubicBezTo>
                    <a:pt x="414" y="408"/>
                    <a:pt x="414" y="408"/>
                    <a:pt x="414" y="408"/>
                  </a:cubicBezTo>
                  <a:cubicBezTo>
                    <a:pt x="449" y="443"/>
                    <a:pt x="449" y="443"/>
                    <a:pt x="449" y="443"/>
                  </a:cubicBezTo>
                  <a:cubicBezTo>
                    <a:pt x="443" y="449"/>
                    <a:pt x="443" y="449"/>
                    <a:pt x="443" y="449"/>
                  </a:cubicBezTo>
                  <a:cubicBezTo>
                    <a:pt x="429" y="464"/>
                    <a:pt x="429" y="487"/>
                    <a:pt x="443" y="502"/>
                  </a:cubicBezTo>
                  <a:cubicBezTo>
                    <a:pt x="455" y="514"/>
                    <a:pt x="478" y="519"/>
                    <a:pt x="496" y="502"/>
                  </a:cubicBezTo>
                  <a:cubicBezTo>
                    <a:pt x="502" y="496"/>
                    <a:pt x="502" y="496"/>
                    <a:pt x="502" y="496"/>
                  </a:cubicBezTo>
                  <a:cubicBezTo>
                    <a:pt x="536" y="530"/>
                    <a:pt x="536" y="530"/>
                    <a:pt x="536" y="530"/>
                  </a:cubicBezTo>
                  <a:cubicBezTo>
                    <a:pt x="349" y="855"/>
                    <a:pt x="349" y="855"/>
                    <a:pt x="349" y="855"/>
                  </a:cubicBezTo>
                  <a:cubicBezTo>
                    <a:pt x="348" y="872"/>
                    <a:pt x="348" y="872"/>
                    <a:pt x="348" y="872"/>
                  </a:cubicBezTo>
                  <a:cubicBezTo>
                    <a:pt x="304" y="944"/>
                    <a:pt x="304" y="944"/>
                    <a:pt x="304" y="944"/>
                  </a:cubicBezTo>
                  <a:cubicBezTo>
                    <a:pt x="396" y="899"/>
                    <a:pt x="396" y="899"/>
                    <a:pt x="396" y="899"/>
                  </a:cubicBezTo>
                  <a:cubicBezTo>
                    <a:pt x="433" y="899"/>
                    <a:pt x="433" y="899"/>
                    <a:pt x="433" y="899"/>
                  </a:cubicBezTo>
                  <a:cubicBezTo>
                    <a:pt x="605" y="599"/>
                    <a:pt x="605" y="599"/>
                    <a:pt x="605" y="599"/>
                  </a:cubicBezTo>
                  <a:cubicBezTo>
                    <a:pt x="624" y="618"/>
                    <a:pt x="624" y="618"/>
                    <a:pt x="624" y="618"/>
                  </a:cubicBezTo>
                  <a:cubicBezTo>
                    <a:pt x="632" y="627"/>
                    <a:pt x="653" y="634"/>
                    <a:pt x="668" y="618"/>
                  </a:cubicBezTo>
                  <a:cubicBezTo>
                    <a:pt x="680" y="606"/>
                    <a:pt x="680" y="587"/>
                    <a:pt x="668" y="575"/>
                  </a:cubicBezTo>
                  <a:cubicBezTo>
                    <a:pt x="637" y="544"/>
                    <a:pt x="637" y="544"/>
                    <a:pt x="637" y="544"/>
                  </a:cubicBezTo>
                  <a:cubicBezTo>
                    <a:pt x="747" y="353"/>
                    <a:pt x="747" y="353"/>
                    <a:pt x="747" y="353"/>
                  </a:cubicBezTo>
                  <a:cubicBezTo>
                    <a:pt x="782" y="351"/>
                    <a:pt x="816" y="337"/>
                    <a:pt x="843" y="310"/>
                  </a:cubicBezTo>
                  <a:cubicBezTo>
                    <a:pt x="891" y="262"/>
                    <a:pt x="899" y="188"/>
                    <a:pt x="866" y="132"/>
                  </a:cubicBezTo>
                  <a:cubicBezTo>
                    <a:pt x="927" y="71"/>
                    <a:pt x="927" y="71"/>
                    <a:pt x="927" y="71"/>
                  </a:cubicBezTo>
                  <a:cubicBezTo>
                    <a:pt x="941" y="56"/>
                    <a:pt x="941" y="33"/>
                    <a:pt x="927" y="18"/>
                  </a:cubicBezTo>
                  <a:cubicBezTo>
                    <a:pt x="908" y="0"/>
                    <a:pt x="883" y="9"/>
                    <a:pt x="874" y="18"/>
                  </a:cubicBezTo>
                  <a:cubicBezTo>
                    <a:pt x="813" y="79"/>
                    <a:pt x="813" y="79"/>
                    <a:pt x="813" y="79"/>
                  </a:cubicBezTo>
                  <a:cubicBezTo>
                    <a:pt x="758" y="47"/>
                    <a:pt x="685" y="54"/>
                    <a:pt x="635" y="102"/>
                  </a:cubicBezTo>
                  <a:cubicBezTo>
                    <a:pt x="608" y="127"/>
                    <a:pt x="595" y="162"/>
                    <a:pt x="592" y="196"/>
                  </a:cubicBezTo>
                  <a:cubicBezTo>
                    <a:pt x="400" y="306"/>
                    <a:pt x="400" y="306"/>
                    <a:pt x="400" y="306"/>
                  </a:cubicBezTo>
                  <a:cubicBezTo>
                    <a:pt x="370" y="277"/>
                    <a:pt x="370" y="277"/>
                    <a:pt x="370" y="277"/>
                  </a:cubicBezTo>
                  <a:cubicBezTo>
                    <a:pt x="359" y="267"/>
                    <a:pt x="341" y="263"/>
                    <a:pt x="327" y="277"/>
                  </a:cubicBezTo>
                  <a:close/>
                  <a:moveTo>
                    <a:pt x="500" y="393"/>
                  </a:moveTo>
                  <a:cubicBezTo>
                    <a:pt x="493" y="399"/>
                    <a:pt x="493" y="399"/>
                    <a:pt x="493" y="399"/>
                  </a:cubicBezTo>
                  <a:cubicBezTo>
                    <a:pt x="470" y="376"/>
                    <a:pt x="470" y="376"/>
                    <a:pt x="470" y="376"/>
                  </a:cubicBezTo>
                  <a:cubicBezTo>
                    <a:pt x="618" y="290"/>
                    <a:pt x="618" y="290"/>
                    <a:pt x="618" y="290"/>
                  </a:cubicBezTo>
                  <a:cubicBezTo>
                    <a:pt x="623" y="297"/>
                    <a:pt x="629" y="304"/>
                    <a:pt x="635" y="310"/>
                  </a:cubicBezTo>
                  <a:cubicBezTo>
                    <a:pt x="641" y="316"/>
                    <a:pt x="647" y="321"/>
                    <a:pt x="653" y="325"/>
                  </a:cubicBezTo>
                  <a:cubicBezTo>
                    <a:pt x="568" y="474"/>
                    <a:pt x="568" y="474"/>
                    <a:pt x="568" y="474"/>
                  </a:cubicBezTo>
                  <a:cubicBezTo>
                    <a:pt x="546" y="452"/>
                    <a:pt x="546" y="452"/>
                    <a:pt x="546" y="452"/>
                  </a:cubicBezTo>
                  <a:cubicBezTo>
                    <a:pt x="552" y="445"/>
                    <a:pt x="552" y="445"/>
                    <a:pt x="552" y="445"/>
                  </a:cubicBezTo>
                  <a:cubicBezTo>
                    <a:pt x="567" y="431"/>
                    <a:pt x="567" y="407"/>
                    <a:pt x="552" y="393"/>
                  </a:cubicBezTo>
                  <a:cubicBezTo>
                    <a:pt x="535" y="376"/>
                    <a:pt x="513" y="380"/>
                    <a:pt x="500" y="393"/>
                  </a:cubicBezTo>
                  <a:close/>
                  <a:moveTo>
                    <a:pt x="739" y="270"/>
                  </a:moveTo>
                  <a:cubicBezTo>
                    <a:pt x="703" y="270"/>
                    <a:pt x="675" y="241"/>
                    <a:pt x="675" y="206"/>
                  </a:cubicBezTo>
                  <a:cubicBezTo>
                    <a:pt x="675" y="171"/>
                    <a:pt x="703" y="142"/>
                    <a:pt x="739" y="142"/>
                  </a:cubicBezTo>
                  <a:cubicBezTo>
                    <a:pt x="774" y="142"/>
                    <a:pt x="803" y="171"/>
                    <a:pt x="803" y="206"/>
                  </a:cubicBezTo>
                  <a:cubicBezTo>
                    <a:pt x="803" y="241"/>
                    <a:pt x="774" y="270"/>
                    <a:pt x="739" y="27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cxnSp>
        <p:nvCxnSpPr>
          <p:cNvPr id="118" name="Straight Connector 117"/>
          <p:cNvCxnSpPr/>
          <p:nvPr/>
        </p:nvCxnSpPr>
        <p:spPr>
          <a:xfrm>
            <a:off x="1070439" y="4485462"/>
            <a:ext cx="1891470" cy="0"/>
          </a:xfrm>
          <a:prstGeom prst="line">
            <a:avLst/>
          </a:prstGeom>
          <a:ln w="28575">
            <a:solidFill>
              <a:schemeClr val="tx1"/>
            </a:solidFill>
            <a:prstDash val="sysDot"/>
            <a:headEnd type="oval" w="sm" len="sm"/>
            <a:tailEnd type="oval" w="sm" len="sm"/>
          </a:ln>
        </p:spPr>
        <p:style>
          <a:lnRef idx="1">
            <a:schemeClr val="accent1"/>
          </a:lnRef>
          <a:fillRef idx="0">
            <a:schemeClr val="accent1"/>
          </a:fillRef>
          <a:effectRef idx="0">
            <a:schemeClr val="accent1"/>
          </a:effectRef>
          <a:fontRef idx="minor">
            <a:schemeClr val="tx1"/>
          </a:fontRef>
        </p:style>
      </p:cxnSp>
      <p:sp>
        <p:nvSpPr>
          <p:cNvPr id="120" name="Rectangle 1081"/>
          <p:cNvSpPr/>
          <p:nvPr/>
        </p:nvSpPr>
        <p:spPr bwMode="auto">
          <a:xfrm>
            <a:off x="999799" y="3990784"/>
            <a:ext cx="1982520" cy="44662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14367"/>
            <a:r>
              <a:rPr lang="en-US" sz="1200">
                <a:solidFill>
                  <a:srgbClr val="000000"/>
                </a:solidFill>
                <a:cs typeface="Segoe UI Light" panose="020B0502040204020203" pitchFamily="34" charset="0"/>
              </a:rPr>
              <a:t>Azure services</a:t>
            </a:r>
          </a:p>
          <a:p>
            <a:pPr defTabSz="914367">
              <a:spcAft>
                <a:spcPts val="600"/>
              </a:spcAft>
            </a:pPr>
            <a:r>
              <a:rPr lang="en-US" sz="900" i="1">
                <a:solidFill>
                  <a:srgbClr val="000000"/>
                </a:solidFill>
                <a:cs typeface="Segoe UI Light" panose="020B0502040204020203" pitchFamily="34" charset="0"/>
              </a:rPr>
              <a:t>Azure SQL, Stream Analytics…</a:t>
            </a:r>
          </a:p>
        </p:txBody>
      </p:sp>
      <p:sp>
        <p:nvSpPr>
          <p:cNvPr id="122" name="Oval 1083"/>
          <p:cNvSpPr/>
          <p:nvPr/>
        </p:nvSpPr>
        <p:spPr bwMode="auto">
          <a:xfrm>
            <a:off x="644325" y="4030966"/>
            <a:ext cx="365760" cy="365760"/>
          </a:xfrm>
          <a:prstGeom prst="ellipse">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2400" err="1">
              <a:gradFill>
                <a:gsLst>
                  <a:gs pos="0">
                    <a:srgbClr val="FFFFFF"/>
                  </a:gs>
                  <a:gs pos="100000">
                    <a:srgbClr val="FFFFFF"/>
                  </a:gs>
                </a:gsLst>
                <a:lin ang="5400000" scaled="0"/>
              </a:gradFill>
              <a:ea typeface="Segoe UI" pitchFamily="34" charset="0"/>
              <a:cs typeface="Segoe UI" pitchFamily="34" charset="0"/>
            </a:endParaRPr>
          </a:p>
        </p:txBody>
      </p:sp>
      <p:grpSp>
        <p:nvGrpSpPr>
          <p:cNvPr id="123" name="Group 379"/>
          <p:cNvGrpSpPr/>
          <p:nvPr/>
        </p:nvGrpSpPr>
        <p:grpSpPr>
          <a:xfrm>
            <a:off x="710525" y="4151670"/>
            <a:ext cx="233359" cy="162454"/>
            <a:chOff x="3543365" y="7242811"/>
            <a:chExt cx="1238250" cy="862013"/>
          </a:xfrm>
          <a:solidFill>
            <a:schemeClr val="tx1"/>
          </a:solidFill>
        </p:grpSpPr>
        <p:sp>
          <p:nvSpPr>
            <p:cNvPr id="124" name="Freeform 127"/>
            <p:cNvSpPr>
              <a:spLocks/>
            </p:cNvSpPr>
            <p:nvPr/>
          </p:nvSpPr>
          <p:spPr bwMode="auto">
            <a:xfrm>
              <a:off x="3617978" y="7911149"/>
              <a:ext cx="231775" cy="193675"/>
            </a:xfrm>
            <a:custGeom>
              <a:avLst/>
              <a:gdLst>
                <a:gd name="T0" fmla="*/ 0 w 146"/>
                <a:gd name="T1" fmla="*/ 84 h 122"/>
                <a:gd name="T2" fmla="*/ 0 w 146"/>
                <a:gd name="T3" fmla="*/ 122 h 122"/>
                <a:gd name="T4" fmla="*/ 146 w 146"/>
                <a:gd name="T5" fmla="*/ 122 h 122"/>
                <a:gd name="T6" fmla="*/ 146 w 146"/>
                <a:gd name="T7" fmla="*/ 0 h 122"/>
                <a:gd name="T8" fmla="*/ 120 w 146"/>
                <a:gd name="T9" fmla="*/ 0 h 122"/>
                <a:gd name="T10" fmla="*/ 0 w 146"/>
                <a:gd name="T11" fmla="*/ 84 h 122"/>
              </a:gdLst>
              <a:ahLst/>
              <a:cxnLst>
                <a:cxn ang="0">
                  <a:pos x="T0" y="T1"/>
                </a:cxn>
                <a:cxn ang="0">
                  <a:pos x="T2" y="T3"/>
                </a:cxn>
                <a:cxn ang="0">
                  <a:pos x="T4" y="T5"/>
                </a:cxn>
                <a:cxn ang="0">
                  <a:pos x="T6" y="T7"/>
                </a:cxn>
                <a:cxn ang="0">
                  <a:pos x="T8" y="T9"/>
                </a:cxn>
                <a:cxn ang="0">
                  <a:pos x="T10" y="T11"/>
                </a:cxn>
              </a:cxnLst>
              <a:rect l="0" t="0" r="r" b="b"/>
              <a:pathLst>
                <a:path w="146" h="122">
                  <a:moveTo>
                    <a:pt x="0" y="84"/>
                  </a:moveTo>
                  <a:lnTo>
                    <a:pt x="0" y="122"/>
                  </a:lnTo>
                  <a:lnTo>
                    <a:pt x="146" y="122"/>
                  </a:lnTo>
                  <a:lnTo>
                    <a:pt x="146" y="0"/>
                  </a:lnTo>
                  <a:lnTo>
                    <a:pt x="120" y="0"/>
                  </a:lnTo>
                  <a:lnTo>
                    <a:pt x="0" y="84"/>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25" name="Freeform 128"/>
            <p:cNvSpPr>
              <a:spLocks/>
            </p:cNvSpPr>
            <p:nvPr/>
          </p:nvSpPr>
          <p:spPr bwMode="auto">
            <a:xfrm>
              <a:off x="3617978" y="7688899"/>
              <a:ext cx="231775" cy="192088"/>
            </a:xfrm>
            <a:custGeom>
              <a:avLst/>
              <a:gdLst>
                <a:gd name="T0" fmla="*/ 146 w 146"/>
                <a:gd name="T1" fmla="*/ 0 h 121"/>
                <a:gd name="T2" fmla="*/ 0 w 146"/>
                <a:gd name="T3" fmla="*/ 0 h 121"/>
                <a:gd name="T4" fmla="*/ 0 w 146"/>
                <a:gd name="T5" fmla="*/ 121 h 121"/>
                <a:gd name="T6" fmla="*/ 146 w 146"/>
                <a:gd name="T7" fmla="*/ 19 h 121"/>
                <a:gd name="T8" fmla="*/ 146 w 146"/>
                <a:gd name="T9" fmla="*/ 0 h 121"/>
              </a:gdLst>
              <a:ahLst/>
              <a:cxnLst>
                <a:cxn ang="0">
                  <a:pos x="T0" y="T1"/>
                </a:cxn>
                <a:cxn ang="0">
                  <a:pos x="T2" y="T3"/>
                </a:cxn>
                <a:cxn ang="0">
                  <a:pos x="T4" y="T5"/>
                </a:cxn>
                <a:cxn ang="0">
                  <a:pos x="T6" y="T7"/>
                </a:cxn>
                <a:cxn ang="0">
                  <a:pos x="T8" y="T9"/>
                </a:cxn>
              </a:cxnLst>
              <a:rect l="0" t="0" r="r" b="b"/>
              <a:pathLst>
                <a:path w="146" h="121">
                  <a:moveTo>
                    <a:pt x="146" y="0"/>
                  </a:moveTo>
                  <a:lnTo>
                    <a:pt x="0" y="0"/>
                  </a:lnTo>
                  <a:lnTo>
                    <a:pt x="0" y="121"/>
                  </a:lnTo>
                  <a:lnTo>
                    <a:pt x="146" y="19"/>
                  </a:lnTo>
                  <a:lnTo>
                    <a:pt x="146"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26" name="Rectangle 129"/>
            <p:cNvSpPr>
              <a:spLocks noChangeArrowheads="1"/>
            </p:cNvSpPr>
            <p:nvPr/>
          </p:nvSpPr>
          <p:spPr bwMode="auto">
            <a:xfrm>
              <a:off x="3617978" y="7466649"/>
              <a:ext cx="231775" cy="193675"/>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27" name="Rectangle 130"/>
            <p:cNvSpPr>
              <a:spLocks noChangeArrowheads="1"/>
            </p:cNvSpPr>
            <p:nvPr/>
          </p:nvSpPr>
          <p:spPr bwMode="auto">
            <a:xfrm>
              <a:off x="3617978" y="7242811"/>
              <a:ext cx="231775" cy="195263"/>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28" name="Freeform 131"/>
            <p:cNvSpPr>
              <a:spLocks/>
            </p:cNvSpPr>
            <p:nvPr/>
          </p:nvSpPr>
          <p:spPr bwMode="auto">
            <a:xfrm>
              <a:off x="3895790" y="7911149"/>
              <a:ext cx="230188" cy="193675"/>
            </a:xfrm>
            <a:custGeom>
              <a:avLst/>
              <a:gdLst>
                <a:gd name="T0" fmla="*/ 0 w 250"/>
                <a:gd name="T1" fmla="*/ 210 h 210"/>
                <a:gd name="T2" fmla="*/ 250 w 250"/>
                <a:gd name="T3" fmla="*/ 210 h 210"/>
                <a:gd name="T4" fmla="*/ 250 w 250"/>
                <a:gd name="T5" fmla="*/ 3 h 210"/>
                <a:gd name="T6" fmla="*/ 249 w 250"/>
                <a:gd name="T7" fmla="*/ 0 h 210"/>
                <a:gd name="T8" fmla="*/ 0 w 250"/>
                <a:gd name="T9" fmla="*/ 0 h 210"/>
                <a:gd name="T10" fmla="*/ 0 w 250"/>
                <a:gd name="T11" fmla="*/ 210 h 210"/>
              </a:gdLst>
              <a:ahLst/>
              <a:cxnLst>
                <a:cxn ang="0">
                  <a:pos x="T0" y="T1"/>
                </a:cxn>
                <a:cxn ang="0">
                  <a:pos x="T2" y="T3"/>
                </a:cxn>
                <a:cxn ang="0">
                  <a:pos x="T4" y="T5"/>
                </a:cxn>
                <a:cxn ang="0">
                  <a:pos x="T6" y="T7"/>
                </a:cxn>
                <a:cxn ang="0">
                  <a:pos x="T8" y="T9"/>
                </a:cxn>
                <a:cxn ang="0">
                  <a:pos x="T10" y="T11"/>
                </a:cxn>
              </a:cxnLst>
              <a:rect l="0" t="0" r="r" b="b"/>
              <a:pathLst>
                <a:path w="250" h="210">
                  <a:moveTo>
                    <a:pt x="0" y="210"/>
                  </a:moveTo>
                  <a:cubicBezTo>
                    <a:pt x="250" y="210"/>
                    <a:pt x="250" y="210"/>
                    <a:pt x="250" y="210"/>
                  </a:cubicBezTo>
                  <a:cubicBezTo>
                    <a:pt x="250" y="3"/>
                    <a:pt x="250" y="3"/>
                    <a:pt x="250" y="3"/>
                  </a:cubicBezTo>
                  <a:cubicBezTo>
                    <a:pt x="250" y="2"/>
                    <a:pt x="249" y="1"/>
                    <a:pt x="249" y="0"/>
                  </a:cubicBezTo>
                  <a:cubicBezTo>
                    <a:pt x="0" y="0"/>
                    <a:pt x="0" y="0"/>
                    <a:pt x="0" y="0"/>
                  </a:cubicBezTo>
                  <a:lnTo>
                    <a:pt x="0" y="21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29" name="Freeform 132"/>
            <p:cNvSpPr>
              <a:spLocks/>
            </p:cNvSpPr>
            <p:nvPr/>
          </p:nvSpPr>
          <p:spPr bwMode="auto">
            <a:xfrm>
              <a:off x="4125978" y="7688899"/>
              <a:ext cx="0" cy="6350"/>
            </a:xfrm>
            <a:custGeom>
              <a:avLst/>
              <a:gdLst>
                <a:gd name="T0" fmla="*/ 1 w 1"/>
                <a:gd name="T1" fmla="*/ 0 h 8"/>
                <a:gd name="T2" fmla="*/ 0 w 1"/>
                <a:gd name="T3" fmla="*/ 0 h 8"/>
                <a:gd name="T4" fmla="*/ 1 w 1"/>
                <a:gd name="T5" fmla="*/ 8 h 8"/>
                <a:gd name="T6" fmla="*/ 1 w 1"/>
                <a:gd name="T7" fmla="*/ 0 h 8"/>
              </a:gdLst>
              <a:ahLst/>
              <a:cxnLst>
                <a:cxn ang="0">
                  <a:pos x="T0" y="T1"/>
                </a:cxn>
                <a:cxn ang="0">
                  <a:pos x="T2" y="T3"/>
                </a:cxn>
                <a:cxn ang="0">
                  <a:pos x="T4" y="T5"/>
                </a:cxn>
                <a:cxn ang="0">
                  <a:pos x="T6" y="T7"/>
                </a:cxn>
              </a:cxnLst>
              <a:rect l="0" t="0" r="r" b="b"/>
              <a:pathLst>
                <a:path w="1" h="8">
                  <a:moveTo>
                    <a:pt x="1" y="0"/>
                  </a:moveTo>
                  <a:cubicBezTo>
                    <a:pt x="0" y="0"/>
                    <a:pt x="0" y="0"/>
                    <a:pt x="0" y="0"/>
                  </a:cubicBezTo>
                  <a:cubicBezTo>
                    <a:pt x="0" y="3"/>
                    <a:pt x="1" y="5"/>
                    <a:pt x="1" y="8"/>
                  </a:cubicBezTo>
                  <a:lnTo>
                    <a:pt x="1"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0" name="Freeform 133"/>
            <p:cNvSpPr>
              <a:spLocks/>
            </p:cNvSpPr>
            <p:nvPr/>
          </p:nvSpPr>
          <p:spPr bwMode="auto">
            <a:xfrm>
              <a:off x="3895790" y="7812724"/>
              <a:ext cx="219075" cy="69850"/>
            </a:xfrm>
            <a:custGeom>
              <a:avLst/>
              <a:gdLst>
                <a:gd name="T0" fmla="*/ 186 w 238"/>
                <a:gd name="T1" fmla="*/ 9 h 76"/>
                <a:gd name="T2" fmla="*/ 131 w 238"/>
                <a:gd name="T3" fmla="*/ 22 h 76"/>
                <a:gd name="T4" fmla="*/ 60 w 238"/>
                <a:gd name="T5" fmla="*/ 0 h 76"/>
                <a:gd name="T6" fmla="*/ 0 w 238"/>
                <a:gd name="T7" fmla="*/ 42 h 76"/>
                <a:gd name="T8" fmla="*/ 0 w 238"/>
                <a:gd name="T9" fmla="*/ 76 h 76"/>
                <a:gd name="T10" fmla="*/ 238 w 238"/>
                <a:gd name="T11" fmla="*/ 76 h 76"/>
                <a:gd name="T12" fmla="*/ 236 w 238"/>
                <a:gd name="T13" fmla="*/ 53 h 76"/>
                <a:gd name="T14" fmla="*/ 236 w 238"/>
                <a:gd name="T15" fmla="*/ 49 h 76"/>
                <a:gd name="T16" fmla="*/ 186 w 238"/>
                <a:gd name="T17" fmla="*/ 9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8" h="76">
                  <a:moveTo>
                    <a:pt x="186" y="9"/>
                  </a:moveTo>
                  <a:cubicBezTo>
                    <a:pt x="169" y="18"/>
                    <a:pt x="150" y="22"/>
                    <a:pt x="131" y="22"/>
                  </a:cubicBezTo>
                  <a:cubicBezTo>
                    <a:pt x="105" y="22"/>
                    <a:pt x="80" y="14"/>
                    <a:pt x="60" y="0"/>
                  </a:cubicBezTo>
                  <a:cubicBezTo>
                    <a:pt x="0" y="42"/>
                    <a:pt x="0" y="42"/>
                    <a:pt x="0" y="42"/>
                  </a:cubicBezTo>
                  <a:cubicBezTo>
                    <a:pt x="0" y="76"/>
                    <a:pt x="0" y="76"/>
                    <a:pt x="0" y="76"/>
                  </a:cubicBezTo>
                  <a:cubicBezTo>
                    <a:pt x="238" y="76"/>
                    <a:pt x="238" y="76"/>
                    <a:pt x="238" y="76"/>
                  </a:cubicBezTo>
                  <a:cubicBezTo>
                    <a:pt x="237" y="68"/>
                    <a:pt x="236" y="61"/>
                    <a:pt x="236" y="53"/>
                  </a:cubicBezTo>
                  <a:cubicBezTo>
                    <a:pt x="236" y="51"/>
                    <a:pt x="236" y="50"/>
                    <a:pt x="236" y="49"/>
                  </a:cubicBezTo>
                  <a:lnTo>
                    <a:pt x="186" y="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1" name="Freeform 134"/>
            <p:cNvSpPr>
              <a:spLocks/>
            </p:cNvSpPr>
            <p:nvPr/>
          </p:nvSpPr>
          <p:spPr bwMode="auto">
            <a:xfrm>
              <a:off x="3895790" y="7466649"/>
              <a:ext cx="230188" cy="193675"/>
            </a:xfrm>
            <a:custGeom>
              <a:avLst/>
              <a:gdLst>
                <a:gd name="T0" fmla="*/ 131 w 250"/>
                <a:gd name="T1" fmla="*/ 153 h 210"/>
                <a:gd name="T2" fmla="*/ 235 w 250"/>
                <a:gd name="T3" fmla="*/ 210 h 210"/>
                <a:gd name="T4" fmla="*/ 250 w 250"/>
                <a:gd name="T5" fmla="*/ 210 h 210"/>
                <a:gd name="T6" fmla="*/ 250 w 250"/>
                <a:gd name="T7" fmla="*/ 0 h 210"/>
                <a:gd name="T8" fmla="*/ 0 w 250"/>
                <a:gd name="T9" fmla="*/ 0 h 210"/>
                <a:gd name="T10" fmla="*/ 0 w 250"/>
                <a:gd name="T11" fmla="*/ 210 h 210"/>
                <a:gd name="T12" fmla="*/ 27 w 250"/>
                <a:gd name="T13" fmla="*/ 210 h 210"/>
                <a:gd name="T14" fmla="*/ 131 w 250"/>
                <a:gd name="T15" fmla="*/ 153 h 2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10">
                  <a:moveTo>
                    <a:pt x="131" y="153"/>
                  </a:moveTo>
                  <a:cubicBezTo>
                    <a:pt x="175" y="153"/>
                    <a:pt x="213" y="176"/>
                    <a:pt x="235" y="210"/>
                  </a:cubicBezTo>
                  <a:cubicBezTo>
                    <a:pt x="250" y="210"/>
                    <a:pt x="250" y="210"/>
                    <a:pt x="250" y="210"/>
                  </a:cubicBezTo>
                  <a:cubicBezTo>
                    <a:pt x="250" y="0"/>
                    <a:pt x="250" y="0"/>
                    <a:pt x="250" y="0"/>
                  </a:cubicBezTo>
                  <a:cubicBezTo>
                    <a:pt x="0" y="0"/>
                    <a:pt x="0" y="0"/>
                    <a:pt x="0" y="0"/>
                  </a:cubicBezTo>
                  <a:cubicBezTo>
                    <a:pt x="0" y="210"/>
                    <a:pt x="0" y="210"/>
                    <a:pt x="0" y="210"/>
                  </a:cubicBezTo>
                  <a:cubicBezTo>
                    <a:pt x="27" y="210"/>
                    <a:pt x="27" y="210"/>
                    <a:pt x="27" y="210"/>
                  </a:cubicBezTo>
                  <a:cubicBezTo>
                    <a:pt x="49" y="175"/>
                    <a:pt x="88" y="153"/>
                    <a:pt x="131" y="15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2" name="Freeform 135"/>
            <p:cNvSpPr>
              <a:spLocks/>
            </p:cNvSpPr>
            <p:nvPr/>
          </p:nvSpPr>
          <p:spPr bwMode="auto">
            <a:xfrm>
              <a:off x="4173603" y="7911149"/>
              <a:ext cx="230188" cy="193675"/>
            </a:xfrm>
            <a:custGeom>
              <a:avLst/>
              <a:gdLst>
                <a:gd name="T0" fmla="*/ 58 w 250"/>
                <a:gd name="T1" fmla="*/ 69 h 210"/>
                <a:gd name="T2" fmla="*/ 0 w 250"/>
                <a:gd name="T3" fmla="*/ 54 h 210"/>
                <a:gd name="T4" fmla="*/ 0 w 250"/>
                <a:gd name="T5" fmla="*/ 210 h 210"/>
                <a:gd name="T6" fmla="*/ 250 w 250"/>
                <a:gd name="T7" fmla="*/ 210 h 210"/>
                <a:gd name="T8" fmla="*/ 250 w 250"/>
                <a:gd name="T9" fmla="*/ 0 h 210"/>
                <a:gd name="T10" fmla="*/ 168 w 250"/>
                <a:gd name="T11" fmla="*/ 0 h 210"/>
                <a:gd name="T12" fmla="*/ 58 w 250"/>
                <a:gd name="T13" fmla="*/ 69 h 210"/>
              </a:gdLst>
              <a:ahLst/>
              <a:cxnLst>
                <a:cxn ang="0">
                  <a:pos x="T0" y="T1"/>
                </a:cxn>
                <a:cxn ang="0">
                  <a:pos x="T2" y="T3"/>
                </a:cxn>
                <a:cxn ang="0">
                  <a:pos x="T4" y="T5"/>
                </a:cxn>
                <a:cxn ang="0">
                  <a:pos x="T6" y="T7"/>
                </a:cxn>
                <a:cxn ang="0">
                  <a:pos x="T8" y="T9"/>
                </a:cxn>
                <a:cxn ang="0">
                  <a:pos x="T10" y="T11"/>
                </a:cxn>
                <a:cxn ang="0">
                  <a:pos x="T12" y="T13"/>
                </a:cxn>
              </a:cxnLst>
              <a:rect l="0" t="0" r="r" b="b"/>
              <a:pathLst>
                <a:path w="250" h="210">
                  <a:moveTo>
                    <a:pt x="58" y="69"/>
                  </a:moveTo>
                  <a:cubicBezTo>
                    <a:pt x="37" y="69"/>
                    <a:pt x="17" y="63"/>
                    <a:pt x="0" y="54"/>
                  </a:cubicBezTo>
                  <a:cubicBezTo>
                    <a:pt x="0" y="210"/>
                    <a:pt x="0" y="210"/>
                    <a:pt x="0" y="210"/>
                  </a:cubicBezTo>
                  <a:cubicBezTo>
                    <a:pt x="250" y="210"/>
                    <a:pt x="250" y="210"/>
                    <a:pt x="250" y="210"/>
                  </a:cubicBezTo>
                  <a:cubicBezTo>
                    <a:pt x="250" y="0"/>
                    <a:pt x="250" y="0"/>
                    <a:pt x="250" y="0"/>
                  </a:cubicBezTo>
                  <a:cubicBezTo>
                    <a:pt x="168" y="0"/>
                    <a:pt x="168" y="0"/>
                    <a:pt x="168" y="0"/>
                  </a:cubicBezTo>
                  <a:cubicBezTo>
                    <a:pt x="148" y="41"/>
                    <a:pt x="106" y="69"/>
                    <a:pt x="58" y="69"/>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3" name="Freeform 136"/>
            <p:cNvSpPr>
              <a:spLocks/>
            </p:cNvSpPr>
            <p:nvPr/>
          </p:nvSpPr>
          <p:spPr bwMode="auto">
            <a:xfrm>
              <a:off x="4173603" y="7688899"/>
              <a:ext cx="168275" cy="63500"/>
            </a:xfrm>
            <a:custGeom>
              <a:avLst/>
              <a:gdLst>
                <a:gd name="T0" fmla="*/ 92 w 183"/>
                <a:gd name="T1" fmla="*/ 70 h 70"/>
                <a:gd name="T2" fmla="*/ 183 w 183"/>
                <a:gd name="T3" fmla="*/ 0 h 70"/>
                <a:gd name="T4" fmla="*/ 0 w 183"/>
                <a:gd name="T5" fmla="*/ 0 h 70"/>
                <a:gd name="T6" fmla="*/ 0 w 183"/>
                <a:gd name="T7" fmla="*/ 49 h 70"/>
                <a:gd name="T8" fmla="*/ 25 w 183"/>
                <a:gd name="T9" fmla="*/ 69 h 70"/>
                <a:gd name="T10" fmla="*/ 92 w 183"/>
                <a:gd name="T11" fmla="*/ 70 h 70"/>
              </a:gdLst>
              <a:ahLst/>
              <a:cxnLst>
                <a:cxn ang="0">
                  <a:pos x="T0" y="T1"/>
                </a:cxn>
                <a:cxn ang="0">
                  <a:pos x="T2" y="T3"/>
                </a:cxn>
                <a:cxn ang="0">
                  <a:pos x="T4" y="T5"/>
                </a:cxn>
                <a:cxn ang="0">
                  <a:pos x="T6" y="T7"/>
                </a:cxn>
                <a:cxn ang="0">
                  <a:pos x="T8" y="T9"/>
                </a:cxn>
                <a:cxn ang="0">
                  <a:pos x="T10" y="T11"/>
                </a:cxn>
              </a:cxnLst>
              <a:rect l="0" t="0" r="r" b="b"/>
              <a:pathLst>
                <a:path w="183" h="70">
                  <a:moveTo>
                    <a:pt x="92" y="70"/>
                  </a:moveTo>
                  <a:cubicBezTo>
                    <a:pt x="183" y="0"/>
                    <a:pt x="183" y="0"/>
                    <a:pt x="183" y="0"/>
                  </a:cubicBezTo>
                  <a:cubicBezTo>
                    <a:pt x="0" y="0"/>
                    <a:pt x="0" y="0"/>
                    <a:pt x="0" y="0"/>
                  </a:cubicBezTo>
                  <a:cubicBezTo>
                    <a:pt x="0" y="49"/>
                    <a:pt x="0" y="49"/>
                    <a:pt x="0" y="49"/>
                  </a:cubicBezTo>
                  <a:cubicBezTo>
                    <a:pt x="25" y="69"/>
                    <a:pt x="25" y="69"/>
                    <a:pt x="25" y="69"/>
                  </a:cubicBezTo>
                  <a:cubicBezTo>
                    <a:pt x="47" y="63"/>
                    <a:pt x="71" y="64"/>
                    <a:pt x="92" y="7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4" name="Freeform 137"/>
            <p:cNvSpPr>
              <a:spLocks/>
            </p:cNvSpPr>
            <p:nvPr/>
          </p:nvSpPr>
          <p:spPr bwMode="auto">
            <a:xfrm>
              <a:off x="4338703" y="7809549"/>
              <a:ext cx="65088" cy="73025"/>
            </a:xfrm>
            <a:custGeom>
              <a:avLst/>
              <a:gdLst>
                <a:gd name="T0" fmla="*/ 71 w 71"/>
                <a:gd name="T1" fmla="*/ 79 h 79"/>
                <a:gd name="T2" fmla="*/ 71 w 71"/>
                <a:gd name="T3" fmla="*/ 0 h 79"/>
                <a:gd name="T4" fmla="*/ 2 w 71"/>
                <a:gd name="T5" fmla="*/ 53 h 79"/>
                <a:gd name="T6" fmla="*/ 2 w 71"/>
                <a:gd name="T7" fmla="*/ 56 h 79"/>
                <a:gd name="T8" fmla="*/ 0 w 71"/>
                <a:gd name="T9" fmla="*/ 79 h 79"/>
                <a:gd name="T10" fmla="*/ 71 w 71"/>
                <a:gd name="T11" fmla="*/ 79 h 79"/>
              </a:gdLst>
              <a:ahLst/>
              <a:cxnLst>
                <a:cxn ang="0">
                  <a:pos x="T0" y="T1"/>
                </a:cxn>
                <a:cxn ang="0">
                  <a:pos x="T2" y="T3"/>
                </a:cxn>
                <a:cxn ang="0">
                  <a:pos x="T4" y="T5"/>
                </a:cxn>
                <a:cxn ang="0">
                  <a:pos x="T6" y="T7"/>
                </a:cxn>
                <a:cxn ang="0">
                  <a:pos x="T8" y="T9"/>
                </a:cxn>
                <a:cxn ang="0">
                  <a:pos x="T10" y="T11"/>
                </a:cxn>
              </a:cxnLst>
              <a:rect l="0" t="0" r="r" b="b"/>
              <a:pathLst>
                <a:path w="71" h="79">
                  <a:moveTo>
                    <a:pt x="71" y="79"/>
                  </a:moveTo>
                  <a:cubicBezTo>
                    <a:pt x="71" y="0"/>
                    <a:pt x="71" y="0"/>
                    <a:pt x="71" y="0"/>
                  </a:cubicBezTo>
                  <a:cubicBezTo>
                    <a:pt x="2" y="53"/>
                    <a:pt x="2" y="53"/>
                    <a:pt x="2" y="53"/>
                  </a:cubicBezTo>
                  <a:cubicBezTo>
                    <a:pt x="2" y="54"/>
                    <a:pt x="2" y="55"/>
                    <a:pt x="2" y="56"/>
                  </a:cubicBezTo>
                  <a:cubicBezTo>
                    <a:pt x="2" y="64"/>
                    <a:pt x="1" y="71"/>
                    <a:pt x="0" y="79"/>
                  </a:cubicBezTo>
                  <a:lnTo>
                    <a:pt x="71" y="7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5" name="Rectangle 138"/>
            <p:cNvSpPr>
              <a:spLocks noChangeArrowheads="1"/>
            </p:cNvSpPr>
            <p:nvPr/>
          </p:nvSpPr>
          <p:spPr bwMode="auto">
            <a:xfrm>
              <a:off x="4449828" y="7911149"/>
              <a:ext cx="231775" cy="193675"/>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6" name="Freeform 139"/>
            <p:cNvSpPr>
              <a:spLocks/>
            </p:cNvSpPr>
            <p:nvPr/>
          </p:nvSpPr>
          <p:spPr bwMode="auto">
            <a:xfrm>
              <a:off x="4449828" y="7688899"/>
              <a:ext cx="231775" cy="193675"/>
            </a:xfrm>
            <a:custGeom>
              <a:avLst/>
              <a:gdLst>
                <a:gd name="T0" fmla="*/ 0 w 146"/>
                <a:gd name="T1" fmla="*/ 54 h 122"/>
                <a:gd name="T2" fmla="*/ 0 w 146"/>
                <a:gd name="T3" fmla="*/ 122 h 122"/>
                <a:gd name="T4" fmla="*/ 146 w 146"/>
                <a:gd name="T5" fmla="*/ 122 h 122"/>
                <a:gd name="T6" fmla="*/ 146 w 146"/>
                <a:gd name="T7" fmla="*/ 0 h 122"/>
                <a:gd name="T8" fmla="*/ 72 w 146"/>
                <a:gd name="T9" fmla="*/ 0 h 122"/>
                <a:gd name="T10" fmla="*/ 0 w 146"/>
                <a:gd name="T11" fmla="*/ 54 h 122"/>
              </a:gdLst>
              <a:ahLst/>
              <a:cxnLst>
                <a:cxn ang="0">
                  <a:pos x="T0" y="T1"/>
                </a:cxn>
                <a:cxn ang="0">
                  <a:pos x="T2" y="T3"/>
                </a:cxn>
                <a:cxn ang="0">
                  <a:pos x="T4" y="T5"/>
                </a:cxn>
                <a:cxn ang="0">
                  <a:pos x="T6" y="T7"/>
                </a:cxn>
                <a:cxn ang="0">
                  <a:pos x="T8" y="T9"/>
                </a:cxn>
                <a:cxn ang="0">
                  <a:pos x="T10" y="T11"/>
                </a:cxn>
              </a:cxnLst>
              <a:rect l="0" t="0" r="r" b="b"/>
              <a:pathLst>
                <a:path w="146" h="122">
                  <a:moveTo>
                    <a:pt x="0" y="54"/>
                  </a:moveTo>
                  <a:lnTo>
                    <a:pt x="0" y="122"/>
                  </a:lnTo>
                  <a:lnTo>
                    <a:pt x="146" y="122"/>
                  </a:lnTo>
                  <a:lnTo>
                    <a:pt x="146" y="0"/>
                  </a:lnTo>
                  <a:lnTo>
                    <a:pt x="72" y="0"/>
                  </a:lnTo>
                  <a:lnTo>
                    <a:pt x="0" y="54"/>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7" name="Freeform 140"/>
            <p:cNvSpPr>
              <a:spLocks/>
            </p:cNvSpPr>
            <p:nvPr/>
          </p:nvSpPr>
          <p:spPr bwMode="auto">
            <a:xfrm>
              <a:off x="4600640" y="7622224"/>
              <a:ext cx="80963" cy="38100"/>
            </a:xfrm>
            <a:custGeom>
              <a:avLst/>
              <a:gdLst>
                <a:gd name="T0" fmla="*/ 0 w 51"/>
                <a:gd name="T1" fmla="*/ 24 h 24"/>
                <a:gd name="T2" fmla="*/ 51 w 51"/>
                <a:gd name="T3" fmla="*/ 24 h 24"/>
                <a:gd name="T4" fmla="*/ 32 w 51"/>
                <a:gd name="T5" fmla="*/ 0 h 24"/>
                <a:gd name="T6" fmla="*/ 0 w 51"/>
                <a:gd name="T7" fmla="*/ 24 h 24"/>
              </a:gdLst>
              <a:ahLst/>
              <a:cxnLst>
                <a:cxn ang="0">
                  <a:pos x="T0" y="T1"/>
                </a:cxn>
                <a:cxn ang="0">
                  <a:pos x="T2" y="T3"/>
                </a:cxn>
                <a:cxn ang="0">
                  <a:pos x="T4" y="T5"/>
                </a:cxn>
                <a:cxn ang="0">
                  <a:pos x="T6" y="T7"/>
                </a:cxn>
              </a:cxnLst>
              <a:rect l="0" t="0" r="r" b="b"/>
              <a:pathLst>
                <a:path w="51" h="24">
                  <a:moveTo>
                    <a:pt x="0" y="24"/>
                  </a:moveTo>
                  <a:lnTo>
                    <a:pt x="51" y="24"/>
                  </a:lnTo>
                  <a:lnTo>
                    <a:pt x="32" y="0"/>
                  </a:lnTo>
                  <a:lnTo>
                    <a:pt x="0" y="24"/>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8" name="Freeform 141"/>
            <p:cNvSpPr>
              <a:spLocks/>
            </p:cNvSpPr>
            <p:nvPr/>
          </p:nvSpPr>
          <p:spPr bwMode="auto">
            <a:xfrm>
              <a:off x="4449828" y="7466649"/>
              <a:ext cx="119063" cy="139700"/>
            </a:xfrm>
            <a:custGeom>
              <a:avLst/>
              <a:gdLst>
                <a:gd name="T0" fmla="*/ 52 w 75"/>
                <a:gd name="T1" fmla="*/ 0 h 88"/>
                <a:gd name="T2" fmla="*/ 0 w 75"/>
                <a:gd name="T3" fmla="*/ 0 h 88"/>
                <a:gd name="T4" fmla="*/ 0 w 75"/>
                <a:gd name="T5" fmla="*/ 88 h 88"/>
                <a:gd name="T6" fmla="*/ 75 w 75"/>
                <a:gd name="T7" fmla="*/ 30 h 88"/>
                <a:gd name="T8" fmla="*/ 52 w 75"/>
                <a:gd name="T9" fmla="*/ 0 h 88"/>
              </a:gdLst>
              <a:ahLst/>
              <a:cxnLst>
                <a:cxn ang="0">
                  <a:pos x="T0" y="T1"/>
                </a:cxn>
                <a:cxn ang="0">
                  <a:pos x="T2" y="T3"/>
                </a:cxn>
                <a:cxn ang="0">
                  <a:pos x="T4" y="T5"/>
                </a:cxn>
                <a:cxn ang="0">
                  <a:pos x="T6" y="T7"/>
                </a:cxn>
                <a:cxn ang="0">
                  <a:pos x="T8" y="T9"/>
                </a:cxn>
              </a:cxnLst>
              <a:rect l="0" t="0" r="r" b="b"/>
              <a:pathLst>
                <a:path w="75" h="88">
                  <a:moveTo>
                    <a:pt x="52" y="0"/>
                  </a:moveTo>
                  <a:lnTo>
                    <a:pt x="0" y="0"/>
                  </a:lnTo>
                  <a:lnTo>
                    <a:pt x="0" y="88"/>
                  </a:lnTo>
                  <a:lnTo>
                    <a:pt x="75" y="30"/>
                  </a:lnTo>
                  <a:lnTo>
                    <a:pt x="52"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9" name="Freeform 142"/>
            <p:cNvSpPr>
              <a:spLocks noEditPoints="1"/>
            </p:cNvSpPr>
            <p:nvPr/>
          </p:nvSpPr>
          <p:spPr bwMode="auto">
            <a:xfrm>
              <a:off x="3543365" y="7438074"/>
              <a:ext cx="1238250" cy="590550"/>
            </a:xfrm>
            <a:custGeom>
              <a:avLst/>
              <a:gdLst>
                <a:gd name="T0" fmla="*/ 1029 w 1342"/>
                <a:gd name="T1" fmla="*/ 198 h 640"/>
                <a:gd name="T2" fmla="*/ 781 w 1342"/>
                <a:gd name="T3" fmla="*/ 388 h 640"/>
                <a:gd name="T4" fmla="*/ 775 w 1342"/>
                <a:gd name="T5" fmla="*/ 384 h 640"/>
                <a:gd name="T6" fmla="*/ 764 w 1342"/>
                <a:gd name="T7" fmla="*/ 380 h 640"/>
                <a:gd name="T8" fmla="*/ 750 w 1342"/>
                <a:gd name="T9" fmla="*/ 378 h 640"/>
                <a:gd name="T10" fmla="*/ 734 w 1342"/>
                <a:gd name="T11" fmla="*/ 377 h 640"/>
                <a:gd name="T12" fmla="*/ 724 w 1342"/>
                <a:gd name="T13" fmla="*/ 379 h 640"/>
                <a:gd name="T14" fmla="*/ 710 w 1342"/>
                <a:gd name="T15" fmla="*/ 383 h 640"/>
                <a:gd name="T16" fmla="*/ 702 w 1342"/>
                <a:gd name="T17" fmla="*/ 387 h 640"/>
                <a:gd name="T18" fmla="*/ 595 w 1342"/>
                <a:gd name="T19" fmla="*/ 304 h 640"/>
                <a:gd name="T20" fmla="*/ 580 w 1342"/>
                <a:gd name="T21" fmla="*/ 259 h 640"/>
                <a:gd name="T22" fmla="*/ 575 w 1342"/>
                <a:gd name="T23" fmla="*/ 252 h 640"/>
                <a:gd name="T24" fmla="*/ 564 w 1342"/>
                <a:gd name="T25" fmla="*/ 242 h 640"/>
                <a:gd name="T26" fmla="*/ 558 w 1342"/>
                <a:gd name="T27" fmla="*/ 238 h 640"/>
                <a:gd name="T28" fmla="*/ 549 w 1342"/>
                <a:gd name="T29" fmla="*/ 232 h 640"/>
                <a:gd name="T30" fmla="*/ 537 w 1342"/>
                <a:gd name="T31" fmla="*/ 227 h 640"/>
                <a:gd name="T32" fmla="*/ 524 w 1342"/>
                <a:gd name="T33" fmla="*/ 225 h 640"/>
                <a:gd name="T34" fmla="*/ 505 w 1342"/>
                <a:gd name="T35" fmla="*/ 224 h 640"/>
                <a:gd name="T36" fmla="*/ 494 w 1342"/>
                <a:gd name="T37" fmla="*/ 226 h 640"/>
                <a:gd name="T38" fmla="*/ 483 w 1342"/>
                <a:gd name="T39" fmla="*/ 230 h 640"/>
                <a:gd name="T40" fmla="*/ 471 w 1342"/>
                <a:gd name="T41" fmla="*/ 235 h 640"/>
                <a:gd name="T42" fmla="*/ 462 w 1342"/>
                <a:gd name="T43" fmla="*/ 241 h 640"/>
                <a:gd name="T44" fmla="*/ 456 w 1342"/>
                <a:gd name="T45" fmla="*/ 246 h 640"/>
                <a:gd name="T46" fmla="*/ 441 w 1342"/>
                <a:gd name="T47" fmla="*/ 265 h 640"/>
                <a:gd name="T48" fmla="*/ 438 w 1342"/>
                <a:gd name="T49" fmla="*/ 272 h 640"/>
                <a:gd name="T50" fmla="*/ 435 w 1342"/>
                <a:gd name="T51" fmla="*/ 278 h 640"/>
                <a:gd name="T52" fmla="*/ 382 w 1342"/>
                <a:gd name="T53" fmla="*/ 320 h 640"/>
                <a:gd name="T54" fmla="*/ 103 w 1342"/>
                <a:gd name="T55" fmla="*/ 514 h 640"/>
                <a:gd name="T56" fmla="*/ 37 w 1342"/>
                <a:gd name="T57" fmla="*/ 640 h 640"/>
                <a:gd name="T58" fmla="*/ 263 w 1342"/>
                <a:gd name="T59" fmla="*/ 483 h 640"/>
                <a:gd name="T60" fmla="*/ 446 w 1342"/>
                <a:gd name="T61" fmla="*/ 355 h 640"/>
                <a:gd name="T62" fmla="*/ 462 w 1342"/>
                <a:gd name="T63" fmla="*/ 372 h 640"/>
                <a:gd name="T64" fmla="*/ 472 w 1342"/>
                <a:gd name="T65" fmla="*/ 378 h 640"/>
                <a:gd name="T66" fmla="*/ 482 w 1342"/>
                <a:gd name="T67" fmla="*/ 383 h 640"/>
                <a:gd name="T68" fmla="*/ 495 w 1342"/>
                <a:gd name="T69" fmla="*/ 387 h 640"/>
                <a:gd name="T70" fmla="*/ 505 w 1342"/>
                <a:gd name="T71" fmla="*/ 389 h 640"/>
                <a:gd name="T72" fmla="*/ 525 w 1342"/>
                <a:gd name="T73" fmla="*/ 388 h 640"/>
                <a:gd name="T74" fmla="*/ 537 w 1342"/>
                <a:gd name="T75" fmla="*/ 386 h 640"/>
                <a:gd name="T76" fmla="*/ 550 w 1342"/>
                <a:gd name="T77" fmla="*/ 380 h 640"/>
                <a:gd name="T78" fmla="*/ 557 w 1342"/>
                <a:gd name="T79" fmla="*/ 376 h 640"/>
                <a:gd name="T80" fmla="*/ 632 w 1342"/>
                <a:gd name="T81" fmla="*/ 416 h 640"/>
                <a:gd name="T82" fmla="*/ 659 w 1342"/>
                <a:gd name="T83" fmla="*/ 450 h 640"/>
                <a:gd name="T84" fmla="*/ 683 w 1342"/>
                <a:gd name="T85" fmla="*/ 518 h 640"/>
                <a:gd name="T86" fmla="*/ 821 w 1342"/>
                <a:gd name="T87" fmla="*/ 483 h 640"/>
                <a:gd name="T88" fmla="*/ 823 w 1342"/>
                <a:gd name="T89" fmla="*/ 450 h 640"/>
                <a:gd name="T90" fmla="*/ 933 w 1342"/>
                <a:gd name="T91" fmla="*/ 354 h 640"/>
                <a:gd name="T92" fmla="*/ 1080 w 1342"/>
                <a:gd name="T93" fmla="*/ 241 h 640"/>
                <a:gd name="T94" fmla="*/ 1256 w 1342"/>
                <a:gd name="T95" fmla="*/ 206 h 640"/>
                <a:gd name="T96" fmla="*/ 1122 w 1342"/>
                <a:gd name="T97" fmla="*/ 31 h 640"/>
                <a:gd name="T98" fmla="*/ 471 w 1342"/>
                <a:gd name="T99" fmla="*/ 307 h 640"/>
                <a:gd name="T100" fmla="*/ 536 w 1342"/>
                <a:gd name="T101" fmla="*/ 272 h 640"/>
                <a:gd name="T102" fmla="*/ 513 w 1342"/>
                <a:gd name="T103" fmla="*/ 348 h 640"/>
                <a:gd name="T104" fmla="*/ 740 w 1342"/>
                <a:gd name="T105" fmla="*/ 501 h 640"/>
                <a:gd name="T106" fmla="*/ 700 w 1342"/>
                <a:gd name="T107" fmla="*/ 460 h 640"/>
                <a:gd name="T108" fmla="*/ 781 w 1342"/>
                <a:gd name="T109" fmla="*/ 471 h 6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342" h="640">
                  <a:moveTo>
                    <a:pt x="1122" y="31"/>
                  </a:moveTo>
                  <a:cubicBezTo>
                    <a:pt x="1168" y="91"/>
                    <a:pt x="1168" y="91"/>
                    <a:pt x="1168" y="91"/>
                  </a:cubicBezTo>
                  <a:cubicBezTo>
                    <a:pt x="1029" y="198"/>
                    <a:pt x="1029" y="198"/>
                    <a:pt x="1029" y="198"/>
                  </a:cubicBezTo>
                  <a:cubicBezTo>
                    <a:pt x="983" y="233"/>
                    <a:pt x="983" y="233"/>
                    <a:pt x="983" y="233"/>
                  </a:cubicBezTo>
                  <a:cubicBezTo>
                    <a:pt x="932" y="272"/>
                    <a:pt x="932" y="272"/>
                    <a:pt x="932" y="272"/>
                  </a:cubicBezTo>
                  <a:cubicBezTo>
                    <a:pt x="781" y="388"/>
                    <a:pt x="781" y="388"/>
                    <a:pt x="781" y="388"/>
                  </a:cubicBezTo>
                  <a:cubicBezTo>
                    <a:pt x="781" y="388"/>
                    <a:pt x="781" y="388"/>
                    <a:pt x="781" y="388"/>
                  </a:cubicBezTo>
                  <a:cubicBezTo>
                    <a:pt x="780" y="387"/>
                    <a:pt x="780" y="386"/>
                    <a:pt x="779" y="386"/>
                  </a:cubicBezTo>
                  <a:cubicBezTo>
                    <a:pt x="777" y="385"/>
                    <a:pt x="776" y="385"/>
                    <a:pt x="775" y="384"/>
                  </a:cubicBezTo>
                  <a:cubicBezTo>
                    <a:pt x="774" y="384"/>
                    <a:pt x="773" y="384"/>
                    <a:pt x="772" y="383"/>
                  </a:cubicBezTo>
                  <a:cubicBezTo>
                    <a:pt x="771" y="382"/>
                    <a:pt x="769" y="382"/>
                    <a:pt x="767" y="381"/>
                  </a:cubicBezTo>
                  <a:cubicBezTo>
                    <a:pt x="766" y="381"/>
                    <a:pt x="765" y="381"/>
                    <a:pt x="764" y="380"/>
                  </a:cubicBezTo>
                  <a:cubicBezTo>
                    <a:pt x="762" y="380"/>
                    <a:pt x="761" y="379"/>
                    <a:pt x="759" y="379"/>
                  </a:cubicBezTo>
                  <a:cubicBezTo>
                    <a:pt x="758" y="379"/>
                    <a:pt x="758" y="379"/>
                    <a:pt x="757" y="379"/>
                  </a:cubicBezTo>
                  <a:cubicBezTo>
                    <a:pt x="755" y="378"/>
                    <a:pt x="753" y="378"/>
                    <a:pt x="750" y="378"/>
                  </a:cubicBezTo>
                  <a:cubicBezTo>
                    <a:pt x="750" y="377"/>
                    <a:pt x="749" y="377"/>
                    <a:pt x="749" y="377"/>
                  </a:cubicBezTo>
                  <a:cubicBezTo>
                    <a:pt x="746" y="377"/>
                    <a:pt x="744" y="377"/>
                    <a:pt x="741" y="377"/>
                  </a:cubicBezTo>
                  <a:cubicBezTo>
                    <a:pt x="739" y="377"/>
                    <a:pt x="736" y="377"/>
                    <a:pt x="734" y="377"/>
                  </a:cubicBezTo>
                  <a:cubicBezTo>
                    <a:pt x="733" y="377"/>
                    <a:pt x="732" y="377"/>
                    <a:pt x="732" y="378"/>
                  </a:cubicBezTo>
                  <a:cubicBezTo>
                    <a:pt x="730" y="378"/>
                    <a:pt x="727" y="378"/>
                    <a:pt x="725" y="379"/>
                  </a:cubicBezTo>
                  <a:cubicBezTo>
                    <a:pt x="724" y="379"/>
                    <a:pt x="724" y="379"/>
                    <a:pt x="724" y="379"/>
                  </a:cubicBezTo>
                  <a:cubicBezTo>
                    <a:pt x="721" y="379"/>
                    <a:pt x="719" y="380"/>
                    <a:pt x="717" y="380"/>
                  </a:cubicBezTo>
                  <a:cubicBezTo>
                    <a:pt x="717" y="381"/>
                    <a:pt x="717" y="381"/>
                    <a:pt x="716" y="381"/>
                  </a:cubicBezTo>
                  <a:cubicBezTo>
                    <a:pt x="714" y="382"/>
                    <a:pt x="712" y="382"/>
                    <a:pt x="710" y="383"/>
                  </a:cubicBezTo>
                  <a:cubicBezTo>
                    <a:pt x="709" y="383"/>
                    <a:pt x="709" y="384"/>
                    <a:pt x="708" y="384"/>
                  </a:cubicBezTo>
                  <a:cubicBezTo>
                    <a:pt x="706" y="385"/>
                    <a:pt x="704" y="386"/>
                    <a:pt x="702" y="387"/>
                  </a:cubicBezTo>
                  <a:cubicBezTo>
                    <a:pt x="702" y="387"/>
                    <a:pt x="702" y="387"/>
                    <a:pt x="702" y="387"/>
                  </a:cubicBezTo>
                  <a:cubicBezTo>
                    <a:pt x="683" y="372"/>
                    <a:pt x="683" y="372"/>
                    <a:pt x="683" y="372"/>
                  </a:cubicBezTo>
                  <a:cubicBezTo>
                    <a:pt x="632" y="333"/>
                    <a:pt x="632" y="333"/>
                    <a:pt x="632" y="333"/>
                  </a:cubicBezTo>
                  <a:cubicBezTo>
                    <a:pt x="595" y="304"/>
                    <a:pt x="595" y="304"/>
                    <a:pt x="595" y="304"/>
                  </a:cubicBezTo>
                  <a:cubicBezTo>
                    <a:pt x="595" y="304"/>
                    <a:pt x="595" y="304"/>
                    <a:pt x="595" y="304"/>
                  </a:cubicBezTo>
                  <a:cubicBezTo>
                    <a:pt x="595" y="292"/>
                    <a:pt x="592" y="282"/>
                    <a:pt x="588" y="272"/>
                  </a:cubicBezTo>
                  <a:cubicBezTo>
                    <a:pt x="586" y="268"/>
                    <a:pt x="583" y="263"/>
                    <a:pt x="580" y="259"/>
                  </a:cubicBezTo>
                  <a:cubicBezTo>
                    <a:pt x="580" y="259"/>
                    <a:pt x="580" y="259"/>
                    <a:pt x="580" y="259"/>
                  </a:cubicBezTo>
                  <a:cubicBezTo>
                    <a:pt x="579" y="257"/>
                    <a:pt x="577" y="255"/>
                    <a:pt x="575" y="253"/>
                  </a:cubicBezTo>
                  <a:cubicBezTo>
                    <a:pt x="575" y="253"/>
                    <a:pt x="575" y="253"/>
                    <a:pt x="575" y="252"/>
                  </a:cubicBezTo>
                  <a:cubicBezTo>
                    <a:pt x="573" y="251"/>
                    <a:pt x="572" y="249"/>
                    <a:pt x="570" y="247"/>
                  </a:cubicBezTo>
                  <a:cubicBezTo>
                    <a:pt x="570" y="247"/>
                    <a:pt x="570" y="247"/>
                    <a:pt x="569" y="246"/>
                  </a:cubicBezTo>
                  <a:cubicBezTo>
                    <a:pt x="568" y="245"/>
                    <a:pt x="566" y="243"/>
                    <a:pt x="564" y="242"/>
                  </a:cubicBezTo>
                  <a:cubicBezTo>
                    <a:pt x="564" y="242"/>
                    <a:pt x="564" y="242"/>
                    <a:pt x="564" y="241"/>
                  </a:cubicBezTo>
                  <a:cubicBezTo>
                    <a:pt x="563" y="241"/>
                    <a:pt x="563" y="241"/>
                    <a:pt x="563" y="241"/>
                  </a:cubicBezTo>
                  <a:cubicBezTo>
                    <a:pt x="561" y="240"/>
                    <a:pt x="560" y="239"/>
                    <a:pt x="558" y="238"/>
                  </a:cubicBezTo>
                  <a:cubicBezTo>
                    <a:pt x="558" y="237"/>
                    <a:pt x="557" y="237"/>
                    <a:pt x="556" y="236"/>
                  </a:cubicBezTo>
                  <a:cubicBezTo>
                    <a:pt x="555" y="235"/>
                    <a:pt x="553" y="234"/>
                    <a:pt x="552" y="234"/>
                  </a:cubicBezTo>
                  <a:cubicBezTo>
                    <a:pt x="551" y="233"/>
                    <a:pt x="550" y="233"/>
                    <a:pt x="549" y="232"/>
                  </a:cubicBezTo>
                  <a:cubicBezTo>
                    <a:pt x="547" y="232"/>
                    <a:pt x="546" y="231"/>
                    <a:pt x="544" y="230"/>
                  </a:cubicBezTo>
                  <a:cubicBezTo>
                    <a:pt x="543" y="230"/>
                    <a:pt x="542" y="229"/>
                    <a:pt x="541" y="229"/>
                  </a:cubicBezTo>
                  <a:cubicBezTo>
                    <a:pt x="540" y="228"/>
                    <a:pt x="538" y="228"/>
                    <a:pt x="537" y="227"/>
                  </a:cubicBezTo>
                  <a:cubicBezTo>
                    <a:pt x="536" y="227"/>
                    <a:pt x="534" y="227"/>
                    <a:pt x="533" y="226"/>
                  </a:cubicBezTo>
                  <a:cubicBezTo>
                    <a:pt x="532" y="226"/>
                    <a:pt x="530" y="226"/>
                    <a:pt x="529" y="225"/>
                  </a:cubicBezTo>
                  <a:cubicBezTo>
                    <a:pt x="527" y="225"/>
                    <a:pt x="526" y="225"/>
                    <a:pt x="524" y="225"/>
                  </a:cubicBezTo>
                  <a:cubicBezTo>
                    <a:pt x="523" y="225"/>
                    <a:pt x="522" y="224"/>
                    <a:pt x="521" y="224"/>
                  </a:cubicBezTo>
                  <a:cubicBezTo>
                    <a:pt x="518" y="224"/>
                    <a:pt x="516" y="224"/>
                    <a:pt x="513" y="224"/>
                  </a:cubicBezTo>
                  <a:cubicBezTo>
                    <a:pt x="510" y="224"/>
                    <a:pt x="508" y="224"/>
                    <a:pt x="505" y="224"/>
                  </a:cubicBezTo>
                  <a:cubicBezTo>
                    <a:pt x="504" y="224"/>
                    <a:pt x="503" y="224"/>
                    <a:pt x="502" y="224"/>
                  </a:cubicBezTo>
                  <a:cubicBezTo>
                    <a:pt x="501" y="225"/>
                    <a:pt x="499" y="225"/>
                    <a:pt x="497" y="225"/>
                  </a:cubicBezTo>
                  <a:cubicBezTo>
                    <a:pt x="496" y="225"/>
                    <a:pt x="495" y="226"/>
                    <a:pt x="494" y="226"/>
                  </a:cubicBezTo>
                  <a:cubicBezTo>
                    <a:pt x="493" y="226"/>
                    <a:pt x="491" y="227"/>
                    <a:pt x="490" y="227"/>
                  </a:cubicBezTo>
                  <a:cubicBezTo>
                    <a:pt x="489" y="227"/>
                    <a:pt x="488" y="228"/>
                    <a:pt x="487" y="228"/>
                  </a:cubicBezTo>
                  <a:cubicBezTo>
                    <a:pt x="486" y="228"/>
                    <a:pt x="484" y="229"/>
                    <a:pt x="483" y="230"/>
                  </a:cubicBezTo>
                  <a:cubicBezTo>
                    <a:pt x="482" y="230"/>
                    <a:pt x="481" y="230"/>
                    <a:pt x="480" y="231"/>
                  </a:cubicBezTo>
                  <a:cubicBezTo>
                    <a:pt x="478" y="231"/>
                    <a:pt x="476" y="232"/>
                    <a:pt x="474" y="234"/>
                  </a:cubicBezTo>
                  <a:cubicBezTo>
                    <a:pt x="473" y="234"/>
                    <a:pt x="472" y="235"/>
                    <a:pt x="471" y="235"/>
                  </a:cubicBezTo>
                  <a:cubicBezTo>
                    <a:pt x="470" y="236"/>
                    <a:pt x="469" y="237"/>
                    <a:pt x="467" y="237"/>
                  </a:cubicBezTo>
                  <a:cubicBezTo>
                    <a:pt x="466" y="238"/>
                    <a:pt x="465" y="239"/>
                    <a:pt x="464" y="240"/>
                  </a:cubicBezTo>
                  <a:cubicBezTo>
                    <a:pt x="463" y="240"/>
                    <a:pt x="463" y="241"/>
                    <a:pt x="462" y="241"/>
                  </a:cubicBezTo>
                  <a:cubicBezTo>
                    <a:pt x="462" y="242"/>
                    <a:pt x="462" y="242"/>
                    <a:pt x="462" y="242"/>
                  </a:cubicBezTo>
                  <a:cubicBezTo>
                    <a:pt x="461" y="242"/>
                    <a:pt x="460" y="243"/>
                    <a:pt x="458" y="244"/>
                  </a:cubicBezTo>
                  <a:cubicBezTo>
                    <a:pt x="458" y="245"/>
                    <a:pt x="457" y="245"/>
                    <a:pt x="456" y="246"/>
                  </a:cubicBezTo>
                  <a:cubicBezTo>
                    <a:pt x="455" y="247"/>
                    <a:pt x="454" y="248"/>
                    <a:pt x="453" y="249"/>
                  </a:cubicBezTo>
                  <a:cubicBezTo>
                    <a:pt x="453" y="250"/>
                    <a:pt x="452" y="250"/>
                    <a:pt x="452" y="251"/>
                  </a:cubicBezTo>
                  <a:cubicBezTo>
                    <a:pt x="448" y="255"/>
                    <a:pt x="444" y="260"/>
                    <a:pt x="441" y="265"/>
                  </a:cubicBezTo>
                  <a:cubicBezTo>
                    <a:pt x="441" y="265"/>
                    <a:pt x="441" y="265"/>
                    <a:pt x="441" y="266"/>
                  </a:cubicBezTo>
                  <a:cubicBezTo>
                    <a:pt x="440" y="267"/>
                    <a:pt x="439" y="269"/>
                    <a:pt x="438" y="270"/>
                  </a:cubicBezTo>
                  <a:cubicBezTo>
                    <a:pt x="438" y="271"/>
                    <a:pt x="438" y="271"/>
                    <a:pt x="438" y="272"/>
                  </a:cubicBezTo>
                  <a:cubicBezTo>
                    <a:pt x="438" y="272"/>
                    <a:pt x="437" y="272"/>
                    <a:pt x="437" y="272"/>
                  </a:cubicBezTo>
                  <a:cubicBezTo>
                    <a:pt x="437" y="274"/>
                    <a:pt x="436" y="275"/>
                    <a:pt x="436" y="277"/>
                  </a:cubicBezTo>
                  <a:cubicBezTo>
                    <a:pt x="435" y="277"/>
                    <a:pt x="435" y="278"/>
                    <a:pt x="435" y="278"/>
                  </a:cubicBezTo>
                  <a:cubicBezTo>
                    <a:pt x="434" y="280"/>
                    <a:pt x="434" y="282"/>
                    <a:pt x="433" y="284"/>
                  </a:cubicBezTo>
                  <a:cubicBezTo>
                    <a:pt x="433" y="284"/>
                    <a:pt x="433" y="284"/>
                    <a:pt x="433" y="284"/>
                  </a:cubicBezTo>
                  <a:cubicBezTo>
                    <a:pt x="382" y="320"/>
                    <a:pt x="382" y="320"/>
                    <a:pt x="382" y="320"/>
                  </a:cubicBezTo>
                  <a:cubicBezTo>
                    <a:pt x="332" y="355"/>
                    <a:pt x="332" y="355"/>
                    <a:pt x="332" y="355"/>
                  </a:cubicBezTo>
                  <a:cubicBezTo>
                    <a:pt x="147" y="483"/>
                    <a:pt x="147" y="483"/>
                    <a:pt x="147" y="483"/>
                  </a:cubicBezTo>
                  <a:cubicBezTo>
                    <a:pt x="103" y="514"/>
                    <a:pt x="103" y="514"/>
                    <a:pt x="103" y="514"/>
                  </a:cubicBezTo>
                  <a:cubicBezTo>
                    <a:pt x="81" y="529"/>
                    <a:pt x="81" y="529"/>
                    <a:pt x="81" y="529"/>
                  </a:cubicBezTo>
                  <a:cubicBezTo>
                    <a:pt x="0" y="586"/>
                    <a:pt x="0" y="586"/>
                    <a:pt x="0" y="586"/>
                  </a:cubicBezTo>
                  <a:cubicBezTo>
                    <a:pt x="37" y="640"/>
                    <a:pt x="37" y="640"/>
                    <a:pt x="37" y="640"/>
                  </a:cubicBezTo>
                  <a:cubicBezTo>
                    <a:pt x="81" y="609"/>
                    <a:pt x="81" y="609"/>
                    <a:pt x="81" y="609"/>
                  </a:cubicBezTo>
                  <a:cubicBezTo>
                    <a:pt x="218" y="514"/>
                    <a:pt x="218" y="514"/>
                    <a:pt x="218" y="514"/>
                  </a:cubicBezTo>
                  <a:cubicBezTo>
                    <a:pt x="263" y="483"/>
                    <a:pt x="263" y="483"/>
                    <a:pt x="263" y="483"/>
                  </a:cubicBezTo>
                  <a:cubicBezTo>
                    <a:pt x="332" y="435"/>
                    <a:pt x="332" y="435"/>
                    <a:pt x="332" y="435"/>
                  </a:cubicBezTo>
                  <a:cubicBezTo>
                    <a:pt x="382" y="400"/>
                    <a:pt x="382" y="400"/>
                    <a:pt x="382" y="400"/>
                  </a:cubicBezTo>
                  <a:cubicBezTo>
                    <a:pt x="446" y="355"/>
                    <a:pt x="446" y="355"/>
                    <a:pt x="446" y="355"/>
                  </a:cubicBezTo>
                  <a:cubicBezTo>
                    <a:pt x="448" y="358"/>
                    <a:pt x="450" y="360"/>
                    <a:pt x="452" y="362"/>
                  </a:cubicBezTo>
                  <a:cubicBezTo>
                    <a:pt x="452" y="362"/>
                    <a:pt x="452" y="363"/>
                    <a:pt x="452" y="363"/>
                  </a:cubicBezTo>
                  <a:cubicBezTo>
                    <a:pt x="455" y="366"/>
                    <a:pt x="458" y="369"/>
                    <a:pt x="462" y="372"/>
                  </a:cubicBezTo>
                  <a:cubicBezTo>
                    <a:pt x="463" y="372"/>
                    <a:pt x="463" y="373"/>
                    <a:pt x="464" y="373"/>
                  </a:cubicBezTo>
                  <a:cubicBezTo>
                    <a:pt x="465" y="374"/>
                    <a:pt x="467" y="376"/>
                    <a:pt x="469" y="377"/>
                  </a:cubicBezTo>
                  <a:cubicBezTo>
                    <a:pt x="470" y="377"/>
                    <a:pt x="471" y="378"/>
                    <a:pt x="472" y="378"/>
                  </a:cubicBezTo>
                  <a:cubicBezTo>
                    <a:pt x="472" y="379"/>
                    <a:pt x="473" y="379"/>
                    <a:pt x="474" y="380"/>
                  </a:cubicBezTo>
                  <a:cubicBezTo>
                    <a:pt x="476" y="381"/>
                    <a:pt x="478" y="382"/>
                    <a:pt x="480" y="382"/>
                  </a:cubicBezTo>
                  <a:cubicBezTo>
                    <a:pt x="480" y="383"/>
                    <a:pt x="481" y="383"/>
                    <a:pt x="482" y="383"/>
                  </a:cubicBezTo>
                  <a:cubicBezTo>
                    <a:pt x="484" y="384"/>
                    <a:pt x="486" y="385"/>
                    <a:pt x="487" y="385"/>
                  </a:cubicBezTo>
                  <a:cubicBezTo>
                    <a:pt x="488" y="386"/>
                    <a:pt x="488" y="386"/>
                    <a:pt x="489" y="386"/>
                  </a:cubicBezTo>
                  <a:cubicBezTo>
                    <a:pt x="491" y="386"/>
                    <a:pt x="493" y="387"/>
                    <a:pt x="495" y="387"/>
                  </a:cubicBezTo>
                  <a:cubicBezTo>
                    <a:pt x="496" y="388"/>
                    <a:pt x="496" y="388"/>
                    <a:pt x="497" y="388"/>
                  </a:cubicBezTo>
                  <a:cubicBezTo>
                    <a:pt x="499" y="388"/>
                    <a:pt x="501" y="389"/>
                    <a:pt x="504" y="389"/>
                  </a:cubicBezTo>
                  <a:cubicBezTo>
                    <a:pt x="504" y="389"/>
                    <a:pt x="505" y="389"/>
                    <a:pt x="505" y="389"/>
                  </a:cubicBezTo>
                  <a:cubicBezTo>
                    <a:pt x="508" y="389"/>
                    <a:pt x="510" y="389"/>
                    <a:pt x="513" y="389"/>
                  </a:cubicBezTo>
                  <a:cubicBezTo>
                    <a:pt x="516" y="389"/>
                    <a:pt x="518" y="389"/>
                    <a:pt x="521" y="389"/>
                  </a:cubicBezTo>
                  <a:cubicBezTo>
                    <a:pt x="522" y="389"/>
                    <a:pt x="524" y="389"/>
                    <a:pt x="525" y="388"/>
                  </a:cubicBezTo>
                  <a:cubicBezTo>
                    <a:pt x="526" y="388"/>
                    <a:pt x="528" y="388"/>
                    <a:pt x="529" y="388"/>
                  </a:cubicBezTo>
                  <a:cubicBezTo>
                    <a:pt x="531" y="387"/>
                    <a:pt x="532" y="387"/>
                    <a:pt x="534" y="386"/>
                  </a:cubicBezTo>
                  <a:cubicBezTo>
                    <a:pt x="535" y="386"/>
                    <a:pt x="536" y="386"/>
                    <a:pt x="537" y="386"/>
                  </a:cubicBezTo>
                  <a:cubicBezTo>
                    <a:pt x="539" y="385"/>
                    <a:pt x="541" y="384"/>
                    <a:pt x="543" y="384"/>
                  </a:cubicBezTo>
                  <a:cubicBezTo>
                    <a:pt x="543" y="384"/>
                    <a:pt x="543" y="383"/>
                    <a:pt x="544" y="383"/>
                  </a:cubicBezTo>
                  <a:cubicBezTo>
                    <a:pt x="546" y="382"/>
                    <a:pt x="548" y="381"/>
                    <a:pt x="550" y="380"/>
                  </a:cubicBezTo>
                  <a:cubicBezTo>
                    <a:pt x="550" y="380"/>
                    <a:pt x="551" y="380"/>
                    <a:pt x="551" y="380"/>
                  </a:cubicBezTo>
                  <a:cubicBezTo>
                    <a:pt x="553" y="379"/>
                    <a:pt x="555" y="378"/>
                    <a:pt x="557" y="376"/>
                  </a:cubicBezTo>
                  <a:cubicBezTo>
                    <a:pt x="557" y="376"/>
                    <a:pt x="557" y="376"/>
                    <a:pt x="557" y="376"/>
                  </a:cubicBezTo>
                  <a:cubicBezTo>
                    <a:pt x="562" y="373"/>
                    <a:pt x="566" y="370"/>
                    <a:pt x="569" y="367"/>
                  </a:cubicBezTo>
                  <a:cubicBezTo>
                    <a:pt x="569" y="367"/>
                    <a:pt x="569" y="367"/>
                    <a:pt x="569" y="367"/>
                  </a:cubicBezTo>
                  <a:cubicBezTo>
                    <a:pt x="632" y="416"/>
                    <a:pt x="632" y="416"/>
                    <a:pt x="632" y="416"/>
                  </a:cubicBezTo>
                  <a:cubicBezTo>
                    <a:pt x="661" y="439"/>
                    <a:pt x="661" y="439"/>
                    <a:pt x="661" y="439"/>
                  </a:cubicBezTo>
                  <a:cubicBezTo>
                    <a:pt x="660" y="441"/>
                    <a:pt x="660" y="444"/>
                    <a:pt x="659" y="447"/>
                  </a:cubicBezTo>
                  <a:cubicBezTo>
                    <a:pt x="659" y="448"/>
                    <a:pt x="659" y="449"/>
                    <a:pt x="659" y="450"/>
                  </a:cubicBezTo>
                  <a:cubicBezTo>
                    <a:pt x="659" y="451"/>
                    <a:pt x="659" y="452"/>
                    <a:pt x="659" y="453"/>
                  </a:cubicBezTo>
                  <a:cubicBezTo>
                    <a:pt x="658" y="455"/>
                    <a:pt x="658" y="457"/>
                    <a:pt x="658" y="460"/>
                  </a:cubicBezTo>
                  <a:cubicBezTo>
                    <a:pt x="658" y="483"/>
                    <a:pt x="668" y="503"/>
                    <a:pt x="683" y="518"/>
                  </a:cubicBezTo>
                  <a:cubicBezTo>
                    <a:pt x="698" y="533"/>
                    <a:pt x="718" y="543"/>
                    <a:pt x="741" y="543"/>
                  </a:cubicBezTo>
                  <a:cubicBezTo>
                    <a:pt x="766" y="543"/>
                    <a:pt x="788" y="531"/>
                    <a:pt x="804" y="514"/>
                  </a:cubicBezTo>
                  <a:cubicBezTo>
                    <a:pt x="811" y="505"/>
                    <a:pt x="817" y="494"/>
                    <a:pt x="821" y="483"/>
                  </a:cubicBezTo>
                  <a:cubicBezTo>
                    <a:pt x="823" y="476"/>
                    <a:pt x="824" y="468"/>
                    <a:pt x="824" y="460"/>
                  </a:cubicBezTo>
                  <a:cubicBezTo>
                    <a:pt x="824" y="457"/>
                    <a:pt x="824" y="455"/>
                    <a:pt x="824" y="453"/>
                  </a:cubicBezTo>
                  <a:cubicBezTo>
                    <a:pt x="824" y="452"/>
                    <a:pt x="823" y="451"/>
                    <a:pt x="823" y="450"/>
                  </a:cubicBezTo>
                  <a:cubicBezTo>
                    <a:pt x="823" y="449"/>
                    <a:pt x="823" y="448"/>
                    <a:pt x="823" y="447"/>
                  </a:cubicBezTo>
                  <a:cubicBezTo>
                    <a:pt x="823" y="445"/>
                    <a:pt x="822" y="442"/>
                    <a:pt x="821" y="440"/>
                  </a:cubicBezTo>
                  <a:cubicBezTo>
                    <a:pt x="933" y="354"/>
                    <a:pt x="933" y="354"/>
                    <a:pt x="933" y="354"/>
                  </a:cubicBezTo>
                  <a:cubicBezTo>
                    <a:pt x="983" y="316"/>
                    <a:pt x="983" y="316"/>
                    <a:pt x="983" y="316"/>
                  </a:cubicBezTo>
                  <a:cubicBezTo>
                    <a:pt x="1040" y="272"/>
                    <a:pt x="1040" y="272"/>
                    <a:pt x="1040" y="272"/>
                  </a:cubicBezTo>
                  <a:cubicBezTo>
                    <a:pt x="1080" y="241"/>
                    <a:pt x="1080" y="241"/>
                    <a:pt x="1080" y="241"/>
                  </a:cubicBezTo>
                  <a:cubicBezTo>
                    <a:pt x="1208" y="143"/>
                    <a:pt x="1208" y="143"/>
                    <a:pt x="1208" y="143"/>
                  </a:cubicBezTo>
                  <a:cubicBezTo>
                    <a:pt x="1234" y="177"/>
                    <a:pt x="1234" y="177"/>
                    <a:pt x="1234" y="177"/>
                  </a:cubicBezTo>
                  <a:cubicBezTo>
                    <a:pt x="1256" y="206"/>
                    <a:pt x="1256" y="206"/>
                    <a:pt x="1256" y="206"/>
                  </a:cubicBezTo>
                  <a:cubicBezTo>
                    <a:pt x="1342" y="0"/>
                    <a:pt x="1342" y="0"/>
                    <a:pt x="1342" y="0"/>
                  </a:cubicBezTo>
                  <a:cubicBezTo>
                    <a:pt x="1121" y="29"/>
                    <a:pt x="1121" y="29"/>
                    <a:pt x="1121" y="29"/>
                  </a:cubicBezTo>
                  <a:lnTo>
                    <a:pt x="1122" y="31"/>
                  </a:lnTo>
                  <a:close/>
                  <a:moveTo>
                    <a:pt x="513" y="348"/>
                  </a:moveTo>
                  <a:cubicBezTo>
                    <a:pt x="499" y="348"/>
                    <a:pt x="487" y="341"/>
                    <a:pt x="480" y="331"/>
                  </a:cubicBezTo>
                  <a:cubicBezTo>
                    <a:pt x="475" y="325"/>
                    <a:pt x="471" y="316"/>
                    <a:pt x="471" y="307"/>
                  </a:cubicBezTo>
                  <a:cubicBezTo>
                    <a:pt x="471" y="292"/>
                    <a:pt x="479" y="280"/>
                    <a:pt x="490" y="272"/>
                  </a:cubicBezTo>
                  <a:cubicBezTo>
                    <a:pt x="496" y="268"/>
                    <a:pt x="504" y="265"/>
                    <a:pt x="513" y="265"/>
                  </a:cubicBezTo>
                  <a:cubicBezTo>
                    <a:pt x="521" y="265"/>
                    <a:pt x="529" y="268"/>
                    <a:pt x="536" y="272"/>
                  </a:cubicBezTo>
                  <a:cubicBezTo>
                    <a:pt x="547" y="280"/>
                    <a:pt x="554" y="292"/>
                    <a:pt x="554" y="307"/>
                  </a:cubicBezTo>
                  <a:cubicBezTo>
                    <a:pt x="554" y="321"/>
                    <a:pt x="547" y="333"/>
                    <a:pt x="536" y="340"/>
                  </a:cubicBezTo>
                  <a:cubicBezTo>
                    <a:pt x="529" y="345"/>
                    <a:pt x="521" y="348"/>
                    <a:pt x="513" y="348"/>
                  </a:cubicBezTo>
                  <a:close/>
                  <a:moveTo>
                    <a:pt x="741" y="501"/>
                  </a:moveTo>
                  <a:cubicBezTo>
                    <a:pt x="741" y="501"/>
                    <a:pt x="741" y="501"/>
                    <a:pt x="741" y="501"/>
                  </a:cubicBezTo>
                  <a:cubicBezTo>
                    <a:pt x="741" y="501"/>
                    <a:pt x="741" y="501"/>
                    <a:pt x="740" y="501"/>
                  </a:cubicBezTo>
                  <a:cubicBezTo>
                    <a:pt x="726" y="501"/>
                    <a:pt x="714" y="494"/>
                    <a:pt x="707" y="483"/>
                  </a:cubicBezTo>
                  <a:cubicBezTo>
                    <a:pt x="704" y="479"/>
                    <a:pt x="702" y="475"/>
                    <a:pt x="701" y="470"/>
                  </a:cubicBezTo>
                  <a:cubicBezTo>
                    <a:pt x="700" y="467"/>
                    <a:pt x="700" y="463"/>
                    <a:pt x="700" y="460"/>
                  </a:cubicBezTo>
                  <a:cubicBezTo>
                    <a:pt x="700" y="437"/>
                    <a:pt x="718" y="419"/>
                    <a:pt x="741" y="419"/>
                  </a:cubicBezTo>
                  <a:cubicBezTo>
                    <a:pt x="764" y="419"/>
                    <a:pt x="782" y="437"/>
                    <a:pt x="782" y="460"/>
                  </a:cubicBezTo>
                  <a:cubicBezTo>
                    <a:pt x="782" y="464"/>
                    <a:pt x="782" y="467"/>
                    <a:pt x="781" y="471"/>
                  </a:cubicBezTo>
                  <a:cubicBezTo>
                    <a:pt x="779" y="475"/>
                    <a:pt x="778" y="479"/>
                    <a:pt x="775" y="483"/>
                  </a:cubicBezTo>
                  <a:cubicBezTo>
                    <a:pt x="768" y="494"/>
                    <a:pt x="755" y="501"/>
                    <a:pt x="741" y="50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141" name="Rectangle 160"/>
          <p:cNvSpPr/>
          <p:nvPr/>
        </p:nvSpPr>
        <p:spPr bwMode="auto">
          <a:xfrm>
            <a:off x="999799" y="4530351"/>
            <a:ext cx="1982520" cy="3657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14367"/>
            <a:r>
              <a:rPr lang="en-IN" sz="1200">
                <a:solidFill>
                  <a:srgbClr val="000000"/>
                </a:solidFill>
                <a:cs typeface="Segoe UI Light" panose="020B0502040204020203" pitchFamily="34" charset="0"/>
              </a:rPr>
              <a:t>Excel and CSV files</a:t>
            </a:r>
          </a:p>
          <a:p>
            <a:pPr defTabSz="914367"/>
            <a:r>
              <a:rPr lang="en-IN" sz="900" i="1">
                <a:solidFill>
                  <a:srgbClr val="000000"/>
                </a:solidFill>
                <a:cs typeface="Segoe UI Light" panose="020B0502040204020203" pitchFamily="34" charset="0"/>
              </a:rPr>
              <a:t>Workbook data, flat files</a:t>
            </a:r>
          </a:p>
        </p:txBody>
      </p:sp>
      <p:sp>
        <p:nvSpPr>
          <p:cNvPr id="143" name="Oval 162"/>
          <p:cNvSpPr/>
          <p:nvPr/>
        </p:nvSpPr>
        <p:spPr bwMode="auto">
          <a:xfrm>
            <a:off x="644325" y="4530351"/>
            <a:ext cx="365760" cy="365760"/>
          </a:xfrm>
          <a:prstGeom prst="ellipse">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2400" err="1">
              <a:gradFill>
                <a:gsLst>
                  <a:gs pos="0">
                    <a:srgbClr val="FFFFFF"/>
                  </a:gs>
                  <a:gs pos="100000">
                    <a:srgbClr val="FFFFFF"/>
                  </a:gs>
                </a:gsLst>
                <a:lin ang="5400000" scaled="0"/>
              </a:gradFill>
              <a:ea typeface="Segoe UI" pitchFamily="34" charset="0"/>
              <a:cs typeface="Segoe UI" pitchFamily="34" charset="0"/>
            </a:endParaRPr>
          </a:p>
        </p:txBody>
      </p:sp>
      <p:cxnSp>
        <p:nvCxnSpPr>
          <p:cNvPr id="145" name="Straight Connector 144"/>
          <p:cNvCxnSpPr/>
          <p:nvPr/>
        </p:nvCxnSpPr>
        <p:spPr>
          <a:xfrm>
            <a:off x="1070439" y="4961879"/>
            <a:ext cx="1891470" cy="0"/>
          </a:xfrm>
          <a:prstGeom prst="line">
            <a:avLst/>
          </a:prstGeom>
          <a:ln w="28575">
            <a:solidFill>
              <a:schemeClr val="tx1"/>
            </a:solidFill>
            <a:prstDash val="sysDot"/>
            <a:headEnd type="oval" w="sm" len="sm"/>
            <a:tailEnd type="oval" w="sm" len="sm"/>
          </a:ln>
        </p:spPr>
        <p:style>
          <a:lnRef idx="1">
            <a:schemeClr val="accent1"/>
          </a:lnRef>
          <a:fillRef idx="0">
            <a:schemeClr val="accent1"/>
          </a:fillRef>
          <a:effectRef idx="0">
            <a:schemeClr val="accent1"/>
          </a:effectRef>
          <a:fontRef idx="minor">
            <a:schemeClr val="tx1"/>
          </a:fontRef>
        </p:style>
      </p:cxnSp>
      <p:sp>
        <p:nvSpPr>
          <p:cNvPr id="149" name="Oval 162"/>
          <p:cNvSpPr/>
          <p:nvPr/>
        </p:nvSpPr>
        <p:spPr bwMode="auto">
          <a:xfrm>
            <a:off x="644325" y="5038902"/>
            <a:ext cx="365760" cy="365760"/>
          </a:xfrm>
          <a:prstGeom prst="ellipse">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2400" err="1">
              <a:gradFill>
                <a:gsLst>
                  <a:gs pos="0">
                    <a:srgbClr val="FFFFFF"/>
                  </a:gs>
                  <a:gs pos="100000">
                    <a:srgbClr val="FFFFFF"/>
                  </a:gs>
                </a:gsLst>
                <a:lin ang="5400000" scaled="0"/>
              </a:gradFill>
              <a:ea typeface="Segoe UI" pitchFamily="34" charset="0"/>
              <a:cs typeface="Segoe UI" pitchFamily="34" charset="0"/>
            </a:endParaRPr>
          </a:p>
        </p:txBody>
      </p:sp>
      <p:sp>
        <p:nvSpPr>
          <p:cNvPr id="148" name="Rectangle 160"/>
          <p:cNvSpPr/>
          <p:nvPr/>
        </p:nvSpPr>
        <p:spPr bwMode="auto">
          <a:xfrm>
            <a:off x="999799" y="5038902"/>
            <a:ext cx="1982520" cy="42495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14367"/>
            <a:r>
              <a:rPr lang="en-IN" sz="1200">
                <a:solidFill>
                  <a:srgbClr val="000000"/>
                </a:solidFill>
                <a:cs typeface="Segoe UI Light" panose="020B0502040204020203" pitchFamily="34" charset="0"/>
              </a:rPr>
              <a:t>Power BI Desktop files</a:t>
            </a:r>
          </a:p>
          <a:p>
            <a:pPr defTabSz="914367"/>
            <a:r>
              <a:rPr lang="en-IN" sz="900" i="1">
                <a:solidFill>
                  <a:srgbClr val="000000"/>
                </a:solidFill>
                <a:cs typeface="Segoe UI Light" panose="020B0502040204020203" pitchFamily="34" charset="0"/>
              </a:rPr>
              <a:t>Data from files, databases, Azure, Online Services, and other sources</a:t>
            </a:r>
          </a:p>
        </p:txBody>
      </p:sp>
      <p:sp>
        <p:nvSpPr>
          <p:cNvPr id="205" name="Isosceles Triangle 153"/>
          <p:cNvSpPr/>
          <p:nvPr/>
        </p:nvSpPr>
        <p:spPr bwMode="auto">
          <a:xfrm rot="5400000">
            <a:off x="1882570" y="3755652"/>
            <a:ext cx="2964025" cy="333997"/>
          </a:xfrm>
          <a:prstGeom prst="triangl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14367"/>
            <a:endParaRPr lang="en-US" sz="900" i="1">
              <a:solidFill>
                <a:srgbClr val="FFFFFF"/>
              </a:solidFill>
              <a:cs typeface="Segoe UI Light" panose="020B0502040204020203" pitchFamily="34" charset="0"/>
            </a:endParaRPr>
          </a:p>
        </p:txBody>
      </p:sp>
      <p:pic>
        <p:nvPicPr>
          <p:cNvPr id="208" name="Picture 207"/>
          <p:cNvPicPr>
            <a:picLocks noChangeAspect="1"/>
          </p:cNvPicPr>
          <p:nvPr/>
        </p:nvPicPr>
        <p:blipFill rotWithShape="1">
          <a:blip r:embed="rId3"/>
          <a:srcRect l="6503" t="21287" r="74698" b="20220"/>
          <a:stretch/>
        </p:blipFill>
        <p:spPr>
          <a:xfrm>
            <a:off x="724230" y="5104552"/>
            <a:ext cx="228600" cy="231962"/>
          </a:xfrm>
          <a:prstGeom prst="rect">
            <a:avLst/>
          </a:prstGeom>
        </p:spPr>
      </p:pic>
      <p:grpSp>
        <p:nvGrpSpPr>
          <p:cNvPr id="21" name="Group 20"/>
          <p:cNvGrpSpPr/>
          <p:nvPr/>
        </p:nvGrpSpPr>
        <p:grpSpPr>
          <a:xfrm>
            <a:off x="4306193" y="5441922"/>
            <a:ext cx="1333108" cy="274320"/>
            <a:chOff x="4306193" y="5441922"/>
            <a:chExt cx="1333108" cy="274320"/>
          </a:xfrm>
        </p:grpSpPr>
        <p:sp>
          <p:nvSpPr>
            <p:cNvPr id="173" name="TextBox 293"/>
            <p:cNvSpPr txBox="1"/>
            <p:nvPr/>
          </p:nvSpPr>
          <p:spPr>
            <a:xfrm>
              <a:off x="4675832" y="5472564"/>
              <a:ext cx="963469" cy="215444"/>
            </a:xfrm>
            <a:prstGeom prst="rect">
              <a:avLst/>
            </a:prstGeom>
            <a:noFill/>
            <a:ln>
              <a:solidFill>
                <a:schemeClr val="bg1"/>
              </a:solidFill>
            </a:ln>
          </p:spPr>
          <p:txBody>
            <a:bodyPr wrap="none" lIns="0" tIns="0" rIns="0" bIns="0" rtlCol="0" anchor="ctr">
              <a:spAutoFit/>
            </a:bodyPr>
            <a:lstStyle/>
            <a:p>
              <a:pPr defTabSz="932293" fontAlgn="base">
                <a:spcBef>
                  <a:spcPct val="0"/>
                </a:spcBef>
                <a:spcAft>
                  <a:spcPct val="0"/>
                </a:spcAft>
              </a:pPr>
              <a:r>
                <a:rPr lang="en-US" sz="1400">
                  <a:solidFill>
                    <a:srgbClr val="000000"/>
                  </a:solidFill>
                  <a:ea typeface="Segoe UI" pitchFamily="34" charset="0"/>
                  <a:cs typeface="Segoe UI" pitchFamily="34" charset="0"/>
                </a:rPr>
                <a:t>Data refresh</a:t>
              </a:r>
            </a:p>
          </p:txBody>
        </p:sp>
        <p:sp>
          <p:nvSpPr>
            <p:cNvPr id="174" name="Freeform 122"/>
            <p:cNvSpPr>
              <a:spLocks/>
            </p:cNvSpPr>
            <p:nvPr/>
          </p:nvSpPr>
          <p:spPr bwMode="black">
            <a:xfrm>
              <a:off x="4306193" y="5441922"/>
              <a:ext cx="274320" cy="274320"/>
            </a:xfrm>
            <a:custGeom>
              <a:avLst/>
              <a:gdLst>
                <a:gd name="T0" fmla="*/ 61 w 70"/>
                <a:gd name="T1" fmla="*/ 11 h 71"/>
                <a:gd name="T2" fmla="*/ 60 w 70"/>
                <a:gd name="T3" fmla="*/ 11 h 71"/>
                <a:gd name="T4" fmla="*/ 53 w 70"/>
                <a:gd name="T5" fmla="*/ 18 h 71"/>
                <a:gd name="T6" fmla="*/ 53 w 70"/>
                <a:gd name="T7" fmla="*/ 19 h 71"/>
                <a:gd name="T8" fmla="*/ 53 w 70"/>
                <a:gd name="T9" fmla="*/ 19 h 71"/>
                <a:gd name="T10" fmla="*/ 60 w 70"/>
                <a:gd name="T11" fmla="*/ 35 h 71"/>
                <a:gd name="T12" fmla="*/ 35 w 70"/>
                <a:gd name="T13" fmla="*/ 60 h 71"/>
                <a:gd name="T14" fmla="*/ 10 w 70"/>
                <a:gd name="T15" fmla="*/ 36 h 71"/>
                <a:gd name="T16" fmla="*/ 16 w 70"/>
                <a:gd name="T17" fmla="*/ 21 h 71"/>
                <a:gd name="T18" fmla="*/ 18 w 70"/>
                <a:gd name="T19" fmla="*/ 18 h 71"/>
                <a:gd name="T20" fmla="*/ 25 w 70"/>
                <a:gd name="T21" fmla="*/ 26 h 71"/>
                <a:gd name="T22" fmla="*/ 30 w 70"/>
                <a:gd name="T23" fmla="*/ 0 h 71"/>
                <a:gd name="T24" fmla="*/ 4 w 70"/>
                <a:gd name="T25" fmla="*/ 2 h 71"/>
                <a:gd name="T26" fmla="*/ 11 w 70"/>
                <a:gd name="T27" fmla="*/ 10 h 71"/>
                <a:gd name="T28" fmla="*/ 9 w 70"/>
                <a:gd name="T29" fmla="*/ 12 h 71"/>
                <a:gd name="T30" fmla="*/ 0 w 70"/>
                <a:gd name="T31" fmla="*/ 36 h 71"/>
                <a:gd name="T32" fmla="*/ 35 w 70"/>
                <a:gd name="T33" fmla="*/ 71 h 71"/>
                <a:gd name="T34" fmla="*/ 35 w 70"/>
                <a:gd name="T35" fmla="*/ 71 h 71"/>
                <a:gd name="T36" fmla="*/ 70 w 70"/>
                <a:gd name="T37" fmla="*/ 35 h 71"/>
                <a:gd name="T38" fmla="*/ 61 w 70"/>
                <a:gd name="T39" fmla="*/ 1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0" h="71">
                  <a:moveTo>
                    <a:pt x="61" y="11"/>
                  </a:moveTo>
                  <a:cubicBezTo>
                    <a:pt x="60" y="11"/>
                    <a:pt x="60" y="11"/>
                    <a:pt x="60" y="11"/>
                  </a:cubicBezTo>
                  <a:cubicBezTo>
                    <a:pt x="53" y="18"/>
                    <a:pt x="53" y="18"/>
                    <a:pt x="53" y="18"/>
                  </a:cubicBezTo>
                  <a:cubicBezTo>
                    <a:pt x="53" y="19"/>
                    <a:pt x="53" y="19"/>
                    <a:pt x="53" y="19"/>
                  </a:cubicBezTo>
                  <a:cubicBezTo>
                    <a:pt x="53" y="19"/>
                    <a:pt x="53" y="19"/>
                    <a:pt x="53" y="19"/>
                  </a:cubicBezTo>
                  <a:cubicBezTo>
                    <a:pt x="57" y="23"/>
                    <a:pt x="60" y="29"/>
                    <a:pt x="60" y="35"/>
                  </a:cubicBezTo>
                  <a:cubicBezTo>
                    <a:pt x="60" y="49"/>
                    <a:pt x="49" y="60"/>
                    <a:pt x="35" y="60"/>
                  </a:cubicBezTo>
                  <a:cubicBezTo>
                    <a:pt x="22" y="60"/>
                    <a:pt x="11" y="49"/>
                    <a:pt x="10" y="36"/>
                  </a:cubicBezTo>
                  <a:cubicBezTo>
                    <a:pt x="10" y="30"/>
                    <a:pt x="12" y="25"/>
                    <a:pt x="16" y="21"/>
                  </a:cubicBezTo>
                  <a:cubicBezTo>
                    <a:pt x="18" y="18"/>
                    <a:pt x="18" y="18"/>
                    <a:pt x="18" y="18"/>
                  </a:cubicBezTo>
                  <a:cubicBezTo>
                    <a:pt x="25" y="26"/>
                    <a:pt x="25" y="26"/>
                    <a:pt x="25" y="26"/>
                  </a:cubicBezTo>
                  <a:cubicBezTo>
                    <a:pt x="30" y="0"/>
                    <a:pt x="30" y="0"/>
                    <a:pt x="30" y="0"/>
                  </a:cubicBezTo>
                  <a:cubicBezTo>
                    <a:pt x="4" y="2"/>
                    <a:pt x="4" y="2"/>
                    <a:pt x="4" y="2"/>
                  </a:cubicBezTo>
                  <a:cubicBezTo>
                    <a:pt x="11" y="10"/>
                    <a:pt x="11" y="10"/>
                    <a:pt x="11" y="10"/>
                  </a:cubicBezTo>
                  <a:cubicBezTo>
                    <a:pt x="9" y="12"/>
                    <a:pt x="9" y="12"/>
                    <a:pt x="9" y="12"/>
                  </a:cubicBezTo>
                  <a:cubicBezTo>
                    <a:pt x="3" y="19"/>
                    <a:pt x="0" y="27"/>
                    <a:pt x="0" y="36"/>
                  </a:cubicBezTo>
                  <a:cubicBezTo>
                    <a:pt x="0" y="55"/>
                    <a:pt x="16" y="71"/>
                    <a:pt x="35" y="71"/>
                  </a:cubicBezTo>
                  <a:cubicBezTo>
                    <a:pt x="35" y="71"/>
                    <a:pt x="35" y="71"/>
                    <a:pt x="35" y="71"/>
                  </a:cubicBezTo>
                  <a:cubicBezTo>
                    <a:pt x="55" y="71"/>
                    <a:pt x="70" y="55"/>
                    <a:pt x="70" y="35"/>
                  </a:cubicBezTo>
                  <a:cubicBezTo>
                    <a:pt x="70" y="26"/>
                    <a:pt x="67" y="18"/>
                    <a:pt x="61" y="11"/>
                  </a:cubicBezTo>
                </a:path>
              </a:pathLst>
            </a:custGeom>
            <a:solidFill>
              <a:srgbClr val="EDC30D"/>
            </a:solidFill>
            <a:ln>
              <a:noFill/>
            </a:ln>
          </p:spPr>
          <p:txBody>
            <a:bodyPr vert="horz" wrap="square" lIns="91440" tIns="45720" rIns="91440" bIns="45720" numCol="1" anchor="t" anchorCtr="0" compatLnSpc="1">
              <a:prstTxWarp prst="textNoShape">
                <a:avLst/>
              </a:prstTxWarp>
            </a:bodyPr>
            <a:lstStyle/>
            <a:p>
              <a:endParaRPr lang="en-US" sz="1600">
                <a:solidFill>
                  <a:srgbClr val="000000"/>
                </a:solidFill>
              </a:endParaRPr>
            </a:p>
          </p:txBody>
        </p:sp>
      </p:grpSp>
      <p:grpSp>
        <p:nvGrpSpPr>
          <p:cNvPr id="18" name="Group 17"/>
          <p:cNvGrpSpPr/>
          <p:nvPr/>
        </p:nvGrpSpPr>
        <p:grpSpPr>
          <a:xfrm>
            <a:off x="4306193" y="3788016"/>
            <a:ext cx="1442048" cy="268606"/>
            <a:chOff x="4306193" y="3788016"/>
            <a:chExt cx="1442048" cy="268606"/>
          </a:xfrm>
        </p:grpSpPr>
        <p:sp>
          <p:nvSpPr>
            <p:cNvPr id="176" name="TextBox 293"/>
            <p:cNvSpPr txBox="1"/>
            <p:nvPr/>
          </p:nvSpPr>
          <p:spPr>
            <a:xfrm>
              <a:off x="4675832" y="3818658"/>
              <a:ext cx="1072409" cy="215444"/>
            </a:xfrm>
            <a:prstGeom prst="rect">
              <a:avLst/>
            </a:prstGeom>
            <a:noFill/>
            <a:ln>
              <a:solidFill>
                <a:schemeClr val="bg1"/>
              </a:solidFill>
            </a:ln>
          </p:spPr>
          <p:txBody>
            <a:bodyPr wrap="none" lIns="0" tIns="0" rIns="0" bIns="0" rtlCol="0" anchor="ctr">
              <a:spAutoFit/>
            </a:bodyPr>
            <a:lstStyle/>
            <a:p>
              <a:pPr defTabSz="932293" fontAlgn="base">
                <a:spcBef>
                  <a:spcPct val="0"/>
                </a:spcBef>
                <a:spcAft>
                  <a:spcPct val="0"/>
                </a:spcAft>
              </a:pPr>
              <a:r>
                <a:rPr lang="en-US" sz="1400">
                  <a:solidFill>
                    <a:srgbClr val="000000"/>
                  </a:solidFill>
                  <a:ea typeface="Segoe UI" pitchFamily="34" charset="0"/>
                  <a:cs typeface="Segoe UI" pitchFamily="34" charset="0"/>
                </a:rPr>
                <a:t>Visualizations</a:t>
              </a:r>
              <a:endParaRPr lang="en-US" sz="1200">
                <a:solidFill>
                  <a:srgbClr val="000000"/>
                </a:solidFill>
                <a:ea typeface="Segoe UI" pitchFamily="34" charset="0"/>
                <a:cs typeface="Segoe UI" pitchFamily="34" charset="0"/>
              </a:endParaRPr>
            </a:p>
          </p:txBody>
        </p:sp>
        <p:sp>
          <p:nvSpPr>
            <p:cNvPr id="177" name="Freeform 176"/>
            <p:cNvSpPr>
              <a:spLocks noChangeAspect="1"/>
            </p:cNvSpPr>
            <p:nvPr/>
          </p:nvSpPr>
          <p:spPr bwMode="black">
            <a:xfrm>
              <a:off x="4306193" y="3788016"/>
              <a:ext cx="274320" cy="268606"/>
            </a:xfrm>
            <a:custGeom>
              <a:avLst/>
              <a:gdLst>
                <a:gd name="connsiteX0" fmla="*/ 3713863 w 4893730"/>
                <a:gd name="connsiteY0" fmla="*/ 2130808 h 4791777"/>
                <a:gd name="connsiteX1" fmla="*/ 4426142 w 4893730"/>
                <a:gd name="connsiteY1" fmla="*/ 2130808 h 4791777"/>
                <a:gd name="connsiteX2" fmla="*/ 4598071 w 4893730"/>
                <a:gd name="connsiteY2" fmla="*/ 2301547 h 4791777"/>
                <a:gd name="connsiteX3" fmla="*/ 4598071 w 4893730"/>
                <a:gd name="connsiteY3" fmla="*/ 3886978 h 4791777"/>
                <a:gd name="connsiteX4" fmla="*/ 4426142 w 4893730"/>
                <a:gd name="connsiteY4" fmla="*/ 4057717 h 4791777"/>
                <a:gd name="connsiteX5" fmla="*/ 3713863 w 4893730"/>
                <a:gd name="connsiteY5" fmla="*/ 4057717 h 4791777"/>
                <a:gd name="connsiteX6" fmla="*/ 3517372 w 4893730"/>
                <a:gd name="connsiteY6" fmla="*/ 3886978 h 4791777"/>
                <a:gd name="connsiteX7" fmla="*/ 3517372 w 4893730"/>
                <a:gd name="connsiteY7" fmla="*/ 2301547 h 4791777"/>
                <a:gd name="connsiteX8" fmla="*/ 3713863 w 4893730"/>
                <a:gd name="connsiteY8" fmla="*/ 2130808 h 4791777"/>
                <a:gd name="connsiteX9" fmla="*/ 904368 w 4893730"/>
                <a:gd name="connsiteY9" fmla="*/ 1223432 h 4791777"/>
                <a:gd name="connsiteX10" fmla="*/ 1609930 w 4893730"/>
                <a:gd name="connsiteY10" fmla="*/ 1223432 h 4791777"/>
                <a:gd name="connsiteX11" fmla="*/ 1804567 w 4893730"/>
                <a:gd name="connsiteY11" fmla="*/ 1394467 h 4791777"/>
                <a:gd name="connsiteX12" fmla="*/ 1804567 w 4893730"/>
                <a:gd name="connsiteY12" fmla="*/ 3886683 h 4791777"/>
                <a:gd name="connsiteX13" fmla="*/ 1609930 w 4893730"/>
                <a:gd name="connsiteY13" fmla="*/ 4057717 h 4791777"/>
                <a:gd name="connsiteX14" fmla="*/ 904368 w 4893730"/>
                <a:gd name="connsiteY14" fmla="*/ 4057717 h 4791777"/>
                <a:gd name="connsiteX15" fmla="*/ 734060 w 4893730"/>
                <a:gd name="connsiteY15" fmla="*/ 3886683 h 4791777"/>
                <a:gd name="connsiteX16" fmla="*/ 734060 w 4893730"/>
                <a:gd name="connsiteY16" fmla="*/ 1394467 h 4791777"/>
                <a:gd name="connsiteX17" fmla="*/ 904368 w 4893730"/>
                <a:gd name="connsiteY17" fmla="*/ 1223432 h 4791777"/>
                <a:gd name="connsiteX18" fmla="*/ 2325453 w 4893730"/>
                <a:gd name="connsiteY18" fmla="*/ 316050 h 4791777"/>
                <a:gd name="connsiteX19" fmla="*/ 3031014 w 4893730"/>
                <a:gd name="connsiteY19" fmla="*/ 316050 h 4791777"/>
                <a:gd name="connsiteX20" fmla="*/ 3201322 w 4893730"/>
                <a:gd name="connsiteY20" fmla="*/ 487238 h 4791777"/>
                <a:gd name="connsiteX21" fmla="*/ 3201322 w 4893730"/>
                <a:gd name="connsiteY21" fmla="*/ 3886530 h 4791777"/>
                <a:gd name="connsiteX22" fmla="*/ 3031014 w 4893730"/>
                <a:gd name="connsiteY22" fmla="*/ 4057717 h 4791777"/>
                <a:gd name="connsiteX23" fmla="*/ 2325453 w 4893730"/>
                <a:gd name="connsiteY23" fmla="*/ 4057717 h 4791777"/>
                <a:gd name="connsiteX24" fmla="*/ 2130815 w 4893730"/>
                <a:gd name="connsiteY24" fmla="*/ 3886530 h 4791777"/>
                <a:gd name="connsiteX25" fmla="*/ 2130815 w 4893730"/>
                <a:gd name="connsiteY25" fmla="*/ 487238 h 4791777"/>
                <a:gd name="connsiteX26" fmla="*/ 2325453 w 4893730"/>
                <a:gd name="connsiteY26" fmla="*/ 316050 h 4791777"/>
                <a:gd name="connsiteX27" fmla="*/ 269155 w 4893730"/>
                <a:gd name="connsiteY27" fmla="*/ 0 h 4791777"/>
                <a:gd name="connsiteX28" fmla="*/ 538311 w 4893730"/>
                <a:gd name="connsiteY28" fmla="*/ 268927 h 4791777"/>
                <a:gd name="connsiteX29" fmla="*/ 538311 w 4893730"/>
                <a:gd name="connsiteY29" fmla="*/ 4253925 h 4791777"/>
                <a:gd name="connsiteX30" fmla="*/ 4624575 w 4893730"/>
                <a:gd name="connsiteY30" fmla="*/ 4253925 h 4791777"/>
                <a:gd name="connsiteX31" fmla="*/ 4893730 w 4893730"/>
                <a:gd name="connsiteY31" fmla="*/ 4522851 h 4791777"/>
                <a:gd name="connsiteX32" fmla="*/ 4624575 w 4893730"/>
                <a:gd name="connsiteY32" fmla="*/ 4791777 h 4791777"/>
                <a:gd name="connsiteX33" fmla="*/ 269155 w 4893730"/>
                <a:gd name="connsiteY33" fmla="*/ 4791777 h 4791777"/>
                <a:gd name="connsiteX34" fmla="*/ 0 w 4893730"/>
                <a:gd name="connsiteY34" fmla="*/ 4522851 h 4791777"/>
                <a:gd name="connsiteX35" fmla="*/ 0 w 4893730"/>
                <a:gd name="connsiteY35" fmla="*/ 268927 h 4791777"/>
                <a:gd name="connsiteX36" fmla="*/ 269155 w 4893730"/>
                <a:gd name="connsiteY36" fmla="*/ 0 h 4791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4893730" h="4791777">
                  <a:moveTo>
                    <a:pt x="3713863" y="2130808"/>
                  </a:moveTo>
                  <a:cubicBezTo>
                    <a:pt x="3713863" y="2130808"/>
                    <a:pt x="3713863" y="2130808"/>
                    <a:pt x="4426142" y="2130808"/>
                  </a:cubicBezTo>
                  <a:cubicBezTo>
                    <a:pt x="4524387" y="2130808"/>
                    <a:pt x="4598071" y="2203982"/>
                    <a:pt x="4598071" y="2301547"/>
                  </a:cubicBezTo>
                  <a:cubicBezTo>
                    <a:pt x="4598071" y="2301547"/>
                    <a:pt x="4598071" y="2301547"/>
                    <a:pt x="4598071" y="3886978"/>
                  </a:cubicBezTo>
                  <a:cubicBezTo>
                    <a:pt x="4598071" y="3984543"/>
                    <a:pt x="4524387" y="4057717"/>
                    <a:pt x="4426142" y="4057717"/>
                  </a:cubicBezTo>
                  <a:cubicBezTo>
                    <a:pt x="4426142" y="4057717"/>
                    <a:pt x="4426142" y="4057717"/>
                    <a:pt x="3713863" y="4057717"/>
                  </a:cubicBezTo>
                  <a:cubicBezTo>
                    <a:pt x="3615618" y="4057717"/>
                    <a:pt x="3517372" y="3984543"/>
                    <a:pt x="3517372" y="3886978"/>
                  </a:cubicBezTo>
                  <a:cubicBezTo>
                    <a:pt x="3517372" y="3886978"/>
                    <a:pt x="3517372" y="3886978"/>
                    <a:pt x="3517372" y="2301547"/>
                  </a:cubicBezTo>
                  <a:cubicBezTo>
                    <a:pt x="3517372" y="2203982"/>
                    <a:pt x="3615618" y="2130808"/>
                    <a:pt x="3713863" y="2130808"/>
                  </a:cubicBezTo>
                  <a:close/>
                  <a:moveTo>
                    <a:pt x="904368" y="1223432"/>
                  </a:moveTo>
                  <a:cubicBezTo>
                    <a:pt x="904368" y="1223432"/>
                    <a:pt x="904368" y="1223432"/>
                    <a:pt x="1609930" y="1223432"/>
                  </a:cubicBezTo>
                  <a:cubicBezTo>
                    <a:pt x="1731578" y="1223432"/>
                    <a:pt x="1804567" y="1296733"/>
                    <a:pt x="1804567" y="1394467"/>
                  </a:cubicBezTo>
                  <a:cubicBezTo>
                    <a:pt x="1804567" y="1394467"/>
                    <a:pt x="1804567" y="1394467"/>
                    <a:pt x="1804567" y="3886683"/>
                  </a:cubicBezTo>
                  <a:cubicBezTo>
                    <a:pt x="1804567" y="3984417"/>
                    <a:pt x="1731578" y="4057717"/>
                    <a:pt x="1609930" y="4057717"/>
                  </a:cubicBezTo>
                  <a:cubicBezTo>
                    <a:pt x="1609930" y="4057717"/>
                    <a:pt x="1609930" y="4057717"/>
                    <a:pt x="904368" y="4057717"/>
                  </a:cubicBezTo>
                  <a:cubicBezTo>
                    <a:pt x="807049" y="4057717"/>
                    <a:pt x="734060" y="3984417"/>
                    <a:pt x="734060" y="3886683"/>
                  </a:cubicBezTo>
                  <a:cubicBezTo>
                    <a:pt x="734060" y="3886683"/>
                    <a:pt x="734060" y="3886683"/>
                    <a:pt x="734060" y="1394467"/>
                  </a:cubicBezTo>
                  <a:cubicBezTo>
                    <a:pt x="734060" y="1296733"/>
                    <a:pt x="807049" y="1223432"/>
                    <a:pt x="904368" y="1223432"/>
                  </a:cubicBezTo>
                  <a:close/>
                  <a:moveTo>
                    <a:pt x="2325453" y="316050"/>
                  </a:moveTo>
                  <a:cubicBezTo>
                    <a:pt x="2325453" y="316050"/>
                    <a:pt x="2325453" y="316050"/>
                    <a:pt x="3031014" y="316050"/>
                  </a:cubicBezTo>
                  <a:cubicBezTo>
                    <a:pt x="3128333" y="316050"/>
                    <a:pt x="3201322" y="389416"/>
                    <a:pt x="3201322" y="487238"/>
                  </a:cubicBezTo>
                  <a:cubicBezTo>
                    <a:pt x="3201322" y="487238"/>
                    <a:pt x="3201322" y="487238"/>
                    <a:pt x="3201322" y="3886530"/>
                  </a:cubicBezTo>
                  <a:cubicBezTo>
                    <a:pt x="3201322" y="3984351"/>
                    <a:pt x="3128333" y="4057717"/>
                    <a:pt x="3031014" y="4057717"/>
                  </a:cubicBezTo>
                  <a:cubicBezTo>
                    <a:pt x="3031014" y="4057717"/>
                    <a:pt x="3031014" y="4057717"/>
                    <a:pt x="2325453" y="4057717"/>
                  </a:cubicBezTo>
                  <a:cubicBezTo>
                    <a:pt x="2203804" y="4057717"/>
                    <a:pt x="2130815" y="3984351"/>
                    <a:pt x="2130815" y="3886530"/>
                  </a:cubicBezTo>
                  <a:cubicBezTo>
                    <a:pt x="2130815" y="3886530"/>
                    <a:pt x="2130815" y="3886530"/>
                    <a:pt x="2130815" y="487238"/>
                  </a:cubicBezTo>
                  <a:cubicBezTo>
                    <a:pt x="2130815" y="389416"/>
                    <a:pt x="2203804" y="316050"/>
                    <a:pt x="2325453" y="316050"/>
                  </a:cubicBezTo>
                  <a:close/>
                  <a:moveTo>
                    <a:pt x="269155" y="0"/>
                  </a:moveTo>
                  <a:cubicBezTo>
                    <a:pt x="415967" y="0"/>
                    <a:pt x="538311" y="122239"/>
                    <a:pt x="538311" y="268927"/>
                  </a:cubicBezTo>
                  <a:cubicBezTo>
                    <a:pt x="538311" y="268927"/>
                    <a:pt x="538311" y="268927"/>
                    <a:pt x="538311" y="4253925"/>
                  </a:cubicBezTo>
                  <a:cubicBezTo>
                    <a:pt x="538311" y="4253925"/>
                    <a:pt x="538311" y="4253925"/>
                    <a:pt x="4624575" y="4253925"/>
                  </a:cubicBezTo>
                  <a:cubicBezTo>
                    <a:pt x="4771387" y="4253925"/>
                    <a:pt x="4893730" y="4376164"/>
                    <a:pt x="4893730" y="4522851"/>
                  </a:cubicBezTo>
                  <a:cubicBezTo>
                    <a:pt x="4893730" y="4669538"/>
                    <a:pt x="4771387" y="4791777"/>
                    <a:pt x="4624575" y="4791777"/>
                  </a:cubicBezTo>
                  <a:cubicBezTo>
                    <a:pt x="4624575" y="4791777"/>
                    <a:pt x="4624575" y="4791777"/>
                    <a:pt x="269155" y="4791777"/>
                  </a:cubicBezTo>
                  <a:cubicBezTo>
                    <a:pt x="122344" y="4791777"/>
                    <a:pt x="0" y="4669538"/>
                    <a:pt x="0" y="4522851"/>
                  </a:cubicBezTo>
                  <a:cubicBezTo>
                    <a:pt x="0" y="4522851"/>
                    <a:pt x="0" y="4522851"/>
                    <a:pt x="0" y="268927"/>
                  </a:cubicBezTo>
                  <a:cubicBezTo>
                    <a:pt x="0" y="122239"/>
                    <a:pt x="122344" y="0"/>
                    <a:pt x="269155" y="0"/>
                  </a:cubicBezTo>
                  <a:close/>
                </a:path>
              </a:pathLst>
            </a:custGeom>
            <a:solidFill>
              <a:srgbClr val="EDC30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8" tIns="109719" rIns="137148" bIns="109719" numCol="1" spcCol="0" rtlCol="0" fromWordArt="0" anchor="t" anchorCtr="0" forceAA="0" compatLnSpc="1">
              <a:prstTxWarp prst="textNoShape">
                <a:avLst/>
              </a:prstTxWarp>
              <a:noAutofit/>
            </a:bodyPr>
            <a:lstStyle/>
            <a:p>
              <a:pPr algn="ctr" defTabSz="699261" fontAlgn="base">
                <a:lnSpc>
                  <a:spcPct val="90000"/>
                </a:lnSpc>
                <a:spcBef>
                  <a:spcPct val="0"/>
                </a:spcBef>
                <a:spcAft>
                  <a:spcPct val="0"/>
                </a:spcAft>
              </a:pPr>
              <a:endParaRPr lang="en-US">
                <a:gradFill>
                  <a:gsLst>
                    <a:gs pos="0">
                      <a:srgbClr val="FFFFFF"/>
                    </a:gs>
                    <a:gs pos="100000">
                      <a:srgbClr val="FFFFFF"/>
                    </a:gs>
                  </a:gsLst>
                  <a:lin ang="5400000" scaled="0"/>
                </a:gradFill>
                <a:ea typeface="Segoe UI" pitchFamily="34" charset="0"/>
                <a:cs typeface="Segoe UI" pitchFamily="34" charset="0"/>
              </a:endParaRPr>
            </a:p>
          </p:txBody>
        </p:sp>
      </p:grpSp>
      <p:grpSp>
        <p:nvGrpSpPr>
          <p:cNvPr id="17" name="Group 16"/>
          <p:cNvGrpSpPr/>
          <p:nvPr/>
        </p:nvGrpSpPr>
        <p:grpSpPr>
          <a:xfrm>
            <a:off x="4305597" y="3236714"/>
            <a:ext cx="1646867" cy="274320"/>
            <a:chOff x="4305597" y="3236714"/>
            <a:chExt cx="1646867" cy="274320"/>
          </a:xfrm>
        </p:grpSpPr>
        <p:sp>
          <p:nvSpPr>
            <p:cNvPr id="219" name="TextBox 293"/>
            <p:cNvSpPr txBox="1"/>
            <p:nvPr/>
          </p:nvSpPr>
          <p:spPr>
            <a:xfrm>
              <a:off x="4675832" y="3268771"/>
              <a:ext cx="1276632" cy="215444"/>
            </a:xfrm>
            <a:prstGeom prst="rect">
              <a:avLst/>
            </a:prstGeom>
            <a:noFill/>
            <a:ln>
              <a:solidFill>
                <a:schemeClr val="bg1"/>
              </a:solidFill>
            </a:ln>
          </p:spPr>
          <p:txBody>
            <a:bodyPr wrap="none" lIns="0" tIns="0" rIns="0" bIns="0" rtlCol="0" anchor="ctr">
              <a:spAutoFit/>
            </a:bodyPr>
            <a:lstStyle/>
            <a:p>
              <a:pPr defTabSz="932293" fontAlgn="base">
                <a:spcBef>
                  <a:spcPct val="0"/>
                </a:spcBef>
                <a:spcAft>
                  <a:spcPct val="0"/>
                </a:spcAft>
              </a:pPr>
              <a:r>
                <a:rPr lang="en-US" sz="1400">
                  <a:solidFill>
                    <a:srgbClr val="000000"/>
                  </a:solidFill>
                  <a:ea typeface="Segoe UI" pitchFamily="34" charset="0"/>
                  <a:cs typeface="Segoe UI" pitchFamily="34" charset="0"/>
                </a:rPr>
                <a:t>Live dashboards</a:t>
              </a:r>
            </a:p>
          </p:txBody>
        </p:sp>
        <p:sp>
          <p:nvSpPr>
            <p:cNvPr id="220" name="Freeform 5"/>
            <p:cNvSpPr>
              <a:spLocks noChangeAspect="1" noEditPoints="1"/>
            </p:cNvSpPr>
            <p:nvPr/>
          </p:nvSpPr>
          <p:spPr bwMode="black">
            <a:xfrm>
              <a:off x="4305597" y="3236714"/>
              <a:ext cx="275513" cy="274320"/>
            </a:xfrm>
            <a:custGeom>
              <a:avLst/>
              <a:gdLst>
                <a:gd name="T0" fmla="*/ 402 w 1088"/>
                <a:gd name="T1" fmla="*/ 588 h 1090"/>
                <a:gd name="T2" fmla="*/ 502 w 1088"/>
                <a:gd name="T3" fmla="*/ 688 h 1090"/>
                <a:gd name="T4" fmla="*/ 502 w 1088"/>
                <a:gd name="T5" fmla="*/ 989 h 1090"/>
                <a:gd name="T6" fmla="*/ 402 w 1088"/>
                <a:gd name="T7" fmla="*/ 1090 h 1090"/>
                <a:gd name="T8" fmla="*/ 100 w 1088"/>
                <a:gd name="T9" fmla="*/ 1090 h 1090"/>
                <a:gd name="T10" fmla="*/ 0 w 1088"/>
                <a:gd name="T11" fmla="*/ 989 h 1090"/>
                <a:gd name="T12" fmla="*/ 0 w 1088"/>
                <a:gd name="T13" fmla="*/ 688 h 1090"/>
                <a:gd name="T14" fmla="*/ 100 w 1088"/>
                <a:gd name="T15" fmla="*/ 588 h 1090"/>
                <a:gd name="T16" fmla="*/ 402 w 1088"/>
                <a:gd name="T17" fmla="*/ 588 h 1090"/>
                <a:gd name="T18" fmla="*/ 402 w 1088"/>
                <a:gd name="T19" fmla="*/ 588 h 1090"/>
                <a:gd name="T20" fmla="*/ 402 w 1088"/>
                <a:gd name="T21" fmla="*/ 2 h 1090"/>
                <a:gd name="T22" fmla="*/ 402 w 1088"/>
                <a:gd name="T23" fmla="*/ 2 h 1090"/>
                <a:gd name="T24" fmla="*/ 100 w 1088"/>
                <a:gd name="T25" fmla="*/ 2 h 1090"/>
                <a:gd name="T26" fmla="*/ 0 w 1088"/>
                <a:gd name="T27" fmla="*/ 103 h 1090"/>
                <a:gd name="T28" fmla="*/ 0 w 1088"/>
                <a:gd name="T29" fmla="*/ 403 h 1090"/>
                <a:gd name="T30" fmla="*/ 100 w 1088"/>
                <a:gd name="T31" fmla="*/ 504 h 1090"/>
                <a:gd name="T32" fmla="*/ 402 w 1088"/>
                <a:gd name="T33" fmla="*/ 504 h 1090"/>
                <a:gd name="T34" fmla="*/ 502 w 1088"/>
                <a:gd name="T35" fmla="*/ 403 h 1090"/>
                <a:gd name="T36" fmla="*/ 502 w 1088"/>
                <a:gd name="T37" fmla="*/ 103 h 1090"/>
                <a:gd name="T38" fmla="*/ 402 w 1088"/>
                <a:gd name="T39" fmla="*/ 2 h 1090"/>
                <a:gd name="T40" fmla="*/ 966 w 1088"/>
                <a:gd name="T41" fmla="*/ 0 h 1090"/>
                <a:gd name="T42" fmla="*/ 1088 w 1088"/>
                <a:gd name="T43" fmla="*/ 121 h 1090"/>
                <a:gd name="T44" fmla="*/ 1088 w 1088"/>
                <a:gd name="T45" fmla="*/ 383 h 1090"/>
                <a:gd name="T46" fmla="*/ 966 w 1088"/>
                <a:gd name="T47" fmla="*/ 504 h 1090"/>
                <a:gd name="T48" fmla="*/ 704 w 1088"/>
                <a:gd name="T49" fmla="*/ 504 h 1090"/>
                <a:gd name="T50" fmla="*/ 583 w 1088"/>
                <a:gd name="T51" fmla="*/ 383 h 1090"/>
                <a:gd name="T52" fmla="*/ 583 w 1088"/>
                <a:gd name="T53" fmla="*/ 121 h 1090"/>
                <a:gd name="T54" fmla="*/ 704 w 1088"/>
                <a:gd name="T55" fmla="*/ 0 h 1090"/>
                <a:gd name="T56" fmla="*/ 966 w 1088"/>
                <a:gd name="T57" fmla="*/ 0 h 1090"/>
                <a:gd name="T58" fmla="*/ 1020 w 1088"/>
                <a:gd name="T59" fmla="*/ 383 h 1090"/>
                <a:gd name="T60" fmla="*/ 1020 w 1088"/>
                <a:gd name="T61" fmla="*/ 383 h 1090"/>
                <a:gd name="T62" fmla="*/ 1020 w 1088"/>
                <a:gd name="T63" fmla="*/ 121 h 1090"/>
                <a:gd name="T64" fmla="*/ 966 w 1088"/>
                <a:gd name="T65" fmla="*/ 67 h 1090"/>
                <a:gd name="T66" fmla="*/ 704 w 1088"/>
                <a:gd name="T67" fmla="*/ 67 h 1090"/>
                <a:gd name="T68" fmla="*/ 650 w 1088"/>
                <a:gd name="T69" fmla="*/ 121 h 1090"/>
                <a:gd name="T70" fmla="*/ 650 w 1088"/>
                <a:gd name="T71" fmla="*/ 383 h 1090"/>
                <a:gd name="T72" fmla="*/ 704 w 1088"/>
                <a:gd name="T73" fmla="*/ 437 h 1090"/>
                <a:gd name="T74" fmla="*/ 966 w 1088"/>
                <a:gd name="T75" fmla="*/ 437 h 1090"/>
                <a:gd name="T76" fmla="*/ 1020 w 1088"/>
                <a:gd name="T77" fmla="*/ 383 h 1090"/>
                <a:gd name="T78" fmla="*/ 584 w 1088"/>
                <a:gd name="T79" fmla="*/ 688 h 1090"/>
                <a:gd name="T80" fmla="*/ 584 w 1088"/>
                <a:gd name="T81" fmla="*/ 688 h 1090"/>
                <a:gd name="T82" fmla="*/ 584 w 1088"/>
                <a:gd name="T83" fmla="*/ 989 h 1090"/>
                <a:gd name="T84" fmla="*/ 686 w 1088"/>
                <a:gd name="T85" fmla="*/ 1090 h 1090"/>
                <a:gd name="T86" fmla="*/ 987 w 1088"/>
                <a:gd name="T87" fmla="*/ 1090 h 1090"/>
                <a:gd name="T88" fmla="*/ 1088 w 1088"/>
                <a:gd name="T89" fmla="*/ 989 h 1090"/>
                <a:gd name="T90" fmla="*/ 1088 w 1088"/>
                <a:gd name="T91" fmla="*/ 688 h 1090"/>
                <a:gd name="T92" fmla="*/ 987 w 1088"/>
                <a:gd name="T93" fmla="*/ 588 h 1090"/>
                <a:gd name="T94" fmla="*/ 686 w 1088"/>
                <a:gd name="T95" fmla="*/ 588 h 1090"/>
                <a:gd name="T96" fmla="*/ 584 w 1088"/>
                <a:gd name="T97" fmla="*/ 688 h 10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088" h="1090">
                  <a:moveTo>
                    <a:pt x="402" y="588"/>
                  </a:moveTo>
                  <a:cubicBezTo>
                    <a:pt x="469" y="588"/>
                    <a:pt x="502" y="621"/>
                    <a:pt x="502" y="688"/>
                  </a:cubicBezTo>
                  <a:cubicBezTo>
                    <a:pt x="502" y="989"/>
                    <a:pt x="502" y="989"/>
                    <a:pt x="502" y="989"/>
                  </a:cubicBezTo>
                  <a:cubicBezTo>
                    <a:pt x="502" y="1056"/>
                    <a:pt x="469" y="1090"/>
                    <a:pt x="402" y="1090"/>
                  </a:cubicBezTo>
                  <a:cubicBezTo>
                    <a:pt x="100" y="1090"/>
                    <a:pt x="100" y="1090"/>
                    <a:pt x="100" y="1090"/>
                  </a:cubicBezTo>
                  <a:cubicBezTo>
                    <a:pt x="33" y="1090"/>
                    <a:pt x="0" y="1056"/>
                    <a:pt x="0" y="989"/>
                  </a:cubicBezTo>
                  <a:cubicBezTo>
                    <a:pt x="0" y="688"/>
                    <a:pt x="0" y="688"/>
                    <a:pt x="0" y="688"/>
                  </a:cubicBezTo>
                  <a:cubicBezTo>
                    <a:pt x="0" y="621"/>
                    <a:pt x="33" y="588"/>
                    <a:pt x="100" y="588"/>
                  </a:cubicBezTo>
                  <a:cubicBezTo>
                    <a:pt x="402" y="588"/>
                    <a:pt x="402" y="588"/>
                    <a:pt x="402" y="588"/>
                  </a:cubicBezTo>
                  <a:cubicBezTo>
                    <a:pt x="402" y="588"/>
                    <a:pt x="402" y="588"/>
                    <a:pt x="402" y="588"/>
                  </a:cubicBezTo>
                  <a:close/>
                  <a:moveTo>
                    <a:pt x="402" y="2"/>
                  </a:moveTo>
                  <a:cubicBezTo>
                    <a:pt x="402" y="2"/>
                    <a:pt x="402" y="2"/>
                    <a:pt x="402" y="2"/>
                  </a:cubicBezTo>
                  <a:cubicBezTo>
                    <a:pt x="100" y="2"/>
                    <a:pt x="100" y="2"/>
                    <a:pt x="100" y="2"/>
                  </a:cubicBezTo>
                  <a:cubicBezTo>
                    <a:pt x="33" y="2"/>
                    <a:pt x="0" y="36"/>
                    <a:pt x="0" y="103"/>
                  </a:cubicBezTo>
                  <a:cubicBezTo>
                    <a:pt x="0" y="103"/>
                    <a:pt x="0" y="103"/>
                    <a:pt x="0" y="403"/>
                  </a:cubicBezTo>
                  <a:cubicBezTo>
                    <a:pt x="0" y="471"/>
                    <a:pt x="33" y="504"/>
                    <a:pt x="100" y="504"/>
                  </a:cubicBezTo>
                  <a:cubicBezTo>
                    <a:pt x="100" y="504"/>
                    <a:pt x="100" y="504"/>
                    <a:pt x="402" y="504"/>
                  </a:cubicBezTo>
                  <a:cubicBezTo>
                    <a:pt x="469" y="504"/>
                    <a:pt x="502" y="471"/>
                    <a:pt x="502" y="403"/>
                  </a:cubicBezTo>
                  <a:cubicBezTo>
                    <a:pt x="502" y="403"/>
                    <a:pt x="502" y="403"/>
                    <a:pt x="502" y="103"/>
                  </a:cubicBezTo>
                  <a:cubicBezTo>
                    <a:pt x="502" y="36"/>
                    <a:pt x="469" y="2"/>
                    <a:pt x="402" y="2"/>
                  </a:cubicBezTo>
                  <a:close/>
                  <a:moveTo>
                    <a:pt x="966" y="0"/>
                  </a:moveTo>
                  <a:cubicBezTo>
                    <a:pt x="1048" y="0"/>
                    <a:pt x="1088" y="40"/>
                    <a:pt x="1088" y="121"/>
                  </a:cubicBezTo>
                  <a:cubicBezTo>
                    <a:pt x="1088" y="121"/>
                    <a:pt x="1088" y="121"/>
                    <a:pt x="1088" y="383"/>
                  </a:cubicBezTo>
                  <a:cubicBezTo>
                    <a:pt x="1088" y="464"/>
                    <a:pt x="1048" y="504"/>
                    <a:pt x="966" y="504"/>
                  </a:cubicBezTo>
                  <a:cubicBezTo>
                    <a:pt x="966" y="504"/>
                    <a:pt x="966" y="504"/>
                    <a:pt x="704" y="504"/>
                  </a:cubicBezTo>
                  <a:cubicBezTo>
                    <a:pt x="623" y="504"/>
                    <a:pt x="583" y="464"/>
                    <a:pt x="583" y="383"/>
                  </a:cubicBezTo>
                  <a:cubicBezTo>
                    <a:pt x="583" y="383"/>
                    <a:pt x="583" y="383"/>
                    <a:pt x="583" y="121"/>
                  </a:cubicBezTo>
                  <a:cubicBezTo>
                    <a:pt x="583" y="40"/>
                    <a:pt x="623" y="0"/>
                    <a:pt x="704" y="0"/>
                  </a:cubicBezTo>
                  <a:cubicBezTo>
                    <a:pt x="704" y="0"/>
                    <a:pt x="704" y="0"/>
                    <a:pt x="966" y="0"/>
                  </a:cubicBezTo>
                  <a:close/>
                  <a:moveTo>
                    <a:pt x="1020" y="383"/>
                  </a:moveTo>
                  <a:cubicBezTo>
                    <a:pt x="1020" y="383"/>
                    <a:pt x="1020" y="383"/>
                    <a:pt x="1020" y="383"/>
                  </a:cubicBezTo>
                  <a:cubicBezTo>
                    <a:pt x="1020" y="121"/>
                    <a:pt x="1020" y="121"/>
                    <a:pt x="1020" y="121"/>
                  </a:cubicBezTo>
                  <a:cubicBezTo>
                    <a:pt x="1020" y="85"/>
                    <a:pt x="1002" y="67"/>
                    <a:pt x="966" y="67"/>
                  </a:cubicBezTo>
                  <a:cubicBezTo>
                    <a:pt x="966" y="67"/>
                    <a:pt x="966" y="67"/>
                    <a:pt x="704" y="67"/>
                  </a:cubicBezTo>
                  <a:cubicBezTo>
                    <a:pt x="668" y="67"/>
                    <a:pt x="650" y="85"/>
                    <a:pt x="650" y="121"/>
                  </a:cubicBezTo>
                  <a:cubicBezTo>
                    <a:pt x="650" y="121"/>
                    <a:pt x="650" y="121"/>
                    <a:pt x="650" y="383"/>
                  </a:cubicBezTo>
                  <a:cubicBezTo>
                    <a:pt x="650" y="419"/>
                    <a:pt x="668" y="437"/>
                    <a:pt x="704" y="437"/>
                  </a:cubicBezTo>
                  <a:cubicBezTo>
                    <a:pt x="704" y="437"/>
                    <a:pt x="704" y="437"/>
                    <a:pt x="966" y="437"/>
                  </a:cubicBezTo>
                  <a:cubicBezTo>
                    <a:pt x="1002" y="437"/>
                    <a:pt x="1020" y="419"/>
                    <a:pt x="1020" y="383"/>
                  </a:cubicBezTo>
                  <a:close/>
                  <a:moveTo>
                    <a:pt x="584" y="688"/>
                  </a:moveTo>
                  <a:cubicBezTo>
                    <a:pt x="584" y="688"/>
                    <a:pt x="584" y="688"/>
                    <a:pt x="584" y="688"/>
                  </a:cubicBezTo>
                  <a:cubicBezTo>
                    <a:pt x="584" y="989"/>
                    <a:pt x="584" y="989"/>
                    <a:pt x="584" y="989"/>
                  </a:cubicBezTo>
                  <a:cubicBezTo>
                    <a:pt x="584" y="1056"/>
                    <a:pt x="619" y="1090"/>
                    <a:pt x="686" y="1090"/>
                  </a:cubicBezTo>
                  <a:cubicBezTo>
                    <a:pt x="686" y="1090"/>
                    <a:pt x="686" y="1090"/>
                    <a:pt x="987" y="1090"/>
                  </a:cubicBezTo>
                  <a:cubicBezTo>
                    <a:pt x="1054" y="1090"/>
                    <a:pt x="1088" y="1056"/>
                    <a:pt x="1088" y="989"/>
                  </a:cubicBezTo>
                  <a:cubicBezTo>
                    <a:pt x="1088" y="989"/>
                    <a:pt x="1088" y="989"/>
                    <a:pt x="1088" y="688"/>
                  </a:cubicBezTo>
                  <a:cubicBezTo>
                    <a:pt x="1088" y="621"/>
                    <a:pt x="1054" y="588"/>
                    <a:pt x="987" y="588"/>
                  </a:cubicBezTo>
                  <a:cubicBezTo>
                    <a:pt x="987" y="588"/>
                    <a:pt x="987" y="588"/>
                    <a:pt x="686" y="588"/>
                  </a:cubicBezTo>
                  <a:cubicBezTo>
                    <a:pt x="619" y="588"/>
                    <a:pt x="584" y="621"/>
                    <a:pt x="584" y="688"/>
                  </a:cubicBezTo>
                  <a:close/>
                </a:path>
              </a:pathLst>
            </a:custGeom>
            <a:solidFill>
              <a:srgbClr val="EDC30D"/>
            </a:solidFill>
            <a:ln>
              <a:noFill/>
            </a:ln>
          </p:spPr>
          <p:txBody>
            <a:bodyPr vert="horz" wrap="square" lIns="68574" tIns="34287" rIns="68574" bIns="34287" numCol="1" anchor="t" anchorCtr="0" compatLnSpc="1">
              <a:prstTxWarp prst="textNoShape">
                <a:avLst/>
              </a:prstTxWarp>
            </a:bodyPr>
            <a:lstStyle/>
            <a:p>
              <a:endParaRPr lang="en-US" sz="1350">
                <a:solidFill>
                  <a:srgbClr val="000000"/>
                </a:solidFill>
              </a:endParaRPr>
            </a:p>
          </p:txBody>
        </p:sp>
      </p:grpSp>
      <p:grpSp>
        <p:nvGrpSpPr>
          <p:cNvPr id="16" name="Group 15"/>
          <p:cNvGrpSpPr/>
          <p:nvPr/>
        </p:nvGrpSpPr>
        <p:grpSpPr>
          <a:xfrm>
            <a:off x="4306193" y="2634382"/>
            <a:ext cx="1497576" cy="290409"/>
            <a:chOff x="4306193" y="2634382"/>
            <a:chExt cx="1497576" cy="290409"/>
          </a:xfrm>
        </p:grpSpPr>
        <p:sp>
          <p:nvSpPr>
            <p:cNvPr id="227" name="Freeform 226"/>
            <p:cNvSpPr>
              <a:spLocks noChangeAspect="1"/>
            </p:cNvSpPr>
            <p:nvPr/>
          </p:nvSpPr>
          <p:spPr bwMode="black">
            <a:xfrm>
              <a:off x="4306193" y="2634382"/>
              <a:ext cx="274320" cy="290409"/>
            </a:xfrm>
            <a:custGeom>
              <a:avLst/>
              <a:gdLst>
                <a:gd name="connsiteX0" fmla="*/ 59957 w 546268"/>
                <a:gd name="connsiteY0" fmla="*/ 369868 h 578307"/>
                <a:gd name="connsiteX1" fmla="*/ 257006 w 546268"/>
                <a:gd name="connsiteY1" fmla="*/ 484264 h 578307"/>
                <a:gd name="connsiteX2" fmla="*/ 257707 w 546268"/>
                <a:gd name="connsiteY2" fmla="*/ 484264 h 578307"/>
                <a:gd name="connsiteX3" fmla="*/ 273135 w 546268"/>
                <a:gd name="connsiteY3" fmla="*/ 488475 h 578307"/>
                <a:gd name="connsiteX4" fmla="*/ 289263 w 546268"/>
                <a:gd name="connsiteY4" fmla="*/ 484264 h 578307"/>
                <a:gd name="connsiteX5" fmla="*/ 487013 w 546268"/>
                <a:gd name="connsiteY5" fmla="*/ 369868 h 578307"/>
                <a:gd name="connsiteX6" fmla="*/ 538204 w 546268"/>
                <a:gd name="connsiteY6" fmla="*/ 399344 h 578307"/>
                <a:gd name="connsiteX7" fmla="*/ 545217 w 546268"/>
                <a:gd name="connsiteY7" fmla="*/ 407766 h 578307"/>
                <a:gd name="connsiteX8" fmla="*/ 545217 w 546268"/>
                <a:gd name="connsiteY8" fmla="*/ 418995 h 578307"/>
                <a:gd name="connsiteX9" fmla="*/ 538204 w 546268"/>
                <a:gd name="connsiteY9" fmla="*/ 427417 h 578307"/>
                <a:gd name="connsiteX10" fmla="*/ 280848 w 546268"/>
                <a:gd name="connsiteY10" fmla="*/ 576202 h 578307"/>
                <a:gd name="connsiteX11" fmla="*/ 273135 w 546268"/>
                <a:gd name="connsiteY11" fmla="*/ 578307 h 578307"/>
                <a:gd name="connsiteX12" fmla="*/ 265421 w 546268"/>
                <a:gd name="connsiteY12" fmla="*/ 576202 h 578307"/>
                <a:gd name="connsiteX13" fmla="*/ 8065 w 546268"/>
                <a:gd name="connsiteY13" fmla="*/ 427417 h 578307"/>
                <a:gd name="connsiteX14" fmla="*/ 1052 w 546268"/>
                <a:gd name="connsiteY14" fmla="*/ 418995 h 578307"/>
                <a:gd name="connsiteX15" fmla="*/ 1052 w 546268"/>
                <a:gd name="connsiteY15" fmla="*/ 407766 h 578307"/>
                <a:gd name="connsiteX16" fmla="*/ 8065 w 546268"/>
                <a:gd name="connsiteY16" fmla="*/ 399344 h 578307"/>
                <a:gd name="connsiteX17" fmla="*/ 59957 w 546268"/>
                <a:gd name="connsiteY17" fmla="*/ 369868 h 578307"/>
                <a:gd name="connsiteX18" fmla="*/ 59957 w 546268"/>
                <a:gd name="connsiteY18" fmla="*/ 245100 h 578307"/>
                <a:gd name="connsiteX19" fmla="*/ 257006 w 546268"/>
                <a:gd name="connsiteY19" fmla="*/ 359394 h 578307"/>
                <a:gd name="connsiteX20" fmla="*/ 257707 w 546268"/>
                <a:gd name="connsiteY20" fmla="*/ 359394 h 578307"/>
                <a:gd name="connsiteX21" fmla="*/ 273135 w 546268"/>
                <a:gd name="connsiteY21" fmla="*/ 362900 h 578307"/>
                <a:gd name="connsiteX22" fmla="*/ 289263 w 546268"/>
                <a:gd name="connsiteY22" fmla="*/ 359394 h 578307"/>
                <a:gd name="connsiteX23" fmla="*/ 487013 w 546268"/>
                <a:gd name="connsiteY23" fmla="*/ 245100 h 578307"/>
                <a:gd name="connsiteX24" fmla="*/ 538204 w 546268"/>
                <a:gd name="connsiteY24" fmla="*/ 274550 h 578307"/>
                <a:gd name="connsiteX25" fmla="*/ 545217 w 546268"/>
                <a:gd name="connsiteY25" fmla="*/ 282964 h 578307"/>
                <a:gd name="connsiteX26" fmla="*/ 545217 w 546268"/>
                <a:gd name="connsiteY26" fmla="*/ 294183 h 578307"/>
                <a:gd name="connsiteX27" fmla="*/ 538204 w 546268"/>
                <a:gd name="connsiteY27" fmla="*/ 302598 h 578307"/>
                <a:gd name="connsiteX28" fmla="*/ 280848 w 546268"/>
                <a:gd name="connsiteY28" fmla="*/ 451250 h 578307"/>
                <a:gd name="connsiteX29" fmla="*/ 273135 w 546268"/>
                <a:gd name="connsiteY29" fmla="*/ 452652 h 578307"/>
                <a:gd name="connsiteX30" fmla="*/ 265421 w 546268"/>
                <a:gd name="connsiteY30" fmla="*/ 451250 h 578307"/>
                <a:gd name="connsiteX31" fmla="*/ 8065 w 546268"/>
                <a:gd name="connsiteY31" fmla="*/ 302598 h 578307"/>
                <a:gd name="connsiteX32" fmla="*/ 1052 w 546268"/>
                <a:gd name="connsiteY32" fmla="*/ 294183 h 578307"/>
                <a:gd name="connsiteX33" fmla="*/ 1052 w 546268"/>
                <a:gd name="connsiteY33" fmla="*/ 282964 h 578307"/>
                <a:gd name="connsiteX34" fmla="*/ 8065 w 546268"/>
                <a:gd name="connsiteY34" fmla="*/ 274550 h 578307"/>
                <a:gd name="connsiteX35" fmla="*/ 59957 w 546268"/>
                <a:gd name="connsiteY35" fmla="*/ 245100 h 578307"/>
                <a:gd name="connsiteX36" fmla="*/ 273135 w 546268"/>
                <a:gd name="connsiteY36" fmla="*/ 0 h 578307"/>
                <a:gd name="connsiteX37" fmla="*/ 280848 w 546268"/>
                <a:gd name="connsiteY37" fmla="*/ 2803 h 578307"/>
                <a:gd name="connsiteX38" fmla="*/ 538204 w 546268"/>
                <a:gd name="connsiteY38" fmla="*/ 151352 h 578307"/>
                <a:gd name="connsiteX39" fmla="*/ 545217 w 546268"/>
                <a:gd name="connsiteY39" fmla="*/ 159761 h 578307"/>
                <a:gd name="connsiteX40" fmla="*/ 545217 w 546268"/>
                <a:gd name="connsiteY40" fmla="*/ 170271 h 578307"/>
                <a:gd name="connsiteX41" fmla="*/ 538204 w 546268"/>
                <a:gd name="connsiteY41" fmla="*/ 178680 h 578307"/>
                <a:gd name="connsiteX42" fmla="*/ 280848 w 546268"/>
                <a:gd name="connsiteY42" fmla="*/ 327930 h 578307"/>
                <a:gd name="connsiteX43" fmla="*/ 277342 w 546268"/>
                <a:gd name="connsiteY43" fmla="*/ 329331 h 578307"/>
                <a:gd name="connsiteX44" fmla="*/ 273135 w 546268"/>
                <a:gd name="connsiteY44" fmla="*/ 331433 h 578307"/>
                <a:gd name="connsiteX45" fmla="*/ 268927 w 546268"/>
                <a:gd name="connsiteY45" fmla="*/ 329331 h 578307"/>
                <a:gd name="connsiteX46" fmla="*/ 265421 w 546268"/>
                <a:gd name="connsiteY46" fmla="*/ 327930 h 578307"/>
                <a:gd name="connsiteX47" fmla="*/ 8065 w 546268"/>
                <a:gd name="connsiteY47" fmla="*/ 178680 h 578307"/>
                <a:gd name="connsiteX48" fmla="*/ 1052 w 546268"/>
                <a:gd name="connsiteY48" fmla="*/ 170271 h 578307"/>
                <a:gd name="connsiteX49" fmla="*/ 1052 w 546268"/>
                <a:gd name="connsiteY49" fmla="*/ 159761 h 578307"/>
                <a:gd name="connsiteX50" fmla="*/ 8065 w 546268"/>
                <a:gd name="connsiteY50" fmla="*/ 151352 h 578307"/>
                <a:gd name="connsiteX51" fmla="*/ 265421 w 546268"/>
                <a:gd name="connsiteY51" fmla="*/ 2803 h 578307"/>
                <a:gd name="connsiteX52" fmla="*/ 273135 w 546268"/>
                <a:gd name="connsiteY52" fmla="*/ 0 h 5783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546268" h="578307">
                  <a:moveTo>
                    <a:pt x="59957" y="369868"/>
                  </a:moveTo>
                  <a:lnTo>
                    <a:pt x="257006" y="484264"/>
                  </a:lnTo>
                  <a:cubicBezTo>
                    <a:pt x="257707" y="484264"/>
                    <a:pt x="257707" y="484264"/>
                    <a:pt x="257707" y="484264"/>
                  </a:cubicBezTo>
                  <a:cubicBezTo>
                    <a:pt x="261915" y="487071"/>
                    <a:pt x="267525" y="488475"/>
                    <a:pt x="273135" y="488475"/>
                  </a:cubicBezTo>
                  <a:cubicBezTo>
                    <a:pt x="278744" y="488475"/>
                    <a:pt x="284354" y="487071"/>
                    <a:pt x="289263" y="484264"/>
                  </a:cubicBezTo>
                  <a:cubicBezTo>
                    <a:pt x="487013" y="369868"/>
                    <a:pt x="487013" y="369868"/>
                    <a:pt x="487013" y="369868"/>
                  </a:cubicBezTo>
                  <a:cubicBezTo>
                    <a:pt x="538204" y="399344"/>
                    <a:pt x="538204" y="399344"/>
                    <a:pt x="538204" y="399344"/>
                  </a:cubicBezTo>
                  <a:cubicBezTo>
                    <a:pt x="541710" y="401450"/>
                    <a:pt x="543814" y="404257"/>
                    <a:pt x="545217" y="407766"/>
                  </a:cubicBezTo>
                  <a:cubicBezTo>
                    <a:pt x="546619" y="411275"/>
                    <a:pt x="546619" y="415486"/>
                    <a:pt x="545217" y="418995"/>
                  </a:cubicBezTo>
                  <a:cubicBezTo>
                    <a:pt x="543814" y="422504"/>
                    <a:pt x="541710" y="425312"/>
                    <a:pt x="538204" y="427417"/>
                  </a:cubicBezTo>
                  <a:cubicBezTo>
                    <a:pt x="280848" y="576202"/>
                    <a:pt x="280848" y="576202"/>
                    <a:pt x="280848" y="576202"/>
                  </a:cubicBezTo>
                  <a:cubicBezTo>
                    <a:pt x="278744" y="577605"/>
                    <a:pt x="275939" y="578307"/>
                    <a:pt x="273135" y="578307"/>
                  </a:cubicBezTo>
                  <a:cubicBezTo>
                    <a:pt x="270330" y="578307"/>
                    <a:pt x="267525" y="577605"/>
                    <a:pt x="265421" y="576202"/>
                  </a:cubicBezTo>
                  <a:cubicBezTo>
                    <a:pt x="8065" y="427417"/>
                    <a:pt x="8065" y="427417"/>
                    <a:pt x="8065" y="427417"/>
                  </a:cubicBezTo>
                  <a:cubicBezTo>
                    <a:pt x="4559" y="425312"/>
                    <a:pt x="2455" y="422504"/>
                    <a:pt x="1052" y="418995"/>
                  </a:cubicBezTo>
                  <a:cubicBezTo>
                    <a:pt x="-350" y="415486"/>
                    <a:pt x="-350" y="411275"/>
                    <a:pt x="1052" y="407766"/>
                  </a:cubicBezTo>
                  <a:cubicBezTo>
                    <a:pt x="2455" y="404257"/>
                    <a:pt x="4559" y="401450"/>
                    <a:pt x="8065" y="399344"/>
                  </a:cubicBezTo>
                  <a:cubicBezTo>
                    <a:pt x="59957" y="369868"/>
                    <a:pt x="59957" y="369868"/>
                    <a:pt x="59957" y="369868"/>
                  </a:cubicBezTo>
                  <a:close/>
                  <a:moveTo>
                    <a:pt x="59957" y="245100"/>
                  </a:moveTo>
                  <a:cubicBezTo>
                    <a:pt x="257006" y="359394"/>
                    <a:pt x="257006" y="359394"/>
                    <a:pt x="257006" y="359394"/>
                  </a:cubicBezTo>
                  <a:cubicBezTo>
                    <a:pt x="257707" y="359394"/>
                    <a:pt x="257707" y="359394"/>
                    <a:pt x="257707" y="359394"/>
                  </a:cubicBezTo>
                  <a:cubicBezTo>
                    <a:pt x="261915" y="362199"/>
                    <a:pt x="267525" y="362900"/>
                    <a:pt x="273135" y="362900"/>
                  </a:cubicBezTo>
                  <a:cubicBezTo>
                    <a:pt x="278744" y="362900"/>
                    <a:pt x="284354" y="362199"/>
                    <a:pt x="289263" y="359394"/>
                  </a:cubicBezTo>
                  <a:cubicBezTo>
                    <a:pt x="487013" y="245100"/>
                    <a:pt x="487013" y="245100"/>
                    <a:pt x="487013" y="245100"/>
                  </a:cubicBezTo>
                  <a:cubicBezTo>
                    <a:pt x="538204" y="274550"/>
                    <a:pt x="538204" y="274550"/>
                    <a:pt x="538204" y="274550"/>
                  </a:cubicBezTo>
                  <a:cubicBezTo>
                    <a:pt x="541710" y="276654"/>
                    <a:pt x="543814" y="279459"/>
                    <a:pt x="545217" y="282964"/>
                  </a:cubicBezTo>
                  <a:cubicBezTo>
                    <a:pt x="546619" y="286470"/>
                    <a:pt x="546619" y="289976"/>
                    <a:pt x="545217" y="294183"/>
                  </a:cubicBezTo>
                  <a:cubicBezTo>
                    <a:pt x="543814" y="296988"/>
                    <a:pt x="541710" y="299793"/>
                    <a:pt x="538204" y="302598"/>
                  </a:cubicBezTo>
                  <a:cubicBezTo>
                    <a:pt x="280848" y="451250"/>
                    <a:pt x="280848" y="451250"/>
                    <a:pt x="280848" y="451250"/>
                  </a:cubicBezTo>
                  <a:cubicBezTo>
                    <a:pt x="278744" y="451951"/>
                    <a:pt x="275939" y="452652"/>
                    <a:pt x="273135" y="452652"/>
                  </a:cubicBezTo>
                  <a:cubicBezTo>
                    <a:pt x="270330" y="452652"/>
                    <a:pt x="267525" y="451951"/>
                    <a:pt x="265421" y="451250"/>
                  </a:cubicBezTo>
                  <a:cubicBezTo>
                    <a:pt x="8065" y="302598"/>
                    <a:pt x="8065" y="302598"/>
                    <a:pt x="8065" y="302598"/>
                  </a:cubicBezTo>
                  <a:cubicBezTo>
                    <a:pt x="4559" y="299793"/>
                    <a:pt x="2455" y="296988"/>
                    <a:pt x="1052" y="294183"/>
                  </a:cubicBezTo>
                  <a:cubicBezTo>
                    <a:pt x="-350" y="289976"/>
                    <a:pt x="-350" y="286470"/>
                    <a:pt x="1052" y="282964"/>
                  </a:cubicBezTo>
                  <a:cubicBezTo>
                    <a:pt x="2455" y="279459"/>
                    <a:pt x="4559" y="276654"/>
                    <a:pt x="8065" y="274550"/>
                  </a:cubicBezTo>
                  <a:cubicBezTo>
                    <a:pt x="59957" y="245100"/>
                    <a:pt x="59957" y="245100"/>
                    <a:pt x="59957" y="245100"/>
                  </a:cubicBezTo>
                  <a:close/>
                  <a:moveTo>
                    <a:pt x="273135" y="0"/>
                  </a:moveTo>
                  <a:cubicBezTo>
                    <a:pt x="275939" y="0"/>
                    <a:pt x="278744" y="701"/>
                    <a:pt x="280848" y="2803"/>
                  </a:cubicBezTo>
                  <a:cubicBezTo>
                    <a:pt x="538204" y="151352"/>
                    <a:pt x="538204" y="151352"/>
                    <a:pt x="538204" y="151352"/>
                  </a:cubicBezTo>
                  <a:cubicBezTo>
                    <a:pt x="541710" y="153454"/>
                    <a:pt x="543814" y="156257"/>
                    <a:pt x="545217" y="159761"/>
                  </a:cubicBezTo>
                  <a:cubicBezTo>
                    <a:pt x="546619" y="163264"/>
                    <a:pt x="546619" y="166768"/>
                    <a:pt x="545217" y="170271"/>
                  </a:cubicBezTo>
                  <a:cubicBezTo>
                    <a:pt x="543814" y="173775"/>
                    <a:pt x="541710" y="176578"/>
                    <a:pt x="538204" y="178680"/>
                  </a:cubicBezTo>
                  <a:cubicBezTo>
                    <a:pt x="280848" y="327930"/>
                    <a:pt x="280848" y="327930"/>
                    <a:pt x="280848" y="327930"/>
                  </a:cubicBezTo>
                  <a:cubicBezTo>
                    <a:pt x="280147" y="327930"/>
                    <a:pt x="278744" y="328630"/>
                    <a:pt x="277342" y="329331"/>
                  </a:cubicBezTo>
                  <a:cubicBezTo>
                    <a:pt x="273135" y="331433"/>
                    <a:pt x="273135" y="331433"/>
                    <a:pt x="273135" y="331433"/>
                  </a:cubicBezTo>
                  <a:cubicBezTo>
                    <a:pt x="268927" y="329331"/>
                    <a:pt x="268927" y="329331"/>
                    <a:pt x="268927" y="329331"/>
                  </a:cubicBezTo>
                  <a:cubicBezTo>
                    <a:pt x="267525" y="328630"/>
                    <a:pt x="266122" y="327930"/>
                    <a:pt x="265421" y="327930"/>
                  </a:cubicBezTo>
                  <a:cubicBezTo>
                    <a:pt x="8065" y="178680"/>
                    <a:pt x="8065" y="178680"/>
                    <a:pt x="8065" y="178680"/>
                  </a:cubicBezTo>
                  <a:cubicBezTo>
                    <a:pt x="4559" y="176578"/>
                    <a:pt x="2455" y="173775"/>
                    <a:pt x="1052" y="170271"/>
                  </a:cubicBezTo>
                  <a:cubicBezTo>
                    <a:pt x="-350" y="166768"/>
                    <a:pt x="-350" y="163264"/>
                    <a:pt x="1052" y="159761"/>
                  </a:cubicBezTo>
                  <a:cubicBezTo>
                    <a:pt x="2455" y="156257"/>
                    <a:pt x="4559" y="153454"/>
                    <a:pt x="8065" y="151352"/>
                  </a:cubicBezTo>
                  <a:cubicBezTo>
                    <a:pt x="265421" y="2803"/>
                    <a:pt x="265421" y="2803"/>
                    <a:pt x="265421" y="2803"/>
                  </a:cubicBezTo>
                  <a:cubicBezTo>
                    <a:pt x="267525" y="701"/>
                    <a:pt x="270330" y="0"/>
                    <a:pt x="273135" y="0"/>
                  </a:cubicBezTo>
                  <a:close/>
                </a:path>
              </a:pathLst>
            </a:custGeom>
            <a:solidFill>
              <a:srgbClr val="EDC30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71177" tIns="56942" rIns="71177" bIns="56942"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362895" fontAlgn="base">
                <a:lnSpc>
                  <a:spcPct val="90000"/>
                </a:lnSpc>
                <a:spcBef>
                  <a:spcPct val="0"/>
                </a:spcBef>
                <a:spcAft>
                  <a:spcPct val="0"/>
                </a:spcAft>
              </a:pPr>
              <a:endParaRPr lang="en-US" sz="934">
                <a:gradFill>
                  <a:gsLst>
                    <a:gs pos="0">
                      <a:srgbClr val="FFFFFF"/>
                    </a:gs>
                    <a:gs pos="100000">
                      <a:srgbClr val="FFFFFF"/>
                    </a:gs>
                  </a:gsLst>
                  <a:lin ang="5400000" scaled="0"/>
                </a:gradFill>
                <a:ea typeface="Segoe UI" pitchFamily="34" charset="0"/>
                <a:cs typeface="Segoe UI" pitchFamily="34" charset="0"/>
              </a:endParaRPr>
            </a:p>
          </p:txBody>
        </p:sp>
        <p:sp>
          <p:nvSpPr>
            <p:cNvPr id="228" name="TextBox 293"/>
            <p:cNvSpPr txBox="1"/>
            <p:nvPr/>
          </p:nvSpPr>
          <p:spPr>
            <a:xfrm>
              <a:off x="4675832" y="2664610"/>
              <a:ext cx="1127937" cy="215444"/>
            </a:xfrm>
            <a:prstGeom prst="rect">
              <a:avLst/>
            </a:prstGeom>
            <a:noFill/>
            <a:ln>
              <a:solidFill>
                <a:schemeClr val="bg1"/>
              </a:solidFill>
            </a:ln>
          </p:spPr>
          <p:txBody>
            <a:bodyPr wrap="none" lIns="0" tIns="0" rIns="0" bIns="0" rtlCol="0" anchor="ctr">
              <a:spAutoFit/>
            </a:bodyPr>
            <a:lstStyle/>
            <a:p>
              <a:pPr defTabSz="932293" fontAlgn="base">
                <a:spcBef>
                  <a:spcPct val="0"/>
                </a:spcBef>
                <a:spcAft>
                  <a:spcPct val="0"/>
                </a:spcAft>
              </a:pPr>
              <a:r>
                <a:rPr lang="en-US" sz="1400">
                  <a:solidFill>
                    <a:srgbClr val="000000"/>
                  </a:solidFill>
                  <a:ea typeface="Segoe UI" pitchFamily="34" charset="0"/>
                  <a:cs typeface="Segoe UI" pitchFamily="34" charset="0"/>
                </a:rPr>
                <a:t>Content packs</a:t>
              </a:r>
            </a:p>
          </p:txBody>
        </p:sp>
      </p:grpSp>
      <p:sp>
        <p:nvSpPr>
          <p:cNvPr id="26" name="Left Bracket 25"/>
          <p:cNvSpPr/>
          <p:nvPr/>
        </p:nvSpPr>
        <p:spPr>
          <a:xfrm>
            <a:off x="4133759" y="2811399"/>
            <a:ext cx="170037" cy="2994038"/>
          </a:xfrm>
          <a:prstGeom prst="leftBracket">
            <a:avLst/>
          </a:prstGeom>
          <a:noFill/>
          <a:ln w="28575">
            <a:solidFill>
              <a:srgbClr val="EDC30D"/>
            </a:solidFill>
            <a:prstDash val="sysDash"/>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srgbClr val="000000"/>
              </a:solidFill>
            </a:endParaRPr>
          </a:p>
        </p:txBody>
      </p:sp>
      <p:grpSp>
        <p:nvGrpSpPr>
          <p:cNvPr id="14" name="Group 13"/>
          <p:cNvGrpSpPr/>
          <p:nvPr/>
        </p:nvGrpSpPr>
        <p:grpSpPr>
          <a:xfrm>
            <a:off x="9011801" y="2658719"/>
            <a:ext cx="2258229" cy="274320"/>
            <a:chOff x="9011801" y="2831439"/>
            <a:chExt cx="2258229" cy="274320"/>
          </a:xfrm>
        </p:grpSpPr>
        <p:sp>
          <p:nvSpPr>
            <p:cNvPr id="110" name="TextBox 293"/>
            <p:cNvSpPr txBox="1"/>
            <p:nvPr/>
          </p:nvSpPr>
          <p:spPr>
            <a:xfrm>
              <a:off x="9381693" y="2847432"/>
              <a:ext cx="1888337" cy="215444"/>
            </a:xfrm>
            <a:prstGeom prst="rect">
              <a:avLst/>
            </a:prstGeom>
            <a:noFill/>
            <a:ln>
              <a:solidFill>
                <a:schemeClr val="bg1"/>
              </a:solidFill>
            </a:ln>
          </p:spPr>
          <p:txBody>
            <a:bodyPr wrap="none" lIns="0" tIns="0" rIns="0" bIns="0" rtlCol="0" anchor="ctr">
              <a:spAutoFit/>
            </a:bodyPr>
            <a:lstStyle/>
            <a:p>
              <a:pPr defTabSz="932293" fontAlgn="base">
                <a:spcBef>
                  <a:spcPct val="0"/>
                </a:spcBef>
                <a:spcAft>
                  <a:spcPct val="0"/>
                </a:spcAft>
              </a:pPr>
              <a:r>
                <a:rPr lang="en-US" sz="1400">
                  <a:solidFill>
                    <a:srgbClr val="000000"/>
                  </a:solidFill>
                  <a:ea typeface="Segoe UI" pitchFamily="34" charset="0"/>
                  <a:cs typeface="Segoe UI" pitchFamily="34" charset="0"/>
                </a:rPr>
                <a:t>Sharing &amp; collaboration</a:t>
              </a:r>
            </a:p>
          </p:txBody>
        </p:sp>
        <p:sp>
          <p:nvSpPr>
            <p:cNvPr id="112" name="Freeform 111"/>
            <p:cNvSpPr>
              <a:spLocks noChangeAspect="1"/>
            </p:cNvSpPr>
            <p:nvPr/>
          </p:nvSpPr>
          <p:spPr bwMode="black">
            <a:xfrm>
              <a:off x="9011801" y="2831439"/>
              <a:ext cx="312642" cy="274320"/>
            </a:xfrm>
            <a:custGeom>
              <a:avLst/>
              <a:gdLst/>
              <a:ahLst/>
              <a:cxnLst/>
              <a:rect l="l" t="t" r="r" b="b"/>
              <a:pathLst>
                <a:path w="4740335" h="4048081">
                  <a:moveTo>
                    <a:pt x="3683614" y="1098549"/>
                  </a:moveTo>
                  <a:cubicBezTo>
                    <a:pt x="3683654" y="1098549"/>
                    <a:pt x="3689354" y="1098549"/>
                    <a:pt x="4502870" y="1098549"/>
                  </a:cubicBezTo>
                  <a:cubicBezTo>
                    <a:pt x="4633477" y="1098549"/>
                    <a:pt x="4740335" y="1205183"/>
                    <a:pt x="4740335" y="1335514"/>
                  </a:cubicBezTo>
                  <a:cubicBezTo>
                    <a:pt x="4740335" y="1335569"/>
                    <a:pt x="4740335" y="1343335"/>
                    <a:pt x="4740335" y="2449249"/>
                  </a:cubicBezTo>
                  <a:cubicBezTo>
                    <a:pt x="4740335" y="2579580"/>
                    <a:pt x="4633477" y="2686214"/>
                    <a:pt x="4502870" y="2686214"/>
                  </a:cubicBezTo>
                  <a:cubicBezTo>
                    <a:pt x="4502870" y="2686253"/>
                    <a:pt x="4502870" y="2691777"/>
                    <a:pt x="4502870" y="3480046"/>
                  </a:cubicBezTo>
                  <a:cubicBezTo>
                    <a:pt x="4502870" y="3610377"/>
                    <a:pt x="4396011" y="3717011"/>
                    <a:pt x="4265405" y="3717011"/>
                  </a:cubicBezTo>
                  <a:cubicBezTo>
                    <a:pt x="4265376" y="3717011"/>
                    <a:pt x="4262133" y="3717011"/>
                    <a:pt x="3909206" y="3717011"/>
                  </a:cubicBezTo>
                  <a:cubicBezTo>
                    <a:pt x="3790473" y="3717011"/>
                    <a:pt x="3683614" y="3610377"/>
                    <a:pt x="3683614" y="3480046"/>
                  </a:cubicBezTo>
                  <a:cubicBezTo>
                    <a:pt x="3683614" y="3480010"/>
                    <a:pt x="3683614" y="3474701"/>
                    <a:pt x="3683614" y="2686214"/>
                  </a:cubicBezTo>
                  <a:cubicBezTo>
                    <a:pt x="3553008" y="2686214"/>
                    <a:pt x="3446148" y="2579580"/>
                    <a:pt x="3446148" y="2449249"/>
                  </a:cubicBezTo>
                  <a:cubicBezTo>
                    <a:pt x="3446148" y="2449192"/>
                    <a:pt x="3446148" y="2441288"/>
                    <a:pt x="3446148" y="1335514"/>
                  </a:cubicBezTo>
                  <a:cubicBezTo>
                    <a:pt x="3446148" y="1205183"/>
                    <a:pt x="3553008" y="1098549"/>
                    <a:pt x="3683614" y="1098549"/>
                  </a:cubicBezTo>
                  <a:close/>
                  <a:moveTo>
                    <a:pt x="236546" y="1098549"/>
                  </a:moveTo>
                  <a:cubicBezTo>
                    <a:pt x="236570" y="1098549"/>
                    <a:pt x="240947" y="1098549"/>
                    <a:pt x="1052628" y="1098549"/>
                  </a:cubicBezTo>
                  <a:cubicBezTo>
                    <a:pt x="1182728" y="1098549"/>
                    <a:pt x="1289174" y="1205183"/>
                    <a:pt x="1289174" y="1335514"/>
                  </a:cubicBezTo>
                  <a:cubicBezTo>
                    <a:pt x="1289174" y="1335532"/>
                    <a:pt x="1289174" y="1340039"/>
                    <a:pt x="1289174" y="2449249"/>
                  </a:cubicBezTo>
                  <a:cubicBezTo>
                    <a:pt x="1289174" y="2579580"/>
                    <a:pt x="1182728" y="2686214"/>
                    <a:pt x="1052628" y="2686214"/>
                  </a:cubicBezTo>
                  <a:cubicBezTo>
                    <a:pt x="1052628" y="2686235"/>
                    <a:pt x="1052628" y="2690268"/>
                    <a:pt x="1052628" y="3480046"/>
                  </a:cubicBezTo>
                  <a:cubicBezTo>
                    <a:pt x="1052628" y="3610377"/>
                    <a:pt x="946183" y="3717011"/>
                    <a:pt x="827910" y="3717011"/>
                  </a:cubicBezTo>
                  <a:cubicBezTo>
                    <a:pt x="827894" y="3717011"/>
                    <a:pt x="825508" y="3717011"/>
                    <a:pt x="473091" y="3717011"/>
                  </a:cubicBezTo>
                  <a:cubicBezTo>
                    <a:pt x="342991" y="3717011"/>
                    <a:pt x="236546" y="3610377"/>
                    <a:pt x="236546" y="3480046"/>
                  </a:cubicBezTo>
                  <a:cubicBezTo>
                    <a:pt x="236546" y="3480026"/>
                    <a:pt x="236546" y="3476021"/>
                    <a:pt x="236546" y="2686214"/>
                  </a:cubicBezTo>
                  <a:cubicBezTo>
                    <a:pt x="106446" y="2686214"/>
                    <a:pt x="0" y="2579580"/>
                    <a:pt x="0" y="2449249"/>
                  </a:cubicBezTo>
                  <a:cubicBezTo>
                    <a:pt x="0" y="2449230"/>
                    <a:pt x="0" y="2444630"/>
                    <a:pt x="0" y="1335514"/>
                  </a:cubicBezTo>
                  <a:cubicBezTo>
                    <a:pt x="0" y="1205183"/>
                    <a:pt x="106446" y="1098549"/>
                    <a:pt x="236546" y="1098549"/>
                  </a:cubicBezTo>
                  <a:close/>
                  <a:moveTo>
                    <a:pt x="1895194" y="993211"/>
                  </a:moveTo>
                  <a:cubicBezTo>
                    <a:pt x="1895245" y="993211"/>
                    <a:pt x="1902161" y="993211"/>
                    <a:pt x="2845141" y="993211"/>
                  </a:cubicBezTo>
                  <a:cubicBezTo>
                    <a:pt x="2999507" y="993211"/>
                    <a:pt x="3130125" y="1123457"/>
                    <a:pt x="3130125" y="1277385"/>
                  </a:cubicBezTo>
                  <a:cubicBezTo>
                    <a:pt x="3130125" y="1277420"/>
                    <a:pt x="3130125" y="1284134"/>
                    <a:pt x="3130125" y="2568008"/>
                  </a:cubicBezTo>
                  <a:cubicBezTo>
                    <a:pt x="3130125" y="2721936"/>
                    <a:pt x="2999507" y="2852182"/>
                    <a:pt x="2845141" y="2852182"/>
                  </a:cubicBezTo>
                  <a:cubicBezTo>
                    <a:pt x="2845141" y="2852231"/>
                    <a:pt x="2845141" y="2858826"/>
                    <a:pt x="2845141" y="3763907"/>
                  </a:cubicBezTo>
                  <a:cubicBezTo>
                    <a:pt x="2845141" y="3917835"/>
                    <a:pt x="2726398" y="4048081"/>
                    <a:pt x="2572031" y="4048081"/>
                  </a:cubicBezTo>
                  <a:cubicBezTo>
                    <a:pt x="2571992" y="4048081"/>
                    <a:pt x="2568051" y="4048081"/>
                    <a:pt x="2168304" y="4048081"/>
                  </a:cubicBezTo>
                  <a:cubicBezTo>
                    <a:pt x="2013937" y="4048081"/>
                    <a:pt x="1895194" y="3917835"/>
                    <a:pt x="1895194" y="3763907"/>
                  </a:cubicBezTo>
                  <a:cubicBezTo>
                    <a:pt x="1895194" y="3763858"/>
                    <a:pt x="1895194" y="3757193"/>
                    <a:pt x="1895194" y="2852182"/>
                  </a:cubicBezTo>
                  <a:cubicBezTo>
                    <a:pt x="1740828" y="2852182"/>
                    <a:pt x="1610210" y="2721936"/>
                    <a:pt x="1610210" y="2568008"/>
                  </a:cubicBezTo>
                  <a:cubicBezTo>
                    <a:pt x="1610210" y="2567966"/>
                    <a:pt x="1610210" y="2560581"/>
                    <a:pt x="1610210" y="1277385"/>
                  </a:cubicBezTo>
                  <a:cubicBezTo>
                    <a:pt x="1610210" y="1123457"/>
                    <a:pt x="1740828" y="993211"/>
                    <a:pt x="1895194" y="993211"/>
                  </a:cubicBezTo>
                  <a:close/>
                  <a:moveTo>
                    <a:pt x="4093246" y="245790"/>
                  </a:moveTo>
                  <a:cubicBezTo>
                    <a:pt x="4306565" y="245790"/>
                    <a:pt x="4479495" y="420965"/>
                    <a:pt x="4479495" y="637055"/>
                  </a:cubicBezTo>
                  <a:cubicBezTo>
                    <a:pt x="4479495" y="853145"/>
                    <a:pt x="4306565" y="1028320"/>
                    <a:pt x="4093246" y="1028320"/>
                  </a:cubicBezTo>
                  <a:cubicBezTo>
                    <a:pt x="3879927" y="1028320"/>
                    <a:pt x="3706997" y="853145"/>
                    <a:pt x="3706997" y="637055"/>
                  </a:cubicBezTo>
                  <a:cubicBezTo>
                    <a:pt x="3706997" y="420965"/>
                    <a:pt x="3879927" y="245790"/>
                    <a:pt x="4093246" y="245790"/>
                  </a:cubicBezTo>
                  <a:close/>
                  <a:moveTo>
                    <a:pt x="644584" y="245790"/>
                  </a:moveTo>
                  <a:cubicBezTo>
                    <a:pt x="856519" y="245790"/>
                    <a:pt x="1028326" y="420965"/>
                    <a:pt x="1028326" y="637055"/>
                  </a:cubicBezTo>
                  <a:cubicBezTo>
                    <a:pt x="1028326" y="853145"/>
                    <a:pt x="856519" y="1028320"/>
                    <a:pt x="644584" y="1028320"/>
                  </a:cubicBezTo>
                  <a:cubicBezTo>
                    <a:pt x="432649" y="1028320"/>
                    <a:pt x="260842" y="853145"/>
                    <a:pt x="260842" y="637055"/>
                  </a:cubicBezTo>
                  <a:cubicBezTo>
                    <a:pt x="260842" y="420965"/>
                    <a:pt x="432649" y="245790"/>
                    <a:pt x="644584" y="245790"/>
                  </a:cubicBezTo>
                  <a:close/>
                  <a:moveTo>
                    <a:pt x="2367657" y="0"/>
                  </a:moveTo>
                  <a:cubicBezTo>
                    <a:pt x="2616992" y="0"/>
                    <a:pt x="2819118" y="203249"/>
                    <a:pt x="2819118" y="453969"/>
                  </a:cubicBezTo>
                  <a:cubicBezTo>
                    <a:pt x="2819118" y="704689"/>
                    <a:pt x="2616992" y="907938"/>
                    <a:pt x="2367657" y="907938"/>
                  </a:cubicBezTo>
                  <a:cubicBezTo>
                    <a:pt x="2118322" y="907938"/>
                    <a:pt x="1916196" y="704689"/>
                    <a:pt x="1916196" y="453969"/>
                  </a:cubicBezTo>
                  <a:cubicBezTo>
                    <a:pt x="1916196" y="203249"/>
                    <a:pt x="2118322" y="0"/>
                    <a:pt x="2367657" y="0"/>
                  </a:cubicBezTo>
                  <a:close/>
                </a:path>
              </a:pathLst>
            </a:custGeom>
            <a:solidFill>
              <a:srgbClr val="EDC30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37148" tIns="109719" rIns="137148" bIns="109719"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699261" fontAlgn="base">
                <a:lnSpc>
                  <a:spcPct val="90000"/>
                </a:lnSpc>
                <a:spcBef>
                  <a:spcPct val="0"/>
                </a:spcBef>
                <a:spcAft>
                  <a:spcPct val="0"/>
                </a:spcAft>
              </a:pPr>
              <a:endParaRPr lang="en-US">
                <a:gradFill>
                  <a:gsLst>
                    <a:gs pos="0">
                      <a:srgbClr val="FFFFFF"/>
                    </a:gs>
                    <a:gs pos="100000">
                      <a:srgbClr val="FFFFFF"/>
                    </a:gs>
                  </a:gsLst>
                  <a:lin ang="5400000" scaled="0"/>
                </a:gradFill>
                <a:ea typeface="Segoe UI" pitchFamily="34" charset="0"/>
                <a:cs typeface="Segoe UI" pitchFamily="34" charset="0"/>
              </a:endParaRPr>
            </a:p>
          </p:txBody>
        </p:sp>
      </p:grpSp>
      <p:grpSp>
        <p:nvGrpSpPr>
          <p:cNvPr id="94" name="Group 93"/>
          <p:cNvGrpSpPr/>
          <p:nvPr/>
        </p:nvGrpSpPr>
        <p:grpSpPr>
          <a:xfrm>
            <a:off x="10217405" y="126609"/>
            <a:ext cx="1875360" cy="572464"/>
            <a:chOff x="10316641" y="149435"/>
            <a:chExt cx="1875360" cy="572464"/>
          </a:xfrm>
        </p:grpSpPr>
        <p:pic>
          <p:nvPicPr>
            <p:cNvPr id="95" name="Picture 94"/>
            <p:cNvPicPr>
              <a:picLocks noChangeAspect="1"/>
            </p:cNvPicPr>
            <p:nvPr/>
          </p:nvPicPr>
          <p:blipFill>
            <a:blip r:embed="rId4">
              <a:duotone>
                <a:schemeClr val="bg2">
                  <a:shade val="45000"/>
                  <a:satMod val="135000"/>
                </a:schemeClr>
                <a:prstClr val="white"/>
              </a:duotone>
              <a:lum bright="-32000"/>
            </a:blip>
            <a:stretch>
              <a:fillRect/>
            </a:stretch>
          </p:blipFill>
          <p:spPr>
            <a:xfrm>
              <a:off x="10316641" y="213005"/>
              <a:ext cx="484908" cy="445325"/>
            </a:xfrm>
            <a:prstGeom prst="rect">
              <a:avLst/>
            </a:prstGeom>
          </p:spPr>
        </p:pic>
        <p:sp>
          <p:nvSpPr>
            <p:cNvPr id="96" name="TextBox 95"/>
            <p:cNvSpPr txBox="1"/>
            <p:nvPr/>
          </p:nvSpPr>
          <p:spPr>
            <a:xfrm>
              <a:off x="10716157" y="149435"/>
              <a:ext cx="1475844" cy="572464"/>
            </a:xfrm>
            <a:prstGeom prst="rect">
              <a:avLst/>
            </a:prstGeom>
            <a:noFill/>
          </p:spPr>
          <p:txBody>
            <a:bodyPr wrap="square" lIns="182880" tIns="146304" rIns="182880" bIns="146304" rtlCol="0">
              <a:spAutoFit/>
            </a:bodyPr>
            <a:lstStyle/>
            <a:p>
              <a:pPr>
                <a:lnSpc>
                  <a:spcPct val="90000"/>
                </a:lnSpc>
                <a:spcAft>
                  <a:spcPts val="600"/>
                </a:spcAft>
              </a:pPr>
              <a:r>
                <a:rPr lang="en-US" sz="2000">
                  <a:gradFill>
                    <a:gsLst>
                      <a:gs pos="2917">
                        <a:srgbClr val="000000"/>
                      </a:gs>
                      <a:gs pos="30000">
                        <a:srgbClr val="000000"/>
                      </a:gs>
                    </a:gsLst>
                    <a:lin ang="5400000" scaled="0"/>
                  </a:gradFill>
                  <a:latin typeface="Segoe UI Light"/>
                </a:rPr>
                <a:t>Power BI</a:t>
              </a:r>
            </a:p>
          </p:txBody>
        </p:sp>
      </p:grpSp>
      <p:grpSp>
        <p:nvGrpSpPr>
          <p:cNvPr id="15" name="Group 14"/>
          <p:cNvGrpSpPr/>
          <p:nvPr/>
        </p:nvGrpSpPr>
        <p:grpSpPr>
          <a:xfrm>
            <a:off x="6395967" y="2662299"/>
            <a:ext cx="2224537" cy="232779"/>
            <a:chOff x="6395967" y="2662299"/>
            <a:chExt cx="2224537" cy="232779"/>
          </a:xfrm>
        </p:grpSpPr>
        <p:sp>
          <p:nvSpPr>
            <p:cNvPr id="210" name="TextBox 293"/>
            <p:cNvSpPr txBox="1"/>
            <p:nvPr/>
          </p:nvSpPr>
          <p:spPr>
            <a:xfrm>
              <a:off x="6744221" y="2679634"/>
              <a:ext cx="1876283" cy="215444"/>
            </a:xfrm>
            <a:prstGeom prst="rect">
              <a:avLst/>
            </a:prstGeom>
            <a:noFill/>
            <a:ln>
              <a:solidFill>
                <a:schemeClr val="bg1"/>
              </a:solidFill>
            </a:ln>
          </p:spPr>
          <p:txBody>
            <a:bodyPr wrap="none" lIns="0" tIns="0" rIns="0" bIns="0" rtlCol="0" anchor="ctr">
              <a:spAutoFit/>
            </a:bodyPr>
            <a:lstStyle/>
            <a:p>
              <a:pPr defTabSz="932293" fontAlgn="base">
                <a:spcBef>
                  <a:spcPct val="0"/>
                </a:spcBef>
                <a:spcAft>
                  <a:spcPct val="0"/>
                </a:spcAft>
              </a:pPr>
              <a:r>
                <a:rPr lang="en-US" sz="1400">
                  <a:solidFill>
                    <a:srgbClr val="000000"/>
                  </a:solidFill>
                  <a:ea typeface="Segoe UI" pitchFamily="34" charset="0"/>
                  <a:cs typeface="Segoe UI" pitchFamily="34" charset="0"/>
                </a:rPr>
                <a:t>Natural language query</a:t>
              </a:r>
            </a:p>
          </p:txBody>
        </p:sp>
        <p:sp>
          <p:nvSpPr>
            <p:cNvPr id="3" name="Oval Callout 2"/>
            <p:cNvSpPr/>
            <p:nvPr/>
          </p:nvSpPr>
          <p:spPr bwMode="auto">
            <a:xfrm>
              <a:off x="6395967" y="2662299"/>
              <a:ext cx="274320" cy="228600"/>
            </a:xfrm>
            <a:prstGeom prst="wedgeEllipseCallout">
              <a:avLst>
                <a:gd name="adj1" fmla="val -59325"/>
                <a:gd name="adj2" fmla="val 71225"/>
              </a:avLst>
            </a:prstGeom>
            <a:solidFill>
              <a:srgbClr val="F2C81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800" b="1">
                <a:solidFill>
                  <a:srgbClr val="000000"/>
                </a:solidFill>
                <a:ea typeface="Segoe UI" pitchFamily="34" charset="0"/>
                <a:cs typeface="Segoe UI" pitchFamily="34" charset="0"/>
              </a:endParaRPr>
            </a:p>
          </p:txBody>
        </p:sp>
      </p:grpSp>
      <p:grpSp>
        <p:nvGrpSpPr>
          <p:cNvPr id="19" name="Group 18"/>
          <p:cNvGrpSpPr/>
          <p:nvPr/>
        </p:nvGrpSpPr>
        <p:grpSpPr>
          <a:xfrm>
            <a:off x="4306193" y="4364674"/>
            <a:ext cx="983781" cy="311845"/>
            <a:chOff x="4306193" y="4364674"/>
            <a:chExt cx="983781" cy="311845"/>
          </a:xfrm>
        </p:grpSpPr>
        <p:sp>
          <p:nvSpPr>
            <p:cNvPr id="179" name="TextBox 293"/>
            <p:cNvSpPr txBox="1"/>
            <p:nvPr/>
          </p:nvSpPr>
          <p:spPr>
            <a:xfrm>
              <a:off x="4675832" y="4391568"/>
              <a:ext cx="614142" cy="215444"/>
            </a:xfrm>
            <a:prstGeom prst="rect">
              <a:avLst/>
            </a:prstGeom>
            <a:noFill/>
            <a:ln>
              <a:solidFill>
                <a:schemeClr val="bg1"/>
              </a:solidFill>
            </a:ln>
          </p:spPr>
          <p:txBody>
            <a:bodyPr wrap="none" lIns="0" tIns="0" rIns="0" bIns="0" rtlCol="0" anchor="ctr">
              <a:spAutoFit/>
            </a:bodyPr>
            <a:lstStyle/>
            <a:p>
              <a:pPr defTabSz="932293" fontAlgn="base">
                <a:spcBef>
                  <a:spcPct val="0"/>
                </a:spcBef>
                <a:spcAft>
                  <a:spcPct val="0"/>
                </a:spcAft>
              </a:pPr>
              <a:r>
                <a:rPr lang="en-US" sz="1400">
                  <a:solidFill>
                    <a:srgbClr val="000000"/>
                  </a:solidFill>
                  <a:ea typeface="Segoe UI" pitchFamily="34" charset="0"/>
                  <a:cs typeface="Segoe UI" pitchFamily="34" charset="0"/>
                </a:rPr>
                <a:t>Reports</a:t>
              </a:r>
              <a:endParaRPr lang="en-US" sz="1200">
                <a:solidFill>
                  <a:srgbClr val="000000"/>
                </a:solidFill>
                <a:ea typeface="Segoe UI" pitchFamily="34" charset="0"/>
                <a:cs typeface="Segoe UI" pitchFamily="34" charset="0"/>
              </a:endParaRPr>
            </a:p>
          </p:txBody>
        </p:sp>
        <p:sp>
          <p:nvSpPr>
            <p:cNvPr id="5" name="Flowchart: Document 4"/>
            <p:cNvSpPr/>
            <p:nvPr/>
          </p:nvSpPr>
          <p:spPr bwMode="auto">
            <a:xfrm>
              <a:off x="4306193" y="4364674"/>
              <a:ext cx="274320" cy="311845"/>
            </a:xfrm>
            <a:prstGeom prst="flowChartDocument">
              <a:avLst/>
            </a:prstGeom>
            <a:noFill/>
            <a:ln w="28575">
              <a:solidFill>
                <a:srgbClr val="F2C81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20" name="Group 19"/>
          <p:cNvGrpSpPr/>
          <p:nvPr/>
        </p:nvGrpSpPr>
        <p:grpSpPr>
          <a:xfrm>
            <a:off x="3979430" y="4771518"/>
            <a:ext cx="1376075" cy="572464"/>
            <a:chOff x="3979430" y="4771518"/>
            <a:chExt cx="1376075" cy="572464"/>
          </a:xfrm>
        </p:grpSpPr>
        <p:sp>
          <p:nvSpPr>
            <p:cNvPr id="182" name="TextBox 293"/>
            <p:cNvSpPr txBox="1"/>
            <p:nvPr/>
          </p:nvSpPr>
          <p:spPr>
            <a:xfrm>
              <a:off x="4675832" y="4921262"/>
              <a:ext cx="679673" cy="215444"/>
            </a:xfrm>
            <a:prstGeom prst="rect">
              <a:avLst/>
            </a:prstGeom>
            <a:noFill/>
            <a:ln>
              <a:solidFill>
                <a:schemeClr val="bg1"/>
              </a:solidFill>
            </a:ln>
          </p:spPr>
          <p:txBody>
            <a:bodyPr wrap="none" lIns="0" tIns="0" rIns="0" bIns="0" rtlCol="0" anchor="ctr">
              <a:spAutoFit/>
            </a:bodyPr>
            <a:lstStyle/>
            <a:p>
              <a:pPr defTabSz="932293" fontAlgn="base">
                <a:spcBef>
                  <a:spcPct val="0"/>
                </a:spcBef>
                <a:spcAft>
                  <a:spcPct val="0"/>
                </a:spcAft>
              </a:pPr>
              <a:r>
                <a:rPr lang="en-US" sz="1400">
                  <a:solidFill>
                    <a:srgbClr val="000000"/>
                  </a:solidFill>
                  <a:ea typeface="Segoe UI" pitchFamily="34" charset="0"/>
                  <a:cs typeface="Segoe UI" pitchFamily="34" charset="0"/>
                </a:rPr>
                <a:t>Datasets</a:t>
              </a:r>
            </a:p>
          </p:txBody>
        </p:sp>
        <p:sp>
          <p:nvSpPr>
            <p:cNvPr id="13" name="TextBox 12"/>
            <p:cNvSpPr txBox="1"/>
            <p:nvPr/>
          </p:nvSpPr>
          <p:spPr>
            <a:xfrm>
              <a:off x="3979430" y="4771518"/>
              <a:ext cx="927847" cy="572464"/>
            </a:xfrm>
            <a:prstGeom prst="rect">
              <a:avLst/>
            </a:prstGeom>
            <a:noFill/>
          </p:spPr>
          <p:txBody>
            <a:bodyPr wrap="square" lIns="182880" tIns="146304" rIns="182880" bIns="146304" rtlCol="0">
              <a:spAutoFit/>
            </a:bodyPr>
            <a:lstStyle/>
            <a:p>
              <a:pPr algn="ctr"/>
              <a:r>
                <a:rPr lang="en-US" sz="900" b="1" dirty="0">
                  <a:solidFill>
                    <a:srgbClr val="F2C812"/>
                  </a:solidFill>
                </a:rPr>
                <a:t>01001</a:t>
              </a:r>
            </a:p>
            <a:p>
              <a:pPr algn="ctr"/>
              <a:r>
                <a:rPr lang="en-US" sz="900" b="1" dirty="0">
                  <a:solidFill>
                    <a:srgbClr val="F2C812"/>
                  </a:solidFill>
                </a:rPr>
                <a:t>10101</a:t>
              </a:r>
            </a:p>
          </p:txBody>
        </p:sp>
      </p:grpSp>
      <p:sp>
        <p:nvSpPr>
          <p:cNvPr id="158" name="Rectangle 157"/>
          <p:cNvSpPr/>
          <p:nvPr/>
        </p:nvSpPr>
        <p:spPr>
          <a:xfrm>
            <a:off x="4066679" y="1704548"/>
            <a:ext cx="4018415" cy="400110"/>
          </a:xfrm>
          <a:prstGeom prst="rect">
            <a:avLst/>
          </a:prstGeom>
        </p:spPr>
        <p:txBody>
          <a:bodyPr wrap="square">
            <a:spAutoFit/>
          </a:bodyPr>
          <a:lstStyle/>
          <a:p>
            <a:pPr defTabSz="914367">
              <a:spcAft>
                <a:spcPts val="588"/>
              </a:spcAft>
            </a:pPr>
            <a:r>
              <a:rPr lang="en-US" sz="2000">
                <a:solidFill>
                  <a:srgbClr val="000000"/>
                </a:solidFill>
              </a:rPr>
              <a:t>Power BI Service</a:t>
            </a:r>
          </a:p>
        </p:txBody>
      </p:sp>
      <p:grpSp>
        <p:nvGrpSpPr>
          <p:cNvPr id="159" name="Group 158"/>
          <p:cNvGrpSpPr>
            <a:grpSpLocks noChangeAspect="1"/>
          </p:cNvGrpSpPr>
          <p:nvPr/>
        </p:nvGrpSpPr>
        <p:grpSpPr>
          <a:xfrm>
            <a:off x="6215359" y="3127602"/>
            <a:ext cx="5120640" cy="2756516"/>
            <a:chOff x="266699" y="-225976"/>
            <a:chExt cx="11319416" cy="6093390"/>
          </a:xfrm>
        </p:grpSpPr>
        <p:grpSp>
          <p:nvGrpSpPr>
            <p:cNvPr id="160" name="Group 159"/>
            <p:cNvGrpSpPr/>
            <p:nvPr/>
          </p:nvGrpSpPr>
          <p:grpSpPr>
            <a:xfrm>
              <a:off x="266699" y="-225976"/>
              <a:ext cx="11319416" cy="6093390"/>
              <a:chOff x="6856629" y="2032578"/>
              <a:chExt cx="5221473" cy="2523453"/>
            </a:xfrm>
          </p:grpSpPr>
          <p:sp>
            <p:nvSpPr>
              <p:cNvPr id="164" name="Rounded Rectangle 223"/>
              <p:cNvSpPr/>
              <p:nvPr/>
            </p:nvSpPr>
            <p:spPr bwMode="auto">
              <a:xfrm>
                <a:off x="10432181" y="2032578"/>
                <a:ext cx="616073" cy="1042089"/>
              </a:xfrm>
              <a:custGeom>
                <a:avLst/>
                <a:gdLst/>
                <a:ahLst/>
                <a:cxnLst/>
                <a:rect l="l" t="t" r="r" b="b"/>
                <a:pathLst>
                  <a:path w="3657600" h="6434945">
                    <a:moveTo>
                      <a:pt x="1828801" y="5761924"/>
                    </a:moveTo>
                    <a:cubicBezTo>
                      <a:pt x="1694209" y="5761924"/>
                      <a:pt x="1585101" y="5871032"/>
                      <a:pt x="1585101" y="6005624"/>
                    </a:cubicBezTo>
                    <a:cubicBezTo>
                      <a:pt x="1585101" y="6140216"/>
                      <a:pt x="1694209" y="6249324"/>
                      <a:pt x="1828801" y="6249324"/>
                    </a:cubicBezTo>
                    <a:cubicBezTo>
                      <a:pt x="1963393" y="6249324"/>
                      <a:pt x="2072501" y="6140216"/>
                      <a:pt x="2072501" y="6005624"/>
                    </a:cubicBezTo>
                    <a:cubicBezTo>
                      <a:pt x="2072501" y="5871032"/>
                      <a:pt x="1963393" y="5761924"/>
                      <a:pt x="1828801" y="5761924"/>
                    </a:cubicBezTo>
                    <a:close/>
                    <a:moveTo>
                      <a:pt x="367260" y="607233"/>
                    </a:moveTo>
                    <a:lnTo>
                      <a:pt x="367260" y="5543030"/>
                    </a:lnTo>
                    <a:lnTo>
                      <a:pt x="3290341" y="5543030"/>
                    </a:lnTo>
                    <a:lnTo>
                      <a:pt x="3290341" y="607233"/>
                    </a:lnTo>
                    <a:close/>
                    <a:moveTo>
                      <a:pt x="1097280" y="257182"/>
                    </a:moveTo>
                    <a:cubicBezTo>
                      <a:pt x="1072030" y="257182"/>
                      <a:pt x="1051560" y="277652"/>
                      <a:pt x="1051560" y="302902"/>
                    </a:cubicBezTo>
                    <a:cubicBezTo>
                      <a:pt x="1051560" y="328152"/>
                      <a:pt x="1072030" y="348622"/>
                      <a:pt x="1097280" y="348622"/>
                    </a:cubicBezTo>
                    <a:lnTo>
                      <a:pt x="2560320" y="348622"/>
                    </a:lnTo>
                    <a:cubicBezTo>
                      <a:pt x="2585570" y="348622"/>
                      <a:pt x="2606040" y="328152"/>
                      <a:pt x="2606040" y="302902"/>
                    </a:cubicBezTo>
                    <a:cubicBezTo>
                      <a:pt x="2606040" y="277652"/>
                      <a:pt x="2585570" y="257182"/>
                      <a:pt x="2560320" y="257182"/>
                    </a:cubicBezTo>
                    <a:close/>
                    <a:moveTo>
                      <a:pt x="609612" y="0"/>
                    </a:moveTo>
                    <a:lnTo>
                      <a:pt x="3047988" y="0"/>
                    </a:lnTo>
                    <a:cubicBezTo>
                      <a:pt x="3384667" y="0"/>
                      <a:pt x="3657600" y="272933"/>
                      <a:pt x="3657600" y="609612"/>
                    </a:cubicBezTo>
                    <a:lnTo>
                      <a:pt x="3657600" y="5825333"/>
                    </a:lnTo>
                    <a:cubicBezTo>
                      <a:pt x="3657600" y="6162012"/>
                      <a:pt x="3384667" y="6434945"/>
                      <a:pt x="3047988" y="6434945"/>
                    </a:cubicBezTo>
                    <a:lnTo>
                      <a:pt x="609612" y="6434945"/>
                    </a:lnTo>
                    <a:cubicBezTo>
                      <a:pt x="272933" y="6434945"/>
                      <a:pt x="0" y="6162012"/>
                      <a:pt x="0" y="5825333"/>
                    </a:cubicBezTo>
                    <a:lnTo>
                      <a:pt x="0" y="609612"/>
                    </a:lnTo>
                    <a:cubicBezTo>
                      <a:pt x="0" y="272933"/>
                      <a:pt x="272933" y="0"/>
                      <a:pt x="609612" y="0"/>
                    </a:cubicBezTo>
                    <a:close/>
                  </a:path>
                </a:pathLst>
              </a:custGeom>
              <a:solidFill>
                <a:srgbClr val="A5A5A5">
                  <a:lumMod val="50000"/>
                </a:srgbClr>
              </a:solidFill>
              <a:ln w="6350" cap="flat" cmpd="sng" algn="ctr">
                <a:solidFill>
                  <a:sysClr val="window" lastClr="FFFFFF"/>
                </a:solidFill>
                <a:prstDash val="solid"/>
                <a:miter lim="800000"/>
                <a:headEnd type="none" w="med" len="med"/>
                <a:tailEnd type="none" w="med" len="med"/>
              </a:ln>
              <a:effectLst/>
            </p:spPr>
            <p:txBody>
              <a:bodyPr rot="0" spcFirstLastPara="0" vertOverflow="overflow" horzOverflow="overflow" vert="horz" wrap="square" lIns="89642" tIns="44821" rIns="44821" bIns="89642" numCol="1" spcCol="0" rtlCol="0" fromWordArt="0" anchor="b" anchorCtr="0" forceAA="0" compatLnSpc="1">
                <a:prstTxWarp prst="textNoShape">
                  <a:avLst/>
                </a:prstTxWarp>
                <a:noAutofit/>
              </a:bodyPr>
              <a:lstStyle/>
              <a:p>
                <a:pPr marL="0" marR="0" lvl="0" indent="0" algn="ctr" defTabSz="896091" eaLnBrk="1" fontAlgn="base" latinLnBrk="0" hangingPunct="1">
                  <a:lnSpc>
                    <a:spcPct val="100000"/>
                  </a:lnSpc>
                  <a:spcBef>
                    <a:spcPct val="0"/>
                  </a:spcBef>
                  <a:spcAft>
                    <a:spcPct val="0"/>
                  </a:spcAft>
                  <a:buClrTx/>
                  <a:buSzTx/>
                  <a:buFontTx/>
                  <a:buNone/>
                  <a:tabLst/>
                  <a:defRPr/>
                </a:pPr>
                <a:endParaRPr kumimoji="0" lang="en-US" sz="800" b="0" i="0" u="none" strike="noStrike" kern="0" cap="none" spc="-49" normalizeH="0" baseline="0" noProof="0" err="1">
                  <a:ln>
                    <a:noFill/>
                  </a:ln>
                  <a:solidFill>
                    <a:srgbClr val="68217A"/>
                  </a:solidFill>
                  <a:effectLst/>
                  <a:uLnTx/>
                  <a:uFillTx/>
                  <a:latin typeface="Calibri" panose="020F0502020204030204"/>
                  <a:ea typeface="Segoe UI" pitchFamily="34" charset="0"/>
                  <a:cs typeface="Segoe UI" pitchFamily="34" charset="0"/>
                </a:endParaRPr>
              </a:p>
            </p:txBody>
          </p:sp>
          <p:sp>
            <p:nvSpPr>
              <p:cNvPr id="165" name="Freeform 1383"/>
              <p:cNvSpPr>
                <a:spLocks noChangeAspect="1" noEditPoints="1"/>
              </p:cNvSpPr>
              <p:nvPr/>
            </p:nvSpPr>
            <p:spPr bwMode="auto">
              <a:xfrm>
                <a:off x="6856629" y="2534980"/>
                <a:ext cx="4002717" cy="2021051"/>
              </a:xfrm>
              <a:custGeom>
                <a:avLst/>
                <a:gdLst>
                  <a:gd name="T0" fmla="*/ 340 w 400"/>
                  <a:gd name="T1" fmla="*/ 0 h 214"/>
                  <a:gd name="T2" fmla="*/ 61 w 400"/>
                  <a:gd name="T3" fmla="*/ 0 h 214"/>
                  <a:gd name="T4" fmla="*/ 51 w 400"/>
                  <a:gd name="T5" fmla="*/ 10 h 214"/>
                  <a:gd name="T6" fmla="*/ 51 w 400"/>
                  <a:gd name="T7" fmla="*/ 181 h 214"/>
                  <a:gd name="T8" fmla="*/ 61 w 400"/>
                  <a:gd name="T9" fmla="*/ 191 h 214"/>
                  <a:gd name="T10" fmla="*/ 340 w 400"/>
                  <a:gd name="T11" fmla="*/ 191 h 214"/>
                  <a:gd name="T12" fmla="*/ 350 w 400"/>
                  <a:gd name="T13" fmla="*/ 181 h 214"/>
                  <a:gd name="T14" fmla="*/ 350 w 400"/>
                  <a:gd name="T15" fmla="*/ 10 h 214"/>
                  <a:gd name="T16" fmla="*/ 340 w 400"/>
                  <a:gd name="T17" fmla="*/ 0 h 214"/>
                  <a:gd name="T18" fmla="*/ 337 w 400"/>
                  <a:gd name="T19" fmla="*/ 179 h 214"/>
                  <a:gd name="T20" fmla="*/ 64 w 400"/>
                  <a:gd name="T21" fmla="*/ 179 h 214"/>
                  <a:gd name="T22" fmla="*/ 64 w 400"/>
                  <a:gd name="T23" fmla="*/ 11 h 214"/>
                  <a:gd name="T24" fmla="*/ 337 w 400"/>
                  <a:gd name="T25" fmla="*/ 11 h 214"/>
                  <a:gd name="T26" fmla="*/ 337 w 400"/>
                  <a:gd name="T27" fmla="*/ 179 h 214"/>
                  <a:gd name="T28" fmla="*/ 228 w 400"/>
                  <a:gd name="T29" fmla="*/ 198 h 214"/>
                  <a:gd name="T30" fmla="*/ 228 w 400"/>
                  <a:gd name="T31" fmla="*/ 200 h 214"/>
                  <a:gd name="T32" fmla="*/ 224 w 400"/>
                  <a:gd name="T33" fmla="*/ 203 h 214"/>
                  <a:gd name="T34" fmla="*/ 177 w 400"/>
                  <a:gd name="T35" fmla="*/ 203 h 214"/>
                  <a:gd name="T36" fmla="*/ 173 w 400"/>
                  <a:gd name="T37" fmla="*/ 200 h 214"/>
                  <a:gd name="T38" fmla="*/ 173 w 400"/>
                  <a:gd name="T39" fmla="*/ 198 h 214"/>
                  <a:gd name="T40" fmla="*/ 0 w 400"/>
                  <a:gd name="T41" fmla="*/ 198 h 214"/>
                  <a:gd name="T42" fmla="*/ 0 w 400"/>
                  <a:gd name="T43" fmla="*/ 208 h 214"/>
                  <a:gd name="T44" fmla="*/ 13 w 400"/>
                  <a:gd name="T45" fmla="*/ 214 h 214"/>
                  <a:gd name="T46" fmla="*/ 13 w 400"/>
                  <a:gd name="T47" fmla="*/ 214 h 214"/>
                  <a:gd name="T48" fmla="*/ 387 w 400"/>
                  <a:gd name="T49" fmla="*/ 214 h 214"/>
                  <a:gd name="T50" fmla="*/ 387 w 400"/>
                  <a:gd name="T51" fmla="*/ 214 h 214"/>
                  <a:gd name="T52" fmla="*/ 400 w 400"/>
                  <a:gd name="T53" fmla="*/ 208 h 214"/>
                  <a:gd name="T54" fmla="*/ 400 w 400"/>
                  <a:gd name="T55" fmla="*/ 198 h 214"/>
                  <a:gd name="T56" fmla="*/ 228 w 400"/>
                  <a:gd name="T57" fmla="*/ 198 h 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400" h="214">
                    <a:moveTo>
                      <a:pt x="340" y="0"/>
                    </a:moveTo>
                    <a:cubicBezTo>
                      <a:pt x="61" y="0"/>
                      <a:pt x="61" y="0"/>
                      <a:pt x="61" y="0"/>
                    </a:cubicBezTo>
                    <a:cubicBezTo>
                      <a:pt x="56" y="0"/>
                      <a:pt x="51" y="4"/>
                      <a:pt x="51" y="10"/>
                    </a:cubicBezTo>
                    <a:cubicBezTo>
                      <a:pt x="51" y="181"/>
                      <a:pt x="51" y="181"/>
                      <a:pt x="51" y="181"/>
                    </a:cubicBezTo>
                    <a:cubicBezTo>
                      <a:pt x="51" y="187"/>
                      <a:pt x="56" y="191"/>
                      <a:pt x="61" y="191"/>
                    </a:cubicBezTo>
                    <a:cubicBezTo>
                      <a:pt x="340" y="191"/>
                      <a:pt x="340" y="191"/>
                      <a:pt x="340" y="191"/>
                    </a:cubicBezTo>
                    <a:cubicBezTo>
                      <a:pt x="346" y="191"/>
                      <a:pt x="350" y="187"/>
                      <a:pt x="350" y="181"/>
                    </a:cubicBezTo>
                    <a:cubicBezTo>
                      <a:pt x="350" y="10"/>
                      <a:pt x="350" y="10"/>
                      <a:pt x="350" y="10"/>
                    </a:cubicBezTo>
                    <a:cubicBezTo>
                      <a:pt x="350" y="4"/>
                      <a:pt x="346" y="0"/>
                      <a:pt x="340" y="0"/>
                    </a:cubicBezTo>
                    <a:close/>
                    <a:moveTo>
                      <a:pt x="337" y="179"/>
                    </a:moveTo>
                    <a:cubicBezTo>
                      <a:pt x="64" y="179"/>
                      <a:pt x="64" y="179"/>
                      <a:pt x="64" y="179"/>
                    </a:cubicBezTo>
                    <a:cubicBezTo>
                      <a:pt x="64" y="11"/>
                      <a:pt x="64" y="11"/>
                      <a:pt x="64" y="11"/>
                    </a:cubicBezTo>
                    <a:cubicBezTo>
                      <a:pt x="337" y="11"/>
                      <a:pt x="337" y="11"/>
                      <a:pt x="337" y="11"/>
                    </a:cubicBezTo>
                    <a:cubicBezTo>
                      <a:pt x="337" y="179"/>
                      <a:pt x="337" y="179"/>
                      <a:pt x="337" y="179"/>
                    </a:cubicBezTo>
                    <a:close/>
                    <a:moveTo>
                      <a:pt x="228" y="198"/>
                    </a:moveTo>
                    <a:cubicBezTo>
                      <a:pt x="228" y="200"/>
                      <a:pt x="228" y="200"/>
                      <a:pt x="228" y="200"/>
                    </a:cubicBezTo>
                    <a:cubicBezTo>
                      <a:pt x="228" y="202"/>
                      <a:pt x="226" y="203"/>
                      <a:pt x="224" y="203"/>
                    </a:cubicBezTo>
                    <a:cubicBezTo>
                      <a:pt x="177" y="203"/>
                      <a:pt x="177" y="203"/>
                      <a:pt x="177" y="203"/>
                    </a:cubicBezTo>
                    <a:cubicBezTo>
                      <a:pt x="175" y="203"/>
                      <a:pt x="173" y="202"/>
                      <a:pt x="173" y="200"/>
                    </a:cubicBezTo>
                    <a:cubicBezTo>
                      <a:pt x="173" y="198"/>
                      <a:pt x="173" y="198"/>
                      <a:pt x="173" y="198"/>
                    </a:cubicBezTo>
                    <a:cubicBezTo>
                      <a:pt x="0" y="198"/>
                      <a:pt x="0" y="198"/>
                      <a:pt x="0" y="198"/>
                    </a:cubicBezTo>
                    <a:cubicBezTo>
                      <a:pt x="0" y="208"/>
                      <a:pt x="0" y="208"/>
                      <a:pt x="0" y="208"/>
                    </a:cubicBezTo>
                    <a:cubicBezTo>
                      <a:pt x="0" y="208"/>
                      <a:pt x="9" y="214"/>
                      <a:pt x="13" y="214"/>
                    </a:cubicBezTo>
                    <a:cubicBezTo>
                      <a:pt x="13" y="214"/>
                      <a:pt x="13" y="214"/>
                      <a:pt x="13" y="214"/>
                    </a:cubicBezTo>
                    <a:cubicBezTo>
                      <a:pt x="387" y="214"/>
                      <a:pt x="387" y="214"/>
                      <a:pt x="387" y="214"/>
                    </a:cubicBezTo>
                    <a:cubicBezTo>
                      <a:pt x="387" y="214"/>
                      <a:pt x="387" y="214"/>
                      <a:pt x="387" y="214"/>
                    </a:cubicBezTo>
                    <a:cubicBezTo>
                      <a:pt x="391" y="214"/>
                      <a:pt x="400" y="208"/>
                      <a:pt x="400" y="208"/>
                    </a:cubicBezTo>
                    <a:cubicBezTo>
                      <a:pt x="400" y="198"/>
                      <a:pt x="400" y="198"/>
                      <a:pt x="400" y="198"/>
                    </a:cubicBezTo>
                    <a:lnTo>
                      <a:pt x="228" y="198"/>
                    </a:lnTo>
                    <a:close/>
                  </a:path>
                </a:pathLst>
              </a:custGeom>
              <a:solidFill>
                <a:srgbClr val="A5A5A5">
                  <a:lumMod val="50000"/>
                </a:srgbClr>
              </a:solidFill>
              <a:ln w="9525">
                <a:solidFill>
                  <a:sysClr val="window" lastClr="FFFFFF"/>
                </a:solidFill>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Calibri" panose="020F0502020204030204"/>
                  <a:ea typeface="+mn-ea"/>
                  <a:cs typeface="+mn-cs"/>
                </a:endParaRPr>
              </a:p>
            </p:txBody>
          </p:sp>
          <p:grpSp>
            <p:nvGrpSpPr>
              <p:cNvPr id="166" name="Group 165"/>
              <p:cNvGrpSpPr/>
              <p:nvPr/>
            </p:nvGrpSpPr>
            <p:grpSpPr>
              <a:xfrm>
                <a:off x="10432182" y="3198527"/>
                <a:ext cx="1645920" cy="1132186"/>
                <a:chOff x="1117587" y="1757085"/>
                <a:chExt cx="2372574" cy="1629559"/>
              </a:xfrm>
            </p:grpSpPr>
            <p:sp>
              <p:nvSpPr>
                <p:cNvPr id="167" name="Rounded Rectangle 89"/>
                <p:cNvSpPr>
                  <a:spLocks noChangeAspect="1"/>
                </p:cNvSpPr>
                <p:nvPr/>
              </p:nvSpPr>
              <p:spPr bwMode="auto">
                <a:xfrm rot="16200000">
                  <a:off x="1489094" y="1385578"/>
                  <a:ext cx="1629559" cy="2372574"/>
                </a:xfrm>
                <a:custGeom>
                  <a:avLst/>
                  <a:gdLst/>
                  <a:ahLst/>
                  <a:cxnLst/>
                  <a:rect l="l" t="t" r="r" b="b"/>
                  <a:pathLst>
                    <a:path w="3265981" h="3654426">
                      <a:moveTo>
                        <a:pt x="2686301" y="3311991"/>
                      </a:moveTo>
                      <a:cubicBezTo>
                        <a:pt x="2647724" y="3311991"/>
                        <a:pt x="2616451" y="3343264"/>
                        <a:pt x="2616451" y="3381841"/>
                      </a:cubicBezTo>
                      <a:cubicBezTo>
                        <a:pt x="2616451" y="3420417"/>
                        <a:pt x="2647724" y="3451690"/>
                        <a:pt x="2686301" y="3451690"/>
                      </a:cubicBezTo>
                      <a:lnTo>
                        <a:pt x="2698749" y="3451691"/>
                      </a:lnTo>
                      <a:cubicBezTo>
                        <a:pt x="2737326" y="3451691"/>
                        <a:pt x="2768599" y="3420418"/>
                        <a:pt x="2768599" y="3381841"/>
                      </a:cubicBezTo>
                      <a:lnTo>
                        <a:pt x="2768600" y="3381841"/>
                      </a:lnTo>
                      <a:cubicBezTo>
                        <a:pt x="2768600" y="3343264"/>
                        <a:pt x="2737327" y="3311991"/>
                        <a:pt x="2698750" y="3311991"/>
                      </a:cubicBezTo>
                      <a:close/>
                      <a:moveTo>
                        <a:pt x="2477370" y="3311991"/>
                      </a:moveTo>
                      <a:cubicBezTo>
                        <a:pt x="2438793" y="3311991"/>
                        <a:pt x="2407520" y="3343264"/>
                        <a:pt x="2407520" y="3381841"/>
                      </a:cubicBezTo>
                      <a:cubicBezTo>
                        <a:pt x="2407520" y="3420417"/>
                        <a:pt x="2438793" y="3451690"/>
                        <a:pt x="2477370" y="3451690"/>
                      </a:cubicBezTo>
                      <a:lnTo>
                        <a:pt x="2490960" y="3451691"/>
                      </a:lnTo>
                      <a:cubicBezTo>
                        <a:pt x="2529537" y="3451691"/>
                        <a:pt x="2560810" y="3420418"/>
                        <a:pt x="2560810" y="3381841"/>
                      </a:cubicBezTo>
                      <a:lnTo>
                        <a:pt x="2560811" y="3381841"/>
                      </a:lnTo>
                      <a:cubicBezTo>
                        <a:pt x="2560811" y="3343264"/>
                        <a:pt x="2529538" y="3311991"/>
                        <a:pt x="2490961" y="3311991"/>
                      </a:cubicBezTo>
                      <a:close/>
                      <a:moveTo>
                        <a:pt x="1951037" y="3311991"/>
                      </a:moveTo>
                      <a:cubicBezTo>
                        <a:pt x="1912460" y="3311991"/>
                        <a:pt x="1881187" y="3343264"/>
                        <a:pt x="1881187" y="3381841"/>
                      </a:cubicBezTo>
                      <a:cubicBezTo>
                        <a:pt x="1881187" y="3420417"/>
                        <a:pt x="1912460" y="3451690"/>
                        <a:pt x="1951037" y="3451690"/>
                      </a:cubicBezTo>
                      <a:lnTo>
                        <a:pt x="2282030" y="3451691"/>
                      </a:lnTo>
                      <a:cubicBezTo>
                        <a:pt x="2320607" y="3451691"/>
                        <a:pt x="2351880" y="3420418"/>
                        <a:pt x="2351880" y="3381841"/>
                      </a:cubicBezTo>
                      <a:lnTo>
                        <a:pt x="2351881" y="3381841"/>
                      </a:lnTo>
                      <a:cubicBezTo>
                        <a:pt x="2351881" y="3343264"/>
                        <a:pt x="2320608" y="3311991"/>
                        <a:pt x="2282031" y="3311991"/>
                      </a:cubicBezTo>
                      <a:close/>
                      <a:moveTo>
                        <a:pt x="299489" y="299430"/>
                      </a:moveTo>
                      <a:lnTo>
                        <a:pt x="299489" y="3141056"/>
                      </a:lnTo>
                      <a:lnTo>
                        <a:pt x="2966489" y="3141056"/>
                      </a:lnTo>
                      <a:lnTo>
                        <a:pt x="2966489" y="299430"/>
                      </a:lnTo>
                      <a:close/>
                      <a:moveTo>
                        <a:pt x="134787" y="0"/>
                      </a:moveTo>
                      <a:lnTo>
                        <a:pt x="3131194" y="0"/>
                      </a:lnTo>
                      <a:cubicBezTo>
                        <a:pt x="3205635" y="0"/>
                        <a:pt x="3265981" y="60346"/>
                        <a:pt x="3265981" y="134787"/>
                      </a:cubicBezTo>
                      <a:lnTo>
                        <a:pt x="3265981" y="3519639"/>
                      </a:lnTo>
                      <a:cubicBezTo>
                        <a:pt x="3265981" y="3594080"/>
                        <a:pt x="3205635" y="3654426"/>
                        <a:pt x="3131194" y="3654426"/>
                      </a:cubicBezTo>
                      <a:lnTo>
                        <a:pt x="134787" y="3654426"/>
                      </a:lnTo>
                      <a:cubicBezTo>
                        <a:pt x="60346" y="3654426"/>
                        <a:pt x="0" y="3594080"/>
                        <a:pt x="0" y="3519639"/>
                      </a:cubicBezTo>
                      <a:lnTo>
                        <a:pt x="0" y="134787"/>
                      </a:lnTo>
                      <a:cubicBezTo>
                        <a:pt x="0" y="60346"/>
                        <a:pt x="60346" y="0"/>
                        <a:pt x="134787" y="0"/>
                      </a:cubicBezTo>
                      <a:close/>
                    </a:path>
                  </a:pathLst>
                </a:custGeom>
                <a:solidFill>
                  <a:srgbClr val="A5A5A5">
                    <a:lumMod val="50000"/>
                  </a:srgbClr>
                </a:solidFill>
                <a:ln w="6350" cap="flat" cmpd="sng" algn="ctr">
                  <a:solidFill>
                    <a:sysClr val="window" lastClr="FFFFFF"/>
                  </a:solidFill>
                  <a:prstDash val="solid"/>
                  <a:miter lim="800000"/>
                  <a:headEnd type="none" w="med" len="med"/>
                  <a:tailEnd type="none" w="med" len="med"/>
                </a:ln>
                <a:effectLst/>
              </p:spPr>
              <p:txBody>
                <a:bodyPr rot="0" spcFirstLastPara="0" vertOverflow="overflow" horzOverflow="overflow" vert="horz" wrap="square" lIns="89642" tIns="44821" rIns="44821" bIns="89642" numCol="1" spcCol="0" rtlCol="0" fromWordArt="0" anchor="b" anchorCtr="0" forceAA="0" compatLnSpc="1">
                  <a:prstTxWarp prst="textNoShape">
                    <a:avLst/>
                  </a:prstTxWarp>
                  <a:noAutofit/>
                </a:bodyPr>
                <a:lstStyle/>
                <a:p>
                  <a:pPr marL="0" marR="0" lvl="0" indent="0" algn="ctr" defTabSz="896091" eaLnBrk="1" fontAlgn="base" latinLnBrk="0" hangingPunct="1">
                    <a:lnSpc>
                      <a:spcPct val="100000"/>
                    </a:lnSpc>
                    <a:spcBef>
                      <a:spcPct val="0"/>
                    </a:spcBef>
                    <a:spcAft>
                      <a:spcPct val="0"/>
                    </a:spcAft>
                    <a:buClrTx/>
                    <a:buSzTx/>
                    <a:buFontTx/>
                    <a:buNone/>
                    <a:tabLst/>
                    <a:defRPr/>
                  </a:pPr>
                  <a:endParaRPr kumimoji="0" lang="en-US" sz="800" b="0" i="0" u="none" strike="noStrike" kern="0" cap="none" spc="-49" normalizeH="0" baseline="0" noProof="0" err="1">
                    <a:ln>
                      <a:noFill/>
                    </a:ln>
                    <a:solidFill>
                      <a:srgbClr val="68217A"/>
                    </a:solidFill>
                    <a:effectLst/>
                    <a:uLnTx/>
                    <a:uFillTx/>
                    <a:latin typeface="Calibri" panose="020F0502020204030204"/>
                    <a:ea typeface="Segoe UI" pitchFamily="34" charset="0"/>
                    <a:cs typeface="Segoe UI" pitchFamily="34" charset="0"/>
                  </a:endParaRPr>
                </a:p>
              </p:txBody>
            </p:sp>
            <p:sp>
              <p:nvSpPr>
                <p:cNvPr id="168" name="Rectangle 167"/>
                <p:cNvSpPr/>
                <p:nvPr/>
              </p:nvSpPr>
              <p:spPr bwMode="auto">
                <a:xfrm>
                  <a:off x="3172854" y="1909278"/>
                  <a:ext cx="307998" cy="808750"/>
                </a:xfrm>
                <a:prstGeom prst="rect">
                  <a:avLst/>
                </a:prstGeom>
                <a:solidFill>
                  <a:srgbClr val="A5A5A5">
                    <a:lumMod val="50000"/>
                  </a:srgbClr>
                </a:solidFill>
                <a:ln w="6350" cap="flat" cmpd="sng" algn="ctr">
                  <a:noFill/>
                  <a:prstDash val="solid"/>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pic>
              <p:nvPicPr>
                <p:cNvPr id="169" name="Picture 168"/>
                <p:cNvPicPr>
                  <a:picLocks noChangeAspect="1"/>
                </p:cNvPicPr>
                <p:nvPr/>
              </p:nvPicPr>
              <p:blipFill>
                <a:blip r:embed="rId5" cstate="print">
                  <a:biLevel thresh="25000"/>
                  <a:extLst>
                    <a:ext uri="{28A0092B-C50C-407E-A947-70E740481C1C}">
                      <a14:useLocalDpi xmlns:a14="http://schemas.microsoft.com/office/drawing/2010/main" val="0"/>
                    </a:ext>
                  </a:extLst>
                </a:blip>
                <a:stretch>
                  <a:fillRect/>
                </a:stretch>
              </p:blipFill>
              <p:spPr>
                <a:xfrm>
                  <a:off x="3229523" y="2500731"/>
                  <a:ext cx="195334" cy="108208"/>
                </a:xfrm>
                <a:prstGeom prst="rect">
                  <a:avLst/>
                </a:prstGeom>
              </p:spPr>
            </p:pic>
          </p:grpSp>
        </p:grpSp>
        <p:pic>
          <p:nvPicPr>
            <p:cNvPr id="161" name="Picture 160"/>
            <p:cNvPicPr>
              <a:picLocks noChangeAspect="1"/>
            </p:cNvPicPr>
            <p:nvPr/>
          </p:nvPicPr>
          <p:blipFill>
            <a:blip r:embed="rId6"/>
            <a:stretch>
              <a:fillRect/>
            </a:stretch>
          </p:blipFill>
          <p:spPr>
            <a:xfrm>
              <a:off x="1573234" y="1197427"/>
              <a:ext cx="6064253" cy="3898448"/>
            </a:xfrm>
            <a:prstGeom prst="rect">
              <a:avLst/>
            </a:prstGeom>
          </p:spPr>
        </p:pic>
        <p:pic>
          <p:nvPicPr>
            <p:cNvPr id="162" name="Picture 161"/>
            <p:cNvPicPr>
              <a:picLocks noChangeAspect="1"/>
            </p:cNvPicPr>
            <p:nvPr/>
          </p:nvPicPr>
          <p:blipFill>
            <a:blip r:embed="rId7"/>
            <a:stretch>
              <a:fillRect/>
            </a:stretch>
          </p:blipFill>
          <p:spPr>
            <a:xfrm>
              <a:off x="8143778" y="0"/>
              <a:ext cx="1097280" cy="1957805"/>
            </a:xfrm>
            <a:prstGeom prst="rect">
              <a:avLst/>
            </a:prstGeom>
          </p:spPr>
        </p:pic>
        <p:pic>
          <p:nvPicPr>
            <p:cNvPr id="163" name="Picture 162"/>
            <p:cNvPicPr>
              <a:picLocks noChangeAspect="1"/>
            </p:cNvPicPr>
            <p:nvPr/>
          </p:nvPicPr>
          <p:blipFill rotWithShape="1">
            <a:blip r:embed="rId8"/>
            <a:srcRect b="6643"/>
            <a:stretch/>
          </p:blipFill>
          <p:spPr>
            <a:xfrm>
              <a:off x="8272114" y="2784368"/>
              <a:ext cx="2834640" cy="2295525"/>
            </a:xfrm>
            <a:prstGeom prst="rect">
              <a:avLst/>
            </a:prstGeom>
          </p:spPr>
        </p:pic>
      </p:grpSp>
      <p:pic>
        <p:nvPicPr>
          <p:cNvPr id="89" name="Picture 88"/>
          <p:cNvPicPr>
            <a:picLocks noChangeAspect="1"/>
          </p:cNvPicPr>
          <p:nvPr/>
        </p:nvPicPr>
        <p:blipFill>
          <a:blip r:embed="rId9" cstate="print">
            <a:biLevel thresh="25000"/>
            <a:extLst>
              <a:ext uri="{28A0092B-C50C-407E-A947-70E740481C1C}">
                <a14:useLocalDpi xmlns:a14="http://schemas.microsoft.com/office/drawing/2010/main" val="0"/>
              </a:ext>
            </a:extLst>
          </a:blip>
          <a:stretch>
            <a:fillRect/>
          </a:stretch>
        </p:blipFill>
        <p:spPr>
          <a:xfrm>
            <a:off x="717951" y="4590997"/>
            <a:ext cx="236260" cy="236260"/>
          </a:xfrm>
          <a:prstGeom prst="rect">
            <a:avLst/>
          </a:prstGeom>
        </p:spPr>
      </p:pic>
    </p:spTree>
    <p:extLst>
      <p:ext uri="{BB962C8B-B14F-4D97-AF65-F5344CB8AC3E}">
        <p14:creationId xmlns:p14="http://schemas.microsoft.com/office/powerpoint/2010/main" val="19735124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p:cNvGrpSpPr/>
          <p:nvPr/>
        </p:nvGrpSpPr>
        <p:grpSpPr>
          <a:xfrm>
            <a:off x="-11149" y="0"/>
            <a:ext cx="2849058" cy="6858000"/>
            <a:chOff x="2" y="1"/>
            <a:chExt cx="2849058" cy="6858000"/>
          </a:xfrm>
        </p:grpSpPr>
        <p:sp>
          <p:nvSpPr>
            <p:cNvPr id="70" name="Rectangle 69"/>
            <p:cNvSpPr/>
            <p:nvPr/>
          </p:nvSpPr>
          <p:spPr bwMode="auto">
            <a:xfrm>
              <a:off x="2" y="1"/>
              <a:ext cx="2849058"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5" name="Oval 70"/>
            <p:cNvSpPr/>
            <p:nvPr/>
          </p:nvSpPr>
          <p:spPr>
            <a:xfrm>
              <a:off x="1413521" y="4951537"/>
              <a:ext cx="1119626" cy="1119626"/>
            </a:xfrm>
            <a:prstGeom prst="ellipse">
              <a:avLst/>
            </a:prstGeom>
            <a:solidFill>
              <a:srgbClr val="F2C812"/>
            </a:solidFill>
            <a:ln w="3175" cap="flat" cmpd="sng" algn="ctr">
              <a:noFill/>
              <a:prstDash val="solid"/>
            </a:ln>
            <a:effectLst/>
          </p:spPr>
          <p:txBody>
            <a:bodyPr vert="horz" wrap="none" lIns="0" tIns="45720" rIns="0" bIns="0" rtlCol="0" anchor="t"/>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Segoe UI"/>
                  <a:ea typeface="Segoe UI" pitchFamily="34" charset="0"/>
                  <a:cs typeface="Segoe UI" pitchFamily="34" charset="0"/>
                </a:rPr>
                <a:t>Share &amp;</a:t>
              </a:r>
            </a:p>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Segoe UI"/>
                  <a:ea typeface="Segoe UI" pitchFamily="34" charset="0"/>
                  <a:cs typeface="Segoe UI" pitchFamily="34" charset="0"/>
                </a:rPr>
                <a:t>collaborate </a:t>
              </a:r>
            </a:p>
          </p:txBody>
        </p:sp>
        <p:grpSp>
          <p:nvGrpSpPr>
            <p:cNvPr id="66" name="Group 38"/>
            <p:cNvGrpSpPr>
              <a:grpSpLocks noChangeAspect="1"/>
            </p:cNvGrpSpPr>
            <p:nvPr/>
          </p:nvGrpSpPr>
          <p:grpSpPr>
            <a:xfrm>
              <a:off x="676996" y="3930692"/>
              <a:ext cx="383905" cy="351536"/>
              <a:chOff x="4363684" y="5330386"/>
              <a:chExt cx="1409956" cy="1291077"/>
            </a:xfrm>
            <a:solidFill>
              <a:srgbClr val="217346"/>
            </a:solidFill>
          </p:grpSpPr>
          <p:sp>
            <p:nvSpPr>
              <p:cNvPr id="67" name="Donut 3"/>
              <p:cNvSpPr/>
              <p:nvPr/>
            </p:nvSpPr>
            <p:spPr bwMode="auto">
              <a:xfrm>
                <a:off x="4363684" y="5330386"/>
                <a:ext cx="1409956" cy="1291077"/>
              </a:xfrm>
              <a:custGeom>
                <a:avLst/>
                <a:gdLst/>
                <a:ahLst/>
                <a:cxnLst/>
                <a:rect l="l" t="t" r="r" b="b"/>
                <a:pathLst>
                  <a:path w="1409956" h="1291077">
                    <a:moveTo>
                      <a:pt x="956401" y="78410"/>
                    </a:moveTo>
                    <a:cubicBezTo>
                      <a:pt x="747518" y="78410"/>
                      <a:pt x="578184" y="247744"/>
                      <a:pt x="578184" y="456627"/>
                    </a:cubicBezTo>
                    <a:cubicBezTo>
                      <a:pt x="578184" y="665510"/>
                      <a:pt x="747518" y="834844"/>
                      <a:pt x="956401" y="834844"/>
                    </a:cubicBezTo>
                    <a:cubicBezTo>
                      <a:pt x="1165284" y="834844"/>
                      <a:pt x="1334618" y="665510"/>
                      <a:pt x="1334618" y="456627"/>
                    </a:cubicBezTo>
                    <a:cubicBezTo>
                      <a:pt x="1334618" y="247744"/>
                      <a:pt x="1165284" y="78410"/>
                      <a:pt x="956401" y="78410"/>
                    </a:cubicBezTo>
                    <a:close/>
                    <a:moveTo>
                      <a:pt x="952756" y="0"/>
                    </a:moveTo>
                    <a:cubicBezTo>
                      <a:pt x="1205261" y="0"/>
                      <a:pt x="1409956" y="204695"/>
                      <a:pt x="1409956" y="457200"/>
                    </a:cubicBezTo>
                    <a:cubicBezTo>
                      <a:pt x="1409956" y="709705"/>
                      <a:pt x="1205261" y="914400"/>
                      <a:pt x="952756" y="914400"/>
                    </a:cubicBezTo>
                    <a:cubicBezTo>
                      <a:pt x="862133" y="914400"/>
                      <a:pt x="777669" y="888034"/>
                      <a:pt x="707132" y="841746"/>
                    </a:cubicBezTo>
                    <a:lnTo>
                      <a:pt x="136495" y="1280102"/>
                    </a:lnTo>
                    <a:cubicBezTo>
                      <a:pt x="21896" y="1327168"/>
                      <a:pt x="-44029" y="1213730"/>
                      <a:pt x="33797" y="1113182"/>
                    </a:cubicBezTo>
                    <a:lnTo>
                      <a:pt x="568587" y="703518"/>
                    </a:lnTo>
                    <a:cubicBezTo>
                      <a:pt x="522087" y="632814"/>
                      <a:pt x="495556" y="548105"/>
                      <a:pt x="495556" y="457200"/>
                    </a:cubicBezTo>
                    <a:cubicBezTo>
                      <a:pt x="495556" y="204695"/>
                      <a:pt x="700251" y="0"/>
                      <a:pt x="952756" y="0"/>
                    </a:cubicBezTo>
                    <a:close/>
                  </a:path>
                </a:pathLst>
              </a:custGeom>
              <a:grpFill/>
              <a:ln>
                <a:solidFill>
                  <a:srgbClr val="21734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sp>
            <p:nvSpPr>
              <p:cNvPr id="68" name="Rectangle 4"/>
              <p:cNvSpPr/>
              <p:nvPr/>
            </p:nvSpPr>
            <p:spPr>
              <a:xfrm>
                <a:off x="5058389" y="5528247"/>
                <a:ext cx="490885" cy="490020"/>
              </a:xfrm>
              <a:custGeom>
                <a:avLst/>
                <a:gdLst/>
                <a:ahLst/>
                <a:cxnLst/>
                <a:rect l="l" t="t" r="r" b="b"/>
                <a:pathLst>
                  <a:path w="490885" h="490020">
                    <a:moveTo>
                      <a:pt x="240752" y="0"/>
                    </a:moveTo>
                    <a:cubicBezTo>
                      <a:pt x="253961" y="11844"/>
                      <a:pt x="293310" y="49692"/>
                      <a:pt x="337332" y="92439"/>
                    </a:cubicBezTo>
                    <a:lnTo>
                      <a:pt x="328342" y="81259"/>
                    </a:lnTo>
                    <a:cubicBezTo>
                      <a:pt x="356946" y="111282"/>
                      <a:pt x="377251" y="107167"/>
                      <a:pt x="382515" y="87941"/>
                    </a:cubicBezTo>
                    <a:cubicBezTo>
                      <a:pt x="383951" y="76921"/>
                      <a:pt x="384595" y="68732"/>
                      <a:pt x="396997" y="52239"/>
                    </a:cubicBezTo>
                    <a:cubicBezTo>
                      <a:pt x="420362" y="32084"/>
                      <a:pt x="442294" y="41736"/>
                      <a:pt x="454920" y="51330"/>
                    </a:cubicBezTo>
                    <a:cubicBezTo>
                      <a:pt x="467834" y="62761"/>
                      <a:pt x="477920" y="86882"/>
                      <a:pt x="460392" y="109714"/>
                    </a:cubicBezTo>
                    <a:cubicBezTo>
                      <a:pt x="451128" y="121912"/>
                      <a:pt x="437554" y="126838"/>
                      <a:pt x="425922" y="126505"/>
                    </a:cubicBezTo>
                    <a:cubicBezTo>
                      <a:pt x="424301" y="127609"/>
                      <a:pt x="382890" y="134974"/>
                      <a:pt x="427348" y="177672"/>
                    </a:cubicBezTo>
                    <a:lnTo>
                      <a:pt x="416886" y="169735"/>
                    </a:lnTo>
                    <a:cubicBezTo>
                      <a:pt x="450207" y="202177"/>
                      <a:pt x="478424" y="229744"/>
                      <a:pt x="490885" y="241900"/>
                    </a:cubicBezTo>
                    <a:lnTo>
                      <a:pt x="417150" y="317347"/>
                    </a:lnTo>
                    <a:cubicBezTo>
                      <a:pt x="417744" y="316535"/>
                      <a:pt x="418443" y="316123"/>
                      <a:pt x="419047" y="315822"/>
                    </a:cubicBezTo>
                    <a:cubicBezTo>
                      <a:pt x="389023" y="344426"/>
                      <a:pt x="393138" y="364731"/>
                      <a:pt x="412364" y="369995"/>
                    </a:cubicBezTo>
                    <a:cubicBezTo>
                      <a:pt x="423384" y="371431"/>
                      <a:pt x="431574" y="372075"/>
                      <a:pt x="448067" y="384477"/>
                    </a:cubicBezTo>
                    <a:cubicBezTo>
                      <a:pt x="468221" y="407842"/>
                      <a:pt x="458569" y="429774"/>
                      <a:pt x="448975" y="442400"/>
                    </a:cubicBezTo>
                    <a:cubicBezTo>
                      <a:pt x="437545" y="455314"/>
                      <a:pt x="413423" y="465400"/>
                      <a:pt x="390591" y="447872"/>
                    </a:cubicBezTo>
                    <a:cubicBezTo>
                      <a:pt x="378394" y="438608"/>
                      <a:pt x="373468" y="425034"/>
                      <a:pt x="373800" y="413402"/>
                    </a:cubicBezTo>
                    <a:cubicBezTo>
                      <a:pt x="372696" y="411781"/>
                      <a:pt x="365332" y="370370"/>
                      <a:pt x="322634" y="414828"/>
                    </a:cubicBezTo>
                    <a:lnTo>
                      <a:pt x="325243" y="411388"/>
                    </a:lnTo>
                    <a:lnTo>
                      <a:pt x="248395" y="490020"/>
                    </a:lnTo>
                    <a:cubicBezTo>
                      <a:pt x="208939" y="451897"/>
                      <a:pt x="199129" y="442073"/>
                      <a:pt x="174192" y="418236"/>
                    </a:cubicBezTo>
                    <a:cubicBezTo>
                      <a:pt x="145587" y="388212"/>
                      <a:pt x="125282" y="392327"/>
                      <a:pt x="120018" y="411553"/>
                    </a:cubicBezTo>
                    <a:cubicBezTo>
                      <a:pt x="118582" y="422573"/>
                      <a:pt x="117938" y="430763"/>
                      <a:pt x="105536" y="447256"/>
                    </a:cubicBezTo>
                    <a:cubicBezTo>
                      <a:pt x="82171" y="467410"/>
                      <a:pt x="60239" y="457758"/>
                      <a:pt x="47614" y="448164"/>
                    </a:cubicBezTo>
                    <a:cubicBezTo>
                      <a:pt x="34699" y="436734"/>
                      <a:pt x="24614" y="412612"/>
                      <a:pt x="42141" y="389780"/>
                    </a:cubicBezTo>
                    <a:cubicBezTo>
                      <a:pt x="51405" y="377583"/>
                      <a:pt x="64979" y="372657"/>
                      <a:pt x="76612" y="372989"/>
                    </a:cubicBezTo>
                    <a:cubicBezTo>
                      <a:pt x="78232" y="371886"/>
                      <a:pt x="119644" y="364521"/>
                      <a:pt x="75186" y="321823"/>
                    </a:cubicBezTo>
                    <a:cubicBezTo>
                      <a:pt x="58767" y="305402"/>
                      <a:pt x="23648" y="271235"/>
                      <a:pt x="0" y="248738"/>
                    </a:cubicBezTo>
                    <a:lnTo>
                      <a:pt x="77303" y="168146"/>
                    </a:lnTo>
                    <a:cubicBezTo>
                      <a:pt x="104269" y="140313"/>
                      <a:pt x="122130" y="156409"/>
                      <a:pt x="124388" y="175543"/>
                    </a:cubicBezTo>
                    <a:cubicBezTo>
                      <a:pt x="124457" y="182466"/>
                      <a:pt x="127106" y="193106"/>
                      <a:pt x="137575" y="203052"/>
                    </a:cubicBezTo>
                    <a:cubicBezTo>
                      <a:pt x="153931" y="220277"/>
                      <a:pt x="181252" y="217451"/>
                      <a:pt x="196721" y="201951"/>
                    </a:cubicBezTo>
                    <a:cubicBezTo>
                      <a:pt x="211961" y="185740"/>
                      <a:pt x="213057" y="157882"/>
                      <a:pt x="196146" y="142797"/>
                    </a:cubicBezTo>
                    <a:cubicBezTo>
                      <a:pt x="184301" y="132637"/>
                      <a:pt x="177155" y="131453"/>
                      <a:pt x="166513" y="129894"/>
                    </a:cubicBezTo>
                    <a:cubicBezTo>
                      <a:pt x="154522" y="129013"/>
                      <a:pt x="131185" y="112953"/>
                      <a:pt x="157905" y="85228"/>
                    </a:cubicBezTo>
                    <a:close/>
                  </a:path>
                </a:pathLst>
              </a:custGeom>
              <a:grpFill/>
              <a:ln>
                <a:solidFill>
                  <a:srgbClr val="21734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grpSp>
        <p:sp>
          <p:nvSpPr>
            <p:cNvPr id="69" name="Oval 47"/>
            <p:cNvSpPr/>
            <p:nvPr/>
          </p:nvSpPr>
          <p:spPr>
            <a:xfrm>
              <a:off x="388608" y="3710471"/>
              <a:ext cx="1119626" cy="1119626"/>
            </a:xfrm>
            <a:prstGeom prst="ellipse">
              <a:avLst/>
            </a:prstGeom>
            <a:solidFill>
              <a:srgbClr val="F2C812"/>
            </a:solidFill>
            <a:ln w="3175" cap="flat" cmpd="sng" algn="ctr">
              <a:noFill/>
              <a:prstDash val="solid"/>
            </a:ln>
            <a:effectLst/>
          </p:spPr>
          <p:txBody>
            <a:bodyPr vert="horz" wrap="none" lIns="0" tIns="45720" rIns="0" bIns="0" rtlCol="0" anchor="t"/>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Segoe UI"/>
                  <a:ea typeface="Segoe UI" pitchFamily="34" charset="0"/>
                  <a:cs typeface="Segoe UI" pitchFamily="34" charset="0"/>
                </a:rPr>
                <a:t>Report</a:t>
              </a:r>
            </a:p>
          </p:txBody>
        </p:sp>
        <p:sp>
          <p:nvSpPr>
            <p:cNvPr id="85" name="Oval 950"/>
            <p:cNvSpPr/>
            <p:nvPr/>
          </p:nvSpPr>
          <p:spPr>
            <a:xfrm>
              <a:off x="388608" y="1252295"/>
              <a:ext cx="1119626" cy="1119626"/>
            </a:xfrm>
            <a:prstGeom prst="ellipse">
              <a:avLst/>
            </a:prstGeom>
            <a:solidFill>
              <a:srgbClr val="F2C812"/>
            </a:solidFill>
            <a:ln w="3175" cap="flat" cmpd="sng" algn="ctr">
              <a:noFill/>
              <a:prstDash val="solid"/>
            </a:ln>
            <a:effectLst/>
          </p:spPr>
          <p:txBody>
            <a:bodyPr vert="horz" wrap="none" lIns="0" tIns="45720" rIns="0" bIns="0" rtlCol="0" anchor="t"/>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1" i="0" u="none" strike="noStrike" kern="1200" cap="none" spc="0" normalizeH="0" baseline="0" noProof="0">
                <a:ln>
                  <a:noFill/>
                </a:ln>
                <a:solidFill>
                  <a:srgbClr val="217346"/>
                </a:solidFill>
                <a:effectLst/>
                <a:uLnTx/>
                <a:uFillTx/>
                <a:latin typeface="Segoe UI"/>
                <a:ea typeface="Segoe UI" pitchFamily="34" charset="0"/>
                <a:cs typeface="Segoe UI" pitchFamily="34" charset="0"/>
              </a:endParaRPr>
            </a:p>
          </p:txBody>
        </p:sp>
        <p:grpSp>
          <p:nvGrpSpPr>
            <p:cNvPr id="86" name="Group 85"/>
            <p:cNvGrpSpPr/>
            <p:nvPr/>
          </p:nvGrpSpPr>
          <p:grpSpPr>
            <a:xfrm>
              <a:off x="1264851" y="3482890"/>
              <a:ext cx="292254" cy="354906"/>
              <a:chOff x="1296521" y="3253388"/>
              <a:chExt cx="292254" cy="354906"/>
            </a:xfrm>
            <a:solidFill>
              <a:srgbClr val="F2C812"/>
            </a:solidFill>
          </p:grpSpPr>
          <p:sp>
            <p:nvSpPr>
              <p:cNvPr id="87" name="Isosceles Triangle 86"/>
              <p:cNvSpPr/>
              <p:nvPr/>
            </p:nvSpPr>
            <p:spPr bwMode="auto">
              <a:xfrm rot="13636515">
                <a:off x="1461362" y="328936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8" name="Isosceles Triangle 87"/>
              <p:cNvSpPr/>
              <p:nvPr/>
            </p:nvSpPr>
            <p:spPr bwMode="auto">
              <a:xfrm rot="13636515">
                <a:off x="1357669" y="338258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9" name="Isosceles Triangle 88"/>
              <p:cNvSpPr/>
              <p:nvPr/>
            </p:nvSpPr>
            <p:spPr bwMode="auto">
              <a:xfrm rot="13636515">
                <a:off x="1260548" y="3480882"/>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90" name="Group 89"/>
            <p:cNvGrpSpPr/>
            <p:nvPr/>
          </p:nvGrpSpPr>
          <p:grpSpPr>
            <a:xfrm rot="15940603">
              <a:off x="1334576" y="2204404"/>
              <a:ext cx="292254" cy="354906"/>
              <a:chOff x="1296521" y="3253388"/>
              <a:chExt cx="292254" cy="354906"/>
            </a:xfrm>
            <a:solidFill>
              <a:srgbClr val="F2C812"/>
            </a:solidFill>
          </p:grpSpPr>
          <p:sp>
            <p:nvSpPr>
              <p:cNvPr id="91" name="Isosceles Triangle 90"/>
              <p:cNvSpPr/>
              <p:nvPr/>
            </p:nvSpPr>
            <p:spPr bwMode="auto">
              <a:xfrm rot="13636515">
                <a:off x="1461362" y="328936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2" name="Isosceles Triangle 91"/>
              <p:cNvSpPr/>
              <p:nvPr/>
            </p:nvSpPr>
            <p:spPr bwMode="auto">
              <a:xfrm rot="13636515">
                <a:off x="1357669" y="338258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3" name="Isosceles Triangle 92"/>
              <p:cNvSpPr/>
              <p:nvPr/>
            </p:nvSpPr>
            <p:spPr bwMode="auto">
              <a:xfrm rot="13636515">
                <a:off x="1260548" y="3480882"/>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94" name="Group 93"/>
            <p:cNvGrpSpPr/>
            <p:nvPr/>
          </p:nvGrpSpPr>
          <p:grpSpPr>
            <a:xfrm rot="16043978">
              <a:off x="1317220" y="4717577"/>
              <a:ext cx="292254" cy="354906"/>
              <a:chOff x="1296521" y="3253388"/>
              <a:chExt cx="292254" cy="354906"/>
            </a:xfrm>
            <a:solidFill>
              <a:srgbClr val="F2C812"/>
            </a:solidFill>
          </p:grpSpPr>
          <p:sp>
            <p:nvSpPr>
              <p:cNvPr id="95" name="Isosceles Triangle 94"/>
              <p:cNvSpPr/>
              <p:nvPr/>
            </p:nvSpPr>
            <p:spPr bwMode="auto">
              <a:xfrm rot="13636515">
                <a:off x="1461362" y="328936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6" name="Isosceles Triangle 95"/>
              <p:cNvSpPr/>
              <p:nvPr/>
            </p:nvSpPr>
            <p:spPr bwMode="auto">
              <a:xfrm rot="13636515">
                <a:off x="1357669" y="338258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7" name="Isosceles Triangle 96"/>
              <p:cNvSpPr/>
              <p:nvPr/>
            </p:nvSpPr>
            <p:spPr bwMode="auto">
              <a:xfrm rot="13636515">
                <a:off x="1260548" y="3480882"/>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98" name="Oval 36"/>
            <p:cNvSpPr/>
            <p:nvPr/>
          </p:nvSpPr>
          <p:spPr>
            <a:xfrm>
              <a:off x="1413521" y="2481383"/>
              <a:ext cx="1119626" cy="1119626"/>
            </a:xfrm>
            <a:prstGeom prst="ellipse">
              <a:avLst/>
            </a:prstGeom>
            <a:solidFill>
              <a:srgbClr val="F2C812"/>
            </a:solidFill>
            <a:ln w="3175" cap="flat" cmpd="sng" algn="ctr">
              <a:noFill/>
              <a:prstDash val="solid"/>
            </a:ln>
            <a:effectLst/>
          </p:spPr>
          <p:txBody>
            <a:bodyPr vert="horz" wrap="none" lIns="0" tIns="0" rIns="0" bIns="0" rtlCol="0" anchor="t"/>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400" b="1" i="0" u="none" strike="noStrike" kern="1200" cap="none" spc="0" normalizeH="0" baseline="0" noProof="0">
                <a:ln>
                  <a:noFill/>
                </a:ln>
                <a:solidFill>
                  <a:srgbClr val="217346"/>
                </a:solidFill>
                <a:effectLst/>
                <a:uLnTx/>
                <a:uFillTx/>
                <a:latin typeface="Segoe UI"/>
                <a:ea typeface="Segoe UI" pitchFamily="34" charset="0"/>
                <a:cs typeface="Segoe UI" pitchFamily="34" charset="0"/>
              </a:endParaRPr>
            </a:p>
          </p:txBody>
        </p:sp>
        <p:sp>
          <p:nvSpPr>
            <p:cNvPr id="99" name="Donut 3"/>
            <p:cNvSpPr/>
            <p:nvPr/>
          </p:nvSpPr>
          <p:spPr bwMode="auto">
            <a:xfrm>
              <a:off x="1742065" y="3002355"/>
              <a:ext cx="383905" cy="351537"/>
            </a:xfrm>
            <a:custGeom>
              <a:avLst/>
              <a:gdLst/>
              <a:ahLst/>
              <a:cxnLst/>
              <a:rect l="l" t="t" r="r" b="b"/>
              <a:pathLst>
                <a:path w="1409956" h="1291077">
                  <a:moveTo>
                    <a:pt x="956401" y="78410"/>
                  </a:moveTo>
                  <a:cubicBezTo>
                    <a:pt x="747518" y="78410"/>
                    <a:pt x="578184" y="247744"/>
                    <a:pt x="578184" y="456627"/>
                  </a:cubicBezTo>
                  <a:cubicBezTo>
                    <a:pt x="578184" y="665510"/>
                    <a:pt x="747518" y="834844"/>
                    <a:pt x="956401" y="834844"/>
                  </a:cubicBezTo>
                  <a:cubicBezTo>
                    <a:pt x="1165284" y="834844"/>
                    <a:pt x="1334618" y="665510"/>
                    <a:pt x="1334618" y="456627"/>
                  </a:cubicBezTo>
                  <a:cubicBezTo>
                    <a:pt x="1334618" y="247744"/>
                    <a:pt x="1165284" y="78410"/>
                    <a:pt x="956401" y="78410"/>
                  </a:cubicBezTo>
                  <a:close/>
                  <a:moveTo>
                    <a:pt x="952756" y="0"/>
                  </a:moveTo>
                  <a:cubicBezTo>
                    <a:pt x="1205261" y="0"/>
                    <a:pt x="1409956" y="204695"/>
                    <a:pt x="1409956" y="457200"/>
                  </a:cubicBezTo>
                  <a:cubicBezTo>
                    <a:pt x="1409956" y="709705"/>
                    <a:pt x="1205261" y="914400"/>
                    <a:pt x="952756" y="914400"/>
                  </a:cubicBezTo>
                  <a:cubicBezTo>
                    <a:pt x="862133" y="914400"/>
                    <a:pt x="777669" y="888034"/>
                    <a:pt x="707132" y="841746"/>
                  </a:cubicBezTo>
                  <a:lnTo>
                    <a:pt x="136495" y="1280102"/>
                  </a:lnTo>
                  <a:cubicBezTo>
                    <a:pt x="21896" y="1327168"/>
                    <a:pt x="-44029" y="1213730"/>
                    <a:pt x="33797" y="1113182"/>
                  </a:cubicBezTo>
                  <a:lnTo>
                    <a:pt x="568587" y="703518"/>
                  </a:lnTo>
                  <a:cubicBezTo>
                    <a:pt x="522087" y="632814"/>
                    <a:pt x="495556" y="548105"/>
                    <a:pt x="495556" y="457200"/>
                  </a:cubicBezTo>
                  <a:cubicBezTo>
                    <a:pt x="495556" y="204695"/>
                    <a:pt x="700251" y="0"/>
                    <a:pt x="952756" y="0"/>
                  </a:cubicBezTo>
                  <a:close/>
                </a:path>
              </a:pathLst>
            </a:cu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ysClr val="windowText" lastClr="000000"/>
                </a:solidFill>
                <a:effectLst/>
                <a:uLnTx/>
                <a:uFillTx/>
                <a:latin typeface="Segoe UI"/>
                <a:ea typeface="+mn-ea"/>
                <a:cs typeface="+mn-cs"/>
              </a:endParaRPr>
            </a:p>
          </p:txBody>
        </p:sp>
        <p:sp>
          <p:nvSpPr>
            <p:cNvPr id="100" name="Rectangle 99"/>
            <p:cNvSpPr/>
            <p:nvPr/>
          </p:nvSpPr>
          <p:spPr>
            <a:xfrm>
              <a:off x="1600398" y="2677430"/>
              <a:ext cx="820353" cy="307777"/>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Segoe UI"/>
                  <a:ea typeface="Segoe UI" pitchFamily="34" charset="0"/>
                  <a:cs typeface="Segoe UI" pitchFamily="34" charset="0"/>
                </a:rPr>
                <a:t>Explore</a:t>
              </a:r>
              <a:endParaRPr kumimoji="0" lang="en-US" sz="1600" b="0" i="0" u="none" strike="noStrike" kern="1200" cap="none" spc="0" normalizeH="0" baseline="0" noProof="0">
                <a:ln>
                  <a:noFill/>
                </a:ln>
                <a:solidFill>
                  <a:prstClr val="black"/>
                </a:solidFill>
                <a:effectLst/>
                <a:uLnTx/>
                <a:uFillTx/>
                <a:latin typeface="Segoe UI"/>
                <a:ea typeface="+mn-ea"/>
                <a:cs typeface="+mn-cs"/>
              </a:endParaRPr>
            </a:p>
          </p:txBody>
        </p:sp>
        <p:sp>
          <p:nvSpPr>
            <p:cNvPr id="101" name="Rectangle 100"/>
            <p:cNvSpPr/>
            <p:nvPr/>
          </p:nvSpPr>
          <p:spPr>
            <a:xfrm>
              <a:off x="509174" y="1475232"/>
              <a:ext cx="838756" cy="307777"/>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Segoe UI"/>
                  <a:ea typeface="Segoe UI" pitchFamily="34" charset="0"/>
                  <a:cs typeface="Segoe UI" pitchFamily="34" charset="0"/>
                </a:rPr>
                <a:t>Prepare</a:t>
              </a:r>
              <a:endParaRPr kumimoji="0" lang="en-US" sz="1400" b="0" i="0" u="none" strike="noStrike" kern="1200" cap="none" spc="0" normalizeH="0" baseline="0" noProof="0">
                <a:ln>
                  <a:noFill/>
                </a:ln>
                <a:solidFill>
                  <a:prstClr val="black"/>
                </a:solidFill>
                <a:effectLst/>
                <a:uLnTx/>
                <a:uFillTx/>
                <a:latin typeface="Segoe UI"/>
                <a:ea typeface="+mn-ea"/>
                <a:cs typeface="+mn-cs"/>
              </a:endParaRPr>
            </a:p>
          </p:txBody>
        </p:sp>
        <p:sp>
          <p:nvSpPr>
            <p:cNvPr id="102" name="Freeform 101"/>
            <p:cNvSpPr>
              <a:spLocks noChangeAspect="1"/>
            </p:cNvSpPr>
            <p:nvPr/>
          </p:nvSpPr>
          <p:spPr bwMode="black">
            <a:xfrm>
              <a:off x="1836174" y="5643069"/>
              <a:ext cx="274320" cy="284173"/>
            </a:xfrm>
            <a:custGeom>
              <a:avLst/>
              <a:gdLst>
                <a:gd name="T0" fmla="*/ 539 w 669"/>
                <a:gd name="T1" fmla="*/ 5 h 693"/>
                <a:gd name="T2" fmla="*/ 640 w 669"/>
                <a:gd name="T3" fmla="*/ 55 h 693"/>
                <a:gd name="T4" fmla="*/ 603 w 669"/>
                <a:gd name="T5" fmla="*/ 195 h 693"/>
                <a:gd name="T6" fmla="*/ 490 w 669"/>
                <a:gd name="T7" fmla="*/ 188 h 693"/>
                <a:gd name="T8" fmla="*/ 479 w 669"/>
                <a:gd name="T9" fmla="*/ 176 h 693"/>
                <a:gd name="T10" fmla="*/ 213 w 669"/>
                <a:gd name="T11" fmla="*/ 330 h 693"/>
                <a:gd name="T12" fmla="*/ 218 w 669"/>
                <a:gd name="T13" fmla="*/ 345 h 693"/>
                <a:gd name="T14" fmla="*/ 218 w 669"/>
                <a:gd name="T15" fmla="*/ 375 h 693"/>
                <a:gd name="T16" fmla="*/ 209 w 669"/>
                <a:gd name="T17" fmla="*/ 402 h 693"/>
                <a:gd name="T18" fmla="*/ 369 w 669"/>
                <a:gd name="T19" fmla="*/ 503 h 693"/>
                <a:gd name="T20" fmla="*/ 373 w 669"/>
                <a:gd name="T21" fmla="*/ 498 h 693"/>
                <a:gd name="T22" fmla="*/ 456 w 669"/>
                <a:gd name="T23" fmla="*/ 475 h 693"/>
                <a:gd name="T24" fmla="*/ 494 w 669"/>
                <a:gd name="T25" fmla="*/ 489 h 693"/>
                <a:gd name="T26" fmla="*/ 527 w 669"/>
                <a:gd name="T27" fmla="*/ 630 h 693"/>
                <a:gd name="T28" fmla="*/ 386 w 669"/>
                <a:gd name="T29" fmla="*/ 663 h 693"/>
                <a:gd name="T30" fmla="*/ 339 w 669"/>
                <a:gd name="T31" fmla="*/ 560 h 693"/>
                <a:gd name="T32" fmla="*/ 345 w 669"/>
                <a:gd name="T33" fmla="*/ 544 h 693"/>
                <a:gd name="T34" fmla="*/ 177 w 669"/>
                <a:gd name="T35" fmla="*/ 439 h 693"/>
                <a:gd name="T36" fmla="*/ 168 w 669"/>
                <a:gd name="T37" fmla="*/ 446 h 693"/>
                <a:gd name="T38" fmla="*/ 28 w 669"/>
                <a:gd name="T39" fmla="*/ 409 h 693"/>
                <a:gd name="T40" fmla="*/ 65 w 669"/>
                <a:gd name="T41" fmla="*/ 269 h 693"/>
                <a:gd name="T42" fmla="*/ 178 w 669"/>
                <a:gd name="T43" fmla="*/ 276 h 693"/>
                <a:gd name="T44" fmla="*/ 189 w 669"/>
                <a:gd name="T45" fmla="*/ 288 h 693"/>
                <a:gd name="T46" fmla="*/ 455 w 669"/>
                <a:gd name="T47" fmla="*/ 134 h 693"/>
                <a:gd name="T48" fmla="*/ 450 w 669"/>
                <a:gd name="T49" fmla="*/ 119 h 693"/>
                <a:gd name="T50" fmla="*/ 501 w 669"/>
                <a:gd name="T51" fmla="*/ 18 h 693"/>
                <a:gd name="T52" fmla="*/ 539 w 669"/>
                <a:gd name="T53" fmla="*/ 5 h 6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69" h="693">
                  <a:moveTo>
                    <a:pt x="539" y="5"/>
                  </a:moveTo>
                  <a:cubicBezTo>
                    <a:pt x="579" y="0"/>
                    <a:pt x="619" y="19"/>
                    <a:pt x="640" y="55"/>
                  </a:cubicBezTo>
                  <a:cubicBezTo>
                    <a:pt x="669" y="104"/>
                    <a:pt x="652" y="167"/>
                    <a:pt x="603" y="195"/>
                  </a:cubicBezTo>
                  <a:cubicBezTo>
                    <a:pt x="566" y="216"/>
                    <a:pt x="522" y="212"/>
                    <a:pt x="490" y="188"/>
                  </a:cubicBezTo>
                  <a:cubicBezTo>
                    <a:pt x="479" y="176"/>
                    <a:pt x="479" y="176"/>
                    <a:pt x="479" y="176"/>
                  </a:cubicBezTo>
                  <a:cubicBezTo>
                    <a:pt x="213" y="330"/>
                    <a:pt x="213" y="330"/>
                    <a:pt x="213" y="330"/>
                  </a:cubicBezTo>
                  <a:cubicBezTo>
                    <a:pt x="218" y="345"/>
                    <a:pt x="218" y="345"/>
                    <a:pt x="218" y="345"/>
                  </a:cubicBezTo>
                  <a:cubicBezTo>
                    <a:pt x="219" y="355"/>
                    <a:pt x="219" y="365"/>
                    <a:pt x="218" y="375"/>
                  </a:cubicBezTo>
                  <a:cubicBezTo>
                    <a:pt x="209" y="402"/>
                    <a:pt x="209" y="402"/>
                    <a:pt x="209" y="402"/>
                  </a:cubicBezTo>
                  <a:cubicBezTo>
                    <a:pt x="369" y="503"/>
                    <a:pt x="369" y="503"/>
                    <a:pt x="369" y="503"/>
                  </a:cubicBezTo>
                  <a:cubicBezTo>
                    <a:pt x="373" y="498"/>
                    <a:pt x="373" y="498"/>
                    <a:pt x="373" y="498"/>
                  </a:cubicBezTo>
                  <a:cubicBezTo>
                    <a:pt x="396" y="479"/>
                    <a:pt x="427" y="470"/>
                    <a:pt x="456" y="475"/>
                  </a:cubicBezTo>
                  <a:cubicBezTo>
                    <a:pt x="470" y="477"/>
                    <a:pt x="482" y="482"/>
                    <a:pt x="494" y="489"/>
                  </a:cubicBezTo>
                  <a:cubicBezTo>
                    <a:pt x="542" y="519"/>
                    <a:pt x="557" y="583"/>
                    <a:pt x="527" y="630"/>
                  </a:cubicBezTo>
                  <a:cubicBezTo>
                    <a:pt x="497" y="678"/>
                    <a:pt x="433" y="693"/>
                    <a:pt x="386" y="663"/>
                  </a:cubicBezTo>
                  <a:cubicBezTo>
                    <a:pt x="350" y="640"/>
                    <a:pt x="333" y="599"/>
                    <a:pt x="339" y="560"/>
                  </a:cubicBezTo>
                  <a:cubicBezTo>
                    <a:pt x="345" y="544"/>
                    <a:pt x="345" y="544"/>
                    <a:pt x="345" y="544"/>
                  </a:cubicBezTo>
                  <a:cubicBezTo>
                    <a:pt x="177" y="439"/>
                    <a:pt x="177" y="439"/>
                    <a:pt x="177" y="439"/>
                  </a:cubicBezTo>
                  <a:cubicBezTo>
                    <a:pt x="168" y="446"/>
                    <a:pt x="168" y="446"/>
                    <a:pt x="168" y="446"/>
                  </a:cubicBezTo>
                  <a:cubicBezTo>
                    <a:pt x="119" y="475"/>
                    <a:pt x="56" y="458"/>
                    <a:pt x="28" y="409"/>
                  </a:cubicBezTo>
                  <a:cubicBezTo>
                    <a:pt x="0" y="360"/>
                    <a:pt x="16" y="297"/>
                    <a:pt x="65" y="269"/>
                  </a:cubicBezTo>
                  <a:cubicBezTo>
                    <a:pt x="102" y="248"/>
                    <a:pt x="147" y="252"/>
                    <a:pt x="178" y="276"/>
                  </a:cubicBezTo>
                  <a:cubicBezTo>
                    <a:pt x="189" y="288"/>
                    <a:pt x="189" y="288"/>
                    <a:pt x="189" y="288"/>
                  </a:cubicBezTo>
                  <a:cubicBezTo>
                    <a:pt x="455" y="134"/>
                    <a:pt x="455" y="134"/>
                    <a:pt x="455" y="134"/>
                  </a:cubicBezTo>
                  <a:cubicBezTo>
                    <a:pt x="450" y="119"/>
                    <a:pt x="450" y="119"/>
                    <a:pt x="450" y="119"/>
                  </a:cubicBezTo>
                  <a:cubicBezTo>
                    <a:pt x="445" y="80"/>
                    <a:pt x="464" y="39"/>
                    <a:pt x="501" y="18"/>
                  </a:cubicBezTo>
                  <a:cubicBezTo>
                    <a:pt x="513" y="11"/>
                    <a:pt x="526" y="6"/>
                    <a:pt x="539" y="5"/>
                  </a:cubicBezTo>
                  <a:close/>
                </a:path>
              </a:pathLst>
            </a:custGeom>
            <a:solidFill>
              <a:schemeClr val="tx1"/>
            </a:solidFill>
            <a:ln>
              <a:noFill/>
            </a:ln>
          </p:spPr>
          <p:txBody>
            <a:bodyPr vert="horz" wrap="square" lIns="68574" tIns="34287" rIns="68574" bIns="34287"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Segoe UI"/>
                <a:ea typeface="+mn-ea"/>
                <a:cs typeface="+mn-cs"/>
              </a:endParaRPr>
            </a:p>
          </p:txBody>
        </p:sp>
        <p:sp>
          <p:nvSpPr>
            <p:cNvPr id="103" name="Freeform 102"/>
            <p:cNvSpPr>
              <a:spLocks noChangeAspect="1" noEditPoints="1"/>
            </p:cNvSpPr>
            <p:nvPr/>
          </p:nvSpPr>
          <p:spPr bwMode="black">
            <a:xfrm>
              <a:off x="722320" y="1783009"/>
              <a:ext cx="452202" cy="366660"/>
            </a:xfrm>
            <a:custGeom>
              <a:avLst/>
              <a:gdLst>
                <a:gd name="T0" fmla="*/ 600 w 1107"/>
                <a:gd name="T1" fmla="*/ 625 h 897"/>
                <a:gd name="T2" fmla="*/ 649 w 1107"/>
                <a:gd name="T3" fmla="*/ 567 h 897"/>
                <a:gd name="T4" fmla="*/ 727 w 1107"/>
                <a:gd name="T5" fmla="*/ 482 h 897"/>
                <a:gd name="T6" fmla="*/ 601 w 1107"/>
                <a:gd name="T7" fmla="*/ 434 h 897"/>
                <a:gd name="T8" fmla="*/ 628 w 1107"/>
                <a:gd name="T9" fmla="*/ 305 h 897"/>
                <a:gd name="T10" fmla="*/ 547 w 1107"/>
                <a:gd name="T11" fmla="*/ 240 h 897"/>
                <a:gd name="T12" fmla="*/ 427 w 1107"/>
                <a:gd name="T13" fmla="*/ 287 h 897"/>
                <a:gd name="T14" fmla="*/ 368 w 1107"/>
                <a:gd name="T15" fmla="*/ 170 h 897"/>
                <a:gd name="T16" fmla="*/ 285 w 1107"/>
                <a:gd name="T17" fmla="*/ 263 h 897"/>
                <a:gd name="T18" fmla="*/ 241 w 1107"/>
                <a:gd name="T19" fmla="*/ 313 h 897"/>
                <a:gd name="T20" fmla="*/ 139 w 1107"/>
                <a:gd name="T21" fmla="*/ 281 h 897"/>
                <a:gd name="T22" fmla="*/ 79 w 1107"/>
                <a:gd name="T23" fmla="*/ 355 h 897"/>
                <a:gd name="T24" fmla="*/ 132 w 1107"/>
                <a:gd name="T25" fmla="*/ 446 h 897"/>
                <a:gd name="T26" fmla="*/ 83 w 1107"/>
                <a:gd name="T27" fmla="*/ 505 h 897"/>
                <a:gd name="T28" fmla="*/ 5 w 1107"/>
                <a:gd name="T29" fmla="*/ 590 h 897"/>
                <a:gd name="T30" fmla="*/ 132 w 1107"/>
                <a:gd name="T31" fmla="*/ 638 h 897"/>
                <a:gd name="T32" fmla="*/ 145 w 1107"/>
                <a:gd name="T33" fmla="*/ 669 h 897"/>
                <a:gd name="T34" fmla="*/ 110 w 1107"/>
                <a:gd name="T35" fmla="*/ 793 h 897"/>
                <a:gd name="T36" fmla="*/ 230 w 1107"/>
                <a:gd name="T37" fmla="*/ 781 h 897"/>
                <a:gd name="T38" fmla="*/ 306 w 1107"/>
                <a:gd name="T39" fmla="*/ 785 h 897"/>
                <a:gd name="T40" fmla="*/ 346 w 1107"/>
                <a:gd name="T41" fmla="*/ 878 h 897"/>
                <a:gd name="T42" fmla="*/ 440 w 1107"/>
                <a:gd name="T43" fmla="*/ 872 h 897"/>
                <a:gd name="T44" fmla="*/ 466 w 1107"/>
                <a:gd name="T45" fmla="*/ 764 h 897"/>
                <a:gd name="T46" fmla="*/ 539 w 1107"/>
                <a:gd name="T47" fmla="*/ 755 h 897"/>
                <a:gd name="T48" fmla="*/ 659 w 1107"/>
                <a:gd name="T49" fmla="*/ 743 h 897"/>
                <a:gd name="T50" fmla="*/ 263 w 1107"/>
                <a:gd name="T51" fmla="*/ 452 h 897"/>
                <a:gd name="T52" fmla="*/ 281 w 1107"/>
                <a:gd name="T53" fmla="*/ 633 h 897"/>
                <a:gd name="T54" fmla="*/ 1002 w 1107"/>
                <a:gd name="T55" fmla="*/ 332 h 897"/>
                <a:gd name="T56" fmla="*/ 1043 w 1107"/>
                <a:gd name="T57" fmla="*/ 304 h 897"/>
                <a:gd name="T58" fmla="*/ 1107 w 1107"/>
                <a:gd name="T59" fmla="*/ 266 h 897"/>
                <a:gd name="T60" fmla="*/ 1037 w 1107"/>
                <a:gd name="T61" fmla="*/ 213 h 897"/>
                <a:gd name="T62" fmla="*/ 1077 w 1107"/>
                <a:gd name="T63" fmla="*/ 138 h 897"/>
                <a:gd name="T64" fmla="*/ 1038 w 1107"/>
                <a:gd name="T65" fmla="*/ 83 h 897"/>
                <a:gd name="T66" fmla="*/ 956 w 1107"/>
                <a:gd name="T67" fmla="*/ 91 h 897"/>
                <a:gd name="T68" fmla="*/ 940 w 1107"/>
                <a:gd name="T69" fmla="*/ 7 h 897"/>
                <a:gd name="T70" fmla="*/ 872 w 1107"/>
                <a:gd name="T71" fmla="*/ 50 h 897"/>
                <a:gd name="T72" fmla="*/ 836 w 1107"/>
                <a:gd name="T73" fmla="*/ 74 h 897"/>
                <a:gd name="T74" fmla="*/ 778 w 1107"/>
                <a:gd name="T75" fmla="*/ 35 h 897"/>
                <a:gd name="T76" fmla="*/ 728 w 1107"/>
                <a:gd name="T77" fmla="*/ 70 h 897"/>
                <a:gd name="T78" fmla="*/ 744 w 1107"/>
                <a:gd name="T79" fmla="*/ 136 h 897"/>
                <a:gd name="T80" fmla="*/ 703 w 1107"/>
                <a:gd name="T81" fmla="*/ 164 h 897"/>
                <a:gd name="T82" fmla="*/ 640 w 1107"/>
                <a:gd name="T83" fmla="*/ 203 h 897"/>
                <a:gd name="T84" fmla="*/ 710 w 1107"/>
                <a:gd name="T85" fmla="*/ 255 h 897"/>
                <a:gd name="T86" fmla="*/ 712 w 1107"/>
                <a:gd name="T87" fmla="*/ 277 h 897"/>
                <a:gd name="T88" fmla="*/ 668 w 1107"/>
                <a:gd name="T89" fmla="*/ 347 h 897"/>
                <a:gd name="T90" fmla="*/ 745 w 1107"/>
                <a:gd name="T91" fmla="*/ 361 h 897"/>
                <a:gd name="T92" fmla="*/ 791 w 1107"/>
                <a:gd name="T93" fmla="*/ 377 h 897"/>
                <a:gd name="T94" fmla="*/ 799 w 1107"/>
                <a:gd name="T95" fmla="*/ 443 h 897"/>
                <a:gd name="T96" fmla="*/ 859 w 1107"/>
                <a:gd name="T97" fmla="*/ 456 h 897"/>
                <a:gd name="T98" fmla="*/ 894 w 1107"/>
                <a:gd name="T99" fmla="*/ 393 h 897"/>
                <a:gd name="T100" fmla="*/ 941 w 1107"/>
                <a:gd name="T101" fmla="*/ 401 h 897"/>
                <a:gd name="T102" fmla="*/ 1018 w 1107"/>
                <a:gd name="T103" fmla="*/ 415 h 897"/>
                <a:gd name="T104" fmla="*/ 825 w 1107"/>
                <a:gd name="T105" fmla="*/ 164 h 897"/>
                <a:gd name="T106" fmla="*/ 803 w 1107"/>
                <a:gd name="T107" fmla="*/ 279 h 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107" h="897">
                  <a:moveTo>
                    <a:pt x="654" y="716"/>
                  </a:moveTo>
                  <a:cubicBezTo>
                    <a:pt x="616" y="670"/>
                    <a:pt x="616" y="670"/>
                    <a:pt x="616" y="670"/>
                  </a:cubicBezTo>
                  <a:cubicBezTo>
                    <a:pt x="593" y="654"/>
                    <a:pt x="603" y="638"/>
                    <a:pt x="600" y="625"/>
                  </a:cubicBezTo>
                  <a:cubicBezTo>
                    <a:pt x="600" y="625"/>
                    <a:pt x="600" y="625"/>
                    <a:pt x="600" y="625"/>
                  </a:cubicBezTo>
                  <a:cubicBezTo>
                    <a:pt x="605" y="617"/>
                    <a:pt x="611" y="609"/>
                    <a:pt x="608" y="596"/>
                  </a:cubicBezTo>
                  <a:cubicBezTo>
                    <a:pt x="618" y="580"/>
                    <a:pt x="623" y="572"/>
                    <a:pt x="649" y="567"/>
                  </a:cubicBezTo>
                  <a:cubicBezTo>
                    <a:pt x="715" y="553"/>
                    <a:pt x="715" y="553"/>
                    <a:pt x="715" y="553"/>
                  </a:cubicBezTo>
                  <a:cubicBezTo>
                    <a:pt x="728" y="550"/>
                    <a:pt x="733" y="542"/>
                    <a:pt x="730" y="529"/>
                  </a:cubicBezTo>
                  <a:cubicBezTo>
                    <a:pt x="727" y="482"/>
                    <a:pt x="727" y="482"/>
                    <a:pt x="727" y="482"/>
                  </a:cubicBezTo>
                  <a:cubicBezTo>
                    <a:pt x="724" y="469"/>
                    <a:pt x="717" y="463"/>
                    <a:pt x="701" y="453"/>
                  </a:cubicBezTo>
                  <a:cubicBezTo>
                    <a:pt x="641" y="459"/>
                    <a:pt x="641" y="459"/>
                    <a:pt x="641" y="459"/>
                  </a:cubicBezTo>
                  <a:cubicBezTo>
                    <a:pt x="620" y="457"/>
                    <a:pt x="604" y="447"/>
                    <a:pt x="601" y="434"/>
                  </a:cubicBezTo>
                  <a:cubicBezTo>
                    <a:pt x="598" y="421"/>
                    <a:pt x="590" y="416"/>
                    <a:pt x="580" y="397"/>
                  </a:cubicBezTo>
                  <a:cubicBezTo>
                    <a:pt x="577" y="384"/>
                    <a:pt x="574" y="371"/>
                    <a:pt x="584" y="355"/>
                  </a:cubicBezTo>
                  <a:cubicBezTo>
                    <a:pt x="628" y="305"/>
                    <a:pt x="628" y="305"/>
                    <a:pt x="628" y="305"/>
                  </a:cubicBezTo>
                  <a:cubicBezTo>
                    <a:pt x="634" y="297"/>
                    <a:pt x="631" y="284"/>
                    <a:pt x="623" y="279"/>
                  </a:cubicBezTo>
                  <a:cubicBezTo>
                    <a:pt x="581" y="240"/>
                    <a:pt x="581" y="240"/>
                    <a:pt x="581" y="240"/>
                  </a:cubicBezTo>
                  <a:cubicBezTo>
                    <a:pt x="573" y="235"/>
                    <a:pt x="560" y="238"/>
                    <a:pt x="547" y="240"/>
                  </a:cubicBezTo>
                  <a:cubicBezTo>
                    <a:pt x="503" y="291"/>
                    <a:pt x="503" y="291"/>
                    <a:pt x="503" y="291"/>
                  </a:cubicBezTo>
                  <a:cubicBezTo>
                    <a:pt x="484" y="302"/>
                    <a:pt x="471" y="304"/>
                    <a:pt x="463" y="299"/>
                  </a:cubicBezTo>
                  <a:cubicBezTo>
                    <a:pt x="456" y="294"/>
                    <a:pt x="435" y="292"/>
                    <a:pt x="427" y="287"/>
                  </a:cubicBezTo>
                  <a:cubicBezTo>
                    <a:pt x="419" y="282"/>
                    <a:pt x="403" y="271"/>
                    <a:pt x="400" y="258"/>
                  </a:cubicBezTo>
                  <a:cubicBezTo>
                    <a:pt x="386" y="193"/>
                    <a:pt x="386" y="193"/>
                    <a:pt x="386" y="193"/>
                  </a:cubicBezTo>
                  <a:cubicBezTo>
                    <a:pt x="384" y="180"/>
                    <a:pt x="368" y="170"/>
                    <a:pt x="368" y="170"/>
                  </a:cubicBezTo>
                  <a:cubicBezTo>
                    <a:pt x="308" y="176"/>
                    <a:pt x="308" y="176"/>
                    <a:pt x="308" y="176"/>
                  </a:cubicBezTo>
                  <a:cubicBezTo>
                    <a:pt x="308" y="176"/>
                    <a:pt x="289" y="187"/>
                    <a:pt x="292" y="200"/>
                  </a:cubicBezTo>
                  <a:cubicBezTo>
                    <a:pt x="285" y="263"/>
                    <a:pt x="285" y="263"/>
                    <a:pt x="285" y="263"/>
                  </a:cubicBezTo>
                  <a:cubicBezTo>
                    <a:pt x="291" y="289"/>
                    <a:pt x="277" y="292"/>
                    <a:pt x="272" y="300"/>
                  </a:cubicBezTo>
                  <a:cubicBezTo>
                    <a:pt x="272" y="300"/>
                    <a:pt x="272" y="300"/>
                    <a:pt x="267" y="308"/>
                  </a:cubicBezTo>
                  <a:cubicBezTo>
                    <a:pt x="259" y="302"/>
                    <a:pt x="246" y="305"/>
                    <a:pt x="241" y="313"/>
                  </a:cubicBezTo>
                  <a:cubicBezTo>
                    <a:pt x="236" y="321"/>
                    <a:pt x="236" y="321"/>
                    <a:pt x="236" y="321"/>
                  </a:cubicBezTo>
                  <a:cubicBezTo>
                    <a:pt x="223" y="324"/>
                    <a:pt x="210" y="327"/>
                    <a:pt x="194" y="317"/>
                  </a:cubicBezTo>
                  <a:cubicBezTo>
                    <a:pt x="139" y="281"/>
                    <a:pt x="139" y="281"/>
                    <a:pt x="139" y="281"/>
                  </a:cubicBezTo>
                  <a:cubicBezTo>
                    <a:pt x="131" y="276"/>
                    <a:pt x="110" y="273"/>
                    <a:pt x="104" y="281"/>
                  </a:cubicBezTo>
                  <a:cubicBezTo>
                    <a:pt x="79" y="321"/>
                    <a:pt x="79" y="321"/>
                    <a:pt x="79" y="321"/>
                  </a:cubicBezTo>
                  <a:cubicBezTo>
                    <a:pt x="66" y="324"/>
                    <a:pt x="68" y="337"/>
                    <a:pt x="79" y="355"/>
                  </a:cubicBezTo>
                  <a:cubicBezTo>
                    <a:pt x="121" y="394"/>
                    <a:pt x="121" y="394"/>
                    <a:pt x="121" y="394"/>
                  </a:cubicBezTo>
                  <a:cubicBezTo>
                    <a:pt x="140" y="417"/>
                    <a:pt x="135" y="425"/>
                    <a:pt x="132" y="446"/>
                  </a:cubicBezTo>
                  <a:cubicBezTo>
                    <a:pt x="132" y="446"/>
                    <a:pt x="132" y="446"/>
                    <a:pt x="132" y="446"/>
                  </a:cubicBezTo>
                  <a:cubicBezTo>
                    <a:pt x="127" y="454"/>
                    <a:pt x="122" y="462"/>
                    <a:pt x="117" y="470"/>
                  </a:cubicBezTo>
                  <a:cubicBezTo>
                    <a:pt x="117" y="470"/>
                    <a:pt x="117" y="470"/>
                    <a:pt x="117" y="470"/>
                  </a:cubicBezTo>
                  <a:cubicBezTo>
                    <a:pt x="120" y="483"/>
                    <a:pt x="109" y="499"/>
                    <a:pt x="83" y="505"/>
                  </a:cubicBezTo>
                  <a:cubicBezTo>
                    <a:pt x="23" y="511"/>
                    <a:pt x="23" y="511"/>
                    <a:pt x="23" y="511"/>
                  </a:cubicBezTo>
                  <a:cubicBezTo>
                    <a:pt x="10" y="514"/>
                    <a:pt x="0" y="529"/>
                    <a:pt x="2" y="543"/>
                  </a:cubicBezTo>
                  <a:cubicBezTo>
                    <a:pt x="5" y="590"/>
                    <a:pt x="5" y="590"/>
                    <a:pt x="5" y="590"/>
                  </a:cubicBezTo>
                  <a:cubicBezTo>
                    <a:pt x="8" y="603"/>
                    <a:pt x="16" y="608"/>
                    <a:pt x="37" y="610"/>
                  </a:cubicBezTo>
                  <a:cubicBezTo>
                    <a:pt x="92" y="612"/>
                    <a:pt x="92" y="612"/>
                    <a:pt x="92" y="612"/>
                  </a:cubicBezTo>
                  <a:cubicBezTo>
                    <a:pt x="113" y="614"/>
                    <a:pt x="129" y="625"/>
                    <a:pt x="132" y="638"/>
                  </a:cubicBezTo>
                  <a:cubicBezTo>
                    <a:pt x="132" y="638"/>
                    <a:pt x="132" y="638"/>
                    <a:pt x="132" y="638"/>
                  </a:cubicBezTo>
                  <a:cubicBezTo>
                    <a:pt x="140" y="643"/>
                    <a:pt x="142" y="656"/>
                    <a:pt x="150" y="661"/>
                  </a:cubicBezTo>
                  <a:cubicBezTo>
                    <a:pt x="145" y="669"/>
                    <a:pt x="145" y="669"/>
                    <a:pt x="145" y="669"/>
                  </a:cubicBezTo>
                  <a:cubicBezTo>
                    <a:pt x="153" y="674"/>
                    <a:pt x="156" y="687"/>
                    <a:pt x="140" y="711"/>
                  </a:cubicBezTo>
                  <a:cubicBezTo>
                    <a:pt x="109" y="759"/>
                    <a:pt x="109" y="759"/>
                    <a:pt x="109" y="759"/>
                  </a:cubicBezTo>
                  <a:cubicBezTo>
                    <a:pt x="99" y="775"/>
                    <a:pt x="102" y="788"/>
                    <a:pt x="110" y="793"/>
                  </a:cubicBezTo>
                  <a:cubicBezTo>
                    <a:pt x="152" y="832"/>
                    <a:pt x="152" y="832"/>
                    <a:pt x="152" y="832"/>
                  </a:cubicBezTo>
                  <a:cubicBezTo>
                    <a:pt x="160" y="837"/>
                    <a:pt x="173" y="834"/>
                    <a:pt x="178" y="826"/>
                  </a:cubicBezTo>
                  <a:cubicBezTo>
                    <a:pt x="230" y="781"/>
                    <a:pt x="230" y="781"/>
                    <a:pt x="230" y="781"/>
                  </a:cubicBezTo>
                  <a:cubicBezTo>
                    <a:pt x="248" y="770"/>
                    <a:pt x="261" y="767"/>
                    <a:pt x="269" y="772"/>
                  </a:cubicBezTo>
                  <a:cubicBezTo>
                    <a:pt x="269" y="772"/>
                    <a:pt x="269" y="772"/>
                    <a:pt x="269" y="772"/>
                  </a:cubicBezTo>
                  <a:cubicBezTo>
                    <a:pt x="282" y="769"/>
                    <a:pt x="298" y="779"/>
                    <a:pt x="306" y="785"/>
                  </a:cubicBezTo>
                  <a:cubicBezTo>
                    <a:pt x="306" y="785"/>
                    <a:pt x="306" y="785"/>
                    <a:pt x="306" y="785"/>
                  </a:cubicBezTo>
                  <a:cubicBezTo>
                    <a:pt x="319" y="782"/>
                    <a:pt x="327" y="787"/>
                    <a:pt x="332" y="813"/>
                  </a:cubicBezTo>
                  <a:cubicBezTo>
                    <a:pt x="346" y="878"/>
                    <a:pt x="346" y="878"/>
                    <a:pt x="346" y="878"/>
                  </a:cubicBezTo>
                  <a:cubicBezTo>
                    <a:pt x="349" y="892"/>
                    <a:pt x="357" y="897"/>
                    <a:pt x="370" y="894"/>
                  </a:cubicBezTo>
                  <a:cubicBezTo>
                    <a:pt x="425" y="896"/>
                    <a:pt x="425" y="896"/>
                    <a:pt x="425" y="896"/>
                  </a:cubicBezTo>
                  <a:cubicBezTo>
                    <a:pt x="430" y="888"/>
                    <a:pt x="443" y="885"/>
                    <a:pt x="440" y="872"/>
                  </a:cubicBezTo>
                  <a:cubicBezTo>
                    <a:pt x="440" y="804"/>
                    <a:pt x="440" y="804"/>
                    <a:pt x="440" y="804"/>
                  </a:cubicBezTo>
                  <a:cubicBezTo>
                    <a:pt x="442" y="783"/>
                    <a:pt x="460" y="772"/>
                    <a:pt x="466" y="764"/>
                  </a:cubicBezTo>
                  <a:cubicBezTo>
                    <a:pt x="466" y="764"/>
                    <a:pt x="466" y="764"/>
                    <a:pt x="466" y="764"/>
                  </a:cubicBezTo>
                  <a:cubicBezTo>
                    <a:pt x="479" y="761"/>
                    <a:pt x="492" y="758"/>
                    <a:pt x="497" y="750"/>
                  </a:cubicBezTo>
                  <a:cubicBezTo>
                    <a:pt x="497" y="750"/>
                    <a:pt x="497" y="750"/>
                    <a:pt x="497" y="750"/>
                  </a:cubicBezTo>
                  <a:cubicBezTo>
                    <a:pt x="510" y="747"/>
                    <a:pt x="523" y="745"/>
                    <a:pt x="539" y="755"/>
                  </a:cubicBezTo>
                  <a:cubicBezTo>
                    <a:pt x="594" y="791"/>
                    <a:pt x="594" y="791"/>
                    <a:pt x="594" y="791"/>
                  </a:cubicBezTo>
                  <a:cubicBezTo>
                    <a:pt x="602" y="796"/>
                    <a:pt x="623" y="798"/>
                    <a:pt x="628" y="790"/>
                  </a:cubicBezTo>
                  <a:cubicBezTo>
                    <a:pt x="659" y="743"/>
                    <a:pt x="659" y="743"/>
                    <a:pt x="659" y="743"/>
                  </a:cubicBezTo>
                  <a:cubicBezTo>
                    <a:pt x="659" y="743"/>
                    <a:pt x="669" y="727"/>
                    <a:pt x="654" y="716"/>
                  </a:cubicBezTo>
                  <a:close/>
                  <a:moveTo>
                    <a:pt x="281" y="633"/>
                  </a:moveTo>
                  <a:cubicBezTo>
                    <a:pt x="223" y="584"/>
                    <a:pt x="219" y="502"/>
                    <a:pt x="263" y="452"/>
                  </a:cubicBezTo>
                  <a:cubicBezTo>
                    <a:pt x="313" y="393"/>
                    <a:pt x="399" y="382"/>
                    <a:pt x="457" y="431"/>
                  </a:cubicBezTo>
                  <a:cubicBezTo>
                    <a:pt x="507" y="475"/>
                    <a:pt x="518" y="561"/>
                    <a:pt x="469" y="619"/>
                  </a:cubicBezTo>
                  <a:cubicBezTo>
                    <a:pt x="420" y="678"/>
                    <a:pt x="339" y="682"/>
                    <a:pt x="281" y="633"/>
                  </a:cubicBezTo>
                  <a:close/>
                  <a:moveTo>
                    <a:pt x="1019" y="398"/>
                  </a:moveTo>
                  <a:cubicBezTo>
                    <a:pt x="1004" y="362"/>
                    <a:pt x="1004" y="362"/>
                    <a:pt x="1004" y="362"/>
                  </a:cubicBezTo>
                  <a:cubicBezTo>
                    <a:pt x="992" y="348"/>
                    <a:pt x="1002" y="340"/>
                    <a:pt x="1002" y="332"/>
                  </a:cubicBezTo>
                  <a:cubicBezTo>
                    <a:pt x="1002" y="332"/>
                    <a:pt x="1002" y="332"/>
                    <a:pt x="1002" y="332"/>
                  </a:cubicBezTo>
                  <a:cubicBezTo>
                    <a:pt x="1007" y="328"/>
                    <a:pt x="1011" y="324"/>
                    <a:pt x="1012" y="315"/>
                  </a:cubicBezTo>
                  <a:cubicBezTo>
                    <a:pt x="1021" y="307"/>
                    <a:pt x="1026" y="303"/>
                    <a:pt x="1043" y="304"/>
                  </a:cubicBezTo>
                  <a:cubicBezTo>
                    <a:pt x="1086" y="307"/>
                    <a:pt x="1086" y="307"/>
                    <a:pt x="1086" y="307"/>
                  </a:cubicBezTo>
                  <a:cubicBezTo>
                    <a:pt x="1095" y="308"/>
                    <a:pt x="1099" y="304"/>
                    <a:pt x="1100" y="295"/>
                  </a:cubicBezTo>
                  <a:cubicBezTo>
                    <a:pt x="1107" y="266"/>
                    <a:pt x="1107" y="266"/>
                    <a:pt x="1107" y="266"/>
                  </a:cubicBezTo>
                  <a:cubicBezTo>
                    <a:pt x="1107" y="257"/>
                    <a:pt x="1103" y="252"/>
                    <a:pt x="1095" y="243"/>
                  </a:cubicBezTo>
                  <a:cubicBezTo>
                    <a:pt x="1057" y="236"/>
                    <a:pt x="1057" y="236"/>
                    <a:pt x="1057" y="236"/>
                  </a:cubicBezTo>
                  <a:cubicBezTo>
                    <a:pt x="1044" y="231"/>
                    <a:pt x="1036" y="222"/>
                    <a:pt x="1037" y="213"/>
                  </a:cubicBezTo>
                  <a:cubicBezTo>
                    <a:pt x="1038" y="205"/>
                    <a:pt x="1034" y="200"/>
                    <a:pt x="1030" y="187"/>
                  </a:cubicBezTo>
                  <a:cubicBezTo>
                    <a:pt x="1031" y="178"/>
                    <a:pt x="1032" y="170"/>
                    <a:pt x="1041" y="162"/>
                  </a:cubicBezTo>
                  <a:cubicBezTo>
                    <a:pt x="1077" y="138"/>
                    <a:pt x="1077" y="138"/>
                    <a:pt x="1077" y="138"/>
                  </a:cubicBezTo>
                  <a:cubicBezTo>
                    <a:pt x="1082" y="134"/>
                    <a:pt x="1083" y="126"/>
                    <a:pt x="1079" y="121"/>
                  </a:cubicBezTo>
                  <a:cubicBezTo>
                    <a:pt x="1059" y="89"/>
                    <a:pt x="1059" y="89"/>
                    <a:pt x="1059" y="89"/>
                  </a:cubicBezTo>
                  <a:cubicBezTo>
                    <a:pt x="1055" y="85"/>
                    <a:pt x="1047" y="84"/>
                    <a:pt x="1038" y="83"/>
                  </a:cubicBezTo>
                  <a:cubicBezTo>
                    <a:pt x="1002" y="107"/>
                    <a:pt x="1002" y="107"/>
                    <a:pt x="1002" y="107"/>
                  </a:cubicBezTo>
                  <a:cubicBezTo>
                    <a:pt x="989" y="110"/>
                    <a:pt x="980" y="110"/>
                    <a:pt x="976" y="105"/>
                  </a:cubicBezTo>
                  <a:cubicBezTo>
                    <a:pt x="972" y="100"/>
                    <a:pt x="960" y="95"/>
                    <a:pt x="956" y="91"/>
                  </a:cubicBezTo>
                  <a:cubicBezTo>
                    <a:pt x="952" y="86"/>
                    <a:pt x="944" y="77"/>
                    <a:pt x="944" y="68"/>
                  </a:cubicBezTo>
                  <a:cubicBezTo>
                    <a:pt x="948" y="25"/>
                    <a:pt x="948" y="25"/>
                    <a:pt x="948" y="25"/>
                  </a:cubicBezTo>
                  <a:cubicBezTo>
                    <a:pt x="948" y="17"/>
                    <a:pt x="940" y="7"/>
                    <a:pt x="940" y="7"/>
                  </a:cubicBezTo>
                  <a:cubicBezTo>
                    <a:pt x="902" y="0"/>
                    <a:pt x="902" y="0"/>
                    <a:pt x="902" y="0"/>
                  </a:cubicBezTo>
                  <a:cubicBezTo>
                    <a:pt x="902" y="0"/>
                    <a:pt x="889" y="4"/>
                    <a:pt x="888" y="12"/>
                  </a:cubicBezTo>
                  <a:cubicBezTo>
                    <a:pt x="872" y="50"/>
                    <a:pt x="872" y="50"/>
                    <a:pt x="872" y="50"/>
                  </a:cubicBezTo>
                  <a:cubicBezTo>
                    <a:pt x="871" y="67"/>
                    <a:pt x="862" y="67"/>
                    <a:pt x="858" y="71"/>
                  </a:cubicBezTo>
                  <a:cubicBezTo>
                    <a:pt x="858" y="71"/>
                    <a:pt x="858" y="71"/>
                    <a:pt x="853" y="75"/>
                  </a:cubicBezTo>
                  <a:cubicBezTo>
                    <a:pt x="849" y="70"/>
                    <a:pt x="840" y="70"/>
                    <a:pt x="836" y="74"/>
                  </a:cubicBezTo>
                  <a:cubicBezTo>
                    <a:pt x="831" y="78"/>
                    <a:pt x="831" y="78"/>
                    <a:pt x="831" y="78"/>
                  </a:cubicBezTo>
                  <a:cubicBezTo>
                    <a:pt x="822" y="77"/>
                    <a:pt x="814" y="76"/>
                    <a:pt x="806" y="67"/>
                  </a:cubicBezTo>
                  <a:cubicBezTo>
                    <a:pt x="778" y="35"/>
                    <a:pt x="778" y="35"/>
                    <a:pt x="778" y="35"/>
                  </a:cubicBezTo>
                  <a:cubicBezTo>
                    <a:pt x="774" y="30"/>
                    <a:pt x="762" y="25"/>
                    <a:pt x="757" y="29"/>
                  </a:cubicBezTo>
                  <a:cubicBezTo>
                    <a:pt x="734" y="49"/>
                    <a:pt x="734" y="49"/>
                    <a:pt x="734" y="49"/>
                  </a:cubicBezTo>
                  <a:cubicBezTo>
                    <a:pt x="725" y="49"/>
                    <a:pt x="725" y="57"/>
                    <a:pt x="728" y="70"/>
                  </a:cubicBezTo>
                  <a:cubicBezTo>
                    <a:pt x="747" y="102"/>
                    <a:pt x="747" y="102"/>
                    <a:pt x="747" y="102"/>
                  </a:cubicBezTo>
                  <a:cubicBezTo>
                    <a:pt x="754" y="120"/>
                    <a:pt x="750" y="124"/>
                    <a:pt x="744" y="136"/>
                  </a:cubicBezTo>
                  <a:cubicBezTo>
                    <a:pt x="744" y="136"/>
                    <a:pt x="744" y="136"/>
                    <a:pt x="744" y="136"/>
                  </a:cubicBezTo>
                  <a:cubicBezTo>
                    <a:pt x="740" y="140"/>
                    <a:pt x="735" y="144"/>
                    <a:pt x="731" y="148"/>
                  </a:cubicBezTo>
                  <a:cubicBezTo>
                    <a:pt x="731" y="148"/>
                    <a:pt x="731" y="148"/>
                    <a:pt x="731" y="148"/>
                  </a:cubicBezTo>
                  <a:cubicBezTo>
                    <a:pt x="730" y="157"/>
                    <a:pt x="721" y="165"/>
                    <a:pt x="703" y="164"/>
                  </a:cubicBezTo>
                  <a:cubicBezTo>
                    <a:pt x="665" y="157"/>
                    <a:pt x="665" y="157"/>
                    <a:pt x="665" y="157"/>
                  </a:cubicBezTo>
                  <a:cubicBezTo>
                    <a:pt x="656" y="156"/>
                    <a:pt x="647" y="164"/>
                    <a:pt x="647" y="173"/>
                  </a:cubicBezTo>
                  <a:cubicBezTo>
                    <a:pt x="640" y="203"/>
                    <a:pt x="640" y="203"/>
                    <a:pt x="640" y="203"/>
                  </a:cubicBezTo>
                  <a:cubicBezTo>
                    <a:pt x="639" y="211"/>
                    <a:pt x="643" y="216"/>
                    <a:pt x="656" y="221"/>
                  </a:cubicBezTo>
                  <a:cubicBezTo>
                    <a:pt x="690" y="232"/>
                    <a:pt x="690" y="232"/>
                    <a:pt x="690" y="232"/>
                  </a:cubicBezTo>
                  <a:cubicBezTo>
                    <a:pt x="702" y="237"/>
                    <a:pt x="710" y="246"/>
                    <a:pt x="710" y="255"/>
                  </a:cubicBezTo>
                  <a:cubicBezTo>
                    <a:pt x="710" y="255"/>
                    <a:pt x="710" y="255"/>
                    <a:pt x="710" y="255"/>
                  </a:cubicBezTo>
                  <a:cubicBezTo>
                    <a:pt x="714" y="260"/>
                    <a:pt x="713" y="268"/>
                    <a:pt x="717" y="273"/>
                  </a:cubicBezTo>
                  <a:cubicBezTo>
                    <a:pt x="712" y="277"/>
                    <a:pt x="712" y="277"/>
                    <a:pt x="712" y="277"/>
                  </a:cubicBezTo>
                  <a:cubicBezTo>
                    <a:pt x="716" y="281"/>
                    <a:pt x="716" y="290"/>
                    <a:pt x="702" y="302"/>
                  </a:cubicBezTo>
                  <a:cubicBezTo>
                    <a:pt x="674" y="326"/>
                    <a:pt x="674" y="326"/>
                    <a:pt x="674" y="326"/>
                  </a:cubicBezTo>
                  <a:cubicBezTo>
                    <a:pt x="665" y="334"/>
                    <a:pt x="664" y="343"/>
                    <a:pt x="668" y="347"/>
                  </a:cubicBezTo>
                  <a:cubicBezTo>
                    <a:pt x="687" y="379"/>
                    <a:pt x="687" y="379"/>
                    <a:pt x="687" y="379"/>
                  </a:cubicBezTo>
                  <a:cubicBezTo>
                    <a:pt x="691" y="383"/>
                    <a:pt x="700" y="384"/>
                    <a:pt x="704" y="380"/>
                  </a:cubicBezTo>
                  <a:cubicBezTo>
                    <a:pt x="745" y="361"/>
                    <a:pt x="745" y="361"/>
                    <a:pt x="745" y="361"/>
                  </a:cubicBezTo>
                  <a:cubicBezTo>
                    <a:pt x="758" y="358"/>
                    <a:pt x="767" y="358"/>
                    <a:pt x="771" y="363"/>
                  </a:cubicBezTo>
                  <a:cubicBezTo>
                    <a:pt x="771" y="363"/>
                    <a:pt x="771" y="363"/>
                    <a:pt x="771" y="363"/>
                  </a:cubicBezTo>
                  <a:cubicBezTo>
                    <a:pt x="779" y="364"/>
                    <a:pt x="787" y="373"/>
                    <a:pt x="791" y="377"/>
                  </a:cubicBezTo>
                  <a:cubicBezTo>
                    <a:pt x="791" y="377"/>
                    <a:pt x="791" y="377"/>
                    <a:pt x="791" y="377"/>
                  </a:cubicBezTo>
                  <a:cubicBezTo>
                    <a:pt x="800" y="378"/>
                    <a:pt x="804" y="383"/>
                    <a:pt x="802" y="400"/>
                  </a:cubicBezTo>
                  <a:cubicBezTo>
                    <a:pt x="799" y="443"/>
                    <a:pt x="799" y="443"/>
                    <a:pt x="799" y="443"/>
                  </a:cubicBezTo>
                  <a:cubicBezTo>
                    <a:pt x="798" y="451"/>
                    <a:pt x="802" y="456"/>
                    <a:pt x="811" y="457"/>
                  </a:cubicBezTo>
                  <a:cubicBezTo>
                    <a:pt x="845" y="468"/>
                    <a:pt x="845" y="468"/>
                    <a:pt x="845" y="468"/>
                  </a:cubicBezTo>
                  <a:cubicBezTo>
                    <a:pt x="849" y="464"/>
                    <a:pt x="858" y="464"/>
                    <a:pt x="859" y="456"/>
                  </a:cubicBezTo>
                  <a:cubicBezTo>
                    <a:pt x="871" y="413"/>
                    <a:pt x="871" y="413"/>
                    <a:pt x="871" y="413"/>
                  </a:cubicBezTo>
                  <a:cubicBezTo>
                    <a:pt x="876" y="401"/>
                    <a:pt x="889" y="397"/>
                    <a:pt x="894" y="393"/>
                  </a:cubicBezTo>
                  <a:cubicBezTo>
                    <a:pt x="894" y="393"/>
                    <a:pt x="894" y="393"/>
                    <a:pt x="894" y="393"/>
                  </a:cubicBezTo>
                  <a:cubicBezTo>
                    <a:pt x="902" y="394"/>
                    <a:pt x="911" y="395"/>
                    <a:pt x="916" y="391"/>
                  </a:cubicBezTo>
                  <a:cubicBezTo>
                    <a:pt x="916" y="391"/>
                    <a:pt x="916" y="391"/>
                    <a:pt x="916" y="391"/>
                  </a:cubicBezTo>
                  <a:cubicBezTo>
                    <a:pt x="924" y="391"/>
                    <a:pt x="933" y="392"/>
                    <a:pt x="941" y="401"/>
                  </a:cubicBezTo>
                  <a:cubicBezTo>
                    <a:pt x="969" y="433"/>
                    <a:pt x="969" y="433"/>
                    <a:pt x="969" y="433"/>
                  </a:cubicBezTo>
                  <a:cubicBezTo>
                    <a:pt x="973" y="438"/>
                    <a:pt x="985" y="443"/>
                    <a:pt x="990" y="439"/>
                  </a:cubicBezTo>
                  <a:cubicBezTo>
                    <a:pt x="1018" y="415"/>
                    <a:pt x="1018" y="415"/>
                    <a:pt x="1018" y="415"/>
                  </a:cubicBezTo>
                  <a:cubicBezTo>
                    <a:pt x="1018" y="415"/>
                    <a:pt x="1027" y="407"/>
                    <a:pt x="1019" y="398"/>
                  </a:cubicBezTo>
                  <a:close/>
                  <a:moveTo>
                    <a:pt x="803" y="279"/>
                  </a:moveTo>
                  <a:cubicBezTo>
                    <a:pt x="776" y="238"/>
                    <a:pt x="788" y="187"/>
                    <a:pt x="825" y="164"/>
                  </a:cubicBezTo>
                  <a:cubicBezTo>
                    <a:pt x="866" y="136"/>
                    <a:pt x="921" y="144"/>
                    <a:pt x="948" y="185"/>
                  </a:cubicBezTo>
                  <a:cubicBezTo>
                    <a:pt x="972" y="221"/>
                    <a:pt x="963" y="277"/>
                    <a:pt x="922" y="304"/>
                  </a:cubicBezTo>
                  <a:cubicBezTo>
                    <a:pt x="881" y="332"/>
                    <a:pt x="830" y="320"/>
                    <a:pt x="803" y="279"/>
                  </a:cubicBezTo>
                  <a:close/>
                </a:path>
              </a:pathLst>
            </a:custGeom>
            <a:solidFill>
              <a:schemeClr val="tx1"/>
            </a:solidFill>
            <a:ln>
              <a:noFill/>
            </a:ln>
          </p:spPr>
          <p:txBody>
            <a:bodyPr vert="horz" wrap="square" lIns="68574" tIns="34287" rIns="68574" bIns="34287"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17346"/>
                </a:solidFill>
                <a:effectLst/>
                <a:uLnTx/>
                <a:uFillTx/>
                <a:latin typeface="Segoe UI"/>
                <a:ea typeface="+mn-ea"/>
                <a:cs typeface="+mn-cs"/>
              </a:endParaRPr>
            </a:p>
          </p:txBody>
        </p:sp>
        <p:sp>
          <p:nvSpPr>
            <p:cNvPr id="104" name="Freeform 103"/>
            <p:cNvSpPr>
              <a:spLocks noChangeAspect="1"/>
            </p:cNvSpPr>
            <p:nvPr/>
          </p:nvSpPr>
          <p:spPr bwMode="black">
            <a:xfrm>
              <a:off x="776985" y="4213905"/>
              <a:ext cx="342871" cy="335728"/>
            </a:xfrm>
            <a:custGeom>
              <a:avLst/>
              <a:gdLst>
                <a:gd name="connsiteX0" fmla="*/ 3713863 w 4893730"/>
                <a:gd name="connsiteY0" fmla="*/ 2130808 h 4791777"/>
                <a:gd name="connsiteX1" fmla="*/ 4426142 w 4893730"/>
                <a:gd name="connsiteY1" fmla="*/ 2130808 h 4791777"/>
                <a:gd name="connsiteX2" fmla="*/ 4598071 w 4893730"/>
                <a:gd name="connsiteY2" fmla="*/ 2301547 h 4791777"/>
                <a:gd name="connsiteX3" fmla="*/ 4598071 w 4893730"/>
                <a:gd name="connsiteY3" fmla="*/ 3886978 h 4791777"/>
                <a:gd name="connsiteX4" fmla="*/ 4426142 w 4893730"/>
                <a:gd name="connsiteY4" fmla="*/ 4057717 h 4791777"/>
                <a:gd name="connsiteX5" fmla="*/ 3713863 w 4893730"/>
                <a:gd name="connsiteY5" fmla="*/ 4057717 h 4791777"/>
                <a:gd name="connsiteX6" fmla="*/ 3517372 w 4893730"/>
                <a:gd name="connsiteY6" fmla="*/ 3886978 h 4791777"/>
                <a:gd name="connsiteX7" fmla="*/ 3517372 w 4893730"/>
                <a:gd name="connsiteY7" fmla="*/ 2301547 h 4791777"/>
                <a:gd name="connsiteX8" fmla="*/ 3713863 w 4893730"/>
                <a:gd name="connsiteY8" fmla="*/ 2130808 h 4791777"/>
                <a:gd name="connsiteX9" fmla="*/ 904368 w 4893730"/>
                <a:gd name="connsiteY9" fmla="*/ 1223432 h 4791777"/>
                <a:gd name="connsiteX10" fmla="*/ 1609930 w 4893730"/>
                <a:gd name="connsiteY10" fmla="*/ 1223432 h 4791777"/>
                <a:gd name="connsiteX11" fmla="*/ 1804567 w 4893730"/>
                <a:gd name="connsiteY11" fmla="*/ 1394467 h 4791777"/>
                <a:gd name="connsiteX12" fmla="*/ 1804567 w 4893730"/>
                <a:gd name="connsiteY12" fmla="*/ 3886683 h 4791777"/>
                <a:gd name="connsiteX13" fmla="*/ 1609930 w 4893730"/>
                <a:gd name="connsiteY13" fmla="*/ 4057717 h 4791777"/>
                <a:gd name="connsiteX14" fmla="*/ 904368 w 4893730"/>
                <a:gd name="connsiteY14" fmla="*/ 4057717 h 4791777"/>
                <a:gd name="connsiteX15" fmla="*/ 734060 w 4893730"/>
                <a:gd name="connsiteY15" fmla="*/ 3886683 h 4791777"/>
                <a:gd name="connsiteX16" fmla="*/ 734060 w 4893730"/>
                <a:gd name="connsiteY16" fmla="*/ 1394467 h 4791777"/>
                <a:gd name="connsiteX17" fmla="*/ 904368 w 4893730"/>
                <a:gd name="connsiteY17" fmla="*/ 1223432 h 4791777"/>
                <a:gd name="connsiteX18" fmla="*/ 2325453 w 4893730"/>
                <a:gd name="connsiteY18" fmla="*/ 316050 h 4791777"/>
                <a:gd name="connsiteX19" fmla="*/ 3031014 w 4893730"/>
                <a:gd name="connsiteY19" fmla="*/ 316050 h 4791777"/>
                <a:gd name="connsiteX20" fmla="*/ 3201322 w 4893730"/>
                <a:gd name="connsiteY20" fmla="*/ 487238 h 4791777"/>
                <a:gd name="connsiteX21" fmla="*/ 3201322 w 4893730"/>
                <a:gd name="connsiteY21" fmla="*/ 3886530 h 4791777"/>
                <a:gd name="connsiteX22" fmla="*/ 3031014 w 4893730"/>
                <a:gd name="connsiteY22" fmla="*/ 4057717 h 4791777"/>
                <a:gd name="connsiteX23" fmla="*/ 2325453 w 4893730"/>
                <a:gd name="connsiteY23" fmla="*/ 4057717 h 4791777"/>
                <a:gd name="connsiteX24" fmla="*/ 2130815 w 4893730"/>
                <a:gd name="connsiteY24" fmla="*/ 3886530 h 4791777"/>
                <a:gd name="connsiteX25" fmla="*/ 2130815 w 4893730"/>
                <a:gd name="connsiteY25" fmla="*/ 487238 h 4791777"/>
                <a:gd name="connsiteX26" fmla="*/ 2325453 w 4893730"/>
                <a:gd name="connsiteY26" fmla="*/ 316050 h 4791777"/>
                <a:gd name="connsiteX27" fmla="*/ 269155 w 4893730"/>
                <a:gd name="connsiteY27" fmla="*/ 0 h 4791777"/>
                <a:gd name="connsiteX28" fmla="*/ 538311 w 4893730"/>
                <a:gd name="connsiteY28" fmla="*/ 268927 h 4791777"/>
                <a:gd name="connsiteX29" fmla="*/ 538311 w 4893730"/>
                <a:gd name="connsiteY29" fmla="*/ 4253925 h 4791777"/>
                <a:gd name="connsiteX30" fmla="*/ 4624575 w 4893730"/>
                <a:gd name="connsiteY30" fmla="*/ 4253925 h 4791777"/>
                <a:gd name="connsiteX31" fmla="*/ 4893730 w 4893730"/>
                <a:gd name="connsiteY31" fmla="*/ 4522851 h 4791777"/>
                <a:gd name="connsiteX32" fmla="*/ 4624575 w 4893730"/>
                <a:gd name="connsiteY32" fmla="*/ 4791777 h 4791777"/>
                <a:gd name="connsiteX33" fmla="*/ 269155 w 4893730"/>
                <a:gd name="connsiteY33" fmla="*/ 4791777 h 4791777"/>
                <a:gd name="connsiteX34" fmla="*/ 0 w 4893730"/>
                <a:gd name="connsiteY34" fmla="*/ 4522851 h 4791777"/>
                <a:gd name="connsiteX35" fmla="*/ 0 w 4893730"/>
                <a:gd name="connsiteY35" fmla="*/ 268927 h 4791777"/>
                <a:gd name="connsiteX36" fmla="*/ 269155 w 4893730"/>
                <a:gd name="connsiteY36" fmla="*/ 0 h 4791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4893730" h="4791777">
                  <a:moveTo>
                    <a:pt x="3713863" y="2130808"/>
                  </a:moveTo>
                  <a:cubicBezTo>
                    <a:pt x="3713863" y="2130808"/>
                    <a:pt x="3713863" y="2130808"/>
                    <a:pt x="4426142" y="2130808"/>
                  </a:cubicBezTo>
                  <a:cubicBezTo>
                    <a:pt x="4524387" y="2130808"/>
                    <a:pt x="4598071" y="2203982"/>
                    <a:pt x="4598071" y="2301547"/>
                  </a:cubicBezTo>
                  <a:cubicBezTo>
                    <a:pt x="4598071" y="2301547"/>
                    <a:pt x="4598071" y="2301547"/>
                    <a:pt x="4598071" y="3886978"/>
                  </a:cubicBezTo>
                  <a:cubicBezTo>
                    <a:pt x="4598071" y="3984543"/>
                    <a:pt x="4524387" y="4057717"/>
                    <a:pt x="4426142" y="4057717"/>
                  </a:cubicBezTo>
                  <a:cubicBezTo>
                    <a:pt x="4426142" y="4057717"/>
                    <a:pt x="4426142" y="4057717"/>
                    <a:pt x="3713863" y="4057717"/>
                  </a:cubicBezTo>
                  <a:cubicBezTo>
                    <a:pt x="3615618" y="4057717"/>
                    <a:pt x="3517372" y="3984543"/>
                    <a:pt x="3517372" y="3886978"/>
                  </a:cubicBezTo>
                  <a:cubicBezTo>
                    <a:pt x="3517372" y="3886978"/>
                    <a:pt x="3517372" y="3886978"/>
                    <a:pt x="3517372" y="2301547"/>
                  </a:cubicBezTo>
                  <a:cubicBezTo>
                    <a:pt x="3517372" y="2203982"/>
                    <a:pt x="3615618" y="2130808"/>
                    <a:pt x="3713863" y="2130808"/>
                  </a:cubicBezTo>
                  <a:close/>
                  <a:moveTo>
                    <a:pt x="904368" y="1223432"/>
                  </a:moveTo>
                  <a:cubicBezTo>
                    <a:pt x="904368" y="1223432"/>
                    <a:pt x="904368" y="1223432"/>
                    <a:pt x="1609930" y="1223432"/>
                  </a:cubicBezTo>
                  <a:cubicBezTo>
                    <a:pt x="1731578" y="1223432"/>
                    <a:pt x="1804567" y="1296733"/>
                    <a:pt x="1804567" y="1394467"/>
                  </a:cubicBezTo>
                  <a:cubicBezTo>
                    <a:pt x="1804567" y="1394467"/>
                    <a:pt x="1804567" y="1394467"/>
                    <a:pt x="1804567" y="3886683"/>
                  </a:cubicBezTo>
                  <a:cubicBezTo>
                    <a:pt x="1804567" y="3984417"/>
                    <a:pt x="1731578" y="4057717"/>
                    <a:pt x="1609930" y="4057717"/>
                  </a:cubicBezTo>
                  <a:cubicBezTo>
                    <a:pt x="1609930" y="4057717"/>
                    <a:pt x="1609930" y="4057717"/>
                    <a:pt x="904368" y="4057717"/>
                  </a:cubicBezTo>
                  <a:cubicBezTo>
                    <a:pt x="807049" y="4057717"/>
                    <a:pt x="734060" y="3984417"/>
                    <a:pt x="734060" y="3886683"/>
                  </a:cubicBezTo>
                  <a:cubicBezTo>
                    <a:pt x="734060" y="3886683"/>
                    <a:pt x="734060" y="3886683"/>
                    <a:pt x="734060" y="1394467"/>
                  </a:cubicBezTo>
                  <a:cubicBezTo>
                    <a:pt x="734060" y="1296733"/>
                    <a:pt x="807049" y="1223432"/>
                    <a:pt x="904368" y="1223432"/>
                  </a:cubicBezTo>
                  <a:close/>
                  <a:moveTo>
                    <a:pt x="2325453" y="316050"/>
                  </a:moveTo>
                  <a:cubicBezTo>
                    <a:pt x="2325453" y="316050"/>
                    <a:pt x="2325453" y="316050"/>
                    <a:pt x="3031014" y="316050"/>
                  </a:cubicBezTo>
                  <a:cubicBezTo>
                    <a:pt x="3128333" y="316050"/>
                    <a:pt x="3201322" y="389416"/>
                    <a:pt x="3201322" y="487238"/>
                  </a:cubicBezTo>
                  <a:cubicBezTo>
                    <a:pt x="3201322" y="487238"/>
                    <a:pt x="3201322" y="487238"/>
                    <a:pt x="3201322" y="3886530"/>
                  </a:cubicBezTo>
                  <a:cubicBezTo>
                    <a:pt x="3201322" y="3984351"/>
                    <a:pt x="3128333" y="4057717"/>
                    <a:pt x="3031014" y="4057717"/>
                  </a:cubicBezTo>
                  <a:cubicBezTo>
                    <a:pt x="3031014" y="4057717"/>
                    <a:pt x="3031014" y="4057717"/>
                    <a:pt x="2325453" y="4057717"/>
                  </a:cubicBezTo>
                  <a:cubicBezTo>
                    <a:pt x="2203804" y="4057717"/>
                    <a:pt x="2130815" y="3984351"/>
                    <a:pt x="2130815" y="3886530"/>
                  </a:cubicBezTo>
                  <a:cubicBezTo>
                    <a:pt x="2130815" y="3886530"/>
                    <a:pt x="2130815" y="3886530"/>
                    <a:pt x="2130815" y="487238"/>
                  </a:cubicBezTo>
                  <a:cubicBezTo>
                    <a:pt x="2130815" y="389416"/>
                    <a:pt x="2203804" y="316050"/>
                    <a:pt x="2325453" y="316050"/>
                  </a:cubicBezTo>
                  <a:close/>
                  <a:moveTo>
                    <a:pt x="269155" y="0"/>
                  </a:moveTo>
                  <a:cubicBezTo>
                    <a:pt x="415967" y="0"/>
                    <a:pt x="538311" y="122239"/>
                    <a:pt x="538311" y="268927"/>
                  </a:cubicBezTo>
                  <a:cubicBezTo>
                    <a:pt x="538311" y="268927"/>
                    <a:pt x="538311" y="268927"/>
                    <a:pt x="538311" y="4253925"/>
                  </a:cubicBezTo>
                  <a:cubicBezTo>
                    <a:pt x="538311" y="4253925"/>
                    <a:pt x="538311" y="4253925"/>
                    <a:pt x="4624575" y="4253925"/>
                  </a:cubicBezTo>
                  <a:cubicBezTo>
                    <a:pt x="4771387" y="4253925"/>
                    <a:pt x="4893730" y="4376164"/>
                    <a:pt x="4893730" y="4522851"/>
                  </a:cubicBezTo>
                  <a:cubicBezTo>
                    <a:pt x="4893730" y="4669538"/>
                    <a:pt x="4771387" y="4791777"/>
                    <a:pt x="4624575" y="4791777"/>
                  </a:cubicBezTo>
                  <a:cubicBezTo>
                    <a:pt x="4624575" y="4791777"/>
                    <a:pt x="4624575" y="4791777"/>
                    <a:pt x="269155" y="4791777"/>
                  </a:cubicBezTo>
                  <a:cubicBezTo>
                    <a:pt x="122344" y="4791777"/>
                    <a:pt x="0" y="4669538"/>
                    <a:pt x="0" y="4522851"/>
                  </a:cubicBezTo>
                  <a:cubicBezTo>
                    <a:pt x="0" y="4522851"/>
                    <a:pt x="0" y="4522851"/>
                    <a:pt x="0" y="268927"/>
                  </a:cubicBezTo>
                  <a:cubicBezTo>
                    <a:pt x="0" y="122239"/>
                    <a:pt x="122344" y="0"/>
                    <a:pt x="269155"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37148" tIns="109719" rIns="137148" bIns="109719"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699261"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5" name="Rectangle 104"/>
            <p:cNvSpPr/>
            <p:nvPr/>
          </p:nvSpPr>
          <p:spPr bwMode="auto">
            <a:xfrm rot="2745734">
              <a:off x="886688" y="2210975"/>
              <a:ext cx="1598323" cy="1625795"/>
            </a:xfrm>
            <a:prstGeom prst="rect">
              <a:avLst/>
            </a:prstGeom>
            <a:solidFill>
              <a:schemeClr val="tx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6" name="Rectangle 105"/>
            <p:cNvSpPr/>
            <p:nvPr/>
          </p:nvSpPr>
          <p:spPr bwMode="auto">
            <a:xfrm rot="2745734">
              <a:off x="292433" y="3819160"/>
              <a:ext cx="1610349" cy="1235003"/>
            </a:xfrm>
            <a:prstGeom prst="rect">
              <a:avLst/>
            </a:prstGeom>
            <a:solidFill>
              <a:schemeClr val="tx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7" name="Rectangle 106"/>
            <p:cNvSpPr/>
            <p:nvPr/>
          </p:nvSpPr>
          <p:spPr bwMode="auto">
            <a:xfrm rot="2745734">
              <a:off x="1315610" y="4915701"/>
              <a:ext cx="1263370" cy="1255989"/>
            </a:xfrm>
            <a:prstGeom prst="rect">
              <a:avLst/>
            </a:prstGeom>
            <a:solidFill>
              <a:schemeClr val="tx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37" name="Title 10"/>
          <p:cNvSpPr txBox="1">
            <a:spLocks/>
          </p:cNvSpPr>
          <p:nvPr/>
        </p:nvSpPr>
        <p:spPr>
          <a:xfrm>
            <a:off x="2849060" y="0"/>
            <a:ext cx="9342940" cy="665151"/>
          </a:xfrm>
          <a:prstGeom prst="rect">
            <a:avLst/>
          </a:prstGeom>
          <a:noFill/>
        </p:spPr>
        <p:txBody>
          <a:bodyPr vert="horz" wrap="square" lIns="0" tIns="91440" rIns="0" bIns="91440" rtlCol="0" anchor="t">
            <a:noAutofit/>
          </a:bodyPr>
          <a:lstStyle>
            <a:lvl1pPr defTabSz="914367">
              <a:lnSpc>
                <a:spcPct val="90000"/>
              </a:lnSpc>
              <a:spcBef>
                <a:spcPct val="0"/>
              </a:spcBef>
              <a:buNone/>
              <a:defRPr lang="en-US" sz="5294" b="0" cap="none" spc="-100" baseline="0" dirty="0" smtClean="0">
                <a:ln w="3175">
                  <a:noFill/>
                </a:ln>
                <a:solidFill>
                  <a:schemeClr val="tx2"/>
                </a:solidFill>
                <a:effectLst/>
                <a:latin typeface="+mj-lt"/>
                <a:cs typeface="Segoe UI" pitchFamily="34" charset="0"/>
              </a:defRPr>
            </a:lvl1pPr>
          </a:lstStyle>
          <a:p>
            <a:pPr marL="168275" marR="0" lvl="0" indent="0" algn="l" defTabSz="914367" rtl="0" eaLnBrk="1" fontAlgn="auto" latinLnBrk="0" hangingPunct="1">
              <a:lnSpc>
                <a:spcPct val="90000"/>
              </a:lnSpc>
              <a:spcBef>
                <a:spcPct val="0"/>
              </a:spcBef>
              <a:spcAft>
                <a:spcPts val="0"/>
              </a:spcAft>
              <a:buClrTx/>
              <a:buSzTx/>
              <a:buFontTx/>
              <a:buNone/>
              <a:tabLst/>
              <a:defRPr/>
            </a:pPr>
            <a:r>
              <a:rPr kumimoji="0" lang="en-US" sz="3600" b="0" i="0" u="none" strike="noStrike" kern="1200" cap="none" spc="-100" normalizeH="0" baseline="0" noProof="0">
                <a:ln w="3175">
                  <a:noFill/>
                </a:ln>
                <a:solidFill>
                  <a:prstClr val="black"/>
                </a:solidFill>
                <a:effectLst/>
                <a:uLnTx/>
                <a:uFillTx/>
                <a:latin typeface="Segoe UI Light"/>
                <a:ea typeface="+mn-ea"/>
                <a:cs typeface="Segoe UI" pitchFamily="34" charset="0"/>
              </a:rPr>
              <a:t>Creating a Data Model</a:t>
            </a:r>
            <a:endParaRPr kumimoji="0" lang="en-IN" sz="3600" b="0" i="0" u="none" strike="noStrike" kern="1200" cap="none" spc="-100" normalizeH="0" baseline="0" noProof="0">
              <a:ln w="3175">
                <a:noFill/>
              </a:ln>
              <a:solidFill>
                <a:prstClr val="black"/>
              </a:solidFill>
              <a:effectLst/>
              <a:uLnTx/>
              <a:uFillTx/>
              <a:latin typeface="Segoe UI Light"/>
              <a:ea typeface="+mn-ea"/>
              <a:cs typeface="Segoe UI" pitchFamily="34" charset="0"/>
            </a:endParaRPr>
          </a:p>
        </p:txBody>
      </p:sp>
      <p:sp>
        <p:nvSpPr>
          <p:cNvPr id="40" name="TextBox 39"/>
          <p:cNvSpPr txBox="1"/>
          <p:nvPr/>
        </p:nvSpPr>
        <p:spPr>
          <a:xfrm>
            <a:off x="3" y="51415"/>
            <a:ext cx="2849058" cy="430887"/>
          </a:xfrm>
          <a:prstGeom prst="rect">
            <a:avLst/>
          </a:prstGeom>
        </p:spPr>
        <p:txBody>
          <a:bodyPr wrap="square">
            <a:spAutoFit/>
          </a:bodyPr>
          <a:lstStyle>
            <a:defPPr>
              <a:defRPr lang="en-US"/>
            </a:defPPr>
            <a:lvl1pPr defTabSz="914192">
              <a:defRPr sz="2800" b="1" spc="-100">
                <a:ln w="3175">
                  <a:noFill/>
                </a:ln>
                <a:solidFill>
                  <a:srgbClr val="F2C812"/>
                </a:solidFill>
                <a:latin typeface="Segoe UI" panose="020B0502040204020203" pitchFamily="34" charset="0"/>
                <a:ea typeface="ＭＳ Ｐゴシック" charset="0"/>
                <a:cs typeface="Segoe UI" panose="020B0502040204020203" pitchFamily="34" charset="0"/>
              </a:defRPr>
            </a:lvl1pPr>
          </a:lstStyle>
          <a:p>
            <a:pPr marL="0" marR="0" lvl="0" indent="0" algn="l" defTabSz="914192" rtl="0" eaLnBrk="1" fontAlgn="auto" latinLnBrk="0" hangingPunct="1">
              <a:lnSpc>
                <a:spcPct val="100000"/>
              </a:lnSpc>
              <a:spcBef>
                <a:spcPts val="0"/>
              </a:spcBef>
              <a:spcAft>
                <a:spcPts val="0"/>
              </a:spcAft>
              <a:buClrTx/>
              <a:buSzTx/>
              <a:buFontTx/>
              <a:buNone/>
              <a:tabLst/>
              <a:defRPr/>
            </a:pPr>
            <a:r>
              <a:rPr kumimoji="0" lang="en-US" sz="2200" b="1" i="0" u="none" strike="noStrike" kern="1200" cap="none" spc="-100" normalizeH="0" baseline="0" noProof="0">
                <a:ln w="3175">
                  <a:noFill/>
                </a:ln>
                <a:solidFill>
                  <a:srgbClr val="F2C812"/>
                </a:solidFill>
                <a:effectLst/>
                <a:uLnTx/>
                <a:uFillTx/>
                <a:latin typeface="Segoe UI Light"/>
                <a:ea typeface="ＭＳ Ｐゴシック" charset="0"/>
                <a:cs typeface="Segoe UI" panose="020B0502040204020203" pitchFamily="34" charset="0"/>
              </a:rPr>
              <a:t>Power BI Desktop</a:t>
            </a:r>
          </a:p>
        </p:txBody>
      </p:sp>
      <p:sp>
        <p:nvSpPr>
          <p:cNvPr id="36" name="Rectangle 3"/>
          <p:cNvSpPr/>
          <p:nvPr/>
        </p:nvSpPr>
        <p:spPr bwMode="auto">
          <a:xfrm>
            <a:off x="3202216" y="665151"/>
            <a:ext cx="8105312" cy="44435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PT" sz="2000" b="0" i="1" u="none" strike="noStrike" kern="1200" cap="none" spc="0" normalizeH="0" baseline="0" noProof="0">
                <a:ln>
                  <a:noFill/>
                </a:ln>
                <a:solidFill>
                  <a:prstClr val="black"/>
                </a:solidFill>
                <a:effectLst/>
                <a:uLnTx/>
                <a:uFillTx/>
                <a:latin typeface="Segoe UI Light"/>
                <a:ea typeface="+mn-ea"/>
                <a:cs typeface="+mn-cs"/>
              </a:rPr>
              <a:t>Sorting by Column</a:t>
            </a:r>
            <a:endParaRPr kumimoji="0" lang="en-US" sz="2000" b="0" i="1" u="none" strike="noStrike" kern="1200" cap="none" spc="0" normalizeH="0" baseline="0" noProof="0">
              <a:ln>
                <a:noFill/>
              </a:ln>
              <a:solidFill>
                <a:prstClr val="black"/>
              </a:solidFill>
              <a:effectLst/>
              <a:uLnTx/>
              <a:uFillTx/>
              <a:latin typeface="Segoe UI Light"/>
              <a:ea typeface="+mn-ea"/>
              <a:cs typeface="+mn-cs"/>
            </a:endParaRPr>
          </a:p>
        </p:txBody>
      </p:sp>
      <p:sp>
        <p:nvSpPr>
          <p:cNvPr id="35" name="Text Placeholder 2"/>
          <p:cNvSpPr txBox="1">
            <a:spLocks/>
          </p:cNvSpPr>
          <p:nvPr/>
        </p:nvSpPr>
        <p:spPr>
          <a:xfrm>
            <a:off x="2886854" y="1395122"/>
            <a:ext cx="9162906" cy="5312307"/>
          </a:xfrm>
          <a:prstGeom prst="rect">
            <a:avLst/>
          </a:prstGeom>
        </p:spPr>
        <p:txBody>
          <a:bodyPr vert="horz" wrap="square" lIns="182880" tIns="146304" rIns="182880" bIns="146304" rtlCol="0">
            <a:noAutofit/>
          </a:bodyPr>
          <a:lstStyle>
            <a:lvl1pPr marL="182845" marR="0"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3921" kern="1200" spc="0" baseline="0">
                <a:gradFill>
                  <a:gsLst>
                    <a:gs pos="1250">
                      <a:schemeClr val="tx2"/>
                    </a:gs>
                    <a:gs pos="99000">
                      <a:schemeClr val="tx2"/>
                    </a:gs>
                  </a:gsLst>
                  <a:lin ang="5400000" scaled="0"/>
                </a:gradFill>
                <a:latin typeface="+mj-lt"/>
                <a:ea typeface="+mn-ea"/>
                <a:cs typeface="+mn-cs"/>
              </a:defRPr>
            </a:lvl1pPr>
            <a:lvl2pPr marL="365690" marR="0"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2400" kern="1200" spc="0" baseline="0">
                <a:solidFill>
                  <a:schemeClr val="tx2"/>
                </a:solidFill>
                <a:latin typeface="+mj-lt"/>
                <a:ea typeface="+mn-ea"/>
                <a:cs typeface="+mn-cs"/>
              </a:defRPr>
            </a:lvl2pPr>
            <a:lvl3pPr marL="548535" marR="0"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2000" kern="1200" spc="0" baseline="0">
                <a:solidFill>
                  <a:schemeClr val="tx2"/>
                </a:solidFill>
                <a:latin typeface="+mj-lt"/>
                <a:ea typeface="+mn-ea"/>
                <a:cs typeface="+mn-cs"/>
              </a:defRPr>
            </a:lvl3pPr>
            <a:lvl4pPr marL="733802" marR="0" indent="-28569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1765" kern="1200" spc="0" baseline="0">
                <a:solidFill>
                  <a:schemeClr val="tx2"/>
                </a:solidFill>
                <a:latin typeface="+mn-lt"/>
                <a:ea typeface="+mn-ea"/>
                <a:cs typeface="+mn-cs"/>
              </a:defRPr>
            </a:lvl4pPr>
            <a:lvl5pPr marL="957856" marR="0" indent="-28569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1765" kern="1200" spc="0" baseline="0">
                <a:solidFill>
                  <a:schemeClr val="tx2"/>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r>
              <a:rPr kumimoji="0" lang="pt-PT" sz="2400" b="0" i="0" u="none" strike="noStrike" kern="1200" cap="none" spc="0" normalizeH="0" baseline="0" noProof="0">
                <a:ln>
                  <a:noFill/>
                </a:ln>
                <a:solidFill>
                  <a:prstClr val="black"/>
                </a:solidFill>
                <a:effectLst/>
                <a:uLnTx/>
                <a:uFillTx/>
                <a:latin typeface="Segoe UI Light"/>
                <a:ea typeface="Calibri" panose="020F0502020204030204" pitchFamily="34" charset="0"/>
                <a:cs typeface="Times New Roman" panose="02020603050405020304" pitchFamily="18" charset="0"/>
              </a:rPr>
              <a:t>By </a:t>
            </a:r>
            <a:r>
              <a:rPr kumimoji="0" lang="pt-PT" sz="2400" b="1" i="0" u="none" strike="noStrike" kern="1200" cap="none" spc="0" normalizeH="0" baseline="0" noProof="0">
                <a:ln>
                  <a:noFill/>
                </a:ln>
                <a:solidFill>
                  <a:prstClr val="black"/>
                </a:solidFill>
                <a:effectLst/>
                <a:uLnTx/>
                <a:uFillTx/>
                <a:latin typeface="Segoe UI Light"/>
                <a:ea typeface="Calibri" panose="020F0502020204030204" pitchFamily="34" charset="0"/>
                <a:cs typeface="Times New Roman" panose="02020603050405020304" pitchFamily="18" charset="0"/>
              </a:rPr>
              <a:t>default</a:t>
            </a:r>
            <a:r>
              <a:rPr kumimoji="0" lang="pt-PT" sz="2400" b="0" i="0" u="none" strike="noStrike" kern="1200" cap="none" spc="0" normalizeH="0" baseline="0" noProof="0">
                <a:ln>
                  <a:noFill/>
                </a:ln>
                <a:solidFill>
                  <a:prstClr val="black"/>
                </a:solidFill>
                <a:effectLst/>
                <a:uLnTx/>
                <a:uFillTx/>
                <a:latin typeface="Segoe UI Light"/>
                <a:ea typeface="Calibri" panose="020F0502020204030204" pitchFamily="34" charset="0"/>
                <a:cs typeface="Times New Roman" panose="02020603050405020304" pitchFamily="18" charset="0"/>
              </a:rPr>
              <a:t>, Power BI desktop will </a:t>
            </a:r>
            <a:r>
              <a:rPr kumimoji="0" lang="pt-PT" sz="2400" b="1" i="0" u="none" strike="noStrike" kern="1200" cap="none" spc="0" normalizeH="0" baseline="0" noProof="0">
                <a:ln>
                  <a:noFill/>
                </a:ln>
                <a:solidFill>
                  <a:prstClr val="black"/>
                </a:solidFill>
                <a:effectLst/>
                <a:uLnTx/>
                <a:uFillTx/>
                <a:latin typeface="Segoe UI Light"/>
                <a:ea typeface="Calibri" panose="020F0502020204030204" pitchFamily="34" charset="0"/>
                <a:cs typeface="Times New Roman" panose="02020603050405020304" pitchFamily="18" charset="0"/>
              </a:rPr>
              <a:t>sort</a:t>
            </a:r>
            <a:r>
              <a:rPr kumimoji="0" lang="pt-PT" sz="2400" b="0" i="0" u="none" strike="noStrike" kern="1200" cap="none" spc="0" normalizeH="0" baseline="0" noProof="0">
                <a:ln>
                  <a:noFill/>
                </a:ln>
                <a:solidFill>
                  <a:prstClr val="black"/>
                </a:solidFill>
                <a:effectLst/>
                <a:uLnTx/>
                <a:uFillTx/>
                <a:latin typeface="Segoe UI Light"/>
                <a:ea typeface="Calibri" panose="020F0502020204030204" pitchFamily="34" charset="0"/>
                <a:cs typeface="Times New Roman" panose="02020603050405020304" pitchFamily="18" charset="0"/>
              </a:rPr>
              <a:t> data in a column based on the </a:t>
            </a:r>
            <a:r>
              <a:rPr kumimoji="0" lang="pt-PT" sz="2400" b="1" i="0" u="none" strike="noStrike" kern="1200" cap="none" spc="0" normalizeH="0" baseline="0" noProof="0">
                <a:ln>
                  <a:noFill/>
                </a:ln>
                <a:solidFill>
                  <a:prstClr val="black"/>
                </a:solidFill>
                <a:effectLst/>
                <a:uLnTx/>
                <a:uFillTx/>
                <a:latin typeface="Segoe UI Light"/>
                <a:ea typeface="Calibri" panose="020F0502020204030204" pitchFamily="34" charset="0"/>
                <a:cs typeface="Times New Roman" panose="02020603050405020304" pitchFamily="18" charset="0"/>
              </a:rPr>
              <a:t>alphabet</a:t>
            </a: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pt-PT" sz="2400" b="1" i="0" u="none" strike="noStrike" kern="1200" cap="none" spc="0" normalizeH="0" baseline="0" noProof="0">
              <a:ln>
                <a:noFill/>
              </a:ln>
              <a:solidFill>
                <a:prstClr val="black"/>
              </a:solidFill>
              <a:effectLst/>
              <a:uLnTx/>
              <a:uFillTx/>
              <a:latin typeface="Segoe UI Light"/>
              <a:ea typeface="Calibri" panose="020F0502020204030204" pitchFamily="34" charset="0"/>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r>
              <a:rPr kumimoji="0" lang="pt-PT" sz="2400" b="0" i="0" u="none" strike="noStrike" kern="1200" cap="none" spc="0" normalizeH="0" baseline="0" noProof="0">
                <a:ln>
                  <a:noFill/>
                </a:ln>
                <a:solidFill>
                  <a:prstClr val="black"/>
                </a:solidFill>
                <a:effectLst/>
                <a:uLnTx/>
                <a:uFillTx/>
                <a:latin typeface="Segoe UI Light"/>
                <a:ea typeface="Calibri" panose="020F0502020204030204" pitchFamily="34" charset="0"/>
                <a:cs typeface="Times New Roman" panose="02020603050405020304" pitchFamily="18" charset="0"/>
              </a:rPr>
              <a:t>It is possible to </a:t>
            </a:r>
            <a:r>
              <a:rPr kumimoji="0" lang="pt-PT" sz="2400" b="1" i="0" u="none" strike="noStrike" kern="1200" cap="none" spc="0" normalizeH="0" baseline="0" noProof="0">
                <a:ln>
                  <a:noFill/>
                </a:ln>
                <a:solidFill>
                  <a:prstClr val="black"/>
                </a:solidFill>
                <a:effectLst/>
                <a:uLnTx/>
                <a:uFillTx/>
                <a:latin typeface="Segoe UI Light"/>
                <a:ea typeface="Calibri" panose="020F0502020204030204" pitchFamily="34" charset="0"/>
                <a:cs typeface="Times New Roman" panose="02020603050405020304" pitchFamily="18" charset="0"/>
              </a:rPr>
              <a:t>use a separate column to determine sorting</a:t>
            </a:r>
            <a:endParaRPr kumimoji="0" lang="en-US" sz="2400" b="1" i="0" u="none" strike="noStrike" kern="1200" cap="none" spc="0" normalizeH="0" baseline="0" noProof="0">
              <a:ln>
                <a:noFill/>
              </a:ln>
              <a:solidFill>
                <a:prstClr val="black"/>
              </a:solidFill>
              <a:effectLst/>
              <a:uLnTx/>
              <a:uFillTx/>
              <a:latin typeface="Segoe UI Light"/>
              <a:ea typeface="Calibri" panose="020F0502020204030204" pitchFamily="34" charset="0"/>
              <a:cs typeface="Times New Roman" panose="02020603050405020304" pitchFamily="18" charset="0"/>
            </a:endParaRPr>
          </a:p>
        </p:txBody>
      </p:sp>
      <p:pic>
        <p:nvPicPr>
          <p:cNvPr id="2" name="Picture 1"/>
          <p:cNvPicPr>
            <a:picLocks noChangeAspect="1"/>
          </p:cNvPicPr>
          <p:nvPr/>
        </p:nvPicPr>
        <p:blipFill>
          <a:blip r:embed="rId3"/>
          <a:stretch>
            <a:fillRect/>
          </a:stretch>
        </p:blipFill>
        <p:spPr>
          <a:xfrm>
            <a:off x="3202216" y="3383707"/>
            <a:ext cx="3744000" cy="3029440"/>
          </a:xfrm>
          <a:prstGeom prst="rect">
            <a:avLst/>
          </a:prstGeom>
          <a:ln>
            <a:noFill/>
          </a:ln>
          <a:effectLst>
            <a:outerShdw blurRad="190500" algn="tl" rotWithShape="0">
              <a:srgbClr val="000000">
                <a:alpha val="70000"/>
              </a:srgbClr>
            </a:outerShdw>
          </a:effectLst>
        </p:spPr>
      </p:pic>
      <p:pic>
        <p:nvPicPr>
          <p:cNvPr id="3" name="Picture 2"/>
          <p:cNvPicPr>
            <a:picLocks noChangeAspect="1"/>
          </p:cNvPicPr>
          <p:nvPr/>
        </p:nvPicPr>
        <p:blipFill>
          <a:blip r:embed="rId4"/>
          <a:stretch>
            <a:fillRect/>
          </a:stretch>
        </p:blipFill>
        <p:spPr>
          <a:xfrm>
            <a:off x="7711440" y="3345527"/>
            <a:ext cx="3748730" cy="3031200"/>
          </a:xfrm>
          <a:prstGeom prst="rect">
            <a:avLst/>
          </a:prstGeom>
          <a:ln>
            <a:noFill/>
          </a:ln>
          <a:effectLst>
            <a:outerShdw blurRad="190500" algn="tl" rotWithShape="0">
              <a:srgbClr val="000000">
                <a:alpha val="70000"/>
              </a:srgbClr>
            </a:outerShdw>
          </a:effectLst>
        </p:spPr>
      </p:pic>
      <p:sp>
        <p:nvSpPr>
          <p:cNvPr id="38" name="Right Arrow 37"/>
          <p:cNvSpPr/>
          <p:nvPr/>
        </p:nvSpPr>
        <p:spPr bwMode="auto">
          <a:xfrm flipV="1">
            <a:off x="7096340" y="4988665"/>
            <a:ext cx="500483" cy="272871"/>
          </a:xfrm>
          <a:prstGeom prst="rightArrow">
            <a:avLst/>
          </a:prstGeom>
          <a:solidFill>
            <a:srgbClr val="FF00FF"/>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pt-PT"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5" name="Picture 4"/>
          <p:cNvPicPr>
            <a:picLocks noChangeAspect="1"/>
          </p:cNvPicPr>
          <p:nvPr/>
        </p:nvPicPr>
        <p:blipFill>
          <a:blip r:embed="rId5"/>
          <a:stretch>
            <a:fillRect/>
          </a:stretch>
        </p:blipFill>
        <p:spPr>
          <a:xfrm>
            <a:off x="6522668" y="3137102"/>
            <a:ext cx="1647825" cy="1724025"/>
          </a:xfrm>
          <a:prstGeom prst="rect">
            <a:avLst/>
          </a:prstGeom>
          <a:ln>
            <a:noFill/>
          </a:ln>
          <a:effectLst>
            <a:outerShdw blurRad="190500" algn="tl" rotWithShape="0">
              <a:srgbClr val="000000">
                <a:alpha val="70000"/>
              </a:srgbClr>
            </a:outerShdw>
          </a:effectLst>
        </p:spPr>
      </p:pic>
    </p:spTree>
    <p:extLst>
      <p:ext uri="{BB962C8B-B14F-4D97-AF65-F5344CB8AC3E}">
        <p14:creationId xmlns:p14="http://schemas.microsoft.com/office/powerpoint/2010/main" val="3189271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p:cNvGrpSpPr/>
          <p:nvPr/>
        </p:nvGrpSpPr>
        <p:grpSpPr>
          <a:xfrm>
            <a:off x="-11149" y="0"/>
            <a:ext cx="2849058" cy="6858000"/>
            <a:chOff x="2" y="1"/>
            <a:chExt cx="2849058" cy="6858000"/>
          </a:xfrm>
        </p:grpSpPr>
        <p:sp>
          <p:nvSpPr>
            <p:cNvPr id="70" name="Rectangle 69"/>
            <p:cNvSpPr/>
            <p:nvPr/>
          </p:nvSpPr>
          <p:spPr bwMode="auto">
            <a:xfrm>
              <a:off x="2" y="1"/>
              <a:ext cx="2849058"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5" name="Oval 70"/>
            <p:cNvSpPr/>
            <p:nvPr/>
          </p:nvSpPr>
          <p:spPr>
            <a:xfrm>
              <a:off x="1413521" y="4951537"/>
              <a:ext cx="1119626" cy="1119626"/>
            </a:xfrm>
            <a:prstGeom prst="ellipse">
              <a:avLst/>
            </a:prstGeom>
            <a:solidFill>
              <a:srgbClr val="F2C812"/>
            </a:solidFill>
            <a:ln w="3175" cap="flat" cmpd="sng" algn="ctr">
              <a:noFill/>
              <a:prstDash val="solid"/>
            </a:ln>
            <a:effectLst/>
          </p:spPr>
          <p:txBody>
            <a:bodyPr vert="horz" wrap="none" lIns="0" tIns="45720" rIns="0" bIns="0" rtlCol="0" anchor="t"/>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Segoe UI"/>
                  <a:ea typeface="Segoe UI" pitchFamily="34" charset="0"/>
                  <a:cs typeface="Segoe UI" pitchFamily="34" charset="0"/>
                </a:rPr>
                <a:t>Share &amp;</a:t>
              </a:r>
            </a:p>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Segoe UI"/>
                  <a:ea typeface="Segoe UI" pitchFamily="34" charset="0"/>
                  <a:cs typeface="Segoe UI" pitchFamily="34" charset="0"/>
                </a:rPr>
                <a:t>collaborate </a:t>
              </a:r>
            </a:p>
          </p:txBody>
        </p:sp>
        <p:grpSp>
          <p:nvGrpSpPr>
            <p:cNvPr id="66" name="Group 38"/>
            <p:cNvGrpSpPr>
              <a:grpSpLocks noChangeAspect="1"/>
            </p:cNvGrpSpPr>
            <p:nvPr/>
          </p:nvGrpSpPr>
          <p:grpSpPr>
            <a:xfrm>
              <a:off x="676996" y="3930692"/>
              <a:ext cx="383905" cy="351536"/>
              <a:chOff x="4363684" y="5330386"/>
              <a:chExt cx="1409956" cy="1291077"/>
            </a:xfrm>
            <a:solidFill>
              <a:srgbClr val="217346"/>
            </a:solidFill>
          </p:grpSpPr>
          <p:sp>
            <p:nvSpPr>
              <p:cNvPr id="67" name="Donut 3"/>
              <p:cNvSpPr/>
              <p:nvPr/>
            </p:nvSpPr>
            <p:spPr bwMode="auto">
              <a:xfrm>
                <a:off x="4363684" y="5330386"/>
                <a:ext cx="1409956" cy="1291077"/>
              </a:xfrm>
              <a:custGeom>
                <a:avLst/>
                <a:gdLst/>
                <a:ahLst/>
                <a:cxnLst/>
                <a:rect l="l" t="t" r="r" b="b"/>
                <a:pathLst>
                  <a:path w="1409956" h="1291077">
                    <a:moveTo>
                      <a:pt x="956401" y="78410"/>
                    </a:moveTo>
                    <a:cubicBezTo>
                      <a:pt x="747518" y="78410"/>
                      <a:pt x="578184" y="247744"/>
                      <a:pt x="578184" y="456627"/>
                    </a:cubicBezTo>
                    <a:cubicBezTo>
                      <a:pt x="578184" y="665510"/>
                      <a:pt x="747518" y="834844"/>
                      <a:pt x="956401" y="834844"/>
                    </a:cubicBezTo>
                    <a:cubicBezTo>
                      <a:pt x="1165284" y="834844"/>
                      <a:pt x="1334618" y="665510"/>
                      <a:pt x="1334618" y="456627"/>
                    </a:cubicBezTo>
                    <a:cubicBezTo>
                      <a:pt x="1334618" y="247744"/>
                      <a:pt x="1165284" y="78410"/>
                      <a:pt x="956401" y="78410"/>
                    </a:cubicBezTo>
                    <a:close/>
                    <a:moveTo>
                      <a:pt x="952756" y="0"/>
                    </a:moveTo>
                    <a:cubicBezTo>
                      <a:pt x="1205261" y="0"/>
                      <a:pt x="1409956" y="204695"/>
                      <a:pt x="1409956" y="457200"/>
                    </a:cubicBezTo>
                    <a:cubicBezTo>
                      <a:pt x="1409956" y="709705"/>
                      <a:pt x="1205261" y="914400"/>
                      <a:pt x="952756" y="914400"/>
                    </a:cubicBezTo>
                    <a:cubicBezTo>
                      <a:pt x="862133" y="914400"/>
                      <a:pt x="777669" y="888034"/>
                      <a:pt x="707132" y="841746"/>
                    </a:cubicBezTo>
                    <a:lnTo>
                      <a:pt x="136495" y="1280102"/>
                    </a:lnTo>
                    <a:cubicBezTo>
                      <a:pt x="21896" y="1327168"/>
                      <a:pt x="-44029" y="1213730"/>
                      <a:pt x="33797" y="1113182"/>
                    </a:cubicBezTo>
                    <a:lnTo>
                      <a:pt x="568587" y="703518"/>
                    </a:lnTo>
                    <a:cubicBezTo>
                      <a:pt x="522087" y="632814"/>
                      <a:pt x="495556" y="548105"/>
                      <a:pt x="495556" y="457200"/>
                    </a:cubicBezTo>
                    <a:cubicBezTo>
                      <a:pt x="495556" y="204695"/>
                      <a:pt x="700251" y="0"/>
                      <a:pt x="952756" y="0"/>
                    </a:cubicBezTo>
                    <a:close/>
                  </a:path>
                </a:pathLst>
              </a:custGeom>
              <a:grpFill/>
              <a:ln>
                <a:solidFill>
                  <a:srgbClr val="21734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sp>
            <p:nvSpPr>
              <p:cNvPr id="68" name="Rectangle 4"/>
              <p:cNvSpPr/>
              <p:nvPr/>
            </p:nvSpPr>
            <p:spPr>
              <a:xfrm>
                <a:off x="5058389" y="5528247"/>
                <a:ext cx="490885" cy="490020"/>
              </a:xfrm>
              <a:custGeom>
                <a:avLst/>
                <a:gdLst/>
                <a:ahLst/>
                <a:cxnLst/>
                <a:rect l="l" t="t" r="r" b="b"/>
                <a:pathLst>
                  <a:path w="490885" h="490020">
                    <a:moveTo>
                      <a:pt x="240752" y="0"/>
                    </a:moveTo>
                    <a:cubicBezTo>
                      <a:pt x="253961" y="11844"/>
                      <a:pt x="293310" y="49692"/>
                      <a:pt x="337332" y="92439"/>
                    </a:cubicBezTo>
                    <a:lnTo>
                      <a:pt x="328342" y="81259"/>
                    </a:lnTo>
                    <a:cubicBezTo>
                      <a:pt x="356946" y="111282"/>
                      <a:pt x="377251" y="107167"/>
                      <a:pt x="382515" y="87941"/>
                    </a:cubicBezTo>
                    <a:cubicBezTo>
                      <a:pt x="383951" y="76921"/>
                      <a:pt x="384595" y="68732"/>
                      <a:pt x="396997" y="52239"/>
                    </a:cubicBezTo>
                    <a:cubicBezTo>
                      <a:pt x="420362" y="32084"/>
                      <a:pt x="442294" y="41736"/>
                      <a:pt x="454920" y="51330"/>
                    </a:cubicBezTo>
                    <a:cubicBezTo>
                      <a:pt x="467834" y="62761"/>
                      <a:pt x="477920" y="86882"/>
                      <a:pt x="460392" y="109714"/>
                    </a:cubicBezTo>
                    <a:cubicBezTo>
                      <a:pt x="451128" y="121912"/>
                      <a:pt x="437554" y="126838"/>
                      <a:pt x="425922" y="126505"/>
                    </a:cubicBezTo>
                    <a:cubicBezTo>
                      <a:pt x="424301" y="127609"/>
                      <a:pt x="382890" y="134974"/>
                      <a:pt x="427348" y="177672"/>
                    </a:cubicBezTo>
                    <a:lnTo>
                      <a:pt x="416886" y="169735"/>
                    </a:lnTo>
                    <a:cubicBezTo>
                      <a:pt x="450207" y="202177"/>
                      <a:pt x="478424" y="229744"/>
                      <a:pt x="490885" y="241900"/>
                    </a:cubicBezTo>
                    <a:lnTo>
                      <a:pt x="417150" y="317347"/>
                    </a:lnTo>
                    <a:cubicBezTo>
                      <a:pt x="417744" y="316535"/>
                      <a:pt x="418443" y="316123"/>
                      <a:pt x="419047" y="315822"/>
                    </a:cubicBezTo>
                    <a:cubicBezTo>
                      <a:pt x="389023" y="344426"/>
                      <a:pt x="393138" y="364731"/>
                      <a:pt x="412364" y="369995"/>
                    </a:cubicBezTo>
                    <a:cubicBezTo>
                      <a:pt x="423384" y="371431"/>
                      <a:pt x="431574" y="372075"/>
                      <a:pt x="448067" y="384477"/>
                    </a:cubicBezTo>
                    <a:cubicBezTo>
                      <a:pt x="468221" y="407842"/>
                      <a:pt x="458569" y="429774"/>
                      <a:pt x="448975" y="442400"/>
                    </a:cubicBezTo>
                    <a:cubicBezTo>
                      <a:pt x="437545" y="455314"/>
                      <a:pt x="413423" y="465400"/>
                      <a:pt x="390591" y="447872"/>
                    </a:cubicBezTo>
                    <a:cubicBezTo>
                      <a:pt x="378394" y="438608"/>
                      <a:pt x="373468" y="425034"/>
                      <a:pt x="373800" y="413402"/>
                    </a:cubicBezTo>
                    <a:cubicBezTo>
                      <a:pt x="372696" y="411781"/>
                      <a:pt x="365332" y="370370"/>
                      <a:pt x="322634" y="414828"/>
                    </a:cubicBezTo>
                    <a:lnTo>
                      <a:pt x="325243" y="411388"/>
                    </a:lnTo>
                    <a:lnTo>
                      <a:pt x="248395" y="490020"/>
                    </a:lnTo>
                    <a:cubicBezTo>
                      <a:pt x="208939" y="451897"/>
                      <a:pt x="199129" y="442073"/>
                      <a:pt x="174192" y="418236"/>
                    </a:cubicBezTo>
                    <a:cubicBezTo>
                      <a:pt x="145587" y="388212"/>
                      <a:pt x="125282" y="392327"/>
                      <a:pt x="120018" y="411553"/>
                    </a:cubicBezTo>
                    <a:cubicBezTo>
                      <a:pt x="118582" y="422573"/>
                      <a:pt x="117938" y="430763"/>
                      <a:pt x="105536" y="447256"/>
                    </a:cubicBezTo>
                    <a:cubicBezTo>
                      <a:pt x="82171" y="467410"/>
                      <a:pt x="60239" y="457758"/>
                      <a:pt x="47614" y="448164"/>
                    </a:cubicBezTo>
                    <a:cubicBezTo>
                      <a:pt x="34699" y="436734"/>
                      <a:pt x="24614" y="412612"/>
                      <a:pt x="42141" y="389780"/>
                    </a:cubicBezTo>
                    <a:cubicBezTo>
                      <a:pt x="51405" y="377583"/>
                      <a:pt x="64979" y="372657"/>
                      <a:pt x="76612" y="372989"/>
                    </a:cubicBezTo>
                    <a:cubicBezTo>
                      <a:pt x="78232" y="371886"/>
                      <a:pt x="119644" y="364521"/>
                      <a:pt x="75186" y="321823"/>
                    </a:cubicBezTo>
                    <a:cubicBezTo>
                      <a:pt x="58767" y="305402"/>
                      <a:pt x="23648" y="271235"/>
                      <a:pt x="0" y="248738"/>
                    </a:cubicBezTo>
                    <a:lnTo>
                      <a:pt x="77303" y="168146"/>
                    </a:lnTo>
                    <a:cubicBezTo>
                      <a:pt x="104269" y="140313"/>
                      <a:pt x="122130" y="156409"/>
                      <a:pt x="124388" y="175543"/>
                    </a:cubicBezTo>
                    <a:cubicBezTo>
                      <a:pt x="124457" y="182466"/>
                      <a:pt x="127106" y="193106"/>
                      <a:pt x="137575" y="203052"/>
                    </a:cubicBezTo>
                    <a:cubicBezTo>
                      <a:pt x="153931" y="220277"/>
                      <a:pt x="181252" y="217451"/>
                      <a:pt x="196721" y="201951"/>
                    </a:cubicBezTo>
                    <a:cubicBezTo>
                      <a:pt x="211961" y="185740"/>
                      <a:pt x="213057" y="157882"/>
                      <a:pt x="196146" y="142797"/>
                    </a:cubicBezTo>
                    <a:cubicBezTo>
                      <a:pt x="184301" y="132637"/>
                      <a:pt x="177155" y="131453"/>
                      <a:pt x="166513" y="129894"/>
                    </a:cubicBezTo>
                    <a:cubicBezTo>
                      <a:pt x="154522" y="129013"/>
                      <a:pt x="131185" y="112953"/>
                      <a:pt x="157905" y="85228"/>
                    </a:cubicBezTo>
                    <a:close/>
                  </a:path>
                </a:pathLst>
              </a:custGeom>
              <a:grpFill/>
              <a:ln>
                <a:solidFill>
                  <a:srgbClr val="21734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grpSp>
        <p:sp>
          <p:nvSpPr>
            <p:cNvPr id="69" name="Oval 47"/>
            <p:cNvSpPr/>
            <p:nvPr/>
          </p:nvSpPr>
          <p:spPr>
            <a:xfrm>
              <a:off x="388608" y="3710471"/>
              <a:ext cx="1119626" cy="1119626"/>
            </a:xfrm>
            <a:prstGeom prst="ellipse">
              <a:avLst/>
            </a:prstGeom>
            <a:solidFill>
              <a:srgbClr val="F2C812"/>
            </a:solidFill>
            <a:ln w="3175" cap="flat" cmpd="sng" algn="ctr">
              <a:noFill/>
              <a:prstDash val="solid"/>
            </a:ln>
            <a:effectLst/>
          </p:spPr>
          <p:txBody>
            <a:bodyPr vert="horz" wrap="none" lIns="0" tIns="45720" rIns="0" bIns="0" rtlCol="0" anchor="t"/>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Segoe UI"/>
                  <a:ea typeface="Segoe UI" pitchFamily="34" charset="0"/>
                  <a:cs typeface="Segoe UI" pitchFamily="34" charset="0"/>
                </a:rPr>
                <a:t>Report</a:t>
              </a:r>
            </a:p>
          </p:txBody>
        </p:sp>
        <p:sp>
          <p:nvSpPr>
            <p:cNvPr id="85" name="Oval 950"/>
            <p:cNvSpPr/>
            <p:nvPr/>
          </p:nvSpPr>
          <p:spPr>
            <a:xfrm>
              <a:off x="388608" y="1252295"/>
              <a:ext cx="1119626" cy="1119626"/>
            </a:xfrm>
            <a:prstGeom prst="ellipse">
              <a:avLst/>
            </a:prstGeom>
            <a:solidFill>
              <a:srgbClr val="F2C812"/>
            </a:solidFill>
            <a:ln w="3175" cap="flat" cmpd="sng" algn="ctr">
              <a:noFill/>
              <a:prstDash val="solid"/>
            </a:ln>
            <a:effectLst/>
          </p:spPr>
          <p:txBody>
            <a:bodyPr vert="horz" wrap="none" lIns="0" tIns="45720" rIns="0" bIns="0" rtlCol="0" anchor="t"/>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1" i="0" u="none" strike="noStrike" kern="1200" cap="none" spc="0" normalizeH="0" baseline="0" noProof="0">
                <a:ln>
                  <a:noFill/>
                </a:ln>
                <a:solidFill>
                  <a:srgbClr val="217346"/>
                </a:solidFill>
                <a:effectLst/>
                <a:uLnTx/>
                <a:uFillTx/>
                <a:latin typeface="Segoe UI"/>
                <a:ea typeface="Segoe UI" pitchFamily="34" charset="0"/>
                <a:cs typeface="Segoe UI" pitchFamily="34" charset="0"/>
              </a:endParaRPr>
            </a:p>
          </p:txBody>
        </p:sp>
        <p:grpSp>
          <p:nvGrpSpPr>
            <p:cNvPr id="86" name="Group 85"/>
            <p:cNvGrpSpPr/>
            <p:nvPr/>
          </p:nvGrpSpPr>
          <p:grpSpPr>
            <a:xfrm>
              <a:off x="1264851" y="3482890"/>
              <a:ext cx="292254" cy="354906"/>
              <a:chOff x="1296521" y="3253388"/>
              <a:chExt cx="292254" cy="354906"/>
            </a:xfrm>
            <a:solidFill>
              <a:srgbClr val="F2C812"/>
            </a:solidFill>
          </p:grpSpPr>
          <p:sp>
            <p:nvSpPr>
              <p:cNvPr id="87" name="Isosceles Triangle 86"/>
              <p:cNvSpPr/>
              <p:nvPr/>
            </p:nvSpPr>
            <p:spPr bwMode="auto">
              <a:xfrm rot="13636515">
                <a:off x="1461362" y="328936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8" name="Isosceles Triangle 87"/>
              <p:cNvSpPr/>
              <p:nvPr/>
            </p:nvSpPr>
            <p:spPr bwMode="auto">
              <a:xfrm rot="13636515">
                <a:off x="1357669" y="338258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9" name="Isosceles Triangle 88"/>
              <p:cNvSpPr/>
              <p:nvPr/>
            </p:nvSpPr>
            <p:spPr bwMode="auto">
              <a:xfrm rot="13636515">
                <a:off x="1260548" y="3480882"/>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90" name="Group 89"/>
            <p:cNvGrpSpPr/>
            <p:nvPr/>
          </p:nvGrpSpPr>
          <p:grpSpPr>
            <a:xfrm rot="15940603">
              <a:off x="1334576" y="2204404"/>
              <a:ext cx="292254" cy="354906"/>
              <a:chOff x="1296521" y="3253388"/>
              <a:chExt cx="292254" cy="354906"/>
            </a:xfrm>
            <a:solidFill>
              <a:srgbClr val="F2C812"/>
            </a:solidFill>
          </p:grpSpPr>
          <p:sp>
            <p:nvSpPr>
              <p:cNvPr id="91" name="Isosceles Triangle 90"/>
              <p:cNvSpPr/>
              <p:nvPr/>
            </p:nvSpPr>
            <p:spPr bwMode="auto">
              <a:xfrm rot="13636515">
                <a:off x="1461362" y="328936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2" name="Isosceles Triangle 91"/>
              <p:cNvSpPr/>
              <p:nvPr/>
            </p:nvSpPr>
            <p:spPr bwMode="auto">
              <a:xfrm rot="13636515">
                <a:off x="1357669" y="338258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3" name="Isosceles Triangle 92"/>
              <p:cNvSpPr/>
              <p:nvPr/>
            </p:nvSpPr>
            <p:spPr bwMode="auto">
              <a:xfrm rot="13636515">
                <a:off x="1260548" y="3480882"/>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94" name="Group 93"/>
            <p:cNvGrpSpPr/>
            <p:nvPr/>
          </p:nvGrpSpPr>
          <p:grpSpPr>
            <a:xfrm rot="16043978">
              <a:off x="1317220" y="4717577"/>
              <a:ext cx="292254" cy="354906"/>
              <a:chOff x="1296521" y="3253388"/>
              <a:chExt cx="292254" cy="354906"/>
            </a:xfrm>
            <a:solidFill>
              <a:srgbClr val="F2C812"/>
            </a:solidFill>
          </p:grpSpPr>
          <p:sp>
            <p:nvSpPr>
              <p:cNvPr id="95" name="Isosceles Triangle 94"/>
              <p:cNvSpPr/>
              <p:nvPr/>
            </p:nvSpPr>
            <p:spPr bwMode="auto">
              <a:xfrm rot="13636515">
                <a:off x="1461362" y="328936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6" name="Isosceles Triangle 95"/>
              <p:cNvSpPr/>
              <p:nvPr/>
            </p:nvSpPr>
            <p:spPr bwMode="auto">
              <a:xfrm rot="13636515">
                <a:off x="1357669" y="338258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7" name="Isosceles Triangle 96"/>
              <p:cNvSpPr/>
              <p:nvPr/>
            </p:nvSpPr>
            <p:spPr bwMode="auto">
              <a:xfrm rot="13636515">
                <a:off x="1260548" y="3480882"/>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98" name="Oval 36"/>
            <p:cNvSpPr/>
            <p:nvPr/>
          </p:nvSpPr>
          <p:spPr>
            <a:xfrm>
              <a:off x="1413521" y="2481383"/>
              <a:ext cx="1119626" cy="1119626"/>
            </a:xfrm>
            <a:prstGeom prst="ellipse">
              <a:avLst/>
            </a:prstGeom>
            <a:solidFill>
              <a:srgbClr val="F2C812"/>
            </a:solidFill>
            <a:ln w="3175" cap="flat" cmpd="sng" algn="ctr">
              <a:noFill/>
              <a:prstDash val="solid"/>
            </a:ln>
            <a:effectLst/>
          </p:spPr>
          <p:txBody>
            <a:bodyPr vert="horz" wrap="none" lIns="0" tIns="0" rIns="0" bIns="0" rtlCol="0" anchor="t"/>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400" b="1" i="0" u="none" strike="noStrike" kern="1200" cap="none" spc="0" normalizeH="0" baseline="0" noProof="0">
                <a:ln>
                  <a:noFill/>
                </a:ln>
                <a:solidFill>
                  <a:srgbClr val="217346"/>
                </a:solidFill>
                <a:effectLst/>
                <a:uLnTx/>
                <a:uFillTx/>
                <a:latin typeface="Segoe UI"/>
                <a:ea typeface="Segoe UI" pitchFamily="34" charset="0"/>
                <a:cs typeface="Segoe UI" pitchFamily="34" charset="0"/>
              </a:endParaRPr>
            </a:p>
          </p:txBody>
        </p:sp>
        <p:sp>
          <p:nvSpPr>
            <p:cNvPr id="99" name="Donut 3"/>
            <p:cNvSpPr/>
            <p:nvPr/>
          </p:nvSpPr>
          <p:spPr bwMode="auto">
            <a:xfrm>
              <a:off x="1742065" y="3002355"/>
              <a:ext cx="383905" cy="351537"/>
            </a:xfrm>
            <a:custGeom>
              <a:avLst/>
              <a:gdLst/>
              <a:ahLst/>
              <a:cxnLst/>
              <a:rect l="l" t="t" r="r" b="b"/>
              <a:pathLst>
                <a:path w="1409956" h="1291077">
                  <a:moveTo>
                    <a:pt x="956401" y="78410"/>
                  </a:moveTo>
                  <a:cubicBezTo>
                    <a:pt x="747518" y="78410"/>
                    <a:pt x="578184" y="247744"/>
                    <a:pt x="578184" y="456627"/>
                  </a:cubicBezTo>
                  <a:cubicBezTo>
                    <a:pt x="578184" y="665510"/>
                    <a:pt x="747518" y="834844"/>
                    <a:pt x="956401" y="834844"/>
                  </a:cubicBezTo>
                  <a:cubicBezTo>
                    <a:pt x="1165284" y="834844"/>
                    <a:pt x="1334618" y="665510"/>
                    <a:pt x="1334618" y="456627"/>
                  </a:cubicBezTo>
                  <a:cubicBezTo>
                    <a:pt x="1334618" y="247744"/>
                    <a:pt x="1165284" y="78410"/>
                    <a:pt x="956401" y="78410"/>
                  </a:cubicBezTo>
                  <a:close/>
                  <a:moveTo>
                    <a:pt x="952756" y="0"/>
                  </a:moveTo>
                  <a:cubicBezTo>
                    <a:pt x="1205261" y="0"/>
                    <a:pt x="1409956" y="204695"/>
                    <a:pt x="1409956" y="457200"/>
                  </a:cubicBezTo>
                  <a:cubicBezTo>
                    <a:pt x="1409956" y="709705"/>
                    <a:pt x="1205261" y="914400"/>
                    <a:pt x="952756" y="914400"/>
                  </a:cubicBezTo>
                  <a:cubicBezTo>
                    <a:pt x="862133" y="914400"/>
                    <a:pt x="777669" y="888034"/>
                    <a:pt x="707132" y="841746"/>
                  </a:cubicBezTo>
                  <a:lnTo>
                    <a:pt x="136495" y="1280102"/>
                  </a:lnTo>
                  <a:cubicBezTo>
                    <a:pt x="21896" y="1327168"/>
                    <a:pt x="-44029" y="1213730"/>
                    <a:pt x="33797" y="1113182"/>
                  </a:cubicBezTo>
                  <a:lnTo>
                    <a:pt x="568587" y="703518"/>
                  </a:lnTo>
                  <a:cubicBezTo>
                    <a:pt x="522087" y="632814"/>
                    <a:pt x="495556" y="548105"/>
                    <a:pt x="495556" y="457200"/>
                  </a:cubicBezTo>
                  <a:cubicBezTo>
                    <a:pt x="495556" y="204695"/>
                    <a:pt x="700251" y="0"/>
                    <a:pt x="952756" y="0"/>
                  </a:cubicBezTo>
                  <a:close/>
                </a:path>
              </a:pathLst>
            </a:cu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ysClr val="windowText" lastClr="000000"/>
                </a:solidFill>
                <a:effectLst/>
                <a:uLnTx/>
                <a:uFillTx/>
                <a:latin typeface="Segoe UI"/>
                <a:ea typeface="+mn-ea"/>
                <a:cs typeface="+mn-cs"/>
              </a:endParaRPr>
            </a:p>
          </p:txBody>
        </p:sp>
        <p:sp>
          <p:nvSpPr>
            <p:cNvPr id="100" name="Rectangle 99"/>
            <p:cNvSpPr/>
            <p:nvPr/>
          </p:nvSpPr>
          <p:spPr>
            <a:xfrm>
              <a:off x="1600398" y="2677430"/>
              <a:ext cx="820353" cy="307777"/>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Segoe UI"/>
                  <a:ea typeface="Segoe UI" pitchFamily="34" charset="0"/>
                  <a:cs typeface="Segoe UI" pitchFamily="34" charset="0"/>
                </a:rPr>
                <a:t>Explore</a:t>
              </a:r>
              <a:endParaRPr kumimoji="0" lang="en-US" sz="1600" b="0" i="0" u="none" strike="noStrike" kern="1200" cap="none" spc="0" normalizeH="0" baseline="0" noProof="0">
                <a:ln>
                  <a:noFill/>
                </a:ln>
                <a:solidFill>
                  <a:prstClr val="black"/>
                </a:solidFill>
                <a:effectLst/>
                <a:uLnTx/>
                <a:uFillTx/>
                <a:latin typeface="Segoe UI"/>
                <a:ea typeface="+mn-ea"/>
                <a:cs typeface="+mn-cs"/>
              </a:endParaRPr>
            </a:p>
          </p:txBody>
        </p:sp>
        <p:sp>
          <p:nvSpPr>
            <p:cNvPr id="101" name="Rectangle 100"/>
            <p:cNvSpPr/>
            <p:nvPr/>
          </p:nvSpPr>
          <p:spPr>
            <a:xfrm>
              <a:off x="509174" y="1475232"/>
              <a:ext cx="838756" cy="307777"/>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Segoe UI"/>
                  <a:ea typeface="Segoe UI" pitchFamily="34" charset="0"/>
                  <a:cs typeface="Segoe UI" pitchFamily="34" charset="0"/>
                </a:rPr>
                <a:t>Prepare</a:t>
              </a:r>
              <a:endParaRPr kumimoji="0" lang="en-US" sz="1400" b="0" i="0" u="none" strike="noStrike" kern="1200" cap="none" spc="0" normalizeH="0" baseline="0" noProof="0">
                <a:ln>
                  <a:noFill/>
                </a:ln>
                <a:solidFill>
                  <a:prstClr val="black"/>
                </a:solidFill>
                <a:effectLst/>
                <a:uLnTx/>
                <a:uFillTx/>
                <a:latin typeface="Segoe UI"/>
                <a:ea typeface="+mn-ea"/>
                <a:cs typeface="+mn-cs"/>
              </a:endParaRPr>
            </a:p>
          </p:txBody>
        </p:sp>
        <p:sp>
          <p:nvSpPr>
            <p:cNvPr id="102" name="Freeform 101"/>
            <p:cNvSpPr>
              <a:spLocks noChangeAspect="1"/>
            </p:cNvSpPr>
            <p:nvPr/>
          </p:nvSpPr>
          <p:spPr bwMode="black">
            <a:xfrm>
              <a:off x="1836174" y="5643069"/>
              <a:ext cx="274320" cy="284173"/>
            </a:xfrm>
            <a:custGeom>
              <a:avLst/>
              <a:gdLst>
                <a:gd name="T0" fmla="*/ 539 w 669"/>
                <a:gd name="T1" fmla="*/ 5 h 693"/>
                <a:gd name="T2" fmla="*/ 640 w 669"/>
                <a:gd name="T3" fmla="*/ 55 h 693"/>
                <a:gd name="T4" fmla="*/ 603 w 669"/>
                <a:gd name="T5" fmla="*/ 195 h 693"/>
                <a:gd name="T6" fmla="*/ 490 w 669"/>
                <a:gd name="T7" fmla="*/ 188 h 693"/>
                <a:gd name="T8" fmla="*/ 479 w 669"/>
                <a:gd name="T9" fmla="*/ 176 h 693"/>
                <a:gd name="T10" fmla="*/ 213 w 669"/>
                <a:gd name="T11" fmla="*/ 330 h 693"/>
                <a:gd name="T12" fmla="*/ 218 w 669"/>
                <a:gd name="T13" fmla="*/ 345 h 693"/>
                <a:gd name="T14" fmla="*/ 218 w 669"/>
                <a:gd name="T15" fmla="*/ 375 h 693"/>
                <a:gd name="T16" fmla="*/ 209 w 669"/>
                <a:gd name="T17" fmla="*/ 402 h 693"/>
                <a:gd name="T18" fmla="*/ 369 w 669"/>
                <a:gd name="T19" fmla="*/ 503 h 693"/>
                <a:gd name="T20" fmla="*/ 373 w 669"/>
                <a:gd name="T21" fmla="*/ 498 h 693"/>
                <a:gd name="T22" fmla="*/ 456 w 669"/>
                <a:gd name="T23" fmla="*/ 475 h 693"/>
                <a:gd name="T24" fmla="*/ 494 w 669"/>
                <a:gd name="T25" fmla="*/ 489 h 693"/>
                <a:gd name="T26" fmla="*/ 527 w 669"/>
                <a:gd name="T27" fmla="*/ 630 h 693"/>
                <a:gd name="T28" fmla="*/ 386 w 669"/>
                <a:gd name="T29" fmla="*/ 663 h 693"/>
                <a:gd name="T30" fmla="*/ 339 w 669"/>
                <a:gd name="T31" fmla="*/ 560 h 693"/>
                <a:gd name="T32" fmla="*/ 345 w 669"/>
                <a:gd name="T33" fmla="*/ 544 h 693"/>
                <a:gd name="T34" fmla="*/ 177 w 669"/>
                <a:gd name="T35" fmla="*/ 439 h 693"/>
                <a:gd name="T36" fmla="*/ 168 w 669"/>
                <a:gd name="T37" fmla="*/ 446 h 693"/>
                <a:gd name="T38" fmla="*/ 28 w 669"/>
                <a:gd name="T39" fmla="*/ 409 h 693"/>
                <a:gd name="T40" fmla="*/ 65 w 669"/>
                <a:gd name="T41" fmla="*/ 269 h 693"/>
                <a:gd name="T42" fmla="*/ 178 w 669"/>
                <a:gd name="T43" fmla="*/ 276 h 693"/>
                <a:gd name="T44" fmla="*/ 189 w 669"/>
                <a:gd name="T45" fmla="*/ 288 h 693"/>
                <a:gd name="T46" fmla="*/ 455 w 669"/>
                <a:gd name="T47" fmla="*/ 134 h 693"/>
                <a:gd name="T48" fmla="*/ 450 w 669"/>
                <a:gd name="T49" fmla="*/ 119 h 693"/>
                <a:gd name="T50" fmla="*/ 501 w 669"/>
                <a:gd name="T51" fmla="*/ 18 h 693"/>
                <a:gd name="T52" fmla="*/ 539 w 669"/>
                <a:gd name="T53" fmla="*/ 5 h 6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69" h="693">
                  <a:moveTo>
                    <a:pt x="539" y="5"/>
                  </a:moveTo>
                  <a:cubicBezTo>
                    <a:pt x="579" y="0"/>
                    <a:pt x="619" y="19"/>
                    <a:pt x="640" y="55"/>
                  </a:cubicBezTo>
                  <a:cubicBezTo>
                    <a:pt x="669" y="104"/>
                    <a:pt x="652" y="167"/>
                    <a:pt x="603" y="195"/>
                  </a:cubicBezTo>
                  <a:cubicBezTo>
                    <a:pt x="566" y="216"/>
                    <a:pt x="522" y="212"/>
                    <a:pt x="490" y="188"/>
                  </a:cubicBezTo>
                  <a:cubicBezTo>
                    <a:pt x="479" y="176"/>
                    <a:pt x="479" y="176"/>
                    <a:pt x="479" y="176"/>
                  </a:cubicBezTo>
                  <a:cubicBezTo>
                    <a:pt x="213" y="330"/>
                    <a:pt x="213" y="330"/>
                    <a:pt x="213" y="330"/>
                  </a:cubicBezTo>
                  <a:cubicBezTo>
                    <a:pt x="218" y="345"/>
                    <a:pt x="218" y="345"/>
                    <a:pt x="218" y="345"/>
                  </a:cubicBezTo>
                  <a:cubicBezTo>
                    <a:pt x="219" y="355"/>
                    <a:pt x="219" y="365"/>
                    <a:pt x="218" y="375"/>
                  </a:cubicBezTo>
                  <a:cubicBezTo>
                    <a:pt x="209" y="402"/>
                    <a:pt x="209" y="402"/>
                    <a:pt x="209" y="402"/>
                  </a:cubicBezTo>
                  <a:cubicBezTo>
                    <a:pt x="369" y="503"/>
                    <a:pt x="369" y="503"/>
                    <a:pt x="369" y="503"/>
                  </a:cubicBezTo>
                  <a:cubicBezTo>
                    <a:pt x="373" y="498"/>
                    <a:pt x="373" y="498"/>
                    <a:pt x="373" y="498"/>
                  </a:cubicBezTo>
                  <a:cubicBezTo>
                    <a:pt x="396" y="479"/>
                    <a:pt x="427" y="470"/>
                    <a:pt x="456" y="475"/>
                  </a:cubicBezTo>
                  <a:cubicBezTo>
                    <a:pt x="470" y="477"/>
                    <a:pt x="482" y="482"/>
                    <a:pt x="494" y="489"/>
                  </a:cubicBezTo>
                  <a:cubicBezTo>
                    <a:pt x="542" y="519"/>
                    <a:pt x="557" y="583"/>
                    <a:pt x="527" y="630"/>
                  </a:cubicBezTo>
                  <a:cubicBezTo>
                    <a:pt x="497" y="678"/>
                    <a:pt x="433" y="693"/>
                    <a:pt x="386" y="663"/>
                  </a:cubicBezTo>
                  <a:cubicBezTo>
                    <a:pt x="350" y="640"/>
                    <a:pt x="333" y="599"/>
                    <a:pt x="339" y="560"/>
                  </a:cubicBezTo>
                  <a:cubicBezTo>
                    <a:pt x="345" y="544"/>
                    <a:pt x="345" y="544"/>
                    <a:pt x="345" y="544"/>
                  </a:cubicBezTo>
                  <a:cubicBezTo>
                    <a:pt x="177" y="439"/>
                    <a:pt x="177" y="439"/>
                    <a:pt x="177" y="439"/>
                  </a:cubicBezTo>
                  <a:cubicBezTo>
                    <a:pt x="168" y="446"/>
                    <a:pt x="168" y="446"/>
                    <a:pt x="168" y="446"/>
                  </a:cubicBezTo>
                  <a:cubicBezTo>
                    <a:pt x="119" y="475"/>
                    <a:pt x="56" y="458"/>
                    <a:pt x="28" y="409"/>
                  </a:cubicBezTo>
                  <a:cubicBezTo>
                    <a:pt x="0" y="360"/>
                    <a:pt x="16" y="297"/>
                    <a:pt x="65" y="269"/>
                  </a:cubicBezTo>
                  <a:cubicBezTo>
                    <a:pt x="102" y="248"/>
                    <a:pt x="147" y="252"/>
                    <a:pt x="178" y="276"/>
                  </a:cubicBezTo>
                  <a:cubicBezTo>
                    <a:pt x="189" y="288"/>
                    <a:pt x="189" y="288"/>
                    <a:pt x="189" y="288"/>
                  </a:cubicBezTo>
                  <a:cubicBezTo>
                    <a:pt x="455" y="134"/>
                    <a:pt x="455" y="134"/>
                    <a:pt x="455" y="134"/>
                  </a:cubicBezTo>
                  <a:cubicBezTo>
                    <a:pt x="450" y="119"/>
                    <a:pt x="450" y="119"/>
                    <a:pt x="450" y="119"/>
                  </a:cubicBezTo>
                  <a:cubicBezTo>
                    <a:pt x="445" y="80"/>
                    <a:pt x="464" y="39"/>
                    <a:pt x="501" y="18"/>
                  </a:cubicBezTo>
                  <a:cubicBezTo>
                    <a:pt x="513" y="11"/>
                    <a:pt x="526" y="6"/>
                    <a:pt x="539" y="5"/>
                  </a:cubicBezTo>
                  <a:close/>
                </a:path>
              </a:pathLst>
            </a:custGeom>
            <a:solidFill>
              <a:schemeClr val="tx1"/>
            </a:solidFill>
            <a:ln>
              <a:noFill/>
            </a:ln>
          </p:spPr>
          <p:txBody>
            <a:bodyPr vert="horz" wrap="square" lIns="68574" tIns="34287" rIns="68574" bIns="34287"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Segoe UI"/>
                <a:ea typeface="+mn-ea"/>
                <a:cs typeface="+mn-cs"/>
              </a:endParaRPr>
            </a:p>
          </p:txBody>
        </p:sp>
        <p:sp>
          <p:nvSpPr>
            <p:cNvPr id="103" name="Freeform 102"/>
            <p:cNvSpPr>
              <a:spLocks noChangeAspect="1" noEditPoints="1"/>
            </p:cNvSpPr>
            <p:nvPr/>
          </p:nvSpPr>
          <p:spPr bwMode="black">
            <a:xfrm>
              <a:off x="722320" y="1783009"/>
              <a:ext cx="452202" cy="366660"/>
            </a:xfrm>
            <a:custGeom>
              <a:avLst/>
              <a:gdLst>
                <a:gd name="T0" fmla="*/ 600 w 1107"/>
                <a:gd name="T1" fmla="*/ 625 h 897"/>
                <a:gd name="T2" fmla="*/ 649 w 1107"/>
                <a:gd name="T3" fmla="*/ 567 h 897"/>
                <a:gd name="T4" fmla="*/ 727 w 1107"/>
                <a:gd name="T5" fmla="*/ 482 h 897"/>
                <a:gd name="T6" fmla="*/ 601 w 1107"/>
                <a:gd name="T7" fmla="*/ 434 h 897"/>
                <a:gd name="T8" fmla="*/ 628 w 1107"/>
                <a:gd name="T9" fmla="*/ 305 h 897"/>
                <a:gd name="T10" fmla="*/ 547 w 1107"/>
                <a:gd name="T11" fmla="*/ 240 h 897"/>
                <a:gd name="T12" fmla="*/ 427 w 1107"/>
                <a:gd name="T13" fmla="*/ 287 h 897"/>
                <a:gd name="T14" fmla="*/ 368 w 1107"/>
                <a:gd name="T15" fmla="*/ 170 h 897"/>
                <a:gd name="T16" fmla="*/ 285 w 1107"/>
                <a:gd name="T17" fmla="*/ 263 h 897"/>
                <a:gd name="T18" fmla="*/ 241 w 1107"/>
                <a:gd name="T19" fmla="*/ 313 h 897"/>
                <a:gd name="T20" fmla="*/ 139 w 1107"/>
                <a:gd name="T21" fmla="*/ 281 h 897"/>
                <a:gd name="T22" fmla="*/ 79 w 1107"/>
                <a:gd name="T23" fmla="*/ 355 h 897"/>
                <a:gd name="T24" fmla="*/ 132 w 1107"/>
                <a:gd name="T25" fmla="*/ 446 h 897"/>
                <a:gd name="T26" fmla="*/ 83 w 1107"/>
                <a:gd name="T27" fmla="*/ 505 h 897"/>
                <a:gd name="T28" fmla="*/ 5 w 1107"/>
                <a:gd name="T29" fmla="*/ 590 h 897"/>
                <a:gd name="T30" fmla="*/ 132 w 1107"/>
                <a:gd name="T31" fmla="*/ 638 h 897"/>
                <a:gd name="T32" fmla="*/ 145 w 1107"/>
                <a:gd name="T33" fmla="*/ 669 h 897"/>
                <a:gd name="T34" fmla="*/ 110 w 1107"/>
                <a:gd name="T35" fmla="*/ 793 h 897"/>
                <a:gd name="T36" fmla="*/ 230 w 1107"/>
                <a:gd name="T37" fmla="*/ 781 h 897"/>
                <a:gd name="T38" fmla="*/ 306 w 1107"/>
                <a:gd name="T39" fmla="*/ 785 h 897"/>
                <a:gd name="T40" fmla="*/ 346 w 1107"/>
                <a:gd name="T41" fmla="*/ 878 h 897"/>
                <a:gd name="T42" fmla="*/ 440 w 1107"/>
                <a:gd name="T43" fmla="*/ 872 h 897"/>
                <a:gd name="T44" fmla="*/ 466 w 1107"/>
                <a:gd name="T45" fmla="*/ 764 h 897"/>
                <a:gd name="T46" fmla="*/ 539 w 1107"/>
                <a:gd name="T47" fmla="*/ 755 h 897"/>
                <a:gd name="T48" fmla="*/ 659 w 1107"/>
                <a:gd name="T49" fmla="*/ 743 h 897"/>
                <a:gd name="T50" fmla="*/ 263 w 1107"/>
                <a:gd name="T51" fmla="*/ 452 h 897"/>
                <a:gd name="T52" fmla="*/ 281 w 1107"/>
                <a:gd name="T53" fmla="*/ 633 h 897"/>
                <a:gd name="T54" fmla="*/ 1002 w 1107"/>
                <a:gd name="T55" fmla="*/ 332 h 897"/>
                <a:gd name="T56" fmla="*/ 1043 w 1107"/>
                <a:gd name="T57" fmla="*/ 304 h 897"/>
                <a:gd name="T58" fmla="*/ 1107 w 1107"/>
                <a:gd name="T59" fmla="*/ 266 h 897"/>
                <a:gd name="T60" fmla="*/ 1037 w 1107"/>
                <a:gd name="T61" fmla="*/ 213 h 897"/>
                <a:gd name="T62" fmla="*/ 1077 w 1107"/>
                <a:gd name="T63" fmla="*/ 138 h 897"/>
                <a:gd name="T64" fmla="*/ 1038 w 1107"/>
                <a:gd name="T65" fmla="*/ 83 h 897"/>
                <a:gd name="T66" fmla="*/ 956 w 1107"/>
                <a:gd name="T67" fmla="*/ 91 h 897"/>
                <a:gd name="T68" fmla="*/ 940 w 1107"/>
                <a:gd name="T69" fmla="*/ 7 h 897"/>
                <a:gd name="T70" fmla="*/ 872 w 1107"/>
                <a:gd name="T71" fmla="*/ 50 h 897"/>
                <a:gd name="T72" fmla="*/ 836 w 1107"/>
                <a:gd name="T73" fmla="*/ 74 h 897"/>
                <a:gd name="T74" fmla="*/ 778 w 1107"/>
                <a:gd name="T75" fmla="*/ 35 h 897"/>
                <a:gd name="T76" fmla="*/ 728 w 1107"/>
                <a:gd name="T77" fmla="*/ 70 h 897"/>
                <a:gd name="T78" fmla="*/ 744 w 1107"/>
                <a:gd name="T79" fmla="*/ 136 h 897"/>
                <a:gd name="T80" fmla="*/ 703 w 1107"/>
                <a:gd name="T81" fmla="*/ 164 h 897"/>
                <a:gd name="T82" fmla="*/ 640 w 1107"/>
                <a:gd name="T83" fmla="*/ 203 h 897"/>
                <a:gd name="T84" fmla="*/ 710 w 1107"/>
                <a:gd name="T85" fmla="*/ 255 h 897"/>
                <a:gd name="T86" fmla="*/ 712 w 1107"/>
                <a:gd name="T87" fmla="*/ 277 h 897"/>
                <a:gd name="T88" fmla="*/ 668 w 1107"/>
                <a:gd name="T89" fmla="*/ 347 h 897"/>
                <a:gd name="T90" fmla="*/ 745 w 1107"/>
                <a:gd name="T91" fmla="*/ 361 h 897"/>
                <a:gd name="T92" fmla="*/ 791 w 1107"/>
                <a:gd name="T93" fmla="*/ 377 h 897"/>
                <a:gd name="T94" fmla="*/ 799 w 1107"/>
                <a:gd name="T95" fmla="*/ 443 h 897"/>
                <a:gd name="T96" fmla="*/ 859 w 1107"/>
                <a:gd name="T97" fmla="*/ 456 h 897"/>
                <a:gd name="T98" fmla="*/ 894 w 1107"/>
                <a:gd name="T99" fmla="*/ 393 h 897"/>
                <a:gd name="T100" fmla="*/ 941 w 1107"/>
                <a:gd name="T101" fmla="*/ 401 h 897"/>
                <a:gd name="T102" fmla="*/ 1018 w 1107"/>
                <a:gd name="T103" fmla="*/ 415 h 897"/>
                <a:gd name="T104" fmla="*/ 825 w 1107"/>
                <a:gd name="T105" fmla="*/ 164 h 897"/>
                <a:gd name="T106" fmla="*/ 803 w 1107"/>
                <a:gd name="T107" fmla="*/ 279 h 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107" h="897">
                  <a:moveTo>
                    <a:pt x="654" y="716"/>
                  </a:moveTo>
                  <a:cubicBezTo>
                    <a:pt x="616" y="670"/>
                    <a:pt x="616" y="670"/>
                    <a:pt x="616" y="670"/>
                  </a:cubicBezTo>
                  <a:cubicBezTo>
                    <a:pt x="593" y="654"/>
                    <a:pt x="603" y="638"/>
                    <a:pt x="600" y="625"/>
                  </a:cubicBezTo>
                  <a:cubicBezTo>
                    <a:pt x="600" y="625"/>
                    <a:pt x="600" y="625"/>
                    <a:pt x="600" y="625"/>
                  </a:cubicBezTo>
                  <a:cubicBezTo>
                    <a:pt x="605" y="617"/>
                    <a:pt x="611" y="609"/>
                    <a:pt x="608" y="596"/>
                  </a:cubicBezTo>
                  <a:cubicBezTo>
                    <a:pt x="618" y="580"/>
                    <a:pt x="623" y="572"/>
                    <a:pt x="649" y="567"/>
                  </a:cubicBezTo>
                  <a:cubicBezTo>
                    <a:pt x="715" y="553"/>
                    <a:pt x="715" y="553"/>
                    <a:pt x="715" y="553"/>
                  </a:cubicBezTo>
                  <a:cubicBezTo>
                    <a:pt x="728" y="550"/>
                    <a:pt x="733" y="542"/>
                    <a:pt x="730" y="529"/>
                  </a:cubicBezTo>
                  <a:cubicBezTo>
                    <a:pt x="727" y="482"/>
                    <a:pt x="727" y="482"/>
                    <a:pt x="727" y="482"/>
                  </a:cubicBezTo>
                  <a:cubicBezTo>
                    <a:pt x="724" y="469"/>
                    <a:pt x="717" y="463"/>
                    <a:pt x="701" y="453"/>
                  </a:cubicBezTo>
                  <a:cubicBezTo>
                    <a:pt x="641" y="459"/>
                    <a:pt x="641" y="459"/>
                    <a:pt x="641" y="459"/>
                  </a:cubicBezTo>
                  <a:cubicBezTo>
                    <a:pt x="620" y="457"/>
                    <a:pt x="604" y="447"/>
                    <a:pt x="601" y="434"/>
                  </a:cubicBezTo>
                  <a:cubicBezTo>
                    <a:pt x="598" y="421"/>
                    <a:pt x="590" y="416"/>
                    <a:pt x="580" y="397"/>
                  </a:cubicBezTo>
                  <a:cubicBezTo>
                    <a:pt x="577" y="384"/>
                    <a:pt x="574" y="371"/>
                    <a:pt x="584" y="355"/>
                  </a:cubicBezTo>
                  <a:cubicBezTo>
                    <a:pt x="628" y="305"/>
                    <a:pt x="628" y="305"/>
                    <a:pt x="628" y="305"/>
                  </a:cubicBezTo>
                  <a:cubicBezTo>
                    <a:pt x="634" y="297"/>
                    <a:pt x="631" y="284"/>
                    <a:pt x="623" y="279"/>
                  </a:cubicBezTo>
                  <a:cubicBezTo>
                    <a:pt x="581" y="240"/>
                    <a:pt x="581" y="240"/>
                    <a:pt x="581" y="240"/>
                  </a:cubicBezTo>
                  <a:cubicBezTo>
                    <a:pt x="573" y="235"/>
                    <a:pt x="560" y="238"/>
                    <a:pt x="547" y="240"/>
                  </a:cubicBezTo>
                  <a:cubicBezTo>
                    <a:pt x="503" y="291"/>
                    <a:pt x="503" y="291"/>
                    <a:pt x="503" y="291"/>
                  </a:cubicBezTo>
                  <a:cubicBezTo>
                    <a:pt x="484" y="302"/>
                    <a:pt x="471" y="304"/>
                    <a:pt x="463" y="299"/>
                  </a:cubicBezTo>
                  <a:cubicBezTo>
                    <a:pt x="456" y="294"/>
                    <a:pt x="435" y="292"/>
                    <a:pt x="427" y="287"/>
                  </a:cubicBezTo>
                  <a:cubicBezTo>
                    <a:pt x="419" y="282"/>
                    <a:pt x="403" y="271"/>
                    <a:pt x="400" y="258"/>
                  </a:cubicBezTo>
                  <a:cubicBezTo>
                    <a:pt x="386" y="193"/>
                    <a:pt x="386" y="193"/>
                    <a:pt x="386" y="193"/>
                  </a:cubicBezTo>
                  <a:cubicBezTo>
                    <a:pt x="384" y="180"/>
                    <a:pt x="368" y="170"/>
                    <a:pt x="368" y="170"/>
                  </a:cubicBezTo>
                  <a:cubicBezTo>
                    <a:pt x="308" y="176"/>
                    <a:pt x="308" y="176"/>
                    <a:pt x="308" y="176"/>
                  </a:cubicBezTo>
                  <a:cubicBezTo>
                    <a:pt x="308" y="176"/>
                    <a:pt x="289" y="187"/>
                    <a:pt x="292" y="200"/>
                  </a:cubicBezTo>
                  <a:cubicBezTo>
                    <a:pt x="285" y="263"/>
                    <a:pt x="285" y="263"/>
                    <a:pt x="285" y="263"/>
                  </a:cubicBezTo>
                  <a:cubicBezTo>
                    <a:pt x="291" y="289"/>
                    <a:pt x="277" y="292"/>
                    <a:pt x="272" y="300"/>
                  </a:cubicBezTo>
                  <a:cubicBezTo>
                    <a:pt x="272" y="300"/>
                    <a:pt x="272" y="300"/>
                    <a:pt x="267" y="308"/>
                  </a:cubicBezTo>
                  <a:cubicBezTo>
                    <a:pt x="259" y="302"/>
                    <a:pt x="246" y="305"/>
                    <a:pt x="241" y="313"/>
                  </a:cubicBezTo>
                  <a:cubicBezTo>
                    <a:pt x="236" y="321"/>
                    <a:pt x="236" y="321"/>
                    <a:pt x="236" y="321"/>
                  </a:cubicBezTo>
                  <a:cubicBezTo>
                    <a:pt x="223" y="324"/>
                    <a:pt x="210" y="327"/>
                    <a:pt x="194" y="317"/>
                  </a:cubicBezTo>
                  <a:cubicBezTo>
                    <a:pt x="139" y="281"/>
                    <a:pt x="139" y="281"/>
                    <a:pt x="139" y="281"/>
                  </a:cubicBezTo>
                  <a:cubicBezTo>
                    <a:pt x="131" y="276"/>
                    <a:pt x="110" y="273"/>
                    <a:pt x="104" y="281"/>
                  </a:cubicBezTo>
                  <a:cubicBezTo>
                    <a:pt x="79" y="321"/>
                    <a:pt x="79" y="321"/>
                    <a:pt x="79" y="321"/>
                  </a:cubicBezTo>
                  <a:cubicBezTo>
                    <a:pt x="66" y="324"/>
                    <a:pt x="68" y="337"/>
                    <a:pt x="79" y="355"/>
                  </a:cubicBezTo>
                  <a:cubicBezTo>
                    <a:pt x="121" y="394"/>
                    <a:pt x="121" y="394"/>
                    <a:pt x="121" y="394"/>
                  </a:cubicBezTo>
                  <a:cubicBezTo>
                    <a:pt x="140" y="417"/>
                    <a:pt x="135" y="425"/>
                    <a:pt x="132" y="446"/>
                  </a:cubicBezTo>
                  <a:cubicBezTo>
                    <a:pt x="132" y="446"/>
                    <a:pt x="132" y="446"/>
                    <a:pt x="132" y="446"/>
                  </a:cubicBezTo>
                  <a:cubicBezTo>
                    <a:pt x="127" y="454"/>
                    <a:pt x="122" y="462"/>
                    <a:pt x="117" y="470"/>
                  </a:cubicBezTo>
                  <a:cubicBezTo>
                    <a:pt x="117" y="470"/>
                    <a:pt x="117" y="470"/>
                    <a:pt x="117" y="470"/>
                  </a:cubicBezTo>
                  <a:cubicBezTo>
                    <a:pt x="120" y="483"/>
                    <a:pt x="109" y="499"/>
                    <a:pt x="83" y="505"/>
                  </a:cubicBezTo>
                  <a:cubicBezTo>
                    <a:pt x="23" y="511"/>
                    <a:pt x="23" y="511"/>
                    <a:pt x="23" y="511"/>
                  </a:cubicBezTo>
                  <a:cubicBezTo>
                    <a:pt x="10" y="514"/>
                    <a:pt x="0" y="529"/>
                    <a:pt x="2" y="543"/>
                  </a:cubicBezTo>
                  <a:cubicBezTo>
                    <a:pt x="5" y="590"/>
                    <a:pt x="5" y="590"/>
                    <a:pt x="5" y="590"/>
                  </a:cubicBezTo>
                  <a:cubicBezTo>
                    <a:pt x="8" y="603"/>
                    <a:pt x="16" y="608"/>
                    <a:pt x="37" y="610"/>
                  </a:cubicBezTo>
                  <a:cubicBezTo>
                    <a:pt x="92" y="612"/>
                    <a:pt x="92" y="612"/>
                    <a:pt x="92" y="612"/>
                  </a:cubicBezTo>
                  <a:cubicBezTo>
                    <a:pt x="113" y="614"/>
                    <a:pt x="129" y="625"/>
                    <a:pt x="132" y="638"/>
                  </a:cubicBezTo>
                  <a:cubicBezTo>
                    <a:pt x="132" y="638"/>
                    <a:pt x="132" y="638"/>
                    <a:pt x="132" y="638"/>
                  </a:cubicBezTo>
                  <a:cubicBezTo>
                    <a:pt x="140" y="643"/>
                    <a:pt x="142" y="656"/>
                    <a:pt x="150" y="661"/>
                  </a:cubicBezTo>
                  <a:cubicBezTo>
                    <a:pt x="145" y="669"/>
                    <a:pt x="145" y="669"/>
                    <a:pt x="145" y="669"/>
                  </a:cubicBezTo>
                  <a:cubicBezTo>
                    <a:pt x="153" y="674"/>
                    <a:pt x="156" y="687"/>
                    <a:pt x="140" y="711"/>
                  </a:cubicBezTo>
                  <a:cubicBezTo>
                    <a:pt x="109" y="759"/>
                    <a:pt x="109" y="759"/>
                    <a:pt x="109" y="759"/>
                  </a:cubicBezTo>
                  <a:cubicBezTo>
                    <a:pt x="99" y="775"/>
                    <a:pt x="102" y="788"/>
                    <a:pt x="110" y="793"/>
                  </a:cubicBezTo>
                  <a:cubicBezTo>
                    <a:pt x="152" y="832"/>
                    <a:pt x="152" y="832"/>
                    <a:pt x="152" y="832"/>
                  </a:cubicBezTo>
                  <a:cubicBezTo>
                    <a:pt x="160" y="837"/>
                    <a:pt x="173" y="834"/>
                    <a:pt x="178" y="826"/>
                  </a:cubicBezTo>
                  <a:cubicBezTo>
                    <a:pt x="230" y="781"/>
                    <a:pt x="230" y="781"/>
                    <a:pt x="230" y="781"/>
                  </a:cubicBezTo>
                  <a:cubicBezTo>
                    <a:pt x="248" y="770"/>
                    <a:pt x="261" y="767"/>
                    <a:pt x="269" y="772"/>
                  </a:cubicBezTo>
                  <a:cubicBezTo>
                    <a:pt x="269" y="772"/>
                    <a:pt x="269" y="772"/>
                    <a:pt x="269" y="772"/>
                  </a:cubicBezTo>
                  <a:cubicBezTo>
                    <a:pt x="282" y="769"/>
                    <a:pt x="298" y="779"/>
                    <a:pt x="306" y="785"/>
                  </a:cubicBezTo>
                  <a:cubicBezTo>
                    <a:pt x="306" y="785"/>
                    <a:pt x="306" y="785"/>
                    <a:pt x="306" y="785"/>
                  </a:cubicBezTo>
                  <a:cubicBezTo>
                    <a:pt x="319" y="782"/>
                    <a:pt x="327" y="787"/>
                    <a:pt x="332" y="813"/>
                  </a:cubicBezTo>
                  <a:cubicBezTo>
                    <a:pt x="346" y="878"/>
                    <a:pt x="346" y="878"/>
                    <a:pt x="346" y="878"/>
                  </a:cubicBezTo>
                  <a:cubicBezTo>
                    <a:pt x="349" y="892"/>
                    <a:pt x="357" y="897"/>
                    <a:pt x="370" y="894"/>
                  </a:cubicBezTo>
                  <a:cubicBezTo>
                    <a:pt x="425" y="896"/>
                    <a:pt x="425" y="896"/>
                    <a:pt x="425" y="896"/>
                  </a:cubicBezTo>
                  <a:cubicBezTo>
                    <a:pt x="430" y="888"/>
                    <a:pt x="443" y="885"/>
                    <a:pt x="440" y="872"/>
                  </a:cubicBezTo>
                  <a:cubicBezTo>
                    <a:pt x="440" y="804"/>
                    <a:pt x="440" y="804"/>
                    <a:pt x="440" y="804"/>
                  </a:cubicBezTo>
                  <a:cubicBezTo>
                    <a:pt x="442" y="783"/>
                    <a:pt x="460" y="772"/>
                    <a:pt x="466" y="764"/>
                  </a:cubicBezTo>
                  <a:cubicBezTo>
                    <a:pt x="466" y="764"/>
                    <a:pt x="466" y="764"/>
                    <a:pt x="466" y="764"/>
                  </a:cubicBezTo>
                  <a:cubicBezTo>
                    <a:pt x="479" y="761"/>
                    <a:pt x="492" y="758"/>
                    <a:pt x="497" y="750"/>
                  </a:cubicBezTo>
                  <a:cubicBezTo>
                    <a:pt x="497" y="750"/>
                    <a:pt x="497" y="750"/>
                    <a:pt x="497" y="750"/>
                  </a:cubicBezTo>
                  <a:cubicBezTo>
                    <a:pt x="510" y="747"/>
                    <a:pt x="523" y="745"/>
                    <a:pt x="539" y="755"/>
                  </a:cubicBezTo>
                  <a:cubicBezTo>
                    <a:pt x="594" y="791"/>
                    <a:pt x="594" y="791"/>
                    <a:pt x="594" y="791"/>
                  </a:cubicBezTo>
                  <a:cubicBezTo>
                    <a:pt x="602" y="796"/>
                    <a:pt x="623" y="798"/>
                    <a:pt x="628" y="790"/>
                  </a:cubicBezTo>
                  <a:cubicBezTo>
                    <a:pt x="659" y="743"/>
                    <a:pt x="659" y="743"/>
                    <a:pt x="659" y="743"/>
                  </a:cubicBezTo>
                  <a:cubicBezTo>
                    <a:pt x="659" y="743"/>
                    <a:pt x="669" y="727"/>
                    <a:pt x="654" y="716"/>
                  </a:cubicBezTo>
                  <a:close/>
                  <a:moveTo>
                    <a:pt x="281" y="633"/>
                  </a:moveTo>
                  <a:cubicBezTo>
                    <a:pt x="223" y="584"/>
                    <a:pt x="219" y="502"/>
                    <a:pt x="263" y="452"/>
                  </a:cubicBezTo>
                  <a:cubicBezTo>
                    <a:pt x="313" y="393"/>
                    <a:pt x="399" y="382"/>
                    <a:pt x="457" y="431"/>
                  </a:cubicBezTo>
                  <a:cubicBezTo>
                    <a:pt x="507" y="475"/>
                    <a:pt x="518" y="561"/>
                    <a:pt x="469" y="619"/>
                  </a:cubicBezTo>
                  <a:cubicBezTo>
                    <a:pt x="420" y="678"/>
                    <a:pt x="339" y="682"/>
                    <a:pt x="281" y="633"/>
                  </a:cubicBezTo>
                  <a:close/>
                  <a:moveTo>
                    <a:pt x="1019" y="398"/>
                  </a:moveTo>
                  <a:cubicBezTo>
                    <a:pt x="1004" y="362"/>
                    <a:pt x="1004" y="362"/>
                    <a:pt x="1004" y="362"/>
                  </a:cubicBezTo>
                  <a:cubicBezTo>
                    <a:pt x="992" y="348"/>
                    <a:pt x="1002" y="340"/>
                    <a:pt x="1002" y="332"/>
                  </a:cubicBezTo>
                  <a:cubicBezTo>
                    <a:pt x="1002" y="332"/>
                    <a:pt x="1002" y="332"/>
                    <a:pt x="1002" y="332"/>
                  </a:cubicBezTo>
                  <a:cubicBezTo>
                    <a:pt x="1007" y="328"/>
                    <a:pt x="1011" y="324"/>
                    <a:pt x="1012" y="315"/>
                  </a:cubicBezTo>
                  <a:cubicBezTo>
                    <a:pt x="1021" y="307"/>
                    <a:pt x="1026" y="303"/>
                    <a:pt x="1043" y="304"/>
                  </a:cubicBezTo>
                  <a:cubicBezTo>
                    <a:pt x="1086" y="307"/>
                    <a:pt x="1086" y="307"/>
                    <a:pt x="1086" y="307"/>
                  </a:cubicBezTo>
                  <a:cubicBezTo>
                    <a:pt x="1095" y="308"/>
                    <a:pt x="1099" y="304"/>
                    <a:pt x="1100" y="295"/>
                  </a:cubicBezTo>
                  <a:cubicBezTo>
                    <a:pt x="1107" y="266"/>
                    <a:pt x="1107" y="266"/>
                    <a:pt x="1107" y="266"/>
                  </a:cubicBezTo>
                  <a:cubicBezTo>
                    <a:pt x="1107" y="257"/>
                    <a:pt x="1103" y="252"/>
                    <a:pt x="1095" y="243"/>
                  </a:cubicBezTo>
                  <a:cubicBezTo>
                    <a:pt x="1057" y="236"/>
                    <a:pt x="1057" y="236"/>
                    <a:pt x="1057" y="236"/>
                  </a:cubicBezTo>
                  <a:cubicBezTo>
                    <a:pt x="1044" y="231"/>
                    <a:pt x="1036" y="222"/>
                    <a:pt x="1037" y="213"/>
                  </a:cubicBezTo>
                  <a:cubicBezTo>
                    <a:pt x="1038" y="205"/>
                    <a:pt x="1034" y="200"/>
                    <a:pt x="1030" y="187"/>
                  </a:cubicBezTo>
                  <a:cubicBezTo>
                    <a:pt x="1031" y="178"/>
                    <a:pt x="1032" y="170"/>
                    <a:pt x="1041" y="162"/>
                  </a:cubicBezTo>
                  <a:cubicBezTo>
                    <a:pt x="1077" y="138"/>
                    <a:pt x="1077" y="138"/>
                    <a:pt x="1077" y="138"/>
                  </a:cubicBezTo>
                  <a:cubicBezTo>
                    <a:pt x="1082" y="134"/>
                    <a:pt x="1083" y="126"/>
                    <a:pt x="1079" y="121"/>
                  </a:cubicBezTo>
                  <a:cubicBezTo>
                    <a:pt x="1059" y="89"/>
                    <a:pt x="1059" y="89"/>
                    <a:pt x="1059" y="89"/>
                  </a:cubicBezTo>
                  <a:cubicBezTo>
                    <a:pt x="1055" y="85"/>
                    <a:pt x="1047" y="84"/>
                    <a:pt x="1038" y="83"/>
                  </a:cubicBezTo>
                  <a:cubicBezTo>
                    <a:pt x="1002" y="107"/>
                    <a:pt x="1002" y="107"/>
                    <a:pt x="1002" y="107"/>
                  </a:cubicBezTo>
                  <a:cubicBezTo>
                    <a:pt x="989" y="110"/>
                    <a:pt x="980" y="110"/>
                    <a:pt x="976" y="105"/>
                  </a:cubicBezTo>
                  <a:cubicBezTo>
                    <a:pt x="972" y="100"/>
                    <a:pt x="960" y="95"/>
                    <a:pt x="956" y="91"/>
                  </a:cubicBezTo>
                  <a:cubicBezTo>
                    <a:pt x="952" y="86"/>
                    <a:pt x="944" y="77"/>
                    <a:pt x="944" y="68"/>
                  </a:cubicBezTo>
                  <a:cubicBezTo>
                    <a:pt x="948" y="25"/>
                    <a:pt x="948" y="25"/>
                    <a:pt x="948" y="25"/>
                  </a:cubicBezTo>
                  <a:cubicBezTo>
                    <a:pt x="948" y="17"/>
                    <a:pt x="940" y="7"/>
                    <a:pt x="940" y="7"/>
                  </a:cubicBezTo>
                  <a:cubicBezTo>
                    <a:pt x="902" y="0"/>
                    <a:pt x="902" y="0"/>
                    <a:pt x="902" y="0"/>
                  </a:cubicBezTo>
                  <a:cubicBezTo>
                    <a:pt x="902" y="0"/>
                    <a:pt x="889" y="4"/>
                    <a:pt x="888" y="12"/>
                  </a:cubicBezTo>
                  <a:cubicBezTo>
                    <a:pt x="872" y="50"/>
                    <a:pt x="872" y="50"/>
                    <a:pt x="872" y="50"/>
                  </a:cubicBezTo>
                  <a:cubicBezTo>
                    <a:pt x="871" y="67"/>
                    <a:pt x="862" y="67"/>
                    <a:pt x="858" y="71"/>
                  </a:cubicBezTo>
                  <a:cubicBezTo>
                    <a:pt x="858" y="71"/>
                    <a:pt x="858" y="71"/>
                    <a:pt x="853" y="75"/>
                  </a:cubicBezTo>
                  <a:cubicBezTo>
                    <a:pt x="849" y="70"/>
                    <a:pt x="840" y="70"/>
                    <a:pt x="836" y="74"/>
                  </a:cubicBezTo>
                  <a:cubicBezTo>
                    <a:pt x="831" y="78"/>
                    <a:pt x="831" y="78"/>
                    <a:pt x="831" y="78"/>
                  </a:cubicBezTo>
                  <a:cubicBezTo>
                    <a:pt x="822" y="77"/>
                    <a:pt x="814" y="76"/>
                    <a:pt x="806" y="67"/>
                  </a:cubicBezTo>
                  <a:cubicBezTo>
                    <a:pt x="778" y="35"/>
                    <a:pt x="778" y="35"/>
                    <a:pt x="778" y="35"/>
                  </a:cubicBezTo>
                  <a:cubicBezTo>
                    <a:pt x="774" y="30"/>
                    <a:pt x="762" y="25"/>
                    <a:pt x="757" y="29"/>
                  </a:cubicBezTo>
                  <a:cubicBezTo>
                    <a:pt x="734" y="49"/>
                    <a:pt x="734" y="49"/>
                    <a:pt x="734" y="49"/>
                  </a:cubicBezTo>
                  <a:cubicBezTo>
                    <a:pt x="725" y="49"/>
                    <a:pt x="725" y="57"/>
                    <a:pt x="728" y="70"/>
                  </a:cubicBezTo>
                  <a:cubicBezTo>
                    <a:pt x="747" y="102"/>
                    <a:pt x="747" y="102"/>
                    <a:pt x="747" y="102"/>
                  </a:cubicBezTo>
                  <a:cubicBezTo>
                    <a:pt x="754" y="120"/>
                    <a:pt x="750" y="124"/>
                    <a:pt x="744" y="136"/>
                  </a:cubicBezTo>
                  <a:cubicBezTo>
                    <a:pt x="744" y="136"/>
                    <a:pt x="744" y="136"/>
                    <a:pt x="744" y="136"/>
                  </a:cubicBezTo>
                  <a:cubicBezTo>
                    <a:pt x="740" y="140"/>
                    <a:pt x="735" y="144"/>
                    <a:pt x="731" y="148"/>
                  </a:cubicBezTo>
                  <a:cubicBezTo>
                    <a:pt x="731" y="148"/>
                    <a:pt x="731" y="148"/>
                    <a:pt x="731" y="148"/>
                  </a:cubicBezTo>
                  <a:cubicBezTo>
                    <a:pt x="730" y="157"/>
                    <a:pt x="721" y="165"/>
                    <a:pt x="703" y="164"/>
                  </a:cubicBezTo>
                  <a:cubicBezTo>
                    <a:pt x="665" y="157"/>
                    <a:pt x="665" y="157"/>
                    <a:pt x="665" y="157"/>
                  </a:cubicBezTo>
                  <a:cubicBezTo>
                    <a:pt x="656" y="156"/>
                    <a:pt x="647" y="164"/>
                    <a:pt x="647" y="173"/>
                  </a:cubicBezTo>
                  <a:cubicBezTo>
                    <a:pt x="640" y="203"/>
                    <a:pt x="640" y="203"/>
                    <a:pt x="640" y="203"/>
                  </a:cubicBezTo>
                  <a:cubicBezTo>
                    <a:pt x="639" y="211"/>
                    <a:pt x="643" y="216"/>
                    <a:pt x="656" y="221"/>
                  </a:cubicBezTo>
                  <a:cubicBezTo>
                    <a:pt x="690" y="232"/>
                    <a:pt x="690" y="232"/>
                    <a:pt x="690" y="232"/>
                  </a:cubicBezTo>
                  <a:cubicBezTo>
                    <a:pt x="702" y="237"/>
                    <a:pt x="710" y="246"/>
                    <a:pt x="710" y="255"/>
                  </a:cubicBezTo>
                  <a:cubicBezTo>
                    <a:pt x="710" y="255"/>
                    <a:pt x="710" y="255"/>
                    <a:pt x="710" y="255"/>
                  </a:cubicBezTo>
                  <a:cubicBezTo>
                    <a:pt x="714" y="260"/>
                    <a:pt x="713" y="268"/>
                    <a:pt x="717" y="273"/>
                  </a:cubicBezTo>
                  <a:cubicBezTo>
                    <a:pt x="712" y="277"/>
                    <a:pt x="712" y="277"/>
                    <a:pt x="712" y="277"/>
                  </a:cubicBezTo>
                  <a:cubicBezTo>
                    <a:pt x="716" y="281"/>
                    <a:pt x="716" y="290"/>
                    <a:pt x="702" y="302"/>
                  </a:cubicBezTo>
                  <a:cubicBezTo>
                    <a:pt x="674" y="326"/>
                    <a:pt x="674" y="326"/>
                    <a:pt x="674" y="326"/>
                  </a:cubicBezTo>
                  <a:cubicBezTo>
                    <a:pt x="665" y="334"/>
                    <a:pt x="664" y="343"/>
                    <a:pt x="668" y="347"/>
                  </a:cubicBezTo>
                  <a:cubicBezTo>
                    <a:pt x="687" y="379"/>
                    <a:pt x="687" y="379"/>
                    <a:pt x="687" y="379"/>
                  </a:cubicBezTo>
                  <a:cubicBezTo>
                    <a:pt x="691" y="383"/>
                    <a:pt x="700" y="384"/>
                    <a:pt x="704" y="380"/>
                  </a:cubicBezTo>
                  <a:cubicBezTo>
                    <a:pt x="745" y="361"/>
                    <a:pt x="745" y="361"/>
                    <a:pt x="745" y="361"/>
                  </a:cubicBezTo>
                  <a:cubicBezTo>
                    <a:pt x="758" y="358"/>
                    <a:pt x="767" y="358"/>
                    <a:pt x="771" y="363"/>
                  </a:cubicBezTo>
                  <a:cubicBezTo>
                    <a:pt x="771" y="363"/>
                    <a:pt x="771" y="363"/>
                    <a:pt x="771" y="363"/>
                  </a:cubicBezTo>
                  <a:cubicBezTo>
                    <a:pt x="779" y="364"/>
                    <a:pt x="787" y="373"/>
                    <a:pt x="791" y="377"/>
                  </a:cubicBezTo>
                  <a:cubicBezTo>
                    <a:pt x="791" y="377"/>
                    <a:pt x="791" y="377"/>
                    <a:pt x="791" y="377"/>
                  </a:cubicBezTo>
                  <a:cubicBezTo>
                    <a:pt x="800" y="378"/>
                    <a:pt x="804" y="383"/>
                    <a:pt x="802" y="400"/>
                  </a:cubicBezTo>
                  <a:cubicBezTo>
                    <a:pt x="799" y="443"/>
                    <a:pt x="799" y="443"/>
                    <a:pt x="799" y="443"/>
                  </a:cubicBezTo>
                  <a:cubicBezTo>
                    <a:pt x="798" y="451"/>
                    <a:pt x="802" y="456"/>
                    <a:pt x="811" y="457"/>
                  </a:cubicBezTo>
                  <a:cubicBezTo>
                    <a:pt x="845" y="468"/>
                    <a:pt x="845" y="468"/>
                    <a:pt x="845" y="468"/>
                  </a:cubicBezTo>
                  <a:cubicBezTo>
                    <a:pt x="849" y="464"/>
                    <a:pt x="858" y="464"/>
                    <a:pt x="859" y="456"/>
                  </a:cubicBezTo>
                  <a:cubicBezTo>
                    <a:pt x="871" y="413"/>
                    <a:pt x="871" y="413"/>
                    <a:pt x="871" y="413"/>
                  </a:cubicBezTo>
                  <a:cubicBezTo>
                    <a:pt x="876" y="401"/>
                    <a:pt x="889" y="397"/>
                    <a:pt x="894" y="393"/>
                  </a:cubicBezTo>
                  <a:cubicBezTo>
                    <a:pt x="894" y="393"/>
                    <a:pt x="894" y="393"/>
                    <a:pt x="894" y="393"/>
                  </a:cubicBezTo>
                  <a:cubicBezTo>
                    <a:pt x="902" y="394"/>
                    <a:pt x="911" y="395"/>
                    <a:pt x="916" y="391"/>
                  </a:cubicBezTo>
                  <a:cubicBezTo>
                    <a:pt x="916" y="391"/>
                    <a:pt x="916" y="391"/>
                    <a:pt x="916" y="391"/>
                  </a:cubicBezTo>
                  <a:cubicBezTo>
                    <a:pt x="924" y="391"/>
                    <a:pt x="933" y="392"/>
                    <a:pt x="941" y="401"/>
                  </a:cubicBezTo>
                  <a:cubicBezTo>
                    <a:pt x="969" y="433"/>
                    <a:pt x="969" y="433"/>
                    <a:pt x="969" y="433"/>
                  </a:cubicBezTo>
                  <a:cubicBezTo>
                    <a:pt x="973" y="438"/>
                    <a:pt x="985" y="443"/>
                    <a:pt x="990" y="439"/>
                  </a:cubicBezTo>
                  <a:cubicBezTo>
                    <a:pt x="1018" y="415"/>
                    <a:pt x="1018" y="415"/>
                    <a:pt x="1018" y="415"/>
                  </a:cubicBezTo>
                  <a:cubicBezTo>
                    <a:pt x="1018" y="415"/>
                    <a:pt x="1027" y="407"/>
                    <a:pt x="1019" y="398"/>
                  </a:cubicBezTo>
                  <a:close/>
                  <a:moveTo>
                    <a:pt x="803" y="279"/>
                  </a:moveTo>
                  <a:cubicBezTo>
                    <a:pt x="776" y="238"/>
                    <a:pt x="788" y="187"/>
                    <a:pt x="825" y="164"/>
                  </a:cubicBezTo>
                  <a:cubicBezTo>
                    <a:pt x="866" y="136"/>
                    <a:pt x="921" y="144"/>
                    <a:pt x="948" y="185"/>
                  </a:cubicBezTo>
                  <a:cubicBezTo>
                    <a:pt x="972" y="221"/>
                    <a:pt x="963" y="277"/>
                    <a:pt x="922" y="304"/>
                  </a:cubicBezTo>
                  <a:cubicBezTo>
                    <a:pt x="881" y="332"/>
                    <a:pt x="830" y="320"/>
                    <a:pt x="803" y="279"/>
                  </a:cubicBezTo>
                  <a:close/>
                </a:path>
              </a:pathLst>
            </a:custGeom>
            <a:solidFill>
              <a:schemeClr val="tx1"/>
            </a:solidFill>
            <a:ln>
              <a:noFill/>
            </a:ln>
          </p:spPr>
          <p:txBody>
            <a:bodyPr vert="horz" wrap="square" lIns="68574" tIns="34287" rIns="68574" bIns="34287"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17346"/>
                </a:solidFill>
                <a:effectLst/>
                <a:uLnTx/>
                <a:uFillTx/>
                <a:latin typeface="Segoe UI"/>
                <a:ea typeface="+mn-ea"/>
                <a:cs typeface="+mn-cs"/>
              </a:endParaRPr>
            </a:p>
          </p:txBody>
        </p:sp>
        <p:sp>
          <p:nvSpPr>
            <p:cNvPr id="104" name="Freeform 103"/>
            <p:cNvSpPr>
              <a:spLocks noChangeAspect="1"/>
            </p:cNvSpPr>
            <p:nvPr/>
          </p:nvSpPr>
          <p:spPr bwMode="black">
            <a:xfrm>
              <a:off x="776985" y="4213905"/>
              <a:ext cx="342871" cy="335728"/>
            </a:xfrm>
            <a:custGeom>
              <a:avLst/>
              <a:gdLst>
                <a:gd name="connsiteX0" fmla="*/ 3713863 w 4893730"/>
                <a:gd name="connsiteY0" fmla="*/ 2130808 h 4791777"/>
                <a:gd name="connsiteX1" fmla="*/ 4426142 w 4893730"/>
                <a:gd name="connsiteY1" fmla="*/ 2130808 h 4791777"/>
                <a:gd name="connsiteX2" fmla="*/ 4598071 w 4893730"/>
                <a:gd name="connsiteY2" fmla="*/ 2301547 h 4791777"/>
                <a:gd name="connsiteX3" fmla="*/ 4598071 w 4893730"/>
                <a:gd name="connsiteY3" fmla="*/ 3886978 h 4791777"/>
                <a:gd name="connsiteX4" fmla="*/ 4426142 w 4893730"/>
                <a:gd name="connsiteY4" fmla="*/ 4057717 h 4791777"/>
                <a:gd name="connsiteX5" fmla="*/ 3713863 w 4893730"/>
                <a:gd name="connsiteY5" fmla="*/ 4057717 h 4791777"/>
                <a:gd name="connsiteX6" fmla="*/ 3517372 w 4893730"/>
                <a:gd name="connsiteY6" fmla="*/ 3886978 h 4791777"/>
                <a:gd name="connsiteX7" fmla="*/ 3517372 w 4893730"/>
                <a:gd name="connsiteY7" fmla="*/ 2301547 h 4791777"/>
                <a:gd name="connsiteX8" fmla="*/ 3713863 w 4893730"/>
                <a:gd name="connsiteY8" fmla="*/ 2130808 h 4791777"/>
                <a:gd name="connsiteX9" fmla="*/ 904368 w 4893730"/>
                <a:gd name="connsiteY9" fmla="*/ 1223432 h 4791777"/>
                <a:gd name="connsiteX10" fmla="*/ 1609930 w 4893730"/>
                <a:gd name="connsiteY10" fmla="*/ 1223432 h 4791777"/>
                <a:gd name="connsiteX11" fmla="*/ 1804567 w 4893730"/>
                <a:gd name="connsiteY11" fmla="*/ 1394467 h 4791777"/>
                <a:gd name="connsiteX12" fmla="*/ 1804567 w 4893730"/>
                <a:gd name="connsiteY12" fmla="*/ 3886683 h 4791777"/>
                <a:gd name="connsiteX13" fmla="*/ 1609930 w 4893730"/>
                <a:gd name="connsiteY13" fmla="*/ 4057717 h 4791777"/>
                <a:gd name="connsiteX14" fmla="*/ 904368 w 4893730"/>
                <a:gd name="connsiteY14" fmla="*/ 4057717 h 4791777"/>
                <a:gd name="connsiteX15" fmla="*/ 734060 w 4893730"/>
                <a:gd name="connsiteY15" fmla="*/ 3886683 h 4791777"/>
                <a:gd name="connsiteX16" fmla="*/ 734060 w 4893730"/>
                <a:gd name="connsiteY16" fmla="*/ 1394467 h 4791777"/>
                <a:gd name="connsiteX17" fmla="*/ 904368 w 4893730"/>
                <a:gd name="connsiteY17" fmla="*/ 1223432 h 4791777"/>
                <a:gd name="connsiteX18" fmla="*/ 2325453 w 4893730"/>
                <a:gd name="connsiteY18" fmla="*/ 316050 h 4791777"/>
                <a:gd name="connsiteX19" fmla="*/ 3031014 w 4893730"/>
                <a:gd name="connsiteY19" fmla="*/ 316050 h 4791777"/>
                <a:gd name="connsiteX20" fmla="*/ 3201322 w 4893730"/>
                <a:gd name="connsiteY20" fmla="*/ 487238 h 4791777"/>
                <a:gd name="connsiteX21" fmla="*/ 3201322 w 4893730"/>
                <a:gd name="connsiteY21" fmla="*/ 3886530 h 4791777"/>
                <a:gd name="connsiteX22" fmla="*/ 3031014 w 4893730"/>
                <a:gd name="connsiteY22" fmla="*/ 4057717 h 4791777"/>
                <a:gd name="connsiteX23" fmla="*/ 2325453 w 4893730"/>
                <a:gd name="connsiteY23" fmla="*/ 4057717 h 4791777"/>
                <a:gd name="connsiteX24" fmla="*/ 2130815 w 4893730"/>
                <a:gd name="connsiteY24" fmla="*/ 3886530 h 4791777"/>
                <a:gd name="connsiteX25" fmla="*/ 2130815 w 4893730"/>
                <a:gd name="connsiteY25" fmla="*/ 487238 h 4791777"/>
                <a:gd name="connsiteX26" fmla="*/ 2325453 w 4893730"/>
                <a:gd name="connsiteY26" fmla="*/ 316050 h 4791777"/>
                <a:gd name="connsiteX27" fmla="*/ 269155 w 4893730"/>
                <a:gd name="connsiteY27" fmla="*/ 0 h 4791777"/>
                <a:gd name="connsiteX28" fmla="*/ 538311 w 4893730"/>
                <a:gd name="connsiteY28" fmla="*/ 268927 h 4791777"/>
                <a:gd name="connsiteX29" fmla="*/ 538311 w 4893730"/>
                <a:gd name="connsiteY29" fmla="*/ 4253925 h 4791777"/>
                <a:gd name="connsiteX30" fmla="*/ 4624575 w 4893730"/>
                <a:gd name="connsiteY30" fmla="*/ 4253925 h 4791777"/>
                <a:gd name="connsiteX31" fmla="*/ 4893730 w 4893730"/>
                <a:gd name="connsiteY31" fmla="*/ 4522851 h 4791777"/>
                <a:gd name="connsiteX32" fmla="*/ 4624575 w 4893730"/>
                <a:gd name="connsiteY32" fmla="*/ 4791777 h 4791777"/>
                <a:gd name="connsiteX33" fmla="*/ 269155 w 4893730"/>
                <a:gd name="connsiteY33" fmla="*/ 4791777 h 4791777"/>
                <a:gd name="connsiteX34" fmla="*/ 0 w 4893730"/>
                <a:gd name="connsiteY34" fmla="*/ 4522851 h 4791777"/>
                <a:gd name="connsiteX35" fmla="*/ 0 w 4893730"/>
                <a:gd name="connsiteY35" fmla="*/ 268927 h 4791777"/>
                <a:gd name="connsiteX36" fmla="*/ 269155 w 4893730"/>
                <a:gd name="connsiteY36" fmla="*/ 0 h 4791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4893730" h="4791777">
                  <a:moveTo>
                    <a:pt x="3713863" y="2130808"/>
                  </a:moveTo>
                  <a:cubicBezTo>
                    <a:pt x="3713863" y="2130808"/>
                    <a:pt x="3713863" y="2130808"/>
                    <a:pt x="4426142" y="2130808"/>
                  </a:cubicBezTo>
                  <a:cubicBezTo>
                    <a:pt x="4524387" y="2130808"/>
                    <a:pt x="4598071" y="2203982"/>
                    <a:pt x="4598071" y="2301547"/>
                  </a:cubicBezTo>
                  <a:cubicBezTo>
                    <a:pt x="4598071" y="2301547"/>
                    <a:pt x="4598071" y="2301547"/>
                    <a:pt x="4598071" y="3886978"/>
                  </a:cubicBezTo>
                  <a:cubicBezTo>
                    <a:pt x="4598071" y="3984543"/>
                    <a:pt x="4524387" y="4057717"/>
                    <a:pt x="4426142" y="4057717"/>
                  </a:cubicBezTo>
                  <a:cubicBezTo>
                    <a:pt x="4426142" y="4057717"/>
                    <a:pt x="4426142" y="4057717"/>
                    <a:pt x="3713863" y="4057717"/>
                  </a:cubicBezTo>
                  <a:cubicBezTo>
                    <a:pt x="3615618" y="4057717"/>
                    <a:pt x="3517372" y="3984543"/>
                    <a:pt x="3517372" y="3886978"/>
                  </a:cubicBezTo>
                  <a:cubicBezTo>
                    <a:pt x="3517372" y="3886978"/>
                    <a:pt x="3517372" y="3886978"/>
                    <a:pt x="3517372" y="2301547"/>
                  </a:cubicBezTo>
                  <a:cubicBezTo>
                    <a:pt x="3517372" y="2203982"/>
                    <a:pt x="3615618" y="2130808"/>
                    <a:pt x="3713863" y="2130808"/>
                  </a:cubicBezTo>
                  <a:close/>
                  <a:moveTo>
                    <a:pt x="904368" y="1223432"/>
                  </a:moveTo>
                  <a:cubicBezTo>
                    <a:pt x="904368" y="1223432"/>
                    <a:pt x="904368" y="1223432"/>
                    <a:pt x="1609930" y="1223432"/>
                  </a:cubicBezTo>
                  <a:cubicBezTo>
                    <a:pt x="1731578" y="1223432"/>
                    <a:pt x="1804567" y="1296733"/>
                    <a:pt x="1804567" y="1394467"/>
                  </a:cubicBezTo>
                  <a:cubicBezTo>
                    <a:pt x="1804567" y="1394467"/>
                    <a:pt x="1804567" y="1394467"/>
                    <a:pt x="1804567" y="3886683"/>
                  </a:cubicBezTo>
                  <a:cubicBezTo>
                    <a:pt x="1804567" y="3984417"/>
                    <a:pt x="1731578" y="4057717"/>
                    <a:pt x="1609930" y="4057717"/>
                  </a:cubicBezTo>
                  <a:cubicBezTo>
                    <a:pt x="1609930" y="4057717"/>
                    <a:pt x="1609930" y="4057717"/>
                    <a:pt x="904368" y="4057717"/>
                  </a:cubicBezTo>
                  <a:cubicBezTo>
                    <a:pt x="807049" y="4057717"/>
                    <a:pt x="734060" y="3984417"/>
                    <a:pt x="734060" y="3886683"/>
                  </a:cubicBezTo>
                  <a:cubicBezTo>
                    <a:pt x="734060" y="3886683"/>
                    <a:pt x="734060" y="3886683"/>
                    <a:pt x="734060" y="1394467"/>
                  </a:cubicBezTo>
                  <a:cubicBezTo>
                    <a:pt x="734060" y="1296733"/>
                    <a:pt x="807049" y="1223432"/>
                    <a:pt x="904368" y="1223432"/>
                  </a:cubicBezTo>
                  <a:close/>
                  <a:moveTo>
                    <a:pt x="2325453" y="316050"/>
                  </a:moveTo>
                  <a:cubicBezTo>
                    <a:pt x="2325453" y="316050"/>
                    <a:pt x="2325453" y="316050"/>
                    <a:pt x="3031014" y="316050"/>
                  </a:cubicBezTo>
                  <a:cubicBezTo>
                    <a:pt x="3128333" y="316050"/>
                    <a:pt x="3201322" y="389416"/>
                    <a:pt x="3201322" y="487238"/>
                  </a:cubicBezTo>
                  <a:cubicBezTo>
                    <a:pt x="3201322" y="487238"/>
                    <a:pt x="3201322" y="487238"/>
                    <a:pt x="3201322" y="3886530"/>
                  </a:cubicBezTo>
                  <a:cubicBezTo>
                    <a:pt x="3201322" y="3984351"/>
                    <a:pt x="3128333" y="4057717"/>
                    <a:pt x="3031014" y="4057717"/>
                  </a:cubicBezTo>
                  <a:cubicBezTo>
                    <a:pt x="3031014" y="4057717"/>
                    <a:pt x="3031014" y="4057717"/>
                    <a:pt x="2325453" y="4057717"/>
                  </a:cubicBezTo>
                  <a:cubicBezTo>
                    <a:pt x="2203804" y="4057717"/>
                    <a:pt x="2130815" y="3984351"/>
                    <a:pt x="2130815" y="3886530"/>
                  </a:cubicBezTo>
                  <a:cubicBezTo>
                    <a:pt x="2130815" y="3886530"/>
                    <a:pt x="2130815" y="3886530"/>
                    <a:pt x="2130815" y="487238"/>
                  </a:cubicBezTo>
                  <a:cubicBezTo>
                    <a:pt x="2130815" y="389416"/>
                    <a:pt x="2203804" y="316050"/>
                    <a:pt x="2325453" y="316050"/>
                  </a:cubicBezTo>
                  <a:close/>
                  <a:moveTo>
                    <a:pt x="269155" y="0"/>
                  </a:moveTo>
                  <a:cubicBezTo>
                    <a:pt x="415967" y="0"/>
                    <a:pt x="538311" y="122239"/>
                    <a:pt x="538311" y="268927"/>
                  </a:cubicBezTo>
                  <a:cubicBezTo>
                    <a:pt x="538311" y="268927"/>
                    <a:pt x="538311" y="268927"/>
                    <a:pt x="538311" y="4253925"/>
                  </a:cubicBezTo>
                  <a:cubicBezTo>
                    <a:pt x="538311" y="4253925"/>
                    <a:pt x="538311" y="4253925"/>
                    <a:pt x="4624575" y="4253925"/>
                  </a:cubicBezTo>
                  <a:cubicBezTo>
                    <a:pt x="4771387" y="4253925"/>
                    <a:pt x="4893730" y="4376164"/>
                    <a:pt x="4893730" y="4522851"/>
                  </a:cubicBezTo>
                  <a:cubicBezTo>
                    <a:pt x="4893730" y="4669538"/>
                    <a:pt x="4771387" y="4791777"/>
                    <a:pt x="4624575" y="4791777"/>
                  </a:cubicBezTo>
                  <a:cubicBezTo>
                    <a:pt x="4624575" y="4791777"/>
                    <a:pt x="4624575" y="4791777"/>
                    <a:pt x="269155" y="4791777"/>
                  </a:cubicBezTo>
                  <a:cubicBezTo>
                    <a:pt x="122344" y="4791777"/>
                    <a:pt x="0" y="4669538"/>
                    <a:pt x="0" y="4522851"/>
                  </a:cubicBezTo>
                  <a:cubicBezTo>
                    <a:pt x="0" y="4522851"/>
                    <a:pt x="0" y="4522851"/>
                    <a:pt x="0" y="268927"/>
                  </a:cubicBezTo>
                  <a:cubicBezTo>
                    <a:pt x="0" y="122239"/>
                    <a:pt x="122344" y="0"/>
                    <a:pt x="269155"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37148" tIns="109719" rIns="137148" bIns="109719"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699261"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5" name="Rectangle 104"/>
            <p:cNvSpPr/>
            <p:nvPr/>
          </p:nvSpPr>
          <p:spPr bwMode="auto">
            <a:xfrm rot="2745734">
              <a:off x="886688" y="2210975"/>
              <a:ext cx="1598323" cy="1625795"/>
            </a:xfrm>
            <a:prstGeom prst="rect">
              <a:avLst/>
            </a:prstGeom>
            <a:solidFill>
              <a:schemeClr val="tx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6" name="Rectangle 105"/>
            <p:cNvSpPr/>
            <p:nvPr/>
          </p:nvSpPr>
          <p:spPr bwMode="auto">
            <a:xfrm rot="2745734">
              <a:off x="292433" y="3819160"/>
              <a:ext cx="1610349" cy="1235003"/>
            </a:xfrm>
            <a:prstGeom prst="rect">
              <a:avLst/>
            </a:prstGeom>
            <a:solidFill>
              <a:schemeClr val="tx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7" name="Rectangle 106"/>
            <p:cNvSpPr/>
            <p:nvPr/>
          </p:nvSpPr>
          <p:spPr bwMode="auto">
            <a:xfrm rot="2745734">
              <a:off x="1315610" y="4915701"/>
              <a:ext cx="1263370" cy="1255989"/>
            </a:xfrm>
            <a:prstGeom prst="rect">
              <a:avLst/>
            </a:prstGeom>
            <a:solidFill>
              <a:schemeClr val="tx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37" name="Title 10"/>
          <p:cNvSpPr txBox="1">
            <a:spLocks/>
          </p:cNvSpPr>
          <p:nvPr/>
        </p:nvSpPr>
        <p:spPr>
          <a:xfrm>
            <a:off x="2849060" y="0"/>
            <a:ext cx="9342940" cy="665151"/>
          </a:xfrm>
          <a:prstGeom prst="rect">
            <a:avLst/>
          </a:prstGeom>
          <a:noFill/>
        </p:spPr>
        <p:txBody>
          <a:bodyPr vert="horz" wrap="square" lIns="0" tIns="91440" rIns="0" bIns="91440" rtlCol="0" anchor="t">
            <a:noAutofit/>
          </a:bodyPr>
          <a:lstStyle>
            <a:lvl1pPr defTabSz="914367">
              <a:lnSpc>
                <a:spcPct val="90000"/>
              </a:lnSpc>
              <a:spcBef>
                <a:spcPct val="0"/>
              </a:spcBef>
              <a:buNone/>
              <a:defRPr lang="en-US" sz="5294" b="0" cap="none" spc="-100" baseline="0" dirty="0" smtClean="0">
                <a:ln w="3175">
                  <a:noFill/>
                </a:ln>
                <a:solidFill>
                  <a:schemeClr val="tx2"/>
                </a:solidFill>
                <a:effectLst/>
                <a:latin typeface="+mj-lt"/>
                <a:cs typeface="Segoe UI" pitchFamily="34" charset="0"/>
              </a:defRPr>
            </a:lvl1pPr>
          </a:lstStyle>
          <a:p>
            <a:pPr marL="168275" marR="0" lvl="0" indent="0" algn="l" defTabSz="914367" rtl="0" eaLnBrk="1" fontAlgn="auto" latinLnBrk="0" hangingPunct="1">
              <a:lnSpc>
                <a:spcPct val="90000"/>
              </a:lnSpc>
              <a:spcBef>
                <a:spcPct val="0"/>
              </a:spcBef>
              <a:spcAft>
                <a:spcPts val="0"/>
              </a:spcAft>
              <a:buClrTx/>
              <a:buSzTx/>
              <a:buFontTx/>
              <a:buNone/>
              <a:tabLst/>
              <a:defRPr/>
            </a:pPr>
            <a:r>
              <a:rPr kumimoji="0" lang="en-US" sz="3600" b="0" i="0" u="none" strike="noStrike" kern="1200" cap="none" spc="-100" normalizeH="0" baseline="0" noProof="0">
                <a:ln w="3175">
                  <a:noFill/>
                </a:ln>
                <a:solidFill>
                  <a:prstClr val="black"/>
                </a:solidFill>
                <a:effectLst/>
                <a:uLnTx/>
                <a:uFillTx/>
                <a:latin typeface="Segoe UI Light"/>
                <a:ea typeface="+mn-ea"/>
                <a:cs typeface="Segoe UI" pitchFamily="34" charset="0"/>
              </a:rPr>
              <a:t>Creating a Data Model</a:t>
            </a:r>
            <a:endParaRPr kumimoji="0" lang="en-IN" sz="3600" b="0" i="0" u="none" strike="noStrike" kern="1200" cap="none" spc="-100" normalizeH="0" baseline="0" noProof="0">
              <a:ln w="3175">
                <a:noFill/>
              </a:ln>
              <a:solidFill>
                <a:prstClr val="black"/>
              </a:solidFill>
              <a:effectLst/>
              <a:uLnTx/>
              <a:uFillTx/>
              <a:latin typeface="Segoe UI Light"/>
              <a:ea typeface="+mn-ea"/>
              <a:cs typeface="Segoe UI" pitchFamily="34" charset="0"/>
            </a:endParaRPr>
          </a:p>
        </p:txBody>
      </p:sp>
      <p:sp>
        <p:nvSpPr>
          <p:cNvPr id="40" name="TextBox 39"/>
          <p:cNvSpPr txBox="1"/>
          <p:nvPr/>
        </p:nvSpPr>
        <p:spPr>
          <a:xfrm>
            <a:off x="3" y="51415"/>
            <a:ext cx="2849058" cy="430887"/>
          </a:xfrm>
          <a:prstGeom prst="rect">
            <a:avLst/>
          </a:prstGeom>
        </p:spPr>
        <p:txBody>
          <a:bodyPr wrap="square">
            <a:spAutoFit/>
          </a:bodyPr>
          <a:lstStyle>
            <a:defPPr>
              <a:defRPr lang="en-US"/>
            </a:defPPr>
            <a:lvl1pPr defTabSz="914192">
              <a:defRPr sz="2800" b="1" spc="-100">
                <a:ln w="3175">
                  <a:noFill/>
                </a:ln>
                <a:solidFill>
                  <a:srgbClr val="F2C812"/>
                </a:solidFill>
                <a:latin typeface="Segoe UI" panose="020B0502040204020203" pitchFamily="34" charset="0"/>
                <a:ea typeface="ＭＳ Ｐゴシック" charset="0"/>
                <a:cs typeface="Segoe UI" panose="020B0502040204020203" pitchFamily="34" charset="0"/>
              </a:defRPr>
            </a:lvl1pPr>
          </a:lstStyle>
          <a:p>
            <a:pPr marL="0" marR="0" lvl="0" indent="0" algn="l" defTabSz="914192" rtl="0" eaLnBrk="1" fontAlgn="auto" latinLnBrk="0" hangingPunct="1">
              <a:lnSpc>
                <a:spcPct val="100000"/>
              </a:lnSpc>
              <a:spcBef>
                <a:spcPts val="0"/>
              </a:spcBef>
              <a:spcAft>
                <a:spcPts val="0"/>
              </a:spcAft>
              <a:buClrTx/>
              <a:buSzTx/>
              <a:buFontTx/>
              <a:buNone/>
              <a:tabLst/>
              <a:defRPr/>
            </a:pPr>
            <a:r>
              <a:rPr kumimoji="0" lang="en-US" sz="2200" b="1" i="0" u="none" strike="noStrike" kern="1200" cap="none" spc="-100" normalizeH="0" baseline="0" noProof="0">
                <a:ln w="3175">
                  <a:noFill/>
                </a:ln>
                <a:solidFill>
                  <a:srgbClr val="F2C812"/>
                </a:solidFill>
                <a:effectLst/>
                <a:uLnTx/>
                <a:uFillTx/>
                <a:latin typeface="Segoe UI Light"/>
                <a:ea typeface="ＭＳ Ｐゴシック" charset="0"/>
                <a:cs typeface="Segoe UI" panose="020B0502040204020203" pitchFamily="34" charset="0"/>
              </a:rPr>
              <a:t>Power BI Desktop</a:t>
            </a:r>
          </a:p>
        </p:txBody>
      </p:sp>
      <p:sp>
        <p:nvSpPr>
          <p:cNvPr id="36" name="Rectangle 3"/>
          <p:cNvSpPr/>
          <p:nvPr/>
        </p:nvSpPr>
        <p:spPr bwMode="auto">
          <a:xfrm>
            <a:off x="3202216" y="665151"/>
            <a:ext cx="8105312" cy="44435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PT" sz="2000" b="0" i="1" u="none" strike="noStrike" kern="1200" cap="none" spc="0" normalizeH="0" baseline="0" noProof="0">
                <a:ln>
                  <a:noFill/>
                </a:ln>
                <a:solidFill>
                  <a:prstClr val="black"/>
                </a:solidFill>
                <a:effectLst/>
                <a:uLnTx/>
                <a:uFillTx/>
                <a:latin typeface="Segoe UI Light"/>
                <a:ea typeface="+mn-ea"/>
                <a:cs typeface="+mn-cs"/>
              </a:rPr>
              <a:t>Hierarchies</a:t>
            </a:r>
            <a:endParaRPr kumimoji="0" lang="en-US" sz="2000" b="0" i="1" u="none" strike="noStrike" kern="1200" cap="none" spc="0" normalizeH="0" baseline="0" noProof="0">
              <a:ln>
                <a:noFill/>
              </a:ln>
              <a:solidFill>
                <a:prstClr val="black"/>
              </a:solidFill>
              <a:effectLst/>
              <a:uLnTx/>
              <a:uFillTx/>
              <a:latin typeface="Segoe UI Light"/>
              <a:ea typeface="+mn-ea"/>
              <a:cs typeface="+mn-cs"/>
            </a:endParaRPr>
          </a:p>
        </p:txBody>
      </p:sp>
      <p:sp>
        <p:nvSpPr>
          <p:cNvPr id="35" name="Text Placeholder 2"/>
          <p:cNvSpPr txBox="1">
            <a:spLocks/>
          </p:cNvSpPr>
          <p:nvPr/>
        </p:nvSpPr>
        <p:spPr>
          <a:xfrm>
            <a:off x="2854616" y="1443872"/>
            <a:ext cx="9162906" cy="5312307"/>
          </a:xfrm>
          <a:prstGeom prst="rect">
            <a:avLst/>
          </a:prstGeom>
        </p:spPr>
        <p:txBody>
          <a:bodyPr vert="horz" wrap="square" lIns="182880" tIns="146304" rIns="182880" bIns="146304" rtlCol="0">
            <a:noAutofit/>
          </a:bodyPr>
          <a:lstStyle>
            <a:lvl1pPr marL="182845" marR="0"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3921" kern="1200" spc="0" baseline="0">
                <a:gradFill>
                  <a:gsLst>
                    <a:gs pos="1250">
                      <a:schemeClr val="tx2"/>
                    </a:gs>
                    <a:gs pos="99000">
                      <a:schemeClr val="tx2"/>
                    </a:gs>
                  </a:gsLst>
                  <a:lin ang="5400000" scaled="0"/>
                </a:gradFill>
                <a:latin typeface="+mj-lt"/>
                <a:ea typeface="+mn-ea"/>
                <a:cs typeface="+mn-cs"/>
              </a:defRPr>
            </a:lvl1pPr>
            <a:lvl2pPr marL="365690" marR="0"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2400" kern="1200" spc="0" baseline="0">
                <a:solidFill>
                  <a:schemeClr val="tx2"/>
                </a:solidFill>
                <a:latin typeface="+mj-lt"/>
                <a:ea typeface="+mn-ea"/>
                <a:cs typeface="+mn-cs"/>
              </a:defRPr>
            </a:lvl2pPr>
            <a:lvl3pPr marL="548535" marR="0"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2000" kern="1200" spc="0" baseline="0">
                <a:solidFill>
                  <a:schemeClr val="tx2"/>
                </a:solidFill>
                <a:latin typeface="+mj-lt"/>
                <a:ea typeface="+mn-ea"/>
                <a:cs typeface="+mn-cs"/>
              </a:defRPr>
            </a:lvl3pPr>
            <a:lvl4pPr marL="733802" marR="0" indent="-28569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1765" kern="1200" spc="0" baseline="0">
                <a:solidFill>
                  <a:schemeClr val="tx2"/>
                </a:solidFill>
                <a:latin typeface="+mn-lt"/>
                <a:ea typeface="+mn-ea"/>
                <a:cs typeface="+mn-cs"/>
              </a:defRPr>
            </a:lvl4pPr>
            <a:lvl5pPr marL="957856" marR="0" indent="-28569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1765" kern="1200" spc="0" baseline="0">
                <a:solidFill>
                  <a:schemeClr val="tx2"/>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r>
              <a:rPr kumimoji="0" lang="pt-PT" sz="2400" b="1" i="0" u="none" strike="noStrike" kern="1200" cap="none" spc="0" normalizeH="0" baseline="0" noProof="0">
                <a:ln>
                  <a:noFill/>
                </a:ln>
                <a:solidFill>
                  <a:prstClr val="black"/>
                </a:solidFill>
                <a:effectLst/>
                <a:uLnTx/>
                <a:uFillTx/>
                <a:latin typeface="Segoe UI Light"/>
                <a:ea typeface="Calibri" panose="020F0502020204030204" pitchFamily="34" charset="0"/>
                <a:cs typeface="Times New Roman" panose="02020603050405020304" pitchFamily="18" charset="0"/>
              </a:rPr>
              <a:t>Can be created in the Data View</a:t>
            </a:r>
            <a:endParaRPr kumimoji="0" lang="pt-PT" sz="2400" b="0" i="0" u="none" strike="noStrike" kern="1200" cap="none" spc="0" normalizeH="0" baseline="0" noProof="0">
              <a:ln>
                <a:noFill/>
              </a:ln>
              <a:solidFill>
                <a:prstClr val="black"/>
              </a:solidFill>
              <a:effectLst/>
              <a:uLnTx/>
              <a:uFillTx/>
              <a:latin typeface="Segoe UI Light"/>
              <a:ea typeface="Calibri" panose="020F0502020204030204" pitchFamily="34" charset="0"/>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pt-PT" sz="2400" b="0" i="0" u="none" strike="noStrike" kern="1200" cap="none" spc="0" normalizeH="0" baseline="0" noProof="0">
              <a:ln>
                <a:noFill/>
              </a:ln>
              <a:solidFill>
                <a:prstClr val="black"/>
              </a:solidFill>
              <a:effectLst/>
              <a:uLnTx/>
              <a:uFillTx/>
              <a:latin typeface="Segoe UI Light"/>
              <a:ea typeface="Calibri" panose="020F0502020204030204" pitchFamily="34" charset="0"/>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pt-PT" sz="2400" b="0" i="0" u="none" strike="noStrike" kern="1200" cap="none" spc="0" normalizeH="0" baseline="0" noProof="0">
              <a:ln>
                <a:noFill/>
              </a:ln>
              <a:solidFill>
                <a:prstClr val="black"/>
              </a:solidFill>
              <a:effectLst/>
              <a:uLnTx/>
              <a:uFillTx/>
              <a:latin typeface="Segoe UI Light"/>
              <a:ea typeface="Calibri" panose="020F0502020204030204" pitchFamily="34" charset="0"/>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pt-PT" sz="2400" b="0" i="0" u="none" strike="noStrike" kern="1200" cap="none" spc="0" normalizeH="0" baseline="0" noProof="0">
              <a:ln>
                <a:noFill/>
              </a:ln>
              <a:solidFill>
                <a:prstClr val="black"/>
              </a:solidFill>
              <a:effectLst/>
              <a:uLnTx/>
              <a:uFillTx/>
              <a:latin typeface="Segoe UI Light"/>
              <a:ea typeface="Calibri" panose="020F0502020204030204" pitchFamily="34" charset="0"/>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pt-PT" sz="2400" b="0" i="0" u="none" strike="noStrike" kern="1200" cap="none" spc="0" normalizeH="0" baseline="0" noProof="0">
              <a:ln>
                <a:noFill/>
              </a:ln>
              <a:solidFill>
                <a:prstClr val="black"/>
              </a:solidFill>
              <a:effectLst/>
              <a:uLnTx/>
              <a:uFillTx/>
              <a:latin typeface="Segoe UI Light"/>
              <a:ea typeface="Calibri" panose="020F0502020204030204" pitchFamily="34" charset="0"/>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pt-PT" sz="2400" b="0" i="0" u="none" strike="noStrike" kern="1200" cap="none" spc="0" normalizeH="0" baseline="0" noProof="0">
              <a:ln>
                <a:noFill/>
              </a:ln>
              <a:solidFill>
                <a:prstClr val="black"/>
              </a:solidFill>
              <a:effectLst/>
              <a:uLnTx/>
              <a:uFillTx/>
              <a:latin typeface="Segoe UI Light"/>
              <a:ea typeface="Calibri" panose="020F0502020204030204" pitchFamily="34" charset="0"/>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r>
              <a:rPr kumimoji="0" lang="pt-PT" sz="2400" b="0" i="0" u="none" strike="noStrike" kern="1200" cap="none" spc="0" normalizeH="0" baseline="0" noProof="0">
                <a:ln>
                  <a:noFill/>
                </a:ln>
                <a:solidFill>
                  <a:prstClr val="black"/>
                </a:solidFill>
                <a:effectLst/>
                <a:uLnTx/>
                <a:uFillTx/>
                <a:latin typeface="Segoe UI Light"/>
                <a:ea typeface="Calibri" panose="020F0502020204030204" pitchFamily="34" charset="0"/>
                <a:cs typeface="Times New Roman" panose="02020603050405020304" pitchFamily="18" charset="0"/>
              </a:rPr>
              <a:t>They must use attributes from a single entity</a:t>
            </a: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pt-PT" sz="2400" b="0" i="0" u="none" strike="noStrike" kern="1200" cap="none" spc="0" normalizeH="0" baseline="0" noProof="0">
              <a:ln>
                <a:noFill/>
              </a:ln>
              <a:solidFill>
                <a:prstClr val="black"/>
              </a:solidFill>
              <a:effectLst/>
              <a:uLnTx/>
              <a:uFillTx/>
              <a:latin typeface="Segoe UI Light"/>
              <a:ea typeface="Calibri" panose="020F0502020204030204" pitchFamily="34" charset="0"/>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r>
              <a:rPr kumimoji="0" lang="pt-PT" sz="2400" b="0" i="0" u="none" strike="noStrike" kern="1200" cap="none" spc="0" normalizeH="0" baseline="0" noProof="0">
                <a:ln>
                  <a:noFill/>
                </a:ln>
                <a:solidFill>
                  <a:prstClr val="black"/>
                </a:solidFill>
                <a:effectLst/>
                <a:uLnTx/>
                <a:uFillTx/>
                <a:latin typeface="Segoe UI Light"/>
                <a:ea typeface="Calibri" panose="020F0502020204030204" pitchFamily="34" charset="0"/>
                <a:cs typeface="Times New Roman" panose="02020603050405020304" pitchFamily="18" charset="0"/>
              </a:rPr>
              <a:t>Can be </a:t>
            </a:r>
            <a:r>
              <a:rPr kumimoji="0" lang="pt-PT" sz="2400" b="1" i="0" u="none" strike="noStrike" kern="1200" cap="none" spc="0" normalizeH="0" baseline="0" noProof="0">
                <a:ln>
                  <a:noFill/>
                </a:ln>
                <a:solidFill>
                  <a:prstClr val="black"/>
                </a:solidFill>
                <a:effectLst/>
                <a:uLnTx/>
                <a:uFillTx/>
                <a:latin typeface="Segoe UI Light"/>
                <a:ea typeface="Calibri" panose="020F0502020204030204" pitchFamily="34" charset="0"/>
                <a:cs typeface="Times New Roman" panose="02020603050405020304" pitchFamily="18" charset="0"/>
              </a:rPr>
              <a:t>used in the different visualizations, allowing drilling</a:t>
            </a:r>
            <a:endParaRPr kumimoji="0" lang="pt-PT" sz="2400" b="0" i="0" u="none" strike="noStrike" kern="1200" cap="none" spc="0" normalizeH="0" baseline="0" noProof="0">
              <a:ln>
                <a:noFill/>
              </a:ln>
              <a:solidFill>
                <a:prstClr val="black"/>
              </a:solidFill>
              <a:effectLst/>
              <a:uLnTx/>
              <a:uFillTx/>
              <a:latin typeface="Segoe UI Light"/>
              <a:ea typeface="Calibri" panose="020F0502020204030204" pitchFamily="34" charset="0"/>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pt-PT" sz="2400" b="0" i="0" u="none" strike="noStrike" kern="1200" cap="none" spc="0" normalizeH="0" baseline="0" noProof="0">
              <a:ln>
                <a:noFill/>
              </a:ln>
              <a:solidFill>
                <a:prstClr val="black"/>
              </a:solidFill>
              <a:effectLst/>
              <a:uLnTx/>
              <a:uFillTx/>
              <a:latin typeface="Segoe UI Light"/>
              <a:ea typeface="Calibri" panose="020F0502020204030204" pitchFamily="34" charset="0"/>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r>
              <a:rPr kumimoji="0" lang="pt-PT" sz="2400" b="0" i="0" u="none" strike="noStrike" kern="1200" cap="none" spc="0" normalizeH="0" baseline="0" noProof="0">
                <a:ln>
                  <a:noFill/>
                </a:ln>
                <a:solidFill>
                  <a:prstClr val="black"/>
                </a:solidFill>
                <a:effectLst/>
                <a:uLnTx/>
                <a:uFillTx/>
                <a:latin typeface="Segoe UI Light"/>
                <a:ea typeface="Calibri" panose="020F0502020204030204" pitchFamily="34" charset="0"/>
                <a:cs typeface="Times New Roman" panose="02020603050405020304" pitchFamily="18" charset="0"/>
              </a:rPr>
              <a:t>Imported </a:t>
            </a:r>
            <a:r>
              <a:rPr kumimoji="0" lang="pt-PT" sz="2400" b="1" i="0" u="none" strike="noStrike" kern="1200" cap="none" spc="0" normalizeH="0" baseline="0" noProof="0">
                <a:ln>
                  <a:noFill/>
                </a:ln>
                <a:solidFill>
                  <a:prstClr val="black"/>
                </a:solidFill>
                <a:effectLst/>
                <a:uLnTx/>
                <a:uFillTx/>
                <a:latin typeface="Segoe UI Light"/>
                <a:ea typeface="Calibri" panose="020F0502020204030204" pitchFamily="34" charset="0"/>
                <a:cs typeface="Times New Roman" panose="02020603050405020304" pitchFamily="18" charset="0"/>
              </a:rPr>
              <a:t>Power Pivot models </a:t>
            </a:r>
            <a:r>
              <a:rPr kumimoji="0" lang="pt-PT" sz="2400" b="0" i="0" u="none" strike="noStrike" kern="1200" cap="none" spc="0" normalizeH="0" baseline="0" noProof="0">
                <a:ln>
                  <a:noFill/>
                </a:ln>
                <a:solidFill>
                  <a:prstClr val="black"/>
                </a:solidFill>
                <a:effectLst/>
                <a:uLnTx/>
                <a:uFillTx/>
                <a:latin typeface="Segoe UI Light"/>
                <a:ea typeface="Calibri" panose="020F0502020204030204" pitchFamily="34" charset="0"/>
                <a:cs typeface="Times New Roman" panose="02020603050405020304" pitchFamily="18" charset="0"/>
              </a:rPr>
              <a:t>or connected to </a:t>
            </a:r>
            <a:r>
              <a:rPr kumimoji="0" lang="pt-PT" sz="2400" b="1" i="0" u="none" strike="noStrike" kern="1200" cap="none" spc="0" normalizeH="0" baseline="0" noProof="0">
                <a:ln>
                  <a:noFill/>
                </a:ln>
                <a:solidFill>
                  <a:prstClr val="black"/>
                </a:solidFill>
                <a:effectLst/>
                <a:uLnTx/>
                <a:uFillTx/>
                <a:latin typeface="Segoe UI Light"/>
                <a:ea typeface="Calibri" panose="020F0502020204030204" pitchFamily="34" charset="0"/>
                <a:cs typeface="Times New Roman" panose="02020603050405020304" pitchFamily="18" charset="0"/>
              </a:rPr>
              <a:t>SSAS models with hierarchies </a:t>
            </a:r>
            <a:r>
              <a:rPr kumimoji="0" lang="pt-PT" sz="2400" b="0" i="0" u="none" strike="noStrike" kern="1200" cap="none" spc="0" normalizeH="0" baseline="0" noProof="0">
                <a:ln>
                  <a:noFill/>
                </a:ln>
                <a:solidFill>
                  <a:prstClr val="black"/>
                </a:solidFill>
                <a:effectLst/>
                <a:uLnTx/>
                <a:uFillTx/>
                <a:latin typeface="Segoe UI Light"/>
                <a:ea typeface="Calibri" panose="020F0502020204030204" pitchFamily="34" charset="0"/>
                <a:cs typeface="Times New Roman" panose="02020603050405020304" pitchFamily="18" charset="0"/>
              </a:rPr>
              <a:t>are also usable.</a:t>
            </a: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pt-PT" sz="2400" b="0" i="0" u="none" strike="noStrike" kern="1200" cap="none" spc="0" normalizeH="0" baseline="0" noProof="0">
              <a:ln>
                <a:noFill/>
              </a:ln>
              <a:solidFill>
                <a:prstClr val="black"/>
              </a:solidFill>
              <a:effectLst/>
              <a:uLnTx/>
              <a:uFillTx/>
              <a:latin typeface="Segoe UI Light"/>
              <a:ea typeface="Calibri" panose="020F0502020204030204" pitchFamily="34" charset="0"/>
              <a:cs typeface="Times New Roman" panose="02020603050405020304" pitchFamily="18" charset="0"/>
            </a:endParaRPr>
          </a:p>
        </p:txBody>
      </p:sp>
      <p:pic>
        <p:nvPicPr>
          <p:cNvPr id="2" name="Picture 1"/>
          <p:cNvPicPr>
            <a:picLocks noChangeAspect="1"/>
          </p:cNvPicPr>
          <p:nvPr/>
        </p:nvPicPr>
        <p:blipFill>
          <a:blip r:embed="rId3"/>
          <a:stretch>
            <a:fillRect/>
          </a:stretch>
        </p:blipFill>
        <p:spPr>
          <a:xfrm>
            <a:off x="4256265" y="2122019"/>
            <a:ext cx="2390775" cy="1543050"/>
          </a:xfrm>
          <a:prstGeom prst="rect">
            <a:avLst/>
          </a:prstGeom>
        </p:spPr>
      </p:pic>
      <p:pic>
        <p:nvPicPr>
          <p:cNvPr id="3" name="Picture 2"/>
          <p:cNvPicPr>
            <a:picLocks noChangeAspect="1"/>
          </p:cNvPicPr>
          <p:nvPr/>
        </p:nvPicPr>
        <p:blipFill>
          <a:blip r:embed="rId4"/>
          <a:stretch>
            <a:fillRect/>
          </a:stretch>
        </p:blipFill>
        <p:spPr>
          <a:xfrm>
            <a:off x="7944647" y="1884203"/>
            <a:ext cx="2314575" cy="1847850"/>
          </a:xfrm>
          <a:prstGeom prst="rect">
            <a:avLst/>
          </a:prstGeom>
        </p:spPr>
      </p:pic>
      <p:sp>
        <p:nvSpPr>
          <p:cNvPr id="39" name="Right Arrow 38"/>
          <p:cNvSpPr/>
          <p:nvPr/>
        </p:nvSpPr>
        <p:spPr bwMode="auto">
          <a:xfrm flipV="1">
            <a:off x="7041825" y="2808128"/>
            <a:ext cx="500483" cy="272871"/>
          </a:xfrm>
          <a:prstGeom prst="rightArrow">
            <a:avLst/>
          </a:prstGeom>
          <a:solidFill>
            <a:srgbClr val="FF00FF"/>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pt-PT"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2" name="Rectangle 41"/>
          <p:cNvSpPr/>
          <p:nvPr/>
        </p:nvSpPr>
        <p:spPr bwMode="auto">
          <a:xfrm>
            <a:off x="5200465" y="2977562"/>
            <a:ext cx="1261916" cy="218303"/>
          </a:xfrm>
          <a:prstGeom prst="rect">
            <a:avLst/>
          </a:prstGeom>
          <a:noFill/>
          <a:ln w="38100">
            <a:solidFill>
              <a:srgbClr val="FF00F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3" name="Rectangle 42"/>
          <p:cNvSpPr/>
          <p:nvPr/>
        </p:nvSpPr>
        <p:spPr bwMode="auto">
          <a:xfrm>
            <a:off x="7944647" y="2722165"/>
            <a:ext cx="2331282" cy="631726"/>
          </a:xfrm>
          <a:prstGeom prst="rect">
            <a:avLst/>
          </a:prstGeom>
          <a:noFill/>
          <a:ln w="38100">
            <a:solidFill>
              <a:srgbClr val="FF00F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15377653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42"/>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4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2" grpId="0" animBg="1"/>
      <p:bldP spid="43" grpId="0" animBg="1"/>
    </p:bld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solidFill>
                  <a:schemeClr val="bg1"/>
                </a:solidFill>
              </a:rPr>
              <a:t>Power BI Desktop:</a:t>
            </a:r>
            <a:br>
              <a:rPr lang="en-US">
                <a:solidFill>
                  <a:schemeClr val="bg1"/>
                </a:solidFill>
              </a:rPr>
            </a:br>
            <a:r>
              <a:rPr lang="en-US">
                <a:solidFill>
                  <a:schemeClr val="bg1"/>
                </a:solidFill>
              </a:rPr>
              <a:t>Calculations</a:t>
            </a:r>
          </a:p>
        </p:txBody>
      </p:sp>
    </p:spTree>
    <p:extLst>
      <p:ext uri="{BB962C8B-B14F-4D97-AF65-F5344CB8AC3E}">
        <p14:creationId xmlns:p14="http://schemas.microsoft.com/office/powerpoint/2010/main" val="37813189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p:cNvGrpSpPr/>
          <p:nvPr/>
        </p:nvGrpSpPr>
        <p:grpSpPr>
          <a:xfrm>
            <a:off x="-11149" y="0"/>
            <a:ext cx="2849058" cy="6858000"/>
            <a:chOff x="2" y="1"/>
            <a:chExt cx="2849058" cy="6858000"/>
          </a:xfrm>
        </p:grpSpPr>
        <p:sp>
          <p:nvSpPr>
            <p:cNvPr id="70" name="Rectangle 69"/>
            <p:cNvSpPr/>
            <p:nvPr/>
          </p:nvSpPr>
          <p:spPr bwMode="auto">
            <a:xfrm>
              <a:off x="2" y="1"/>
              <a:ext cx="2849058"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5" name="Oval 70"/>
            <p:cNvSpPr/>
            <p:nvPr/>
          </p:nvSpPr>
          <p:spPr>
            <a:xfrm>
              <a:off x="1413521" y="4951537"/>
              <a:ext cx="1119626" cy="1119626"/>
            </a:xfrm>
            <a:prstGeom prst="ellipse">
              <a:avLst/>
            </a:prstGeom>
            <a:solidFill>
              <a:srgbClr val="F2C812"/>
            </a:solidFill>
            <a:ln w="3175" cap="flat" cmpd="sng" algn="ctr">
              <a:noFill/>
              <a:prstDash val="solid"/>
            </a:ln>
            <a:effectLst/>
          </p:spPr>
          <p:txBody>
            <a:bodyPr vert="horz" wrap="none" lIns="0" tIns="45720" rIns="0" bIns="0" rtlCol="0" anchor="t"/>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Segoe UI"/>
                  <a:ea typeface="Segoe UI" pitchFamily="34" charset="0"/>
                  <a:cs typeface="Segoe UI" pitchFamily="34" charset="0"/>
                </a:rPr>
                <a:t>Share &amp;</a:t>
              </a:r>
            </a:p>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Segoe UI"/>
                  <a:ea typeface="Segoe UI" pitchFamily="34" charset="0"/>
                  <a:cs typeface="Segoe UI" pitchFamily="34" charset="0"/>
                </a:rPr>
                <a:t>collaborate </a:t>
              </a:r>
            </a:p>
          </p:txBody>
        </p:sp>
        <p:grpSp>
          <p:nvGrpSpPr>
            <p:cNvPr id="66" name="Group 38"/>
            <p:cNvGrpSpPr>
              <a:grpSpLocks noChangeAspect="1"/>
            </p:cNvGrpSpPr>
            <p:nvPr/>
          </p:nvGrpSpPr>
          <p:grpSpPr>
            <a:xfrm>
              <a:off x="676996" y="3930692"/>
              <a:ext cx="383905" cy="351536"/>
              <a:chOff x="4363684" y="5330386"/>
              <a:chExt cx="1409956" cy="1291077"/>
            </a:xfrm>
            <a:solidFill>
              <a:srgbClr val="217346"/>
            </a:solidFill>
          </p:grpSpPr>
          <p:sp>
            <p:nvSpPr>
              <p:cNvPr id="67" name="Donut 3"/>
              <p:cNvSpPr/>
              <p:nvPr/>
            </p:nvSpPr>
            <p:spPr bwMode="auto">
              <a:xfrm>
                <a:off x="4363684" y="5330386"/>
                <a:ext cx="1409956" cy="1291077"/>
              </a:xfrm>
              <a:custGeom>
                <a:avLst/>
                <a:gdLst/>
                <a:ahLst/>
                <a:cxnLst/>
                <a:rect l="l" t="t" r="r" b="b"/>
                <a:pathLst>
                  <a:path w="1409956" h="1291077">
                    <a:moveTo>
                      <a:pt x="956401" y="78410"/>
                    </a:moveTo>
                    <a:cubicBezTo>
                      <a:pt x="747518" y="78410"/>
                      <a:pt x="578184" y="247744"/>
                      <a:pt x="578184" y="456627"/>
                    </a:cubicBezTo>
                    <a:cubicBezTo>
                      <a:pt x="578184" y="665510"/>
                      <a:pt x="747518" y="834844"/>
                      <a:pt x="956401" y="834844"/>
                    </a:cubicBezTo>
                    <a:cubicBezTo>
                      <a:pt x="1165284" y="834844"/>
                      <a:pt x="1334618" y="665510"/>
                      <a:pt x="1334618" y="456627"/>
                    </a:cubicBezTo>
                    <a:cubicBezTo>
                      <a:pt x="1334618" y="247744"/>
                      <a:pt x="1165284" y="78410"/>
                      <a:pt x="956401" y="78410"/>
                    </a:cubicBezTo>
                    <a:close/>
                    <a:moveTo>
                      <a:pt x="952756" y="0"/>
                    </a:moveTo>
                    <a:cubicBezTo>
                      <a:pt x="1205261" y="0"/>
                      <a:pt x="1409956" y="204695"/>
                      <a:pt x="1409956" y="457200"/>
                    </a:cubicBezTo>
                    <a:cubicBezTo>
                      <a:pt x="1409956" y="709705"/>
                      <a:pt x="1205261" y="914400"/>
                      <a:pt x="952756" y="914400"/>
                    </a:cubicBezTo>
                    <a:cubicBezTo>
                      <a:pt x="862133" y="914400"/>
                      <a:pt x="777669" y="888034"/>
                      <a:pt x="707132" y="841746"/>
                    </a:cubicBezTo>
                    <a:lnTo>
                      <a:pt x="136495" y="1280102"/>
                    </a:lnTo>
                    <a:cubicBezTo>
                      <a:pt x="21896" y="1327168"/>
                      <a:pt x="-44029" y="1213730"/>
                      <a:pt x="33797" y="1113182"/>
                    </a:cubicBezTo>
                    <a:lnTo>
                      <a:pt x="568587" y="703518"/>
                    </a:lnTo>
                    <a:cubicBezTo>
                      <a:pt x="522087" y="632814"/>
                      <a:pt x="495556" y="548105"/>
                      <a:pt x="495556" y="457200"/>
                    </a:cubicBezTo>
                    <a:cubicBezTo>
                      <a:pt x="495556" y="204695"/>
                      <a:pt x="700251" y="0"/>
                      <a:pt x="952756" y="0"/>
                    </a:cubicBezTo>
                    <a:close/>
                  </a:path>
                </a:pathLst>
              </a:custGeom>
              <a:grpFill/>
              <a:ln>
                <a:solidFill>
                  <a:srgbClr val="21734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sp>
            <p:nvSpPr>
              <p:cNvPr id="68" name="Rectangle 4"/>
              <p:cNvSpPr/>
              <p:nvPr/>
            </p:nvSpPr>
            <p:spPr>
              <a:xfrm>
                <a:off x="5058389" y="5528247"/>
                <a:ext cx="490885" cy="490020"/>
              </a:xfrm>
              <a:custGeom>
                <a:avLst/>
                <a:gdLst/>
                <a:ahLst/>
                <a:cxnLst/>
                <a:rect l="l" t="t" r="r" b="b"/>
                <a:pathLst>
                  <a:path w="490885" h="490020">
                    <a:moveTo>
                      <a:pt x="240752" y="0"/>
                    </a:moveTo>
                    <a:cubicBezTo>
                      <a:pt x="253961" y="11844"/>
                      <a:pt x="293310" y="49692"/>
                      <a:pt x="337332" y="92439"/>
                    </a:cubicBezTo>
                    <a:lnTo>
                      <a:pt x="328342" y="81259"/>
                    </a:lnTo>
                    <a:cubicBezTo>
                      <a:pt x="356946" y="111282"/>
                      <a:pt x="377251" y="107167"/>
                      <a:pt x="382515" y="87941"/>
                    </a:cubicBezTo>
                    <a:cubicBezTo>
                      <a:pt x="383951" y="76921"/>
                      <a:pt x="384595" y="68732"/>
                      <a:pt x="396997" y="52239"/>
                    </a:cubicBezTo>
                    <a:cubicBezTo>
                      <a:pt x="420362" y="32084"/>
                      <a:pt x="442294" y="41736"/>
                      <a:pt x="454920" y="51330"/>
                    </a:cubicBezTo>
                    <a:cubicBezTo>
                      <a:pt x="467834" y="62761"/>
                      <a:pt x="477920" y="86882"/>
                      <a:pt x="460392" y="109714"/>
                    </a:cubicBezTo>
                    <a:cubicBezTo>
                      <a:pt x="451128" y="121912"/>
                      <a:pt x="437554" y="126838"/>
                      <a:pt x="425922" y="126505"/>
                    </a:cubicBezTo>
                    <a:cubicBezTo>
                      <a:pt x="424301" y="127609"/>
                      <a:pt x="382890" y="134974"/>
                      <a:pt x="427348" y="177672"/>
                    </a:cubicBezTo>
                    <a:lnTo>
                      <a:pt x="416886" y="169735"/>
                    </a:lnTo>
                    <a:cubicBezTo>
                      <a:pt x="450207" y="202177"/>
                      <a:pt x="478424" y="229744"/>
                      <a:pt x="490885" y="241900"/>
                    </a:cubicBezTo>
                    <a:lnTo>
                      <a:pt x="417150" y="317347"/>
                    </a:lnTo>
                    <a:cubicBezTo>
                      <a:pt x="417744" y="316535"/>
                      <a:pt x="418443" y="316123"/>
                      <a:pt x="419047" y="315822"/>
                    </a:cubicBezTo>
                    <a:cubicBezTo>
                      <a:pt x="389023" y="344426"/>
                      <a:pt x="393138" y="364731"/>
                      <a:pt x="412364" y="369995"/>
                    </a:cubicBezTo>
                    <a:cubicBezTo>
                      <a:pt x="423384" y="371431"/>
                      <a:pt x="431574" y="372075"/>
                      <a:pt x="448067" y="384477"/>
                    </a:cubicBezTo>
                    <a:cubicBezTo>
                      <a:pt x="468221" y="407842"/>
                      <a:pt x="458569" y="429774"/>
                      <a:pt x="448975" y="442400"/>
                    </a:cubicBezTo>
                    <a:cubicBezTo>
                      <a:pt x="437545" y="455314"/>
                      <a:pt x="413423" y="465400"/>
                      <a:pt x="390591" y="447872"/>
                    </a:cubicBezTo>
                    <a:cubicBezTo>
                      <a:pt x="378394" y="438608"/>
                      <a:pt x="373468" y="425034"/>
                      <a:pt x="373800" y="413402"/>
                    </a:cubicBezTo>
                    <a:cubicBezTo>
                      <a:pt x="372696" y="411781"/>
                      <a:pt x="365332" y="370370"/>
                      <a:pt x="322634" y="414828"/>
                    </a:cubicBezTo>
                    <a:lnTo>
                      <a:pt x="325243" y="411388"/>
                    </a:lnTo>
                    <a:lnTo>
                      <a:pt x="248395" y="490020"/>
                    </a:lnTo>
                    <a:cubicBezTo>
                      <a:pt x="208939" y="451897"/>
                      <a:pt x="199129" y="442073"/>
                      <a:pt x="174192" y="418236"/>
                    </a:cubicBezTo>
                    <a:cubicBezTo>
                      <a:pt x="145587" y="388212"/>
                      <a:pt x="125282" y="392327"/>
                      <a:pt x="120018" y="411553"/>
                    </a:cubicBezTo>
                    <a:cubicBezTo>
                      <a:pt x="118582" y="422573"/>
                      <a:pt x="117938" y="430763"/>
                      <a:pt x="105536" y="447256"/>
                    </a:cubicBezTo>
                    <a:cubicBezTo>
                      <a:pt x="82171" y="467410"/>
                      <a:pt x="60239" y="457758"/>
                      <a:pt x="47614" y="448164"/>
                    </a:cubicBezTo>
                    <a:cubicBezTo>
                      <a:pt x="34699" y="436734"/>
                      <a:pt x="24614" y="412612"/>
                      <a:pt x="42141" y="389780"/>
                    </a:cubicBezTo>
                    <a:cubicBezTo>
                      <a:pt x="51405" y="377583"/>
                      <a:pt x="64979" y="372657"/>
                      <a:pt x="76612" y="372989"/>
                    </a:cubicBezTo>
                    <a:cubicBezTo>
                      <a:pt x="78232" y="371886"/>
                      <a:pt x="119644" y="364521"/>
                      <a:pt x="75186" y="321823"/>
                    </a:cubicBezTo>
                    <a:cubicBezTo>
                      <a:pt x="58767" y="305402"/>
                      <a:pt x="23648" y="271235"/>
                      <a:pt x="0" y="248738"/>
                    </a:cubicBezTo>
                    <a:lnTo>
                      <a:pt x="77303" y="168146"/>
                    </a:lnTo>
                    <a:cubicBezTo>
                      <a:pt x="104269" y="140313"/>
                      <a:pt x="122130" y="156409"/>
                      <a:pt x="124388" y="175543"/>
                    </a:cubicBezTo>
                    <a:cubicBezTo>
                      <a:pt x="124457" y="182466"/>
                      <a:pt x="127106" y="193106"/>
                      <a:pt x="137575" y="203052"/>
                    </a:cubicBezTo>
                    <a:cubicBezTo>
                      <a:pt x="153931" y="220277"/>
                      <a:pt x="181252" y="217451"/>
                      <a:pt x="196721" y="201951"/>
                    </a:cubicBezTo>
                    <a:cubicBezTo>
                      <a:pt x="211961" y="185740"/>
                      <a:pt x="213057" y="157882"/>
                      <a:pt x="196146" y="142797"/>
                    </a:cubicBezTo>
                    <a:cubicBezTo>
                      <a:pt x="184301" y="132637"/>
                      <a:pt x="177155" y="131453"/>
                      <a:pt x="166513" y="129894"/>
                    </a:cubicBezTo>
                    <a:cubicBezTo>
                      <a:pt x="154522" y="129013"/>
                      <a:pt x="131185" y="112953"/>
                      <a:pt x="157905" y="85228"/>
                    </a:cubicBezTo>
                    <a:close/>
                  </a:path>
                </a:pathLst>
              </a:custGeom>
              <a:grpFill/>
              <a:ln>
                <a:solidFill>
                  <a:srgbClr val="21734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grpSp>
        <p:sp>
          <p:nvSpPr>
            <p:cNvPr id="69" name="Oval 47"/>
            <p:cNvSpPr/>
            <p:nvPr/>
          </p:nvSpPr>
          <p:spPr>
            <a:xfrm>
              <a:off x="388608" y="3710471"/>
              <a:ext cx="1119626" cy="1119626"/>
            </a:xfrm>
            <a:prstGeom prst="ellipse">
              <a:avLst/>
            </a:prstGeom>
            <a:solidFill>
              <a:srgbClr val="F2C812"/>
            </a:solidFill>
            <a:ln w="3175" cap="flat" cmpd="sng" algn="ctr">
              <a:noFill/>
              <a:prstDash val="solid"/>
            </a:ln>
            <a:effectLst/>
          </p:spPr>
          <p:txBody>
            <a:bodyPr vert="horz" wrap="none" lIns="0" tIns="45720" rIns="0" bIns="0" rtlCol="0" anchor="t"/>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Segoe UI"/>
                  <a:ea typeface="Segoe UI" pitchFamily="34" charset="0"/>
                  <a:cs typeface="Segoe UI" pitchFamily="34" charset="0"/>
                </a:rPr>
                <a:t>Report</a:t>
              </a:r>
            </a:p>
          </p:txBody>
        </p:sp>
        <p:sp>
          <p:nvSpPr>
            <p:cNvPr id="85" name="Oval 950"/>
            <p:cNvSpPr/>
            <p:nvPr/>
          </p:nvSpPr>
          <p:spPr>
            <a:xfrm>
              <a:off x="388608" y="1252295"/>
              <a:ext cx="1119626" cy="1119626"/>
            </a:xfrm>
            <a:prstGeom prst="ellipse">
              <a:avLst/>
            </a:prstGeom>
            <a:solidFill>
              <a:srgbClr val="F2C812"/>
            </a:solidFill>
            <a:ln w="3175" cap="flat" cmpd="sng" algn="ctr">
              <a:noFill/>
              <a:prstDash val="solid"/>
            </a:ln>
            <a:effectLst/>
          </p:spPr>
          <p:txBody>
            <a:bodyPr vert="horz" wrap="none" lIns="0" tIns="45720" rIns="0" bIns="0" rtlCol="0" anchor="t"/>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1" i="0" u="none" strike="noStrike" kern="1200" cap="none" spc="0" normalizeH="0" baseline="0" noProof="0">
                <a:ln>
                  <a:noFill/>
                </a:ln>
                <a:solidFill>
                  <a:srgbClr val="217346"/>
                </a:solidFill>
                <a:effectLst/>
                <a:uLnTx/>
                <a:uFillTx/>
                <a:latin typeface="Segoe UI"/>
                <a:ea typeface="Segoe UI" pitchFamily="34" charset="0"/>
                <a:cs typeface="Segoe UI" pitchFamily="34" charset="0"/>
              </a:endParaRPr>
            </a:p>
          </p:txBody>
        </p:sp>
        <p:grpSp>
          <p:nvGrpSpPr>
            <p:cNvPr id="86" name="Group 85"/>
            <p:cNvGrpSpPr/>
            <p:nvPr/>
          </p:nvGrpSpPr>
          <p:grpSpPr>
            <a:xfrm>
              <a:off x="1264851" y="3482890"/>
              <a:ext cx="292254" cy="354906"/>
              <a:chOff x="1296521" y="3253388"/>
              <a:chExt cx="292254" cy="354906"/>
            </a:xfrm>
            <a:solidFill>
              <a:srgbClr val="F2C812"/>
            </a:solidFill>
          </p:grpSpPr>
          <p:sp>
            <p:nvSpPr>
              <p:cNvPr id="87" name="Isosceles Triangle 86"/>
              <p:cNvSpPr/>
              <p:nvPr/>
            </p:nvSpPr>
            <p:spPr bwMode="auto">
              <a:xfrm rot="13636515">
                <a:off x="1461362" y="328936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8" name="Isosceles Triangle 87"/>
              <p:cNvSpPr/>
              <p:nvPr/>
            </p:nvSpPr>
            <p:spPr bwMode="auto">
              <a:xfrm rot="13636515">
                <a:off x="1357669" y="338258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9" name="Isosceles Triangle 88"/>
              <p:cNvSpPr/>
              <p:nvPr/>
            </p:nvSpPr>
            <p:spPr bwMode="auto">
              <a:xfrm rot="13636515">
                <a:off x="1260548" y="3480882"/>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90" name="Group 89"/>
            <p:cNvGrpSpPr/>
            <p:nvPr/>
          </p:nvGrpSpPr>
          <p:grpSpPr>
            <a:xfrm rot="15940603">
              <a:off x="1334576" y="2204404"/>
              <a:ext cx="292254" cy="354906"/>
              <a:chOff x="1296521" y="3253388"/>
              <a:chExt cx="292254" cy="354906"/>
            </a:xfrm>
            <a:solidFill>
              <a:srgbClr val="F2C812"/>
            </a:solidFill>
          </p:grpSpPr>
          <p:sp>
            <p:nvSpPr>
              <p:cNvPr id="91" name="Isosceles Triangle 90"/>
              <p:cNvSpPr/>
              <p:nvPr/>
            </p:nvSpPr>
            <p:spPr bwMode="auto">
              <a:xfrm rot="13636515">
                <a:off x="1461362" y="328936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2" name="Isosceles Triangle 91"/>
              <p:cNvSpPr/>
              <p:nvPr/>
            </p:nvSpPr>
            <p:spPr bwMode="auto">
              <a:xfrm rot="13636515">
                <a:off x="1357669" y="338258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3" name="Isosceles Triangle 92"/>
              <p:cNvSpPr/>
              <p:nvPr/>
            </p:nvSpPr>
            <p:spPr bwMode="auto">
              <a:xfrm rot="13636515">
                <a:off x="1260548" y="3480882"/>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94" name="Group 93"/>
            <p:cNvGrpSpPr/>
            <p:nvPr/>
          </p:nvGrpSpPr>
          <p:grpSpPr>
            <a:xfrm rot="16043978">
              <a:off x="1317220" y="4717577"/>
              <a:ext cx="292254" cy="354906"/>
              <a:chOff x="1296521" y="3253388"/>
              <a:chExt cx="292254" cy="354906"/>
            </a:xfrm>
            <a:solidFill>
              <a:srgbClr val="F2C812"/>
            </a:solidFill>
          </p:grpSpPr>
          <p:sp>
            <p:nvSpPr>
              <p:cNvPr id="95" name="Isosceles Triangle 94"/>
              <p:cNvSpPr/>
              <p:nvPr/>
            </p:nvSpPr>
            <p:spPr bwMode="auto">
              <a:xfrm rot="13636515">
                <a:off x="1461362" y="328936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6" name="Isosceles Triangle 95"/>
              <p:cNvSpPr/>
              <p:nvPr/>
            </p:nvSpPr>
            <p:spPr bwMode="auto">
              <a:xfrm rot="13636515">
                <a:off x="1357669" y="338258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7" name="Isosceles Triangle 96"/>
              <p:cNvSpPr/>
              <p:nvPr/>
            </p:nvSpPr>
            <p:spPr bwMode="auto">
              <a:xfrm rot="13636515">
                <a:off x="1260548" y="3480882"/>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98" name="Oval 36"/>
            <p:cNvSpPr/>
            <p:nvPr/>
          </p:nvSpPr>
          <p:spPr>
            <a:xfrm>
              <a:off x="1413521" y="2481383"/>
              <a:ext cx="1119626" cy="1119626"/>
            </a:xfrm>
            <a:prstGeom prst="ellipse">
              <a:avLst/>
            </a:prstGeom>
            <a:solidFill>
              <a:srgbClr val="F2C812"/>
            </a:solidFill>
            <a:ln w="3175" cap="flat" cmpd="sng" algn="ctr">
              <a:noFill/>
              <a:prstDash val="solid"/>
            </a:ln>
            <a:effectLst/>
          </p:spPr>
          <p:txBody>
            <a:bodyPr vert="horz" wrap="none" lIns="0" tIns="0" rIns="0" bIns="0" rtlCol="0" anchor="t"/>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400" b="1" i="0" u="none" strike="noStrike" kern="1200" cap="none" spc="0" normalizeH="0" baseline="0" noProof="0">
                <a:ln>
                  <a:noFill/>
                </a:ln>
                <a:solidFill>
                  <a:srgbClr val="217346"/>
                </a:solidFill>
                <a:effectLst/>
                <a:uLnTx/>
                <a:uFillTx/>
                <a:latin typeface="Segoe UI"/>
                <a:ea typeface="Segoe UI" pitchFamily="34" charset="0"/>
                <a:cs typeface="Segoe UI" pitchFamily="34" charset="0"/>
              </a:endParaRPr>
            </a:p>
          </p:txBody>
        </p:sp>
        <p:sp>
          <p:nvSpPr>
            <p:cNvPr id="99" name="Donut 3"/>
            <p:cNvSpPr/>
            <p:nvPr/>
          </p:nvSpPr>
          <p:spPr bwMode="auto">
            <a:xfrm>
              <a:off x="1742065" y="3002355"/>
              <a:ext cx="383905" cy="351537"/>
            </a:xfrm>
            <a:custGeom>
              <a:avLst/>
              <a:gdLst/>
              <a:ahLst/>
              <a:cxnLst/>
              <a:rect l="l" t="t" r="r" b="b"/>
              <a:pathLst>
                <a:path w="1409956" h="1291077">
                  <a:moveTo>
                    <a:pt x="956401" y="78410"/>
                  </a:moveTo>
                  <a:cubicBezTo>
                    <a:pt x="747518" y="78410"/>
                    <a:pt x="578184" y="247744"/>
                    <a:pt x="578184" y="456627"/>
                  </a:cubicBezTo>
                  <a:cubicBezTo>
                    <a:pt x="578184" y="665510"/>
                    <a:pt x="747518" y="834844"/>
                    <a:pt x="956401" y="834844"/>
                  </a:cubicBezTo>
                  <a:cubicBezTo>
                    <a:pt x="1165284" y="834844"/>
                    <a:pt x="1334618" y="665510"/>
                    <a:pt x="1334618" y="456627"/>
                  </a:cubicBezTo>
                  <a:cubicBezTo>
                    <a:pt x="1334618" y="247744"/>
                    <a:pt x="1165284" y="78410"/>
                    <a:pt x="956401" y="78410"/>
                  </a:cubicBezTo>
                  <a:close/>
                  <a:moveTo>
                    <a:pt x="952756" y="0"/>
                  </a:moveTo>
                  <a:cubicBezTo>
                    <a:pt x="1205261" y="0"/>
                    <a:pt x="1409956" y="204695"/>
                    <a:pt x="1409956" y="457200"/>
                  </a:cubicBezTo>
                  <a:cubicBezTo>
                    <a:pt x="1409956" y="709705"/>
                    <a:pt x="1205261" y="914400"/>
                    <a:pt x="952756" y="914400"/>
                  </a:cubicBezTo>
                  <a:cubicBezTo>
                    <a:pt x="862133" y="914400"/>
                    <a:pt x="777669" y="888034"/>
                    <a:pt x="707132" y="841746"/>
                  </a:cubicBezTo>
                  <a:lnTo>
                    <a:pt x="136495" y="1280102"/>
                  </a:lnTo>
                  <a:cubicBezTo>
                    <a:pt x="21896" y="1327168"/>
                    <a:pt x="-44029" y="1213730"/>
                    <a:pt x="33797" y="1113182"/>
                  </a:cubicBezTo>
                  <a:lnTo>
                    <a:pt x="568587" y="703518"/>
                  </a:lnTo>
                  <a:cubicBezTo>
                    <a:pt x="522087" y="632814"/>
                    <a:pt x="495556" y="548105"/>
                    <a:pt x="495556" y="457200"/>
                  </a:cubicBezTo>
                  <a:cubicBezTo>
                    <a:pt x="495556" y="204695"/>
                    <a:pt x="700251" y="0"/>
                    <a:pt x="952756" y="0"/>
                  </a:cubicBezTo>
                  <a:close/>
                </a:path>
              </a:pathLst>
            </a:cu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ysClr val="windowText" lastClr="000000"/>
                </a:solidFill>
                <a:effectLst/>
                <a:uLnTx/>
                <a:uFillTx/>
                <a:latin typeface="Segoe UI"/>
                <a:ea typeface="+mn-ea"/>
                <a:cs typeface="+mn-cs"/>
              </a:endParaRPr>
            </a:p>
          </p:txBody>
        </p:sp>
        <p:sp>
          <p:nvSpPr>
            <p:cNvPr id="100" name="Rectangle 99"/>
            <p:cNvSpPr/>
            <p:nvPr/>
          </p:nvSpPr>
          <p:spPr>
            <a:xfrm>
              <a:off x="1600398" y="2677430"/>
              <a:ext cx="820353" cy="307777"/>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Segoe UI"/>
                  <a:ea typeface="Segoe UI" pitchFamily="34" charset="0"/>
                  <a:cs typeface="Segoe UI" pitchFamily="34" charset="0"/>
                </a:rPr>
                <a:t>Explore</a:t>
              </a:r>
              <a:endParaRPr kumimoji="0" lang="en-US" sz="1600" b="0" i="0" u="none" strike="noStrike" kern="1200" cap="none" spc="0" normalizeH="0" baseline="0" noProof="0">
                <a:ln>
                  <a:noFill/>
                </a:ln>
                <a:solidFill>
                  <a:prstClr val="black"/>
                </a:solidFill>
                <a:effectLst/>
                <a:uLnTx/>
                <a:uFillTx/>
                <a:latin typeface="Segoe UI"/>
                <a:ea typeface="+mn-ea"/>
                <a:cs typeface="+mn-cs"/>
              </a:endParaRPr>
            </a:p>
          </p:txBody>
        </p:sp>
        <p:sp>
          <p:nvSpPr>
            <p:cNvPr id="101" name="Rectangle 100"/>
            <p:cNvSpPr/>
            <p:nvPr/>
          </p:nvSpPr>
          <p:spPr>
            <a:xfrm>
              <a:off x="509174" y="1475232"/>
              <a:ext cx="838756" cy="307777"/>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Segoe UI"/>
                  <a:ea typeface="Segoe UI" pitchFamily="34" charset="0"/>
                  <a:cs typeface="Segoe UI" pitchFamily="34" charset="0"/>
                </a:rPr>
                <a:t>Prepare</a:t>
              </a:r>
              <a:endParaRPr kumimoji="0" lang="en-US" sz="1400" b="0" i="0" u="none" strike="noStrike" kern="1200" cap="none" spc="0" normalizeH="0" baseline="0" noProof="0">
                <a:ln>
                  <a:noFill/>
                </a:ln>
                <a:solidFill>
                  <a:prstClr val="black"/>
                </a:solidFill>
                <a:effectLst/>
                <a:uLnTx/>
                <a:uFillTx/>
                <a:latin typeface="Segoe UI"/>
                <a:ea typeface="+mn-ea"/>
                <a:cs typeface="+mn-cs"/>
              </a:endParaRPr>
            </a:p>
          </p:txBody>
        </p:sp>
        <p:sp>
          <p:nvSpPr>
            <p:cNvPr id="102" name="Freeform 101"/>
            <p:cNvSpPr>
              <a:spLocks noChangeAspect="1"/>
            </p:cNvSpPr>
            <p:nvPr/>
          </p:nvSpPr>
          <p:spPr bwMode="black">
            <a:xfrm>
              <a:off x="1836174" y="5643069"/>
              <a:ext cx="274320" cy="284173"/>
            </a:xfrm>
            <a:custGeom>
              <a:avLst/>
              <a:gdLst>
                <a:gd name="T0" fmla="*/ 539 w 669"/>
                <a:gd name="T1" fmla="*/ 5 h 693"/>
                <a:gd name="T2" fmla="*/ 640 w 669"/>
                <a:gd name="T3" fmla="*/ 55 h 693"/>
                <a:gd name="T4" fmla="*/ 603 w 669"/>
                <a:gd name="T5" fmla="*/ 195 h 693"/>
                <a:gd name="T6" fmla="*/ 490 w 669"/>
                <a:gd name="T7" fmla="*/ 188 h 693"/>
                <a:gd name="T8" fmla="*/ 479 w 669"/>
                <a:gd name="T9" fmla="*/ 176 h 693"/>
                <a:gd name="T10" fmla="*/ 213 w 669"/>
                <a:gd name="T11" fmla="*/ 330 h 693"/>
                <a:gd name="T12" fmla="*/ 218 w 669"/>
                <a:gd name="T13" fmla="*/ 345 h 693"/>
                <a:gd name="T14" fmla="*/ 218 w 669"/>
                <a:gd name="T15" fmla="*/ 375 h 693"/>
                <a:gd name="T16" fmla="*/ 209 w 669"/>
                <a:gd name="T17" fmla="*/ 402 h 693"/>
                <a:gd name="T18" fmla="*/ 369 w 669"/>
                <a:gd name="T19" fmla="*/ 503 h 693"/>
                <a:gd name="T20" fmla="*/ 373 w 669"/>
                <a:gd name="T21" fmla="*/ 498 h 693"/>
                <a:gd name="T22" fmla="*/ 456 w 669"/>
                <a:gd name="T23" fmla="*/ 475 h 693"/>
                <a:gd name="T24" fmla="*/ 494 w 669"/>
                <a:gd name="T25" fmla="*/ 489 h 693"/>
                <a:gd name="T26" fmla="*/ 527 w 669"/>
                <a:gd name="T27" fmla="*/ 630 h 693"/>
                <a:gd name="T28" fmla="*/ 386 w 669"/>
                <a:gd name="T29" fmla="*/ 663 h 693"/>
                <a:gd name="T30" fmla="*/ 339 w 669"/>
                <a:gd name="T31" fmla="*/ 560 h 693"/>
                <a:gd name="T32" fmla="*/ 345 w 669"/>
                <a:gd name="T33" fmla="*/ 544 h 693"/>
                <a:gd name="T34" fmla="*/ 177 w 669"/>
                <a:gd name="T35" fmla="*/ 439 h 693"/>
                <a:gd name="T36" fmla="*/ 168 w 669"/>
                <a:gd name="T37" fmla="*/ 446 h 693"/>
                <a:gd name="T38" fmla="*/ 28 w 669"/>
                <a:gd name="T39" fmla="*/ 409 h 693"/>
                <a:gd name="T40" fmla="*/ 65 w 669"/>
                <a:gd name="T41" fmla="*/ 269 h 693"/>
                <a:gd name="T42" fmla="*/ 178 w 669"/>
                <a:gd name="T43" fmla="*/ 276 h 693"/>
                <a:gd name="T44" fmla="*/ 189 w 669"/>
                <a:gd name="T45" fmla="*/ 288 h 693"/>
                <a:gd name="T46" fmla="*/ 455 w 669"/>
                <a:gd name="T47" fmla="*/ 134 h 693"/>
                <a:gd name="T48" fmla="*/ 450 w 669"/>
                <a:gd name="T49" fmla="*/ 119 h 693"/>
                <a:gd name="T50" fmla="*/ 501 w 669"/>
                <a:gd name="T51" fmla="*/ 18 h 693"/>
                <a:gd name="T52" fmla="*/ 539 w 669"/>
                <a:gd name="T53" fmla="*/ 5 h 6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69" h="693">
                  <a:moveTo>
                    <a:pt x="539" y="5"/>
                  </a:moveTo>
                  <a:cubicBezTo>
                    <a:pt x="579" y="0"/>
                    <a:pt x="619" y="19"/>
                    <a:pt x="640" y="55"/>
                  </a:cubicBezTo>
                  <a:cubicBezTo>
                    <a:pt x="669" y="104"/>
                    <a:pt x="652" y="167"/>
                    <a:pt x="603" y="195"/>
                  </a:cubicBezTo>
                  <a:cubicBezTo>
                    <a:pt x="566" y="216"/>
                    <a:pt x="522" y="212"/>
                    <a:pt x="490" y="188"/>
                  </a:cubicBezTo>
                  <a:cubicBezTo>
                    <a:pt x="479" y="176"/>
                    <a:pt x="479" y="176"/>
                    <a:pt x="479" y="176"/>
                  </a:cubicBezTo>
                  <a:cubicBezTo>
                    <a:pt x="213" y="330"/>
                    <a:pt x="213" y="330"/>
                    <a:pt x="213" y="330"/>
                  </a:cubicBezTo>
                  <a:cubicBezTo>
                    <a:pt x="218" y="345"/>
                    <a:pt x="218" y="345"/>
                    <a:pt x="218" y="345"/>
                  </a:cubicBezTo>
                  <a:cubicBezTo>
                    <a:pt x="219" y="355"/>
                    <a:pt x="219" y="365"/>
                    <a:pt x="218" y="375"/>
                  </a:cubicBezTo>
                  <a:cubicBezTo>
                    <a:pt x="209" y="402"/>
                    <a:pt x="209" y="402"/>
                    <a:pt x="209" y="402"/>
                  </a:cubicBezTo>
                  <a:cubicBezTo>
                    <a:pt x="369" y="503"/>
                    <a:pt x="369" y="503"/>
                    <a:pt x="369" y="503"/>
                  </a:cubicBezTo>
                  <a:cubicBezTo>
                    <a:pt x="373" y="498"/>
                    <a:pt x="373" y="498"/>
                    <a:pt x="373" y="498"/>
                  </a:cubicBezTo>
                  <a:cubicBezTo>
                    <a:pt x="396" y="479"/>
                    <a:pt x="427" y="470"/>
                    <a:pt x="456" y="475"/>
                  </a:cubicBezTo>
                  <a:cubicBezTo>
                    <a:pt x="470" y="477"/>
                    <a:pt x="482" y="482"/>
                    <a:pt x="494" y="489"/>
                  </a:cubicBezTo>
                  <a:cubicBezTo>
                    <a:pt x="542" y="519"/>
                    <a:pt x="557" y="583"/>
                    <a:pt x="527" y="630"/>
                  </a:cubicBezTo>
                  <a:cubicBezTo>
                    <a:pt x="497" y="678"/>
                    <a:pt x="433" y="693"/>
                    <a:pt x="386" y="663"/>
                  </a:cubicBezTo>
                  <a:cubicBezTo>
                    <a:pt x="350" y="640"/>
                    <a:pt x="333" y="599"/>
                    <a:pt x="339" y="560"/>
                  </a:cubicBezTo>
                  <a:cubicBezTo>
                    <a:pt x="345" y="544"/>
                    <a:pt x="345" y="544"/>
                    <a:pt x="345" y="544"/>
                  </a:cubicBezTo>
                  <a:cubicBezTo>
                    <a:pt x="177" y="439"/>
                    <a:pt x="177" y="439"/>
                    <a:pt x="177" y="439"/>
                  </a:cubicBezTo>
                  <a:cubicBezTo>
                    <a:pt x="168" y="446"/>
                    <a:pt x="168" y="446"/>
                    <a:pt x="168" y="446"/>
                  </a:cubicBezTo>
                  <a:cubicBezTo>
                    <a:pt x="119" y="475"/>
                    <a:pt x="56" y="458"/>
                    <a:pt x="28" y="409"/>
                  </a:cubicBezTo>
                  <a:cubicBezTo>
                    <a:pt x="0" y="360"/>
                    <a:pt x="16" y="297"/>
                    <a:pt x="65" y="269"/>
                  </a:cubicBezTo>
                  <a:cubicBezTo>
                    <a:pt x="102" y="248"/>
                    <a:pt x="147" y="252"/>
                    <a:pt x="178" y="276"/>
                  </a:cubicBezTo>
                  <a:cubicBezTo>
                    <a:pt x="189" y="288"/>
                    <a:pt x="189" y="288"/>
                    <a:pt x="189" y="288"/>
                  </a:cubicBezTo>
                  <a:cubicBezTo>
                    <a:pt x="455" y="134"/>
                    <a:pt x="455" y="134"/>
                    <a:pt x="455" y="134"/>
                  </a:cubicBezTo>
                  <a:cubicBezTo>
                    <a:pt x="450" y="119"/>
                    <a:pt x="450" y="119"/>
                    <a:pt x="450" y="119"/>
                  </a:cubicBezTo>
                  <a:cubicBezTo>
                    <a:pt x="445" y="80"/>
                    <a:pt x="464" y="39"/>
                    <a:pt x="501" y="18"/>
                  </a:cubicBezTo>
                  <a:cubicBezTo>
                    <a:pt x="513" y="11"/>
                    <a:pt x="526" y="6"/>
                    <a:pt x="539" y="5"/>
                  </a:cubicBezTo>
                  <a:close/>
                </a:path>
              </a:pathLst>
            </a:custGeom>
            <a:solidFill>
              <a:schemeClr val="tx1"/>
            </a:solidFill>
            <a:ln>
              <a:noFill/>
            </a:ln>
          </p:spPr>
          <p:txBody>
            <a:bodyPr vert="horz" wrap="square" lIns="68574" tIns="34287" rIns="68574" bIns="34287"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Segoe UI"/>
                <a:ea typeface="+mn-ea"/>
                <a:cs typeface="+mn-cs"/>
              </a:endParaRPr>
            </a:p>
          </p:txBody>
        </p:sp>
        <p:sp>
          <p:nvSpPr>
            <p:cNvPr id="103" name="Freeform 102"/>
            <p:cNvSpPr>
              <a:spLocks noChangeAspect="1" noEditPoints="1"/>
            </p:cNvSpPr>
            <p:nvPr/>
          </p:nvSpPr>
          <p:spPr bwMode="black">
            <a:xfrm>
              <a:off x="722320" y="1783009"/>
              <a:ext cx="452202" cy="366660"/>
            </a:xfrm>
            <a:custGeom>
              <a:avLst/>
              <a:gdLst>
                <a:gd name="T0" fmla="*/ 600 w 1107"/>
                <a:gd name="T1" fmla="*/ 625 h 897"/>
                <a:gd name="T2" fmla="*/ 649 w 1107"/>
                <a:gd name="T3" fmla="*/ 567 h 897"/>
                <a:gd name="T4" fmla="*/ 727 w 1107"/>
                <a:gd name="T5" fmla="*/ 482 h 897"/>
                <a:gd name="T6" fmla="*/ 601 w 1107"/>
                <a:gd name="T7" fmla="*/ 434 h 897"/>
                <a:gd name="T8" fmla="*/ 628 w 1107"/>
                <a:gd name="T9" fmla="*/ 305 h 897"/>
                <a:gd name="T10" fmla="*/ 547 w 1107"/>
                <a:gd name="T11" fmla="*/ 240 h 897"/>
                <a:gd name="T12" fmla="*/ 427 w 1107"/>
                <a:gd name="T13" fmla="*/ 287 h 897"/>
                <a:gd name="T14" fmla="*/ 368 w 1107"/>
                <a:gd name="T15" fmla="*/ 170 h 897"/>
                <a:gd name="T16" fmla="*/ 285 w 1107"/>
                <a:gd name="T17" fmla="*/ 263 h 897"/>
                <a:gd name="T18" fmla="*/ 241 w 1107"/>
                <a:gd name="T19" fmla="*/ 313 h 897"/>
                <a:gd name="T20" fmla="*/ 139 w 1107"/>
                <a:gd name="T21" fmla="*/ 281 h 897"/>
                <a:gd name="T22" fmla="*/ 79 w 1107"/>
                <a:gd name="T23" fmla="*/ 355 h 897"/>
                <a:gd name="T24" fmla="*/ 132 w 1107"/>
                <a:gd name="T25" fmla="*/ 446 h 897"/>
                <a:gd name="T26" fmla="*/ 83 w 1107"/>
                <a:gd name="T27" fmla="*/ 505 h 897"/>
                <a:gd name="T28" fmla="*/ 5 w 1107"/>
                <a:gd name="T29" fmla="*/ 590 h 897"/>
                <a:gd name="T30" fmla="*/ 132 w 1107"/>
                <a:gd name="T31" fmla="*/ 638 h 897"/>
                <a:gd name="T32" fmla="*/ 145 w 1107"/>
                <a:gd name="T33" fmla="*/ 669 h 897"/>
                <a:gd name="T34" fmla="*/ 110 w 1107"/>
                <a:gd name="T35" fmla="*/ 793 h 897"/>
                <a:gd name="T36" fmla="*/ 230 w 1107"/>
                <a:gd name="T37" fmla="*/ 781 h 897"/>
                <a:gd name="T38" fmla="*/ 306 w 1107"/>
                <a:gd name="T39" fmla="*/ 785 h 897"/>
                <a:gd name="T40" fmla="*/ 346 w 1107"/>
                <a:gd name="T41" fmla="*/ 878 h 897"/>
                <a:gd name="T42" fmla="*/ 440 w 1107"/>
                <a:gd name="T43" fmla="*/ 872 h 897"/>
                <a:gd name="T44" fmla="*/ 466 w 1107"/>
                <a:gd name="T45" fmla="*/ 764 h 897"/>
                <a:gd name="T46" fmla="*/ 539 w 1107"/>
                <a:gd name="T47" fmla="*/ 755 h 897"/>
                <a:gd name="T48" fmla="*/ 659 w 1107"/>
                <a:gd name="T49" fmla="*/ 743 h 897"/>
                <a:gd name="T50" fmla="*/ 263 w 1107"/>
                <a:gd name="T51" fmla="*/ 452 h 897"/>
                <a:gd name="T52" fmla="*/ 281 w 1107"/>
                <a:gd name="T53" fmla="*/ 633 h 897"/>
                <a:gd name="T54" fmla="*/ 1002 w 1107"/>
                <a:gd name="T55" fmla="*/ 332 h 897"/>
                <a:gd name="T56" fmla="*/ 1043 w 1107"/>
                <a:gd name="T57" fmla="*/ 304 h 897"/>
                <a:gd name="T58" fmla="*/ 1107 w 1107"/>
                <a:gd name="T59" fmla="*/ 266 h 897"/>
                <a:gd name="T60" fmla="*/ 1037 w 1107"/>
                <a:gd name="T61" fmla="*/ 213 h 897"/>
                <a:gd name="T62" fmla="*/ 1077 w 1107"/>
                <a:gd name="T63" fmla="*/ 138 h 897"/>
                <a:gd name="T64" fmla="*/ 1038 w 1107"/>
                <a:gd name="T65" fmla="*/ 83 h 897"/>
                <a:gd name="T66" fmla="*/ 956 w 1107"/>
                <a:gd name="T67" fmla="*/ 91 h 897"/>
                <a:gd name="T68" fmla="*/ 940 w 1107"/>
                <a:gd name="T69" fmla="*/ 7 h 897"/>
                <a:gd name="T70" fmla="*/ 872 w 1107"/>
                <a:gd name="T71" fmla="*/ 50 h 897"/>
                <a:gd name="T72" fmla="*/ 836 w 1107"/>
                <a:gd name="T73" fmla="*/ 74 h 897"/>
                <a:gd name="T74" fmla="*/ 778 w 1107"/>
                <a:gd name="T75" fmla="*/ 35 h 897"/>
                <a:gd name="T76" fmla="*/ 728 w 1107"/>
                <a:gd name="T77" fmla="*/ 70 h 897"/>
                <a:gd name="T78" fmla="*/ 744 w 1107"/>
                <a:gd name="T79" fmla="*/ 136 h 897"/>
                <a:gd name="T80" fmla="*/ 703 w 1107"/>
                <a:gd name="T81" fmla="*/ 164 h 897"/>
                <a:gd name="T82" fmla="*/ 640 w 1107"/>
                <a:gd name="T83" fmla="*/ 203 h 897"/>
                <a:gd name="T84" fmla="*/ 710 w 1107"/>
                <a:gd name="T85" fmla="*/ 255 h 897"/>
                <a:gd name="T86" fmla="*/ 712 w 1107"/>
                <a:gd name="T87" fmla="*/ 277 h 897"/>
                <a:gd name="T88" fmla="*/ 668 w 1107"/>
                <a:gd name="T89" fmla="*/ 347 h 897"/>
                <a:gd name="T90" fmla="*/ 745 w 1107"/>
                <a:gd name="T91" fmla="*/ 361 h 897"/>
                <a:gd name="T92" fmla="*/ 791 w 1107"/>
                <a:gd name="T93" fmla="*/ 377 h 897"/>
                <a:gd name="T94" fmla="*/ 799 w 1107"/>
                <a:gd name="T95" fmla="*/ 443 h 897"/>
                <a:gd name="T96" fmla="*/ 859 w 1107"/>
                <a:gd name="T97" fmla="*/ 456 h 897"/>
                <a:gd name="T98" fmla="*/ 894 w 1107"/>
                <a:gd name="T99" fmla="*/ 393 h 897"/>
                <a:gd name="T100" fmla="*/ 941 w 1107"/>
                <a:gd name="T101" fmla="*/ 401 h 897"/>
                <a:gd name="T102" fmla="*/ 1018 w 1107"/>
                <a:gd name="T103" fmla="*/ 415 h 897"/>
                <a:gd name="T104" fmla="*/ 825 w 1107"/>
                <a:gd name="T105" fmla="*/ 164 h 897"/>
                <a:gd name="T106" fmla="*/ 803 w 1107"/>
                <a:gd name="T107" fmla="*/ 279 h 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107" h="897">
                  <a:moveTo>
                    <a:pt x="654" y="716"/>
                  </a:moveTo>
                  <a:cubicBezTo>
                    <a:pt x="616" y="670"/>
                    <a:pt x="616" y="670"/>
                    <a:pt x="616" y="670"/>
                  </a:cubicBezTo>
                  <a:cubicBezTo>
                    <a:pt x="593" y="654"/>
                    <a:pt x="603" y="638"/>
                    <a:pt x="600" y="625"/>
                  </a:cubicBezTo>
                  <a:cubicBezTo>
                    <a:pt x="600" y="625"/>
                    <a:pt x="600" y="625"/>
                    <a:pt x="600" y="625"/>
                  </a:cubicBezTo>
                  <a:cubicBezTo>
                    <a:pt x="605" y="617"/>
                    <a:pt x="611" y="609"/>
                    <a:pt x="608" y="596"/>
                  </a:cubicBezTo>
                  <a:cubicBezTo>
                    <a:pt x="618" y="580"/>
                    <a:pt x="623" y="572"/>
                    <a:pt x="649" y="567"/>
                  </a:cubicBezTo>
                  <a:cubicBezTo>
                    <a:pt x="715" y="553"/>
                    <a:pt x="715" y="553"/>
                    <a:pt x="715" y="553"/>
                  </a:cubicBezTo>
                  <a:cubicBezTo>
                    <a:pt x="728" y="550"/>
                    <a:pt x="733" y="542"/>
                    <a:pt x="730" y="529"/>
                  </a:cubicBezTo>
                  <a:cubicBezTo>
                    <a:pt x="727" y="482"/>
                    <a:pt x="727" y="482"/>
                    <a:pt x="727" y="482"/>
                  </a:cubicBezTo>
                  <a:cubicBezTo>
                    <a:pt x="724" y="469"/>
                    <a:pt x="717" y="463"/>
                    <a:pt x="701" y="453"/>
                  </a:cubicBezTo>
                  <a:cubicBezTo>
                    <a:pt x="641" y="459"/>
                    <a:pt x="641" y="459"/>
                    <a:pt x="641" y="459"/>
                  </a:cubicBezTo>
                  <a:cubicBezTo>
                    <a:pt x="620" y="457"/>
                    <a:pt x="604" y="447"/>
                    <a:pt x="601" y="434"/>
                  </a:cubicBezTo>
                  <a:cubicBezTo>
                    <a:pt x="598" y="421"/>
                    <a:pt x="590" y="416"/>
                    <a:pt x="580" y="397"/>
                  </a:cubicBezTo>
                  <a:cubicBezTo>
                    <a:pt x="577" y="384"/>
                    <a:pt x="574" y="371"/>
                    <a:pt x="584" y="355"/>
                  </a:cubicBezTo>
                  <a:cubicBezTo>
                    <a:pt x="628" y="305"/>
                    <a:pt x="628" y="305"/>
                    <a:pt x="628" y="305"/>
                  </a:cubicBezTo>
                  <a:cubicBezTo>
                    <a:pt x="634" y="297"/>
                    <a:pt x="631" y="284"/>
                    <a:pt x="623" y="279"/>
                  </a:cubicBezTo>
                  <a:cubicBezTo>
                    <a:pt x="581" y="240"/>
                    <a:pt x="581" y="240"/>
                    <a:pt x="581" y="240"/>
                  </a:cubicBezTo>
                  <a:cubicBezTo>
                    <a:pt x="573" y="235"/>
                    <a:pt x="560" y="238"/>
                    <a:pt x="547" y="240"/>
                  </a:cubicBezTo>
                  <a:cubicBezTo>
                    <a:pt x="503" y="291"/>
                    <a:pt x="503" y="291"/>
                    <a:pt x="503" y="291"/>
                  </a:cubicBezTo>
                  <a:cubicBezTo>
                    <a:pt x="484" y="302"/>
                    <a:pt x="471" y="304"/>
                    <a:pt x="463" y="299"/>
                  </a:cubicBezTo>
                  <a:cubicBezTo>
                    <a:pt x="456" y="294"/>
                    <a:pt x="435" y="292"/>
                    <a:pt x="427" y="287"/>
                  </a:cubicBezTo>
                  <a:cubicBezTo>
                    <a:pt x="419" y="282"/>
                    <a:pt x="403" y="271"/>
                    <a:pt x="400" y="258"/>
                  </a:cubicBezTo>
                  <a:cubicBezTo>
                    <a:pt x="386" y="193"/>
                    <a:pt x="386" y="193"/>
                    <a:pt x="386" y="193"/>
                  </a:cubicBezTo>
                  <a:cubicBezTo>
                    <a:pt x="384" y="180"/>
                    <a:pt x="368" y="170"/>
                    <a:pt x="368" y="170"/>
                  </a:cubicBezTo>
                  <a:cubicBezTo>
                    <a:pt x="308" y="176"/>
                    <a:pt x="308" y="176"/>
                    <a:pt x="308" y="176"/>
                  </a:cubicBezTo>
                  <a:cubicBezTo>
                    <a:pt x="308" y="176"/>
                    <a:pt x="289" y="187"/>
                    <a:pt x="292" y="200"/>
                  </a:cubicBezTo>
                  <a:cubicBezTo>
                    <a:pt x="285" y="263"/>
                    <a:pt x="285" y="263"/>
                    <a:pt x="285" y="263"/>
                  </a:cubicBezTo>
                  <a:cubicBezTo>
                    <a:pt x="291" y="289"/>
                    <a:pt x="277" y="292"/>
                    <a:pt x="272" y="300"/>
                  </a:cubicBezTo>
                  <a:cubicBezTo>
                    <a:pt x="272" y="300"/>
                    <a:pt x="272" y="300"/>
                    <a:pt x="267" y="308"/>
                  </a:cubicBezTo>
                  <a:cubicBezTo>
                    <a:pt x="259" y="302"/>
                    <a:pt x="246" y="305"/>
                    <a:pt x="241" y="313"/>
                  </a:cubicBezTo>
                  <a:cubicBezTo>
                    <a:pt x="236" y="321"/>
                    <a:pt x="236" y="321"/>
                    <a:pt x="236" y="321"/>
                  </a:cubicBezTo>
                  <a:cubicBezTo>
                    <a:pt x="223" y="324"/>
                    <a:pt x="210" y="327"/>
                    <a:pt x="194" y="317"/>
                  </a:cubicBezTo>
                  <a:cubicBezTo>
                    <a:pt x="139" y="281"/>
                    <a:pt x="139" y="281"/>
                    <a:pt x="139" y="281"/>
                  </a:cubicBezTo>
                  <a:cubicBezTo>
                    <a:pt x="131" y="276"/>
                    <a:pt x="110" y="273"/>
                    <a:pt x="104" y="281"/>
                  </a:cubicBezTo>
                  <a:cubicBezTo>
                    <a:pt x="79" y="321"/>
                    <a:pt x="79" y="321"/>
                    <a:pt x="79" y="321"/>
                  </a:cubicBezTo>
                  <a:cubicBezTo>
                    <a:pt x="66" y="324"/>
                    <a:pt x="68" y="337"/>
                    <a:pt x="79" y="355"/>
                  </a:cubicBezTo>
                  <a:cubicBezTo>
                    <a:pt x="121" y="394"/>
                    <a:pt x="121" y="394"/>
                    <a:pt x="121" y="394"/>
                  </a:cubicBezTo>
                  <a:cubicBezTo>
                    <a:pt x="140" y="417"/>
                    <a:pt x="135" y="425"/>
                    <a:pt x="132" y="446"/>
                  </a:cubicBezTo>
                  <a:cubicBezTo>
                    <a:pt x="132" y="446"/>
                    <a:pt x="132" y="446"/>
                    <a:pt x="132" y="446"/>
                  </a:cubicBezTo>
                  <a:cubicBezTo>
                    <a:pt x="127" y="454"/>
                    <a:pt x="122" y="462"/>
                    <a:pt x="117" y="470"/>
                  </a:cubicBezTo>
                  <a:cubicBezTo>
                    <a:pt x="117" y="470"/>
                    <a:pt x="117" y="470"/>
                    <a:pt x="117" y="470"/>
                  </a:cubicBezTo>
                  <a:cubicBezTo>
                    <a:pt x="120" y="483"/>
                    <a:pt x="109" y="499"/>
                    <a:pt x="83" y="505"/>
                  </a:cubicBezTo>
                  <a:cubicBezTo>
                    <a:pt x="23" y="511"/>
                    <a:pt x="23" y="511"/>
                    <a:pt x="23" y="511"/>
                  </a:cubicBezTo>
                  <a:cubicBezTo>
                    <a:pt x="10" y="514"/>
                    <a:pt x="0" y="529"/>
                    <a:pt x="2" y="543"/>
                  </a:cubicBezTo>
                  <a:cubicBezTo>
                    <a:pt x="5" y="590"/>
                    <a:pt x="5" y="590"/>
                    <a:pt x="5" y="590"/>
                  </a:cubicBezTo>
                  <a:cubicBezTo>
                    <a:pt x="8" y="603"/>
                    <a:pt x="16" y="608"/>
                    <a:pt x="37" y="610"/>
                  </a:cubicBezTo>
                  <a:cubicBezTo>
                    <a:pt x="92" y="612"/>
                    <a:pt x="92" y="612"/>
                    <a:pt x="92" y="612"/>
                  </a:cubicBezTo>
                  <a:cubicBezTo>
                    <a:pt x="113" y="614"/>
                    <a:pt x="129" y="625"/>
                    <a:pt x="132" y="638"/>
                  </a:cubicBezTo>
                  <a:cubicBezTo>
                    <a:pt x="132" y="638"/>
                    <a:pt x="132" y="638"/>
                    <a:pt x="132" y="638"/>
                  </a:cubicBezTo>
                  <a:cubicBezTo>
                    <a:pt x="140" y="643"/>
                    <a:pt x="142" y="656"/>
                    <a:pt x="150" y="661"/>
                  </a:cubicBezTo>
                  <a:cubicBezTo>
                    <a:pt x="145" y="669"/>
                    <a:pt x="145" y="669"/>
                    <a:pt x="145" y="669"/>
                  </a:cubicBezTo>
                  <a:cubicBezTo>
                    <a:pt x="153" y="674"/>
                    <a:pt x="156" y="687"/>
                    <a:pt x="140" y="711"/>
                  </a:cubicBezTo>
                  <a:cubicBezTo>
                    <a:pt x="109" y="759"/>
                    <a:pt x="109" y="759"/>
                    <a:pt x="109" y="759"/>
                  </a:cubicBezTo>
                  <a:cubicBezTo>
                    <a:pt x="99" y="775"/>
                    <a:pt x="102" y="788"/>
                    <a:pt x="110" y="793"/>
                  </a:cubicBezTo>
                  <a:cubicBezTo>
                    <a:pt x="152" y="832"/>
                    <a:pt x="152" y="832"/>
                    <a:pt x="152" y="832"/>
                  </a:cubicBezTo>
                  <a:cubicBezTo>
                    <a:pt x="160" y="837"/>
                    <a:pt x="173" y="834"/>
                    <a:pt x="178" y="826"/>
                  </a:cubicBezTo>
                  <a:cubicBezTo>
                    <a:pt x="230" y="781"/>
                    <a:pt x="230" y="781"/>
                    <a:pt x="230" y="781"/>
                  </a:cubicBezTo>
                  <a:cubicBezTo>
                    <a:pt x="248" y="770"/>
                    <a:pt x="261" y="767"/>
                    <a:pt x="269" y="772"/>
                  </a:cubicBezTo>
                  <a:cubicBezTo>
                    <a:pt x="269" y="772"/>
                    <a:pt x="269" y="772"/>
                    <a:pt x="269" y="772"/>
                  </a:cubicBezTo>
                  <a:cubicBezTo>
                    <a:pt x="282" y="769"/>
                    <a:pt x="298" y="779"/>
                    <a:pt x="306" y="785"/>
                  </a:cubicBezTo>
                  <a:cubicBezTo>
                    <a:pt x="306" y="785"/>
                    <a:pt x="306" y="785"/>
                    <a:pt x="306" y="785"/>
                  </a:cubicBezTo>
                  <a:cubicBezTo>
                    <a:pt x="319" y="782"/>
                    <a:pt x="327" y="787"/>
                    <a:pt x="332" y="813"/>
                  </a:cubicBezTo>
                  <a:cubicBezTo>
                    <a:pt x="346" y="878"/>
                    <a:pt x="346" y="878"/>
                    <a:pt x="346" y="878"/>
                  </a:cubicBezTo>
                  <a:cubicBezTo>
                    <a:pt x="349" y="892"/>
                    <a:pt x="357" y="897"/>
                    <a:pt x="370" y="894"/>
                  </a:cubicBezTo>
                  <a:cubicBezTo>
                    <a:pt x="425" y="896"/>
                    <a:pt x="425" y="896"/>
                    <a:pt x="425" y="896"/>
                  </a:cubicBezTo>
                  <a:cubicBezTo>
                    <a:pt x="430" y="888"/>
                    <a:pt x="443" y="885"/>
                    <a:pt x="440" y="872"/>
                  </a:cubicBezTo>
                  <a:cubicBezTo>
                    <a:pt x="440" y="804"/>
                    <a:pt x="440" y="804"/>
                    <a:pt x="440" y="804"/>
                  </a:cubicBezTo>
                  <a:cubicBezTo>
                    <a:pt x="442" y="783"/>
                    <a:pt x="460" y="772"/>
                    <a:pt x="466" y="764"/>
                  </a:cubicBezTo>
                  <a:cubicBezTo>
                    <a:pt x="466" y="764"/>
                    <a:pt x="466" y="764"/>
                    <a:pt x="466" y="764"/>
                  </a:cubicBezTo>
                  <a:cubicBezTo>
                    <a:pt x="479" y="761"/>
                    <a:pt x="492" y="758"/>
                    <a:pt x="497" y="750"/>
                  </a:cubicBezTo>
                  <a:cubicBezTo>
                    <a:pt x="497" y="750"/>
                    <a:pt x="497" y="750"/>
                    <a:pt x="497" y="750"/>
                  </a:cubicBezTo>
                  <a:cubicBezTo>
                    <a:pt x="510" y="747"/>
                    <a:pt x="523" y="745"/>
                    <a:pt x="539" y="755"/>
                  </a:cubicBezTo>
                  <a:cubicBezTo>
                    <a:pt x="594" y="791"/>
                    <a:pt x="594" y="791"/>
                    <a:pt x="594" y="791"/>
                  </a:cubicBezTo>
                  <a:cubicBezTo>
                    <a:pt x="602" y="796"/>
                    <a:pt x="623" y="798"/>
                    <a:pt x="628" y="790"/>
                  </a:cubicBezTo>
                  <a:cubicBezTo>
                    <a:pt x="659" y="743"/>
                    <a:pt x="659" y="743"/>
                    <a:pt x="659" y="743"/>
                  </a:cubicBezTo>
                  <a:cubicBezTo>
                    <a:pt x="659" y="743"/>
                    <a:pt x="669" y="727"/>
                    <a:pt x="654" y="716"/>
                  </a:cubicBezTo>
                  <a:close/>
                  <a:moveTo>
                    <a:pt x="281" y="633"/>
                  </a:moveTo>
                  <a:cubicBezTo>
                    <a:pt x="223" y="584"/>
                    <a:pt x="219" y="502"/>
                    <a:pt x="263" y="452"/>
                  </a:cubicBezTo>
                  <a:cubicBezTo>
                    <a:pt x="313" y="393"/>
                    <a:pt x="399" y="382"/>
                    <a:pt x="457" y="431"/>
                  </a:cubicBezTo>
                  <a:cubicBezTo>
                    <a:pt x="507" y="475"/>
                    <a:pt x="518" y="561"/>
                    <a:pt x="469" y="619"/>
                  </a:cubicBezTo>
                  <a:cubicBezTo>
                    <a:pt x="420" y="678"/>
                    <a:pt x="339" y="682"/>
                    <a:pt x="281" y="633"/>
                  </a:cubicBezTo>
                  <a:close/>
                  <a:moveTo>
                    <a:pt x="1019" y="398"/>
                  </a:moveTo>
                  <a:cubicBezTo>
                    <a:pt x="1004" y="362"/>
                    <a:pt x="1004" y="362"/>
                    <a:pt x="1004" y="362"/>
                  </a:cubicBezTo>
                  <a:cubicBezTo>
                    <a:pt x="992" y="348"/>
                    <a:pt x="1002" y="340"/>
                    <a:pt x="1002" y="332"/>
                  </a:cubicBezTo>
                  <a:cubicBezTo>
                    <a:pt x="1002" y="332"/>
                    <a:pt x="1002" y="332"/>
                    <a:pt x="1002" y="332"/>
                  </a:cubicBezTo>
                  <a:cubicBezTo>
                    <a:pt x="1007" y="328"/>
                    <a:pt x="1011" y="324"/>
                    <a:pt x="1012" y="315"/>
                  </a:cubicBezTo>
                  <a:cubicBezTo>
                    <a:pt x="1021" y="307"/>
                    <a:pt x="1026" y="303"/>
                    <a:pt x="1043" y="304"/>
                  </a:cubicBezTo>
                  <a:cubicBezTo>
                    <a:pt x="1086" y="307"/>
                    <a:pt x="1086" y="307"/>
                    <a:pt x="1086" y="307"/>
                  </a:cubicBezTo>
                  <a:cubicBezTo>
                    <a:pt x="1095" y="308"/>
                    <a:pt x="1099" y="304"/>
                    <a:pt x="1100" y="295"/>
                  </a:cubicBezTo>
                  <a:cubicBezTo>
                    <a:pt x="1107" y="266"/>
                    <a:pt x="1107" y="266"/>
                    <a:pt x="1107" y="266"/>
                  </a:cubicBezTo>
                  <a:cubicBezTo>
                    <a:pt x="1107" y="257"/>
                    <a:pt x="1103" y="252"/>
                    <a:pt x="1095" y="243"/>
                  </a:cubicBezTo>
                  <a:cubicBezTo>
                    <a:pt x="1057" y="236"/>
                    <a:pt x="1057" y="236"/>
                    <a:pt x="1057" y="236"/>
                  </a:cubicBezTo>
                  <a:cubicBezTo>
                    <a:pt x="1044" y="231"/>
                    <a:pt x="1036" y="222"/>
                    <a:pt x="1037" y="213"/>
                  </a:cubicBezTo>
                  <a:cubicBezTo>
                    <a:pt x="1038" y="205"/>
                    <a:pt x="1034" y="200"/>
                    <a:pt x="1030" y="187"/>
                  </a:cubicBezTo>
                  <a:cubicBezTo>
                    <a:pt x="1031" y="178"/>
                    <a:pt x="1032" y="170"/>
                    <a:pt x="1041" y="162"/>
                  </a:cubicBezTo>
                  <a:cubicBezTo>
                    <a:pt x="1077" y="138"/>
                    <a:pt x="1077" y="138"/>
                    <a:pt x="1077" y="138"/>
                  </a:cubicBezTo>
                  <a:cubicBezTo>
                    <a:pt x="1082" y="134"/>
                    <a:pt x="1083" y="126"/>
                    <a:pt x="1079" y="121"/>
                  </a:cubicBezTo>
                  <a:cubicBezTo>
                    <a:pt x="1059" y="89"/>
                    <a:pt x="1059" y="89"/>
                    <a:pt x="1059" y="89"/>
                  </a:cubicBezTo>
                  <a:cubicBezTo>
                    <a:pt x="1055" y="85"/>
                    <a:pt x="1047" y="84"/>
                    <a:pt x="1038" y="83"/>
                  </a:cubicBezTo>
                  <a:cubicBezTo>
                    <a:pt x="1002" y="107"/>
                    <a:pt x="1002" y="107"/>
                    <a:pt x="1002" y="107"/>
                  </a:cubicBezTo>
                  <a:cubicBezTo>
                    <a:pt x="989" y="110"/>
                    <a:pt x="980" y="110"/>
                    <a:pt x="976" y="105"/>
                  </a:cubicBezTo>
                  <a:cubicBezTo>
                    <a:pt x="972" y="100"/>
                    <a:pt x="960" y="95"/>
                    <a:pt x="956" y="91"/>
                  </a:cubicBezTo>
                  <a:cubicBezTo>
                    <a:pt x="952" y="86"/>
                    <a:pt x="944" y="77"/>
                    <a:pt x="944" y="68"/>
                  </a:cubicBezTo>
                  <a:cubicBezTo>
                    <a:pt x="948" y="25"/>
                    <a:pt x="948" y="25"/>
                    <a:pt x="948" y="25"/>
                  </a:cubicBezTo>
                  <a:cubicBezTo>
                    <a:pt x="948" y="17"/>
                    <a:pt x="940" y="7"/>
                    <a:pt x="940" y="7"/>
                  </a:cubicBezTo>
                  <a:cubicBezTo>
                    <a:pt x="902" y="0"/>
                    <a:pt x="902" y="0"/>
                    <a:pt x="902" y="0"/>
                  </a:cubicBezTo>
                  <a:cubicBezTo>
                    <a:pt x="902" y="0"/>
                    <a:pt x="889" y="4"/>
                    <a:pt x="888" y="12"/>
                  </a:cubicBezTo>
                  <a:cubicBezTo>
                    <a:pt x="872" y="50"/>
                    <a:pt x="872" y="50"/>
                    <a:pt x="872" y="50"/>
                  </a:cubicBezTo>
                  <a:cubicBezTo>
                    <a:pt x="871" y="67"/>
                    <a:pt x="862" y="67"/>
                    <a:pt x="858" y="71"/>
                  </a:cubicBezTo>
                  <a:cubicBezTo>
                    <a:pt x="858" y="71"/>
                    <a:pt x="858" y="71"/>
                    <a:pt x="853" y="75"/>
                  </a:cubicBezTo>
                  <a:cubicBezTo>
                    <a:pt x="849" y="70"/>
                    <a:pt x="840" y="70"/>
                    <a:pt x="836" y="74"/>
                  </a:cubicBezTo>
                  <a:cubicBezTo>
                    <a:pt x="831" y="78"/>
                    <a:pt x="831" y="78"/>
                    <a:pt x="831" y="78"/>
                  </a:cubicBezTo>
                  <a:cubicBezTo>
                    <a:pt x="822" y="77"/>
                    <a:pt x="814" y="76"/>
                    <a:pt x="806" y="67"/>
                  </a:cubicBezTo>
                  <a:cubicBezTo>
                    <a:pt x="778" y="35"/>
                    <a:pt x="778" y="35"/>
                    <a:pt x="778" y="35"/>
                  </a:cubicBezTo>
                  <a:cubicBezTo>
                    <a:pt x="774" y="30"/>
                    <a:pt x="762" y="25"/>
                    <a:pt x="757" y="29"/>
                  </a:cubicBezTo>
                  <a:cubicBezTo>
                    <a:pt x="734" y="49"/>
                    <a:pt x="734" y="49"/>
                    <a:pt x="734" y="49"/>
                  </a:cubicBezTo>
                  <a:cubicBezTo>
                    <a:pt x="725" y="49"/>
                    <a:pt x="725" y="57"/>
                    <a:pt x="728" y="70"/>
                  </a:cubicBezTo>
                  <a:cubicBezTo>
                    <a:pt x="747" y="102"/>
                    <a:pt x="747" y="102"/>
                    <a:pt x="747" y="102"/>
                  </a:cubicBezTo>
                  <a:cubicBezTo>
                    <a:pt x="754" y="120"/>
                    <a:pt x="750" y="124"/>
                    <a:pt x="744" y="136"/>
                  </a:cubicBezTo>
                  <a:cubicBezTo>
                    <a:pt x="744" y="136"/>
                    <a:pt x="744" y="136"/>
                    <a:pt x="744" y="136"/>
                  </a:cubicBezTo>
                  <a:cubicBezTo>
                    <a:pt x="740" y="140"/>
                    <a:pt x="735" y="144"/>
                    <a:pt x="731" y="148"/>
                  </a:cubicBezTo>
                  <a:cubicBezTo>
                    <a:pt x="731" y="148"/>
                    <a:pt x="731" y="148"/>
                    <a:pt x="731" y="148"/>
                  </a:cubicBezTo>
                  <a:cubicBezTo>
                    <a:pt x="730" y="157"/>
                    <a:pt x="721" y="165"/>
                    <a:pt x="703" y="164"/>
                  </a:cubicBezTo>
                  <a:cubicBezTo>
                    <a:pt x="665" y="157"/>
                    <a:pt x="665" y="157"/>
                    <a:pt x="665" y="157"/>
                  </a:cubicBezTo>
                  <a:cubicBezTo>
                    <a:pt x="656" y="156"/>
                    <a:pt x="647" y="164"/>
                    <a:pt x="647" y="173"/>
                  </a:cubicBezTo>
                  <a:cubicBezTo>
                    <a:pt x="640" y="203"/>
                    <a:pt x="640" y="203"/>
                    <a:pt x="640" y="203"/>
                  </a:cubicBezTo>
                  <a:cubicBezTo>
                    <a:pt x="639" y="211"/>
                    <a:pt x="643" y="216"/>
                    <a:pt x="656" y="221"/>
                  </a:cubicBezTo>
                  <a:cubicBezTo>
                    <a:pt x="690" y="232"/>
                    <a:pt x="690" y="232"/>
                    <a:pt x="690" y="232"/>
                  </a:cubicBezTo>
                  <a:cubicBezTo>
                    <a:pt x="702" y="237"/>
                    <a:pt x="710" y="246"/>
                    <a:pt x="710" y="255"/>
                  </a:cubicBezTo>
                  <a:cubicBezTo>
                    <a:pt x="710" y="255"/>
                    <a:pt x="710" y="255"/>
                    <a:pt x="710" y="255"/>
                  </a:cubicBezTo>
                  <a:cubicBezTo>
                    <a:pt x="714" y="260"/>
                    <a:pt x="713" y="268"/>
                    <a:pt x="717" y="273"/>
                  </a:cubicBezTo>
                  <a:cubicBezTo>
                    <a:pt x="712" y="277"/>
                    <a:pt x="712" y="277"/>
                    <a:pt x="712" y="277"/>
                  </a:cubicBezTo>
                  <a:cubicBezTo>
                    <a:pt x="716" y="281"/>
                    <a:pt x="716" y="290"/>
                    <a:pt x="702" y="302"/>
                  </a:cubicBezTo>
                  <a:cubicBezTo>
                    <a:pt x="674" y="326"/>
                    <a:pt x="674" y="326"/>
                    <a:pt x="674" y="326"/>
                  </a:cubicBezTo>
                  <a:cubicBezTo>
                    <a:pt x="665" y="334"/>
                    <a:pt x="664" y="343"/>
                    <a:pt x="668" y="347"/>
                  </a:cubicBezTo>
                  <a:cubicBezTo>
                    <a:pt x="687" y="379"/>
                    <a:pt x="687" y="379"/>
                    <a:pt x="687" y="379"/>
                  </a:cubicBezTo>
                  <a:cubicBezTo>
                    <a:pt x="691" y="383"/>
                    <a:pt x="700" y="384"/>
                    <a:pt x="704" y="380"/>
                  </a:cubicBezTo>
                  <a:cubicBezTo>
                    <a:pt x="745" y="361"/>
                    <a:pt x="745" y="361"/>
                    <a:pt x="745" y="361"/>
                  </a:cubicBezTo>
                  <a:cubicBezTo>
                    <a:pt x="758" y="358"/>
                    <a:pt x="767" y="358"/>
                    <a:pt x="771" y="363"/>
                  </a:cubicBezTo>
                  <a:cubicBezTo>
                    <a:pt x="771" y="363"/>
                    <a:pt x="771" y="363"/>
                    <a:pt x="771" y="363"/>
                  </a:cubicBezTo>
                  <a:cubicBezTo>
                    <a:pt x="779" y="364"/>
                    <a:pt x="787" y="373"/>
                    <a:pt x="791" y="377"/>
                  </a:cubicBezTo>
                  <a:cubicBezTo>
                    <a:pt x="791" y="377"/>
                    <a:pt x="791" y="377"/>
                    <a:pt x="791" y="377"/>
                  </a:cubicBezTo>
                  <a:cubicBezTo>
                    <a:pt x="800" y="378"/>
                    <a:pt x="804" y="383"/>
                    <a:pt x="802" y="400"/>
                  </a:cubicBezTo>
                  <a:cubicBezTo>
                    <a:pt x="799" y="443"/>
                    <a:pt x="799" y="443"/>
                    <a:pt x="799" y="443"/>
                  </a:cubicBezTo>
                  <a:cubicBezTo>
                    <a:pt x="798" y="451"/>
                    <a:pt x="802" y="456"/>
                    <a:pt x="811" y="457"/>
                  </a:cubicBezTo>
                  <a:cubicBezTo>
                    <a:pt x="845" y="468"/>
                    <a:pt x="845" y="468"/>
                    <a:pt x="845" y="468"/>
                  </a:cubicBezTo>
                  <a:cubicBezTo>
                    <a:pt x="849" y="464"/>
                    <a:pt x="858" y="464"/>
                    <a:pt x="859" y="456"/>
                  </a:cubicBezTo>
                  <a:cubicBezTo>
                    <a:pt x="871" y="413"/>
                    <a:pt x="871" y="413"/>
                    <a:pt x="871" y="413"/>
                  </a:cubicBezTo>
                  <a:cubicBezTo>
                    <a:pt x="876" y="401"/>
                    <a:pt x="889" y="397"/>
                    <a:pt x="894" y="393"/>
                  </a:cubicBezTo>
                  <a:cubicBezTo>
                    <a:pt x="894" y="393"/>
                    <a:pt x="894" y="393"/>
                    <a:pt x="894" y="393"/>
                  </a:cubicBezTo>
                  <a:cubicBezTo>
                    <a:pt x="902" y="394"/>
                    <a:pt x="911" y="395"/>
                    <a:pt x="916" y="391"/>
                  </a:cubicBezTo>
                  <a:cubicBezTo>
                    <a:pt x="916" y="391"/>
                    <a:pt x="916" y="391"/>
                    <a:pt x="916" y="391"/>
                  </a:cubicBezTo>
                  <a:cubicBezTo>
                    <a:pt x="924" y="391"/>
                    <a:pt x="933" y="392"/>
                    <a:pt x="941" y="401"/>
                  </a:cubicBezTo>
                  <a:cubicBezTo>
                    <a:pt x="969" y="433"/>
                    <a:pt x="969" y="433"/>
                    <a:pt x="969" y="433"/>
                  </a:cubicBezTo>
                  <a:cubicBezTo>
                    <a:pt x="973" y="438"/>
                    <a:pt x="985" y="443"/>
                    <a:pt x="990" y="439"/>
                  </a:cubicBezTo>
                  <a:cubicBezTo>
                    <a:pt x="1018" y="415"/>
                    <a:pt x="1018" y="415"/>
                    <a:pt x="1018" y="415"/>
                  </a:cubicBezTo>
                  <a:cubicBezTo>
                    <a:pt x="1018" y="415"/>
                    <a:pt x="1027" y="407"/>
                    <a:pt x="1019" y="398"/>
                  </a:cubicBezTo>
                  <a:close/>
                  <a:moveTo>
                    <a:pt x="803" y="279"/>
                  </a:moveTo>
                  <a:cubicBezTo>
                    <a:pt x="776" y="238"/>
                    <a:pt x="788" y="187"/>
                    <a:pt x="825" y="164"/>
                  </a:cubicBezTo>
                  <a:cubicBezTo>
                    <a:pt x="866" y="136"/>
                    <a:pt x="921" y="144"/>
                    <a:pt x="948" y="185"/>
                  </a:cubicBezTo>
                  <a:cubicBezTo>
                    <a:pt x="972" y="221"/>
                    <a:pt x="963" y="277"/>
                    <a:pt x="922" y="304"/>
                  </a:cubicBezTo>
                  <a:cubicBezTo>
                    <a:pt x="881" y="332"/>
                    <a:pt x="830" y="320"/>
                    <a:pt x="803" y="279"/>
                  </a:cubicBezTo>
                  <a:close/>
                </a:path>
              </a:pathLst>
            </a:custGeom>
            <a:solidFill>
              <a:schemeClr val="tx1"/>
            </a:solidFill>
            <a:ln>
              <a:noFill/>
            </a:ln>
          </p:spPr>
          <p:txBody>
            <a:bodyPr vert="horz" wrap="square" lIns="68574" tIns="34287" rIns="68574" bIns="34287"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17346"/>
                </a:solidFill>
                <a:effectLst/>
                <a:uLnTx/>
                <a:uFillTx/>
                <a:latin typeface="Segoe UI"/>
                <a:ea typeface="+mn-ea"/>
                <a:cs typeface="+mn-cs"/>
              </a:endParaRPr>
            </a:p>
          </p:txBody>
        </p:sp>
        <p:sp>
          <p:nvSpPr>
            <p:cNvPr id="104" name="Freeform 103"/>
            <p:cNvSpPr>
              <a:spLocks noChangeAspect="1"/>
            </p:cNvSpPr>
            <p:nvPr/>
          </p:nvSpPr>
          <p:spPr bwMode="black">
            <a:xfrm>
              <a:off x="776985" y="4213905"/>
              <a:ext cx="342871" cy="335728"/>
            </a:xfrm>
            <a:custGeom>
              <a:avLst/>
              <a:gdLst>
                <a:gd name="connsiteX0" fmla="*/ 3713863 w 4893730"/>
                <a:gd name="connsiteY0" fmla="*/ 2130808 h 4791777"/>
                <a:gd name="connsiteX1" fmla="*/ 4426142 w 4893730"/>
                <a:gd name="connsiteY1" fmla="*/ 2130808 h 4791777"/>
                <a:gd name="connsiteX2" fmla="*/ 4598071 w 4893730"/>
                <a:gd name="connsiteY2" fmla="*/ 2301547 h 4791777"/>
                <a:gd name="connsiteX3" fmla="*/ 4598071 w 4893730"/>
                <a:gd name="connsiteY3" fmla="*/ 3886978 h 4791777"/>
                <a:gd name="connsiteX4" fmla="*/ 4426142 w 4893730"/>
                <a:gd name="connsiteY4" fmla="*/ 4057717 h 4791777"/>
                <a:gd name="connsiteX5" fmla="*/ 3713863 w 4893730"/>
                <a:gd name="connsiteY5" fmla="*/ 4057717 h 4791777"/>
                <a:gd name="connsiteX6" fmla="*/ 3517372 w 4893730"/>
                <a:gd name="connsiteY6" fmla="*/ 3886978 h 4791777"/>
                <a:gd name="connsiteX7" fmla="*/ 3517372 w 4893730"/>
                <a:gd name="connsiteY7" fmla="*/ 2301547 h 4791777"/>
                <a:gd name="connsiteX8" fmla="*/ 3713863 w 4893730"/>
                <a:gd name="connsiteY8" fmla="*/ 2130808 h 4791777"/>
                <a:gd name="connsiteX9" fmla="*/ 904368 w 4893730"/>
                <a:gd name="connsiteY9" fmla="*/ 1223432 h 4791777"/>
                <a:gd name="connsiteX10" fmla="*/ 1609930 w 4893730"/>
                <a:gd name="connsiteY10" fmla="*/ 1223432 h 4791777"/>
                <a:gd name="connsiteX11" fmla="*/ 1804567 w 4893730"/>
                <a:gd name="connsiteY11" fmla="*/ 1394467 h 4791777"/>
                <a:gd name="connsiteX12" fmla="*/ 1804567 w 4893730"/>
                <a:gd name="connsiteY12" fmla="*/ 3886683 h 4791777"/>
                <a:gd name="connsiteX13" fmla="*/ 1609930 w 4893730"/>
                <a:gd name="connsiteY13" fmla="*/ 4057717 h 4791777"/>
                <a:gd name="connsiteX14" fmla="*/ 904368 w 4893730"/>
                <a:gd name="connsiteY14" fmla="*/ 4057717 h 4791777"/>
                <a:gd name="connsiteX15" fmla="*/ 734060 w 4893730"/>
                <a:gd name="connsiteY15" fmla="*/ 3886683 h 4791777"/>
                <a:gd name="connsiteX16" fmla="*/ 734060 w 4893730"/>
                <a:gd name="connsiteY16" fmla="*/ 1394467 h 4791777"/>
                <a:gd name="connsiteX17" fmla="*/ 904368 w 4893730"/>
                <a:gd name="connsiteY17" fmla="*/ 1223432 h 4791777"/>
                <a:gd name="connsiteX18" fmla="*/ 2325453 w 4893730"/>
                <a:gd name="connsiteY18" fmla="*/ 316050 h 4791777"/>
                <a:gd name="connsiteX19" fmla="*/ 3031014 w 4893730"/>
                <a:gd name="connsiteY19" fmla="*/ 316050 h 4791777"/>
                <a:gd name="connsiteX20" fmla="*/ 3201322 w 4893730"/>
                <a:gd name="connsiteY20" fmla="*/ 487238 h 4791777"/>
                <a:gd name="connsiteX21" fmla="*/ 3201322 w 4893730"/>
                <a:gd name="connsiteY21" fmla="*/ 3886530 h 4791777"/>
                <a:gd name="connsiteX22" fmla="*/ 3031014 w 4893730"/>
                <a:gd name="connsiteY22" fmla="*/ 4057717 h 4791777"/>
                <a:gd name="connsiteX23" fmla="*/ 2325453 w 4893730"/>
                <a:gd name="connsiteY23" fmla="*/ 4057717 h 4791777"/>
                <a:gd name="connsiteX24" fmla="*/ 2130815 w 4893730"/>
                <a:gd name="connsiteY24" fmla="*/ 3886530 h 4791777"/>
                <a:gd name="connsiteX25" fmla="*/ 2130815 w 4893730"/>
                <a:gd name="connsiteY25" fmla="*/ 487238 h 4791777"/>
                <a:gd name="connsiteX26" fmla="*/ 2325453 w 4893730"/>
                <a:gd name="connsiteY26" fmla="*/ 316050 h 4791777"/>
                <a:gd name="connsiteX27" fmla="*/ 269155 w 4893730"/>
                <a:gd name="connsiteY27" fmla="*/ 0 h 4791777"/>
                <a:gd name="connsiteX28" fmla="*/ 538311 w 4893730"/>
                <a:gd name="connsiteY28" fmla="*/ 268927 h 4791777"/>
                <a:gd name="connsiteX29" fmla="*/ 538311 w 4893730"/>
                <a:gd name="connsiteY29" fmla="*/ 4253925 h 4791777"/>
                <a:gd name="connsiteX30" fmla="*/ 4624575 w 4893730"/>
                <a:gd name="connsiteY30" fmla="*/ 4253925 h 4791777"/>
                <a:gd name="connsiteX31" fmla="*/ 4893730 w 4893730"/>
                <a:gd name="connsiteY31" fmla="*/ 4522851 h 4791777"/>
                <a:gd name="connsiteX32" fmla="*/ 4624575 w 4893730"/>
                <a:gd name="connsiteY32" fmla="*/ 4791777 h 4791777"/>
                <a:gd name="connsiteX33" fmla="*/ 269155 w 4893730"/>
                <a:gd name="connsiteY33" fmla="*/ 4791777 h 4791777"/>
                <a:gd name="connsiteX34" fmla="*/ 0 w 4893730"/>
                <a:gd name="connsiteY34" fmla="*/ 4522851 h 4791777"/>
                <a:gd name="connsiteX35" fmla="*/ 0 w 4893730"/>
                <a:gd name="connsiteY35" fmla="*/ 268927 h 4791777"/>
                <a:gd name="connsiteX36" fmla="*/ 269155 w 4893730"/>
                <a:gd name="connsiteY36" fmla="*/ 0 h 4791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4893730" h="4791777">
                  <a:moveTo>
                    <a:pt x="3713863" y="2130808"/>
                  </a:moveTo>
                  <a:cubicBezTo>
                    <a:pt x="3713863" y="2130808"/>
                    <a:pt x="3713863" y="2130808"/>
                    <a:pt x="4426142" y="2130808"/>
                  </a:cubicBezTo>
                  <a:cubicBezTo>
                    <a:pt x="4524387" y="2130808"/>
                    <a:pt x="4598071" y="2203982"/>
                    <a:pt x="4598071" y="2301547"/>
                  </a:cubicBezTo>
                  <a:cubicBezTo>
                    <a:pt x="4598071" y="2301547"/>
                    <a:pt x="4598071" y="2301547"/>
                    <a:pt x="4598071" y="3886978"/>
                  </a:cubicBezTo>
                  <a:cubicBezTo>
                    <a:pt x="4598071" y="3984543"/>
                    <a:pt x="4524387" y="4057717"/>
                    <a:pt x="4426142" y="4057717"/>
                  </a:cubicBezTo>
                  <a:cubicBezTo>
                    <a:pt x="4426142" y="4057717"/>
                    <a:pt x="4426142" y="4057717"/>
                    <a:pt x="3713863" y="4057717"/>
                  </a:cubicBezTo>
                  <a:cubicBezTo>
                    <a:pt x="3615618" y="4057717"/>
                    <a:pt x="3517372" y="3984543"/>
                    <a:pt x="3517372" y="3886978"/>
                  </a:cubicBezTo>
                  <a:cubicBezTo>
                    <a:pt x="3517372" y="3886978"/>
                    <a:pt x="3517372" y="3886978"/>
                    <a:pt x="3517372" y="2301547"/>
                  </a:cubicBezTo>
                  <a:cubicBezTo>
                    <a:pt x="3517372" y="2203982"/>
                    <a:pt x="3615618" y="2130808"/>
                    <a:pt x="3713863" y="2130808"/>
                  </a:cubicBezTo>
                  <a:close/>
                  <a:moveTo>
                    <a:pt x="904368" y="1223432"/>
                  </a:moveTo>
                  <a:cubicBezTo>
                    <a:pt x="904368" y="1223432"/>
                    <a:pt x="904368" y="1223432"/>
                    <a:pt x="1609930" y="1223432"/>
                  </a:cubicBezTo>
                  <a:cubicBezTo>
                    <a:pt x="1731578" y="1223432"/>
                    <a:pt x="1804567" y="1296733"/>
                    <a:pt x="1804567" y="1394467"/>
                  </a:cubicBezTo>
                  <a:cubicBezTo>
                    <a:pt x="1804567" y="1394467"/>
                    <a:pt x="1804567" y="1394467"/>
                    <a:pt x="1804567" y="3886683"/>
                  </a:cubicBezTo>
                  <a:cubicBezTo>
                    <a:pt x="1804567" y="3984417"/>
                    <a:pt x="1731578" y="4057717"/>
                    <a:pt x="1609930" y="4057717"/>
                  </a:cubicBezTo>
                  <a:cubicBezTo>
                    <a:pt x="1609930" y="4057717"/>
                    <a:pt x="1609930" y="4057717"/>
                    <a:pt x="904368" y="4057717"/>
                  </a:cubicBezTo>
                  <a:cubicBezTo>
                    <a:pt x="807049" y="4057717"/>
                    <a:pt x="734060" y="3984417"/>
                    <a:pt x="734060" y="3886683"/>
                  </a:cubicBezTo>
                  <a:cubicBezTo>
                    <a:pt x="734060" y="3886683"/>
                    <a:pt x="734060" y="3886683"/>
                    <a:pt x="734060" y="1394467"/>
                  </a:cubicBezTo>
                  <a:cubicBezTo>
                    <a:pt x="734060" y="1296733"/>
                    <a:pt x="807049" y="1223432"/>
                    <a:pt x="904368" y="1223432"/>
                  </a:cubicBezTo>
                  <a:close/>
                  <a:moveTo>
                    <a:pt x="2325453" y="316050"/>
                  </a:moveTo>
                  <a:cubicBezTo>
                    <a:pt x="2325453" y="316050"/>
                    <a:pt x="2325453" y="316050"/>
                    <a:pt x="3031014" y="316050"/>
                  </a:cubicBezTo>
                  <a:cubicBezTo>
                    <a:pt x="3128333" y="316050"/>
                    <a:pt x="3201322" y="389416"/>
                    <a:pt x="3201322" y="487238"/>
                  </a:cubicBezTo>
                  <a:cubicBezTo>
                    <a:pt x="3201322" y="487238"/>
                    <a:pt x="3201322" y="487238"/>
                    <a:pt x="3201322" y="3886530"/>
                  </a:cubicBezTo>
                  <a:cubicBezTo>
                    <a:pt x="3201322" y="3984351"/>
                    <a:pt x="3128333" y="4057717"/>
                    <a:pt x="3031014" y="4057717"/>
                  </a:cubicBezTo>
                  <a:cubicBezTo>
                    <a:pt x="3031014" y="4057717"/>
                    <a:pt x="3031014" y="4057717"/>
                    <a:pt x="2325453" y="4057717"/>
                  </a:cubicBezTo>
                  <a:cubicBezTo>
                    <a:pt x="2203804" y="4057717"/>
                    <a:pt x="2130815" y="3984351"/>
                    <a:pt x="2130815" y="3886530"/>
                  </a:cubicBezTo>
                  <a:cubicBezTo>
                    <a:pt x="2130815" y="3886530"/>
                    <a:pt x="2130815" y="3886530"/>
                    <a:pt x="2130815" y="487238"/>
                  </a:cubicBezTo>
                  <a:cubicBezTo>
                    <a:pt x="2130815" y="389416"/>
                    <a:pt x="2203804" y="316050"/>
                    <a:pt x="2325453" y="316050"/>
                  </a:cubicBezTo>
                  <a:close/>
                  <a:moveTo>
                    <a:pt x="269155" y="0"/>
                  </a:moveTo>
                  <a:cubicBezTo>
                    <a:pt x="415967" y="0"/>
                    <a:pt x="538311" y="122239"/>
                    <a:pt x="538311" y="268927"/>
                  </a:cubicBezTo>
                  <a:cubicBezTo>
                    <a:pt x="538311" y="268927"/>
                    <a:pt x="538311" y="268927"/>
                    <a:pt x="538311" y="4253925"/>
                  </a:cubicBezTo>
                  <a:cubicBezTo>
                    <a:pt x="538311" y="4253925"/>
                    <a:pt x="538311" y="4253925"/>
                    <a:pt x="4624575" y="4253925"/>
                  </a:cubicBezTo>
                  <a:cubicBezTo>
                    <a:pt x="4771387" y="4253925"/>
                    <a:pt x="4893730" y="4376164"/>
                    <a:pt x="4893730" y="4522851"/>
                  </a:cubicBezTo>
                  <a:cubicBezTo>
                    <a:pt x="4893730" y="4669538"/>
                    <a:pt x="4771387" y="4791777"/>
                    <a:pt x="4624575" y="4791777"/>
                  </a:cubicBezTo>
                  <a:cubicBezTo>
                    <a:pt x="4624575" y="4791777"/>
                    <a:pt x="4624575" y="4791777"/>
                    <a:pt x="269155" y="4791777"/>
                  </a:cubicBezTo>
                  <a:cubicBezTo>
                    <a:pt x="122344" y="4791777"/>
                    <a:pt x="0" y="4669538"/>
                    <a:pt x="0" y="4522851"/>
                  </a:cubicBezTo>
                  <a:cubicBezTo>
                    <a:pt x="0" y="4522851"/>
                    <a:pt x="0" y="4522851"/>
                    <a:pt x="0" y="268927"/>
                  </a:cubicBezTo>
                  <a:cubicBezTo>
                    <a:pt x="0" y="122239"/>
                    <a:pt x="122344" y="0"/>
                    <a:pt x="269155"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37148" tIns="109719" rIns="137148" bIns="109719"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699261"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5" name="Rectangle 104"/>
            <p:cNvSpPr/>
            <p:nvPr/>
          </p:nvSpPr>
          <p:spPr bwMode="auto">
            <a:xfrm rot="2745734">
              <a:off x="886688" y="2210975"/>
              <a:ext cx="1598323" cy="1625795"/>
            </a:xfrm>
            <a:prstGeom prst="rect">
              <a:avLst/>
            </a:prstGeom>
            <a:solidFill>
              <a:schemeClr val="tx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6" name="Rectangle 105"/>
            <p:cNvSpPr/>
            <p:nvPr/>
          </p:nvSpPr>
          <p:spPr bwMode="auto">
            <a:xfrm rot="2745734">
              <a:off x="292433" y="3819160"/>
              <a:ext cx="1610349" cy="1235003"/>
            </a:xfrm>
            <a:prstGeom prst="rect">
              <a:avLst/>
            </a:prstGeom>
            <a:solidFill>
              <a:schemeClr val="tx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7" name="Rectangle 106"/>
            <p:cNvSpPr/>
            <p:nvPr/>
          </p:nvSpPr>
          <p:spPr bwMode="auto">
            <a:xfrm rot="2745734">
              <a:off x="1315610" y="4915701"/>
              <a:ext cx="1263370" cy="1255989"/>
            </a:xfrm>
            <a:prstGeom prst="rect">
              <a:avLst/>
            </a:prstGeom>
            <a:solidFill>
              <a:schemeClr val="tx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37" name="Title 10"/>
          <p:cNvSpPr txBox="1">
            <a:spLocks/>
          </p:cNvSpPr>
          <p:nvPr/>
        </p:nvSpPr>
        <p:spPr>
          <a:xfrm>
            <a:off x="2849060" y="0"/>
            <a:ext cx="9342940" cy="665151"/>
          </a:xfrm>
          <a:prstGeom prst="rect">
            <a:avLst/>
          </a:prstGeom>
          <a:noFill/>
        </p:spPr>
        <p:txBody>
          <a:bodyPr vert="horz" wrap="square" lIns="0" tIns="91440" rIns="0" bIns="91440" rtlCol="0" anchor="t">
            <a:noAutofit/>
          </a:bodyPr>
          <a:lstStyle>
            <a:lvl1pPr defTabSz="914367">
              <a:lnSpc>
                <a:spcPct val="90000"/>
              </a:lnSpc>
              <a:spcBef>
                <a:spcPct val="0"/>
              </a:spcBef>
              <a:buNone/>
              <a:defRPr lang="en-US" sz="5294" b="0" cap="none" spc="-100" baseline="0" dirty="0" smtClean="0">
                <a:ln w="3175">
                  <a:noFill/>
                </a:ln>
                <a:solidFill>
                  <a:schemeClr val="tx2"/>
                </a:solidFill>
                <a:effectLst/>
                <a:latin typeface="+mj-lt"/>
                <a:cs typeface="Segoe UI" pitchFamily="34" charset="0"/>
              </a:defRPr>
            </a:lvl1pPr>
          </a:lstStyle>
          <a:p>
            <a:pPr marL="168275" marR="0" lvl="0" indent="0" algn="l" defTabSz="914367" rtl="0" eaLnBrk="1" fontAlgn="auto" latinLnBrk="0" hangingPunct="1">
              <a:lnSpc>
                <a:spcPct val="90000"/>
              </a:lnSpc>
              <a:spcBef>
                <a:spcPct val="0"/>
              </a:spcBef>
              <a:spcAft>
                <a:spcPts val="0"/>
              </a:spcAft>
              <a:buClrTx/>
              <a:buSzTx/>
              <a:buFontTx/>
              <a:buNone/>
              <a:tabLst/>
              <a:defRPr/>
            </a:pPr>
            <a:r>
              <a:rPr kumimoji="0" lang="en-US" sz="3600" b="0" i="0" u="none" strike="noStrike" kern="1200" cap="none" spc="-100" normalizeH="0" baseline="0" noProof="0">
                <a:ln w="3175">
                  <a:noFill/>
                </a:ln>
                <a:solidFill>
                  <a:prstClr val="black"/>
                </a:solidFill>
                <a:effectLst/>
                <a:uLnTx/>
                <a:uFillTx/>
                <a:latin typeface="Segoe UI Light"/>
                <a:ea typeface="+mn-ea"/>
                <a:cs typeface="Segoe UI" pitchFamily="34" charset="0"/>
              </a:rPr>
              <a:t>Calculations</a:t>
            </a:r>
            <a:endParaRPr kumimoji="0" lang="en-IN" sz="3600" b="0" i="0" u="none" strike="noStrike" kern="1200" cap="none" spc="-100" normalizeH="0" baseline="0" noProof="0">
              <a:ln w="3175">
                <a:noFill/>
              </a:ln>
              <a:solidFill>
                <a:prstClr val="black"/>
              </a:solidFill>
              <a:effectLst/>
              <a:uLnTx/>
              <a:uFillTx/>
              <a:latin typeface="Segoe UI Light"/>
              <a:ea typeface="+mn-ea"/>
              <a:cs typeface="Segoe UI" pitchFamily="34" charset="0"/>
            </a:endParaRPr>
          </a:p>
        </p:txBody>
      </p:sp>
      <p:sp>
        <p:nvSpPr>
          <p:cNvPr id="40" name="TextBox 39"/>
          <p:cNvSpPr txBox="1"/>
          <p:nvPr/>
        </p:nvSpPr>
        <p:spPr>
          <a:xfrm>
            <a:off x="3" y="51415"/>
            <a:ext cx="2849058" cy="430887"/>
          </a:xfrm>
          <a:prstGeom prst="rect">
            <a:avLst/>
          </a:prstGeom>
        </p:spPr>
        <p:txBody>
          <a:bodyPr wrap="square">
            <a:spAutoFit/>
          </a:bodyPr>
          <a:lstStyle>
            <a:defPPr>
              <a:defRPr lang="en-US"/>
            </a:defPPr>
            <a:lvl1pPr defTabSz="914192">
              <a:defRPr sz="2800" b="1" spc="-100">
                <a:ln w="3175">
                  <a:noFill/>
                </a:ln>
                <a:solidFill>
                  <a:srgbClr val="F2C812"/>
                </a:solidFill>
                <a:latin typeface="Segoe UI" panose="020B0502040204020203" pitchFamily="34" charset="0"/>
                <a:ea typeface="ＭＳ Ｐゴシック" charset="0"/>
                <a:cs typeface="Segoe UI" panose="020B0502040204020203" pitchFamily="34" charset="0"/>
              </a:defRPr>
            </a:lvl1pPr>
          </a:lstStyle>
          <a:p>
            <a:pPr marL="0" marR="0" lvl="0" indent="0" algn="l" defTabSz="914192" rtl="0" eaLnBrk="1" fontAlgn="auto" latinLnBrk="0" hangingPunct="1">
              <a:lnSpc>
                <a:spcPct val="100000"/>
              </a:lnSpc>
              <a:spcBef>
                <a:spcPts val="0"/>
              </a:spcBef>
              <a:spcAft>
                <a:spcPts val="0"/>
              </a:spcAft>
              <a:buClrTx/>
              <a:buSzTx/>
              <a:buFontTx/>
              <a:buNone/>
              <a:tabLst/>
              <a:defRPr/>
            </a:pPr>
            <a:r>
              <a:rPr kumimoji="0" lang="en-US" sz="2200" b="1" i="0" u="none" strike="noStrike" kern="1200" cap="none" spc="-100" normalizeH="0" baseline="0" noProof="0">
                <a:ln w="3175">
                  <a:noFill/>
                </a:ln>
                <a:solidFill>
                  <a:srgbClr val="F2C812"/>
                </a:solidFill>
                <a:effectLst/>
                <a:uLnTx/>
                <a:uFillTx/>
                <a:latin typeface="Segoe UI Light"/>
                <a:ea typeface="ＭＳ Ｐゴシック" charset="0"/>
                <a:cs typeface="Segoe UI" panose="020B0502040204020203" pitchFamily="34" charset="0"/>
              </a:rPr>
              <a:t>Power BI Desktop</a:t>
            </a:r>
          </a:p>
        </p:txBody>
      </p:sp>
      <p:sp>
        <p:nvSpPr>
          <p:cNvPr id="36" name="Rectangle 3"/>
          <p:cNvSpPr/>
          <p:nvPr/>
        </p:nvSpPr>
        <p:spPr bwMode="auto">
          <a:xfrm>
            <a:off x="3202216" y="665151"/>
            <a:ext cx="8105312" cy="44435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PT" sz="2000" b="0" i="1" u="none" strike="noStrike" kern="1200" cap="none" spc="0" normalizeH="0" baseline="0" noProof="0">
                <a:ln>
                  <a:noFill/>
                </a:ln>
                <a:solidFill>
                  <a:prstClr val="black"/>
                </a:solidFill>
                <a:effectLst/>
                <a:uLnTx/>
                <a:uFillTx/>
                <a:latin typeface="Segoe UI Light"/>
                <a:ea typeface="+mn-ea"/>
                <a:cs typeface="+mn-cs"/>
              </a:rPr>
              <a:t>DAX Basics</a:t>
            </a:r>
            <a:endParaRPr kumimoji="0" lang="en-US" sz="2000" b="0" i="1" u="none" strike="noStrike" kern="1200" cap="none" spc="0" normalizeH="0" baseline="0" noProof="0">
              <a:ln>
                <a:noFill/>
              </a:ln>
              <a:solidFill>
                <a:prstClr val="black"/>
              </a:solidFill>
              <a:effectLst/>
              <a:uLnTx/>
              <a:uFillTx/>
              <a:latin typeface="Segoe UI Light"/>
              <a:ea typeface="+mn-ea"/>
              <a:cs typeface="+mn-cs"/>
            </a:endParaRPr>
          </a:p>
        </p:txBody>
      </p:sp>
      <p:sp>
        <p:nvSpPr>
          <p:cNvPr id="38" name="Text Placeholder 2"/>
          <p:cNvSpPr txBox="1">
            <a:spLocks/>
          </p:cNvSpPr>
          <p:nvPr/>
        </p:nvSpPr>
        <p:spPr>
          <a:xfrm>
            <a:off x="2886854" y="1395122"/>
            <a:ext cx="9162906" cy="5312307"/>
          </a:xfrm>
          <a:prstGeom prst="rect">
            <a:avLst/>
          </a:prstGeom>
        </p:spPr>
        <p:txBody>
          <a:bodyPr vert="horz" wrap="square" lIns="182880" tIns="146304" rIns="182880" bIns="146304" rtlCol="0">
            <a:noAutofit/>
          </a:bodyPr>
          <a:lstStyle>
            <a:lvl1pPr marL="182845" marR="0"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3921" kern="1200" spc="0" baseline="0">
                <a:gradFill>
                  <a:gsLst>
                    <a:gs pos="1250">
                      <a:schemeClr val="tx2"/>
                    </a:gs>
                    <a:gs pos="99000">
                      <a:schemeClr val="tx2"/>
                    </a:gs>
                  </a:gsLst>
                  <a:lin ang="5400000" scaled="0"/>
                </a:gradFill>
                <a:latin typeface="+mj-lt"/>
                <a:ea typeface="+mn-ea"/>
                <a:cs typeface="+mn-cs"/>
              </a:defRPr>
            </a:lvl1pPr>
            <a:lvl2pPr marL="365690" marR="0"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2400" kern="1200" spc="0" baseline="0">
                <a:solidFill>
                  <a:schemeClr val="tx2"/>
                </a:solidFill>
                <a:latin typeface="+mj-lt"/>
                <a:ea typeface="+mn-ea"/>
                <a:cs typeface="+mn-cs"/>
              </a:defRPr>
            </a:lvl2pPr>
            <a:lvl3pPr marL="548535" marR="0"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2000" kern="1200" spc="0" baseline="0">
                <a:solidFill>
                  <a:schemeClr val="tx2"/>
                </a:solidFill>
                <a:latin typeface="+mj-lt"/>
                <a:ea typeface="+mn-ea"/>
                <a:cs typeface="+mn-cs"/>
              </a:defRPr>
            </a:lvl3pPr>
            <a:lvl4pPr marL="733802" marR="0" indent="-28569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1765" kern="1200" spc="0" baseline="0">
                <a:solidFill>
                  <a:schemeClr val="tx2"/>
                </a:solidFill>
                <a:latin typeface="+mn-lt"/>
                <a:ea typeface="+mn-ea"/>
                <a:cs typeface="+mn-cs"/>
              </a:defRPr>
            </a:lvl4pPr>
            <a:lvl5pPr marL="957856" marR="0" indent="-28569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1765" kern="1200" spc="0" baseline="0">
                <a:solidFill>
                  <a:schemeClr val="tx2"/>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r>
              <a:rPr kumimoji="0" lang="pt-PT" sz="2400" b="1" i="0" u="none" strike="noStrike" kern="1200" cap="none" spc="0" normalizeH="0" baseline="0" noProof="0">
                <a:ln>
                  <a:noFill/>
                </a:ln>
                <a:solidFill>
                  <a:prstClr val="black"/>
                </a:solidFill>
                <a:effectLst/>
                <a:uLnTx/>
                <a:uFillTx/>
                <a:latin typeface="Segoe UI Light"/>
                <a:ea typeface="Calibri" panose="020F0502020204030204" pitchFamily="34" charset="0"/>
                <a:cs typeface="Times New Roman" panose="02020603050405020304" pitchFamily="18" charset="0"/>
              </a:rPr>
              <a:t>Excel like Language </a:t>
            </a:r>
            <a:r>
              <a:rPr kumimoji="0" lang="pt-PT" sz="2400" b="0" i="0" u="none" strike="noStrike" kern="1200" cap="none" spc="0" normalizeH="0" baseline="0" noProof="0">
                <a:ln>
                  <a:noFill/>
                </a:ln>
                <a:solidFill>
                  <a:prstClr val="black"/>
                </a:solidFill>
                <a:effectLst/>
                <a:uLnTx/>
                <a:uFillTx/>
                <a:latin typeface="Segoe UI Light"/>
                <a:ea typeface="Calibri" panose="020F0502020204030204" pitchFamily="34" charset="0"/>
                <a:cs typeface="Times New Roman" panose="02020603050405020304" pitchFamily="18" charset="0"/>
              </a:rPr>
              <a:t>that allows the </a:t>
            </a:r>
            <a:r>
              <a:rPr kumimoji="0" lang="pt-PT" sz="2400" b="1" i="0" u="none" strike="noStrike" kern="1200" cap="none" spc="0" normalizeH="0" baseline="0" noProof="0">
                <a:ln>
                  <a:noFill/>
                </a:ln>
                <a:solidFill>
                  <a:prstClr val="black"/>
                </a:solidFill>
                <a:effectLst/>
                <a:uLnTx/>
                <a:uFillTx/>
                <a:latin typeface="Segoe UI Light"/>
                <a:ea typeface="Calibri" panose="020F0502020204030204" pitchFamily="34" charset="0"/>
                <a:cs typeface="Times New Roman" panose="02020603050405020304" pitchFamily="18" charset="0"/>
              </a:rPr>
              <a:t>extension </a:t>
            </a:r>
            <a:r>
              <a:rPr kumimoji="0" lang="pt-PT" sz="2400" b="0" i="0" u="none" strike="noStrike" kern="1200" cap="none" spc="0" normalizeH="0" baseline="0" noProof="0">
                <a:ln>
                  <a:noFill/>
                </a:ln>
                <a:solidFill>
                  <a:prstClr val="black"/>
                </a:solidFill>
                <a:effectLst/>
                <a:uLnTx/>
                <a:uFillTx/>
                <a:latin typeface="Segoe UI Light"/>
                <a:ea typeface="Calibri" panose="020F0502020204030204" pitchFamily="34" charset="0"/>
                <a:cs typeface="Times New Roman" panose="02020603050405020304" pitchFamily="18" charset="0"/>
              </a:rPr>
              <a:t>of the model with additional business logic</a:t>
            </a: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pt-PT" sz="2400" b="1" i="0" u="none" strike="noStrike" kern="1200" cap="none" spc="0" normalizeH="0" baseline="0" noProof="0">
              <a:ln>
                <a:noFill/>
              </a:ln>
              <a:solidFill>
                <a:prstClr val="black"/>
              </a:solidFill>
              <a:effectLst/>
              <a:uLnTx/>
              <a:uFillTx/>
              <a:latin typeface="Segoe UI Light"/>
              <a:ea typeface="Calibri" panose="020F0502020204030204" pitchFamily="34" charset="0"/>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r>
              <a:rPr kumimoji="0" lang="pt-PT" sz="2400" b="0" i="0" u="none" strike="noStrike" kern="1200" cap="none" spc="0" normalizeH="0" baseline="0" noProof="0">
                <a:ln>
                  <a:noFill/>
                </a:ln>
                <a:solidFill>
                  <a:prstClr val="black"/>
                </a:solidFill>
                <a:effectLst/>
                <a:uLnTx/>
                <a:uFillTx/>
                <a:latin typeface="Segoe UI Light"/>
                <a:ea typeface="Calibri" panose="020F0502020204030204" pitchFamily="34" charset="0"/>
                <a:cs typeface="Times New Roman" panose="02020603050405020304" pitchFamily="18" charset="0"/>
              </a:rPr>
              <a:t>Ideal for </a:t>
            </a:r>
            <a:r>
              <a:rPr kumimoji="0" lang="pt-PT" sz="2400" b="1" i="0" u="none" strike="noStrike" kern="1200" cap="none" spc="0" normalizeH="0" baseline="0" noProof="0">
                <a:ln>
                  <a:noFill/>
                </a:ln>
                <a:solidFill>
                  <a:prstClr val="black"/>
                </a:solidFill>
                <a:effectLst/>
                <a:uLnTx/>
                <a:uFillTx/>
                <a:latin typeface="Segoe UI Light"/>
                <a:ea typeface="Calibri" panose="020F0502020204030204" pitchFamily="34" charset="0"/>
                <a:cs typeface="Times New Roman" panose="02020603050405020304" pitchFamily="18" charset="0"/>
              </a:rPr>
              <a:t>complex calculations </a:t>
            </a:r>
            <a:r>
              <a:rPr kumimoji="0" lang="pt-PT" sz="2400" b="0" i="0" u="none" strike="noStrike" kern="1200" cap="none" spc="0" normalizeH="0" baseline="0" noProof="0">
                <a:ln>
                  <a:noFill/>
                </a:ln>
                <a:solidFill>
                  <a:prstClr val="black"/>
                </a:solidFill>
                <a:effectLst/>
                <a:uLnTx/>
                <a:uFillTx/>
                <a:latin typeface="Segoe UI Light"/>
                <a:ea typeface="Calibri" panose="020F0502020204030204" pitchFamily="34" charset="0"/>
                <a:cs typeface="Times New Roman" panose="02020603050405020304" pitchFamily="18" charset="0"/>
              </a:rPr>
              <a:t>such as time intelligence, growth formulas, ratios and more complex KPIs</a:t>
            </a: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pt-PT" sz="2400" b="1" i="0" u="none" strike="noStrike" kern="1200" cap="none" spc="0" normalizeH="0" baseline="0" noProof="0">
              <a:ln>
                <a:noFill/>
              </a:ln>
              <a:solidFill>
                <a:prstClr val="black"/>
              </a:solidFill>
              <a:effectLst/>
              <a:uLnTx/>
              <a:uFillTx/>
              <a:latin typeface="Segoe UI Light"/>
              <a:ea typeface="Calibri" panose="020F0502020204030204" pitchFamily="34" charset="0"/>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r>
              <a:rPr kumimoji="0" lang="pt-PT" sz="2400" b="1" i="0" u="none" strike="noStrike" kern="1200" cap="none" spc="0" normalizeH="0" baseline="0" noProof="0">
                <a:ln>
                  <a:noFill/>
                </a:ln>
                <a:solidFill>
                  <a:prstClr val="black"/>
                </a:solidFill>
                <a:effectLst/>
                <a:uLnTx/>
                <a:uFillTx/>
                <a:latin typeface="Segoe UI Light"/>
                <a:ea typeface="Calibri" panose="020F0502020204030204" pitchFamily="34" charset="0"/>
                <a:cs typeface="Times New Roman" panose="02020603050405020304" pitchFamily="18" charset="0"/>
              </a:rPr>
              <a:t>Business rules </a:t>
            </a:r>
            <a:r>
              <a:rPr kumimoji="0" lang="pt-PT" sz="2400" b="0" i="0" u="none" strike="noStrike" kern="1200" cap="none" spc="0" normalizeH="0" baseline="0" noProof="0">
                <a:ln>
                  <a:noFill/>
                </a:ln>
                <a:solidFill>
                  <a:prstClr val="black"/>
                </a:solidFill>
                <a:effectLst/>
                <a:uLnTx/>
                <a:uFillTx/>
                <a:latin typeface="Segoe UI Light"/>
                <a:ea typeface="Calibri" panose="020F0502020204030204" pitchFamily="34" charset="0"/>
                <a:cs typeface="Times New Roman" panose="02020603050405020304" pitchFamily="18" charset="0"/>
              </a:rPr>
              <a:t>can be </a:t>
            </a:r>
            <a:r>
              <a:rPr kumimoji="0" lang="pt-PT" sz="2400" b="1" i="0" u="none" strike="noStrike" kern="1200" cap="none" spc="0" normalizeH="0" baseline="0" noProof="0">
                <a:ln>
                  <a:noFill/>
                </a:ln>
                <a:solidFill>
                  <a:prstClr val="black"/>
                </a:solidFill>
                <a:effectLst/>
                <a:uLnTx/>
                <a:uFillTx/>
                <a:latin typeface="Segoe UI Light"/>
                <a:ea typeface="Calibri" panose="020F0502020204030204" pitchFamily="34" charset="0"/>
                <a:cs typeface="Times New Roman" panose="02020603050405020304" pitchFamily="18" charset="0"/>
              </a:rPr>
              <a:t>materialized at the row level (Calculated Column) </a:t>
            </a:r>
            <a:r>
              <a:rPr kumimoji="0" lang="pt-PT" sz="2400" b="0" i="0" u="none" strike="noStrike" kern="1200" cap="none" spc="0" normalizeH="0" baseline="0" noProof="0">
                <a:ln>
                  <a:noFill/>
                </a:ln>
                <a:solidFill>
                  <a:prstClr val="black"/>
                </a:solidFill>
                <a:effectLst/>
                <a:uLnTx/>
                <a:uFillTx/>
                <a:latin typeface="Segoe UI Light"/>
                <a:ea typeface="Calibri" panose="020F0502020204030204" pitchFamily="34" charset="0"/>
                <a:cs typeface="Times New Roman" panose="02020603050405020304" pitchFamily="18" charset="0"/>
              </a:rPr>
              <a:t>or can </a:t>
            </a:r>
            <a:r>
              <a:rPr kumimoji="0" lang="pt-PT" sz="2400" b="1" i="0" u="none" strike="noStrike" kern="1200" cap="none" spc="0" normalizeH="0" baseline="0" noProof="0">
                <a:ln>
                  <a:noFill/>
                </a:ln>
                <a:solidFill>
                  <a:prstClr val="black"/>
                </a:solidFill>
                <a:effectLst/>
                <a:uLnTx/>
                <a:uFillTx/>
                <a:latin typeface="Segoe UI Light"/>
                <a:ea typeface="Calibri" panose="020F0502020204030204" pitchFamily="34" charset="0"/>
                <a:cs typeface="Times New Roman" panose="02020603050405020304" pitchFamily="18" charset="0"/>
              </a:rPr>
              <a:t>be calculated on-the-fly (Measures)</a:t>
            </a: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pt-PT" sz="2400" b="0" i="0" u="none" strike="noStrike" kern="1200" cap="none" spc="0" normalizeH="0" baseline="0" noProof="0">
              <a:ln>
                <a:noFill/>
              </a:ln>
              <a:solidFill>
                <a:prstClr val="black"/>
              </a:solidFill>
              <a:effectLst/>
              <a:uLnTx/>
              <a:uFillTx/>
              <a:latin typeface="Segoe UI Light"/>
              <a:ea typeface="Calibri" panose="020F0502020204030204" pitchFamily="34" charset="0"/>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r>
              <a:rPr kumimoji="0" lang="pt-PT" sz="2400" b="0" i="0" u="none" strike="noStrike" kern="1200" cap="none" spc="0" normalizeH="0" baseline="0" noProof="0">
                <a:ln>
                  <a:noFill/>
                </a:ln>
                <a:solidFill>
                  <a:prstClr val="black"/>
                </a:solidFill>
                <a:effectLst/>
                <a:uLnTx/>
                <a:uFillTx/>
                <a:latin typeface="Segoe UI Light"/>
                <a:ea typeface="Calibri" panose="020F0502020204030204" pitchFamily="34" charset="0"/>
                <a:cs typeface="Times New Roman" panose="02020603050405020304" pitchFamily="18" charset="0"/>
              </a:rPr>
              <a:t>Certain capabilities </a:t>
            </a:r>
            <a:r>
              <a:rPr kumimoji="0" lang="pt-PT" sz="2400" b="1" i="0" u="none" strike="noStrike" kern="1200" cap="none" spc="0" normalizeH="0" baseline="0" noProof="0">
                <a:ln>
                  <a:noFill/>
                </a:ln>
                <a:solidFill>
                  <a:prstClr val="black"/>
                </a:solidFill>
                <a:effectLst/>
                <a:uLnTx/>
                <a:uFillTx/>
                <a:latin typeface="Segoe UI Light"/>
                <a:ea typeface="Calibri" panose="020F0502020204030204" pitchFamily="34" charset="0"/>
                <a:cs typeface="Times New Roman" panose="02020603050405020304" pitchFamily="18" charset="0"/>
              </a:rPr>
              <a:t>might overlap with Formula Language</a:t>
            </a:r>
          </a:p>
        </p:txBody>
      </p:sp>
    </p:spTree>
    <p:extLst>
      <p:ext uri="{BB962C8B-B14F-4D97-AF65-F5344CB8AC3E}">
        <p14:creationId xmlns:p14="http://schemas.microsoft.com/office/powerpoint/2010/main" val="17622409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p:cNvGrpSpPr/>
          <p:nvPr/>
        </p:nvGrpSpPr>
        <p:grpSpPr>
          <a:xfrm>
            <a:off x="-11149" y="0"/>
            <a:ext cx="2849058" cy="6858000"/>
            <a:chOff x="2" y="1"/>
            <a:chExt cx="2849058" cy="6858000"/>
          </a:xfrm>
        </p:grpSpPr>
        <p:sp>
          <p:nvSpPr>
            <p:cNvPr id="70" name="Rectangle 69"/>
            <p:cNvSpPr/>
            <p:nvPr/>
          </p:nvSpPr>
          <p:spPr bwMode="auto">
            <a:xfrm>
              <a:off x="2" y="1"/>
              <a:ext cx="2849058"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5" name="Oval 70"/>
            <p:cNvSpPr/>
            <p:nvPr/>
          </p:nvSpPr>
          <p:spPr>
            <a:xfrm>
              <a:off x="1413521" y="4951537"/>
              <a:ext cx="1119626" cy="1119626"/>
            </a:xfrm>
            <a:prstGeom prst="ellipse">
              <a:avLst/>
            </a:prstGeom>
            <a:solidFill>
              <a:srgbClr val="F2C812"/>
            </a:solidFill>
            <a:ln w="3175" cap="flat" cmpd="sng" algn="ctr">
              <a:noFill/>
              <a:prstDash val="solid"/>
            </a:ln>
            <a:effectLst/>
          </p:spPr>
          <p:txBody>
            <a:bodyPr vert="horz" wrap="none" lIns="0" tIns="45720" rIns="0" bIns="0" rtlCol="0" anchor="t"/>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Segoe UI"/>
                  <a:ea typeface="Segoe UI" pitchFamily="34" charset="0"/>
                  <a:cs typeface="Segoe UI" pitchFamily="34" charset="0"/>
                </a:rPr>
                <a:t>Share &amp;</a:t>
              </a:r>
            </a:p>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Segoe UI"/>
                  <a:ea typeface="Segoe UI" pitchFamily="34" charset="0"/>
                  <a:cs typeface="Segoe UI" pitchFamily="34" charset="0"/>
                </a:rPr>
                <a:t>collaborate </a:t>
              </a:r>
            </a:p>
          </p:txBody>
        </p:sp>
        <p:grpSp>
          <p:nvGrpSpPr>
            <p:cNvPr id="66" name="Group 38"/>
            <p:cNvGrpSpPr>
              <a:grpSpLocks noChangeAspect="1"/>
            </p:cNvGrpSpPr>
            <p:nvPr/>
          </p:nvGrpSpPr>
          <p:grpSpPr>
            <a:xfrm>
              <a:off x="676996" y="3930692"/>
              <a:ext cx="383905" cy="351536"/>
              <a:chOff x="4363684" y="5330386"/>
              <a:chExt cx="1409956" cy="1291077"/>
            </a:xfrm>
            <a:solidFill>
              <a:srgbClr val="217346"/>
            </a:solidFill>
          </p:grpSpPr>
          <p:sp>
            <p:nvSpPr>
              <p:cNvPr id="67" name="Donut 3"/>
              <p:cNvSpPr/>
              <p:nvPr/>
            </p:nvSpPr>
            <p:spPr bwMode="auto">
              <a:xfrm>
                <a:off x="4363684" y="5330386"/>
                <a:ext cx="1409956" cy="1291077"/>
              </a:xfrm>
              <a:custGeom>
                <a:avLst/>
                <a:gdLst/>
                <a:ahLst/>
                <a:cxnLst/>
                <a:rect l="l" t="t" r="r" b="b"/>
                <a:pathLst>
                  <a:path w="1409956" h="1291077">
                    <a:moveTo>
                      <a:pt x="956401" y="78410"/>
                    </a:moveTo>
                    <a:cubicBezTo>
                      <a:pt x="747518" y="78410"/>
                      <a:pt x="578184" y="247744"/>
                      <a:pt x="578184" y="456627"/>
                    </a:cubicBezTo>
                    <a:cubicBezTo>
                      <a:pt x="578184" y="665510"/>
                      <a:pt x="747518" y="834844"/>
                      <a:pt x="956401" y="834844"/>
                    </a:cubicBezTo>
                    <a:cubicBezTo>
                      <a:pt x="1165284" y="834844"/>
                      <a:pt x="1334618" y="665510"/>
                      <a:pt x="1334618" y="456627"/>
                    </a:cubicBezTo>
                    <a:cubicBezTo>
                      <a:pt x="1334618" y="247744"/>
                      <a:pt x="1165284" y="78410"/>
                      <a:pt x="956401" y="78410"/>
                    </a:cubicBezTo>
                    <a:close/>
                    <a:moveTo>
                      <a:pt x="952756" y="0"/>
                    </a:moveTo>
                    <a:cubicBezTo>
                      <a:pt x="1205261" y="0"/>
                      <a:pt x="1409956" y="204695"/>
                      <a:pt x="1409956" y="457200"/>
                    </a:cubicBezTo>
                    <a:cubicBezTo>
                      <a:pt x="1409956" y="709705"/>
                      <a:pt x="1205261" y="914400"/>
                      <a:pt x="952756" y="914400"/>
                    </a:cubicBezTo>
                    <a:cubicBezTo>
                      <a:pt x="862133" y="914400"/>
                      <a:pt x="777669" y="888034"/>
                      <a:pt x="707132" y="841746"/>
                    </a:cubicBezTo>
                    <a:lnTo>
                      <a:pt x="136495" y="1280102"/>
                    </a:lnTo>
                    <a:cubicBezTo>
                      <a:pt x="21896" y="1327168"/>
                      <a:pt x="-44029" y="1213730"/>
                      <a:pt x="33797" y="1113182"/>
                    </a:cubicBezTo>
                    <a:lnTo>
                      <a:pt x="568587" y="703518"/>
                    </a:lnTo>
                    <a:cubicBezTo>
                      <a:pt x="522087" y="632814"/>
                      <a:pt x="495556" y="548105"/>
                      <a:pt x="495556" y="457200"/>
                    </a:cubicBezTo>
                    <a:cubicBezTo>
                      <a:pt x="495556" y="204695"/>
                      <a:pt x="700251" y="0"/>
                      <a:pt x="952756" y="0"/>
                    </a:cubicBezTo>
                    <a:close/>
                  </a:path>
                </a:pathLst>
              </a:custGeom>
              <a:grpFill/>
              <a:ln>
                <a:solidFill>
                  <a:srgbClr val="21734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sp>
            <p:nvSpPr>
              <p:cNvPr id="68" name="Rectangle 4"/>
              <p:cNvSpPr/>
              <p:nvPr/>
            </p:nvSpPr>
            <p:spPr>
              <a:xfrm>
                <a:off x="5058389" y="5528247"/>
                <a:ext cx="490885" cy="490020"/>
              </a:xfrm>
              <a:custGeom>
                <a:avLst/>
                <a:gdLst/>
                <a:ahLst/>
                <a:cxnLst/>
                <a:rect l="l" t="t" r="r" b="b"/>
                <a:pathLst>
                  <a:path w="490885" h="490020">
                    <a:moveTo>
                      <a:pt x="240752" y="0"/>
                    </a:moveTo>
                    <a:cubicBezTo>
                      <a:pt x="253961" y="11844"/>
                      <a:pt x="293310" y="49692"/>
                      <a:pt x="337332" y="92439"/>
                    </a:cubicBezTo>
                    <a:lnTo>
                      <a:pt x="328342" y="81259"/>
                    </a:lnTo>
                    <a:cubicBezTo>
                      <a:pt x="356946" y="111282"/>
                      <a:pt x="377251" y="107167"/>
                      <a:pt x="382515" y="87941"/>
                    </a:cubicBezTo>
                    <a:cubicBezTo>
                      <a:pt x="383951" y="76921"/>
                      <a:pt x="384595" y="68732"/>
                      <a:pt x="396997" y="52239"/>
                    </a:cubicBezTo>
                    <a:cubicBezTo>
                      <a:pt x="420362" y="32084"/>
                      <a:pt x="442294" y="41736"/>
                      <a:pt x="454920" y="51330"/>
                    </a:cubicBezTo>
                    <a:cubicBezTo>
                      <a:pt x="467834" y="62761"/>
                      <a:pt x="477920" y="86882"/>
                      <a:pt x="460392" y="109714"/>
                    </a:cubicBezTo>
                    <a:cubicBezTo>
                      <a:pt x="451128" y="121912"/>
                      <a:pt x="437554" y="126838"/>
                      <a:pt x="425922" y="126505"/>
                    </a:cubicBezTo>
                    <a:cubicBezTo>
                      <a:pt x="424301" y="127609"/>
                      <a:pt x="382890" y="134974"/>
                      <a:pt x="427348" y="177672"/>
                    </a:cubicBezTo>
                    <a:lnTo>
                      <a:pt x="416886" y="169735"/>
                    </a:lnTo>
                    <a:cubicBezTo>
                      <a:pt x="450207" y="202177"/>
                      <a:pt x="478424" y="229744"/>
                      <a:pt x="490885" y="241900"/>
                    </a:cubicBezTo>
                    <a:lnTo>
                      <a:pt x="417150" y="317347"/>
                    </a:lnTo>
                    <a:cubicBezTo>
                      <a:pt x="417744" y="316535"/>
                      <a:pt x="418443" y="316123"/>
                      <a:pt x="419047" y="315822"/>
                    </a:cubicBezTo>
                    <a:cubicBezTo>
                      <a:pt x="389023" y="344426"/>
                      <a:pt x="393138" y="364731"/>
                      <a:pt x="412364" y="369995"/>
                    </a:cubicBezTo>
                    <a:cubicBezTo>
                      <a:pt x="423384" y="371431"/>
                      <a:pt x="431574" y="372075"/>
                      <a:pt x="448067" y="384477"/>
                    </a:cubicBezTo>
                    <a:cubicBezTo>
                      <a:pt x="468221" y="407842"/>
                      <a:pt x="458569" y="429774"/>
                      <a:pt x="448975" y="442400"/>
                    </a:cubicBezTo>
                    <a:cubicBezTo>
                      <a:pt x="437545" y="455314"/>
                      <a:pt x="413423" y="465400"/>
                      <a:pt x="390591" y="447872"/>
                    </a:cubicBezTo>
                    <a:cubicBezTo>
                      <a:pt x="378394" y="438608"/>
                      <a:pt x="373468" y="425034"/>
                      <a:pt x="373800" y="413402"/>
                    </a:cubicBezTo>
                    <a:cubicBezTo>
                      <a:pt x="372696" y="411781"/>
                      <a:pt x="365332" y="370370"/>
                      <a:pt x="322634" y="414828"/>
                    </a:cubicBezTo>
                    <a:lnTo>
                      <a:pt x="325243" y="411388"/>
                    </a:lnTo>
                    <a:lnTo>
                      <a:pt x="248395" y="490020"/>
                    </a:lnTo>
                    <a:cubicBezTo>
                      <a:pt x="208939" y="451897"/>
                      <a:pt x="199129" y="442073"/>
                      <a:pt x="174192" y="418236"/>
                    </a:cubicBezTo>
                    <a:cubicBezTo>
                      <a:pt x="145587" y="388212"/>
                      <a:pt x="125282" y="392327"/>
                      <a:pt x="120018" y="411553"/>
                    </a:cubicBezTo>
                    <a:cubicBezTo>
                      <a:pt x="118582" y="422573"/>
                      <a:pt x="117938" y="430763"/>
                      <a:pt x="105536" y="447256"/>
                    </a:cubicBezTo>
                    <a:cubicBezTo>
                      <a:pt x="82171" y="467410"/>
                      <a:pt x="60239" y="457758"/>
                      <a:pt x="47614" y="448164"/>
                    </a:cubicBezTo>
                    <a:cubicBezTo>
                      <a:pt x="34699" y="436734"/>
                      <a:pt x="24614" y="412612"/>
                      <a:pt x="42141" y="389780"/>
                    </a:cubicBezTo>
                    <a:cubicBezTo>
                      <a:pt x="51405" y="377583"/>
                      <a:pt x="64979" y="372657"/>
                      <a:pt x="76612" y="372989"/>
                    </a:cubicBezTo>
                    <a:cubicBezTo>
                      <a:pt x="78232" y="371886"/>
                      <a:pt x="119644" y="364521"/>
                      <a:pt x="75186" y="321823"/>
                    </a:cubicBezTo>
                    <a:cubicBezTo>
                      <a:pt x="58767" y="305402"/>
                      <a:pt x="23648" y="271235"/>
                      <a:pt x="0" y="248738"/>
                    </a:cubicBezTo>
                    <a:lnTo>
                      <a:pt x="77303" y="168146"/>
                    </a:lnTo>
                    <a:cubicBezTo>
                      <a:pt x="104269" y="140313"/>
                      <a:pt x="122130" y="156409"/>
                      <a:pt x="124388" y="175543"/>
                    </a:cubicBezTo>
                    <a:cubicBezTo>
                      <a:pt x="124457" y="182466"/>
                      <a:pt x="127106" y="193106"/>
                      <a:pt x="137575" y="203052"/>
                    </a:cubicBezTo>
                    <a:cubicBezTo>
                      <a:pt x="153931" y="220277"/>
                      <a:pt x="181252" y="217451"/>
                      <a:pt x="196721" y="201951"/>
                    </a:cubicBezTo>
                    <a:cubicBezTo>
                      <a:pt x="211961" y="185740"/>
                      <a:pt x="213057" y="157882"/>
                      <a:pt x="196146" y="142797"/>
                    </a:cubicBezTo>
                    <a:cubicBezTo>
                      <a:pt x="184301" y="132637"/>
                      <a:pt x="177155" y="131453"/>
                      <a:pt x="166513" y="129894"/>
                    </a:cubicBezTo>
                    <a:cubicBezTo>
                      <a:pt x="154522" y="129013"/>
                      <a:pt x="131185" y="112953"/>
                      <a:pt x="157905" y="85228"/>
                    </a:cubicBezTo>
                    <a:close/>
                  </a:path>
                </a:pathLst>
              </a:custGeom>
              <a:grpFill/>
              <a:ln>
                <a:solidFill>
                  <a:srgbClr val="21734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grpSp>
        <p:sp>
          <p:nvSpPr>
            <p:cNvPr id="69" name="Oval 47"/>
            <p:cNvSpPr/>
            <p:nvPr/>
          </p:nvSpPr>
          <p:spPr>
            <a:xfrm>
              <a:off x="388608" y="3710471"/>
              <a:ext cx="1119626" cy="1119626"/>
            </a:xfrm>
            <a:prstGeom prst="ellipse">
              <a:avLst/>
            </a:prstGeom>
            <a:solidFill>
              <a:srgbClr val="F2C812"/>
            </a:solidFill>
            <a:ln w="3175" cap="flat" cmpd="sng" algn="ctr">
              <a:noFill/>
              <a:prstDash val="solid"/>
            </a:ln>
            <a:effectLst/>
          </p:spPr>
          <p:txBody>
            <a:bodyPr vert="horz" wrap="none" lIns="0" tIns="45720" rIns="0" bIns="0" rtlCol="0" anchor="t"/>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Segoe UI"/>
                  <a:ea typeface="Segoe UI" pitchFamily="34" charset="0"/>
                  <a:cs typeface="Segoe UI" pitchFamily="34" charset="0"/>
                </a:rPr>
                <a:t>Report</a:t>
              </a:r>
            </a:p>
          </p:txBody>
        </p:sp>
        <p:sp>
          <p:nvSpPr>
            <p:cNvPr id="85" name="Oval 950"/>
            <p:cNvSpPr/>
            <p:nvPr/>
          </p:nvSpPr>
          <p:spPr>
            <a:xfrm>
              <a:off x="388608" y="1252295"/>
              <a:ext cx="1119626" cy="1119626"/>
            </a:xfrm>
            <a:prstGeom prst="ellipse">
              <a:avLst/>
            </a:prstGeom>
            <a:solidFill>
              <a:srgbClr val="F2C812"/>
            </a:solidFill>
            <a:ln w="3175" cap="flat" cmpd="sng" algn="ctr">
              <a:noFill/>
              <a:prstDash val="solid"/>
            </a:ln>
            <a:effectLst/>
          </p:spPr>
          <p:txBody>
            <a:bodyPr vert="horz" wrap="none" lIns="0" tIns="45720" rIns="0" bIns="0" rtlCol="0" anchor="t"/>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1" i="0" u="none" strike="noStrike" kern="1200" cap="none" spc="0" normalizeH="0" baseline="0" noProof="0">
                <a:ln>
                  <a:noFill/>
                </a:ln>
                <a:solidFill>
                  <a:srgbClr val="217346"/>
                </a:solidFill>
                <a:effectLst/>
                <a:uLnTx/>
                <a:uFillTx/>
                <a:latin typeface="Segoe UI"/>
                <a:ea typeface="Segoe UI" pitchFamily="34" charset="0"/>
                <a:cs typeface="Segoe UI" pitchFamily="34" charset="0"/>
              </a:endParaRPr>
            </a:p>
          </p:txBody>
        </p:sp>
        <p:grpSp>
          <p:nvGrpSpPr>
            <p:cNvPr id="86" name="Group 85"/>
            <p:cNvGrpSpPr/>
            <p:nvPr/>
          </p:nvGrpSpPr>
          <p:grpSpPr>
            <a:xfrm>
              <a:off x="1264851" y="3482890"/>
              <a:ext cx="292254" cy="354906"/>
              <a:chOff x="1296521" y="3253388"/>
              <a:chExt cx="292254" cy="354906"/>
            </a:xfrm>
            <a:solidFill>
              <a:srgbClr val="F2C812"/>
            </a:solidFill>
          </p:grpSpPr>
          <p:sp>
            <p:nvSpPr>
              <p:cNvPr id="87" name="Isosceles Triangle 86"/>
              <p:cNvSpPr/>
              <p:nvPr/>
            </p:nvSpPr>
            <p:spPr bwMode="auto">
              <a:xfrm rot="13636515">
                <a:off x="1461362" y="328936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8" name="Isosceles Triangle 87"/>
              <p:cNvSpPr/>
              <p:nvPr/>
            </p:nvSpPr>
            <p:spPr bwMode="auto">
              <a:xfrm rot="13636515">
                <a:off x="1357669" y="338258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9" name="Isosceles Triangle 88"/>
              <p:cNvSpPr/>
              <p:nvPr/>
            </p:nvSpPr>
            <p:spPr bwMode="auto">
              <a:xfrm rot="13636515">
                <a:off x="1260548" y="3480882"/>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90" name="Group 89"/>
            <p:cNvGrpSpPr/>
            <p:nvPr/>
          </p:nvGrpSpPr>
          <p:grpSpPr>
            <a:xfrm rot="15940603">
              <a:off x="1334576" y="2204404"/>
              <a:ext cx="292254" cy="354906"/>
              <a:chOff x="1296521" y="3253388"/>
              <a:chExt cx="292254" cy="354906"/>
            </a:xfrm>
            <a:solidFill>
              <a:srgbClr val="F2C812"/>
            </a:solidFill>
          </p:grpSpPr>
          <p:sp>
            <p:nvSpPr>
              <p:cNvPr id="91" name="Isosceles Triangle 90"/>
              <p:cNvSpPr/>
              <p:nvPr/>
            </p:nvSpPr>
            <p:spPr bwMode="auto">
              <a:xfrm rot="13636515">
                <a:off x="1461362" y="328936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2" name="Isosceles Triangle 91"/>
              <p:cNvSpPr/>
              <p:nvPr/>
            </p:nvSpPr>
            <p:spPr bwMode="auto">
              <a:xfrm rot="13636515">
                <a:off x="1357669" y="338258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3" name="Isosceles Triangle 92"/>
              <p:cNvSpPr/>
              <p:nvPr/>
            </p:nvSpPr>
            <p:spPr bwMode="auto">
              <a:xfrm rot="13636515">
                <a:off x="1260548" y="3480882"/>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94" name="Group 93"/>
            <p:cNvGrpSpPr/>
            <p:nvPr/>
          </p:nvGrpSpPr>
          <p:grpSpPr>
            <a:xfrm rot="16043978">
              <a:off x="1317220" y="4717577"/>
              <a:ext cx="292254" cy="354906"/>
              <a:chOff x="1296521" y="3253388"/>
              <a:chExt cx="292254" cy="354906"/>
            </a:xfrm>
            <a:solidFill>
              <a:srgbClr val="F2C812"/>
            </a:solidFill>
          </p:grpSpPr>
          <p:sp>
            <p:nvSpPr>
              <p:cNvPr id="95" name="Isosceles Triangle 94"/>
              <p:cNvSpPr/>
              <p:nvPr/>
            </p:nvSpPr>
            <p:spPr bwMode="auto">
              <a:xfrm rot="13636515">
                <a:off x="1461362" y="328936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6" name="Isosceles Triangle 95"/>
              <p:cNvSpPr/>
              <p:nvPr/>
            </p:nvSpPr>
            <p:spPr bwMode="auto">
              <a:xfrm rot="13636515">
                <a:off x="1357669" y="338258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7" name="Isosceles Triangle 96"/>
              <p:cNvSpPr/>
              <p:nvPr/>
            </p:nvSpPr>
            <p:spPr bwMode="auto">
              <a:xfrm rot="13636515">
                <a:off x="1260548" y="3480882"/>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98" name="Oval 36"/>
            <p:cNvSpPr/>
            <p:nvPr/>
          </p:nvSpPr>
          <p:spPr>
            <a:xfrm>
              <a:off x="1413521" y="2481383"/>
              <a:ext cx="1119626" cy="1119626"/>
            </a:xfrm>
            <a:prstGeom prst="ellipse">
              <a:avLst/>
            </a:prstGeom>
            <a:solidFill>
              <a:srgbClr val="F2C812"/>
            </a:solidFill>
            <a:ln w="3175" cap="flat" cmpd="sng" algn="ctr">
              <a:noFill/>
              <a:prstDash val="solid"/>
            </a:ln>
            <a:effectLst/>
          </p:spPr>
          <p:txBody>
            <a:bodyPr vert="horz" wrap="none" lIns="0" tIns="0" rIns="0" bIns="0" rtlCol="0" anchor="t"/>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400" b="1" i="0" u="none" strike="noStrike" kern="1200" cap="none" spc="0" normalizeH="0" baseline="0" noProof="0">
                <a:ln>
                  <a:noFill/>
                </a:ln>
                <a:solidFill>
                  <a:srgbClr val="217346"/>
                </a:solidFill>
                <a:effectLst/>
                <a:uLnTx/>
                <a:uFillTx/>
                <a:latin typeface="Segoe UI"/>
                <a:ea typeface="Segoe UI" pitchFamily="34" charset="0"/>
                <a:cs typeface="Segoe UI" pitchFamily="34" charset="0"/>
              </a:endParaRPr>
            </a:p>
          </p:txBody>
        </p:sp>
        <p:sp>
          <p:nvSpPr>
            <p:cNvPr id="99" name="Donut 3"/>
            <p:cNvSpPr/>
            <p:nvPr/>
          </p:nvSpPr>
          <p:spPr bwMode="auto">
            <a:xfrm>
              <a:off x="1742065" y="3002355"/>
              <a:ext cx="383905" cy="351537"/>
            </a:xfrm>
            <a:custGeom>
              <a:avLst/>
              <a:gdLst/>
              <a:ahLst/>
              <a:cxnLst/>
              <a:rect l="l" t="t" r="r" b="b"/>
              <a:pathLst>
                <a:path w="1409956" h="1291077">
                  <a:moveTo>
                    <a:pt x="956401" y="78410"/>
                  </a:moveTo>
                  <a:cubicBezTo>
                    <a:pt x="747518" y="78410"/>
                    <a:pt x="578184" y="247744"/>
                    <a:pt x="578184" y="456627"/>
                  </a:cubicBezTo>
                  <a:cubicBezTo>
                    <a:pt x="578184" y="665510"/>
                    <a:pt x="747518" y="834844"/>
                    <a:pt x="956401" y="834844"/>
                  </a:cubicBezTo>
                  <a:cubicBezTo>
                    <a:pt x="1165284" y="834844"/>
                    <a:pt x="1334618" y="665510"/>
                    <a:pt x="1334618" y="456627"/>
                  </a:cubicBezTo>
                  <a:cubicBezTo>
                    <a:pt x="1334618" y="247744"/>
                    <a:pt x="1165284" y="78410"/>
                    <a:pt x="956401" y="78410"/>
                  </a:cubicBezTo>
                  <a:close/>
                  <a:moveTo>
                    <a:pt x="952756" y="0"/>
                  </a:moveTo>
                  <a:cubicBezTo>
                    <a:pt x="1205261" y="0"/>
                    <a:pt x="1409956" y="204695"/>
                    <a:pt x="1409956" y="457200"/>
                  </a:cubicBezTo>
                  <a:cubicBezTo>
                    <a:pt x="1409956" y="709705"/>
                    <a:pt x="1205261" y="914400"/>
                    <a:pt x="952756" y="914400"/>
                  </a:cubicBezTo>
                  <a:cubicBezTo>
                    <a:pt x="862133" y="914400"/>
                    <a:pt x="777669" y="888034"/>
                    <a:pt x="707132" y="841746"/>
                  </a:cubicBezTo>
                  <a:lnTo>
                    <a:pt x="136495" y="1280102"/>
                  </a:lnTo>
                  <a:cubicBezTo>
                    <a:pt x="21896" y="1327168"/>
                    <a:pt x="-44029" y="1213730"/>
                    <a:pt x="33797" y="1113182"/>
                  </a:cubicBezTo>
                  <a:lnTo>
                    <a:pt x="568587" y="703518"/>
                  </a:lnTo>
                  <a:cubicBezTo>
                    <a:pt x="522087" y="632814"/>
                    <a:pt x="495556" y="548105"/>
                    <a:pt x="495556" y="457200"/>
                  </a:cubicBezTo>
                  <a:cubicBezTo>
                    <a:pt x="495556" y="204695"/>
                    <a:pt x="700251" y="0"/>
                    <a:pt x="952756" y="0"/>
                  </a:cubicBezTo>
                  <a:close/>
                </a:path>
              </a:pathLst>
            </a:cu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ysClr val="windowText" lastClr="000000"/>
                </a:solidFill>
                <a:effectLst/>
                <a:uLnTx/>
                <a:uFillTx/>
                <a:latin typeface="Segoe UI"/>
                <a:ea typeface="+mn-ea"/>
                <a:cs typeface="+mn-cs"/>
              </a:endParaRPr>
            </a:p>
          </p:txBody>
        </p:sp>
        <p:sp>
          <p:nvSpPr>
            <p:cNvPr id="100" name="Rectangle 99"/>
            <p:cNvSpPr/>
            <p:nvPr/>
          </p:nvSpPr>
          <p:spPr>
            <a:xfrm>
              <a:off x="1600398" y="2677430"/>
              <a:ext cx="820353" cy="307777"/>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Segoe UI"/>
                  <a:ea typeface="Segoe UI" pitchFamily="34" charset="0"/>
                  <a:cs typeface="Segoe UI" pitchFamily="34" charset="0"/>
                </a:rPr>
                <a:t>Explore</a:t>
              </a:r>
              <a:endParaRPr kumimoji="0" lang="en-US" sz="1600" b="0" i="0" u="none" strike="noStrike" kern="1200" cap="none" spc="0" normalizeH="0" baseline="0" noProof="0">
                <a:ln>
                  <a:noFill/>
                </a:ln>
                <a:solidFill>
                  <a:prstClr val="black"/>
                </a:solidFill>
                <a:effectLst/>
                <a:uLnTx/>
                <a:uFillTx/>
                <a:latin typeface="Segoe UI"/>
                <a:ea typeface="+mn-ea"/>
                <a:cs typeface="+mn-cs"/>
              </a:endParaRPr>
            </a:p>
          </p:txBody>
        </p:sp>
        <p:sp>
          <p:nvSpPr>
            <p:cNvPr id="101" name="Rectangle 100"/>
            <p:cNvSpPr/>
            <p:nvPr/>
          </p:nvSpPr>
          <p:spPr>
            <a:xfrm>
              <a:off x="509174" y="1475232"/>
              <a:ext cx="838756" cy="307777"/>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Segoe UI"/>
                  <a:ea typeface="Segoe UI" pitchFamily="34" charset="0"/>
                  <a:cs typeface="Segoe UI" pitchFamily="34" charset="0"/>
                </a:rPr>
                <a:t>Prepare</a:t>
              </a:r>
              <a:endParaRPr kumimoji="0" lang="en-US" sz="1400" b="0" i="0" u="none" strike="noStrike" kern="1200" cap="none" spc="0" normalizeH="0" baseline="0" noProof="0">
                <a:ln>
                  <a:noFill/>
                </a:ln>
                <a:solidFill>
                  <a:prstClr val="black"/>
                </a:solidFill>
                <a:effectLst/>
                <a:uLnTx/>
                <a:uFillTx/>
                <a:latin typeface="Segoe UI"/>
                <a:ea typeface="+mn-ea"/>
                <a:cs typeface="+mn-cs"/>
              </a:endParaRPr>
            </a:p>
          </p:txBody>
        </p:sp>
        <p:sp>
          <p:nvSpPr>
            <p:cNvPr id="102" name="Freeform 101"/>
            <p:cNvSpPr>
              <a:spLocks noChangeAspect="1"/>
            </p:cNvSpPr>
            <p:nvPr/>
          </p:nvSpPr>
          <p:spPr bwMode="black">
            <a:xfrm>
              <a:off x="1836174" y="5643069"/>
              <a:ext cx="274320" cy="284173"/>
            </a:xfrm>
            <a:custGeom>
              <a:avLst/>
              <a:gdLst>
                <a:gd name="T0" fmla="*/ 539 w 669"/>
                <a:gd name="T1" fmla="*/ 5 h 693"/>
                <a:gd name="T2" fmla="*/ 640 w 669"/>
                <a:gd name="T3" fmla="*/ 55 h 693"/>
                <a:gd name="T4" fmla="*/ 603 w 669"/>
                <a:gd name="T5" fmla="*/ 195 h 693"/>
                <a:gd name="T6" fmla="*/ 490 w 669"/>
                <a:gd name="T7" fmla="*/ 188 h 693"/>
                <a:gd name="T8" fmla="*/ 479 w 669"/>
                <a:gd name="T9" fmla="*/ 176 h 693"/>
                <a:gd name="T10" fmla="*/ 213 w 669"/>
                <a:gd name="T11" fmla="*/ 330 h 693"/>
                <a:gd name="T12" fmla="*/ 218 w 669"/>
                <a:gd name="T13" fmla="*/ 345 h 693"/>
                <a:gd name="T14" fmla="*/ 218 w 669"/>
                <a:gd name="T15" fmla="*/ 375 h 693"/>
                <a:gd name="T16" fmla="*/ 209 w 669"/>
                <a:gd name="T17" fmla="*/ 402 h 693"/>
                <a:gd name="T18" fmla="*/ 369 w 669"/>
                <a:gd name="T19" fmla="*/ 503 h 693"/>
                <a:gd name="T20" fmla="*/ 373 w 669"/>
                <a:gd name="T21" fmla="*/ 498 h 693"/>
                <a:gd name="T22" fmla="*/ 456 w 669"/>
                <a:gd name="T23" fmla="*/ 475 h 693"/>
                <a:gd name="T24" fmla="*/ 494 w 669"/>
                <a:gd name="T25" fmla="*/ 489 h 693"/>
                <a:gd name="T26" fmla="*/ 527 w 669"/>
                <a:gd name="T27" fmla="*/ 630 h 693"/>
                <a:gd name="T28" fmla="*/ 386 w 669"/>
                <a:gd name="T29" fmla="*/ 663 h 693"/>
                <a:gd name="T30" fmla="*/ 339 w 669"/>
                <a:gd name="T31" fmla="*/ 560 h 693"/>
                <a:gd name="T32" fmla="*/ 345 w 669"/>
                <a:gd name="T33" fmla="*/ 544 h 693"/>
                <a:gd name="T34" fmla="*/ 177 w 669"/>
                <a:gd name="T35" fmla="*/ 439 h 693"/>
                <a:gd name="T36" fmla="*/ 168 w 669"/>
                <a:gd name="T37" fmla="*/ 446 h 693"/>
                <a:gd name="T38" fmla="*/ 28 w 669"/>
                <a:gd name="T39" fmla="*/ 409 h 693"/>
                <a:gd name="T40" fmla="*/ 65 w 669"/>
                <a:gd name="T41" fmla="*/ 269 h 693"/>
                <a:gd name="T42" fmla="*/ 178 w 669"/>
                <a:gd name="T43" fmla="*/ 276 h 693"/>
                <a:gd name="T44" fmla="*/ 189 w 669"/>
                <a:gd name="T45" fmla="*/ 288 h 693"/>
                <a:gd name="T46" fmla="*/ 455 w 669"/>
                <a:gd name="T47" fmla="*/ 134 h 693"/>
                <a:gd name="T48" fmla="*/ 450 w 669"/>
                <a:gd name="T49" fmla="*/ 119 h 693"/>
                <a:gd name="T50" fmla="*/ 501 w 669"/>
                <a:gd name="T51" fmla="*/ 18 h 693"/>
                <a:gd name="T52" fmla="*/ 539 w 669"/>
                <a:gd name="T53" fmla="*/ 5 h 6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69" h="693">
                  <a:moveTo>
                    <a:pt x="539" y="5"/>
                  </a:moveTo>
                  <a:cubicBezTo>
                    <a:pt x="579" y="0"/>
                    <a:pt x="619" y="19"/>
                    <a:pt x="640" y="55"/>
                  </a:cubicBezTo>
                  <a:cubicBezTo>
                    <a:pt x="669" y="104"/>
                    <a:pt x="652" y="167"/>
                    <a:pt x="603" y="195"/>
                  </a:cubicBezTo>
                  <a:cubicBezTo>
                    <a:pt x="566" y="216"/>
                    <a:pt x="522" y="212"/>
                    <a:pt x="490" y="188"/>
                  </a:cubicBezTo>
                  <a:cubicBezTo>
                    <a:pt x="479" y="176"/>
                    <a:pt x="479" y="176"/>
                    <a:pt x="479" y="176"/>
                  </a:cubicBezTo>
                  <a:cubicBezTo>
                    <a:pt x="213" y="330"/>
                    <a:pt x="213" y="330"/>
                    <a:pt x="213" y="330"/>
                  </a:cubicBezTo>
                  <a:cubicBezTo>
                    <a:pt x="218" y="345"/>
                    <a:pt x="218" y="345"/>
                    <a:pt x="218" y="345"/>
                  </a:cubicBezTo>
                  <a:cubicBezTo>
                    <a:pt x="219" y="355"/>
                    <a:pt x="219" y="365"/>
                    <a:pt x="218" y="375"/>
                  </a:cubicBezTo>
                  <a:cubicBezTo>
                    <a:pt x="209" y="402"/>
                    <a:pt x="209" y="402"/>
                    <a:pt x="209" y="402"/>
                  </a:cubicBezTo>
                  <a:cubicBezTo>
                    <a:pt x="369" y="503"/>
                    <a:pt x="369" y="503"/>
                    <a:pt x="369" y="503"/>
                  </a:cubicBezTo>
                  <a:cubicBezTo>
                    <a:pt x="373" y="498"/>
                    <a:pt x="373" y="498"/>
                    <a:pt x="373" y="498"/>
                  </a:cubicBezTo>
                  <a:cubicBezTo>
                    <a:pt x="396" y="479"/>
                    <a:pt x="427" y="470"/>
                    <a:pt x="456" y="475"/>
                  </a:cubicBezTo>
                  <a:cubicBezTo>
                    <a:pt x="470" y="477"/>
                    <a:pt x="482" y="482"/>
                    <a:pt x="494" y="489"/>
                  </a:cubicBezTo>
                  <a:cubicBezTo>
                    <a:pt x="542" y="519"/>
                    <a:pt x="557" y="583"/>
                    <a:pt x="527" y="630"/>
                  </a:cubicBezTo>
                  <a:cubicBezTo>
                    <a:pt x="497" y="678"/>
                    <a:pt x="433" y="693"/>
                    <a:pt x="386" y="663"/>
                  </a:cubicBezTo>
                  <a:cubicBezTo>
                    <a:pt x="350" y="640"/>
                    <a:pt x="333" y="599"/>
                    <a:pt x="339" y="560"/>
                  </a:cubicBezTo>
                  <a:cubicBezTo>
                    <a:pt x="345" y="544"/>
                    <a:pt x="345" y="544"/>
                    <a:pt x="345" y="544"/>
                  </a:cubicBezTo>
                  <a:cubicBezTo>
                    <a:pt x="177" y="439"/>
                    <a:pt x="177" y="439"/>
                    <a:pt x="177" y="439"/>
                  </a:cubicBezTo>
                  <a:cubicBezTo>
                    <a:pt x="168" y="446"/>
                    <a:pt x="168" y="446"/>
                    <a:pt x="168" y="446"/>
                  </a:cubicBezTo>
                  <a:cubicBezTo>
                    <a:pt x="119" y="475"/>
                    <a:pt x="56" y="458"/>
                    <a:pt x="28" y="409"/>
                  </a:cubicBezTo>
                  <a:cubicBezTo>
                    <a:pt x="0" y="360"/>
                    <a:pt x="16" y="297"/>
                    <a:pt x="65" y="269"/>
                  </a:cubicBezTo>
                  <a:cubicBezTo>
                    <a:pt x="102" y="248"/>
                    <a:pt x="147" y="252"/>
                    <a:pt x="178" y="276"/>
                  </a:cubicBezTo>
                  <a:cubicBezTo>
                    <a:pt x="189" y="288"/>
                    <a:pt x="189" y="288"/>
                    <a:pt x="189" y="288"/>
                  </a:cubicBezTo>
                  <a:cubicBezTo>
                    <a:pt x="455" y="134"/>
                    <a:pt x="455" y="134"/>
                    <a:pt x="455" y="134"/>
                  </a:cubicBezTo>
                  <a:cubicBezTo>
                    <a:pt x="450" y="119"/>
                    <a:pt x="450" y="119"/>
                    <a:pt x="450" y="119"/>
                  </a:cubicBezTo>
                  <a:cubicBezTo>
                    <a:pt x="445" y="80"/>
                    <a:pt x="464" y="39"/>
                    <a:pt x="501" y="18"/>
                  </a:cubicBezTo>
                  <a:cubicBezTo>
                    <a:pt x="513" y="11"/>
                    <a:pt x="526" y="6"/>
                    <a:pt x="539" y="5"/>
                  </a:cubicBezTo>
                  <a:close/>
                </a:path>
              </a:pathLst>
            </a:custGeom>
            <a:solidFill>
              <a:schemeClr val="tx1"/>
            </a:solidFill>
            <a:ln>
              <a:noFill/>
            </a:ln>
          </p:spPr>
          <p:txBody>
            <a:bodyPr vert="horz" wrap="square" lIns="68574" tIns="34287" rIns="68574" bIns="34287"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Segoe UI"/>
                <a:ea typeface="+mn-ea"/>
                <a:cs typeface="+mn-cs"/>
              </a:endParaRPr>
            </a:p>
          </p:txBody>
        </p:sp>
        <p:sp>
          <p:nvSpPr>
            <p:cNvPr id="103" name="Freeform 102"/>
            <p:cNvSpPr>
              <a:spLocks noChangeAspect="1" noEditPoints="1"/>
            </p:cNvSpPr>
            <p:nvPr/>
          </p:nvSpPr>
          <p:spPr bwMode="black">
            <a:xfrm>
              <a:off x="722320" y="1783009"/>
              <a:ext cx="452202" cy="366660"/>
            </a:xfrm>
            <a:custGeom>
              <a:avLst/>
              <a:gdLst>
                <a:gd name="T0" fmla="*/ 600 w 1107"/>
                <a:gd name="T1" fmla="*/ 625 h 897"/>
                <a:gd name="T2" fmla="*/ 649 w 1107"/>
                <a:gd name="T3" fmla="*/ 567 h 897"/>
                <a:gd name="T4" fmla="*/ 727 w 1107"/>
                <a:gd name="T5" fmla="*/ 482 h 897"/>
                <a:gd name="T6" fmla="*/ 601 w 1107"/>
                <a:gd name="T7" fmla="*/ 434 h 897"/>
                <a:gd name="T8" fmla="*/ 628 w 1107"/>
                <a:gd name="T9" fmla="*/ 305 h 897"/>
                <a:gd name="T10" fmla="*/ 547 w 1107"/>
                <a:gd name="T11" fmla="*/ 240 h 897"/>
                <a:gd name="T12" fmla="*/ 427 w 1107"/>
                <a:gd name="T13" fmla="*/ 287 h 897"/>
                <a:gd name="T14" fmla="*/ 368 w 1107"/>
                <a:gd name="T15" fmla="*/ 170 h 897"/>
                <a:gd name="T16" fmla="*/ 285 w 1107"/>
                <a:gd name="T17" fmla="*/ 263 h 897"/>
                <a:gd name="T18" fmla="*/ 241 w 1107"/>
                <a:gd name="T19" fmla="*/ 313 h 897"/>
                <a:gd name="T20" fmla="*/ 139 w 1107"/>
                <a:gd name="T21" fmla="*/ 281 h 897"/>
                <a:gd name="T22" fmla="*/ 79 w 1107"/>
                <a:gd name="T23" fmla="*/ 355 h 897"/>
                <a:gd name="T24" fmla="*/ 132 w 1107"/>
                <a:gd name="T25" fmla="*/ 446 h 897"/>
                <a:gd name="T26" fmla="*/ 83 w 1107"/>
                <a:gd name="T27" fmla="*/ 505 h 897"/>
                <a:gd name="T28" fmla="*/ 5 w 1107"/>
                <a:gd name="T29" fmla="*/ 590 h 897"/>
                <a:gd name="T30" fmla="*/ 132 w 1107"/>
                <a:gd name="T31" fmla="*/ 638 h 897"/>
                <a:gd name="T32" fmla="*/ 145 w 1107"/>
                <a:gd name="T33" fmla="*/ 669 h 897"/>
                <a:gd name="T34" fmla="*/ 110 w 1107"/>
                <a:gd name="T35" fmla="*/ 793 h 897"/>
                <a:gd name="T36" fmla="*/ 230 w 1107"/>
                <a:gd name="T37" fmla="*/ 781 h 897"/>
                <a:gd name="T38" fmla="*/ 306 w 1107"/>
                <a:gd name="T39" fmla="*/ 785 h 897"/>
                <a:gd name="T40" fmla="*/ 346 w 1107"/>
                <a:gd name="T41" fmla="*/ 878 h 897"/>
                <a:gd name="T42" fmla="*/ 440 w 1107"/>
                <a:gd name="T43" fmla="*/ 872 h 897"/>
                <a:gd name="T44" fmla="*/ 466 w 1107"/>
                <a:gd name="T45" fmla="*/ 764 h 897"/>
                <a:gd name="T46" fmla="*/ 539 w 1107"/>
                <a:gd name="T47" fmla="*/ 755 h 897"/>
                <a:gd name="T48" fmla="*/ 659 w 1107"/>
                <a:gd name="T49" fmla="*/ 743 h 897"/>
                <a:gd name="T50" fmla="*/ 263 w 1107"/>
                <a:gd name="T51" fmla="*/ 452 h 897"/>
                <a:gd name="T52" fmla="*/ 281 w 1107"/>
                <a:gd name="T53" fmla="*/ 633 h 897"/>
                <a:gd name="T54" fmla="*/ 1002 w 1107"/>
                <a:gd name="T55" fmla="*/ 332 h 897"/>
                <a:gd name="T56" fmla="*/ 1043 w 1107"/>
                <a:gd name="T57" fmla="*/ 304 h 897"/>
                <a:gd name="T58" fmla="*/ 1107 w 1107"/>
                <a:gd name="T59" fmla="*/ 266 h 897"/>
                <a:gd name="T60" fmla="*/ 1037 w 1107"/>
                <a:gd name="T61" fmla="*/ 213 h 897"/>
                <a:gd name="T62" fmla="*/ 1077 w 1107"/>
                <a:gd name="T63" fmla="*/ 138 h 897"/>
                <a:gd name="T64" fmla="*/ 1038 w 1107"/>
                <a:gd name="T65" fmla="*/ 83 h 897"/>
                <a:gd name="T66" fmla="*/ 956 w 1107"/>
                <a:gd name="T67" fmla="*/ 91 h 897"/>
                <a:gd name="T68" fmla="*/ 940 w 1107"/>
                <a:gd name="T69" fmla="*/ 7 h 897"/>
                <a:gd name="T70" fmla="*/ 872 w 1107"/>
                <a:gd name="T71" fmla="*/ 50 h 897"/>
                <a:gd name="T72" fmla="*/ 836 w 1107"/>
                <a:gd name="T73" fmla="*/ 74 h 897"/>
                <a:gd name="T74" fmla="*/ 778 w 1107"/>
                <a:gd name="T75" fmla="*/ 35 h 897"/>
                <a:gd name="T76" fmla="*/ 728 w 1107"/>
                <a:gd name="T77" fmla="*/ 70 h 897"/>
                <a:gd name="T78" fmla="*/ 744 w 1107"/>
                <a:gd name="T79" fmla="*/ 136 h 897"/>
                <a:gd name="T80" fmla="*/ 703 w 1107"/>
                <a:gd name="T81" fmla="*/ 164 h 897"/>
                <a:gd name="T82" fmla="*/ 640 w 1107"/>
                <a:gd name="T83" fmla="*/ 203 h 897"/>
                <a:gd name="T84" fmla="*/ 710 w 1107"/>
                <a:gd name="T85" fmla="*/ 255 h 897"/>
                <a:gd name="T86" fmla="*/ 712 w 1107"/>
                <a:gd name="T87" fmla="*/ 277 h 897"/>
                <a:gd name="T88" fmla="*/ 668 w 1107"/>
                <a:gd name="T89" fmla="*/ 347 h 897"/>
                <a:gd name="T90" fmla="*/ 745 w 1107"/>
                <a:gd name="T91" fmla="*/ 361 h 897"/>
                <a:gd name="T92" fmla="*/ 791 w 1107"/>
                <a:gd name="T93" fmla="*/ 377 h 897"/>
                <a:gd name="T94" fmla="*/ 799 w 1107"/>
                <a:gd name="T95" fmla="*/ 443 h 897"/>
                <a:gd name="T96" fmla="*/ 859 w 1107"/>
                <a:gd name="T97" fmla="*/ 456 h 897"/>
                <a:gd name="T98" fmla="*/ 894 w 1107"/>
                <a:gd name="T99" fmla="*/ 393 h 897"/>
                <a:gd name="T100" fmla="*/ 941 w 1107"/>
                <a:gd name="T101" fmla="*/ 401 h 897"/>
                <a:gd name="T102" fmla="*/ 1018 w 1107"/>
                <a:gd name="T103" fmla="*/ 415 h 897"/>
                <a:gd name="T104" fmla="*/ 825 w 1107"/>
                <a:gd name="T105" fmla="*/ 164 h 897"/>
                <a:gd name="T106" fmla="*/ 803 w 1107"/>
                <a:gd name="T107" fmla="*/ 279 h 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107" h="897">
                  <a:moveTo>
                    <a:pt x="654" y="716"/>
                  </a:moveTo>
                  <a:cubicBezTo>
                    <a:pt x="616" y="670"/>
                    <a:pt x="616" y="670"/>
                    <a:pt x="616" y="670"/>
                  </a:cubicBezTo>
                  <a:cubicBezTo>
                    <a:pt x="593" y="654"/>
                    <a:pt x="603" y="638"/>
                    <a:pt x="600" y="625"/>
                  </a:cubicBezTo>
                  <a:cubicBezTo>
                    <a:pt x="600" y="625"/>
                    <a:pt x="600" y="625"/>
                    <a:pt x="600" y="625"/>
                  </a:cubicBezTo>
                  <a:cubicBezTo>
                    <a:pt x="605" y="617"/>
                    <a:pt x="611" y="609"/>
                    <a:pt x="608" y="596"/>
                  </a:cubicBezTo>
                  <a:cubicBezTo>
                    <a:pt x="618" y="580"/>
                    <a:pt x="623" y="572"/>
                    <a:pt x="649" y="567"/>
                  </a:cubicBezTo>
                  <a:cubicBezTo>
                    <a:pt x="715" y="553"/>
                    <a:pt x="715" y="553"/>
                    <a:pt x="715" y="553"/>
                  </a:cubicBezTo>
                  <a:cubicBezTo>
                    <a:pt x="728" y="550"/>
                    <a:pt x="733" y="542"/>
                    <a:pt x="730" y="529"/>
                  </a:cubicBezTo>
                  <a:cubicBezTo>
                    <a:pt x="727" y="482"/>
                    <a:pt x="727" y="482"/>
                    <a:pt x="727" y="482"/>
                  </a:cubicBezTo>
                  <a:cubicBezTo>
                    <a:pt x="724" y="469"/>
                    <a:pt x="717" y="463"/>
                    <a:pt x="701" y="453"/>
                  </a:cubicBezTo>
                  <a:cubicBezTo>
                    <a:pt x="641" y="459"/>
                    <a:pt x="641" y="459"/>
                    <a:pt x="641" y="459"/>
                  </a:cubicBezTo>
                  <a:cubicBezTo>
                    <a:pt x="620" y="457"/>
                    <a:pt x="604" y="447"/>
                    <a:pt x="601" y="434"/>
                  </a:cubicBezTo>
                  <a:cubicBezTo>
                    <a:pt x="598" y="421"/>
                    <a:pt x="590" y="416"/>
                    <a:pt x="580" y="397"/>
                  </a:cubicBezTo>
                  <a:cubicBezTo>
                    <a:pt x="577" y="384"/>
                    <a:pt x="574" y="371"/>
                    <a:pt x="584" y="355"/>
                  </a:cubicBezTo>
                  <a:cubicBezTo>
                    <a:pt x="628" y="305"/>
                    <a:pt x="628" y="305"/>
                    <a:pt x="628" y="305"/>
                  </a:cubicBezTo>
                  <a:cubicBezTo>
                    <a:pt x="634" y="297"/>
                    <a:pt x="631" y="284"/>
                    <a:pt x="623" y="279"/>
                  </a:cubicBezTo>
                  <a:cubicBezTo>
                    <a:pt x="581" y="240"/>
                    <a:pt x="581" y="240"/>
                    <a:pt x="581" y="240"/>
                  </a:cubicBezTo>
                  <a:cubicBezTo>
                    <a:pt x="573" y="235"/>
                    <a:pt x="560" y="238"/>
                    <a:pt x="547" y="240"/>
                  </a:cubicBezTo>
                  <a:cubicBezTo>
                    <a:pt x="503" y="291"/>
                    <a:pt x="503" y="291"/>
                    <a:pt x="503" y="291"/>
                  </a:cubicBezTo>
                  <a:cubicBezTo>
                    <a:pt x="484" y="302"/>
                    <a:pt x="471" y="304"/>
                    <a:pt x="463" y="299"/>
                  </a:cubicBezTo>
                  <a:cubicBezTo>
                    <a:pt x="456" y="294"/>
                    <a:pt x="435" y="292"/>
                    <a:pt x="427" y="287"/>
                  </a:cubicBezTo>
                  <a:cubicBezTo>
                    <a:pt x="419" y="282"/>
                    <a:pt x="403" y="271"/>
                    <a:pt x="400" y="258"/>
                  </a:cubicBezTo>
                  <a:cubicBezTo>
                    <a:pt x="386" y="193"/>
                    <a:pt x="386" y="193"/>
                    <a:pt x="386" y="193"/>
                  </a:cubicBezTo>
                  <a:cubicBezTo>
                    <a:pt x="384" y="180"/>
                    <a:pt x="368" y="170"/>
                    <a:pt x="368" y="170"/>
                  </a:cubicBezTo>
                  <a:cubicBezTo>
                    <a:pt x="308" y="176"/>
                    <a:pt x="308" y="176"/>
                    <a:pt x="308" y="176"/>
                  </a:cubicBezTo>
                  <a:cubicBezTo>
                    <a:pt x="308" y="176"/>
                    <a:pt x="289" y="187"/>
                    <a:pt x="292" y="200"/>
                  </a:cubicBezTo>
                  <a:cubicBezTo>
                    <a:pt x="285" y="263"/>
                    <a:pt x="285" y="263"/>
                    <a:pt x="285" y="263"/>
                  </a:cubicBezTo>
                  <a:cubicBezTo>
                    <a:pt x="291" y="289"/>
                    <a:pt x="277" y="292"/>
                    <a:pt x="272" y="300"/>
                  </a:cubicBezTo>
                  <a:cubicBezTo>
                    <a:pt x="272" y="300"/>
                    <a:pt x="272" y="300"/>
                    <a:pt x="267" y="308"/>
                  </a:cubicBezTo>
                  <a:cubicBezTo>
                    <a:pt x="259" y="302"/>
                    <a:pt x="246" y="305"/>
                    <a:pt x="241" y="313"/>
                  </a:cubicBezTo>
                  <a:cubicBezTo>
                    <a:pt x="236" y="321"/>
                    <a:pt x="236" y="321"/>
                    <a:pt x="236" y="321"/>
                  </a:cubicBezTo>
                  <a:cubicBezTo>
                    <a:pt x="223" y="324"/>
                    <a:pt x="210" y="327"/>
                    <a:pt x="194" y="317"/>
                  </a:cubicBezTo>
                  <a:cubicBezTo>
                    <a:pt x="139" y="281"/>
                    <a:pt x="139" y="281"/>
                    <a:pt x="139" y="281"/>
                  </a:cubicBezTo>
                  <a:cubicBezTo>
                    <a:pt x="131" y="276"/>
                    <a:pt x="110" y="273"/>
                    <a:pt x="104" y="281"/>
                  </a:cubicBezTo>
                  <a:cubicBezTo>
                    <a:pt x="79" y="321"/>
                    <a:pt x="79" y="321"/>
                    <a:pt x="79" y="321"/>
                  </a:cubicBezTo>
                  <a:cubicBezTo>
                    <a:pt x="66" y="324"/>
                    <a:pt x="68" y="337"/>
                    <a:pt x="79" y="355"/>
                  </a:cubicBezTo>
                  <a:cubicBezTo>
                    <a:pt x="121" y="394"/>
                    <a:pt x="121" y="394"/>
                    <a:pt x="121" y="394"/>
                  </a:cubicBezTo>
                  <a:cubicBezTo>
                    <a:pt x="140" y="417"/>
                    <a:pt x="135" y="425"/>
                    <a:pt x="132" y="446"/>
                  </a:cubicBezTo>
                  <a:cubicBezTo>
                    <a:pt x="132" y="446"/>
                    <a:pt x="132" y="446"/>
                    <a:pt x="132" y="446"/>
                  </a:cubicBezTo>
                  <a:cubicBezTo>
                    <a:pt x="127" y="454"/>
                    <a:pt x="122" y="462"/>
                    <a:pt x="117" y="470"/>
                  </a:cubicBezTo>
                  <a:cubicBezTo>
                    <a:pt x="117" y="470"/>
                    <a:pt x="117" y="470"/>
                    <a:pt x="117" y="470"/>
                  </a:cubicBezTo>
                  <a:cubicBezTo>
                    <a:pt x="120" y="483"/>
                    <a:pt x="109" y="499"/>
                    <a:pt x="83" y="505"/>
                  </a:cubicBezTo>
                  <a:cubicBezTo>
                    <a:pt x="23" y="511"/>
                    <a:pt x="23" y="511"/>
                    <a:pt x="23" y="511"/>
                  </a:cubicBezTo>
                  <a:cubicBezTo>
                    <a:pt x="10" y="514"/>
                    <a:pt x="0" y="529"/>
                    <a:pt x="2" y="543"/>
                  </a:cubicBezTo>
                  <a:cubicBezTo>
                    <a:pt x="5" y="590"/>
                    <a:pt x="5" y="590"/>
                    <a:pt x="5" y="590"/>
                  </a:cubicBezTo>
                  <a:cubicBezTo>
                    <a:pt x="8" y="603"/>
                    <a:pt x="16" y="608"/>
                    <a:pt x="37" y="610"/>
                  </a:cubicBezTo>
                  <a:cubicBezTo>
                    <a:pt x="92" y="612"/>
                    <a:pt x="92" y="612"/>
                    <a:pt x="92" y="612"/>
                  </a:cubicBezTo>
                  <a:cubicBezTo>
                    <a:pt x="113" y="614"/>
                    <a:pt x="129" y="625"/>
                    <a:pt x="132" y="638"/>
                  </a:cubicBezTo>
                  <a:cubicBezTo>
                    <a:pt x="132" y="638"/>
                    <a:pt x="132" y="638"/>
                    <a:pt x="132" y="638"/>
                  </a:cubicBezTo>
                  <a:cubicBezTo>
                    <a:pt x="140" y="643"/>
                    <a:pt x="142" y="656"/>
                    <a:pt x="150" y="661"/>
                  </a:cubicBezTo>
                  <a:cubicBezTo>
                    <a:pt x="145" y="669"/>
                    <a:pt x="145" y="669"/>
                    <a:pt x="145" y="669"/>
                  </a:cubicBezTo>
                  <a:cubicBezTo>
                    <a:pt x="153" y="674"/>
                    <a:pt x="156" y="687"/>
                    <a:pt x="140" y="711"/>
                  </a:cubicBezTo>
                  <a:cubicBezTo>
                    <a:pt x="109" y="759"/>
                    <a:pt x="109" y="759"/>
                    <a:pt x="109" y="759"/>
                  </a:cubicBezTo>
                  <a:cubicBezTo>
                    <a:pt x="99" y="775"/>
                    <a:pt x="102" y="788"/>
                    <a:pt x="110" y="793"/>
                  </a:cubicBezTo>
                  <a:cubicBezTo>
                    <a:pt x="152" y="832"/>
                    <a:pt x="152" y="832"/>
                    <a:pt x="152" y="832"/>
                  </a:cubicBezTo>
                  <a:cubicBezTo>
                    <a:pt x="160" y="837"/>
                    <a:pt x="173" y="834"/>
                    <a:pt x="178" y="826"/>
                  </a:cubicBezTo>
                  <a:cubicBezTo>
                    <a:pt x="230" y="781"/>
                    <a:pt x="230" y="781"/>
                    <a:pt x="230" y="781"/>
                  </a:cubicBezTo>
                  <a:cubicBezTo>
                    <a:pt x="248" y="770"/>
                    <a:pt x="261" y="767"/>
                    <a:pt x="269" y="772"/>
                  </a:cubicBezTo>
                  <a:cubicBezTo>
                    <a:pt x="269" y="772"/>
                    <a:pt x="269" y="772"/>
                    <a:pt x="269" y="772"/>
                  </a:cubicBezTo>
                  <a:cubicBezTo>
                    <a:pt x="282" y="769"/>
                    <a:pt x="298" y="779"/>
                    <a:pt x="306" y="785"/>
                  </a:cubicBezTo>
                  <a:cubicBezTo>
                    <a:pt x="306" y="785"/>
                    <a:pt x="306" y="785"/>
                    <a:pt x="306" y="785"/>
                  </a:cubicBezTo>
                  <a:cubicBezTo>
                    <a:pt x="319" y="782"/>
                    <a:pt x="327" y="787"/>
                    <a:pt x="332" y="813"/>
                  </a:cubicBezTo>
                  <a:cubicBezTo>
                    <a:pt x="346" y="878"/>
                    <a:pt x="346" y="878"/>
                    <a:pt x="346" y="878"/>
                  </a:cubicBezTo>
                  <a:cubicBezTo>
                    <a:pt x="349" y="892"/>
                    <a:pt x="357" y="897"/>
                    <a:pt x="370" y="894"/>
                  </a:cubicBezTo>
                  <a:cubicBezTo>
                    <a:pt x="425" y="896"/>
                    <a:pt x="425" y="896"/>
                    <a:pt x="425" y="896"/>
                  </a:cubicBezTo>
                  <a:cubicBezTo>
                    <a:pt x="430" y="888"/>
                    <a:pt x="443" y="885"/>
                    <a:pt x="440" y="872"/>
                  </a:cubicBezTo>
                  <a:cubicBezTo>
                    <a:pt x="440" y="804"/>
                    <a:pt x="440" y="804"/>
                    <a:pt x="440" y="804"/>
                  </a:cubicBezTo>
                  <a:cubicBezTo>
                    <a:pt x="442" y="783"/>
                    <a:pt x="460" y="772"/>
                    <a:pt x="466" y="764"/>
                  </a:cubicBezTo>
                  <a:cubicBezTo>
                    <a:pt x="466" y="764"/>
                    <a:pt x="466" y="764"/>
                    <a:pt x="466" y="764"/>
                  </a:cubicBezTo>
                  <a:cubicBezTo>
                    <a:pt x="479" y="761"/>
                    <a:pt x="492" y="758"/>
                    <a:pt x="497" y="750"/>
                  </a:cubicBezTo>
                  <a:cubicBezTo>
                    <a:pt x="497" y="750"/>
                    <a:pt x="497" y="750"/>
                    <a:pt x="497" y="750"/>
                  </a:cubicBezTo>
                  <a:cubicBezTo>
                    <a:pt x="510" y="747"/>
                    <a:pt x="523" y="745"/>
                    <a:pt x="539" y="755"/>
                  </a:cubicBezTo>
                  <a:cubicBezTo>
                    <a:pt x="594" y="791"/>
                    <a:pt x="594" y="791"/>
                    <a:pt x="594" y="791"/>
                  </a:cubicBezTo>
                  <a:cubicBezTo>
                    <a:pt x="602" y="796"/>
                    <a:pt x="623" y="798"/>
                    <a:pt x="628" y="790"/>
                  </a:cubicBezTo>
                  <a:cubicBezTo>
                    <a:pt x="659" y="743"/>
                    <a:pt x="659" y="743"/>
                    <a:pt x="659" y="743"/>
                  </a:cubicBezTo>
                  <a:cubicBezTo>
                    <a:pt x="659" y="743"/>
                    <a:pt x="669" y="727"/>
                    <a:pt x="654" y="716"/>
                  </a:cubicBezTo>
                  <a:close/>
                  <a:moveTo>
                    <a:pt x="281" y="633"/>
                  </a:moveTo>
                  <a:cubicBezTo>
                    <a:pt x="223" y="584"/>
                    <a:pt x="219" y="502"/>
                    <a:pt x="263" y="452"/>
                  </a:cubicBezTo>
                  <a:cubicBezTo>
                    <a:pt x="313" y="393"/>
                    <a:pt x="399" y="382"/>
                    <a:pt x="457" y="431"/>
                  </a:cubicBezTo>
                  <a:cubicBezTo>
                    <a:pt x="507" y="475"/>
                    <a:pt x="518" y="561"/>
                    <a:pt x="469" y="619"/>
                  </a:cubicBezTo>
                  <a:cubicBezTo>
                    <a:pt x="420" y="678"/>
                    <a:pt x="339" y="682"/>
                    <a:pt x="281" y="633"/>
                  </a:cubicBezTo>
                  <a:close/>
                  <a:moveTo>
                    <a:pt x="1019" y="398"/>
                  </a:moveTo>
                  <a:cubicBezTo>
                    <a:pt x="1004" y="362"/>
                    <a:pt x="1004" y="362"/>
                    <a:pt x="1004" y="362"/>
                  </a:cubicBezTo>
                  <a:cubicBezTo>
                    <a:pt x="992" y="348"/>
                    <a:pt x="1002" y="340"/>
                    <a:pt x="1002" y="332"/>
                  </a:cubicBezTo>
                  <a:cubicBezTo>
                    <a:pt x="1002" y="332"/>
                    <a:pt x="1002" y="332"/>
                    <a:pt x="1002" y="332"/>
                  </a:cubicBezTo>
                  <a:cubicBezTo>
                    <a:pt x="1007" y="328"/>
                    <a:pt x="1011" y="324"/>
                    <a:pt x="1012" y="315"/>
                  </a:cubicBezTo>
                  <a:cubicBezTo>
                    <a:pt x="1021" y="307"/>
                    <a:pt x="1026" y="303"/>
                    <a:pt x="1043" y="304"/>
                  </a:cubicBezTo>
                  <a:cubicBezTo>
                    <a:pt x="1086" y="307"/>
                    <a:pt x="1086" y="307"/>
                    <a:pt x="1086" y="307"/>
                  </a:cubicBezTo>
                  <a:cubicBezTo>
                    <a:pt x="1095" y="308"/>
                    <a:pt x="1099" y="304"/>
                    <a:pt x="1100" y="295"/>
                  </a:cubicBezTo>
                  <a:cubicBezTo>
                    <a:pt x="1107" y="266"/>
                    <a:pt x="1107" y="266"/>
                    <a:pt x="1107" y="266"/>
                  </a:cubicBezTo>
                  <a:cubicBezTo>
                    <a:pt x="1107" y="257"/>
                    <a:pt x="1103" y="252"/>
                    <a:pt x="1095" y="243"/>
                  </a:cubicBezTo>
                  <a:cubicBezTo>
                    <a:pt x="1057" y="236"/>
                    <a:pt x="1057" y="236"/>
                    <a:pt x="1057" y="236"/>
                  </a:cubicBezTo>
                  <a:cubicBezTo>
                    <a:pt x="1044" y="231"/>
                    <a:pt x="1036" y="222"/>
                    <a:pt x="1037" y="213"/>
                  </a:cubicBezTo>
                  <a:cubicBezTo>
                    <a:pt x="1038" y="205"/>
                    <a:pt x="1034" y="200"/>
                    <a:pt x="1030" y="187"/>
                  </a:cubicBezTo>
                  <a:cubicBezTo>
                    <a:pt x="1031" y="178"/>
                    <a:pt x="1032" y="170"/>
                    <a:pt x="1041" y="162"/>
                  </a:cubicBezTo>
                  <a:cubicBezTo>
                    <a:pt x="1077" y="138"/>
                    <a:pt x="1077" y="138"/>
                    <a:pt x="1077" y="138"/>
                  </a:cubicBezTo>
                  <a:cubicBezTo>
                    <a:pt x="1082" y="134"/>
                    <a:pt x="1083" y="126"/>
                    <a:pt x="1079" y="121"/>
                  </a:cubicBezTo>
                  <a:cubicBezTo>
                    <a:pt x="1059" y="89"/>
                    <a:pt x="1059" y="89"/>
                    <a:pt x="1059" y="89"/>
                  </a:cubicBezTo>
                  <a:cubicBezTo>
                    <a:pt x="1055" y="85"/>
                    <a:pt x="1047" y="84"/>
                    <a:pt x="1038" y="83"/>
                  </a:cubicBezTo>
                  <a:cubicBezTo>
                    <a:pt x="1002" y="107"/>
                    <a:pt x="1002" y="107"/>
                    <a:pt x="1002" y="107"/>
                  </a:cubicBezTo>
                  <a:cubicBezTo>
                    <a:pt x="989" y="110"/>
                    <a:pt x="980" y="110"/>
                    <a:pt x="976" y="105"/>
                  </a:cubicBezTo>
                  <a:cubicBezTo>
                    <a:pt x="972" y="100"/>
                    <a:pt x="960" y="95"/>
                    <a:pt x="956" y="91"/>
                  </a:cubicBezTo>
                  <a:cubicBezTo>
                    <a:pt x="952" y="86"/>
                    <a:pt x="944" y="77"/>
                    <a:pt x="944" y="68"/>
                  </a:cubicBezTo>
                  <a:cubicBezTo>
                    <a:pt x="948" y="25"/>
                    <a:pt x="948" y="25"/>
                    <a:pt x="948" y="25"/>
                  </a:cubicBezTo>
                  <a:cubicBezTo>
                    <a:pt x="948" y="17"/>
                    <a:pt x="940" y="7"/>
                    <a:pt x="940" y="7"/>
                  </a:cubicBezTo>
                  <a:cubicBezTo>
                    <a:pt x="902" y="0"/>
                    <a:pt x="902" y="0"/>
                    <a:pt x="902" y="0"/>
                  </a:cubicBezTo>
                  <a:cubicBezTo>
                    <a:pt x="902" y="0"/>
                    <a:pt x="889" y="4"/>
                    <a:pt x="888" y="12"/>
                  </a:cubicBezTo>
                  <a:cubicBezTo>
                    <a:pt x="872" y="50"/>
                    <a:pt x="872" y="50"/>
                    <a:pt x="872" y="50"/>
                  </a:cubicBezTo>
                  <a:cubicBezTo>
                    <a:pt x="871" y="67"/>
                    <a:pt x="862" y="67"/>
                    <a:pt x="858" y="71"/>
                  </a:cubicBezTo>
                  <a:cubicBezTo>
                    <a:pt x="858" y="71"/>
                    <a:pt x="858" y="71"/>
                    <a:pt x="853" y="75"/>
                  </a:cubicBezTo>
                  <a:cubicBezTo>
                    <a:pt x="849" y="70"/>
                    <a:pt x="840" y="70"/>
                    <a:pt x="836" y="74"/>
                  </a:cubicBezTo>
                  <a:cubicBezTo>
                    <a:pt x="831" y="78"/>
                    <a:pt x="831" y="78"/>
                    <a:pt x="831" y="78"/>
                  </a:cubicBezTo>
                  <a:cubicBezTo>
                    <a:pt x="822" y="77"/>
                    <a:pt x="814" y="76"/>
                    <a:pt x="806" y="67"/>
                  </a:cubicBezTo>
                  <a:cubicBezTo>
                    <a:pt x="778" y="35"/>
                    <a:pt x="778" y="35"/>
                    <a:pt x="778" y="35"/>
                  </a:cubicBezTo>
                  <a:cubicBezTo>
                    <a:pt x="774" y="30"/>
                    <a:pt x="762" y="25"/>
                    <a:pt x="757" y="29"/>
                  </a:cubicBezTo>
                  <a:cubicBezTo>
                    <a:pt x="734" y="49"/>
                    <a:pt x="734" y="49"/>
                    <a:pt x="734" y="49"/>
                  </a:cubicBezTo>
                  <a:cubicBezTo>
                    <a:pt x="725" y="49"/>
                    <a:pt x="725" y="57"/>
                    <a:pt x="728" y="70"/>
                  </a:cubicBezTo>
                  <a:cubicBezTo>
                    <a:pt x="747" y="102"/>
                    <a:pt x="747" y="102"/>
                    <a:pt x="747" y="102"/>
                  </a:cubicBezTo>
                  <a:cubicBezTo>
                    <a:pt x="754" y="120"/>
                    <a:pt x="750" y="124"/>
                    <a:pt x="744" y="136"/>
                  </a:cubicBezTo>
                  <a:cubicBezTo>
                    <a:pt x="744" y="136"/>
                    <a:pt x="744" y="136"/>
                    <a:pt x="744" y="136"/>
                  </a:cubicBezTo>
                  <a:cubicBezTo>
                    <a:pt x="740" y="140"/>
                    <a:pt x="735" y="144"/>
                    <a:pt x="731" y="148"/>
                  </a:cubicBezTo>
                  <a:cubicBezTo>
                    <a:pt x="731" y="148"/>
                    <a:pt x="731" y="148"/>
                    <a:pt x="731" y="148"/>
                  </a:cubicBezTo>
                  <a:cubicBezTo>
                    <a:pt x="730" y="157"/>
                    <a:pt x="721" y="165"/>
                    <a:pt x="703" y="164"/>
                  </a:cubicBezTo>
                  <a:cubicBezTo>
                    <a:pt x="665" y="157"/>
                    <a:pt x="665" y="157"/>
                    <a:pt x="665" y="157"/>
                  </a:cubicBezTo>
                  <a:cubicBezTo>
                    <a:pt x="656" y="156"/>
                    <a:pt x="647" y="164"/>
                    <a:pt x="647" y="173"/>
                  </a:cubicBezTo>
                  <a:cubicBezTo>
                    <a:pt x="640" y="203"/>
                    <a:pt x="640" y="203"/>
                    <a:pt x="640" y="203"/>
                  </a:cubicBezTo>
                  <a:cubicBezTo>
                    <a:pt x="639" y="211"/>
                    <a:pt x="643" y="216"/>
                    <a:pt x="656" y="221"/>
                  </a:cubicBezTo>
                  <a:cubicBezTo>
                    <a:pt x="690" y="232"/>
                    <a:pt x="690" y="232"/>
                    <a:pt x="690" y="232"/>
                  </a:cubicBezTo>
                  <a:cubicBezTo>
                    <a:pt x="702" y="237"/>
                    <a:pt x="710" y="246"/>
                    <a:pt x="710" y="255"/>
                  </a:cubicBezTo>
                  <a:cubicBezTo>
                    <a:pt x="710" y="255"/>
                    <a:pt x="710" y="255"/>
                    <a:pt x="710" y="255"/>
                  </a:cubicBezTo>
                  <a:cubicBezTo>
                    <a:pt x="714" y="260"/>
                    <a:pt x="713" y="268"/>
                    <a:pt x="717" y="273"/>
                  </a:cubicBezTo>
                  <a:cubicBezTo>
                    <a:pt x="712" y="277"/>
                    <a:pt x="712" y="277"/>
                    <a:pt x="712" y="277"/>
                  </a:cubicBezTo>
                  <a:cubicBezTo>
                    <a:pt x="716" y="281"/>
                    <a:pt x="716" y="290"/>
                    <a:pt x="702" y="302"/>
                  </a:cubicBezTo>
                  <a:cubicBezTo>
                    <a:pt x="674" y="326"/>
                    <a:pt x="674" y="326"/>
                    <a:pt x="674" y="326"/>
                  </a:cubicBezTo>
                  <a:cubicBezTo>
                    <a:pt x="665" y="334"/>
                    <a:pt x="664" y="343"/>
                    <a:pt x="668" y="347"/>
                  </a:cubicBezTo>
                  <a:cubicBezTo>
                    <a:pt x="687" y="379"/>
                    <a:pt x="687" y="379"/>
                    <a:pt x="687" y="379"/>
                  </a:cubicBezTo>
                  <a:cubicBezTo>
                    <a:pt x="691" y="383"/>
                    <a:pt x="700" y="384"/>
                    <a:pt x="704" y="380"/>
                  </a:cubicBezTo>
                  <a:cubicBezTo>
                    <a:pt x="745" y="361"/>
                    <a:pt x="745" y="361"/>
                    <a:pt x="745" y="361"/>
                  </a:cubicBezTo>
                  <a:cubicBezTo>
                    <a:pt x="758" y="358"/>
                    <a:pt x="767" y="358"/>
                    <a:pt x="771" y="363"/>
                  </a:cubicBezTo>
                  <a:cubicBezTo>
                    <a:pt x="771" y="363"/>
                    <a:pt x="771" y="363"/>
                    <a:pt x="771" y="363"/>
                  </a:cubicBezTo>
                  <a:cubicBezTo>
                    <a:pt x="779" y="364"/>
                    <a:pt x="787" y="373"/>
                    <a:pt x="791" y="377"/>
                  </a:cubicBezTo>
                  <a:cubicBezTo>
                    <a:pt x="791" y="377"/>
                    <a:pt x="791" y="377"/>
                    <a:pt x="791" y="377"/>
                  </a:cubicBezTo>
                  <a:cubicBezTo>
                    <a:pt x="800" y="378"/>
                    <a:pt x="804" y="383"/>
                    <a:pt x="802" y="400"/>
                  </a:cubicBezTo>
                  <a:cubicBezTo>
                    <a:pt x="799" y="443"/>
                    <a:pt x="799" y="443"/>
                    <a:pt x="799" y="443"/>
                  </a:cubicBezTo>
                  <a:cubicBezTo>
                    <a:pt x="798" y="451"/>
                    <a:pt x="802" y="456"/>
                    <a:pt x="811" y="457"/>
                  </a:cubicBezTo>
                  <a:cubicBezTo>
                    <a:pt x="845" y="468"/>
                    <a:pt x="845" y="468"/>
                    <a:pt x="845" y="468"/>
                  </a:cubicBezTo>
                  <a:cubicBezTo>
                    <a:pt x="849" y="464"/>
                    <a:pt x="858" y="464"/>
                    <a:pt x="859" y="456"/>
                  </a:cubicBezTo>
                  <a:cubicBezTo>
                    <a:pt x="871" y="413"/>
                    <a:pt x="871" y="413"/>
                    <a:pt x="871" y="413"/>
                  </a:cubicBezTo>
                  <a:cubicBezTo>
                    <a:pt x="876" y="401"/>
                    <a:pt x="889" y="397"/>
                    <a:pt x="894" y="393"/>
                  </a:cubicBezTo>
                  <a:cubicBezTo>
                    <a:pt x="894" y="393"/>
                    <a:pt x="894" y="393"/>
                    <a:pt x="894" y="393"/>
                  </a:cubicBezTo>
                  <a:cubicBezTo>
                    <a:pt x="902" y="394"/>
                    <a:pt x="911" y="395"/>
                    <a:pt x="916" y="391"/>
                  </a:cubicBezTo>
                  <a:cubicBezTo>
                    <a:pt x="916" y="391"/>
                    <a:pt x="916" y="391"/>
                    <a:pt x="916" y="391"/>
                  </a:cubicBezTo>
                  <a:cubicBezTo>
                    <a:pt x="924" y="391"/>
                    <a:pt x="933" y="392"/>
                    <a:pt x="941" y="401"/>
                  </a:cubicBezTo>
                  <a:cubicBezTo>
                    <a:pt x="969" y="433"/>
                    <a:pt x="969" y="433"/>
                    <a:pt x="969" y="433"/>
                  </a:cubicBezTo>
                  <a:cubicBezTo>
                    <a:pt x="973" y="438"/>
                    <a:pt x="985" y="443"/>
                    <a:pt x="990" y="439"/>
                  </a:cubicBezTo>
                  <a:cubicBezTo>
                    <a:pt x="1018" y="415"/>
                    <a:pt x="1018" y="415"/>
                    <a:pt x="1018" y="415"/>
                  </a:cubicBezTo>
                  <a:cubicBezTo>
                    <a:pt x="1018" y="415"/>
                    <a:pt x="1027" y="407"/>
                    <a:pt x="1019" y="398"/>
                  </a:cubicBezTo>
                  <a:close/>
                  <a:moveTo>
                    <a:pt x="803" y="279"/>
                  </a:moveTo>
                  <a:cubicBezTo>
                    <a:pt x="776" y="238"/>
                    <a:pt x="788" y="187"/>
                    <a:pt x="825" y="164"/>
                  </a:cubicBezTo>
                  <a:cubicBezTo>
                    <a:pt x="866" y="136"/>
                    <a:pt x="921" y="144"/>
                    <a:pt x="948" y="185"/>
                  </a:cubicBezTo>
                  <a:cubicBezTo>
                    <a:pt x="972" y="221"/>
                    <a:pt x="963" y="277"/>
                    <a:pt x="922" y="304"/>
                  </a:cubicBezTo>
                  <a:cubicBezTo>
                    <a:pt x="881" y="332"/>
                    <a:pt x="830" y="320"/>
                    <a:pt x="803" y="279"/>
                  </a:cubicBezTo>
                  <a:close/>
                </a:path>
              </a:pathLst>
            </a:custGeom>
            <a:solidFill>
              <a:schemeClr val="tx1"/>
            </a:solidFill>
            <a:ln>
              <a:noFill/>
            </a:ln>
          </p:spPr>
          <p:txBody>
            <a:bodyPr vert="horz" wrap="square" lIns="68574" tIns="34287" rIns="68574" bIns="34287"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17346"/>
                </a:solidFill>
                <a:effectLst/>
                <a:uLnTx/>
                <a:uFillTx/>
                <a:latin typeface="Segoe UI"/>
                <a:ea typeface="+mn-ea"/>
                <a:cs typeface="+mn-cs"/>
              </a:endParaRPr>
            </a:p>
          </p:txBody>
        </p:sp>
        <p:sp>
          <p:nvSpPr>
            <p:cNvPr id="104" name="Freeform 103"/>
            <p:cNvSpPr>
              <a:spLocks noChangeAspect="1"/>
            </p:cNvSpPr>
            <p:nvPr/>
          </p:nvSpPr>
          <p:spPr bwMode="black">
            <a:xfrm>
              <a:off x="776985" y="4213905"/>
              <a:ext cx="342871" cy="335728"/>
            </a:xfrm>
            <a:custGeom>
              <a:avLst/>
              <a:gdLst>
                <a:gd name="connsiteX0" fmla="*/ 3713863 w 4893730"/>
                <a:gd name="connsiteY0" fmla="*/ 2130808 h 4791777"/>
                <a:gd name="connsiteX1" fmla="*/ 4426142 w 4893730"/>
                <a:gd name="connsiteY1" fmla="*/ 2130808 h 4791777"/>
                <a:gd name="connsiteX2" fmla="*/ 4598071 w 4893730"/>
                <a:gd name="connsiteY2" fmla="*/ 2301547 h 4791777"/>
                <a:gd name="connsiteX3" fmla="*/ 4598071 w 4893730"/>
                <a:gd name="connsiteY3" fmla="*/ 3886978 h 4791777"/>
                <a:gd name="connsiteX4" fmla="*/ 4426142 w 4893730"/>
                <a:gd name="connsiteY4" fmla="*/ 4057717 h 4791777"/>
                <a:gd name="connsiteX5" fmla="*/ 3713863 w 4893730"/>
                <a:gd name="connsiteY5" fmla="*/ 4057717 h 4791777"/>
                <a:gd name="connsiteX6" fmla="*/ 3517372 w 4893730"/>
                <a:gd name="connsiteY6" fmla="*/ 3886978 h 4791777"/>
                <a:gd name="connsiteX7" fmla="*/ 3517372 w 4893730"/>
                <a:gd name="connsiteY7" fmla="*/ 2301547 h 4791777"/>
                <a:gd name="connsiteX8" fmla="*/ 3713863 w 4893730"/>
                <a:gd name="connsiteY8" fmla="*/ 2130808 h 4791777"/>
                <a:gd name="connsiteX9" fmla="*/ 904368 w 4893730"/>
                <a:gd name="connsiteY9" fmla="*/ 1223432 h 4791777"/>
                <a:gd name="connsiteX10" fmla="*/ 1609930 w 4893730"/>
                <a:gd name="connsiteY10" fmla="*/ 1223432 h 4791777"/>
                <a:gd name="connsiteX11" fmla="*/ 1804567 w 4893730"/>
                <a:gd name="connsiteY11" fmla="*/ 1394467 h 4791777"/>
                <a:gd name="connsiteX12" fmla="*/ 1804567 w 4893730"/>
                <a:gd name="connsiteY12" fmla="*/ 3886683 h 4791777"/>
                <a:gd name="connsiteX13" fmla="*/ 1609930 w 4893730"/>
                <a:gd name="connsiteY13" fmla="*/ 4057717 h 4791777"/>
                <a:gd name="connsiteX14" fmla="*/ 904368 w 4893730"/>
                <a:gd name="connsiteY14" fmla="*/ 4057717 h 4791777"/>
                <a:gd name="connsiteX15" fmla="*/ 734060 w 4893730"/>
                <a:gd name="connsiteY15" fmla="*/ 3886683 h 4791777"/>
                <a:gd name="connsiteX16" fmla="*/ 734060 w 4893730"/>
                <a:gd name="connsiteY16" fmla="*/ 1394467 h 4791777"/>
                <a:gd name="connsiteX17" fmla="*/ 904368 w 4893730"/>
                <a:gd name="connsiteY17" fmla="*/ 1223432 h 4791777"/>
                <a:gd name="connsiteX18" fmla="*/ 2325453 w 4893730"/>
                <a:gd name="connsiteY18" fmla="*/ 316050 h 4791777"/>
                <a:gd name="connsiteX19" fmla="*/ 3031014 w 4893730"/>
                <a:gd name="connsiteY19" fmla="*/ 316050 h 4791777"/>
                <a:gd name="connsiteX20" fmla="*/ 3201322 w 4893730"/>
                <a:gd name="connsiteY20" fmla="*/ 487238 h 4791777"/>
                <a:gd name="connsiteX21" fmla="*/ 3201322 w 4893730"/>
                <a:gd name="connsiteY21" fmla="*/ 3886530 h 4791777"/>
                <a:gd name="connsiteX22" fmla="*/ 3031014 w 4893730"/>
                <a:gd name="connsiteY22" fmla="*/ 4057717 h 4791777"/>
                <a:gd name="connsiteX23" fmla="*/ 2325453 w 4893730"/>
                <a:gd name="connsiteY23" fmla="*/ 4057717 h 4791777"/>
                <a:gd name="connsiteX24" fmla="*/ 2130815 w 4893730"/>
                <a:gd name="connsiteY24" fmla="*/ 3886530 h 4791777"/>
                <a:gd name="connsiteX25" fmla="*/ 2130815 w 4893730"/>
                <a:gd name="connsiteY25" fmla="*/ 487238 h 4791777"/>
                <a:gd name="connsiteX26" fmla="*/ 2325453 w 4893730"/>
                <a:gd name="connsiteY26" fmla="*/ 316050 h 4791777"/>
                <a:gd name="connsiteX27" fmla="*/ 269155 w 4893730"/>
                <a:gd name="connsiteY27" fmla="*/ 0 h 4791777"/>
                <a:gd name="connsiteX28" fmla="*/ 538311 w 4893730"/>
                <a:gd name="connsiteY28" fmla="*/ 268927 h 4791777"/>
                <a:gd name="connsiteX29" fmla="*/ 538311 w 4893730"/>
                <a:gd name="connsiteY29" fmla="*/ 4253925 h 4791777"/>
                <a:gd name="connsiteX30" fmla="*/ 4624575 w 4893730"/>
                <a:gd name="connsiteY30" fmla="*/ 4253925 h 4791777"/>
                <a:gd name="connsiteX31" fmla="*/ 4893730 w 4893730"/>
                <a:gd name="connsiteY31" fmla="*/ 4522851 h 4791777"/>
                <a:gd name="connsiteX32" fmla="*/ 4624575 w 4893730"/>
                <a:gd name="connsiteY32" fmla="*/ 4791777 h 4791777"/>
                <a:gd name="connsiteX33" fmla="*/ 269155 w 4893730"/>
                <a:gd name="connsiteY33" fmla="*/ 4791777 h 4791777"/>
                <a:gd name="connsiteX34" fmla="*/ 0 w 4893730"/>
                <a:gd name="connsiteY34" fmla="*/ 4522851 h 4791777"/>
                <a:gd name="connsiteX35" fmla="*/ 0 w 4893730"/>
                <a:gd name="connsiteY35" fmla="*/ 268927 h 4791777"/>
                <a:gd name="connsiteX36" fmla="*/ 269155 w 4893730"/>
                <a:gd name="connsiteY36" fmla="*/ 0 h 4791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4893730" h="4791777">
                  <a:moveTo>
                    <a:pt x="3713863" y="2130808"/>
                  </a:moveTo>
                  <a:cubicBezTo>
                    <a:pt x="3713863" y="2130808"/>
                    <a:pt x="3713863" y="2130808"/>
                    <a:pt x="4426142" y="2130808"/>
                  </a:cubicBezTo>
                  <a:cubicBezTo>
                    <a:pt x="4524387" y="2130808"/>
                    <a:pt x="4598071" y="2203982"/>
                    <a:pt x="4598071" y="2301547"/>
                  </a:cubicBezTo>
                  <a:cubicBezTo>
                    <a:pt x="4598071" y="2301547"/>
                    <a:pt x="4598071" y="2301547"/>
                    <a:pt x="4598071" y="3886978"/>
                  </a:cubicBezTo>
                  <a:cubicBezTo>
                    <a:pt x="4598071" y="3984543"/>
                    <a:pt x="4524387" y="4057717"/>
                    <a:pt x="4426142" y="4057717"/>
                  </a:cubicBezTo>
                  <a:cubicBezTo>
                    <a:pt x="4426142" y="4057717"/>
                    <a:pt x="4426142" y="4057717"/>
                    <a:pt x="3713863" y="4057717"/>
                  </a:cubicBezTo>
                  <a:cubicBezTo>
                    <a:pt x="3615618" y="4057717"/>
                    <a:pt x="3517372" y="3984543"/>
                    <a:pt x="3517372" y="3886978"/>
                  </a:cubicBezTo>
                  <a:cubicBezTo>
                    <a:pt x="3517372" y="3886978"/>
                    <a:pt x="3517372" y="3886978"/>
                    <a:pt x="3517372" y="2301547"/>
                  </a:cubicBezTo>
                  <a:cubicBezTo>
                    <a:pt x="3517372" y="2203982"/>
                    <a:pt x="3615618" y="2130808"/>
                    <a:pt x="3713863" y="2130808"/>
                  </a:cubicBezTo>
                  <a:close/>
                  <a:moveTo>
                    <a:pt x="904368" y="1223432"/>
                  </a:moveTo>
                  <a:cubicBezTo>
                    <a:pt x="904368" y="1223432"/>
                    <a:pt x="904368" y="1223432"/>
                    <a:pt x="1609930" y="1223432"/>
                  </a:cubicBezTo>
                  <a:cubicBezTo>
                    <a:pt x="1731578" y="1223432"/>
                    <a:pt x="1804567" y="1296733"/>
                    <a:pt x="1804567" y="1394467"/>
                  </a:cubicBezTo>
                  <a:cubicBezTo>
                    <a:pt x="1804567" y="1394467"/>
                    <a:pt x="1804567" y="1394467"/>
                    <a:pt x="1804567" y="3886683"/>
                  </a:cubicBezTo>
                  <a:cubicBezTo>
                    <a:pt x="1804567" y="3984417"/>
                    <a:pt x="1731578" y="4057717"/>
                    <a:pt x="1609930" y="4057717"/>
                  </a:cubicBezTo>
                  <a:cubicBezTo>
                    <a:pt x="1609930" y="4057717"/>
                    <a:pt x="1609930" y="4057717"/>
                    <a:pt x="904368" y="4057717"/>
                  </a:cubicBezTo>
                  <a:cubicBezTo>
                    <a:pt x="807049" y="4057717"/>
                    <a:pt x="734060" y="3984417"/>
                    <a:pt x="734060" y="3886683"/>
                  </a:cubicBezTo>
                  <a:cubicBezTo>
                    <a:pt x="734060" y="3886683"/>
                    <a:pt x="734060" y="3886683"/>
                    <a:pt x="734060" y="1394467"/>
                  </a:cubicBezTo>
                  <a:cubicBezTo>
                    <a:pt x="734060" y="1296733"/>
                    <a:pt x="807049" y="1223432"/>
                    <a:pt x="904368" y="1223432"/>
                  </a:cubicBezTo>
                  <a:close/>
                  <a:moveTo>
                    <a:pt x="2325453" y="316050"/>
                  </a:moveTo>
                  <a:cubicBezTo>
                    <a:pt x="2325453" y="316050"/>
                    <a:pt x="2325453" y="316050"/>
                    <a:pt x="3031014" y="316050"/>
                  </a:cubicBezTo>
                  <a:cubicBezTo>
                    <a:pt x="3128333" y="316050"/>
                    <a:pt x="3201322" y="389416"/>
                    <a:pt x="3201322" y="487238"/>
                  </a:cubicBezTo>
                  <a:cubicBezTo>
                    <a:pt x="3201322" y="487238"/>
                    <a:pt x="3201322" y="487238"/>
                    <a:pt x="3201322" y="3886530"/>
                  </a:cubicBezTo>
                  <a:cubicBezTo>
                    <a:pt x="3201322" y="3984351"/>
                    <a:pt x="3128333" y="4057717"/>
                    <a:pt x="3031014" y="4057717"/>
                  </a:cubicBezTo>
                  <a:cubicBezTo>
                    <a:pt x="3031014" y="4057717"/>
                    <a:pt x="3031014" y="4057717"/>
                    <a:pt x="2325453" y="4057717"/>
                  </a:cubicBezTo>
                  <a:cubicBezTo>
                    <a:pt x="2203804" y="4057717"/>
                    <a:pt x="2130815" y="3984351"/>
                    <a:pt x="2130815" y="3886530"/>
                  </a:cubicBezTo>
                  <a:cubicBezTo>
                    <a:pt x="2130815" y="3886530"/>
                    <a:pt x="2130815" y="3886530"/>
                    <a:pt x="2130815" y="487238"/>
                  </a:cubicBezTo>
                  <a:cubicBezTo>
                    <a:pt x="2130815" y="389416"/>
                    <a:pt x="2203804" y="316050"/>
                    <a:pt x="2325453" y="316050"/>
                  </a:cubicBezTo>
                  <a:close/>
                  <a:moveTo>
                    <a:pt x="269155" y="0"/>
                  </a:moveTo>
                  <a:cubicBezTo>
                    <a:pt x="415967" y="0"/>
                    <a:pt x="538311" y="122239"/>
                    <a:pt x="538311" y="268927"/>
                  </a:cubicBezTo>
                  <a:cubicBezTo>
                    <a:pt x="538311" y="268927"/>
                    <a:pt x="538311" y="268927"/>
                    <a:pt x="538311" y="4253925"/>
                  </a:cubicBezTo>
                  <a:cubicBezTo>
                    <a:pt x="538311" y="4253925"/>
                    <a:pt x="538311" y="4253925"/>
                    <a:pt x="4624575" y="4253925"/>
                  </a:cubicBezTo>
                  <a:cubicBezTo>
                    <a:pt x="4771387" y="4253925"/>
                    <a:pt x="4893730" y="4376164"/>
                    <a:pt x="4893730" y="4522851"/>
                  </a:cubicBezTo>
                  <a:cubicBezTo>
                    <a:pt x="4893730" y="4669538"/>
                    <a:pt x="4771387" y="4791777"/>
                    <a:pt x="4624575" y="4791777"/>
                  </a:cubicBezTo>
                  <a:cubicBezTo>
                    <a:pt x="4624575" y="4791777"/>
                    <a:pt x="4624575" y="4791777"/>
                    <a:pt x="269155" y="4791777"/>
                  </a:cubicBezTo>
                  <a:cubicBezTo>
                    <a:pt x="122344" y="4791777"/>
                    <a:pt x="0" y="4669538"/>
                    <a:pt x="0" y="4522851"/>
                  </a:cubicBezTo>
                  <a:cubicBezTo>
                    <a:pt x="0" y="4522851"/>
                    <a:pt x="0" y="4522851"/>
                    <a:pt x="0" y="268927"/>
                  </a:cubicBezTo>
                  <a:cubicBezTo>
                    <a:pt x="0" y="122239"/>
                    <a:pt x="122344" y="0"/>
                    <a:pt x="269155"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37148" tIns="109719" rIns="137148" bIns="109719"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699261"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5" name="Rectangle 104"/>
            <p:cNvSpPr/>
            <p:nvPr/>
          </p:nvSpPr>
          <p:spPr bwMode="auto">
            <a:xfrm rot="2745734">
              <a:off x="886688" y="2210975"/>
              <a:ext cx="1598323" cy="1625795"/>
            </a:xfrm>
            <a:prstGeom prst="rect">
              <a:avLst/>
            </a:prstGeom>
            <a:solidFill>
              <a:schemeClr val="tx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6" name="Rectangle 105"/>
            <p:cNvSpPr/>
            <p:nvPr/>
          </p:nvSpPr>
          <p:spPr bwMode="auto">
            <a:xfrm rot="2745734">
              <a:off x="292433" y="3819160"/>
              <a:ext cx="1610349" cy="1235003"/>
            </a:xfrm>
            <a:prstGeom prst="rect">
              <a:avLst/>
            </a:prstGeom>
            <a:solidFill>
              <a:schemeClr val="tx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7" name="Rectangle 106"/>
            <p:cNvSpPr/>
            <p:nvPr/>
          </p:nvSpPr>
          <p:spPr bwMode="auto">
            <a:xfrm rot="2745734">
              <a:off x="1315610" y="4915701"/>
              <a:ext cx="1263370" cy="1255989"/>
            </a:xfrm>
            <a:prstGeom prst="rect">
              <a:avLst/>
            </a:prstGeom>
            <a:solidFill>
              <a:schemeClr val="tx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37" name="Title 10"/>
          <p:cNvSpPr txBox="1">
            <a:spLocks/>
          </p:cNvSpPr>
          <p:nvPr/>
        </p:nvSpPr>
        <p:spPr>
          <a:xfrm>
            <a:off x="2849060" y="0"/>
            <a:ext cx="9342940" cy="665151"/>
          </a:xfrm>
          <a:prstGeom prst="rect">
            <a:avLst/>
          </a:prstGeom>
          <a:noFill/>
        </p:spPr>
        <p:txBody>
          <a:bodyPr vert="horz" wrap="square" lIns="0" tIns="91440" rIns="0" bIns="91440" rtlCol="0" anchor="t">
            <a:noAutofit/>
          </a:bodyPr>
          <a:lstStyle>
            <a:lvl1pPr defTabSz="914367">
              <a:lnSpc>
                <a:spcPct val="90000"/>
              </a:lnSpc>
              <a:spcBef>
                <a:spcPct val="0"/>
              </a:spcBef>
              <a:buNone/>
              <a:defRPr lang="en-US" sz="5294" b="0" cap="none" spc="-100" baseline="0" dirty="0" smtClean="0">
                <a:ln w="3175">
                  <a:noFill/>
                </a:ln>
                <a:solidFill>
                  <a:schemeClr val="tx2"/>
                </a:solidFill>
                <a:effectLst/>
                <a:latin typeface="+mj-lt"/>
                <a:cs typeface="Segoe UI" pitchFamily="34" charset="0"/>
              </a:defRPr>
            </a:lvl1pPr>
          </a:lstStyle>
          <a:p>
            <a:pPr marL="168275" marR="0" lvl="0" indent="0" algn="l" defTabSz="914367" rtl="0" eaLnBrk="1" fontAlgn="auto" latinLnBrk="0" hangingPunct="1">
              <a:lnSpc>
                <a:spcPct val="90000"/>
              </a:lnSpc>
              <a:spcBef>
                <a:spcPct val="0"/>
              </a:spcBef>
              <a:spcAft>
                <a:spcPts val="0"/>
              </a:spcAft>
              <a:buClrTx/>
              <a:buSzTx/>
              <a:buFontTx/>
              <a:buNone/>
              <a:tabLst/>
              <a:defRPr/>
            </a:pPr>
            <a:r>
              <a:rPr kumimoji="0" lang="en-US" sz="3600" b="0" i="0" u="none" strike="noStrike" kern="1200" cap="none" spc="-100" normalizeH="0" baseline="0" noProof="0">
                <a:ln w="3175">
                  <a:noFill/>
                </a:ln>
                <a:solidFill>
                  <a:prstClr val="black"/>
                </a:solidFill>
                <a:effectLst/>
                <a:uLnTx/>
                <a:uFillTx/>
                <a:latin typeface="Segoe UI Light"/>
                <a:ea typeface="+mn-ea"/>
                <a:cs typeface="Segoe UI" pitchFamily="34" charset="0"/>
              </a:rPr>
              <a:t>Calculations</a:t>
            </a:r>
            <a:endParaRPr kumimoji="0" lang="en-IN" sz="3600" b="0" i="0" u="none" strike="noStrike" kern="1200" cap="none" spc="-100" normalizeH="0" baseline="0" noProof="0">
              <a:ln w="3175">
                <a:noFill/>
              </a:ln>
              <a:solidFill>
                <a:prstClr val="black"/>
              </a:solidFill>
              <a:effectLst/>
              <a:uLnTx/>
              <a:uFillTx/>
              <a:latin typeface="Segoe UI Light"/>
              <a:ea typeface="+mn-ea"/>
              <a:cs typeface="Segoe UI" pitchFamily="34" charset="0"/>
            </a:endParaRPr>
          </a:p>
        </p:txBody>
      </p:sp>
      <p:sp>
        <p:nvSpPr>
          <p:cNvPr id="40" name="TextBox 39"/>
          <p:cNvSpPr txBox="1"/>
          <p:nvPr/>
        </p:nvSpPr>
        <p:spPr>
          <a:xfrm>
            <a:off x="3" y="51415"/>
            <a:ext cx="2849058" cy="430887"/>
          </a:xfrm>
          <a:prstGeom prst="rect">
            <a:avLst/>
          </a:prstGeom>
        </p:spPr>
        <p:txBody>
          <a:bodyPr wrap="square">
            <a:spAutoFit/>
          </a:bodyPr>
          <a:lstStyle>
            <a:defPPr>
              <a:defRPr lang="en-US"/>
            </a:defPPr>
            <a:lvl1pPr defTabSz="914192">
              <a:defRPr sz="2800" b="1" spc="-100">
                <a:ln w="3175">
                  <a:noFill/>
                </a:ln>
                <a:solidFill>
                  <a:srgbClr val="F2C812"/>
                </a:solidFill>
                <a:latin typeface="Segoe UI" panose="020B0502040204020203" pitchFamily="34" charset="0"/>
                <a:ea typeface="ＭＳ Ｐゴシック" charset="0"/>
                <a:cs typeface="Segoe UI" panose="020B0502040204020203" pitchFamily="34" charset="0"/>
              </a:defRPr>
            </a:lvl1pPr>
          </a:lstStyle>
          <a:p>
            <a:pPr marL="0" marR="0" lvl="0" indent="0" algn="l" defTabSz="914192" rtl="0" eaLnBrk="1" fontAlgn="auto" latinLnBrk="0" hangingPunct="1">
              <a:lnSpc>
                <a:spcPct val="100000"/>
              </a:lnSpc>
              <a:spcBef>
                <a:spcPts val="0"/>
              </a:spcBef>
              <a:spcAft>
                <a:spcPts val="0"/>
              </a:spcAft>
              <a:buClrTx/>
              <a:buSzTx/>
              <a:buFontTx/>
              <a:buNone/>
              <a:tabLst/>
              <a:defRPr/>
            </a:pPr>
            <a:r>
              <a:rPr kumimoji="0" lang="en-US" sz="2200" b="1" i="0" u="none" strike="noStrike" kern="1200" cap="none" spc="-100" normalizeH="0" baseline="0" noProof="0">
                <a:ln w="3175">
                  <a:noFill/>
                </a:ln>
                <a:solidFill>
                  <a:srgbClr val="F2C812"/>
                </a:solidFill>
                <a:effectLst/>
                <a:uLnTx/>
                <a:uFillTx/>
                <a:latin typeface="Segoe UI Light"/>
                <a:ea typeface="ＭＳ Ｐゴシック" charset="0"/>
                <a:cs typeface="Segoe UI" panose="020B0502040204020203" pitchFamily="34" charset="0"/>
              </a:rPr>
              <a:t>Power BI Desktop</a:t>
            </a:r>
          </a:p>
        </p:txBody>
      </p:sp>
      <p:sp>
        <p:nvSpPr>
          <p:cNvPr id="36" name="Rectangle 3"/>
          <p:cNvSpPr/>
          <p:nvPr/>
        </p:nvSpPr>
        <p:spPr bwMode="auto">
          <a:xfrm>
            <a:off x="3202216" y="665151"/>
            <a:ext cx="8105312" cy="44435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PT" sz="2000" b="0" i="1" u="none" strike="noStrike" kern="1200" cap="none" spc="0" normalizeH="0" baseline="0" noProof="0">
                <a:ln>
                  <a:noFill/>
                </a:ln>
                <a:solidFill>
                  <a:prstClr val="black"/>
                </a:solidFill>
                <a:effectLst/>
                <a:uLnTx/>
                <a:uFillTx/>
                <a:latin typeface="Segoe UI Light"/>
                <a:ea typeface="+mn-ea"/>
                <a:cs typeface="+mn-cs"/>
              </a:rPr>
              <a:t>DAX Basics - Syntax</a:t>
            </a:r>
            <a:endParaRPr kumimoji="0" lang="en-US" sz="2000" b="0" i="1" u="none" strike="noStrike" kern="1200" cap="none" spc="0" normalizeH="0" baseline="0" noProof="0">
              <a:ln>
                <a:noFill/>
              </a:ln>
              <a:solidFill>
                <a:prstClr val="black"/>
              </a:solidFill>
              <a:effectLst/>
              <a:uLnTx/>
              <a:uFillTx/>
              <a:latin typeface="Segoe UI Light"/>
              <a:ea typeface="+mn-ea"/>
              <a:cs typeface="+mn-cs"/>
            </a:endParaRPr>
          </a:p>
        </p:txBody>
      </p:sp>
      <p:pic>
        <p:nvPicPr>
          <p:cNvPr id="2" name="Picture 1"/>
          <p:cNvPicPr>
            <a:picLocks noChangeAspect="1"/>
          </p:cNvPicPr>
          <p:nvPr/>
        </p:nvPicPr>
        <p:blipFill>
          <a:blip r:embed="rId3"/>
          <a:stretch>
            <a:fillRect/>
          </a:stretch>
        </p:blipFill>
        <p:spPr>
          <a:xfrm>
            <a:off x="4282030" y="1494075"/>
            <a:ext cx="6477000" cy="1771650"/>
          </a:xfrm>
          <a:prstGeom prst="rect">
            <a:avLst/>
          </a:prstGeom>
          <a:ln>
            <a:noFill/>
          </a:ln>
          <a:effectLst>
            <a:outerShdw blurRad="190500" algn="tl" rotWithShape="0">
              <a:srgbClr val="000000">
                <a:alpha val="70000"/>
              </a:srgbClr>
            </a:outerShdw>
          </a:effectLst>
        </p:spPr>
      </p:pic>
      <p:sp>
        <p:nvSpPr>
          <p:cNvPr id="39" name="TextBox 38"/>
          <p:cNvSpPr txBox="1"/>
          <p:nvPr/>
        </p:nvSpPr>
        <p:spPr>
          <a:xfrm>
            <a:off x="3513543" y="3645909"/>
            <a:ext cx="7583948" cy="517065"/>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Light"/>
                <a:ea typeface="Calibri" panose="020F0502020204030204" pitchFamily="34" charset="0"/>
                <a:cs typeface="Times New Roman" panose="02020603050405020304" pitchFamily="18" charset="0"/>
              </a:rPr>
              <a:t>An expression always </a:t>
            </a:r>
            <a:r>
              <a:rPr kumimoji="0" lang="en-US" sz="1600" b="1" i="0" u="none" strike="noStrike" kern="1200" cap="none" spc="0" normalizeH="0" baseline="0" noProof="0">
                <a:ln>
                  <a:noFill/>
                </a:ln>
                <a:solidFill>
                  <a:prstClr val="black"/>
                </a:solidFill>
                <a:effectLst/>
                <a:uLnTx/>
                <a:uFillTx/>
                <a:latin typeface="Segoe UI Light"/>
                <a:ea typeface="Calibri" panose="020F0502020204030204" pitchFamily="34" charset="0"/>
                <a:cs typeface="Times New Roman" panose="02020603050405020304" pitchFamily="18" charset="0"/>
              </a:rPr>
              <a:t>starts with the name of the calculation</a:t>
            </a:r>
          </a:p>
        </p:txBody>
      </p:sp>
      <p:sp>
        <p:nvSpPr>
          <p:cNvPr id="41" name="Oval 40"/>
          <p:cNvSpPr/>
          <p:nvPr/>
        </p:nvSpPr>
        <p:spPr bwMode="auto">
          <a:xfrm>
            <a:off x="3314385" y="3758987"/>
            <a:ext cx="252000" cy="252000"/>
          </a:xfrm>
          <a:prstGeom prst="ellipse">
            <a:avLst/>
          </a:prstGeom>
          <a:solidFill>
            <a:srgbClr val="EB0A8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pt-PT" sz="12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A</a:t>
            </a:r>
            <a:endParaRPr kumimoji="0" lang="en-US" sz="12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2" name="TextBox 41"/>
          <p:cNvSpPr txBox="1"/>
          <p:nvPr/>
        </p:nvSpPr>
        <p:spPr>
          <a:xfrm>
            <a:off x="3513543" y="4176783"/>
            <a:ext cx="6233130" cy="517065"/>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600" b="1" i="0" u="none" strike="noStrike" kern="1200" cap="none" spc="0" normalizeH="0" baseline="0" noProof="0">
                <a:ln>
                  <a:noFill/>
                </a:ln>
                <a:solidFill>
                  <a:prstClr val="black"/>
                </a:solidFill>
                <a:effectLst/>
                <a:uLnTx/>
                <a:uFillTx/>
                <a:latin typeface="Segoe UI Light"/>
                <a:ea typeface="Calibri" panose="020F0502020204030204" pitchFamily="34" charset="0"/>
                <a:cs typeface="Times New Roman" panose="02020603050405020304" pitchFamily="18" charset="0"/>
              </a:rPr>
              <a:t>The equal sign </a:t>
            </a:r>
            <a:r>
              <a:rPr kumimoji="0" lang="en-US" sz="1600" b="0" i="0" u="none" strike="noStrike" kern="1200" cap="none" spc="0" normalizeH="0" baseline="0" noProof="0">
                <a:ln>
                  <a:noFill/>
                </a:ln>
                <a:solidFill>
                  <a:prstClr val="black"/>
                </a:solidFill>
                <a:effectLst/>
                <a:uLnTx/>
                <a:uFillTx/>
                <a:latin typeface="Segoe UI Light"/>
                <a:ea typeface="Calibri" panose="020F0502020204030204" pitchFamily="34" charset="0"/>
                <a:cs typeface="Times New Roman" panose="02020603050405020304" pitchFamily="18" charset="0"/>
              </a:rPr>
              <a:t>indicates the</a:t>
            </a:r>
            <a:r>
              <a:rPr kumimoji="0" lang="en-US" sz="1600" b="1" i="0" u="none" strike="noStrike" kern="1200" cap="none" spc="0" normalizeH="0" baseline="0" noProof="0">
                <a:ln>
                  <a:noFill/>
                </a:ln>
                <a:solidFill>
                  <a:prstClr val="black"/>
                </a:solidFill>
                <a:effectLst/>
                <a:uLnTx/>
                <a:uFillTx/>
                <a:latin typeface="Segoe UI Light"/>
                <a:ea typeface="Calibri" panose="020F0502020204030204" pitchFamily="34" charset="0"/>
                <a:cs typeface="Times New Roman" panose="02020603050405020304" pitchFamily="18" charset="0"/>
              </a:rPr>
              <a:t> beginning of the formula</a:t>
            </a:r>
            <a:endParaRPr kumimoji="0" lang="en-US" sz="1600" b="0" i="0" u="none" strike="noStrike" kern="1200" cap="none" spc="0" normalizeH="0" baseline="0" noProof="0">
              <a:ln>
                <a:noFill/>
              </a:ln>
              <a:solidFill>
                <a:prstClr val="black"/>
              </a:solidFill>
              <a:effectLst/>
              <a:uLnTx/>
              <a:uFillTx/>
              <a:latin typeface="Segoe UI Light"/>
              <a:ea typeface="Calibri" panose="020F0502020204030204" pitchFamily="34" charset="0"/>
              <a:cs typeface="Times New Roman" panose="02020603050405020304" pitchFamily="18" charset="0"/>
            </a:endParaRPr>
          </a:p>
        </p:txBody>
      </p:sp>
      <p:sp>
        <p:nvSpPr>
          <p:cNvPr id="43" name="Oval 42"/>
          <p:cNvSpPr/>
          <p:nvPr/>
        </p:nvSpPr>
        <p:spPr bwMode="auto">
          <a:xfrm>
            <a:off x="3314385" y="4289861"/>
            <a:ext cx="252000" cy="252000"/>
          </a:xfrm>
          <a:prstGeom prst="ellipse">
            <a:avLst/>
          </a:prstGeom>
          <a:solidFill>
            <a:srgbClr val="EB0A8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pt-PT" sz="12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B</a:t>
            </a:r>
            <a:endParaRPr kumimoji="0" lang="en-US" sz="12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4" name="TextBox 43"/>
          <p:cNvSpPr txBox="1"/>
          <p:nvPr/>
        </p:nvSpPr>
        <p:spPr>
          <a:xfrm>
            <a:off x="3513543" y="4668748"/>
            <a:ext cx="7064402" cy="517065"/>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600" b="1" i="0" u="none" strike="noStrike" kern="1200" cap="none" spc="0" normalizeH="0" baseline="0" noProof="0">
                <a:ln>
                  <a:noFill/>
                </a:ln>
                <a:solidFill>
                  <a:prstClr val="black"/>
                </a:solidFill>
                <a:effectLst/>
                <a:uLnTx/>
                <a:uFillTx/>
                <a:latin typeface="Segoe UI Light"/>
                <a:ea typeface="Calibri" panose="020F0502020204030204" pitchFamily="34" charset="0"/>
                <a:cs typeface="Times New Roman" panose="02020603050405020304" pitchFamily="18" charset="0"/>
              </a:rPr>
              <a:t>A function or a combination of functions </a:t>
            </a:r>
            <a:r>
              <a:rPr kumimoji="0" lang="en-US" sz="1600" b="0" i="0" u="none" strike="noStrike" kern="1200" cap="none" spc="0" normalizeH="0" baseline="0" noProof="0">
                <a:ln>
                  <a:noFill/>
                </a:ln>
                <a:solidFill>
                  <a:prstClr val="black"/>
                </a:solidFill>
                <a:effectLst/>
                <a:uLnTx/>
                <a:uFillTx/>
                <a:latin typeface="Segoe UI Light"/>
                <a:ea typeface="Calibri" panose="020F0502020204030204" pitchFamily="34" charset="0"/>
                <a:cs typeface="Times New Roman" panose="02020603050405020304" pitchFamily="18" charset="0"/>
              </a:rPr>
              <a:t>is applied which will </a:t>
            </a:r>
            <a:r>
              <a:rPr kumimoji="0" lang="en-US" sz="1600" b="1" i="0" u="none" strike="noStrike" kern="1200" cap="none" spc="0" normalizeH="0" baseline="0" noProof="0">
                <a:ln>
                  <a:noFill/>
                </a:ln>
                <a:solidFill>
                  <a:prstClr val="black"/>
                </a:solidFill>
                <a:effectLst/>
                <a:uLnTx/>
                <a:uFillTx/>
                <a:latin typeface="Segoe UI Light"/>
                <a:ea typeface="Calibri" panose="020F0502020204030204" pitchFamily="34" charset="0"/>
                <a:cs typeface="Times New Roman" panose="02020603050405020304" pitchFamily="18" charset="0"/>
              </a:rPr>
              <a:t>return a value</a:t>
            </a:r>
          </a:p>
        </p:txBody>
      </p:sp>
      <p:sp>
        <p:nvSpPr>
          <p:cNvPr id="45" name="Oval 44"/>
          <p:cNvSpPr/>
          <p:nvPr/>
        </p:nvSpPr>
        <p:spPr bwMode="auto">
          <a:xfrm>
            <a:off x="3314385" y="4781826"/>
            <a:ext cx="252000" cy="252000"/>
          </a:xfrm>
          <a:prstGeom prst="ellipse">
            <a:avLst/>
          </a:prstGeom>
          <a:solidFill>
            <a:srgbClr val="EB0A8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pt-PT" sz="12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C</a:t>
            </a:r>
            <a:endParaRPr kumimoji="0" lang="en-US" sz="12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6" name="TextBox 45"/>
          <p:cNvSpPr txBox="1"/>
          <p:nvPr/>
        </p:nvSpPr>
        <p:spPr>
          <a:xfrm>
            <a:off x="3513543" y="5160713"/>
            <a:ext cx="8030757" cy="517065"/>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600" b="1" i="0" u="none" strike="noStrike" kern="1200" cap="none" spc="0" normalizeH="0" baseline="0" noProof="0">
                <a:ln>
                  <a:noFill/>
                </a:ln>
                <a:solidFill>
                  <a:prstClr val="black"/>
                </a:solidFill>
                <a:effectLst/>
                <a:uLnTx/>
                <a:uFillTx/>
                <a:latin typeface="Segoe UI Light"/>
                <a:ea typeface="Calibri" panose="020F0502020204030204" pitchFamily="34" charset="0"/>
                <a:cs typeface="Times New Roman" panose="02020603050405020304" pitchFamily="18" charset="0"/>
              </a:rPr>
              <a:t>The arguments of the function </a:t>
            </a:r>
            <a:r>
              <a:rPr kumimoji="0" lang="en-US" sz="1600" b="0" i="0" u="none" strike="noStrike" kern="1200" cap="none" spc="0" normalizeH="0" baseline="0" noProof="0">
                <a:ln>
                  <a:noFill/>
                </a:ln>
                <a:solidFill>
                  <a:prstClr val="black"/>
                </a:solidFill>
                <a:effectLst/>
                <a:uLnTx/>
                <a:uFillTx/>
                <a:latin typeface="Segoe UI Light"/>
                <a:ea typeface="Calibri" panose="020F0502020204030204" pitchFamily="34" charset="0"/>
                <a:cs typeface="Times New Roman" panose="02020603050405020304" pitchFamily="18" charset="0"/>
              </a:rPr>
              <a:t>(can be a reference to columns or additional functions)</a:t>
            </a:r>
          </a:p>
        </p:txBody>
      </p:sp>
      <p:sp>
        <p:nvSpPr>
          <p:cNvPr id="47" name="Oval 46"/>
          <p:cNvSpPr/>
          <p:nvPr/>
        </p:nvSpPr>
        <p:spPr bwMode="auto">
          <a:xfrm>
            <a:off x="3314386" y="5273791"/>
            <a:ext cx="252000" cy="252000"/>
          </a:xfrm>
          <a:prstGeom prst="ellipse">
            <a:avLst/>
          </a:prstGeom>
          <a:solidFill>
            <a:srgbClr val="EB0A8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pt-PT" sz="12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D</a:t>
            </a:r>
            <a:endParaRPr kumimoji="0" lang="en-US" sz="12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8" name="TextBox 47"/>
          <p:cNvSpPr txBox="1"/>
          <p:nvPr/>
        </p:nvSpPr>
        <p:spPr>
          <a:xfrm>
            <a:off x="3513543" y="5641194"/>
            <a:ext cx="8030757" cy="517065"/>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pt-PT" sz="1600" b="1" i="0" u="none" strike="noStrike" kern="1200" cap="none" spc="0" normalizeH="0" baseline="0" noProof="0">
                <a:ln>
                  <a:noFill/>
                </a:ln>
                <a:solidFill>
                  <a:prstClr val="black"/>
                </a:solidFill>
                <a:effectLst/>
                <a:uLnTx/>
                <a:uFillTx/>
                <a:latin typeface="Segoe UI Light"/>
                <a:ea typeface="Calibri" panose="020F0502020204030204" pitchFamily="34" charset="0"/>
                <a:cs typeface="Times New Roman" panose="02020603050405020304" pitchFamily="18" charset="0"/>
              </a:rPr>
              <a:t>The table </a:t>
            </a:r>
            <a:r>
              <a:rPr kumimoji="0" lang="pt-PT" sz="1600" b="0" i="0" u="none" strike="noStrike" kern="1200" cap="none" spc="0" normalizeH="0" baseline="0" noProof="0">
                <a:ln>
                  <a:noFill/>
                </a:ln>
                <a:solidFill>
                  <a:prstClr val="black"/>
                </a:solidFill>
                <a:effectLst/>
                <a:uLnTx/>
                <a:uFillTx/>
                <a:latin typeface="Segoe UI Light"/>
                <a:ea typeface="Calibri" panose="020F0502020204030204" pitchFamily="34" charset="0"/>
                <a:cs typeface="Times New Roman" panose="02020603050405020304" pitchFamily="18" charset="0"/>
              </a:rPr>
              <a:t>that is being referenced</a:t>
            </a:r>
            <a:endParaRPr kumimoji="0" lang="en-US" sz="1600" b="0" i="0" u="none" strike="noStrike" kern="1200" cap="none" spc="0" normalizeH="0" baseline="0" noProof="0">
              <a:ln>
                <a:noFill/>
              </a:ln>
              <a:solidFill>
                <a:prstClr val="black"/>
              </a:solidFill>
              <a:effectLst/>
              <a:uLnTx/>
              <a:uFillTx/>
              <a:latin typeface="Segoe UI Light"/>
              <a:ea typeface="Calibri" panose="020F0502020204030204" pitchFamily="34" charset="0"/>
              <a:cs typeface="Times New Roman" panose="02020603050405020304" pitchFamily="18" charset="0"/>
            </a:endParaRPr>
          </a:p>
        </p:txBody>
      </p:sp>
      <p:sp>
        <p:nvSpPr>
          <p:cNvPr id="49" name="Oval 48"/>
          <p:cNvSpPr/>
          <p:nvPr/>
        </p:nvSpPr>
        <p:spPr bwMode="auto">
          <a:xfrm>
            <a:off x="3314386" y="5754272"/>
            <a:ext cx="252000" cy="252000"/>
          </a:xfrm>
          <a:prstGeom prst="ellipse">
            <a:avLst/>
          </a:prstGeom>
          <a:solidFill>
            <a:srgbClr val="EB0A8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pt-PT" sz="12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E</a:t>
            </a:r>
            <a:endParaRPr kumimoji="0" lang="en-US" sz="12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0" name="TextBox 49"/>
          <p:cNvSpPr txBox="1"/>
          <p:nvPr/>
        </p:nvSpPr>
        <p:spPr>
          <a:xfrm>
            <a:off x="3513542" y="6133159"/>
            <a:ext cx="8030757" cy="517065"/>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pt-PT" sz="1600" b="1" i="0" u="none" strike="noStrike" kern="1200" cap="none" spc="0" normalizeH="0" baseline="0" noProof="0">
                <a:ln>
                  <a:noFill/>
                </a:ln>
                <a:solidFill>
                  <a:prstClr val="black"/>
                </a:solidFill>
                <a:effectLst/>
                <a:uLnTx/>
                <a:uFillTx/>
                <a:latin typeface="Segoe UI Light"/>
                <a:ea typeface="Calibri" panose="020F0502020204030204" pitchFamily="34" charset="0"/>
                <a:cs typeface="Times New Roman" panose="02020603050405020304" pitchFamily="18" charset="0"/>
              </a:rPr>
              <a:t>The column </a:t>
            </a:r>
            <a:r>
              <a:rPr kumimoji="0" lang="pt-PT" sz="1600" b="0" i="0" u="none" strike="noStrike" kern="1200" cap="none" spc="0" normalizeH="0" baseline="0" noProof="0">
                <a:ln>
                  <a:noFill/>
                </a:ln>
                <a:solidFill>
                  <a:prstClr val="black"/>
                </a:solidFill>
                <a:effectLst/>
                <a:uLnTx/>
                <a:uFillTx/>
                <a:latin typeface="Segoe UI Light"/>
                <a:ea typeface="Calibri" panose="020F0502020204030204" pitchFamily="34" charset="0"/>
                <a:cs typeface="Times New Roman" panose="02020603050405020304" pitchFamily="18" charset="0"/>
              </a:rPr>
              <a:t>that is being referenced for the specified table</a:t>
            </a:r>
            <a:endParaRPr kumimoji="0" lang="en-US" sz="1600" b="0" i="0" u="none" strike="noStrike" kern="1200" cap="none" spc="0" normalizeH="0" baseline="0" noProof="0">
              <a:ln>
                <a:noFill/>
              </a:ln>
              <a:solidFill>
                <a:prstClr val="black"/>
              </a:solidFill>
              <a:effectLst/>
              <a:uLnTx/>
              <a:uFillTx/>
              <a:latin typeface="Segoe UI Light"/>
              <a:ea typeface="Calibri" panose="020F0502020204030204" pitchFamily="34" charset="0"/>
              <a:cs typeface="Times New Roman" panose="02020603050405020304" pitchFamily="18" charset="0"/>
            </a:endParaRPr>
          </a:p>
        </p:txBody>
      </p:sp>
      <p:sp>
        <p:nvSpPr>
          <p:cNvPr id="51" name="Oval 50"/>
          <p:cNvSpPr/>
          <p:nvPr/>
        </p:nvSpPr>
        <p:spPr bwMode="auto">
          <a:xfrm>
            <a:off x="3314385" y="6246237"/>
            <a:ext cx="252000" cy="252000"/>
          </a:xfrm>
          <a:prstGeom prst="ellipse">
            <a:avLst/>
          </a:prstGeom>
          <a:solidFill>
            <a:srgbClr val="EB0A8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pt-PT" sz="12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F</a:t>
            </a:r>
            <a:endParaRPr kumimoji="0" lang="en-US" sz="12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10445051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p:cNvGrpSpPr/>
          <p:nvPr/>
        </p:nvGrpSpPr>
        <p:grpSpPr>
          <a:xfrm>
            <a:off x="-11149" y="0"/>
            <a:ext cx="2849058" cy="6858000"/>
            <a:chOff x="2" y="1"/>
            <a:chExt cx="2849058" cy="6858000"/>
          </a:xfrm>
        </p:grpSpPr>
        <p:sp>
          <p:nvSpPr>
            <p:cNvPr id="70" name="Rectangle 69"/>
            <p:cNvSpPr/>
            <p:nvPr/>
          </p:nvSpPr>
          <p:spPr bwMode="auto">
            <a:xfrm>
              <a:off x="2" y="1"/>
              <a:ext cx="2849058"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5" name="Oval 70"/>
            <p:cNvSpPr/>
            <p:nvPr/>
          </p:nvSpPr>
          <p:spPr>
            <a:xfrm>
              <a:off x="1413521" y="4951537"/>
              <a:ext cx="1119626" cy="1119626"/>
            </a:xfrm>
            <a:prstGeom prst="ellipse">
              <a:avLst/>
            </a:prstGeom>
            <a:solidFill>
              <a:srgbClr val="F2C812"/>
            </a:solidFill>
            <a:ln w="3175" cap="flat" cmpd="sng" algn="ctr">
              <a:noFill/>
              <a:prstDash val="solid"/>
            </a:ln>
            <a:effectLst/>
          </p:spPr>
          <p:txBody>
            <a:bodyPr vert="horz" wrap="none" lIns="0" tIns="45720" rIns="0" bIns="0" rtlCol="0" anchor="t"/>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Segoe UI"/>
                  <a:ea typeface="Segoe UI" pitchFamily="34" charset="0"/>
                  <a:cs typeface="Segoe UI" pitchFamily="34" charset="0"/>
                </a:rPr>
                <a:t>Share &amp;</a:t>
              </a:r>
            </a:p>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Segoe UI"/>
                  <a:ea typeface="Segoe UI" pitchFamily="34" charset="0"/>
                  <a:cs typeface="Segoe UI" pitchFamily="34" charset="0"/>
                </a:rPr>
                <a:t>collaborate </a:t>
              </a:r>
            </a:p>
          </p:txBody>
        </p:sp>
        <p:grpSp>
          <p:nvGrpSpPr>
            <p:cNvPr id="66" name="Group 38"/>
            <p:cNvGrpSpPr>
              <a:grpSpLocks noChangeAspect="1"/>
            </p:cNvGrpSpPr>
            <p:nvPr/>
          </p:nvGrpSpPr>
          <p:grpSpPr>
            <a:xfrm>
              <a:off x="676996" y="3930692"/>
              <a:ext cx="383905" cy="351536"/>
              <a:chOff x="4363684" y="5330386"/>
              <a:chExt cx="1409956" cy="1291077"/>
            </a:xfrm>
            <a:solidFill>
              <a:srgbClr val="217346"/>
            </a:solidFill>
          </p:grpSpPr>
          <p:sp>
            <p:nvSpPr>
              <p:cNvPr id="67" name="Donut 3"/>
              <p:cNvSpPr/>
              <p:nvPr/>
            </p:nvSpPr>
            <p:spPr bwMode="auto">
              <a:xfrm>
                <a:off x="4363684" y="5330386"/>
                <a:ext cx="1409956" cy="1291077"/>
              </a:xfrm>
              <a:custGeom>
                <a:avLst/>
                <a:gdLst/>
                <a:ahLst/>
                <a:cxnLst/>
                <a:rect l="l" t="t" r="r" b="b"/>
                <a:pathLst>
                  <a:path w="1409956" h="1291077">
                    <a:moveTo>
                      <a:pt x="956401" y="78410"/>
                    </a:moveTo>
                    <a:cubicBezTo>
                      <a:pt x="747518" y="78410"/>
                      <a:pt x="578184" y="247744"/>
                      <a:pt x="578184" y="456627"/>
                    </a:cubicBezTo>
                    <a:cubicBezTo>
                      <a:pt x="578184" y="665510"/>
                      <a:pt x="747518" y="834844"/>
                      <a:pt x="956401" y="834844"/>
                    </a:cubicBezTo>
                    <a:cubicBezTo>
                      <a:pt x="1165284" y="834844"/>
                      <a:pt x="1334618" y="665510"/>
                      <a:pt x="1334618" y="456627"/>
                    </a:cubicBezTo>
                    <a:cubicBezTo>
                      <a:pt x="1334618" y="247744"/>
                      <a:pt x="1165284" y="78410"/>
                      <a:pt x="956401" y="78410"/>
                    </a:cubicBezTo>
                    <a:close/>
                    <a:moveTo>
                      <a:pt x="952756" y="0"/>
                    </a:moveTo>
                    <a:cubicBezTo>
                      <a:pt x="1205261" y="0"/>
                      <a:pt x="1409956" y="204695"/>
                      <a:pt x="1409956" y="457200"/>
                    </a:cubicBezTo>
                    <a:cubicBezTo>
                      <a:pt x="1409956" y="709705"/>
                      <a:pt x="1205261" y="914400"/>
                      <a:pt x="952756" y="914400"/>
                    </a:cubicBezTo>
                    <a:cubicBezTo>
                      <a:pt x="862133" y="914400"/>
                      <a:pt x="777669" y="888034"/>
                      <a:pt x="707132" y="841746"/>
                    </a:cubicBezTo>
                    <a:lnTo>
                      <a:pt x="136495" y="1280102"/>
                    </a:lnTo>
                    <a:cubicBezTo>
                      <a:pt x="21896" y="1327168"/>
                      <a:pt x="-44029" y="1213730"/>
                      <a:pt x="33797" y="1113182"/>
                    </a:cubicBezTo>
                    <a:lnTo>
                      <a:pt x="568587" y="703518"/>
                    </a:lnTo>
                    <a:cubicBezTo>
                      <a:pt x="522087" y="632814"/>
                      <a:pt x="495556" y="548105"/>
                      <a:pt x="495556" y="457200"/>
                    </a:cubicBezTo>
                    <a:cubicBezTo>
                      <a:pt x="495556" y="204695"/>
                      <a:pt x="700251" y="0"/>
                      <a:pt x="952756" y="0"/>
                    </a:cubicBezTo>
                    <a:close/>
                  </a:path>
                </a:pathLst>
              </a:custGeom>
              <a:grpFill/>
              <a:ln>
                <a:solidFill>
                  <a:srgbClr val="21734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sp>
            <p:nvSpPr>
              <p:cNvPr id="68" name="Rectangle 4"/>
              <p:cNvSpPr/>
              <p:nvPr/>
            </p:nvSpPr>
            <p:spPr>
              <a:xfrm>
                <a:off x="5058389" y="5528247"/>
                <a:ext cx="490885" cy="490020"/>
              </a:xfrm>
              <a:custGeom>
                <a:avLst/>
                <a:gdLst/>
                <a:ahLst/>
                <a:cxnLst/>
                <a:rect l="l" t="t" r="r" b="b"/>
                <a:pathLst>
                  <a:path w="490885" h="490020">
                    <a:moveTo>
                      <a:pt x="240752" y="0"/>
                    </a:moveTo>
                    <a:cubicBezTo>
                      <a:pt x="253961" y="11844"/>
                      <a:pt x="293310" y="49692"/>
                      <a:pt x="337332" y="92439"/>
                    </a:cubicBezTo>
                    <a:lnTo>
                      <a:pt x="328342" y="81259"/>
                    </a:lnTo>
                    <a:cubicBezTo>
                      <a:pt x="356946" y="111282"/>
                      <a:pt x="377251" y="107167"/>
                      <a:pt x="382515" y="87941"/>
                    </a:cubicBezTo>
                    <a:cubicBezTo>
                      <a:pt x="383951" y="76921"/>
                      <a:pt x="384595" y="68732"/>
                      <a:pt x="396997" y="52239"/>
                    </a:cubicBezTo>
                    <a:cubicBezTo>
                      <a:pt x="420362" y="32084"/>
                      <a:pt x="442294" y="41736"/>
                      <a:pt x="454920" y="51330"/>
                    </a:cubicBezTo>
                    <a:cubicBezTo>
                      <a:pt x="467834" y="62761"/>
                      <a:pt x="477920" y="86882"/>
                      <a:pt x="460392" y="109714"/>
                    </a:cubicBezTo>
                    <a:cubicBezTo>
                      <a:pt x="451128" y="121912"/>
                      <a:pt x="437554" y="126838"/>
                      <a:pt x="425922" y="126505"/>
                    </a:cubicBezTo>
                    <a:cubicBezTo>
                      <a:pt x="424301" y="127609"/>
                      <a:pt x="382890" y="134974"/>
                      <a:pt x="427348" y="177672"/>
                    </a:cubicBezTo>
                    <a:lnTo>
                      <a:pt x="416886" y="169735"/>
                    </a:lnTo>
                    <a:cubicBezTo>
                      <a:pt x="450207" y="202177"/>
                      <a:pt x="478424" y="229744"/>
                      <a:pt x="490885" y="241900"/>
                    </a:cubicBezTo>
                    <a:lnTo>
                      <a:pt x="417150" y="317347"/>
                    </a:lnTo>
                    <a:cubicBezTo>
                      <a:pt x="417744" y="316535"/>
                      <a:pt x="418443" y="316123"/>
                      <a:pt x="419047" y="315822"/>
                    </a:cubicBezTo>
                    <a:cubicBezTo>
                      <a:pt x="389023" y="344426"/>
                      <a:pt x="393138" y="364731"/>
                      <a:pt x="412364" y="369995"/>
                    </a:cubicBezTo>
                    <a:cubicBezTo>
                      <a:pt x="423384" y="371431"/>
                      <a:pt x="431574" y="372075"/>
                      <a:pt x="448067" y="384477"/>
                    </a:cubicBezTo>
                    <a:cubicBezTo>
                      <a:pt x="468221" y="407842"/>
                      <a:pt x="458569" y="429774"/>
                      <a:pt x="448975" y="442400"/>
                    </a:cubicBezTo>
                    <a:cubicBezTo>
                      <a:pt x="437545" y="455314"/>
                      <a:pt x="413423" y="465400"/>
                      <a:pt x="390591" y="447872"/>
                    </a:cubicBezTo>
                    <a:cubicBezTo>
                      <a:pt x="378394" y="438608"/>
                      <a:pt x="373468" y="425034"/>
                      <a:pt x="373800" y="413402"/>
                    </a:cubicBezTo>
                    <a:cubicBezTo>
                      <a:pt x="372696" y="411781"/>
                      <a:pt x="365332" y="370370"/>
                      <a:pt x="322634" y="414828"/>
                    </a:cubicBezTo>
                    <a:lnTo>
                      <a:pt x="325243" y="411388"/>
                    </a:lnTo>
                    <a:lnTo>
                      <a:pt x="248395" y="490020"/>
                    </a:lnTo>
                    <a:cubicBezTo>
                      <a:pt x="208939" y="451897"/>
                      <a:pt x="199129" y="442073"/>
                      <a:pt x="174192" y="418236"/>
                    </a:cubicBezTo>
                    <a:cubicBezTo>
                      <a:pt x="145587" y="388212"/>
                      <a:pt x="125282" y="392327"/>
                      <a:pt x="120018" y="411553"/>
                    </a:cubicBezTo>
                    <a:cubicBezTo>
                      <a:pt x="118582" y="422573"/>
                      <a:pt x="117938" y="430763"/>
                      <a:pt x="105536" y="447256"/>
                    </a:cubicBezTo>
                    <a:cubicBezTo>
                      <a:pt x="82171" y="467410"/>
                      <a:pt x="60239" y="457758"/>
                      <a:pt x="47614" y="448164"/>
                    </a:cubicBezTo>
                    <a:cubicBezTo>
                      <a:pt x="34699" y="436734"/>
                      <a:pt x="24614" y="412612"/>
                      <a:pt x="42141" y="389780"/>
                    </a:cubicBezTo>
                    <a:cubicBezTo>
                      <a:pt x="51405" y="377583"/>
                      <a:pt x="64979" y="372657"/>
                      <a:pt x="76612" y="372989"/>
                    </a:cubicBezTo>
                    <a:cubicBezTo>
                      <a:pt x="78232" y="371886"/>
                      <a:pt x="119644" y="364521"/>
                      <a:pt x="75186" y="321823"/>
                    </a:cubicBezTo>
                    <a:cubicBezTo>
                      <a:pt x="58767" y="305402"/>
                      <a:pt x="23648" y="271235"/>
                      <a:pt x="0" y="248738"/>
                    </a:cubicBezTo>
                    <a:lnTo>
                      <a:pt x="77303" y="168146"/>
                    </a:lnTo>
                    <a:cubicBezTo>
                      <a:pt x="104269" y="140313"/>
                      <a:pt x="122130" y="156409"/>
                      <a:pt x="124388" y="175543"/>
                    </a:cubicBezTo>
                    <a:cubicBezTo>
                      <a:pt x="124457" y="182466"/>
                      <a:pt x="127106" y="193106"/>
                      <a:pt x="137575" y="203052"/>
                    </a:cubicBezTo>
                    <a:cubicBezTo>
                      <a:pt x="153931" y="220277"/>
                      <a:pt x="181252" y="217451"/>
                      <a:pt x="196721" y="201951"/>
                    </a:cubicBezTo>
                    <a:cubicBezTo>
                      <a:pt x="211961" y="185740"/>
                      <a:pt x="213057" y="157882"/>
                      <a:pt x="196146" y="142797"/>
                    </a:cubicBezTo>
                    <a:cubicBezTo>
                      <a:pt x="184301" y="132637"/>
                      <a:pt x="177155" y="131453"/>
                      <a:pt x="166513" y="129894"/>
                    </a:cubicBezTo>
                    <a:cubicBezTo>
                      <a:pt x="154522" y="129013"/>
                      <a:pt x="131185" y="112953"/>
                      <a:pt x="157905" y="85228"/>
                    </a:cubicBezTo>
                    <a:close/>
                  </a:path>
                </a:pathLst>
              </a:custGeom>
              <a:grpFill/>
              <a:ln>
                <a:solidFill>
                  <a:srgbClr val="21734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grpSp>
        <p:sp>
          <p:nvSpPr>
            <p:cNvPr id="69" name="Oval 47"/>
            <p:cNvSpPr/>
            <p:nvPr/>
          </p:nvSpPr>
          <p:spPr>
            <a:xfrm>
              <a:off x="388608" y="3710471"/>
              <a:ext cx="1119626" cy="1119626"/>
            </a:xfrm>
            <a:prstGeom prst="ellipse">
              <a:avLst/>
            </a:prstGeom>
            <a:solidFill>
              <a:srgbClr val="F2C812"/>
            </a:solidFill>
            <a:ln w="3175" cap="flat" cmpd="sng" algn="ctr">
              <a:noFill/>
              <a:prstDash val="solid"/>
            </a:ln>
            <a:effectLst/>
          </p:spPr>
          <p:txBody>
            <a:bodyPr vert="horz" wrap="none" lIns="0" tIns="45720" rIns="0" bIns="0" rtlCol="0" anchor="t"/>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Segoe UI"/>
                  <a:ea typeface="Segoe UI" pitchFamily="34" charset="0"/>
                  <a:cs typeface="Segoe UI" pitchFamily="34" charset="0"/>
                </a:rPr>
                <a:t>Report</a:t>
              </a:r>
            </a:p>
          </p:txBody>
        </p:sp>
        <p:sp>
          <p:nvSpPr>
            <p:cNvPr id="85" name="Oval 950"/>
            <p:cNvSpPr/>
            <p:nvPr/>
          </p:nvSpPr>
          <p:spPr>
            <a:xfrm>
              <a:off x="388608" y="1252295"/>
              <a:ext cx="1119626" cy="1119626"/>
            </a:xfrm>
            <a:prstGeom prst="ellipse">
              <a:avLst/>
            </a:prstGeom>
            <a:solidFill>
              <a:srgbClr val="F2C812"/>
            </a:solidFill>
            <a:ln w="3175" cap="flat" cmpd="sng" algn="ctr">
              <a:noFill/>
              <a:prstDash val="solid"/>
            </a:ln>
            <a:effectLst/>
          </p:spPr>
          <p:txBody>
            <a:bodyPr vert="horz" wrap="none" lIns="0" tIns="45720" rIns="0" bIns="0" rtlCol="0" anchor="t"/>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1" i="0" u="none" strike="noStrike" kern="1200" cap="none" spc="0" normalizeH="0" baseline="0" noProof="0">
                <a:ln>
                  <a:noFill/>
                </a:ln>
                <a:solidFill>
                  <a:srgbClr val="217346"/>
                </a:solidFill>
                <a:effectLst/>
                <a:uLnTx/>
                <a:uFillTx/>
                <a:latin typeface="Segoe UI"/>
                <a:ea typeface="Segoe UI" pitchFamily="34" charset="0"/>
                <a:cs typeface="Segoe UI" pitchFamily="34" charset="0"/>
              </a:endParaRPr>
            </a:p>
          </p:txBody>
        </p:sp>
        <p:grpSp>
          <p:nvGrpSpPr>
            <p:cNvPr id="86" name="Group 85"/>
            <p:cNvGrpSpPr/>
            <p:nvPr/>
          </p:nvGrpSpPr>
          <p:grpSpPr>
            <a:xfrm>
              <a:off x="1264851" y="3482890"/>
              <a:ext cx="292254" cy="354906"/>
              <a:chOff x="1296521" y="3253388"/>
              <a:chExt cx="292254" cy="354906"/>
            </a:xfrm>
            <a:solidFill>
              <a:srgbClr val="F2C812"/>
            </a:solidFill>
          </p:grpSpPr>
          <p:sp>
            <p:nvSpPr>
              <p:cNvPr id="87" name="Isosceles Triangle 86"/>
              <p:cNvSpPr/>
              <p:nvPr/>
            </p:nvSpPr>
            <p:spPr bwMode="auto">
              <a:xfrm rot="13636515">
                <a:off x="1461362" y="328936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8" name="Isosceles Triangle 87"/>
              <p:cNvSpPr/>
              <p:nvPr/>
            </p:nvSpPr>
            <p:spPr bwMode="auto">
              <a:xfrm rot="13636515">
                <a:off x="1357669" y="338258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9" name="Isosceles Triangle 88"/>
              <p:cNvSpPr/>
              <p:nvPr/>
            </p:nvSpPr>
            <p:spPr bwMode="auto">
              <a:xfrm rot="13636515">
                <a:off x="1260548" y="3480882"/>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90" name="Group 89"/>
            <p:cNvGrpSpPr/>
            <p:nvPr/>
          </p:nvGrpSpPr>
          <p:grpSpPr>
            <a:xfrm rot="15940603">
              <a:off x="1334576" y="2204404"/>
              <a:ext cx="292254" cy="354906"/>
              <a:chOff x="1296521" y="3253388"/>
              <a:chExt cx="292254" cy="354906"/>
            </a:xfrm>
            <a:solidFill>
              <a:srgbClr val="F2C812"/>
            </a:solidFill>
          </p:grpSpPr>
          <p:sp>
            <p:nvSpPr>
              <p:cNvPr id="91" name="Isosceles Triangle 90"/>
              <p:cNvSpPr/>
              <p:nvPr/>
            </p:nvSpPr>
            <p:spPr bwMode="auto">
              <a:xfrm rot="13636515">
                <a:off x="1461362" y="328936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2" name="Isosceles Triangle 91"/>
              <p:cNvSpPr/>
              <p:nvPr/>
            </p:nvSpPr>
            <p:spPr bwMode="auto">
              <a:xfrm rot="13636515">
                <a:off x="1357669" y="338258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3" name="Isosceles Triangle 92"/>
              <p:cNvSpPr/>
              <p:nvPr/>
            </p:nvSpPr>
            <p:spPr bwMode="auto">
              <a:xfrm rot="13636515">
                <a:off x="1260548" y="3480882"/>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94" name="Group 93"/>
            <p:cNvGrpSpPr/>
            <p:nvPr/>
          </p:nvGrpSpPr>
          <p:grpSpPr>
            <a:xfrm rot="16043978">
              <a:off x="1317220" y="4717577"/>
              <a:ext cx="292254" cy="354906"/>
              <a:chOff x="1296521" y="3253388"/>
              <a:chExt cx="292254" cy="354906"/>
            </a:xfrm>
            <a:solidFill>
              <a:srgbClr val="F2C812"/>
            </a:solidFill>
          </p:grpSpPr>
          <p:sp>
            <p:nvSpPr>
              <p:cNvPr id="95" name="Isosceles Triangle 94"/>
              <p:cNvSpPr/>
              <p:nvPr/>
            </p:nvSpPr>
            <p:spPr bwMode="auto">
              <a:xfrm rot="13636515">
                <a:off x="1461362" y="328936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6" name="Isosceles Triangle 95"/>
              <p:cNvSpPr/>
              <p:nvPr/>
            </p:nvSpPr>
            <p:spPr bwMode="auto">
              <a:xfrm rot="13636515">
                <a:off x="1357669" y="338258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7" name="Isosceles Triangle 96"/>
              <p:cNvSpPr/>
              <p:nvPr/>
            </p:nvSpPr>
            <p:spPr bwMode="auto">
              <a:xfrm rot="13636515">
                <a:off x="1260548" y="3480882"/>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98" name="Oval 36"/>
            <p:cNvSpPr/>
            <p:nvPr/>
          </p:nvSpPr>
          <p:spPr>
            <a:xfrm>
              <a:off x="1413521" y="2481383"/>
              <a:ext cx="1119626" cy="1119626"/>
            </a:xfrm>
            <a:prstGeom prst="ellipse">
              <a:avLst/>
            </a:prstGeom>
            <a:solidFill>
              <a:srgbClr val="F2C812"/>
            </a:solidFill>
            <a:ln w="3175" cap="flat" cmpd="sng" algn="ctr">
              <a:noFill/>
              <a:prstDash val="solid"/>
            </a:ln>
            <a:effectLst/>
          </p:spPr>
          <p:txBody>
            <a:bodyPr vert="horz" wrap="none" lIns="0" tIns="0" rIns="0" bIns="0" rtlCol="0" anchor="t"/>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400" b="1" i="0" u="none" strike="noStrike" kern="1200" cap="none" spc="0" normalizeH="0" baseline="0" noProof="0">
                <a:ln>
                  <a:noFill/>
                </a:ln>
                <a:solidFill>
                  <a:srgbClr val="217346"/>
                </a:solidFill>
                <a:effectLst/>
                <a:uLnTx/>
                <a:uFillTx/>
                <a:latin typeface="Segoe UI"/>
                <a:ea typeface="Segoe UI" pitchFamily="34" charset="0"/>
                <a:cs typeface="Segoe UI" pitchFamily="34" charset="0"/>
              </a:endParaRPr>
            </a:p>
          </p:txBody>
        </p:sp>
        <p:sp>
          <p:nvSpPr>
            <p:cNvPr id="99" name="Donut 3"/>
            <p:cNvSpPr/>
            <p:nvPr/>
          </p:nvSpPr>
          <p:spPr bwMode="auto">
            <a:xfrm>
              <a:off x="1742065" y="3002355"/>
              <a:ext cx="383905" cy="351537"/>
            </a:xfrm>
            <a:custGeom>
              <a:avLst/>
              <a:gdLst/>
              <a:ahLst/>
              <a:cxnLst/>
              <a:rect l="l" t="t" r="r" b="b"/>
              <a:pathLst>
                <a:path w="1409956" h="1291077">
                  <a:moveTo>
                    <a:pt x="956401" y="78410"/>
                  </a:moveTo>
                  <a:cubicBezTo>
                    <a:pt x="747518" y="78410"/>
                    <a:pt x="578184" y="247744"/>
                    <a:pt x="578184" y="456627"/>
                  </a:cubicBezTo>
                  <a:cubicBezTo>
                    <a:pt x="578184" y="665510"/>
                    <a:pt x="747518" y="834844"/>
                    <a:pt x="956401" y="834844"/>
                  </a:cubicBezTo>
                  <a:cubicBezTo>
                    <a:pt x="1165284" y="834844"/>
                    <a:pt x="1334618" y="665510"/>
                    <a:pt x="1334618" y="456627"/>
                  </a:cubicBezTo>
                  <a:cubicBezTo>
                    <a:pt x="1334618" y="247744"/>
                    <a:pt x="1165284" y="78410"/>
                    <a:pt x="956401" y="78410"/>
                  </a:cubicBezTo>
                  <a:close/>
                  <a:moveTo>
                    <a:pt x="952756" y="0"/>
                  </a:moveTo>
                  <a:cubicBezTo>
                    <a:pt x="1205261" y="0"/>
                    <a:pt x="1409956" y="204695"/>
                    <a:pt x="1409956" y="457200"/>
                  </a:cubicBezTo>
                  <a:cubicBezTo>
                    <a:pt x="1409956" y="709705"/>
                    <a:pt x="1205261" y="914400"/>
                    <a:pt x="952756" y="914400"/>
                  </a:cubicBezTo>
                  <a:cubicBezTo>
                    <a:pt x="862133" y="914400"/>
                    <a:pt x="777669" y="888034"/>
                    <a:pt x="707132" y="841746"/>
                  </a:cubicBezTo>
                  <a:lnTo>
                    <a:pt x="136495" y="1280102"/>
                  </a:lnTo>
                  <a:cubicBezTo>
                    <a:pt x="21896" y="1327168"/>
                    <a:pt x="-44029" y="1213730"/>
                    <a:pt x="33797" y="1113182"/>
                  </a:cubicBezTo>
                  <a:lnTo>
                    <a:pt x="568587" y="703518"/>
                  </a:lnTo>
                  <a:cubicBezTo>
                    <a:pt x="522087" y="632814"/>
                    <a:pt x="495556" y="548105"/>
                    <a:pt x="495556" y="457200"/>
                  </a:cubicBezTo>
                  <a:cubicBezTo>
                    <a:pt x="495556" y="204695"/>
                    <a:pt x="700251" y="0"/>
                    <a:pt x="952756" y="0"/>
                  </a:cubicBezTo>
                  <a:close/>
                </a:path>
              </a:pathLst>
            </a:cu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ysClr val="windowText" lastClr="000000"/>
                </a:solidFill>
                <a:effectLst/>
                <a:uLnTx/>
                <a:uFillTx/>
                <a:latin typeface="Segoe UI"/>
                <a:ea typeface="+mn-ea"/>
                <a:cs typeface="+mn-cs"/>
              </a:endParaRPr>
            </a:p>
          </p:txBody>
        </p:sp>
        <p:sp>
          <p:nvSpPr>
            <p:cNvPr id="100" name="Rectangle 99"/>
            <p:cNvSpPr/>
            <p:nvPr/>
          </p:nvSpPr>
          <p:spPr>
            <a:xfrm>
              <a:off x="1600398" y="2677430"/>
              <a:ext cx="820353" cy="307777"/>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Segoe UI"/>
                  <a:ea typeface="Segoe UI" pitchFamily="34" charset="0"/>
                  <a:cs typeface="Segoe UI" pitchFamily="34" charset="0"/>
                </a:rPr>
                <a:t>Explore</a:t>
              </a:r>
              <a:endParaRPr kumimoji="0" lang="en-US" sz="1600" b="0" i="0" u="none" strike="noStrike" kern="1200" cap="none" spc="0" normalizeH="0" baseline="0" noProof="0">
                <a:ln>
                  <a:noFill/>
                </a:ln>
                <a:solidFill>
                  <a:prstClr val="black"/>
                </a:solidFill>
                <a:effectLst/>
                <a:uLnTx/>
                <a:uFillTx/>
                <a:latin typeface="Segoe UI"/>
                <a:ea typeface="+mn-ea"/>
                <a:cs typeface="+mn-cs"/>
              </a:endParaRPr>
            </a:p>
          </p:txBody>
        </p:sp>
        <p:sp>
          <p:nvSpPr>
            <p:cNvPr id="101" name="Rectangle 100"/>
            <p:cNvSpPr/>
            <p:nvPr/>
          </p:nvSpPr>
          <p:spPr>
            <a:xfrm>
              <a:off x="509174" y="1475232"/>
              <a:ext cx="838756" cy="307777"/>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Segoe UI"/>
                  <a:ea typeface="Segoe UI" pitchFamily="34" charset="0"/>
                  <a:cs typeface="Segoe UI" pitchFamily="34" charset="0"/>
                </a:rPr>
                <a:t>Prepare</a:t>
              </a:r>
              <a:endParaRPr kumimoji="0" lang="en-US" sz="1400" b="0" i="0" u="none" strike="noStrike" kern="1200" cap="none" spc="0" normalizeH="0" baseline="0" noProof="0">
                <a:ln>
                  <a:noFill/>
                </a:ln>
                <a:solidFill>
                  <a:prstClr val="black"/>
                </a:solidFill>
                <a:effectLst/>
                <a:uLnTx/>
                <a:uFillTx/>
                <a:latin typeface="Segoe UI"/>
                <a:ea typeface="+mn-ea"/>
                <a:cs typeface="+mn-cs"/>
              </a:endParaRPr>
            </a:p>
          </p:txBody>
        </p:sp>
        <p:sp>
          <p:nvSpPr>
            <p:cNvPr id="102" name="Freeform 101"/>
            <p:cNvSpPr>
              <a:spLocks noChangeAspect="1"/>
            </p:cNvSpPr>
            <p:nvPr/>
          </p:nvSpPr>
          <p:spPr bwMode="black">
            <a:xfrm>
              <a:off x="1836174" y="5643069"/>
              <a:ext cx="274320" cy="284173"/>
            </a:xfrm>
            <a:custGeom>
              <a:avLst/>
              <a:gdLst>
                <a:gd name="T0" fmla="*/ 539 w 669"/>
                <a:gd name="T1" fmla="*/ 5 h 693"/>
                <a:gd name="T2" fmla="*/ 640 w 669"/>
                <a:gd name="T3" fmla="*/ 55 h 693"/>
                <a:gd name="T4" fmla="*/ 603 w 669"/>
                <a:gd name="T5" fmla="*/ 195 h 693"/>
                <a:gd name="T6" fmla="*/ 490 w 669"/>
                <a:gd name="T7" fmla="*/ 188 h 693"/>
                <a:gd name="T8" fmla="*/ 479 w 669"/>
                <a:gd name="T9" fmla="*/ 176 h 693"/>
                <a:gd name="T10" fmla="*/ 213 w 669"/>
                <a:gd name="T11" fmla="*/ 330 h 693"/>
                <a:gd name="T12" fmla="*/ 218 w 669"/>
                <a:gd name="T13" fmla="*/ 345 h 693"/>
                <a:gd name="T14" fmla="*/ 218 w 669"/>
                <a:gd name="T15" fmla="*/ 375 h 693"/>
                <a:gd name="T16" fmla="*/ 209 w 669"/>
                <a:gd name="T17" fmla="*/ 402 h 693"/>
                <a:gd name="T18" fmla="*/ 369 w 669"/>
                <a:gd name="T19" fmla="*/ 503 h 693"/>
                <a:gd name="T20" fmla="*/ 373 w 669"/>
                <a:gd name="T21" fmla="*/ 498 h 693"/>
                <a:gd name="T22" fmla="*/ 456 w 669"/>
                <a:gd name="T23" fmla="*/ 475 h 693"/>
                <a:gd name="T24" fmla="*/ 494 w 669"/>
                <a:gd name="T25" fmla="*/ 489 h 693"/>
                <a:gd name="T26" fmla="*/ 527 w 669"/>
                <a:gd name="T27" fmla="*/ 630 h 693"/>
                <a:gd name="T28" fmla="*/ 386 w 669"/>
                <a:gd name="T29" fmla="*/ 663 h 693"/>
                <a:gd name="T30" fmla="*/ 339 w 669"/>
                <a:gd name="T31" fmla="*/ 560 h 693"/>
                <a:gd name="T32" fmla="*/ 345 w 669"/>
                <a:gd name="T33" fmla="*/ 544 h 693"/>
                <a:gd name="T34" fmla="*/ 177 w 669"/>
                <a:gd name="T35" fmla="*/ 439 h 693"/>
                <a:gd name="T36" fmla="*/ 168 w 669"/>
                <a:gd name="T37" fmla="*/ 446 h 693"/>
                <a:gd name="T38" fmla="*/ 28 w 669"/>
                <a:gd name="T39" fmla="*/ 409 h 693"/>
                <a:gd name="T40" fmla="*/ 65 w 669"/>
                <a:gd name="T41" fmla="*/ 269 h 693"/>
                <a:gd name="T42" fmla="*/ 178 w 669"/>
                <a:gd name="T43" fmla="*/ 276 h 693"/>
                <a:gd name="T44" fmla="*/ 189 w 669"/>
                <a:gd name="T45" fmla="*/ 288 h 693"/>
                <a:gd name="T46" fmla="*/ 455 w 669"/>
                <a:gd name="T47" fmla="*/ 134 h 693"/>
                <a:gd name="T48" fmla="*/ 450 w 669"/>
                <a:gd name="T49" fmla="*/ 119 h 693"/>
                <a:gd name="T50" fmla="*/ 501 w 669"/>
                <a:gd name="T51" fmla="*/ 18 h 693"/>
                <a:gd name="T52" fmla="*/ 539 w 669"/>
                <a:gd name="T53" fmla="*/ 5 h 6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69" h="693">
                  <a:moveTo>
                    <a:pt x="539" y="5"/>
                  </a:moveTo>
                  <a:cubicBezTo>
                    <a:pt x="579" y="0"/>
                    <a:pt x="619" y="19"/>
                    <a:pt x="640" y="55"/>
                  </a:cubicBezTo>
                  <a:cubicBezTo>
                    <a:pt x="669" y="104"/>
                    <a:pt x="652" y="167"/>
                    <a:pt x="603" y="195"/>
                  </a:cubicBezTo>
                  <a:cubicBezTo>
                    <a:pt x="566" y="216"/>
                    <a:pt x="522" y="212"/>
                    <a:pt x="490" y="188"/>
                  </a:cubicBezTo>
                  <a:cubicBezTo>
                    <a:pt x="479" y="176"/>
                    <a:pt x="479" y="176"/>
                    <a:pt x="479" y="176"/>
                  </a:cubicBezTo>
                  <a:cubicBezTo>
                    <a:pt x="213" y="330"/>
                    <a:pt x="213" y="330"/>
                    <a:pt x="213" y="330"/>
                  </a:cubicBezTo>
                  <a:cubicBezTo>
                    <a:pt x="218" y="345"/>
                    <a:pt x="218" y="345"/>
                    <a:pt x="218" y="345"/>
                  </a:cubicBezTo>
                  <a:cubicBezTo>
                    <a:pt x="219" y="355"/>
                    <a:pt x="219" y="365"/>
                    <a:pt x="218" y="375"/>
                  </a:cubicBezTo>
                  <a:cubicBezTo>
                    <a:pt x="209" y="402"/>
                    <a:pt x="209" y="402"/>
                    <a:pt x="209" y="402"/>
                  </a:cubicBezTo>
                  <a:cubicBezTo>
                    <a:pt x="369" y="503"/>
                    <a:pt x="369" y="503"/>
                    <a:pt x="369" y="503"/>
                  </a:cubicBezTo>
                  <a:cubicBezTo>
                    <a:pt x="373" y="498"/>
                    <a:pt x="373" y="498"/>
                    <a:pt x="373" y="498"/>
                  </a:cubicBezTo>
                  <a:cubicBezTo>
                    <a:pt x="396" y="479"/>
                    <a:pt x="427" y="470"/>
                    <a:pt x="456" y="475"/>
                  </a:cubicBezTo>
                  <a:cubicBezTo>
                    <a:pt x="470" y="477"/>
                    <a:pt x="482" y="482"/>
                    <a:pt x="494" y="489"/>
                  </a:cubicBezTo>
                  <a:cubicBezTo>
                    <a:pt x="542" y="519"/>
                    <a:pt x="557" y="583"/>
                    <a:pt x="527" y="630"/>
                  </a:cubicBezTo>
                  <a:cubicBezTo>
                    <a:pt x="497" y="678"/>
                    <a:pt x="433" y="693"/>
                    <a:pt x="386" y="663"/>
                  </a:cubicBezTo>
                  <a:cubicBezTo>
                    <a:pt x="350" y="640"/>
                    <a:pt x="333" y="599"/>
                    <a:pt x="339" y="560"/>
                  </a:cubicBezTo>
                  <a:cubicBezTo>
                    <a:pt x="345" y="544"/>
                    <a:pt x="345" y="544"/>
                    <a:pt x="345" y="544"/>
                  </a:cubicBezTo>
                  <a:cubicBezTo>
                    <a:pt x="177" y="439"/>
                    <a:pt x="177" y="439"/>
                    <a:pt x="177" y="439"/>
                  </a:cubicBezTo>
                  <a:cubicBezTo>
                    <a:pt x="168" y="446"/>
                    <a:pt x="168" y="446"/>
                    <a:pt x="168" y="446"/>
                  </a:cubicBezTo>
                  <a:cubicBezTo>
                    <a:pt x="119" y="475"/>
                    <a:pt x="56" y="458"/>
                    <a:pt x="28" y="409"/>
                  </a:cubicBezTo>
                  <a:cubicBezTo>
                    <a:pt x="0" y="360"/>
                    <a:pt x="16" y="297"/>
                    <a:pt x="65" y="269"/>
                  </a:cubicBezTo>
                  <a:cubicBezTo>
                    <a:pt x="102" y="248"/>
                    <a:pt x="147" y="252"/>
                    <a:pt x="178" y="276"/>
                  </a:cubicBezTo>
                  <a:cubicBezTo>
                    <a:pt x="189" y="288"/>
                    <a:pt x="189" y="288"/>
                    <a:pt x="189" y="288"/>
                  </a:cubicBezTo>
                  <a:cubicBezTo>
                    <a:pt x="455" y="134"/>
                    <a:pt x="455" y="134"/>
                    <a:pt x="455" y="134"/>
                  </a:cubicBezTo>
                  <a:cubicBezTo>
                    <a:pt x="450" y="119"/>
                    <a:pt x="450" y="119"/>
                    <a:pt x="450" y="119"/>
                  </a:cubicBezTo>
                  <a:cubicBezTo>
                    <a:pt x="445" y="80"/>
                    <a:pt x="464" y="39"/>
                    <a:pt x="501" y="18"/>
                  </a:cubicBezTo>
                  <a:cubicBezTo>
                    <a:pt x="513" y="11"/>
                    <a:pt x="526" y="6"/>
                    <a:pt x="539" y="5"/>
                  </a:cubicBezTo>
                  <a:close/>
                </a:path>
              </a:pathLst>
            </a:custGeom>
            <a:solidFill>
              <a:schemeClr val="tx1"/>
            </a:solidFill>
            <a:ln>
              <a:noFill/>
            </a:ln>
          </p:spPr>
          <p:txBody>
            <a:bodyPr vert="horz" wrap="square" lIns="68574" tIns="34287" rIns="68574" bIns="34287"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Segoe UI"/>
                <a:ea typeface="+mn-ea"/>
                <a:cs typeface="+mn-cs"/>
              </a:endParaRPr>
            </a:p>
          </p:txBody>
        </p:sp>
        <p:sp>
          <p:nvSpPr>
            <p:cNvPr id="103" name="Freeform 102"/>
            <p:cNvSpPr>
              <a:spLocks noChangeAspect="1" noEditPoints="1"/>
            </p:cNvSpPr>
            <p:nvPr/>
          </p:nvSpPr>
          <p:spPr bwMode="black">
            <a:xfrm>
              <a:off x="722320" y="1783009"/>
              <a:ext cx="452202" cy="366660"/>
            </a:xfrm>
            <a:custGeom>
              <a:avLst/>
              <a:gdLst>
                <a:gd name="T0" fmla="*/ 600 w 1107"/>
                <a:gd name="T1" fmla="*/ 625 h 897"/>
                <a:gd name="T2" fmla="*/ 649 w 1107"/>
                <a:gd name="T3" fmla="*/ 567 h 897"/>
                <a:gd name="T4" fmla="*/ 727 w 1107"/>
                <a:gd name="T5" fmla="*/ 482 h 897"/>
                <a:gd name="T6" fmla="*/ 601 w 1107"/>
                <a:gd name="T7" fmla="*/ 434 h 897"/>
                <a:gd name="T8" fmla="*/ 628 w 1107"/>
                <a:gd name="T9" fmla="*/ 305 h 897"/>
                <a:gd name="T10" fmla="*/ 547 w 1107"/>
                <a:gd name="T11" fmla="*/ 240 h 897"/>
                <a:gd name="T12" fmla="*/ 427 w 1107"/>
                <a:gd name="T13" fmla="*/ 287 h 897"/>
                <a:gd name="T14" fmla="*/ 368 w 1107"/>
                <a:gd name="T15" fmla="*/ 170 h 897"/>
                <a:gd name="T16" fmla="*/ 285 w 1107"/>
                <a:gd name="T17" fmla="*/ 263 h 897"/>
                <a:gd name="T18" fmla="*/ 241 w 1107"/>
                <a:gd name="T19" fmla="*/ 313 h 897"/>
                <a:gd name="T20" fmla="*/ 139 w 1107"/>
                <a:gd name="T21" fmla="*/ 281 h 897"/>
                <a:gd name="T22" fmla="*/ 79 w 1107"/>
                <a:gd name="T23" fmla="*/ 355 h 897"/>
                <a:gd name="T24" fmla="*/ 132 w 1107"/>
                <a:gd name="T25" fmla="*/ 446 h 897"/>
                <a:gd name="T26" fmla="*/ 83 w 1107"/>
                <a:gd name="T27" fmla="*/ 505 h 897"/>
                <a:gd name="T28" fmla="*/ 5 w 1107"/>
                <a:gd name="T29" fmla="*/ 590 h 897"/>
                <a:gd name="T30" fmla="*/ 132 w 1107"/>
                <a:gd name="T31" fmla="*/ 638 h 897"/>
                <a:gd name="T32" fmla="*/ 145 w 1107"/>
                <a:gd name="T33" fmla="*/ 669 h 897"/>
                <a:gd name="T34" fmla="*/ 110 w 1107"/>
                <a:gd name="T35" fmla="*/ 793 h 897"/>
                <a:gd name="T36" fmla="*/ 230 w 1107"/>
                <a:gd name="T37" fmla="*/ 781 h 897"/>
                <a:gd name="T38" fmla="*/ 306 w 1107"/>
                <a:gd name="T39" fmla="*/ 785 h 897"/>
                <a:gd name="T40" fmla="*/ 346 w 1107"/>
                <a:gd name="T41" fmla="*/ 878 h 897"/>
                <a:gd name="T42" fmla="*/ 440 w 1107"/>
                <a:gd name="T43" fmla="*/ 872 h 897"/>
                <a:gd name="T44" fmla="*/ 466 w 1107"/>
                <a:gd name="T45" fmla="*/ 764 h 897"/>
                <a:gd name="T46" fmla="*/ 539 w 1107"/>
                <a:gd name="T47" fmla="*/ 755 h 897"/>
                <a:gd name="T48" fmla="*/ 659 w 1107"/>
                <a:gd name="T49" fmla="*/ 743 h 897"/>
                <a:gd name="T50" fmla="*/ 263 w 1107"/>
                <a:gd name="T51" fmla="*/ 452 h 897"/>
                <a:gd name="T52" fmla="*/ 281 w 1107"/>
                <a:gd name="T53" fmla="*/ 633 h 897"/>
                <a:gd name="T54" fmla="*/ 1002 w 1107"/>
                <a:gd name="T55" fmla="*/ 332 h 897"/>
                <a:gd name="T56" fmla="*/ 1043 w 1107"/>
                <a:gd name="T57" fmla="*/ 304 h 897"/>
                <a:gd name="T58" fmla="*/ 1107 w 1107"/>
                <a:gd name="T59" fmla="*/ 266 h 897"/>
                <a:gd name="T60" fmla="*/ 1037 w 1107"/>
                <a:gd name="T61" fmla="*/ 213 h 897"/>
                <a:gd name="T62" fmla="*/ 1077 w 1107"/>
                <a:gd name="T63" fmla="*/ 138 h 897"/>
                <a:gd name="T64" fmla="*/ 1038 w 1107"/>
                <a:gd name="T65" fmla="*/ 83 h 897"/>
                <a:gd name="T66" fmla="*/ 956 w 1107"/>
                <a:gd name="T67" fmla="*/ 91 h 897"/>
                <a:gd name="T68" fmla="*/ 940 w 1107"/>
                <a:gd name="T69" fmla="*/ 7 h 897"/>
                <a:gd name="T70" fmla="*/ 872 w 1107"/>
                <a:gd name="T71" fmla="*/ 50 h 897"/>
                <a:gd name="T72" fmla="*/ 836 w 1107"/>
                <a:gd name="T73" fmla="*/ 74 h 897"/>
                <a:gd name="T74" fmla="*/ 778 w 1107"/>
                <a:gd name="T75" fmla="*/ 35 h 897"/>
                <a:gd name="T76" fmla="*/ 728 w 1107"/>
                <a:gd name="T77" fmla="*/ 70 h 897"/>
                <a:gd name="T78" fmla="*/ 744 w 1107"/>
                <a:gd name="T79" fmla="*/ 136 h 897"/>
                <a:gd name="T80" fmla="*/ 703 w 1107"/>
                <a:gd name="T81" fmla="*/ 164 h 897"/>
                <a:gd name="T82" fmla="*/ 640 w 1107"/>
                <a:gd name="T83" fmla="*/ 203 h 897"/>
                <a:gd name="T84" fmla="*/ 710 w 1107"/>
                <a:gd name="T85" fmla="*/ 255 h 897"/>
                <a:gd name="T86" fmla="*/ 712 w 1107"/>
                <a:gd name="T87" fmla="*/ 277 h 897"/>
                <a:gd name="T88" fmla="*/ 668 w 1107"/>
                <a:gd name="T89" fmla="*/ 347 h 897"/>
                <a:gd name="T90" fmla="*/ 745 w 1107"/>
                <a:gd name="T91" fmla="*/ 361 h 897"/>
                <a:gd name="T92" fmla="*/ 791 w 1107"/>
                <a:gd name="T93" fmla="*/ 377 h 897"/>
                <a:gd name="T94" fmla="*/ 799 w 1107"/>
                <a:gd name="T95" fmla="*/ 443 h 897"/>
                <a:gd name="T96" fmla="*/ 859 w 1107"/>
                <a:gd name="T97" fmla="*/ 456 h 897"/>
                <a:gd name="T98" fmla="*/ 894 w 1107"/>
                <a:gd name="T99" fmla="*/ 393 h 897"/>
                <a:gd name="T100" fmla="*/ 941 w 1107"/>
                <a:gd name="T101" fmla="*/ 401 h 897"/>
                <a:gd name="T102" fmla="*/ 1018 w 1107"/>
                <a:gd name="T103" fmla="*/ 415 h 897"/>
                <a:gd name="T104" fmla="*/ 825 w 1107"/>
                <a:gd name="T105" fmla="*/ 164 h 897"/>
                <a:gd name="T106" fmla="*/ 803 w 1107"/>
                <a:gd name="T107" fmla="*/ 279 h 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107" h="897">
                  <a:moveTo>
                    <a:pt x="654" y="716"/>
                  </a:moveTo>
                  <a:cubicBezTo>
                    <a:pt x="616" y="670"/>
                    <a:pt x="616" y="670"/>
                    <a:pt x="616" y="670"/>
                  </a:cubicBezTo>
                  <a:cubicBezTo>
                    <a:pt x="593" y="654"/>
                    <a:pt x="603" y="638"/>
                    <a:pt x="600" y="625"/>
                  </a:cubicBezTo>
                  <a:cubicBezTo>
                    <a:pt x="600" y="625"/>
                    <a:pt x="600" y="625"/>
                    <a:pt x="600" y="625"/>
                  </a:cubicBezTo>
                  <a:cubicBezTo>
                    <a:pt x="605" y="617"/>
                    <a:pt x="611" y="609"/>
                    <a:pt x="608" y="596"/>
                  </a:cubicBezTo>
                  <a:cubicBezTo>
                    <a:pt x="618" y="580"/>
                    <a:pt x="623" y="572"/>
                    <a:pt x="649" y="567"/>
                  </a:cubicBezTo>
                  <a:cubicBezTo>
                    <a:pt x="715" y="553"/>
                    <a:pt x="715" y="553"/>
                    <a:pt x="715" y="553"/>
                  </a:cubicBezTo>
                  <a:cubicBezTo>
                    <a:pt x="728" y="550"/>
                    <a:pt x="733" y="542"/>
                    <a:pt x="730" y="529"/>
                  </a:cubicBezTo>
                  <a:cubicBezTo>
                    <a:pt x="727" y="482"/>
                    <a:pt x="727" y="482"/>
                    <a:pt x="727" y="482"/>
                  </a:cubicBezTo>
                  <a:cubicBezTo>
                    <a:pt x="724" y="469"/>
                    <a:pt x="717" y="463"/>
                    <a:pt x="701" y="453"/>
                  </a:cubicBezTo>
                  <a:cubicBezTo>
                    <a:pt x="641" y="459"/>
                    <a:pt x="641" y="459"/>
                    <a:pt x="641" y="459"/>
                  </a:cubicBezTo>
                  <a:cubicBezTo>
                    <a:pt x="620" y="457"/>
                    <a:pt x="604" y="447"/>
                    <a:pt x="601" y="434"/>
                  </a:cubicBezTo>
                  <a:cubicBezTo>
                    <a:pt x="598" y="421"/>
                    <a:pt x="590" y="416"/>
                    <a:pt x="580" y="397"/>
                  </a:cubicBezTo>
                  <a:cubicBezTo>
                    <a:pt x="577" y="384"/>
                    <a:pt x="574" y="371"/>
                    <a:pt x="584" y="355"/>
                  </a:cubicBezTo>
                  <a:cubicBezTo>
                    <a:pt x="628" y="305"/>
                    <a:pt x="628" y="305"/>
                    <a:pt x="628" y="305"/>
                  </a:cubicBezTo>
                  <a:cubicBezTo>
                    <a:pt x="634" y="297"/>
                    <a:pt x="631" y="284"/>
                    <a:pt x="623" y="279"/>
                  </a:cubicBezTo>
                  <a:cubicBezTo>
                    <a:pt x="581" y="240"/>
                    <a:pt x="581" y="240"/>
                    <a:pt x="581" y="240"/>
                  </a:cubicBezTo>
                  <a:cubicBezTo>
                    <a:pt x="573" y="235"/>
                    <a:pt x="560" y="238"/>
                    <a:pt x="547" y="240"/>
                  </a:cubicBezTo>
                  <a:cubicBezTo>
                    <a:pt x="503" y="291"/>
                    <a:pt x="503" y="291"/>
                    <a:pt x="503" y="291"/>
                  </a:cubicBezTo>
                  <a:cubicBezTo>
                    <a:pt x="484" y="302"/>
                    <a:pt x="471" y="304"/>
                    <a:pt x="463" y="299"/>
                  </a:cubicBezTo>
                  <a:cubicBezTo>
                    <a:pt x="456" y="294"/>
                    <a:pt x="435" y="292"/>
                    <a:pt x="427" y="287"/>
                  </a:cubicBezTo>
                  <a:cubicBezTo>
                    <a:pt x="419" y="282"/>
                    <a:pt x="403" y="271"/>
                    <a:pt x="400" y="258"/>
                  </a:cubicBezTo>
                  <a:cubicBezTo>
                    <a:pt x="386" y="193"/>
                    <a:pt x="386" y="193"/>
                    <a:pt x="386" y="193"/>
                  </a:cubicBezTo>
                  <a:cubicBezTo>
                    <a:pt x="384" y="180"/>
                    <a:pt x="368" y="170"/>
                    <a:pt x="368" y="170"/>
                  </a:cubicBezTo>
                  <a:cubicBezTo>
                    <a:pt x="308" y="176"/>
                    <a:pt x="308" y="176"/>
                    <a:pt x="308" y="176"/>
                  </a:cubicBezTo>
                  <a:cubicBezTo>
                    <a:pt x="308" y="176"/>
                    <a:pt x="289" y="187"/>
                    <a:pt x="292" y="200"/>
                  </a:cubicBezTo>
                  <a:cubicBezTo>
                    <a:pt x="285" y="263"/>
                    <a:pt x="285" y="263"/>
                    <a:pt x="285" y="263"/>
                  </a:cubicBezTo>
                  <a:cubicBezTo>
                    <a:pt x="291" y="289"/>
                    <a:pt x="277" y="292"/>
                    <a:pt x="272" y="300"/>
                  </a:cubicBezTo>
                  <a:cubicBezTo>
                    <a:pt x="272" y="300"/>
                    <a:pt x="272" y="300"/>
                    <a:pt x="267" y="308"/>
                  </a:cubicBezTo>
                  <a:cubicBezTo>
                    <a:pt x="259" y="302"/>
                    <a:pt x="246" y="305"/>
                    <a:pt x="241" y="313"/>
                  </a:cubicBezTo>
                  <a:cubicBezTo>
                    <a:pt x="236" y="321"/>
                    <a:pt x="236" y="321"/>
                    <a:pt x="236" y="321"/>
                  </a:cubicBezTo>
                  <a:cubicBezTo>
                    <a:pt x="223" y="324"/>
                    <a:pt x="210" y="327"/>
                    <a:pt x="194" y="317"/>
                  </a:cubicBezTo>
                  <a:cubicBezTo>
                    <a:pt x="139" y="281"/>
                    <a:pt x="139" y="281"/>
                    <a:pt x="139" y="281"/>
                  </a:cubicBezTo>
                  <a:cubicBezTo>
                    <a:pt x="131" y="276"/>
                    <a:pt x="110" y="273"/>
                    <a:pt x="104" y="281"/>
                  </a:cubicBezTo>
                  <a:cubicBezTo>
                    <a:pt x="79" y="321"/>
                    <a:pt x="79" y="321"/>
                    <a:pt x="79" y="321"/>
                  </a:cubicBezTo>
                  <a:cubicBezTo>
                    <a:pt x="66" y="324"/>
                    <a:pt x="68" y="337"/>
                    <a:pt x="79" y="355"/>
                  </a:cubicBezTo>
                  <a:cubicBezTo>
                    <a:pt x="121" y="394"/>
                    <a:pt x="121" y="394"/>
                    <a:pt x="121" y="394"/>
                  </a:cubicBezTo>
                  <a:cubicBezTo>
                    <a:pt x="140" y="417"/>
                    <a:pt x="135" y="425"/>
                    <a:pt x="132" y="446"/>
                  </a:cubicBezTo>
                  <a:cubicBezTo>
                    <a:pt x="132" y="446"/>
                    <a:pt x="132" y="446"/>
                    <a:pt x="132" y="446"/>
                  </a:cubicBezTo>
                  <a:cubicBezTo>
                    <a:pt x="127" y="454"/>
                    <a:pt x="122" y="462"/>
                    <a:pt x="117" y="470"/>
                  </a:cubicBezTo>
                  <a:cubicBezTo>
                    <a:pt x="117" y="470"/>
                    <a:pt x="117" y="470"/>
                    <a:pt x="117" y="470"/>
                  </a:cubicBezTo>
                  <a:cubicBezTo>
                    <a:pt x="120" y="483"/>
                    <a:pt x="109" y="499"/>
                    <a:pt x="83" y="505"/>
                  </a:cubicBezTo>
                  <a:cubicBezTo>
                    <a:pt x="23" y="511"/>
                    <a:pt x="23" y="511"/>
                    <a:pt x="23" y="511"/>
                  </a:cubicBezTo>
                  <a:cubicBezTo>
                    <a:pt x="10" y="514"/>
                    <a:pt x="0" y="529"/>
                    <a:pt x="2" y="543"/>
                  </a:cubicBezTo>
                  <a:cubicBezTo>
                    <a:pt x="5" y="590"/>
                    <a:pt x="5" y="590"/>
                    <a:pt x="5" y="590"/>
                  </a:cubicBezTo>
                  <a:cubicBezTo>
                    <a:pt x="8" y="603"/>
                    <a:pt x="16" y="608"/>
                    <a:pt x="37" y="610"/>
                  </a:cubicBezTo>
                  <a:cubicBezTo>
                    <a:pt x="92" y="612"/>
                    <a:pt x="92" y="612"/>
                    <a:pt x="92" y="612"/>
                  </a:cubicBezTo>
                  <a:cubicBezTo>
                    <a:pt x="113" y="614"/>
                    <a:pt x="129" y="625"/>
                    <a:pt x="132" y="638"/>
                  </a:cubicBezTo>
                  <a:cubicBezTo>
                    <a:pt x="132" y="638"/>
                    <a:pt x="132" y="638"/>
                    <a:pt x="132" y="638"/>
                  </a:cubicBezTo>
                  <a:cubicBezTo>
                    <a:pt x="140" y="643"/>
                    <a:pt x="142" y="656"/>
                    <a:pt x="150" y="661"/>
                  </a:cubicBezTo>
                  <a:cubicBezTo>
                    <a:pt x="145" y="669"/>
                    <a:pt x="145" y="669"/>
                    <a:pt x="145" y="669"/>
                  </a:cubicBezTo>
                  <a:cubicBezTo>
                    <a:pt x="153" y="674"/>
                    <a:pt x="156" y="687"/>
                    <a:pt x="140" y="711"/>
                  </a:cubicBezTo>
                  <a:cubicBezTo>
                    <a:pt x="109" y="759"/>
                    <a:pt x="109" y="759"/>
                    <a:pt x="109" y="759"/>
                  </a:cubicBezTo>
                  <a:cubicBezTo>
                    <a:pt x="99" y="775"/>
                    <a:pt x="102" y="788"/>
                    <a:pt x="110" y="793"/>
                  </a:cubicBezTo>
                  <a:cubicBezTo>
                    <a:pt x="152" y="832"/>
                    <a:pt x="152" y="832"/>
                    <a:pt x="152" y="832"/>
                  </a:cubicBezTo>
                  <a:cubicBezTo>
                    <a:pt x="160" y="837"/>
                    <a:pt x="173" y="834"/>
                    <a:pt x="178" y="826"/>
                  </a:cubicBezTo>
                  <a:cubicBezTo>
                    <a:pt x="230" y="781"/>
                    <a:pt x="230" y="781"/>
                    <a:pt x="230" y="781"/>
                  </a:cubicBezTo>
                  <a:cubicBezTo>
                    <a:pt x="248" y="770"/>
                    <a:pt x="261" y="767"/>
                    <a:pt x="269" y="772"/>
                  </a:cubicBezTo>
                  <a:cubicBezTo>
                    <a:pt x="269" y="772"/>
                    <a:pt x="269" y="772"/>
                    <a:pt x="269" y="772"/>
                  </a:cubicBezTo>
                  <a:cubicBezTo>
                    <a:pt x="282" y="769"/>
                    <a:pt x="298" y="779"/>
                    <a:pt x="306" y="785"/>
                  </a:cubicBezTo>
                  <a:cubicBezTo>
                    <a:pt x="306" y="785"/>
                    <a:pt x="306" y="785"/>
                    <a:pt x="306" y="785"/>
                  </a:cubicBezTo>
                  <a:cubicBezTo>
                    <a:pt x="319" y="782"/>
                    <a:pt x="327" y="787"/>
                    <a:pt x="332" y="813"/>
                  </a:cubicBezTo>
                  <a:cubicBezTo>
                    <a:pt x="346" y="878"/>
                    <a:pt x="346" y="878"/>
                    <a:pt x="346" y="878"/>
                  </a:cubicBezTo>
                  <a:cubicBezTo>
                    <a:pt x="349" y="892"/>
                    <a:pt x="357" y="897"/>
                    <a:pt x="370" y="894"/>
                  </a:cubicBezTo>
                  <a:cubicBezTo>
                    <a:pt x="425" y="896"/>
                    <a:pt x="425" y="896"/>
                    <a:pt x="425" y="896"/>
                  </a:cubicBezTo>
                  <a:cubicBezTo>
                    <a:pt x="430" y="888"/>
                    <a:pt x="443" y="885"/>
                    <a:pt x="440" y="872"/>
                  </a:cubicBezTo>
                  <a:cubicBezTo>
                    <a:pt x="440" y="804"/>
                    <a:pt x="440" y="804"/>
                    <a:pt x="440" y="804"/>
                  </a:cubicBezTo>
                  <a:cubicBezTo>
                    <a:pt x="442" y="783"/>
                    <a:pt x="460" y="772"/>
                    <a:pt x="466" y="764"/>
                  </a:cubicBezTo>
                  <a:cubicBezTo>
                    <a:pt x="466" y="764"/>
                    <a:pt x="466" y="764"/>
                    <a:pt x="466" y="764"/>
                  </a:cubicBezTo>
                  <a:cubicBezTo>
                    <a:pt x="479" y="761"/>
                    <a:pt x="492" y="758"/>
                    <a:pt x="497" y="750"/>
                  </a:cubicBezTo>
                  <a:cubicBezTo>
                    <a:pt x="497" y="750"/>
                    <a:pt x="497" y="750"/>
                    <a:pt x="497" y="750"/>
                  </a:cubicBezTo>
                  <a:cubicBezTo>
                    <a:pt x="510" y="747"/>
                    <a:pt x="523" y="745"/>
                    <a:pt x="539" y="755"/>
                  </a:cubicBezTo>
                  <a:cubicBezTo>
                    <a:pt x="594" y="791"/>
                    <a:pt x="594" y="791"/>
                    <a:pt x="594" y="791"/>
                  </a:cubicBezTo>
                  <a:cubicBezTo>
                    <a:pt x="602" y="796"/>
                    <a:pt x="623" y="798"/>
                    <a:pt x="628" y="790"/>
                  </a:cubicBezTo>
                  <a:cubicBezTo>
                    <a:pt x="659" y="743"/>
                    <a:pt x="659" y="743"/>
                    <a:pt x="659" y="743"/>
                  </a:cubicBezTo>
                  <a:cubicBezTo>
                    <a:pt x="659" y="743"/>
                    <a:pt x="669" y="727"/>
                    <a:pt x="654" y="716"/>
                  </a:cubicBezTo>
                  <a:close/>
                  <a:moveTo>
                    <a:pt x="281" y="633"/>
                  </a:moveTo>
                  <a:cubicBezTo>
                    <a:pt x="223" y="584"/>
                    <a:pt x="219" y="502"/>
                    <a:pt x="263" y="452"/>
                  </a:cubicBezTo>
                  <a:cubicBezTo>
                    <a:pt x="313" y="393"/>
                    <a:pt x="399" y="382"/>
                    <a:pt x="457" y="431"/>
                  </a:cubicBezTo>
                  <a:cubicBezTo>
                    <a:pt x="507" y="475"/>
                    <a:pt x="518" y="561"/>
                    <a:pt x="469" y="619"/>
                  </a:cubicBezTo>
                  <a:cubicBezTo>
                    <a:pt x="420" y="678"/>
                    <a:pt x="339" y="682"/>
                    <a:pt x="281" y="633"/>
                  </a:cubicBezTo>
                  <a:close/>
                  <a:moveTo>
                    <a:pt x="1019" y="398"/>
                  </a:moveTo>
                  <a:cubicBezTo>
                    <a:pt x="1004" y="362"/>
                    <a:pt x="1004" y="362"/>
                    <a:pt x="1004" y="362"/>
                  </a:cubicBezTo>
                  <a:cubicBezTo>
                    <a:pt x="992" y="348"/>
                    <a:pt x="1002" y="340"/>
                    <a:pt x="1002" y="332"/>
                  </a:cubicBezTo>
                  <a:cubicBezTo>
                    <a:pt x="1002" y="332"/>
                    <a:pt x="1002" y="332"/>
                    <a:pt x="1002" y="332"/>
                  </a:cubicBezTo>
                  <a:cubicBezTo>
                    <a:pt x="1007" y="328"/>
                    <a:pt x="1011" y="324"/>
                    <a:pt x="1012" y="315"/>
                  </a:cubicBezTo>
                  <a:cubicBezTo>
                    <a:pt x="1021" y="307"/>
                    <a:pt x="1026" y="303"/>
                    <a:pt x="1043" y="304"/>
                  </a:cubicBezTo>
                  <a:cubicBezTo>
                    <a:pt x="1086" y="307"/>
                    <a:pt x="1086" y="307"/>
                    <a:pt x="1086" y="307"/>
                  </a:cubicBezTo>
                  <a:cubicBezTo>
                    <a:pt x="1095" y="308"/>
                    <a:pt x="1099" y="304"/>
                    <a:pt x="1100" y="295"/>
                  </a:cubicBezTo>
                  <a:cubicBezTo>
                    <a:pt x="1107" y="266"/>
                    <a:pt x="1107" y="266"/>
                    <a:pt x="1107" y="266"/>
                  </a:cubicBezTo>
                  <a:cubicBezTo>
                    <a:pt x="1107" y="257"/>
                    <a:pt x="1103" y="252"/>
                    <a:pt x="1095" y="243"/>
                  </a:cubicBezTo>
                  <a:cubicBezTo>
                    <a:pt x="1057" y="236"/>
                    <a:pt x="1057" y="236"/>
                    <a:pt x="1057" y="236"/>
                  </a:cubicBezTo>
                  <a:cubicBezTo>
                    <a:pt x="1044" y="231"/>
                    <a:pt x="1036" y="222"/>
                    <a:pt x="1037" y="213"/>
                  </a:cubicBezTo>
                  <a:cubicBezTo>
                    <a:pt x="1038" y="205"/>
                    <a:pt x="1034" y="200"/>
                    <a:pt x="1030" y="187"/>
                  </a:cubicBezTo>
                  <a:cubicBezTo>
                    <a:pt x="1031" y="178"/>
                    <a:pt x="1032" y="170"/>
                    <a:pt x="1041" y="162"/>
                  </a:cubicBezTo>
                  <a:cubicBezTo>
                    <a:pt x="1077" y="138"/>
                    <a:pt x="1077" y="138"/>
                    <a:pt x="1077" y="138"/>
                  </a:cubicBezTo>
                  <a:cubicBezTo>
                    <a:pt x="1082" y="134"/>
                    <a:pt x="1083" y="126"/>
                    <a:pt x="1079" y="121"/>
                  </a:cubicBezTo>
                  <a:cubicBezTo>
                    <a:pt x="1059" y="89"/>
                    <a:pt x="1059" y="89"/>
                    <a:pt x="1059" y="89"/>
                  </a:cubicBezTo>
                  <a:cubicBezTo>
                    <a:pt x="1055" y="85"/>
                    <a:pt x="1047" y="84"/>
                    <a:pt x="1038" y="83"/>
                  </a:cubicBezTo>
                  <a:cubicBezTo>
                    <a:pt x="1002" y="107"/>
                    <a:pt x="1002" y="107"/>
                    <a:pt x="1002" y="107"/>
                  </a:cubicBezTo>
                  <a:cubicBezTo>
                    <a:pt x="989" y="110"/>
                    <a:pt x="980" y="110"/>
                    <a:pt x="976" y="105"/>
                  </a:cubicBezTo>
                  <a:cubicBezTo>
                    <a:pt x="972" y="100"/>
                    <a:pt x="960" y="95"/>
                    <a:pt x="956" y="91"/>
                  </a:cubicBezTo>
                  <a:cubicBezTo>
                    <a:pt x="952" y="86"/>
                    <a:pt x="944" y="77"/>
                    <a:pt x="944" y="68"/>
                  </a:cubicBezTo>
                  <a:cubicBezTo>
                    <a:pt x="948" y="25"/>
                    <a:pt x="948" y="25"/>
                    <a:pt x="948" y="25"/>
                  </a:cubicBezTo>
                  <a:cubicBezTo>
                    <a:pt x="948" y="17"/>
                    <a:pt x="940" y="7"/>
                    <a:pt x="940" y="7"/>
                  </a:cubicBezTo>
                  <a:cubicBezTo>
                    <a:pt x="902" y="0"/>
                    <a:pt x="902" y="0"/>
                    <a:pt x="902" y="0"/>
                  </a:cubicBezTo>
                  <a:cubicBezTo>
                    <a:pt x="902" y="0"/>
                    <a:pt x="889" y="4"/>
                    <a:pt x="888" y="12"/>
                  </a:cubicBezTo>
                  <a:cubicBezTo>
                    <a:pt x="872" y="50"/>
                    <a:pt x="872" y="50"/>
                    <a:pt x="872" y="50"/>
                  </a:cubicBezTo>
                  <a:cubicBezTo>
                    <a:pt x="871" y="67"/>
                    <a:pt x="862" y="67"/>
                    <a:pt x="858" y="71"/>
                  </a:cubicBezTo>
                  <a:cubicBezTo>
                    <a:pt x="858" y="71"/>
                    <a:pt x="858" y="71"/>
                    <a:pt x="853" y="75"/>
                  </a:cubicBezTo>
                  <a:cubicBezTo>
                    <a:pt x="849" y="70"/>
                    <a:pt x="840" y="70"/>
                    <a:pt x="836" y="74"/>
                  </a:cubicBezTo>
                  <a:cubicBezTo>
                    <a:pt x="831" y="78"/>
                    <a:pt x="831" y="78"/>
                    <a:pt x="831" y="78"/>
                  </a:cubicBezTo>
                  <a:cubicBezTo>
                    <a:pt x="822" y="77"/>
                    <a:pt x="814" y="76"/>
                    <a:pt x="806" y="67"/>
                  </a:cubicBezTo>
                  <a:cubicBezTo>
                    <a:pt x="778" y="35"/>
                    <a:pt x="778" y="35"/>
                    <a:pt x="778" y="35"/>
                  </a:cubicBezTo>
                  <a:cubicBezTo>
                    <a:pt x="774" y="30"/>
                    <a:pt x="762" y="25"/>
                    <a:pt x="757" y="29"/>
                  </a:cubicBezTo>
                  <a:cubicBezTo>
                    <a:pt x="734" y="49"/>
                    <a:pt x="734" y="49"/>
                    <a:pt x="734" y="49"/>
                  </a:cubicBezTo>
                  <a:cubicBezTo>
                    <a:pt x="725" y="49"/>
                    <a:pt x="725" y="57"/>
                    <a:pt x="728" y="70"/>
                  </a:cubicBezTo>
                  <a:cubicBezTo>
                    <a:pt x="747" y="102"/>
                    <a:pt x="747" y="102"/>
                    <a:pt x="747" y="102"/>
                  </a:cubicBezTo>
                  <a:cubicBezTo>
                    <a:pt x="754" y="120"/>
                    <a:pt x="750" y="124"/>
                    <a:pt x="744" y="136"/>
                  </a:cubicBezTo>
                  <a:cubicBezTo>
                    <a:pt x="744" y="136"/>
                    <a:pt x="744" y="136"/>
                    <a:pt x="744" y="136"/>
                  </a:cubicBezTo>
                  <a:cubicBezTo>
                    <a:pt x="740" y="140"/>
                    <a:pt x="735" y="144"/>
                    <a:pt x="731" y="148"/>
                  </a:cubicBezTo>
                  <a:cubicBezTo>
                    <a:pt x="731" y="148"/>
                    <a:pt x="731" y="148"/>
                    <a:pt x="731" y="148"/>
                  </a:cubicBezTo>
                  <a:cubicBezTo>
                    <a:pt x="730" y="157"/>
                    <a:pt x="721" y="165"/>
                    <a:pt x="703" y="164"/>
                  </a:cubicBezTo>
                  <a:cubicBezTo>
                    <a:pt x="665" y="157"/>
                    <a:pt x="665" y="157"/>
                    <a:pt x="665" y="157"/>
                  </a:cubicBezTo>
                  <a:cubicBezTo>
                    <a:pt x="656" y="156"/>
                    <a:pt x="647" y="164"/>
                    <a:pt x="647" y="173"/>
                  </a:cubicBezTo>
                  <a:cubicBezTo>
                    <a:pt x="640" y="203"/>
                    <a:pt x="640" y="203"/>
                    <a:pt x="640" y="203"/>
                  </a:cubicBezTo>
                  <a:cubicBezTo>
                    <a:pt x="639" y="211"/>
                    <a:pt x="643" y="216"/>
                    <a:pt x="656" y="221"/>
                  </a:cubicBezTo>
                  <a:cubicBezTo>
                    <a:pt x="690" y="232"/>
                    <a:pt x="690" y="232"/>
                    <a:pt x="690" y="232"/>
                  </a:cubicBezTo>
                  <a:cubicBezTo>
                    <a:pt x="702" y="237"/>
                    <a:pt x="710" y="246"/>
                    <a:pt x="710" y="255"/>
                  </a:cubicBezTo>
                  <a:cubicBezTo>
                    <a:pt x="710" y="255"/>
                    <a:pt x="710" y="255"/>
                    <a:pt x="710" y="255"/>
                  </a:cubicBezTo>
                  <a:cubicBezTo>
                    <a:pt x="714" y="260"/>
                    <a:pt x="713" y="268"/>
                    <a:pt x="717" y="273"/>
                  </a:cubicBezTo>
                  <a:cubicBezTo>
                    <a:pt x="712" y="277"/>
                    <a:pt x="712" y="277"/>
                    <a:pt x="712" y="277"/>
                  </a:cubicBezTo>
                  <a:cubicBezTo>
                    <a:pt x="716" y="281"/>
                    <a:pt x="716" y="290"/>
                    <a:pt x="702" y="302"/>
                  </a:cubicBezTo>
                  <a:cubicBezTo>
                    <a:pt x="674" y="326"/>
                    <a:pt x="674" y="326"/>
                    <a:pt x="674" y="326"/>
                  </a:cubicBezTo>
                  <a:cubicBezTo>
                    <a:pt x="665" y="334"/>
                    <a:pt x="664" y="343"/>
                    <a:pt x="668" y="347"/>
                  </a:cubicBezTo>
                  <a:cubicBezTo>
                    <a:pt x="687" y="379"/>
                    <a:pt x="687" y="379"/>
                    <a:pt x="687" y="379"/>
                  </a:cubicBezTo>
                  <a:cubicBezTo>
                    <a:pt x="691" y="383"/>
                    <a:pt x="700" y="384"/>
                    <a:pt x="704" y="380"/>
                  </a:cubicBezTo>
                  <a:cubicBezTo>
                    <a:pt x="745" y="361"/>
                    <a:pt x="745" y="361"/>
                    <a:pt x="745" y="361"/>
                  </a:cubicBezTo>
                  <a:cubicBezTo>
                    <a:pt x="758" y="358"/>
                    <a:pt x="767" y="358"/>
                    <a:pt x="771" y="363"/>
                  </a:cubicBezTo>
                  <a:cubicBezTo>
                    <a:pt x="771" y="363"/>
                    <a:pt x="771" y="363"/>
                    <a:pt x="771" y="363"/>
                  </a:cubicBezTo>
                  <a:cubicBezTo>
                    <a:pt x="779" y="364"/>
                    <a:pt x="787" y="373"/>
                    <a:pt x="791" y="377"/>
                  </a:cubicBezTo>
                  <a:cubicBezTo>
                    <a:pt x="791" y="377"/>
                    <a:pt x="791" y="377"/>
                    <a:pt x="791" y="377"/>
                  </a:cubicBezTo>
                  <a:cubicBezTo>
                    <a:pt x="800" y="378"/>
                    <a:pt x="804" y="383"/>
                    <a:pt x="802" y="400"/>
                  </a:cubicBezTo>
                  <a:cubicBezTo>
                    <a:pt x="799" y="443"/>
                    <a:pt x="799" y="443"/>
                    <a:pt x="799" y="443"/>
                  </a:cubicBezTo>
                  <a:cubicBezTo>
                    <a:pt x="798" y="451"/>
                    <a:pt x="802" y="456"/>
                    <a:pt x="811" y="457"/>
                  </a:cubicBezTo>
                  <a:cubicBezTo>
                    <a:pt x="845" y="468"/>
                    <a:pt x="845" y="468"/>
                    <a:pt x="845" y="468"/>
                  </a:cubicBezTo>
                  <a:cubicBezTo>
                    <a:pt x="849" y="464"/>
                    <a:pt x="858" y="464"/>
                    <a:pt x="859" y="456"/>
                  </a:cubicBezTo>
                  <a:cubicBezTo>
                    <a:pt x="871" y="413"/>
                    <a:pt x="871" y="413"/>
                    <a:pt x="871" y="413"/>
                  </a:cubicBezTo>
                  <a:cubicBezTo>
                    <a:pt x="876" y="401"/>
                    <a:pt x="889" y="397"/>
                    <a:pt x="894" y="393"/>
                  </a:cubicBezTo>
                  <a:cubicBezTo>
                    <a:pt x="894" y="393"/>
                    <a:pt x="894" y="393"/>
                    <a:pt x="894" y="393"/>
                  </a:cubicBezTo>
                  <a:cubicBezTo>
                    <a:pt x="902" y="394"/>
                    <a:pt x="911" y="395"/>
                    <a:pt x="916" y="391"/>
                  </a:cubicBezTo>
                  <a:cubicBezTo>
                    <a:pt x="916" y="391"/>
                    <a:pt x="916" y="391"/>
                    <a:pt x="916" y="391"/>
                  </a:cubicBezTo>
                  <a:cubicBezTo>
                    <a:pt x="924" y="391"/>
                    <a:pt x="933" y="392"/>
                    <a:pt x="941" y="401"/>
                  </a:cubicBezTo>
                  <a:cubicBezTo>
                    <a:pt x="969" y="433"/>
                    <a:pt x="969" y="433"/>
                    <a:pt x="969" y="433"/>
                  </a:cubicBezTo>
                  <a:cubicBezTo>
                    <a:pt x="973" y="438"/>
                    <a:pt x="985" y="443"/>
                    <a:pt x="990" y="439"/>
                  </a:cubicBezTo>
                  <a:cubicBezTo>
                    <a:pt x="1018" y="415"/>
                    <a:pt x="1018" y="415"/>
                    <a:pt x="1018" y="415"/>
                  </a:cubicBezTo>
                  <a:cubicBezTo>
                    <a:pt x="1018" y="415"/>
                    <a:pt x="1027" y="407"/>
                    <a:pt x="1019" y="398"/>
                  </a:cubicBezTo>
                  <a:close/>
                  <a:moveTo>
                    <a:pt x="803" y="279"/>
                  </a:moveTo>
                  <a:cubicBezTo>
                    <a:pt x="776" y="238"/>
                    <a:pt x="788" y="187"/>
                    <a:pt x="825" y="164"/>
                  </a:cubicBezTo>
                  <a:cubicBezTo>
                    <a:pt x="866" y="136"/>
                    <a:pt x="921" y="144"/>
                    <a:pt x="948" y="185"/>
                  </a:cubicBezTo>
                  <a:cubicBezTo>
                    <a:pt x="972" y="221"/>
                    <a:pt x="963" y="277"/>
                    <a:pt x="922" y="304"/>
                  </a:cubicBezTo>
                  <a:cubicBezTo>
                    <a:pt x="881" y="332"/>
                    <a:pt x="830" y="320"/>
                    <a:pt x="803" y="279"/>
                  </a:cubicBezTo>
                  <a:close/>
                </a:path>
              </a:pathLst>
            </a:custGeom>
            <a:solidFill>
              <a:schemeClr val="tx1"/>
            </a:solidFill>
            <a:ln>
              <a:noFill/>
            </a:ln>
          </p:spPr>
          <p:txBody>
            <a:bodyPr vert="horz" wrap="square" lIns="68574" tIns="34287" rIns="68574" bIns="34287"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17346"/>
                </a:solidFill>
                <a:effectLst/>
                <a:uLnTx/>
                <a:uFillTx/>
                <a:latin typeface="Segoe UI"/>
                <a:ea typeface="+mn-ea"/>
                <a:cs typeface="+mn-cs"/>
              </a:endParaRPr>
            </a:p>
          </p:txBody>
        </p:sp>
        <p:sp>
          <p:nvSpPr>
            <p:cNvPr id="104" name="Freeform 103"/>
            <p:cNvSpPr>
              <a:spLocks noChangeAspect="1"/>
            </p:cNvSpPr>
            <p:nvPr/>
          </p:nvSpPr>
          <p:spPr bwMode="black">
            <a:xfrm>
              <a:off x="776985" y="4213905"/>
              <a:ext cx="342871" cy="335728"/>
            </a:xfrm>
            <a:custGeom>
              <a:avLst/>
              <a:gdLst>
                <a:gd name="connsiteX0" fmla="*/ 3713863 w 4893730"/>
                <a:gd name="connsiteY0" fmla="*/ 2130808 h 4791777"/>
                <a:gd name="connsiteX1" fmla="*/ 4426142 w 4893730"/>
                <a:gd name="connsiteY1" fmla="*/ 2130808 h 4791777"/>
                <a:gd name="connsiteX2" fmla="*/ 4598071 w 4893730"/>
                <a:gd name="connsiteY2" fmla="*/ 2301547 h 4791777"/>
                <a:gd name="connsiteX3" fmla="*/ 4598071 w 4893730"/>
                <a:gd name="connsiteY3" fmla="*/ 3886978 h 4791777"/>
                <a:gd name="connsiteX4" fmla="*/ 4426142 w 4893730"/>
                <a:gd name="connsiteY4" fmla="*/ 4057717 h 4791777"/>
                <a:gd name="connsiteX5" fmla="*/ 3713863 w 4893730"/>
                <a:gd name="connsiteY5" fmla="*/ 4057717 h 4791777"/>
                <a:gd name="connsiteX6" fmla="*/ 3517372 w 4893730"/>
                <a:gd name="connsiteY6" fmla="*/ 3886978 h 4791777"/>
                <a:gd name="connsiteX7" fmla="*/ 3517372 w 4893730"/>
                <a:gd name="connsiteY7" fmla="*/ 2301547 h 4791777"/>
                <a:gd name="connsiteX8" fmla="*/ 3713863 w 4893730"/>
                <a:gd name="connsiteY8" fmla="*/ 2130808 h 4791777"/>
                <a:gd name="connsiteX9" fmla="*/ 904368 w 4893730"/>
                <a:gd name="connsiteY9" fmla="*/ 1223432 h 4791777"/>
                <a:gd name="connsiteX10" fmla="*/ 1609930 w 4893730"/>
                <a:gd name="connsiteY10" fmla="*/ 1223432 h 4791777"/>
                <a:gd name="connsiteX11" fmla="*/ 1804567 w 4893730"/>
                <a:gd name="connsiteY11" fmla="*/ 1394467 h 4791777"/>
                <a:gd name="connsiteX12" fmla="*/ 1804567 w 4893730"/>
                <a:gd name="connsiteY12" fmla="*/ 3886683 h 4791777"/>
                <a:gd name="connsiteX13" fmla="*/ 1609930 w 4893730"/>
                <a:gd name="connsiteY13" fmla="*/ 4057717 h 4791777"/>
                <a:gd name="connsiteX14" fmla="*/ 904368 w 4893730"/>
                <a:gd name="connsiteY14" fmla="*/ 4057717 h 4791777"/>
                <a:gd name="connsiteX15" fmla="*/ 734060 w 4893730"/>
                <a:gd name="connsiteY15" fmla="*/ 3886683 h 4791777"/>
                <a:gd name="connsiteX16" fmla="*/ 734060 w 4893730"/>
                <a:gd name="connsiteY16" fmla="*/ 1394467 h 4791777"/>
                <a:gd name="connsiteX17" fmla="*/ 904368 w 4893730"/>
                <a:gd name="connsiteY17" fmla="*/ 1223432 h 4791777"/>
                <a:gd name="connsiteX18" fmla="*/ 2325453 w 4893730"/>
                <a:gd name="connsiteY18" fmla="*/ 316050 h 4791777"/>
                <a:gd name="connsiteX19" fmla="*/ 3031014 w 4893730"/>
                <a:gd name="connsiteY19" fmla="*/ 316050 h 4791777"/>
                <a:gd name="connsiteX20" fmla="*/ 3201322 w 4893730"/>
                <a:gd name="connsiteY20" fmla="*/ 487238 h 4791777"/>
                <a:gd name="connsiteX21" fmla="*/ 3201322 w 4893730"/>
                <a:gd name="connsiteY21" fmla="*/ 3886530 h 4791777"/>
                <a:gd name="connsiteX22" fmla="*/ 3031014 w 4893730"/>
                <a:gd name="connsiteY22" fmla="*/ 4057717 h 4791777"/>
                <a:gd name="connsiteX23" fmla="*/ 2325453 w 4893730"/>
                <a:gd name="connsiteY23" fmla="*/ 4057717 h 4791777"/>
                <a:gd name="connsiteX24" fmla="*/ 2130815 w 4893730"/>
                <a:gd name="connsiteY24" fmla="*/ 3886530 h 4791777"/>
                <a:gd name="connsiteX25" fmla="*/ 2130815 w 4893730"/>
                <a:gd name="connsiteY25" fmla="*/ 487238 h 4791777"/>
                <a:gd name="connsiteX26" fmla="*/ 2325453 w 4893730"/>
                <a:gd name="connsiteY26" fmla="*/ 316050 h 4791777"/>
                <a:gd name="connsiteX27" fmla="*/ 269155 w 4893730"/>
                <a:gd name="connsiteY27" fmla="*/ 0 h 4791777"/>
                <a:gd name="connsiteX28" fmla="*/ 538311 w 4893730"/>
                <a:gd name="connsiteY28" fmla="*/ 268927 h 4791777"/>
                <a:gd name="connsiteX29" fmla="*/ 538311 w 4893730"/>
                <a:gd name="connsiteY29" fmla="*/ 4253925 h 4791777"/>
                <a:gd name="connsiteX30" fmla="*/ 4624575 w 4893730"/>
                <a:gd name="connsiteY30" fmla="*/ 4253925 h 4791777"/>
                <a:gd name="connsiteX31" fmla="*/ 4893730 w 4893730"/>
                <a:gd name="connsiteY31" fmla="*/ 4522851 h 4791777"/>
                <a:gd name="connsiteX32" fmla="*/ 4624575 w 4893730"/>
                <a:gd name="connsiteY32" fmla="*/ 4791777 h 4791777"/>
                <a:gd name="connsiteX33" fmla="*/ 269155 w 4893730"/>
                <a:gd name="connsiteY33" fmla="*/ 4791777 h 4791777"/>
                <a:gd name="connsiteX34" fmla="*/ 0 w 4893730"/>
                <a:gd name="connsiteY34" fmla="*/ 4522851 h 4791777"/>
                <a:gd name="connsiteX35" fmla="*/ 0 w 4893730"/>
                <a:gd name="connsiteY35" fmla="*/ 268927 h 4791777"/>
                <a:gd name="connsiteX36" fmla="*/ 269155 w 4893730"/>
                <a:gd name="connsiteY36" fmla="*/ 0 h 4791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4893730" h="4791777">
                  <a:moveTo>
                    <a:pt x="3713863" y="2130808"/>
                  </a:moveTo>
                  <a:cubicBezTo>
                    <a:pt x="3713863" y="2130808"/>
                    <a:pt x="3713863" y="2130808"/>
                    <a:pt x="4426142" y="2130808"/>
                  </a:cubicBezTo>
                  <a:cubicBezTo>
                    <a:pt x="4524387" y="2130808"/>
                    <a:pt x="4598071" y="2203982"/>
                    <a:pt x="4598071" y="2301547"/>
                  </a:cubicBezTo>
                  <a:cubicBezTo>
                    <a:pt x="4598071" y="2301547"/>
                    <a:pt x="4598071" y="2301547"/>
                    <a:pt x="4598071" y="3886978"/>
                  </a:cubicBezTo>
                  <a:cubicBezTo>
                    <a:pt x="4598071" y="3984543"/>
                    <a:pt x="4524387" y="4057717"/>
                    <a:pt x="4426142" y="4057717"/>
                  </a:cubicBezTo>
                  <a:cubicBezTo>
                    <a:pt x="4426142" y="4057717"/>
                    <a:pt x="4426142" y="4057717"/>
                    <a:pt x="3713863" y="4057717"/>
                  </a:cubicBezTo>
                  <a:cubicBezTo>
                    <a:pt x="3615618" y="4057717"/>
                    <a:pt x="3517372" y="3984543"/>
                    <a:pt x="3517372" y="3886978"/>
                  </a:cubicBezTo>
                  <a:cubicBezTo>
                    <a:pt x="3517372" y="3886978"/>
                    <a:pt x="3517372" y="3886978"/>
                    <a:pt x="3517372" y="2301547"/>
                  </a:cubicBezTo>
                  <a:cubicBezTo>
                    <a:pt x="3517372" y="2203982"/>
                    <a:pt x="3615618" y="2130808"/>
                    <a:pt x="3713863" y="2130808"/>
                  </a:cubicBezTo>
                  <a:close/>
                  <a:moveTo>
                    <a:pt x="904368" y="1223432"/>
                  </a:moveTo>
                  <a:cubicBezTo>
                    <a:pt x="904368" y="1223432"/>
                    <a:pt x="904368" y="1223432"/>
                    <a:pt x="1609930" y="1223432"/>
                  </a:cubicBezTo>
                  <a:cubicBezTo>
                    <a:pt x="1731578" y="1223432"/>
                    <a:pt x="1804567" y="1296733"/>
                    <a:pt x="1804567" y="1394467"/>
                  </a:cubicBezTo>
                  <a:cubicBezTo>
                    <a:pt x="1804567" y="1394467"/>
                    <a:pt x="1804567" y="1394467"/>
                    <a:pt x="1804567" y="3886683"/>
                  </a:cubicBezTo>
                  <a:cubicBezTo>
                    <a:pt x="1804567" y="3984417"/>
                    <a:pt x="1731578" y="4057717"/>
                    <a:pt x="1609930" y="4057717"/>
                  </a:cubicBezTo>
                  <a:cubicBezTo>
                    <a:pt x="1609930" y="4057717"/>
                    <a:pt x="1609930" y="4057717"/>
                    <a:pt x="904368" y="4057717"/>
                  </a:cubicBezTo>
                  <a:cubicBezTo>
                    <a:pt x="807049" y="4057717"/>
                    <a:pt x="734060" y="3984417"/>
                    <a:pt x="734060" y="3886683"/>
                  </a:cubicBezTo>
                  <a:cubicBezTo>
                    <a:pt x="734060" y="3886683"/>
                    <a:pt x="734060" y="3886683"/>
                    <a:pt x="734060" y="1394467"/>
                  </a:cubicBezTo>
                  <a:cubicBezTo>
                    <a:pt x="734060" y="1296733"/>
                    <a:pt x="807049" y="1223432"/>
                    <a:pt x="904368" y="1223432"/>
                  </a:cubicBezTo>
                  <a:close/>
                  <a:moveTo>
                    <a:pt x="2325453" y="316050"/>
                  </a:moveTo>
                  <a:cubicBezTo>
                    <a:pt x="2325453" y="316050"/>
                    <a:pt x="2325453" y="316050"/>
                    <a:pt x="3031014" y="316050"/>
                  </a:cubicBezTo>
                  <a:cubicBezTo>
                    <a:pt x="3128333" y="316050"/>
                    <a:pt x="3201322" y="389416"/>
                    <a:pt x="3201322" y="487238"/>
                  </a:cubicBezTo>
                  <a:cubicBezTo>
                    <a:pt x="3201322" y="487238"/>
                    <a:pt x="3201322" y="487238"/>
                    <a:pt x="3201322" y="3886530"/>
                  </a:cubicBezTo>
                  <a:cubicBezTo>
                    <a:pt x="3201322" y="3984351"/>
                    <a:pt x="3128333" y="4057717"/>
                    <a:pt x="3031014" y="4057717"/>
                  </a:cubicBezTo>
                  <a:cubicBezTo>
                    <a:pt x="3031014" y="4057717"/>
                    <a:pt x="3031014" y="4057717"/>
                    <a:pt x="2325453" y="4057717"/>
                  </a:cubicBezTo>
                  <a:cubicBezTo>
                    <a:pt x="2203804" y="4057717"/>
                    <a:pt x="2130815" y="3984351"/>
                    <a:pt x="2130815" y="3886530"/>
                  </a:cubicBezTo>
                  <a:cubicBezTo>
                    <a:pt x="2130815" y="3886530"/>
                    <a:pt x="2130815" y="3886530"/>
                    <a:pt x="2130815" y="487238"/>
                  </a:cubicBezTo>
                  <a:cubicBezTo>
                    <a:pt x="2130815" y="389416"/>
                    <a:pt x="2203804" y="316050"/>
                    <a:pt x="2325453" y="316050"/>
                  </a:cubicBezTo>
                  <a:close/>
                  <a:moveTo>
                    <a:pt x="269155" y="0"/>
                  </a:moveTo>
                  <a:cubicBezTo>
                    <a:pt x="415967" y="0"/>
                    <a:pt x="538311" y="122239"/>
                    <a:pt x="538311" y="268927"/>
                  </a:cubicBezTo>
                  <a:cubicBezTo>
                    <a:pt x="538311" y="268927"/>
                    <a:pt x="538311" y="268927"/>
                    <a:pt x="538311" y="4253925"/>
                  </a:cubicBezTo>
                  <a:cubicBezTo>
                    <a:pt x="538311" y="4253925"/>
                    <a:pt x="538311" y="4253925"/>
                    <a:pt x="4624575" y="4253925"/>
                  </a:cubicBezTo>
                  <a:cubicBezTo>
                    <a:pt x="4771387" y="4253925"/>
                    <a:pt x="4893730" y="4376164"/>
                    <a:pt x="4893730" y="4522851"/>
                  </a:cubicBezTo>
                  <a:cubicBezTo>
                    <a:pt x="4893730" y="4669538"/>
                    <a:pt x="4771387" y="4791777"/>
                    <a:pt x="4624575" y="4791777"/>
                  </a:cubicBezTo>
                  <a:cubicBezTo>
                    <a:pt x="4624575" y="4791777"/>
                    <a:pt x="4624575" y="4791777"/>
                    <a:pt x="269155" y="4791777"/>
                  </a:cubicBezTo>
                  <a:cubicBezTo>
                    <a:pt x="122344" y="4791777"/>
                    <a:pt x="0" y="4669538"/>
                    <a:pt x="0" y="4522851"/>
                  </a:cubicBezTo>
                  <a:cubicBezTo>
                    <a:pt x="0" y="4522851"/>
                    <a:pt x="0" y="4522851"/>
                    <a:pt x="0" y="268927"/>
                  </a:cubicBezTo>
                  <a:cubicBezTo>
                    <a:pt x="0" y="122239"/>
                    <a:pt x="122344" y="0"/>
                    <a:pt x="269155"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37148" tIns="109719" rIns="137148" bIns="109719"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699261"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5" name="Rectangle 104"/>
            <p:cNvSpPr/>
            <p:nvPr/>
          </p:nvSpPr>
          <p:spPr bwMode="auto">
            <a:xfrm rot="2745734">
              <a:off x="886688" y="2210975"/>
              <a:ext cx="1598323" cy="1625795"/>
            </a:xfrm>
            <a:prstGeom prst="rect">
              <a:avLst/>
            </a:prstGeom>
            <a:solidFill>
              <a:schemeClr val="tx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6" name="Rectangle 105"/>
            <p:cNvSpPr/>
            <p:nvPr/>
          </p:nvSpPr>
          <p:spPr bwMode="auto">
            <a:xfrm rot="2745734">
              <a:off x="292433" y="3819160"/>
              <a:ext cx="1610349" cy="1235003"/>
            </a:xfrm>
            <a:prstGeom prst="rect">
              <a:avLst/>
            </a:prstGeom>
            <a:solidFill>
              <a:schemeClr val="tx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7" name="Rectangle 106"/>
            <p:cNvSpPr/>
            <p:nvPr/>
          </p:nvSpPr>
          <p:spPr bwMode="auto">
            <a:xfrm rot="2745734">
              <a:off x="1315610" y="4915701"/>
              <a:ext cx="1263370" cy="1255989"/>
            </a:xfrm>
            <a:prstGeom prst="rect">
              <a:avLst/>
            </a:prstGeom>
            <a:solidFill>
              <a:schemeClr val="tx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37" name="Title 10"/>
          <p:cNvSpPr txBox="1">
            <a:spLocks/>
          </p:cNvSpPr>
          <p:nvPr/>
        </p:nvSpPr>
        <p:spPr>
          <a:xfrm>
            <a:off x="2849060" y="0"/>
            <a:ext cx="9342940" cy="665151"/>
          </a:xfrm>
          <a:prstGeom prst="rect">
            <a:avLst/>
          </a:prstGeom>
          <a:noFill/>
        </p:spPr>
        <p:txBody>
          <a:bodyPr vert="horz" wrap="square" lIns="0" tIns="91440" rIns="0" bIns="91440" rtlCol="0" anchor="t">
            <a:noAutofit/>
          </a:bodyPr>
          <a:lstStyle>
            <a:lvl1pPr defTabSz="914367">
              <a:lnSpc>
                <a:spcPct val="90000"/>
              </a:lnSpc>
              <a:spcBef>
                <a:spcPct val="0"/>
              </a:spcBef>
              <a:buNone/>
              <a:defRPr lang="en-US" sz="5294" b="0" cap="none" spc="-100" baseline="0" dirty="0" smtClean="0">
                <a:ln w="3175">
                  <a:noFill/>
                </a:ln>
                <a:solidFill>
                  <a:schemeClr val="tx2"/>
                </a:solidFill>
                <a:effectLst/>
                <a:latin typeface="+mj-lt"/>
                <a:cs typeface="Segoe UI" pitchFamily="34" charset="0"/>
              </a:defRPr>
            </a:lvl1pPr>
          </a:lstStyle>
          <a:p>
            <a:pPr marL="168275" marR="0" lvl="0" indent="0" algn="l" defTabSz="914367" rtl="0" eaLnBrk="1" fontAlgn="auto" latinLnBrk="0" hangingPunct="1">
              <a:lnSpc>
                <a:spcPct val="90000"/>
              </a:lnSpc>
              <a:spcBef>
                <a:spcPct val="0"/>
              </a:spcBef>
              <a:spcAft>
                <a:spcPts val="0"/>
              </a:spcAft>
              <a:buClrTx/>
              <a:buSzTx/>
              <a:buFontTx/>
              <a:buNone/>
              <a:tabLst/>
              <a:defRPr/>
            </a:pPr>
            <a:r>
              <a:rPr kumimoji="0" lang="en-US" sz="3600" b="0" i="0" u="none" strike="noStrike" kern="1200" cap="none" spc="-100" normalizeH="0" baseline="0" noProof="0">
                <a:ln w="3175">
                  <a:noFill/>
                </a:ln>
                <a:solidFill>
                  <a:prstClr val="black"/>
                </a:solidFill>
                <a:effectLst/>
                <a:uLnTx/>
                <a:uFillTx/>
                <a:latin typeface="Segoe UI Light"/>
                <a:ea typeface="+mn-ea"/>
                <a:cs typeface="Segoe UI" pitchFamily="34" charset="0"/>
              </a:rPr>
              <a:t>Calculations</a:t>
            </a:r>
            <a:endParaRPr kumimoji="0" lang="en-IN" sz="3600" b="0" i="0" u="none" strike="noStrike" kern="1200" cap="none" spc="-100" normalizeH="0" baseline="0" noProof="0">
              <a:ln w="3175">
                <a:noFill/>
              </a:ln>
              <a:solidFill>
                <a:prstClr val="black"/>
              </a:solidFill>
              <a:effectLst/>
              <a:uLnTx/>
              <a:uFillTx/>
              <a:latin typeface="Segoe UI Light"/>
              <a:ea typeface="+mn-ea"/>
              <a:cs typeface="Segoe UI" pitchFamily="34" charset="0"/>
            </a:endParaRPr>
          </a:p>
        </p:txBody>
      </p:sp>
      <p:sp>
        <p:nvSpPr>
          <p:cNvPr id="40" name="TextBox 39"/>
          <p:cNvSpPr txBox="1"/>
          <p:nvPr/>
        </p:nvSpPr>
        <p:spPr>
          <a:xfrm>
            <a:off x="3" y="51415"/>
            <a:ext cx="2849058" cy="430887"/>
          </a:xfrm>
          <a:prstGeom prst="rect">
            <a:avLst/>
          </a:prstGeom>
        </p:spPr>
        <p:txBody>
          <a:bodyPr wrap="square">
            <a:spAutoFit/>
          </a:bodyPr>
          <a:lstStyle>
            <a:defPPr>
              <a:defRPr lang="en-US"/>
            </a:defPPr>
            <a:lvl1pPr defTabSz="914192">
              <a:defRPr sz="2800" b="1" spc="-100">
                <a:ln w="3175">
                  <a:noFill/>
                </a:ln>
                <a:solidFill>
                  <a:srgbClr val="F2C812"/>
                </a:solidFill>
                <a:latin typeface="Segoe UI" panose="020B0502040204020203" pitchFamily="34" charset="0"/>
                <a:ea typeface="ＭＳ Ｐゴシック" charset="0"/>
                <a:cs typeface="Segoe UI" panose="020B0502040204020203" pitchFamily="34" charset="0"/>
              </a:defRPr>
            </a:lvl1pPr>
          </a:lstStyle>
          <a:p>
            <a:pPr marL="0" marR="0" lvl="0" indent="0" algn="l" defTabSz="914192" rtl="0" eaLnBrk="1" fontAlgn="auto" latinLnBrk="0" hangingPunct="1">
              <a:lnSpc>
                <a:spcPct val="100000"/>
              </a:lnSpc>
              <a:spcBef>
                <a:spcPts val="0"/>
              </a:spcBef>
              <a:spcAft>
                <a:spcPts val="0"/>
              </a:spcAft>
              <a:buClrTx/>
              <a:buSzTx/>
              <a:buFontTx/>
              <a:buNone/>
              <a:tabLst/>
              <a:defRPr/>
            </a:pPr>
            <a:r>
              <a:rPr kumimoji="0" lang="en-US" sz="2200" b="1" i="0" u="none" strike="noStrike" kern="1200" cap="none" spc="-100" normalizeH="0" baseline="0" noProof="0">
                <a:ln w="3175">
                  <a:noFill/>
                </a:ln>
                <a:solidFill>
                  <a:srgbClr val="F2C812"/>
                </a:solidFill>
                <a:effectLst/>
                <a:uLnTx/>
                <a:uFillTx/>
                <a:latin typeface="Segoe UI Light"/>
                <a:ea typeface="ＭＳ Ｐゴシック" charset="0"/>
                <a:cs typeface="Segoe UI" panose="020B0502040204020203" pitchFamily="34" charset="0"/>
              </a:rPr>
              <a:t>Power BI Desktop</a:t>
            </a:r>
          </a:p>
        </p:txBody>
      </p:sp>
      <p:sp>
        <p:nvSpPr>
          <p:cNvPr id="36" name="Rectangle 3"/>
          <p:cNvSpPr/>
          <p:nvPr/>
        </p:nvSpPr>
        <p:spPr bwMode="auto">
          <a:xfrm>
            <a:off x="3202216" y="665151"/>
            <a:ext cx="8105312" cy="44435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PT" sz="2000" b="0" i="1" u="none" strike="noStrike" kern="1200" cap="none" spc="0" normalizeH="0" baseline="0" noProof="0">
                <a:ln>
                  <a:noFill/>
                </a:ln>
                <a:solidFill>
                  <a:prstClr val="black"/>
                </a:solidFill>
                <a:effectLst/>
                <a:uLnTx/>
                <a:uFillTx/>
                <a:latin typeface="Segoe UI Light"/>
                <a:ea typeface="+mn-ea"/>
                <a:cs typeface="+mn-cs"/>
              </a:rPr>
              <a:t>DAX Basics - Functions</a:t>
            </a:r>
            <a:endParaRPr kumimoji="0" lang="en-US" sz="2000" b="0" i="1" u="none" strike="noStrike" kern="1200" cap="none" spc="0" normalizeH="0" baseline="0" noProof="0">
              <a:ln>
                <a:noFill/>
              </a:ln>
              <a:solidFill>
                <a:prstClr val="black"/>
              </a:solidFill>
              <a:effectLst/>
              <a:uLnTx/>
              <a:uFillTx/>
              <a:latin typeface="Segoe UI Light"/>
              <a:ea typeface="+mn-ea"/>
              <a:cs typeface="+mn-cs"/>
            </a:endParaRPr>
          </a:p>
        </p:txBody>
      </p:sp>
      <p:sp>
        <p:nvSpPr>
          <p:cNvPr id="35" name="Text Placeholder 2"/>
          <p:cNvSpPr txBox="1">
            <a:spLocks/>
          </p:cNvSpPr>
          <p:nvPr/>
        </p:nvSpPr>
        <p:spPr>
          <a:xfrm>
            <a:off x="3013636" y="1338891"/>
            <a:ext cx="9162906" cy="4030000"/>
          </a:xfrm>
          <a:prstGeom prst="rect">
            <a:avLst/>
          </a:prstGeom>
        </p:spPr>
        <p:txBody>
          <a:bodyPr vert="horz" wrap="square" lIns="182880" tIns="146304" rIns="182880" bIns="146304" rtlCol="0">
            <a:noAutofit/>
          </a:bodyPr>
          <a:lstStyle>
            <a:lvl1pPr marL="182845" marR="0"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3921" kern="1200" spc="0" baseline="0">
                <a:gradFill>
                  <a:gsLst>
                    <a:gs pos="1250">
                      <a:schemeClr val="tx2"/>
                    </a:gs>
                    <a:gs pos="99000">
                      <a:schemeClr val="tx2"/>
                    </a:gs>
                  </a:gsLst>
                  <a:lin ang="5400000" scaled="0"/>
                </a:gradFill>
                <a:latin typeface="+mj-lt"/>
                <a:ea typeface="+mn-ea"/>
                <a:cs typeface="+mn-cs"/>
              </a:defRPr>
            </a:lvl1pPr>
            <a:lvl2pPr marL="365690" marR="0"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2400" kern="1200" spc="0" baseline="0">
                <a:solidFill>
                  <a:schemeClr val="tx2"/>
                </a:solidFill>
                <a:latin typeface="+mj-lt"/>
                <a:ea typeface="+mn-ea"/>
                <a:cs typeface="+mn-cs"/>
              </a:defRPr>
            </a:lvl2pPr>
            <a:lvl3pPr marL="548535" marR="0"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2000" kern="1200" spc="0" baseline="0">
                <a:solidFill>
                  <a:schemeClr val="tx2"/>
                </a:solidFill>
                <a:latin typeface="+mj-lt"/>
                <a:ea typeface="+mn-ea"/>
                <a:cs typeface="+mn-cs"/>
              </a:defRPr>
            </a:lvl3pPr>
            <a:lvl4pPr marL="733802" marR="0" indent="-28569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1765" kern="1200" spc="0" baseline="0">
                <a:solidFill>
                  <a:schemeClr val="tx2"/>
                </a:solidFill>
                <a:latin typeface="+mn-lt"/>
                <a:ea typeface="+mn-ea"/>
                <a:cs typeface="+mn-cs"/>
              </a:defRPr>
            </a:lvl4pPr>
            <a:lvl5pPr marL="957856" marR="0" indent="-28569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1765" kern="1200" spc="0" baseline="0">
                <a:solidFill>
                  <a:schemeClr val="tx2"/>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r>
              <a:rPr kumimoji="0" lang="pt-PT" sz="2400" b="0" i="0" u="none" strike="noStrike" kern="1200" cap="none" spc="0" normalizeH="0" baseline="0" noProof="0">
                <a:ln>
                  <a:noFill/>
                </a:ln>
                <a:solidFill>
                  <a:prstClr val="black"/>
                </a:solidFill>
                <a:effectLst/>
                <a:uLnTx/>
                <a:uFillTx/>
                <a:latin typeface="Segoe UI Light"/>
                <a:ea typeface="Calibri" panose="020F0502020204030204" pitchFamily="34" charset="0"/>
                <a:cs typeface="Times New Roman" panose="02020603050405020304" pitchFamily="18" charset="0"/>
              </a:rPr>
              <a:t>A function always </a:t>
            </a:r>
            <a:r>
              <a:rPr kumimoji="0" lang="pt-PT" sz="2400" b="1" i="0" u="none" strike="noStrike" kern="1200" cap="none" spc="0" normalizeH="0" baseline="0" noProof="0">
                <a:ln>
                  <a:noFill/>
                </a:ln>
                <a:solidFill>
                  <a:prstClr val="black"/>
                </a:solidFill>
                <a:effectLst/>
                <a:uLnTx/>
                <a:uFillTx/>
                <a:latin typeface="Segoe UI Light"/>
                <a:ea typeface="Calibri" panose="020F0502020204030204" pitchFamily="34" charset="0"/>
                <a:cs typeface="Times New Roman" panose="02020603050405020304" pitchFamily="18" charset="0"/>
              </a:rPr>
              <a:t>references a column or a table</a:t>
            </a:r>
            <a:r>
              <a:rPr kumimoji="0" lang="pt-PT" sz="2400" b="0" i="0" u="none" strike="noStrike" kern="1200" cap="none" spc="0" normalizeH="0" baseline="0" noProof="0">
                <a:ln>
                  <a:noFill/>
                </a:ln>
                <a:solidFill>
                  <a:prstClr val="black"/>
                </a:solidFill>
                <a:effectLst/>
                <a:uLnTx/>
                <a:uFillTx/>
                <a:latin typeface="Segoe UI Light"/>
                <a:ea typeface="Calibri" panose="020F0502020204030204" pitchFamily="34" charset="0"/>
                <a:cs typeface="Times New Roman" panose="02020603050405020304" pitchFamily="18" charset="0"/>
              </a:rPr>
              <a:t>. Filters can be added to filter context of evaluation</a:t>
            </a: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pt-PT" sz="2400" b="0" i="0" u="none" strike="noStrike" kern="1200" cap="none" spc="0" normalizeH="0" baseline="0" noProof="0">
              <a:ln>
                <a:noFill/>
              </a:ln>
              <a:solidFill>
                <a:prstClr val="black"/>
              </a:solidFill>
              <a:effectLst/>
              <a:uLnTx/>
              <a:uFillTx/>
              <a:latin typeface="Segoe UI Light"/>
              <a:ea typeface="Calibri" panose="020F0502020204030204" pitchFamily="34" charset="0"/>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r>
              <a:rPr kumimoji="0" lang="pt-PT" sz="2400" b="0" i="0" u="none" strike="noStrike" kern="1200" cap="none" spc="0" normalizeH="0" baseline="0" noProof="0">
                <a:ln>
                  <a:noFill/>
                </a:ln>
                <a:solidFill>
                  <a:prstClr val="black"/>
                </a:solidFill>
                <a:effectLst/>
                <a:uLnTx/>
                <a:uFillTx/>
                <a:latin typeface="Segoe UI Light"/>
                <a:ea typeface="Calibri" panose="020F0502020204030204" pitchFamily="34" charset="0"/>
                <a:cs typeface="Times New Roman" panose="02020603050405020304" pitchFamily="18" charset="0"/>
              </a:rPr>
              <a:t>A function </a:t>
            </a:r>
            <a:r>
              <a:rPr kumimoji="0" lang="pt-PT" sz="2400" b="1" i="0" u="none" strike="noStrike" kern="1200" cap="none" spc="0" normalizeH="0" baseline="0" noProof="0">
                <a:ln>
                  <a:noFill/>
                </a:ln>
                <a:solidFill>
                  <a:prstClr val="black"/>
                </a:solidFill>
                <a:effectLst/>
                <a:uLnTx/>
                <a:uFillTx/>
                <a:latin typeface="Segoe UI Light"/>
                <a:ea typeface="Calibri" panose="020F0502020204030204" pitchFamily="34" charset="0"/>
                <a:cs typeface="Times New Roman" panose="02020603050405020304" pitchFamily="18" charset="0"/>
              </a:rPr>
              <a:t>always returns a value or a table</a:t>
            </a:r>
            <a:r>
              <a:rPr kumimoji="0" lang="pt-PT" sz="2400" b="0" i="0" u="none" strike="noStrike" kern="1200" cap="none" spc="0" normalizeH="0" baseline="0" noProof="0">
                <a:ln>
                  <a:noFill/>
                </a:ln>
                <a:solidFill>
                  <a:prstClr val="black"/>
                </a:solidFill>
                <a:effectLst/>
                <a:uLnTx/>
                <a:uFillTx/>
                <a:latin typeface="Segoe UI Light"/>
                <a:ea typeface="Calibri" panose="020F0502020204030204" pitchFamily="34" charset="0"/>
                <a:cs typeface="Times New Roman" panose="02020603050405020304" pitchFamily="18" charset="0"/>
              </a:rPr>
              <a:t>. When a table is returned, further functions should be applied to obtain a value</a:t>
            </a:r>
            <a:br>
              <a:rPr kumimoji="0" lang="pt-PT" sz="2400" b="0" i="0" u="none" strike="noStrike" kern="1200" cap="none" spc="0" normalizeH="0" baseline="0" noProof="0">
                <a:ln>
                  <a:noFill/>
                </a:ln>
                <a:solidFill>
                  <a:prstClr val="black"/>
                </a:solidFill>
                <a:effectLst/>
                <a:uLnTx/>
                <a:uFillTx/>
                <a:latin typeface="Segoe UI Light"/>
                <a:ea typeface="Calibri" panose="020F0502020204030204" pitchFamily="34" charset="0"/>
                <a:cs typeface="Times New Roman" panose="02020603050405020304" pitchFamily="18" charset="0"/>
              </a:rPr>
            </a:br>
            <a:endParaRPr kumimoji="0" lang="pt-PT" sz="2400" b="0" i="0" u="none" strike="noStrike" kern="1200" cap="none" spc="0" normalizeH="0" baseline="0" noProof="0">
              <a:ln>
                <a:noFill/>
              </a:ln>
              <a:solidFill>
                <a:prstClr val="black"/>
              </a:solidFill>
              <a:effectLst/>
              <a:uLnTx/>
              <a:uFillTx/>
              <a:latin typeface="Segoe UI Light"/>
              <a:ea typeface="Calibri" panose="020F0502020204030204" pitchFamily="34" charset="0"/>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pt-PT" sz="2400" b="0" i="0" u="none" strike="noStrike" kern="1200" cap="none" spc="0" normalizeH="0" baseline="0" noProof="0">
              <a:ln>
                <a:noFill/>
              </a:ln>
              <a:solidFill>
                <a:prstClr val="black"/>
              </a:solidFill>
              <a:effectLst/>
              <a:uLnTx/>
              <a:uFillTx/>
              <a:latin typeface="Segoe UI Light"/>
              <a:ea typeface="Calibri" panose="020F0502020204030204" pitchFamily="34" charset="0"/>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r>
              <a:rPr kumimoji="0" lang="pt-PT" sz="2400" b="0" i="0" u="none" strike="noStrike" kern="1200" cap="none" spc="0" normalizeH="0" baseline="0" noProof="0">
                <a:ln>
                  <a:noFill/>
                </a:ln>
                <a:solidFill>
                  <a:prstClr val="black"/>
                </a:solidFill>
                <a:effectLst/>
                <a:uLnTx/>
                <a:uFillTx/>
                <a:latin typeface="Segoe UI Light"/>
                <a:ea typeface="Calibri" panose="020F0502020204030204" pitchFamily="34" charset="0"/>
                <a:cs typeface="Times New Roman" panose="02020603050405020304" pitchFamily="18" charset="0"/>
              </a:rPr>
              <a:t>Several </a:t>
            </a:r>
            <a:r>
              <a:rPr kumimoji="0" lang="pt-PT" sz="2400" b="1" i="0" u="none" strike="noStrike" kern="1200" cap="none" spc="0" normalizeH="0" baseline="0" noProof="0">
                <a:ln>
                  <a:noFill/>
                </a:ln>
                <a:solidFill>
                  <a:prstClr val="black"/>
                </a:solidFill>
                <a:effectLst/>
                <a:uLnTx/>
                <a:uFillTx/>
                <a:latin typeface="Segoe UI Light"/>
                <a:ea typeface="Calibri" panose="020F0502020204030204" pitchFamily="34" charset="0"/>
                <a:cs typeface="Times New Roman" panose="02020603050405020304" pitchFamily="18" charset="0"/>
              </a:rPr>
              <a:t>time intelligence</a:t>
            </a:r>
            <a:r>
              <a:rPr kumimoji="0" lang="pt-PT" sz="2400" b="0" i="0" u="none" strike="noStrike" kern="1200" cap="none" spc="0" normalizeH="0" baseline="0" noProof="0">
                <a:ln>
                  <a:noFill/>
                </a:ln>
                <a:solidFill>
                  <a:prstClr val="black"/>
                </a:solidFill>
                <a:effectLst/>
                <a:uLnTx/>
                <a:uFillTx/>
                <a:latin typeface="Segoe UI Light"/>
                <a:ea typeface="Calibri" panose="020F0502020204030204" pitchFamily="34" charset="0"/>
                <a:cs typeface="Times New Roman" panose="02020603050405020304" pitchFamily="18" charset="0"/>
              </a:rPr>
              <a:t> functions exist out of the box</a:t>
            </a: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pt-PT" sz="2400" b="0" i="0" u="none" strike="noStrike" kern="1200" cap="none" spc="0" normalizeH="0" baseline="0" noProof="0">
              <a:ln>
                <a:noFill/>
              </a:ln>
              <a:solidFill>
                <a:prstClr val="black"/>
              </a:solidFill>
              <a:effectLst/>
              <a:uLnTx/>
              <a:uFillTx/>
              <a:latin typeface="Segoe UI Light"/>
              <a:ea typeface="Calibri" panose="020F0502020204030204" pitchFamily="34" charset="0"/>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pt-PT" sz="2400" b="0" i="0" u="none" strike="noStrike" kern="1200" cap="none" spc="0" normalizeH="0" baseline="0" noProof="0">
              <a:ln>
                <a:noFill/>
              </a:ln>
              <a:solidFill>
                <a:prstClr val="black"/>
              </a:solidFill>
              <a:effectLst/>
              <a:uLnTx/>
              <a:uFillTx/>
              <a:latin typeface="Segoe UI Light"/>
              <a:ea typeface="Calibri" panose="020F0502020204030204" pitchFamily="34" charset="0"/>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r>
              <a:rPr kumimoji="0" lang="pt-PT" sz="2400" b="0" i="0" u="none" strike="noStrike" kern="1200" cap="none" spc="0" normalizeH="0" baseline="0" noProof="0">
                <a:ln>
                  <a:noFill/>
                </a:ln>
                <a:solidFill>
                  <a:prstClr val="black"/>
                </a:solidFill>
                <a:effectLst/>
                <a:uLnTx/>
                <a:uFillTx/>
                <a:latin typeface="Segoe UI Light"/>
                <a:ea typeface="Calibri" panose="020F0502020204030204" pitchFamily="34" charset="0"/>
                <a:cs typeface="Times New Roman" panose="02020603050405020304" pitchFamily="18" charset="0"/>
              </a:rPr>
              <a:t>Some </a:t>
            </a:r>
            <a:r>
              <a:rPr kumimoji="0" lang="pt-PT" sz="2400" b="1" i="0" u="none" strike="noStrike" kern="1200" cap="none" spc="0" normalizeH="0" baseline="0" noProof="0">
                <a:ln>
                  <a:noFill/>
                </a:ln>
                <a:solidFill>
                  <a:prstClr val="black"/>
                </a:solidFill>
                <a:effectLst/>
                <a:uLnTx/>
                <a:uFillTx/>
                <a:latin typeface="Segoe UI Light"/>
                <a:ea typeface="Calibri" panose="020F0502020204030204" pitchFamily="34" charset="0"/>
                <a:cs typeface="Times New Roman" panose="02020603050405020304" pitchFamily="18" charset="0"/>
              </a:rPr>
              <a:t>Excel functions </a:t>
            </a:r>
            <a:r>
              <a:rPr kumimoji="0" lang="pt-PT" sz="2400" b="0" i="0" u="none" strike="noStrike" kern="1200" cap="none" spc="0" normalizeH="0" baseline="0" noProof="0">
                <a:ln>
                  <a:noFill/>
                </a:ln>
                <a:solidFill>
                  <a:prstClr val="black"/>
                </a:solidFill>
                <a:effectLst/>
                <a:uLnTx/>
                <a:uFillTx/>
                <a:latin typeface="Segoe UI Light"/>
                <a:ea typeface="Calibri" panose="020F0502020204030204" pitchFamily="34" charset="0"/>
                <a:cs typeface="Times New Roman" panose="02020603050405020304" pitchFamily="18" charset="0"/>
              </a:rPr>
              <a:t>are also valid (like MONTH, FLOOR…)</a:t>
            </a: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pt-PT" sz="2400" b="0" i="0" u="none" strike="noStrike" kern="1200" cap="none" spc="0" normalizeH="0" baseline="0" noProof="0">
              <a:ln>
                <a:noFill/>
              </a:ln>
              <a:solidFill>
                <a:prstClr val="black"/>
              </a:solidFill>
              <a:effectLst/>
              <a:uLnTx/>
              <a:uFillTx/>
              <a:latin typeface="Segoe UI Light"/>
              <a:ea typeface="Calibri" panose="020F0502020204030204" pitchFamily="34" charset="0"/>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r>
              <a:rPr kumimoji="0" lang="pt-PT" sz="2400" b="1" i="0" u="none" strike="noStrike" kern="1200" cap="none" spc="0" normalizeH="0" baseline="0" noProof="0">
                <a:ln>
                  <a:noFill/>
                </a:ln>
                <a:solidFill>
                  <a:prstClr val="black"/>
                </a:solidFill>
                <a:effectLst/>
                <a:uLnTx/>
                <a:uFillTx/>
                <a:latin typeface="Segoe UI Light"/>
                <a:ea typeface="Calibri" panose="020F0502020204030204" pitchFamily="34" charset="0"/>
                <a:cs typeface="Times New Roman" panose="02020603050405020304" pitchFamily="18" charset="0"/>
              </a:rPr>
              <a:t>Full reference </a:t>
            </a:r>
            <a:r>
              <a:rPr kumimoji="0" lang="pt-PT" sz="2400" b="0" i="0" u="none" strike="noStrike" kern="1200" cap="none" spc="0" normalizeH="0" baseline="0" noProof="0">
                <a:ln>
                  <a:noFill/>
                </a:ln>
                <a:solidFill>
                  <a:prstClr val="black"/>
                </a:solidFill>
                <a:effectLst/>
                <a:uLnTx/>
                <a:uFillTx/>
                <a:latin typeface="Segoe UI Light"/>
                <a:ea typeface="Calibri" panose="020F0502020204030204" pitchFamily="34" charset="0"/>
                <a:cs typeface="Times New Roman" panose="02020603050405020304" pitchFamily="18" charset="0"/>
              </a:rPr>
              <a:t>of available functions here: </a:t>
            </a:r>
            <a:r>
              <a:rPr kumimoji="0" lang="pt-PT" sz="2400" b="0" i="0" u="none" strike="noStrike" kern="1200" cap="none" spc="0" normalizeH="0" baseline="0" noProof="0">
                <a:ln>
                  <a:noFill/>
                </a:ln>
                <a:solidFill>
                  <a:prstClr val="black"/>
                </a:solidFill>
                <a:effectLst/>
                <a:uLnTx/>
                <a:uFillTx/>
                <a:latin typeface="Segoe UI Light"/>
                <a:ea typeface="Calibri" panose="020F0502020204030204" pitchFamily="34" charset="0"/>
                <a:cs typeface="Times New Roman" panose="02020603050405020304" pitchFamily="18" charset="0"/>
                <a:hlinkClick r:id="rId3"/>
              </a:rPr>
              <a:t>https://msdn.microsoft.com/en-us/library/ee634396.aspx</a:t>
            </a:r>
            <a:r>
              <a:rPr kumimoji="0" lang="pt-PT" sz="2400" b="0" i="0" u="none" strike="noStrike" kern="1200" cap="none" spc="0" normalizeH="0" baseline="0" noProof="0">
                <a:ln>
                  <a:noFill/>
                </a:ln>
                <a:solidFill>
                  <a:prstClr val="black"/>
                </a:solidFill>
                <a:effectLst/>
                <a:uLnTx/>
                <a:uFillTx/>
                <a:latin typeface="Segoe UI Light"/>
                <a:ea typeface="Calibri" panose="020F0502020204030204" pitchFamily="34" charset="0"/>
                <a:cs typeface="Times New Roman" panose="02020603050405020304" pitchFamily="18" charset="0"/>
              </a:rPr>
              <a:t> </a:t>
            </a:r>
          </a:p>
        </p:txBody>
      </p:sp>
      <p:pic>
        <p:nvPicPr>
          <p:cNvPr id="2" name="Picture 1"/>
          <p:cNvPicPr>
            <a:picLocks noChangeAspect="1"/>
          </p:cNvPicPr>
          <p:nvPr/>
        </p:nvPicPr>
        <p:blipFill>
          <a:blip r:embed="rId4"/>
          <a:stretch>
            <a:fillRect/>
          </a:stretch>
        </p:blipFill>
        <p:spPr>
          <a:xfrm>
            <a:off x="3009204" y="3510502"/>
            <a:ext cx="9022651" cy="290227"/>
          </a:xfrm>
          <a:prstGeom prst="rect">
            <a:avLst/>
          </a:prstGeom>
        </p:spPr>
      </p:pic>
      <p:pic>
        <p:nvPicPr>
          <p:cNvPr id="3" name="Picture 2"/>
          <p:cNvPicPr>
            <a:picLocks noChangeAspect="1"/>
          </p:cNvPicPr>
          <p:nvPr/>
        </p:nvPicPr>
        <p:blipFill>
          <a:blip r:embed="rId5"/>
          <a:stretch>
            <a:fillRect/>
          </a:stretch>
        </p:blipFill>
        <p:spPr>
          <a:xfrm>
            <a:off x="3494831" y="4736908"/>
            <a:ext cx="7943850" cy="304800"/>
          </a:xfrm>
          <a:prstGeom prst="rect">
            <a:avLst/>
          </a:prstGeom>
        </p:spPr>
      </p:pic>
    </p:spTree>
    <p:extLst>
      <p:ext uri="{BB962C8B-B14F-4D97-AF65-F5344CB8AC3E}">
        <p14:creationId xmlns:p14="http://schemas.microsoft.com/office/powerpoint/2010/main" val="29864010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p:cNvGrpSpPr/>
          <p:nvPr/>
        </p:nvGrpSpPr>
        <p:grpSpPr>
          <a:xfrm>
            <a:off x="-11149" y="0"/>
            <a:ext cx="2849058" cy="6858000"/>
            <a:chOff x="2" y="1"/>
            <a:chExt cx="2849058" cy="6858000"/>
          </a:xfrm>
        </p:grpSpPr>
        <p:sp>
          <p:nvSpPr>
            <p:cNvPr id="70" name="Rectangle 69"/>
            <p:cNvSpPr/>
            <p:nvPr/>
          </p:nvSpPr>
          <p:spPr bwMode="auto">
            <a:xfrm>
              <a:off x="2" y="1"/>
              <a:ext cx="2849058"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5" name="Oval 70"/>
            <p:cNvSpPr/>
            <p:nvPr/>
          </p:nvSpPr>
          <p:spPr>
            <a:xfrm>
              <a:off x="1413521" y="4951537"/>
              <a:ext cx="1119626" cy="1119626"/>
            </a:xfrm>
            <a:prstGeom prst="ellipse">
              <a:avLst/>
            </a:prstGeom>
            <a:solidFill>
              <a:srgbClr val="F2C812"/>
            </a:solidFill>
            <a:ln w="3175" cap="flat" cmpd="sng" algn="ctr">
              <a:noFill/>
              <a:prstDash val="solid"/>
            </a:ln>
            <a:effectLst/>
          </p:spPr>
          <p:txBody>
            <a:bodyPr vert="horz" wrap="none" lIns="0" tIns="45720" rIns="0" bIns="0" rtlCol="0" anchor="t"/>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Segoe UI"/>
                  <a:ea typeface="Segoe UI" pitchFamily="34" charset="0"/>
                  <a:cs typeface="Segoe UI" pitchFamily="34" charset="0"/>
                </a:rPr>
                <a:t>Share &amp;</a:t>
              </a:r>
            </a:p>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Segoe UI"/>
                  <a:ea typeface="Segoe UI" pitchFamily="34" charset="0"/>
                  <a:cs typeface="Segoe UI" pitchFamily="34" charset="0"/>
                </a:rPr>
                <a:t>collaborate </a:t>
              </a:r>
            </a:p>
          </p:txBody>
        </p:sp>
        <p:grpSp>
          <p:nvGrpSpPr>
            <p:cNvPr id="66" name="Group 38"/>
            <p:cNvGrpSpPr>
              <a:grpSpLocks noChangeAspect="1"/>
            </p:cNvGrpSpPr>
            <p:nvPr/>
          </p:nvGrpSpPr>
          <p:grpSpPr>
            <a:xfrm>
              <a:off x="676996" y="3930692"/>
              <a:ext cx="383905" cy="351536"/>
              <a:chOff x="4363684" y="5330386"/>
              <a:chExt cx="1409956" cy="1291077"/>
            </a:xfrm>
            <a:solidFill>
              <a:srgbClr val="217346"/>
            </a:solidFill>
          </p:grpSpPr>
          <p:sp>
            <p:nvSpPr>
              <p:cNvPr id="67" name="Donut 3"/>
              <p:cNvSpPr/>
              <p:nvPr/>
            </p:nvSpPr>
            <p:spPr bwMode="auto">
              <a:xfrm>
                <a:off x="4363684" y="5330386"/>
                <a:ext cx="1409956" cy="1291077"/>
              </a:xfrm>
              <a:custGeom>
                <a:avLst/>
                <a:gdLst/>
                <a:ahLst/>
                <a:cxnLst/>
                <a:rect l="l" t="t" r="r" b="b"/>
                <a:pathLst>
                  <a:path w="1409956" h="1291077">
                    <a:moveTo>
                      <a:pt x="956401" y="78410"/>
                    </a:moveTo>
                    <a:cubicBezTo>
                      <a:pt x="747518" y="78410"/>
                      <a:pt x="578184" y="247744"/>
                      <a:pt x="578184" y="456627"/>
                    </a:cubicBezTo>
                    <a:cubicBezTo>
                      <a:pt x="578184" y="665510"/>
                      <a:pt x="747518" y="834844"/>
                      <a:pt x="956401" y="834844"/>
                    </a:cubicBezTo>
                    <a:cubicBezTo>
                      <a:pt x="1165284" y="834844"/>
                      <a:pt x="1334618" y="665510"/>
                      <a:pt x="1334618" y="456627"/>
                    </a:cubicBezTo>
                    <a:cubicBezTo>
                      <a:pt x="1334618" y="247744"/>
                      <a:pt x="1165284" y="78410"/>
                      <a:pt x="956401" y="78410"/>
                    </a:cubicBezTo>
                    <a:close/>
                    <a:moveTo>
                      <a:pt x="952756" y="0"/>
                    </a:moveTo>
                    <a:cubicBezTo>
                      <a:pt x="1205261" y="0"/>
                      <a:pt x="1409956" y="204695"/>
                      <a:pt x="1409956" y="457200"/>
                    </a:cubicBezTo>
                    <a:cubicBezTo>
                      <a:pt x="1409956" y="709705"/>
                      <a:pt x="1205261" y="914400"/>
                      <a:pt x="952756" y="914400"/>
                    </a:cubicBezTo>
                    <a:cubicBezTo>
                      <a:pt x="862133" y="914400"/>
                      <a:pt x="777669" y="888034"/>
                      <a:pt x="707132" y="841746"/>
                    </a:cubicBezTo>
                    <a:lnTo>
                      <a:pt x="136495" y="1280102"/>
                    </a:lnTo>
                    <a:cubicBezTo>
                      <a:pt x="21896" y="1327168"/>
                      <a:pt x="-44029" y="1213730"/>
                      <a:pt x="33797" y="1113182"/>
                    </a:cubicBezTo>
                    <a:lnTo>
                      <a:pt x="568587" y="703518"/>
                    </a:lnTo>
                    <a:cubicBezTo>
                      <a:pt x="522087" y="632814"/>
                      <a:pt x="495556" y="548105"/>
                      <a:pt x="495556" y="457200"/>
                    </a:cubicBezTo>
                    <a:cubicBezTo>
                      <a:pt x="495556" y="204695"/>
                      <a:pt x="700251" y="0"/>
                      <a:pt x="952756" y="0"/>
                    </a:cubicBezTo>
                    <a:close/>
                  </a:path>
                </a:pathLst>
              </a:custGeom>
              <a:grpFill/>
              <a:ln>
                <a:solidFill>
                  <a:srgbClr val="21734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sp>
            <p:nvSpPr>
              <p:cNvPr id="68" name="Rectangle 4"/>
              <p:cNvSpPr/>
              <p:nvPr/>
            </p:nvSpPr>
            <p:spPr>
              <a:xfrm>
                <a:off x="5058389" y="5528247"/>
                <a:ext cx="490885" cy="490020"/>
              </a:xfrm>
              <a:custGeom>
                <a:avLst/>
                <a:gdLst/>
                <a:ahLst/>
                <a:cxnLst/>
                <a:rect l="l" t="t" r="r" b="b"/>
                <a:pathLst>
                  <a:path w="490885" h="490020">
                    <a:moveTo>
                      <a:pt x="240752" y="0"/>
                    </a:moveTo>
                    <a:cubicBezTo>
                      <a:pt x="253961" y="11844"/>
                      <a:pt x="293310" y="49692"/>
                      <a:pt x="337332" y="92439"/>
                    </a:cubicBezTo>
                    <a:lnTo>
                      <a:pt x="328342" y="81259"/>
                    </a:lnTo>
                    <a:cubicBezTo>
                      <a:pt x="356946" y="111282"/>
                      <a:pt x="377251" y="107167"/>
                      <a:pt x="382515" y="87941"/>
                    </a:cubicBezTo>
                    <a:cubicBezTo>
                      <a:pt x="383951" y="76921"/>
                      <a:pt x="384595" y="68732"/>
                      <a:pt x="396997" y="52239"/>
                    </a:cubicBezTo>
                    <a:cubicBezTo>
                      <a:pt x="420362" y="32084"/>
                      <a:pt x="442294" y="41736"/>
                      <a:pt x="454920" y="51330"/>
                    </a:cubicBezTo>
                    <a:cubicBezTo>
                      <a:pt x="467834" y="62761"/>
                      <a:pt x="477920" y="86882"/>
                      <a:pt x="460392" y="109714"/>
                    </a:cubicBezTo>
                    <a:cubicBezTo>
                      <a:pt x="451128" y="121912"/>
                      <a:pt x="437554" y="126838"/>
                      <a:pt x="425922" y="126505"/>
                    </a:cubicBezTo>
                    <a:cubicBezTo>
                      <a:pt x="424301" y="127609"/>
                      <a:pt x="382890" y="134974"/>
                      <a:pt x="427348" y="177672"/>
                    </a:cubicBezTo>
                    <a:lnTo>
                      <a:pt x="416886" y="169735"/>
                    </a:lnTo>
                    <a:cubicBezTo>
                      <a:pt x="450207" y="202177"/>
                      <a:pt x="478424" y="229744"/>
                      <a:pt x="490885" y="241900"/>
                    </a:cubicBezTo>
                    <a:lnTo>
                      <a:pt x="417150" y="317347"/>
                    </a:lnTo>
                    <a:cubicBezTo>
                      <a:pt x="417744" y="316535"/>
                      <a:pt x="418443" y="316123"/>
                      <a:pt x="419047" y="315822"/>
                    </a:cubicBezTo>
                    <a:cubicBezTo>
                      <a:pt x="389023" y="344426"/>
                      <a:pt x="393138" y="364731"/>
                      <a:pt x="412364" y="369995"/>
                    </a:cubicBezTo>
                    <a:cubicBezTo>
                      <a:pt x="423384" y="371431"/>
                      <a:pt x="431574" y="372075"/>
                      <a:pt x="448067" y="384477"/>
                    </a:cubicBezTo>
                    <a:cubicBezTo>
                      <a:pt x="468221" y="407842"/>
                      <a:pt x="458569" y="429774"/>
                      <a:pt x="448975" y="442400"/>
                    </a:cubicBezTo>
                    <a:cubicBezTo>
                      <a:pt x="437545" y="455314"/>
                      <a:pt x="413423" y="465400"/>
                      <a:pt x="390591" y="447872"/>
                    </a:cubicBezTo>
                    <a:cubicBezTo>
                      <a:pt x="378394" y="438608"/>
                      <a:pt x="373468" y="425034"/>
                      <a:pt x="373800" y="413402"/>
                    </a:cubicBezTo>
                    <a:cubicBezTo>
                      <a:pt x="372696" y="411781"/>
                      <a:pt x="365332" y="370370"/>
                      <a:pt x="322634" y="414828"/>
                    </a:cubicBezTo>
                    <a:lnTo>
                      <a:pt x="325243" y="411388"/>
                    </a:lnTo>
                    <a:lnTo>
                      <a:pt x="248395" y="490020"/>
                    </a:lnTo>
                    <a:cubicBezTo>
                      <a:pt x="208939" y="451897"/>
                      <a:pt x="199129" y="442073"/>
                      <a:pt x="174192" y="418236"/>
                    </a:cubicBezTo>
                    <a:cubicBezTo>
                      <a:pt x="145587" y="388212"/>
                      <a:pt x="125282" y="392327"/>
                      <a:pt x="120018" y="411553"/>
                    </a:cubicBezTo>
                    <a:cubicBezTo>
                      <a:pt x="118582" y="422573"/>
                      <a:pt x="117938" y="430763"/>
                      <a:pt x="105536" y="447256"/>
                    </a:cubicBezTo>
                    <a:cubicBezTo>
                      <a:pt x="82171" y="467410"/>
                      <a:pt x="60239" y="457758"/>
                      <a:pt x="47614" y="448164"/>
                    </a:cubicBezTo>
                    <a:cubicBezTo>
                      <a:pt x="34699" y="436734"/>
                      <a:pt x="24614" y="412612"/>
                      <a:pt x="42141" y="389780"/>
                    </a:cubicBezTo>
                    <a:cubicBezTo>
                      <a:pt x="51405" y="377583"/>
                      <a:pt x="64979" y="372657"/>
                      <a:pt x="76612" y="372989"/>
                    </a:cubicBezTo>
                    <a:cubicBezTo>
                      <a:pt x="78232" y="371886"/>
                      <a:pt x="119644" y="364521"/>
                      <a:pt x="75186" y="321823"/>
                    </a:cubicBezTo>
                    <a:cubicBezTo>
                      <a:pt x="58767" y="305402"/>
                      <a:pt x="23648" y="271235"/>
                      <a:pt x="0" y="248738"/>
                    </a:cubicBezTo>
                    <a:lnTo>
                      <a:pt x="77303" y="168146"/>
                    </a:lnTo>
                    <a:cubicBezTo>
                      <a:pt x="104269" y="140313"/>
                      <a:pt x="122130" y="156409"/>
                      <a:pt x="124388" y="175543"/>
                    </a:cubicBezTo>
                    <a:cubicBezTo>
                      <a:pt x="124457" y="182466"/>
                      <a:pt x="127106" y="193106"/>
                      <a:pt x="137575" y="203052"/>
                    </a:cubicBezTo>
                    <a:cubicBezTo>
                      <a:pt x="153931" y="220277"/>
                      <a:pt x="181252" y="217451"/>
                      <a:pt x="196721" y="201951"/>
                    </a:cubicBezTo>
                    <a:cubicBezTo>
                      <a:pt x="211961" y="185740"/>
                      <a:pt x="213057" y="157882"/>
                      <a:pt x="196146" y="142797"/>
                    </a:cubicBezTo>
                    <a:cubicBezTo>
                      <a:pt x="184301" y="132637"/>
                      <a:pt x="177155" y="131453"/>
                      <a:pt x="166513" y="129894"/>
                    </a:cubicBezTo>
                    <a:cubicBezTo>
                      <a:pt x="154522" y="129013"/>
                      <a:pt x="131185" y="112953"/>
                      <a:pt x="157905" y="85228"/>
                    </a:cubicBezTo>
                    <a:close/>
                  </a:path>
                </a:pathLst>
              </a:custGeom>
              <a:grpFill/>
              <a:ln>
                <a:solidFill>
                  <a:srgbClr val="21734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grpSp>
        <p:sp>
          <p:nvSpPr>
            <p:cNvPr id="69" name="Oval 47"/>
            <p:cNvSpPr/>
            <p:nvPr/>
          </p:nvSpPr>
          <p:spPr>
            <a:xfrm>
              <a:off x="388608" y="3710471"/>
              <a:ext cx="1119626" cy="1119626"/>
            </a:xfrm>
            <a:prstGeom prst="ellipse">
              <a:avLst/>
            </a:prstGeom>
            <a:solidFill>
              <a:srgbClr val="F2C812"/>
            </a:solidFill>
            <a:ln w="3175" cap="flat" cmpd="sng" algn="ctr">
              <a:noFill/>
              <a:prstDash val="solid"/>
            </a:ln>
            <a:effectLst/>
          </p:spPr>
          <p:txBody>
            <a:bodyPr vert="horz" wrap="none" lIns="0" tIns="45720" rIns="0" bIns="0" rtlCol="0" anchor="t"/>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Segoe UI"/>
                  <a:ea typeface="Segoe UI" pitchFamily="34" charset="0"/>
                  <a:cs typeface="Segoe UI" pitchFamily="34" charset="0"/>
                </a:rPr>
                <a:t>Report</a:t>
              </a:r>
            </a:p>
          </p:txBody>
        </p:sp>
        <p:sp>
          <p:nvSpPr>
            <p:cNvPr id="85" name="Oval 950"/>
            <p:cNvSpPr/>
            <p:nvPr/>
          </p:nvSpPr>
          <p:spPr>
            <a:xfrm>
              <a:off x="388608" y="1252295"/>
              <a:ext cx="1119626" cy="1119626"/>
            </a:xfrm>
            <a:prstGeom prst="ellipse">
              <a:avLst/>
            </a:prstGeom>
            <a:solidFill>
              <a:srgbClr val="F2C812"/>
            </a:solidFill>
            <a:ln w="3175" cap="flat" cmpd="sng" algn="ctr">
              <a:noFill/>
              <a:prstDash val="solid"/>
            </a:ln>
            <a:effectLst/>
          </p:spPr>
          <p:txBody>
            <a:bodyPr vert="horz" wrap="none" lIns="0" tIns="45720" rIns="0" bIns="0" rtlCol="0" anchor="t"/>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1" i="0" u="none" strike="noStrike" kern="1200" cap="none" spc="0" normalizeH="0" baseline="0" noProof="0">
                <a:ln>
                  <a:noFill/>
                </a:ln>
                <a:solidFill>
                  <a:srgbClr val="217346"/>
                </a:solidFill>
                <a:effectLst/>
                <a:uLnTx/>
                <a:uFillTx/>
                <a:latin typeface="Segoe UI"/>
                <a:ea typeface="Segoe UI" pitchFamily="34" charset="0"/>
                <a:cs typeface="Segoe UI" pitchFamily="34" charset="0"/>
              </a:endParaRPr>
            </a:p>
          </p:txBody>
        </p:sp>
        <p:grpSp>
          <p:nvGrpSpPr>
            <p:cNvPr id="86" name="Group 85"/>
            <p:cNvGrpSpPr/>
            <p:nvPr/>
          </p:nvGrpSpPr>
          <p:grpSpPr>
            <a:xfrm>
              <a:off x="1264851" y="3482890"/>
              <a:ext cx="292254" cy="354906"/>
              <a:chOff x="1296521" y="3253388"/>
              <a:chExt cx="292254" cy="354906"/>
            </a:xfrm>
            <a:solidFill>
              <a:srgbClr val="F2C812"/>
            </a:solidFill>
          </p:grpSpPr>
          <p:sp>
            <p:nvSpPr>
              <p:cNvPr id="87" name="Isosceles Triangle 86"/>
              <p:cNvSpPr/>
              <p:nvPr/>
            </p:nvSpPr>
            <p:spPr bwMode="auto">
              <a:xfrm rot="13636515">
                <a:off x="1461362" y="328936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8" name="Isosceles Triangle 87"/>
              <p:cNvSpPr/>
              <p:nvPr/>
            </p:nvSpPr>
            <p:spPr bwMode="auto">
              <a:xfrm rot="13636515">
                <a:off x="1357669" y="338258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9" name="Isosceles Triangle 88"/>
              <p:cNvSpPr/>
              <p:nvPr/>
            </p:nvSpPr>
            <p:spPr bwMode="auto">
              <a:xfrm rot="13636515">
                <a:off x="1260548" y="3480882"/>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90" name="Group 89"/>
            <p:cNvGrpSpPr/>
            <p:nvPr/>
          </p:nvGrpSpPr>
          <p:grpSpPr>
            <a:xfrm rot="15940603">
              <a:off x="1334576" y="2204404"/>
              <a:ext cx="292254" cy="354906"/>
              <a:chOff x="1296521" y="3253388"/>
              <a:chExt cx="292254" cy="354906"/>
            </a:xfrm>
            <a:solidFill>
              <a:srgbClr val="F2C812"/>
            </a:solidFill>
          </p:grpSpPr>
          <p:sp>
            <p:nvSpPr>
              <p:cNvPr id="91" name="Isosceles Triangle 90"/>
              <p:cNvSpPr/>
              <p:nvPr/>
            </p:nvSpPr>
            <p:spPr bwMode="auto">
              <a:xfrm rot="13636515">
                <a:off x="1461362" y="328936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2" name="Isosceles Triangle 91"/>
              <p:cNvSpPr/>
              <p:nvPr/>
            </p:nvSpPr>
            <p:spPr bwMode="auto">
              <a:xfrm rot="13636515">
                <a:off x="1357669" y="338258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3" name="Isosceles Triangle 92"/>
              <p:cNvSpPr/>
              <p:nvPr/>
            </p:nvSpPr>
            <p:spPr bwMode="auto">
              <a:xfrm rot="13636515">
                <a:off x="1260548" y="3480882"/>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94" name="Group 93"/>
            <p:cNvGrpSpPr/>
            <p:nvPr/>
          </p:nvGrpSpPr>
          <p:grpSpPr>
            <a:xfrm rot="16043978">
              <a:off x="1317220" y="4717577"/>
              <a:ext cx="292254" cy="354906"/>
              <a:chOff x="1296521" y="3253388"/>
              <a:chExt cx="292254" cy="354906"/>
            </a:xfrm>
            <a:solidFill>
              <a:srgbClr val="F2C812"/>
            </a:solidFill>
          </p:grpSpPr>
          <p:sp>
            <p:nvSpPr>
              <p:cNvPr id="95" name="Isosceles Triangle 94"/>
              <p:cNvSpPr/>
              <p:nvPr/>
            </p:nvSpPr>
            <p:spPr bwMode="auto">
              <a:xfrm rot="13636515">
                <a:off x="1461362" y="328936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6" name="Isosceles Triangle 95"/>
              <p:cNvSpPr/>
              <p:nvPr/>
            </p:nvSpPr>
            <p:spPr bwMode="auto">
              <a:xfrm rot="13636515">
                <a:off x="1357669" y="338258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7" name="Isosceles Triangle 96"/>
              <p:cNvSpPr/>
              <p:nvPr/>
            </p:nvSpPr>
            <p:spPr bwMode="auto">
              <a:xfrm rot="13636515">
                <a:off x="1260548" y="3480882"/>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98" name="Oval 36"/>
            <p:cNvSpPr/>
            <p:nvPr/>
          </p:nvSpPr>
          <p:spPr>
            <a:xfrm>
              <a:off x="1413521" y="2481383"/>
              <a:ext cx="1119626" cy="1119626"/>
            </a:xfrm>
            <a:prstGeom prst="ellipse">
              <a:avLst/>
            </a:prstGeom>
            <a:solidFill>
              <a:srgbClr val="F2C812"/>
            </a:solidFill>
            <a:ln w="3175" cap="flat" cmpd="sng" algn="ctr">
              <a:noFill/>
              <a:prstDash val="solid"/>
            </a:ln>
            <a:effectLst/>
          </p:spPr>
          <p:txBody>
            <a:bodyPr vert="horz" wrap="none" lIns="0" tIns="0" rIns="0" bIns="0" rtlCol="0" anchor="t"/>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400" b="1" i="0" u="none" strike="noStrike" kern="1200" cap="none" spc="0" normalizeH="0" baseline="0" noProof="0">
                <a:ln>
                  <a:noFill/>
                </a:ln>
                <a:solidFill>
                  <a:srgbClr val="217346"/>
                </a:solidFill>
                <a:effectLst/>
                <a:uLnTx/>
                <a:uFillTx/>
                <a:latin typeface="Segoe UI"/>
                <a:ea typeface="Segoe UI" pitchFamily="34" charset="0"/>
                <a:cs typeface="Segoe UI" pitchFamily="34" charset="0"/>
              </a:endParaRPr>
            </a:p>
          </p:txBody>
        </p:sp>
        <p:sp>
          <p:nvSpPr>
            <p:cNvPr id="99" name="Donut 3"/>
            <p:cNvSpPr/>
            <p:nvPr/>
          </p:nvSpPr>
          <p:spPr bwMode="auto">
            <a:xfrm>
              <a:off x="1742065" y="3002355"/>
              <a:ext cx="383905" cy="351537"/>
            </a:xfrm>
            <a:custGeom>
              <a:avLst/>
              <a:gdLst/>
              <a:ahLst/>
              <a:cxnLst/>
              <a:rect l="l" t="t" r="r" b="b"/>
              <a:pathLst>
                <a:path w="1409956" h="1291077">
                  <a:moveTo>
                    <a:pt x="956401" y="78410"/>
                  </a:moveTo>
                  <a:cubicBezTo>
                    <a:pt x="747518" y="78410"/>
                    <a:pt x="578184" y="247744"/>
                    <a:pt x="578184" y="456627"/>
                  </a:cubicBezTo>
                  <a:cubicBezTo>
                    <a:pt x="578184" y="665510"/>
                    <a:pt x="747518" y="834844"/>
                    <a:pt x="956401" y="834844"/>
                  </a:cubicBezTo>
                  <a:cubicBezTo>
                    <a:pt x="1165284" y="834844"/>
                    <a:pt x="1334618" y="665510"/>
                    <a:pt x="1334618" y="456627"/>
                  </a:cubicBezTo>
                  <a:cubicBezTo>
                    <a:pt x="1334618" y="247744"/>
                    <a:pt x="1165284" y="78410"/>
                    <a:pt x="956401" y="78410"/>
                  </a:cubicBezTo>
                  <a:close/>
                  <a:moveTo>
                    <a:pt x="952756" y="0"/>
                  </a:moveTo>
                  <a:cubicBezTo>
                    <a:pt x="1205261" y="0"/>
                    <a:pt x="1409956" y="204695"/>
                    <a:pt x="1409956" y="457200"/>
                  </a:cubicBezTo>
                  <a:cubicBezTo>
                    <a:pt x="1409956" y="709705"/>
                    <a:pt x="1205261" y="914400"/>
                    <a:pt x="952756" y="914400"/>
                  </a:cubicBezTo>
                  <a:cubicBezTo>
                    <a:pt x="862133" y="914400"/>
                    <a:pt x="777669" y="888034"/>
                    <a:pt x="707132" y="841746"/>
                  </a:cubicBezTo>
                  <a:lnTo>
                    <a:pt x="136495" y="1280102"/>
                  </a:lnTo>
                  <a:cubicBezTo>
                    <a:pt x="21896" y="1327168"/>
                    <a:pt x="-44029" y="1213730"/>
                    <a:pt x="33797" y="1113182"/>
                  </a:cubicBezTo>
                  <a:lnTo>
                    <a:pt x="568587" y="703518"/>
                  </a:lnTo>
                  <a:cubicBezTo>
                    <a:pt x="522087" y="632814"/>
                    <a:pt x="495556" y="548105"/>
                    <a:pt x="495556" y="457200"/>
                  </a:cubicBezTo>
                  <a:cubicBezTo>
                    <a:pt x="495556" y="204695"/>
                    <a:pt x="700251" y="0"/>
                    <a:pt x="952756" y="0"/>
                  </a:cubicBezTo>
                  <a:close/>
                </a:path>
              </a:pathLst>
            </a:cu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ysClr val="windowText" lastClr="000000"/>
                </a:solidFill>
                <a:effectLst/>
                <a:uLnTx/>
                <a:uFillTx/>
                <a:latin typeface="Segoe UI"/>
                <a:ea typeface="+mn-ea"/>
                <a:cs typeface="+mn-cs"/>
              </a:endParaRPr>
            </a:p>
          </p:txBody>
        </p:sp>
        <p:sp>
          <p:nvSpPr>
            <p:cNvPr id="100" name="Rectangle 99"/>
            <p:cNvSpPr/>
            <p:nvPr/>
          </p:nvSpPr>
          <p:spPr>
            <a:xfrm>
              <a:off x="1600398" y="2677430"/>
              <a:ext cx="820353" cy="307777"/>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Segoe UI"/>
                  <a:ea typeface="Segoe UI" pitchFamily="34" charset="0"/>
                  <a:cs typeface="Segoe UI" pitchFamily="34" charset="0"/>
                </a:rPr>
                <a:t>Explore</a:t>
              </a:r>
              <a:endParaRPr kumimoji="0" lang="en-US" sz="1600" b="0" i="0" u="none" strike="noStrike" kern="1200" cap="none" spc="0" normalizeH="0" baseline="0" noProof="0">
                <a:ln>
                  <a:noFill/>
                </a:ln>
                <a:solidFill>
                  <a:prstClr val="black"/>
                </a:solidFill>
                <a:effectLst/>
                <a:uLnTx/>
                <a:uFillTx/>
                <a:latin typeface="Segoe UI"/>
                <a:ea typeface="+mn-ea"/>
                <a:cs typeface="+mn-cs"/>
              </a:endParaRPr>
            </a:p>
          </p:txBody>
        </p:sp>
        <p:sp>
          <p:nvSpPr>
            <p:cNvPr id="101" name="Rectangle 100"/>
            <p:cNvSpPr/>
            <p:nvPr/>
          </p:nvSpPr>
          <p:spPr>
            <a:xfrm>
              <a:off x="509174" y="1475232"/>
              <a:ext cx="838756" cy="307777"/>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Segoe UI"/>
                  <a:ea typeface="Segoe UI" pitchFamily="34" charset="0"/>
                  <a:cs typeface="Segoe UI" pitchFamily="34" charset="0"/>
                </a:rPr>
                <a:t>Prepare</a:t>
              </a:r>
              <a:endParaRPr kumimoji="0" lang="en-US" sz="1400" b="0" i="0" u="none" strike="noStrike" kern="1200" cap="none" spc="0" normalizeH="0" baseline="0" noProof="0">
                <a:ln>
                  <a:noFill/>
                </a:ln>
                <a:solidFill>
                  <a:prstClr val="black"/>
                </a:solidFill>
                <a:effectLst/>
                <a:uLnTx/>
                <a:uFillTx/>
                <a:latin typeface="Segoe UI"/>
                <a:ea typeface="+mn-ea"/>
                <a:cs typeface="+mn-cs"/>
              </a:endParaRPr>
            </a:p>
          </p:txBody>
        </p:sp>
        <p:sp>
          <p:nvSpPr>
            <p:cNvPr id="102" name="Freeform 101"/>
            <p:cNvSpPr>
              <a:spLocks noChangeAspect="1"/>
            </p:cNvSpPr>
            <p:nvPr/>
          </p:nvSpPr>
          <p:spPr bwMode="black">
            <a:xfrm>
              <a:off x="1836174" y="5643069"/>
              <a:ext cx="274320" cy="284173"/>
            </a:xfrm>
            <a:custGeom>
              <a:avLst/>
              <a:gdLst>
                <a:gd name="T0" fmla="*/ 539 w 669"/>
                <a:gd name="T1" fmla="*/ 5 h 693"/>
                <a:gd name="T2" fmla="*/ 640 w 669"/>
                <a:gd name="T3" fmla="*/ 55 h 693"/>
                <a:gd name="T4" fmla="*/ 603 w 669"/>
                <a:gd name="T5" fmla="*/ 195 h 693"/>
                <a:gd name="T6" fmla="*/ 490 w 669"/>
                <a:gd name="T7" fmla="*/ 188 h 693"/>
                <a:gd name="T8" fmla="*/ 479 w 669"/>
                <a:gd name="T9" fmla="*/ 176 h 693"/>
                <a:gd name="T10" fmla="*/ 213 w 669"/>
                <a:gd name="T11" fmla="*/ 330 h 693"/>
                <a:gd name="T12" fmla="*/ 218 w 669"/>
                <a:gd name="T13" fmla="*/ 345 h 693"/>
                <a:gd name="T14" fmla="*/ 218 w 669"/>
                <a:gd name="T15" fmla="*/ 375 h 693"/>
                <a:gd name="T16" fmla="*/ 209 w 669"/>
                <a:gd name="T17" fmla="*/ 402 h 693"/>
                <a:gd name="T18" fmla="*/ 369 w 669"/>
                <a:gd name="T19" fmla="*/ 503 h 693"/>
                <a:gd name="T20" fmla="*/ 373 w 669"/>
                <a:gd name="T21" fmla="*/ 498 h 693"/>
                <a:gd name="T22" fmla="*/ 456 w 669"/>
                <a:gd name="T23" fmla="*/ 475 h 693"/>
                <a:gd name="T24" fmla="*/ 494 w 669"/>
                <a:gd name="T25" fmla="*/ 489 h 693"/>
                <a:gd name="T26" fmla="*/ 527 w 669"/>
                <a:gd name="T27" fmla="*/ 630 h 693"/>
                <a:gd name="T28" fmla="*/ 386 w 669"/>
                <a:gd name="T29" fmla="*/ 663 h 693"/>
                <a:gd name="T30" fmla="*/ 339 w 669"/>
                <a:gd name="T31" fmla="*/ 560 h 693"/>
                <a:gd name="T32" fmla="*/ 345 w 669"/>
                <a:gd name="T33" fmla="*/ 544 h 693"/>
                <a:gd name="T34" fmla="*/ 177 w 669"/>
                <a:gd name="T35" fmla="*/ 439 h 693"/>
                <a:gd name="T36" fmla="*/ 168 w 669"/>
                <a:gd name="T37" fmla="*/ 446 h 693"/>
                <a:gd name="T38" fmla="*/ 28 w 669"/>
                <a:gd name="T39" fmla="*/ 409 h 693"/>
                <a:gd name="T40" fmla="*/ 65 w 669"/>
                <a:gd name="T41" fmla="*/ 269 h 693"/>
                <a:gd name="T42" fmla="*/ 178 w 669"/>
                <a:gd name="T43" fmla="*/ 276 h 693"/>
                <a:gd name="T44" fmla="*/ 189 w 669"/>
                <a:gd name="T45" fmla="*/ 288 h 693"/>
                <a:gd name="T46" fmla="*/ 455 w 669"/>
                <a:gd name="T47" fmla="*/ 134 h 693"/>
                <a:gd name="T48" fmla="*/ 450 w 669"/>
                <a:gd name="T49" fmla="*/ 119 h 693"/>
                <a:gd name="T50" fmla="*/ 501 w 669"/>
                <a:gd name="T51" fmla="*/ 18 h 693"/>
                <a:gd name="T52" fmla="*/ 539 w 669"/>
                <a:gd name="T53" fmla="*/ 5 h 6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69" h="693">
                  <a:moveTo>
                    <a:pt x="539" y="5"/>
                  </a:moveTo>
                  <a:cubicBezTo>
                    <a:pt x="579" y="0"/>
                    <a:pt x="619" y="19"/>
                    <a:pt x="640" y="55"/>
                  </a:cubicBezTo>
                  <a:cubicBezTo>
                    <a:pt x="669" y="104"/>
                    <a:pt x="652" y="167"/>
                    <a:pt x="603" y="195"/>
                  </a:cubicBezTo>
                  <a:cubicBezTo>
                    <a:pt x="566" y="216"/>
                    <a:pt x="522" y="212"/>
                    <a:pt x="490" y="188"/>
                  </a:cubicBezTo>
                  <a:cubicBezTo>
                    <a:pt x="479" y="176"/>
                    <a:pt x="479" y="176"/>
                    <a:pt x="479" y="176"/>
                  </a:cubicBezTo>
                  <a:cubicBezTo>
                    <a:pt x="213" y="330"/>
                    <a:pt x="213" y="330"/>
                    <a:pt x="213" y="330"/>
                  </a:cubicBezTo>
                  <a:cubicBezTo>
                    <a:pt x="218" y="345"/>
                    <a:pt x="218" y="345"/>
                    <a:pt x="218" y="345"/>
                  </a:cubicBezTo>
                  <a:cubicBezTo>
                    <a:pt x="219" y="355"/>
                    <a:pt x="219" y="365"/>
                    <a:pt x="218" y="375"/>
                  </a:cubicBezTo>
                  <a:cubicBezTo>
                    <a:pt x="209" y="402"/>
                    <a:pt x="209" y="402"/>
                    <a:pt x="209" y="402"/>
                  </a:cubicBezTo>
                  <a:cubicBezTo>
                    <a:pt x="369" y="503"/>
                    <a:pt x="369" y="503"/>
                    <a:pt x="369" y="503"/>
                  </a:cubicBezTo>
                  <a:cubicBezTo>
                    <a:pt x="373" y="498"/>
                    <a:pt x="373" y="498"/>
                    <a:pt x="373" y="498"/>
                  </a:cubicBezTo>
                  <a:cubicBezTo>
                    <a:pt x="396" y="479"/>
                    <a:pt x="427" y="470"/>
                    <a:pt x="456" y="475"/>
                  </a:cubicBezTo>
                  <a:cubicBezTo>
                    <a:pt x="470" y="477"/>
                    <a:pt x="482" y="482"/>
                    <a:pt x="494" y="489"/>
                  </a:cubicBezTo>
                  <a:cubicBezTo>
                    <a:pt x="542" y="519"/>
                    <a:pt x="557" y="583"/>
                    <a:pt x="527" y="630"/>
                  </a:cubicBezTo>
                  <a:cubicBezTo>
                    <a:pt x="497" y="678"/>
                    <a:pt x="433" y="693"/>
                    <a:pt x="386" y="663"/>
                  </a:cubicBezTo>
                  <a:cubicBezTo>
                    <a:pt x="350" y="640"/>
                    <a:pt x="333" y="599"/>
                    <a:pt x="339" y="560"/>
                  </a:cubicBezTo>
                  <a:cubicBezTo>
                    <a:pt x="345" y="544"/>
                    <a:pt x="345" y="544"/>
                    <a:pt x="345" y="544"/>
                  </a:cubicBezTo>
                  <a:cubicBezTo>
                    <a:pt x="177" y="439"/>
                    <a:pt x="177" y="439"/>
                    <a:pt x="177" y="439"/>
                  </a:cubicBezTo>
                  <a:cubicBezTo>
                    <a:pt x="168" y="446"/>
                    <a:pt x="168" y="446"/>
                    <a:pt x="168" y="446"/>
                  </a:cubicBezTo>
                  <a:cubicBezTo>
                    <a:pt x="119" y="475"/>
                    <a:pt x="56" y="458"/>
                    <a:pt x="28" y="409"/>
                  </a:cubicBezTo>
                  <a:cubicBezTo>
                    <a:pt x="0" y="360"/>
                    <a:pt x="16" y="297"/>
                    <a:pt x="65" y="269"/>
                  </a:cubicBezTo>
                  <a:cubicBezTo>
                    <a:pt x="102" y="248"/>
                    <a:pt x="147" y="252"/>
                    <a:pt x="178" y="276"/>
                  </a:cubicBezTo>
                  <a:cubicBezTo>
                    <a:pt x="189" y="288"/>
                    <a:pt x="189" y="288"/>
                    <a:pt x="189" y="288"/>
                  </a:cubicBezTo>
                  <a:cubicBezTo>
                    <a:pt x="455" y="134"/>
                    <a:pt x="455" y="134"/>
                    <a:pt x="455" y="134"/>
                  </a:cubicBezTo>
                  <a:cubicBezTo>
                    <a:pt x="450" y="119"/>
                    <a:pt x="450" y="119"/>
                    <a:pt x="450" y="119"/>
                  </a:cubicBezTo>
                  <a:cubicBezTo>
                    <a:pt x="445" y="80"/>
                    <a:pt x="464" y="39"/>
                    <a:pt x="501" y="18"/>
                  </a:cubicBezTo>
                  <a:cubicBezTo>
                    <a:pt x="513" y="11"/>
                    <a:pt x="526" y="6"/>
                    <a:pt x="539" y="5"/>
                  </a:cubicBezTo>
                  <a:close/>
                </a:path>
              </a:pathLst>
            </a:custGeom>
            <a:solidFill>
              <a:schemeClr val="tx1"/>
            </a:solidFill>
            <a:ln>
              <a:noFill/>
            </a:ln>
          </p:spPr>
          <p:txBody>
            <a:bodyPr vert="horz" wrap="square" lIns="68574" tIns="34287" rIns="68574" bIns="34287"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Segoe UI"/>
                <a:ea typeface="+mn-ea"/>
                <a:cs typeface="+mn-cs"/>
              </a:endParaRPr>
            </a:p>
          </p:txBody>
        </p:sp>
        <p:sp>
          <p:nvSpPr>
            <p:cNvPr id="103" name="Freeform 102"/>
            <p:cNvSpPr>
              <a:spLocks noChangeAspect="1" noEditPoints="1"/>
            </p:cNvSpPr>
            <p:nvPr/>
          </p:nvSpPr>
          <p:spPr bwMode="black">
            <a:xfrm>
              <a:off x="722320" y="1783009"/>
              <a:ext cx="452202" cy="366660"/>
            </a:xfrm>
            <a:custGeom>
              <a:avLst/>
              <a:gdLst>
                <a:gd name="T0" fmla="*/ 600 w 1107"/>
                <a:gd name="T1" fmla="*/ 625 h 897"/>
                <a:gd name="T2" fmla="*/ 649 w 1107"/>
                <a:gd name="T3" fmla="*/ 567 h 897"/>
                <a:gd name="T4" fmla="*/ 727 w 1107"/>
                <a:gd name="T5" fmla="*/ 482 h 897"/>
                <a:gd name="T6" fmla="*/ 601 w 1107"/>
                <a:gd name="T7" fmla="*/ 434 h 897"/>
                <a:gd name="T8" fmla="*/ 628 w 1107"/>
                <a:gd name="T9" fmla="*/ 305 h 897"/>
                <a:gd name="T10" fmla="*/ 547 w 1107"/>
                <a:gd name="T11" fmla="*/ 240 h 897"/>
                <a:gd name="T12" fmla="*/ 427 w 1107"/>
                <a:gd name="T13" fmla="*/ 287 h 897"/>
                <a:gd name="T14" fmla="*/ 368 w 1107"/>
                <a:gd name="T15" fmla="*/ 170 h 897"/>
                <a:gd name="T16" fmla="*/ 285 w 1107"/>
                <a:gd name="T17" fmla="*/ 263 h 897"/>
                <a:gd name="T18" fmla="*/ 241 w 1107"/>
                <a:gd name="T19" fmla="*/ 313 h 897"/>
                <a:gd name="T20" fmla="*/ 139 w 1107"/>
                <a:gd name="T21" fmla="*/ 281 h 897"/>
                <a:gd name="T22" fmla="*/ 79 w 1107"/>
                <a:gd name="T23" fmla="*/ 355 h 897"/>
                <a:gd name="T24" fmla="*/ 132 w 1107"/>
                <a:gd name="T25" fmla="*/ 446 h 897"/>
                <a:gd name="T26" fmla="*/ 83 w 1107"/>
                <a:gd name="T27" fmla="*/ 505 h 897"/>
                <a:gd name="T28" fmla="*/ 5 w 1107"/>
                <a:gd name="T29" fmla="*/ 590 h 897"/>
                <a:gd name="T30" fmla="*/ 132 w 1107"/>
                <a:gd name="T31" fmla="*/ 638 h 897"/>
                <a:gd name="T32" fmla="*/ 145 w 1107"/>
                <a:gd name="T33" fmla="*/ 669 h 897"/>
                <a:gd name="T34" fmla="*/ 110 w 1107"/>
                <a:gd name="T35" fmla="*/ 793 h 897"/>
                <a:gd name="T36" fmla="*/ 230 w 1107"/>
                <a:gd name="T37" fmla="*/ 781 h 897"/>
                <a:gd name="T38" fmla="*/ 306 w 1107"/>
                <a:gd name="T39" fmla="*/ 785 h 897"/>
                <a:gd name="T40" fmla="*/ 346 w 1107"/>
                <a:gd name="T41" fmla="*/ 878 h 897"/>
                <a:gd name="T42" fmla="*/ 440 w 1107"/>
                <a:gd name="T43" fmla="*/ 872 h 897"/>
                <a:gd name="T44" fmla="*/ 466 w 1107"/>
                <a:gd name="T45" fmla="*/ 764 h 897"/>
                <a:gd name="T46" fmla="*/ 539 w 1107"/>
                <a:gd name="T47" fmla="*/ 755 h 897"/>
                <a:gd name="T48" fmla="*/ 659 w 1107"/>
                <a:gd name="T49" fmla="*/ 743 h 897"/>
                <a:gd name="T50" fmla="*/ 263 w 1107"/>
                <a:gd name="T51" fmla="*/ 452 h 897"/>
                <a:gd name="T52" fmla="*/ 281 w 1107"/>
                <a:gd name="T53" fmla="*/ 633 h 897"/>
                <a:gd name="T54" fmla="*/ 1002 w 1107"/>
                <a:gd name="T55" fmla="*/ 332 h 897"/>
                <a:gd name="T56" fmla="*/ 1043 w 1107"/>
                <a:gd name="T57" fmla="*/ 304 h 897"/>
                <a:gd name="T58" fmla="*/ 1107 w 1107"/>
                <a:gd name="T59" fmla="*/ 266 h 897"/>
                <a:gd name="T60" fmla="*/ 1037 w 1107"/>
                <a:gd name="T61" fmla="*/ 213 h 897"/>
                <a:gd name="T62" fmla="*/ 1077 w 1107"/>
                <a:gd name="T63" fmla="*/ 138 h 897"/>
                <a:gd name="T64" fmla="*/ 1038 w 1107"/>
                <a:gd name="T65" fmla="*/ 83 h 897"/>
                <a:gd name="T66" fmla="*/ 956 w 1107"/>
                <a:gd name="T67" fmla="*/ 91 h 897"/>
                <a:gd name="T68" fmla="*/ 940 w 1107"/>
                <a:gd name="T69" fmla="*/ 7 h 897"/>
                <a:gd name="T70" fmla="*/ 872 w 1107"/>
                <a:gd name="T71" fmla="*/ 50 h 897"/>
                <a:gd name="T72" fmla="*/ 836 w 1107"/>
                <a:gd name="T73" fmla="*/ 74 h 897"/>
                <a:gd name="T74" fmla="*/ 778 w 1107"/>
                <a:gd name="T75" fmla="*/ 35 h 897"/>
                <a:gd name="T76" fmla="*/ 728 w 1107"/>
                <a:gd name="T77" fmla="*/ 70 h 897"/>
                <a:gd name="T78" fmla="*/ 744 w 1107"/>
                <a:gd name="T79" fmla="*/ 136 h 897"/>
                <a:gd name="T80" fmla="*/ 703 w 1107"/>
                <a:gd name="T81" fmla="*/ 164 h 897"/>
                <a:gd name="T82" fmla="*/ 640 w 1107"/>
                <a:gd name="T83" fmla="*/ 203 h 897"/>
                <a:gd name="T84" fmla="*/ 710 w 1107"/>
                <a:gd name="T85" fmla="*/ 255 h 897"/>
                <a:gd name="T86" fmla="*/ 712 w 1107"/>
                <a:gd name="T87" fmla="*/ 277 h 897"/>
                <a:gd name="T88" fmla="*/ 668 w 1107"/>
                <a:gd name="T89" fmla="*/ 347 h 897"/>
                <a:gd name="T90" fmla="*/ 745 w 1107"/>
                <a:gd name="T91" fmla="*/ 361 h 897"/>
                <a:gd name="T92" fmla="*/ 791 w 1107"/>
                <a:gd name="T93" fmla="*/ 377 h 897"/>
                <a:gd name="T94" fmla="*/ 799 w 1107"/>
                <a:gd name="T95" fmla="*/ 443 h 897"/>
                <a:gd name="T96" fmla="*/ 859 w 1107"/>
                <a:gd name="T97" fmla="*/ 456 h 897"/>
                <a:gd name="T98" fmla="*/ 894 w 1107"/>
                <a:gd name="T99" fmla="*/ 393 h 897"/>
                <a:gd name="T100" fmla="*/ 941 w 1107"/>
                <a:gd name="T101" fmla="*/ 401 h 897"/>
                <a:gd name="T102" fmla="*/ 1018 w 1107"/>
                <a:gd name="T103" fmla="*/ 415 h 897"/>
                <a:gd name="T104" fmla="*/ 825 w 1107"/>
                <a:gd name="T105" fmla="*/ 164 h 897"/>
                <a:gd name="T106" fmla="*/ 803 w 1107"/>
                <a:gd name="T107" fmla="*/ 279 h 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107" h="897">
                  <a:moveTo>
                    <a:pt x="654" y="716"/>
                  </a:moveTo>
                  <a:cubicBezTo>
                    <a:pt x="616" y="670"/>
                    <a:pt x="616" y="670"/>
                    <a:pt x="616" y="670"/>
                  </a:cubicBezTo>
                  <a:cubicBezTo>
                    <a:pt x="593" y="654"/>
                    <a:pt x="603" y="638"/>
                    <a:pt x="600" y="625"/>
                  </a:cubicBezTo>
                  <a:cubicBezTo>
                    <a:pt x="600" y="625"/>
                    <a:pt x="600" y="625"/>
                    <a:pt x="600" y="625"/>
                  </a:cubicBezTo>
                  <a:cubicBezTo>
                    <a:pt x="605" y="617"/>
                    <a:pt x="611" y="609"/>
                    <a:pt x="608" y="596"/>
                  </a:cubicBezTo>
                  <a:cubicBezTo>
                    <a:pt x="618" y="580"/>
                    <a:pt x="623" y="572"/>
                    <a:pt x="649" y="567"/>
                  </a:cubicBezTo>
                  <a:cubicBezTo>
                    <a:pt x="715" y="553"/>
                    <a:pt x="715" y="553"/>
                    <a:pt x="715" y="553"/>
                  </a:cubicBezTo>
                  <a:cubicBezTo>
                    <a:pt x="728" y="550"/>
                    <a:pt x="733" y="542"/>
                    <a:pt x="730" y="529"/>
                  </a:cubicBezTo>
                  <a:cubicBezTo>
                    <a:pt x="727" y="482"/>
                    <a:pt x="727" y="482"/>
                    <a:pt x="727" y="482"/>
                  </a:cubicBezTo>
                  <a:cubicBezTo>
                    <a:pt x="724" y="469"/>
                    <a:pt x="717" y="463"/>
                    <a:pt x="701" y="453"/>
                  </a:cubicBezTo>
                  <a:cubicBezTo>
                    <a:pt x="641" y="459"/>
                    <a:pt x="641" y="459"/>
                    <a:pt x="641" y="459"/>
                  </a:cubicBezTo>
                  <a:cubicBezTo>
                    <a:pt x="620" y="457"/>
                    <a:pt x="604" y="447"/>
                    <a:pt x="601" y="434"/>
                  </a:cubicBezTo>
                  <a:cubicBezTo>
                    <a:pt x="598" y="421"/>
                    <a:pt x="590" y="416"/>
                    <a:pt x="580" y="397"/>
                  </a:cubicBezTo>
                  <a:cubicBezTo>
                    <a:pt x="577" y="384"/>
                    <a:pt x="574" y="371"/>
                    <a:pt x="584" y="355"/>
                  </a:cubicBezTo>
                  <a:cubicBezTo>
                    <a:pt x="628" y="305"/>
                    <a:pt x="628" y="305"/>
                    <a:pt x="628" y="305"/>
                  </a:cubicBezTo>
                  <a:cubicBezTo>
                    <a:pt x="634" y="297"/>
                    <a:pt x="631" y="284"/>
                    <a:pt x="623" y="279"/>
                  </a:cubicBezTo>
                  <a:cubicBezTo>
                    <a:pt x="581" y="240"/>
                    <a:pt x="581" y="240"/>
                    <a:pt x="581" y="240"/>
                  </a:cubicBezTo>
                  <a:cubicBezTo>
                    <a:pt x="573" y="235"/>
                    <a:pt x="560" y="238"/>
                    <a:pt x="547" y="240"/>
                  </a:cubicBezTo>
                  <a:cubicBezTo>
                    <a:pt x="503" y="291"/>
                    <a:pt x="503" y="291"/>
                    <a:pt x="503" y="291"/>
                  </a:cubicBezTo>
                  <a:cubicBezTo>
                    <a:pt x="484" y="302"/>
                    <a:pt x="471" y="304"/>
                    <a:pt x="463" y="299"/>
                  </a:cubicBezTo>
                  <a:cubicBezTo>
                    <a:pt x="456" y="294"/>
                    <a:pt x="435" y="292"/>
                    <a:pt x="427" y="287"/>
                  </a:cubicBezTo>
                  <a:cubicBezTo>
                    <a:pt x="419" y="282"/>
                    <a:pt x="403" y="271"/>
                    <a:pt x="400" y="258"/>
                  </a:cubicBezTo>
                  <a:cubicBezTo>
                    <a:pt x="386" y="193"/>
                    <a:pt x="386" y="193"/>
                    <a:pt x="386" y="193"/>
                  </a:cubicBezTo>
                  <a:cubicBezTo>
                    <a:pt x="384" y="180"/>
                    <a:pt x="368" y="170"/>
                    <a:pt x="368" y="170"/>
                  </a:cubicBezTo>
                  <a:cubicBezTo>
                    <a:pt x="308" y="176"/>
                    <a:pt x="308" y="176"/>
                    <a:pt x="308" y="176"/>
                  </a:cubicBezTo>
                  <a:cubicBezTo>
                    <a:pt x="308" y="176"/>
                    <a:pt x="289" y="187"/>
                    <a:pt x="292" y="200"/>
                  </a:cubicBezTo>
                  <a:cubicBezTo>
                    <a:pt x="285" y="263"/>
                    <a:pt x="285" y="263"/>
                    <a:pt x="285" y="263"/>
                  </a:cubicBezTo>
                  <a:cubicBezTo>
                    <a:pt x="291" y="289"/>
                    <a:pt x="277" y="292"/>
                    <a:pt x="272" y="300"/>
                  </a:cubicBezTo>
                  <a:cubicBezTo>
                    <a:pt x="272" y="300"/>
                    <a:pt x="272" y="300"/>
                    <a:pt x="267" y="308"/>
                  </a:cubicBezTo>
                  <a:cubicBezTo>
                    <a:pt x="259" y="302"/>
                    <a:pt x="246" y="305"/>
                    <a:pt x="241" y="313"/>
                  </a:cubicBezTo>
                  <a:cubicBezTo>
                    <a:pt x="236" y="321"/>
                    <a:pt x="236" y="321"/>
                    <a:pt x="236" y="321"/>
                  </a:cubicBezTo>
                  <a:cubicBezTo>
                    <a:pt x="223" y="324"/>
                    <a:pt x="210" y="327"/>
                    <a:pt x="194" y="317"/>
                  </a:cubicBezTo>
                  <a:cubicBezTo>
                    <a:pt x="139" y="281"/>
                    <a:pt x="139" y="281"/>
                    <a:pt x="139" y="281"/>
                  </a:cubicBezTo>
                  <a:cubicBezTo>
                    <a:pt x="131" y="276"/>
                    <a:pt x="110" y="273"/>
                    <a:pt x="104" y="281"/>
                  </a:cubicBezTo>
                  <a:cubicBezTo>
                    <a:pt x="79" y="321"/>
                    <a:pt x="79" y="321"/>
                    <a:pt x="79" y="321"/>
                  </a:cubicBezTo>
                  <a:cubicBezTo>
                    <a:pt x="66" y="324"/>
                    <a:pt x="68" y="337"/>
                    <a:pt x="79" y="355"/>
                  </a:cubicBezTo>
                  <a:cubicBezTo>
                    <a:pt x="121" y="394"/>
                    <a:pt x="121" y="394"/>
                    <a:pt x="121" y="394"/>
                  </a:cubicBezTo>
                  <a:cubicBezTo>
                    <a:pt x="140" y="417"/>
                    <a:pt x="135" y="425"/>
                    <a:pt x="132" y="446"/>
                  </a:cubicBezTo>
                  <a:cubicBezTo>
                    <a:pt x="132" y="446"/>
                    <a:pt x="132" y="446"/>
                    <a:pt x="132" y="446"/>
                  </a:cubicBezTo>
                  <a:cubicBezTo>
                    <a:pt x="127" y="454"/>
                    <a:pt x="122" y="462"/>
                    <a:pt x="117" y="470"/>
                  </a:cubicBezTo>
                  <a:cubicBezTo>
                    <a:pt x="117" y="470"/>
                    <a:pt x="117" y="470"/>
                    <a:pt x="117" y="470"/>
                  </a:cubicBezTo>
                  <a:cubicBezTo>
                    <a:pt x="120" y="483"/>
                    <a:pt x="109" y="499"/>
                    <a:pt x="83" y="505"/>
                  </a:cubicBezTo>
                  <a:cubicBezTo>
                    <a:pt x="23" y="511"/>
                    <a:pt x="23" y="511"/>
                    <a:pt x="23" y="511"/>
                  </a:cubicBezTo>
                  <a:cubicBezTo>
                    <a:pt x="10" y="514"/>
                    <a:pt x="0" y="529"/>
                    <a:pt x="2" y="543"/>
                  </a:cubicBezTo>
                  <a:cubicBezTo>
                    <a:pt x="5" y="590"/>
                    <a:pt x="5" y="590"/>
                    <a:pt x="5" y="590"/>
                  </a:cubicBezTo>
                  <a:cubicBezTo>
                    <a:pt x="8" y="603"/>
                    <a:pt x="16" y="608"/>
                    <a:pt x="37" y="610"/>
                  </a:cubicBezTo>
                  <a:cubicBezTo>
                    <a:pt x="92" y="612"/>
                    <a:pt x="92" y="612"/>
                    <a:pt x="92" y="612"/>
                  </a:cubicBezTo>
                  <a:cubicBezTo>
                    <a:pt x="113" y="614"/>
                    <a:pt x="129" y="625"/>
                    <a:pt x="132" y="638"/>
                  </a:cubicBezTo>
                  <a:cubicBezTo>
                    <a:pt x="132" y="638"/>
                    <a:pt x="132" y="638"/>
                    <a:pt x="132" y="638"/>
                  </a:cubicBezTo>
                  <a:cubicBezTo>
                    <a:pt x="140" y="643"/>
                    <a:pt x="142" y="656"/>
                    <a:pt x="150" y="661"/>
                  </a:cubicBezTo>
                  <a:cubicBezTo>
                    <a:pt x="145" y="669"/>
                    <a:pt x="145" y="669"/>
                    <a:pt x="145" y="669"/>
                  </a:cubicBezTo>
                  <a:cubicBezTo>
                    <a:pt x="153" y="674"/>
                    <a:pt x="156" y="687"/>
                    <a:pt x="140" y="711"/>
                  </a:cubicBezTo>
                  <a:cubicBezTo>
                    <a:pt x="109" y="759"/>
                    <a:pt x="109" y="759"/>
                    <a:pt x="109" y="759"/>
                  </a:cubicBezTo>
                  <a:cubicBezTo>
                    <a:pt x="99" y="775"/>
                    <a:pt x="102" y="788"/>
                    <a:pt x="110" y="793"/>
                  </a:cubicBezTo>
                  <a:cubicBezTo>
                    <a:pt x="152" y="832"/>
                    <a:pt x="152" y="832"/>
                    <a:pt x="152" y="832"/>
                  </a:cubicBezTo>
                  <a:cubicBezTo>
                    <a:pt x="160" y="837"/>
                    <a:pt x="173" y="834"/>
                    <a:pt x="178" y="826"/>
                  </a:cubicBezTo>
                  <a:cubicBezTo>
                    <a:pt x="230" y="781"/>
                    <a:pt x="230" y="781"/>
                    <a:pt x="230" y="781"/>
                  </a:cubicBezTo>
                  <a:cubicBezTo>
                    <a:pt x="248" y="770"/>
                    <a:pt x="261" y="767"/>
                    <a:pt x="269" y="772"/>
                  </a:cubicBezTo>
                  <a:cubicBezTo>
                    <a:pt x="269" y="772"/>
                    <a:pt x="269" y="772"/>
                    <a:pt x="269" y="772"/>
                  </a:cubicBezTo>
                  <a:cubicBezTo>
                    <a:pt x="282" y="769"/>
                    <a:pt x="298" y="779"/>
                    <a:pt x="306" y="785"/>
                  </a:cubicBezTo>
                  <a:cubicBezTo>
                    <a:pt x="306" y="785"/>
                    <a:pt x="306" y="785"/>
                    <a:pt x="306" y="785"/>
                  </a:cubicBezTo>
                  <a:cubicBezTo>
                    <a:pt x="319" y="782"/>
                    <a:pt x="327" y="787"/>
                    <a:pt x="332" y="813"/>
                  </a:cubicBezTo>
                  <a:cubicBezTo>
                    <a:pt x="346" y="878"/>
                    <a:pt x="346" y="878"/>
                    <a:pt x="346" y="878"/>
                  </a:cubicBezTo>
                  <a:cubicBezTo>
                    <a:pt x="349" y="892"/>
                    <a:pt x="357" y="897"/>
                    <a:pt x="370" y="894"/>
                  </a:cubicBezTo>
                  <a:cubicBezTo>
                    <a:pt x="425" y="896"/>
                    <a:pt x="425" y="896"/>
                    <a:pt x="425" y="896"/>
                  </a:cubicBezTo>
                  <a:cubicBezTo>
                    <a:pt x="430" y="888"/>
                    <a:pt x="443" y="885"/>
                    <a:pt x="440" y="872"/>
                  </a:cubicBezTo>
                  <a:cubicBezTo>
                    <a:pt x="440" y="804"/>
                    <a:pt x="440" y="804"/>
                    <a:pt x="440" y="804"/>
                  </a:cubicBezTo>
                  <a:cubicBezTo>
                    <a:pt x="442" y="783"/>
                    <a:pt x="460" y="772"/>
                    <a:pt x="466" y="764"/>
                  </a:cubicBezTo>
                  <a:cubicBezTo>
                    <a:pt x="466" y="764"/>
                    <a:pt x="466" y="764"/>
                    <a:pt x="466" y="764"/>
                  </a:cubicBezTo>
                  <a:cubicBezTo>
                    <a:pt x="479" y="761"/>
                    <a:pt x="492" y="758"/>
                    <a:pt x="497" y="750"/>
                  </a:cubicBezTo>
                  <a:cubicBezTo>
                    <a:pt x="497" y="750"/>
                    <a:pt x="497" y="750"/>
                    <a:pt x="497" y="750"/>
                  </a:cubicBezTo>
                  <a:cubicBezTo>
                    <a:pt x="510" y="747"/>
                    <a:pt x="523" y="745"/>
                    <a:pt x="539" y="755"/>
                  </a:cubicBezTo>
                  <a:cubicBezTo>
                    <a:pt x="594" y="791"/>
                    <a:pt x="594" y="791"/>
                    <a:pt x="594" y="791"/>
                  </a:cubicBezTo>
                  <a:cubicBezTo>
                    <a:pt x="602" y="796"/>
                    <a:pt x="623" y="798"/>
                    <a:pt x="628" y="790"/>
                  </a:cubicBezTo>
                  <a:cubicBezTo>
                    <a:pt x="659" y="743"/>
                    <a:pt x="659" y="743"/>
                    <a:pt x="659" y="743"/>
                  </a:cubicBezTo>
                  <a:cubicBezTo>
                    <a:pt x="659" y="743"/>
                    <a:pt x="669" y="727"/>
                    <a:pt x="654" y="716"/>
                  </a:cubicBezTo>
                  <a:close/>
                  <a:moveTo>
                    <a:pt x="281" y="633"/>
                  </a:moveTo>
                  <a:cubicBezTo>
                    <a:pt x="223" y="584"/>
                    <a:pt x="219" y="502"/>
                    <a:pt x="263" y="452"/>
                  </a:cubicBezTo>
                  <a:cubicBezTo>
                    <a:pt x="313" y="393"/>
                    <a:pt x="399" y="382"/>
                    <a:pt x="457" y="431"/>
                  </a:cubicBezTo>
                  <a:cubicBezTo>
                    <a:pt x="507" y="475"/>
                    <a:pt x="518" y="561"/>
                    <a:pt x="469" y="619"/>
                  </a:cubicBezTo>
                  <a:cubicBezTo>
                    <a:pt x="420" y="678"/>
                    <a:pt x="339" y="682"/>
                    <a:pt x="281" y="633"/>
                  </a:cubicBezTo>
                  <a:close/>
                  <a:moveTo>
                    <a:pt x="1019" y="398"/>
                  </a:moveTo>
                  <a:cubicBezTo>
                    <a:pt x="1004" y="362"/>
                    <a:pt x="1004" y="362"/>
                    <a:pt x="1004" y="362"/>
                  </a:cubicBezTo>
                  <a:cubicBezTo>
                    <a:pt x="992" y="348"/>
                    <a:pt x="1002" y="340"/>
                    <a:pt x="1002" y="332"/>
                  </a:cubicBezTo>
                  <a:cubicBezTo>
                    <a:pt x="1002" y="332"/>
                    <a:pt x="1002" y="332"/>
                    <a:pt x="1002" y="332"/>
                  </a:cubicBezTo>
                  <a:cubicBezTo>
                    <a:pt x="1007" y="328"/>
                    <a:pt x="1011" y="324"/>
                    <a:pt x="1012" y="315"/>
                  </a:cubicBezTo>
                  <a:cubicBezTo>
                    <a:pt x="1021" y="307"/>
                    <a:pt x="1026" y="303"/>
                    <a:pt x="1043" y="304"/>
                  </a:cubicBezTo>
                  <a:cubicBezTo>
                    <a:pt x="1086" y="307"/>
                    <a:pt x="1086" y="307"/>
                    <a:pt x="1086" y="307"/>
                  </a:cubicBezTo>
                  <a:cubicBezTo>
                    <a:pt x="1095" y="308"/>
                    <a:pt x="1099" y="304"/>
                    <a:pt x="1100" y="295"/>
                  </a:cubicBezTo>
                  <a:cubicBezTo>
                    <a:pt x="1107" y="266"/>
                    <a:pt x="1107" y="266"/>
                    <a:pt x="1107" y="266"/>
                  </a:cubicBezTo>
                  <a:cubicBezTo>
                    <a:pt x="1107" y="257"/>
                    <a:pt x="1103" y="252"/>
                    <a:pt x="1095" y="243"/>
                  </a:cubicBezTo>
                  <a:cubicBezTo>
                    <a:pt x="1057" y="236"/>
                    <a:pt x="1057" y="236"/>
                    <a:pt x="1057" y="236"/>
                  </a:cubicBezTo>
                  <a:cubicBezTo>
                    <a:pt x="1044" y="231"/>
                    <a:pt x="1036" y="222"/>
                    <a:pt x="1037" y="213"/>
                  </a:cubicBezTo>
                  <a:cubicBezTo>
                    <a:pt x="1038" y="205"/>
                    <a:pt x="1034" y="200"/>
                    <a:pt x="1030" y="187"/>
                  </a:cubicBezTo>
                  <a:cubicBezTo>
                    <a:pt x="1031" y="178"/>
                    <a:pt x="1032" y="170"/>
                    <a:pt x="1041" y="162"/>
                  </a:cubicBezTo>
                  <a:cubicBezTo>
                    <a:pt x="1077" y="138"/>
                    <a:pt x="1077" y="138"/>
                    <a:pt x="1077" y="138"/>
                  </a:cubicBezTo>
                  <a:cubicBezTo>
                    <a:pt x="1082" y="134"/>
                    <a:pt x="1083" y="126"/>
                    <a:pt x="1079" y="121"/>
                  </a:cubicBezTo>
                  <a:cubicBezTo>
                    <a:pt x="1059" y="89"/>
                    <a:pt x="1059" y="89"/>
                    <a:pt x="1059" y="89"/>
                  </a:cubicBezTo>
                  <a:cubicBezTo>
                    <a:pt x="1055" y="85"/>
                    <a:pt x="1047" y="84"/>
                    <a:pt x="1038" y="83"/>
                  </a:cubicBezTo>
                  <a:cubicBezTo>
                    <a:pt x="1002" y="107"/>
                    <a:pt x="1002" y="107"/>
                    <a:pt x="1002" y="107"/>
                  </a:cubicBezTo>
                  <a:cubicBezTo>
                    <a:pt x="989" y="110"/>
                    <a:pt x="980" y="110"/>
                    <a:pt x="976" y="105"/>
                  </a:cubicBezTo>
                  <a:cubicBezTo>
                    <a:pt x="972" y="100"/>
                    <a:pt x="960" y="95"/>
                    <a:pt x="956" y="91"/>
                  </a:cubicBezTo>
                  <a:cubicBezTo>
                    <a:pt x="952" y="86"/>
                    <a:pt x="944" y="77"/>
                    <a:pt x="944" y="68"/>
                  </a:cubicBezTo>
                  <a:cubicBezTo>
                    <a:pt x="948" y="25"/>
                    <a:pt x="948" y="25"/>
                    <a:pt x="948" y="25"/>
                  </a:cubicBezTo>
                  <a:cubicBezTo>
                    <a:pt x="948" y="17"/>
                    <a:pt x="940" y="7"/>
                    <a:pt x="940" y="7"/>
                  </a:cubicBezTo>
                  <a:cubicBezTo>
                    <a:pt x="902" y="0"/>
                    <a:pt x="902" y="0"/>
                    <a:pt x="902" y="0"/>
                  </a:cubicBezTo>
                  <a:cubicBezTo>
                    <a:pt x="902" y="0"/>
                    <a:pt x="889" y="4"/>
                    <a:pt x="888" y="12"/>
                  </a:cubicBezTo>
                  <a:cubicBezTo>
                    <a:pt x="872" y="50"/>
                    <a:pt x="872" y="50"/>
                    <a:pt x="872" y="50"/>
                  </a:cubicBezTo>
                  <a:cubicBezTo>
                    <a:pt x="871" y="67"/>
                    <a:pt x="862" y="67"/>
                    <a:pt x="858" y="71"/>
                  </a:cubicBezTo>
                  <a:cubicBezTo>
                    <a:pt x="858" y="71"/>
                    <a:pt x="858" y="71"/>
                    <a:pt x="853" y="75"/>
                  </a:cubicBezTo>
                  <a:cubicBezTo>
                    <a:pt x="849" y="70"/>
                    <a:pt x="840" y="70"/>
                    <a:pt x="836" y="74"/>
                  </a:cubicBezTo>
                  <a:cubicBezTo>
                    <a:pt x="831" y="78"/>
                    <a:pt x="831" y="78"/>
                    <a:pt x="831" y="78"/>
                  </a:cubicBezTo>
                  <a:cubicBezTo>
                    <a:pt x="822" y="77"/>
                    <a:pt x="814" y="76"/>
                    <a:pt x="806" y="67"/>
                  </a:cubicBezTo>
                  <a:cubicBezTo>
                    <a:pt x="778" y="35"/>
                    <a:pt x="778" y="35"/>
                    <a:pt x="778" y="35"/>
                  </a:cubicBezTo>
                  <a:cubicBezTo>
                    <a:pt x="774" y="30"/>
                    <a:pt x="762" y="25"/>
                    <a:pt x="757" y="29"/>
                  </a:cubicBezTo>
                  <a:cubicBezTo>
                    <a:pt x="734" y="49"/>
                    <a:pt x="734" y="49"/>
                    <a:pt x="734" y="49"/>
                  </a:cubicBezTo>
                  <a:cubicBezTo>
                    <a:pt x="725" y="49"/>
                    <a:pt x="725" y="57"/>
                    <a:pt x="728" y="70"/>
                  </a:cubicBezTo>
                  <a:cubicBezTo>
                    <a:pt x="747" y="102"/>
                    <a:pt x="747" y="102"/>
                    <a:pt x="747" y="102"/>
                  </a:cubicBezTo>
                  <a:cubicBezTo>
                    <a:pt x="754" y="120"/>
                    <a:pt x="750" y="124"/>
                    <a:pt x="744" y="136"/>
                  </a:cubicBezTo>
                  <a:cubicBezTo>
                    <a:pt x="744" y="136"/>
                    <a:pt x="744" y="136"/>
                    <a:pt x="744" y="136"/>
                  </a:cubicBezTo>
                  <a:cubicBezTo>
                    <a:pt x="740" y="140"/>
                    <a:pt x="735" y="144"/>
                    <a:pt x="731" y="148"/>
                  </a:cubicBezTo>
                  <a:cubicBezTo>
                    <a:pt x="731" y="148"/>
                    <a:pt x="731" y="148"/>
                    <a:pt x="731" y="148"/>
                  </a:cubicBezTo>
                  <a:cubicBezTo>
                    <a:pt x="730" y="157"/>
                    <a:pt x="721" y="165"/>
                    <a:pt x="703" y="164"/>
                  </a:cubicBezTo>
                  <a:cubicBezTo>
                    <a:pt x="665" y="157"/>
                    <a:pt x="665" y="157"/>
                    <a:pt x="665" y="157"/>
                  </a:cubicBezTo>
                  <a:cubicBezTo>
                    <a:pt x="656" y="156"/>
                    <a:pt x="647" y="164"/>
                    <a:pt x="647" y="173"/>
                  </a:cubicBezTo>
                  <a:cubicBezTo>
                    <a:pt x="640" y="203"/>
                    <a:pt x="640" y="203"/>
                    <a:pt x="640" y="203"/>
                  </a:cubicBezTo>
                  <a:cubicBezTo>
                    <a:pt x="639" y="211"/>
                    <a:pt x="643" y="216"/>
                    <a:pt x="656" y="221"/>
                  </a:cubicBezTo>
                  <a:cubicBezTo>
                    <a:pt x="690" y="232"/>
                    <a:pt x="690" y="232"/>
                    <a:pt x="690" y="232"/>
                  </a:cubicBezTo>
                  <a:cubicBezTo>
                    <a:pt x="702" y="237"/>
                    <a:pt x="710" y="246"/>
                    <a:pt x="710" y="255"/>
                  </a:cubicBezTo>
                  <a:cubicBezTo>
                    <a:pt x="710" y="255"/>
                    <a:pt x="710" y="255"/>
                    <a:pt x="710" y="255"/>
                  </a:cubicBezTo>
                  <a:cubicBezTo>
                    <a:pt x="714" y="260"/>
                    <a:pt x="713" y="268"/>
                    <a:pt x="717" y="273"/>
                  </a:cubicBezTo>
                  <a:cubicBezTo>
                    <a:pt x="712" y="277"/>
                    <a:pt x="712" y="277"/>
                    <a:pt x="712" y="277"/>
                  </a:cubicBezTo>
                  <a:cubicBezTo>
                    <a:pt x="716" y="281"/>
                    <a:pt x="716" y="290"/>
                    <a:pt x="702" y="302"/>
                  </a:cubicBezTo>
                  <a:cubicBezTo>
                    <a:pt x="674" y="326"/>
                    <a:pt x="674" y="326"/>
                    <a:pt x="674" y="326"/>
                  </a:cubicBezTo>
                  <a:cubicBezTo>
                    <a:pt x="665" y="334"/>
                    <a:pt x="664" y="343"/>
                    <a:pt x="668" y="347"/>
                  </a:cubicBezTo>
                  <a:cubicBezTo>
                    <a:pt x="687" y="379"/>
                    <a:pt x="687" y="379"/>
                    <a:pt x="687" y="379"/>
                  </a:cubicBezTo>
                  <a:cubicBezTo>
                    <a:pt x="691" y="383"/>
                    <a:pt x="700" y="384"/>
                    <a:pt x="704" y="380"/>
                  </a:cubicBezTo>
                  <a:cubicBezTo>
                    <a:pt x="745" y="361"/>
                    <a:pt x="745" y="361"/>
                    <a:pt x="745" y="361"/>
                  </a:cubicBezTo>
                  <a:cubicBezTo>
                    <a:pt x="758" y="358"/>
                    <a:pt x="767" y="358"/>
                    <a:pt x="771" y="363"/>
                  </a:cubicBezTo>
                  <a:cubicBezTo>
                    <a:pt x="771" y="363"/>
                    <a:pt x="771" y="363"/>
                    <a:pt x="771" y="363"/>
                  </a:cubicBezTo>
                  <a:cubicBezTo>
                    <a:pt x="779" y="364"/>
                    <a:pt x="787" y="373"/>
                    <a:pt x="791" y="377"/>
                  </a:cubicBezTo>
                  <a:cubicBezTo>
                    <a:pt x="791" y="377"/>
                    <a:pt x="791" y="377"/>
                    <a:pt x="791" y="377"/>
                  </a:cubicBezTo>
                  <a:cubicBezTo>
                    <a:pt x="800" y="378"/>
                    <a:pt x="804" y="383"/>
                    <a:pt x="802" y="400"/>
                  </a:cubicBezTo>
                  <a:cubicBezTo>
                    <a:pt x="799" y="443"/>
                    <a:pt x="799" y="443"/>
                    <a:pt x="799" y="443"/>
                  </a:cubicBezTo>
                  <a:cubicBezTo>
                    <a:pt x="798" y="451"/>
                    <a:pt x="802" y="456"/>
                    <a:pt x="811" y="457"/>
                  </a:cubicBezTo>
                  <a:cubicBezTo>
                    <a:pt x="845" y="468"/>
                    <a:pt x="845" y="468"/>
                    <a:pt x="845" y="468"/>
                  </a:cubicBezTo>
                  <a:cubicBezTo>
                    <a:pt x="849" y="464"/>
                    <a:pt x="858" y="464"/>
                    <a:pt x="859" y="456"/>
                  </a:cubicBezTo>
                  <a:cubicBezTo>
                    <a:pt x="871" y="413"/>
                    <a:pt x="871" y="413"/>
                    <a:pt x="871" y="413"/>
                  </a:cubicBezTo>
                  <a:cubicBezTo>
                    <a:pt x="876" y="401"/>
                    <a:pt x="889" y="397"/>
                    <a:pt x="894" y="393"/>
                  </a:cubicBezTo>
                  <a:cubicBezTo>
                    <a:pt x="894" y="393"/>
                    <a:pt x="894" y="393"/>
                    <a:pt x="894" y="393"/>
                  </a:cubicBezTo>
                  <a:cubicBezTo>
                    <a:pt x="902" y="394"/>
                    <a:pt x="911" y="395"/>
                    <a:pt x="916" y="391"/>
                  </a:cubicBezTo>
                  <a:cubicBezTo>
                    <a:pt x="916" y="391"/>
                    <a:pt x="916" y="391"/>
                    <a:pt x="916" y="391"/>
                  </a:cubicBezTo>
                  <a:cubicBezTo>
                    <a:pt x="924" y="391"/>
                    <a:pt x="933" y="392"/>
                    <a:pt x="941" y="401"/>
                  </a:cubicBezTo>
                  <a:cubicBezTo>
                    <a:pt x="969" y="433"/>
                    <a:pt x="969" y="433"/>
                    <a:pt x="969" y="433"/>
                  </a:cubicBezTo>
                  <a:cubicBezTo>
                    <a:pt x="973" y="438"/>
                    <a:pt x="985" y="443"/>
                    <a:pt x="990" y="439"/>
                  </a:cubicBezTo>
                  <a:cubicBezTo>
                    <a:pt x="1018" y="415"/>
                    <a:pt x="1018" y="415"/>
                    <a:pt x="1018" y="415"/>
                  </a:cubicBezTo>
                  <a:cubicBezTo>
                    <a:pt x="1018" y="415"/>
                    <a:pt x="1027" y="407"/>
                    <a:pt x="1019" y="398"/>
                  </a:cubicBezTo>
                  <a:close/>
                  <a:moveTo>
                    <a:pt x="803" y="279"/>
                  </a:moveTo>
                  <a:cubicBezTo>
                    <a:pt x="776" y="238"/>
                    <a:pt x="788" y="187"/>
                    <a:pt x="825" y="164"/>
                  </a:cubicBezTo>
                  <a:cubicBezTo>
                    <a:pt x="866" y="136"/>
                    <a:pt x="921" y="144"/>
                    <a:pt x="948" y="185"/>
                  </a:cubicBezTo>
                  <a:cubicBezTo>
                    <a:pt x="972" y="221"/>
                    <a:pt x="963" y="277"/>
                    <a:pt x="922" y="304"/>
                  </a:cubicBezTo>
                  <a:cubicBezTo>
                    <a:pt x="881" y="332"/>
                    <a:pt x="830" y="320"/>
                    <a:pt x="803" y="279"/>
                  </a:cubicBezTo>
                  <a:close/>
                </a:path>
              </a:pathLst>
            </a:custGeom>
            <a:solidFill>
              <a:schemeClr val="tx1"/>
            </a:solidFill>
            <a:ln>
              <a:noFill/>
            </a:ln>
          </p:spPr>
          <p:txBody>
            <a:bodyPr vert="horz" wrap="square" lIns="68574" tIns="34287" rIns="68574" bIns="34287"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17346"/>
                </a:solidFill>
                <a:effectLst/>
                <a:uLnTx/>
                <a:uFillTx/>
                <a:latin typeface="Segoe UI"/>
                <a:ea typeface="+mn-ea"/>
                <a:cs typeface="+mn-cs"/>
              </a:endParaRPr>
            </a:p>
          </p:txBody>
        </p:sp>
        <p:sp>
          <p:nvSpPr>
            <p:cNvPr id="104" name="Freeform 103"/>
            <p:cNvSpPr>
              <a:spLocks noChangeAspect="1"/>
            </p:cNvSpPr>
            <p:nvPr/>
          </p:nvSpPr>
          <p:spPr bwMode="black">
            <a:xfrm>
              <a:off x="776985" y="4213905"/>
              <a:ext cx="342871" cy="335728"/>
            </a:xfrm>
            <a:custGeom>
              <a:avLst/>
              <a:gdLst>
                <a:gd name="connsiteX0" fmla="*/ 3713863 w 4893730"/>
                <a:gd name="connsiteY0" fmla="*/ 2130808 h 4791777"/>
                <a:gd name="connsiteX1" fmla="*/ 4426142 w 4893730"/>
                <a:gd name="connsiteY1" fmla="*/ 2130808 h 4791777"/>
                <a:gd name="connsiteX2" fmla="*/ 4598071 w 4893730"/>
                <a:gd name="connsiteY2" fmla="*/ 2301547 h 4791777"/>
                <a:gd name="connsiteX3" fmla="*/ 4598071 w 4893730"/>
                <a:gd name="connsiteY3" fmla="*/ 3886978 h 4791777"/>
                <a:gd name="connsiteX4" fmla="*/ 4426142 w 4893730"/>
                <a:gd name="connsiteY4" fmla="*/ 4057717 h 4791777"/>
                <a:gd name="connsiteX5" fmla="*/ 3713863 w 4893730"/>
                <a:gd name="connsiteY5" fmla="*/ 4057717 h 4791777"/>
                <a:gd name="connsiteX6" fmla="*/ 3517372 w 4893730"/>
                <a:gd name="connsiteY6" fmla="*/ 3886978 h 4791777"/>
                <a:gd name="connsiteX7" fmla="*/ 3517372 w 4893730"/>
                <a:gd name="connsiteY7" fmla="*/ 2301547 h 4791777"/>
                <a:gd name="connsiteX8" fmla="*/ 3713863 w 4893730"/>
                <a:gd name="connsiteY8" fmla="*/ 2130808 h 4791777"/>
                <a:gd name="connsiteX9" fmla="*/ 904368 w 4893730"/>
                <a:gd name="connsiteY9" fmla="*/ 1223432 h 4791777"/>
                <a:gd name="connsiteX10" fmla="*/ 1609930 w 4893730"/>
                <a:gd name="connsiteY10" fmla="*/ 1223432 h 4791777"/>
                <a:gd name="connsiteX11" fmla="*/ 1804567 w 4893730"/>
                <a:gd name="connsiteY11" fmla="*/ 1394467 h 4791777"/>
                <a:gd name="connsiteX12" fmla="*/ 1804567 w 4893730"/>
                <a:gd name="connsiteY12" fmla="*/ 3886683 h 4791777"/>
                <a:gd name="connsiteX13" fmla="*/ 1609930 w 4893730"/>
                <a:gd name="connsiteY13" fmla="*/ 4057717 h 4791777"/>
                <a:gd name="connsiteX14" fmla="*/ 904368 w 4893730"/>
                <a:gd name="connsiteY14" fmla="*/ 4057717 h 4791777"/>
                <a:gd name="connsiteX15" fmla="*/ 734060 w 4893730"/>
                <a:gd name="connsiteY15" fmla="*/ 3886683 h 4791777"/>
                <a:gd name="connsiteX16" fmla="*/ 734060 w 4893730"/>
                <a:gd name="connsiteY16" fmla="*/ 1394467 h 4791777"/>
                <a:gd name="connsiteX17" fmla="*/ 904368 w 4893730"/>
                <a:gd name="connsiteY17" fmla="*/ 1223432 h 4791777"/>
                <a:gd name="connsiteX18" fmla="*/ 2325453 w 4893730"/>
                <a:gd name="connsiteY18" fmla="*/ 316050 h 4791777"/>
                <a:gd name="connsiteX19" fmla="*/ 3031014 w 4893730"/>
                <a:gd name="connsiteY19" fmla="*/ 316050 h 4791777"/>
                <a:gd name="connsiteX20" fmla="*/ 3201322 w 4893730"/>
                <a:gd name="connsiteY20" fmla="*/ 487238 h 4791777"/>
                <a:gd name="connsiteX21" fmla="*/ 3201322 w 4893730"/>
                <a:gd name="connsiteY21" fmla="*/ 3886530 h 4791777"/>
                <a:gd name="connsiteX22" fmla="*/ 3031014 w 4893730"/>
                <a:gd name="connsiteY22" fmla="*/ 4057717 h 4791777"/>
                <a:gd name="connsiteX23" fmla="*/ 2325453 w 4893730"/>
                <a:gd name="connsiteY23" fmla="*/ 4057717 h 4791777"/>
                <a:gd name="connsiteX24" fmla="*/ 2130815 w 4893730"/>
                <a:gd name="connsiteY24" fmla="*/ 3886530 h 4791777"/>
                <a:gd name="connsiteX25" fmla="*/ 2130815 w 4893730"/>
                <a:gd name="connsiteY25" fmla="*/ 487238 h 4791777"/>
                <a:gd name="connsiteX26" fmla="*/ 2325453 w 4893730"/>
                <a:gd name="connsiteY26" fmla="*/ 316050 h 4791777"/>
                <a:gd name="connsiteX27" fmla="*/ 269155 w 4893730"/>
                <a:gd name="connsiteY27" fmla="*/ 0 h 4791777"/>
                <a:gd name="connsiteX28" fmla="*/ 538311 w 4893730"/>
                <a:gd name="connsiteY28" fmla="*/ 268927 h 4791777"/>
                <a:gd name="connsiteX29" fmla="*/ 538311 w 4893730"/>
                <a:gd name="connsiteY29" fmla="*/ 4253925 h 4791777"/>
                <a:gd name="connsiteX30" fmla="*/ 4624575 w 4893730"/>
                <a:gd name="connsiteY30" fmla="*/ 4253925 h 4791777"/>
                <a:gd name="connsiteX31" fmla="*/ 4893730 w 4893730"/>
                <a:gd name="connsiteY31" fmla="*/ 4522851 h 4791777"/>
                <a:gd name="connsiteX32" fmla="*/ 4624575 w 4893730"/>
                <a:gd name="connsiteY32" fmla="*/ 4791777 h 4791777"/>
                <a:gd name="connsiteX33" fmla="*/ 269155 w 4893730"/>
                <a:gd name="connsiteY33" fmla="*/ 4791777 h 4791777"/>
                <a:gd name="connsiteX34" fmla="*/ 0 w 4893730"/>
                <a:gd name="connsiteY34" fmla="*/ 4522851 h 4791777"/>
                <a:gd name="connsiteX35" fmla="*/ 0 w 4893730"/>
                <a:gd name="connsiteY35" fmla="*/ 268927 h 4791777"/>
                <a:gd name="connsiteX36" fmla="*/ 269155 w 4893730"/>
                <a:gd name="connsiteY36" fmla="*/ 0 h 4791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4893730" h="4791777">
                  <a:moveTo>
                    <a:pt x="3713863" y="2130808"/>
                  </a:moveTo>
                  <a:cubicBezTo>
                    <a:pt x="3713863" y="2130808"/>
                    <a:pt x="3713863" y="2130808"/>
                    <a:pt x="4426142" y="2130808"/>
                  </a:cubicBezTo>
                  <a:cubicBezTo>
                    <a:pt x="4524387" y="2130808"/>
                    <a:pt x="4598071" y="2203982"/>
                    <a:pt x="4598071" y="2301547"/>
                  </a:cubicBezTo>
                  <a:cubicBezTo>
                    <a:pt x="4598071" y="2301547"/>
                    <a:pt x="4598071" y="2301547"/>
                    <a:pt x="4598071" y="3886978"/>
                  </a:cubicBezTo>
                  <a:cubicBezTo>
                    <a:pt x="4598071" y="3984543"/>
                    <a:pt x="4524387" y="4057717"/>
                    <a:pt x="4426142" y="4057717"/>
                  </a:cubicBezTo>
                  <a:cubicBezTo>
                    <a:pt x="4426142" y="4057717"/>
                    <a:pt x="4426142" y="4057717"/>
                    <a:pt x="3713863" y="4057717"/>
                  </a:cubicBezTo>
                  <a:cubicBezTo>
                    <a:pt x="3615618" y="4057717"/>
                    <a:pt x="3517372" y="3984543"/>
                    <a:pt x="3517372" y="3886978"/>
                  </a:cubicBezTo>
                  <a:cubicBezTo>
                    <a:pt x="3517372" y="3886978"/>
                    <a:pt x="3517372" y="3886978"/>
                    <a:pt x="3517372" y="2301547"/>
                  </a:cubicBezTo>
                  <a:cubicBezTo>
                    <a:pt x="3517372" y="2203982"/>
                    <a:pt x="3615618" y="2130808"/>
                    <a:pt x="3713863" y="2130808"/>
                  </a:cubicBezTo>
                  <a:close/>
                  <a:moveTo>
                    <a:pt x="904368" y="1223432"/>
                  </a:moveTo>
                  <a:cubicBezTo>
                    <a:pt x="904368" y="1223432"/>
                    <a:pt x="904368" y="1223432"/>
                    <a:pt x="1609930" y="1223432"/>
                  </a:cubicBezTo>
                  <a:cubicBezTo>
                    <a:pt x="1731578" y="1223432"/>
                    <a:pt x="1804567" y="1296733"/>
                    <a:pt x="1804567" y="1394467"/>
                  </a:cubicBezTo>
                  <a:cubicBezTo>
                    <a:pt x="1804567" y="1394467"/>
                    <a:pt x="1804567" y="1394467"/>
                    <a:pt x="1804567" y="3886683"/>
                  </a:cubicBezTo>
                  <a:cubicBezTo>
                    <a:pt x="1804567" y="3984417"/>
                    <a:pt x="1731578" y="4057717"/>
                    <a:pt x="1609930" y="4057717"/>
                  </a:cubicBezTo>
                  <a:cubicBezTo>
                    <a:pt x="1609930" y="4057717"/>
                    <a:pt x="1609930" y="4057717"/>
                    <a:pt x="904368" y="4057717"/>
                  </a:cubicBezTo>
                  <a:cubicBezTo>
                    <a:pt x="807049" y="4057717"/>
                    <a:pt x="734060" y="3984417"/>
                    <a:pt x="734060" y="3886683"/>
                  </a:cubicBezTo>
                  <a:cubicBezTo>
                    <a:pt x="734060" y="3886683"/>
                    <a:pt x="734060" y="3886683"/>
                    <a:pt x="734060" y="1394467"/>
                  </a:cubicBezTo>
                  <a:cubicBezTo>
                    <a:pt x="734060" y="1296733"/>
                    <a:pt x="807049" y="1223432"/>
                    <a:pt x="904368" y="1223432"/>
                  </a:cubicBezTo>
                  <a:close/>
                  <a:moveTo>
                    <a:pt x="2325453" y="316050"/>
                  </a:moveTo>
                  <a:cubicBezTo>
                    <a:pt x="2325453" y="316050"/>
                    <a:pt x="2325453" y="316050"/>
                    <a:pt x="3031014" y="316050"/>
                  </a:cubicBezTo>
                  <a:cubicBezTo>
                    <a:pt x="3128333" y="316050"/>
                    <a:pt x="3201322" y="389416"/>
                    <a:pt x="3201322" y="487238"/>
                  </a:cubicBezTo>
                  <a:cubicBezTo>
                    <a:pt x="3201322" y="487238"/>
                    <a:pt x="3201322" y="487238"/>
                    <a:pt x="3201322" y="3886530"/>
                  </a:cubicBezTo>
                  <a:cubicBezTo>
                    <a:pt x="3201322" y="3984351"/>
                    <a:pt x="3128333" y="4057717"/>
                    <a:pt x="3031014" y="4057717"/>
                  </a:cubicBezTo>
                  <a:cubicBezTo>
                    <a:pt x="3031014" y="4057717"/>
                    <a:pt x="3031014" y="4057717"/>
                    <a:pt x="2325453" y="4057717"/>
                  </a:cubicBezTo>
                  <a:cubicBezTo>
                    <a:pt x="2203804" y="4057717"/>
                    <a:pt x="2130815" y="3984351"/>
                    <a:pt x="2130815" y="3886530"/>
                  </a:cubicBezTo>
                  <a:cubicBezTo>
                    <a:pt x="2130815" y="3886530"/>
                    <a:pt x="2130815" y="3886530"/>
                    <a:pt x="2130815" y="487238"/>
                  </a:cubicBezTo>
                  <a:cubicBezTo>
                    <a:pt x="2130815" y="389416"/>
                    <a:pt x="2203804" y="316050"/>
                    <a:pt x="2325453" y="316050"/>
                  </a:cubicBezTo>
                  <a:close/>
                  <a:moveTo>
                    <a:pt x="269155" y="0"/>
                  </a:moveTo>
                  <a:cubicBezTo>
                    <a:pt x="415967" y="0"/>
                    <a:pt x="538311" y="122239"/>
                    <a:pt x="538311" y="268927"/>
                  </a:cubicBezTo>
                  <a:cubicBezTo>
                    <a:pt x="538311" y="268927"/>
                    <a:pt x="538311" y="268927"/>
                    <a:pt x="538311" y="4253925"/>
                  </a:cubicBezTo>
                  <a:cubicBezTo>
                    <a:pt x="538311" y="4253925"/>
                    <a:pt x="538311" y="4253925"/>
                    <a:pt x="4624575" y="4253925"/>
                  </a:cubicBezTo>
                  <a:cubicBezTo>
                    <a:pt x="4771387" y="4253925"/>
                    <a:pt x="4893730" y="4376164"/>
                    <a:pt x="4893730" y="4522851"/>
                  </a:cubicBezTo>
                  <a:cubicBezTo>
                    <a:pt x="4893730" y="4669538"/>
                    <a:pt x="4771387" y="4791777"/>
                    <a:pt x="4624575" y="4791777"/>
                  </a:cubicBezTo>
                  <a:cubicBezTo>
                    <a:pt x="4624575" y="4791777"/>
                    <a:pt x="4624575" y="4791777"/>
                    <a:pt x="269155" y="4791777"/>
                  </a:cubicBezTo>
                  <a:cubicBezTo>
                    <a:pt x="122344" y="4791777"/>
                    <a:pt x="0" y="4669538"/>
                    <a:pt x="0" y="4522851"/>
                  </a:cubicBezTo>
                  <a:cubicBezTo>
                    <a:pt x="0" y="4522851"/>
                    <a:pt x="0" y="4522851"/>
                    <a:pt x="0" y="268927"/>
                  </a:cubicBezTo>
                  <a:cubicBezTo>
                    <a:pt x="0" y="122239"/>
                    <a:pt x="122344" y="0"/>
                    <a:pt x="269155"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37148" tIns="109719" rIns="137148" bIns="109719"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699261"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5" name="Rectangle 104"/>
            <p:cNvSpPr/>
            <p:nvPr/>
          </p:nvSpPr>
          <p:spPr bwMode="auto">
            <a:xfrm rot="2745734">
              <a:off x="886688" y="2210975"/>
              <a:ext cx="1598323" cy="1625795"/>
            </a:xfrm>
            <a:prstGeom prst="rect">
              <a:avLst/>
            </a:prstGeom>
            <a:solidFill>
              <a:schemeClr val="tx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6" name="Rectangle 105"/>
            <p:cNvSpPr/>
            <p:nvPr/>
          </p:nvSpPr>
          <p:spPr bwMode="auto">
            <a:xfrm rot="2745734">
              <a:off x="292433" y="3819160"/>
              <a:ext cx="1610349" cy="1235003"/>
            </a:xfrm>
            <a:prstGeom prst="rect">
              <a:avLst/>
            </a:prstGeom>
            <a:solidFill>
              <a:schemeClr val="tx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7" name="Rectangle 106"/>
            <p:cNvSpPr/>
            <p:nvPr/>
          </p:nvSpPr>
          <p:spPr bwMode="auto">
            <a:xfrm rot="2745734">
              <a:off x="1315610" y="4915701"/>
              <a:ext cx="1263370" cy="1255989"/>
            </a:xfrm>
            <a:prstGeom prst="rect">
              <a:avLst/>
            </a:prstGeom>
            <a:solidFill>
              <a:schemeClr val="tx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37" name="Title 10"/>
          <p:cNvSpPr txBox="1">
            <a:spLocks/>
          </p:cNvSpPr>
          <p:nvPr/>
        </p:nvSpPr>
        <p:spPr>
          <a:xfrm>
            <a:off x="2849060" y="0"/>
            <a:ext cx="9342940" cy="665151"/>
          </a:xfrm>
          <a:prstGeom prst="rect">
            <a:avLst/>
          </a:prstGeom>
          <a:noFill/>
        </p:spPr>
        <p:txBody>
          <a:bodyPr vert="horz" wrap="square" lIns="0" tIns="91440" rIns="0" bIns="91440" rtlCol="0" anchor="t">
            <a:noAutofit/>
          </a:bodyPr>
          <a:lstStyle>
            <a:lvl1pPr defTabSz="914367">
              <a:lnSpc>
                <a:spcPct val="90000"/>
              </a:lnSpc>
              <a:spcBef>
                <a:spcPct val="0"/>
              </a:spcBef>
              <a:buNone/>
              <a:defRPr lang="en-US" sz="5294" b="0" cap="none" spc="-100" baseline="0" dirty="0" smtClean="0">
                <a:ln w="3175">
                  <a:noFill/>
                </a:ln>
                <a:solidFill>
                  <a:schemeClr val="tx2"/>
                </a:solidFill>
                <a:effectLst/>
                <a:latin typeface="+mj-lt"/>
                <a:cs typeface="Segoe UI" pitchFamily="34" charset="0"/>
              </a:defRPr>
            </a:lvl1pPr>
          </a:lstStyle>
          <a:p>
            <a:pPr marL="168275" marR="0" lvl="0" indent="0" algn="l" defTabSz="914367" rtl="0" eaLnBrk="1" fontAlgn="auto" latinLnBrk="0" hangingPunct="1">
              <a:lnSpc>
                <a:spcPct val="90000"/>
              </a:lnSpc>
              <a:spcBef>
                <a:spcPct val="0"/>
              </a:spcBef>
              <a:spcAft>
                <a:spcPts val="0"/>
              </a:spcAft>
              <a:buClrTx/>
              <a:buSzTx/>
              <a:buFontTx/>
              <a:buNone/>
              <a:tabLst/>
              <a:defRPr/>
            </a:pPr>
            <a:r>
              <a:rPr kumimoji="0" lang="en-US" sz="3600" b="0" i="0" u="none" strike="noStrike" kern="1200" cap="none" spc="-100" normalizeH="0" baseline="0" noProof="0">
                <a:ln w="3175">
                  <a:noFill/>
                </a:ln>
                <a:solidFill>
                  <a:prstClr val="black"/>
                </a:solidFill>
                <a:effectLst/>
                <a:uLnTx/>
                <a:uFillTx/>
                <a:latin typeface="Segoe UI Light"/>
                <a:ea typeface="+mn-ea"/>
                <a:cs typeface="Segoe UI" pitchFamily="34" charset="0"/>
              </a:rPr>
              <a:t>Calculations</a:t>
            </a:r>
            <a:endParaRPr kumimoji="0" lang="en-IN" sz="3600" b="0" i="0" u="none" strike="noStrike" kern="1200" cap="none" spc="-100" normalizeH="0" baseline="0" noProof="0">
              <a:ln w="3175">
                <a:noFill/>
              </a:ln>
              <a:solidFill>
                <a:prstClr val="black"/>
              </a:solidFill>
              <a:effectLst/>
              <a:uLnTx/>
              <a:uFillTx/>
              <a:latin typeface="Segoe UI Light"/>
              <a:ea typeface="+mn-ea"/>
              <a:cs typeface="Segoe UI" pitchFamily="34" charset="0"/>
            </a:endParaRPr>
          </a:p>
        </p:txBody>
      </p:sp>
      <p:sp>
        <p:nvSpPr>
          <p:cNvPr id="40" name="TextBox 39"/>
          <p:cNvSpPr txBox="1"/>
          <p:nvPr/>
        </p:nvSpPr>
        <p:spPr>
          <a:xfrm>
            <a:off x="3" y="51415"/>
            <a:ext cx="2849058" cy="430887"/>
          </a:xfrm>
          <a:prstGeom prst="rect">
            <a:avLst/>
          </a:prstGeom>
        </p:spPr>
        <p:txBody>
          <a:bodyPr wrap="square">
            <a:spAutoFit/>
          </a:bodyPr>
          <a:lstStyle>
            <a:defPPr>
              <a:defRPr lang="en-US"/>
            </a:defPPr>
            <a:lvl1pPr defTabSz="914192">
              <a:defRPr sz="2800" b="1" spc="-100">
                <a:ln w="3175">
                  <a:noFill/>
                </a:ln>
                <a:solidFill>
                  <a:srgbClr val="F2C812"/>
                </a:solidFill>
                <a:latin typeface="Segoe UI" panose="020B0502040204020203" pitchFamily="34" charset="0"/>
                <a:ea typeface="ＭＳ Ｐゴシック" charset="0"/>
                <a:cs typeface="Segoe UI" panose="020B0502040204020203" pitchFamily="34" charset="0"/>
              </a:defRPr>
            </a:lvl1pPr>
          </a:lstStyle>
          <a:p>
            <a:pPr marL="0" marR="0" lvl="0" indent="0" algn="l" defTabSz="914192" rtl="0" eaLnBrk="1" fontAlgn="auto" latinLnBrk="0" hangingPunct="1">
              <a:lnSpc>
                <a:spcPct val="100000"/>
              </a:lnSpc>
              <a:spcBef>
                <a:spcPts val="0"/>
              </a:spcBef>
              <a:spcAft>
                <a:spcPts val="0"/>
              </a:spcAft>
              <a:buClrTx/>
              <a:buSzTx/>
              <a:buFontTx/>
              <a:buNone/>
              <a:tabLst/>
              <a:defRPr/>
            </a:pPr>
            <a:r>
              <a:rPr kumimoji="0" lang="en-US" sz="2200" b="1" i="0" u="none" strike="noStrike" kern="1200" cap="none" spc="-100" normalizeH="0" baseline="0" noProof="0">
                <a:ln w="3175">
                  <a:noFill/>
                </a:ln>
                <a:solidFill>
                  <a:srgbClr val="F2C812"/>
                </a:solidFill>
                <a:effectLst/>
                <a:uLnTx/>
                <a:uFillTx/>
                <a:latin typeface="Segoe UI Light"/>
                <a:ea typeface="ＭＳ Ｐゴシック" charset="0"/>
                <a:cs typeface="Segoe UI" panose="020B0502040204020203" pitchFamily="34" charset="0"/>
              </a:rPr>
              <a:t>Power BI Desktop</a:t>
            </a:r>
          </a:p>
        </p:txBody>
      </p:sp>
      <p:sp>
        <p:nvSpPr>
          <p:cNvPr id="36" name="Rectangle 3"/>
          <p:cNvSpPr/>
          <p:nvPr/>
        </p:nvSpPr>
        <p:spPr bwMode="auto">
          <a:xfrm>
            <a:off x="3202216" y="665151"/>
            <a:ext cx="8105312" cy="44435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PT" sz="2000" b="0" i="1" u="none" strike="noStrike" kern="1200" cap="none" spc="0" normalizeH="0" baseline="0" noProof="0">
                <a:ln>
                  <a:noFill/>
                </a:ln>
                <a:solidFill>
                  <a:prstClr val="black"/>
                </a:solidFill>
                <a:effectLst/>
                <a:uLnTx/>
                <a:uFillTx/>
                <a:latin typeface="Segoe UI Light"/>
                <a:ea typeface="+mn-ea"/>
                <a:cs typeface="+mn-cs"/>
              </a:rPr>
              <a:t>DAX Basics – Creating Calculations</a:t>
            </a:r>
            <a:endParaRPr kumimoji="0" lang="en-US" sz="2000" b="0" i="1" u="none" strike="noStrike" kern="1200" cap="none" spc="0" normalizeH="0" baseline="0" noProof="0">
              <a:ln>
                <a:noFill/>
              </a:ln>
              <a:solidFill>
                <a:prstClr val="black"/>
              </a:solidFill>
              <a:effectLst/>
              <a:uLnTx/>
              <a:uFillTx/>
              <a:latin typeface="Segoe UI Light"/>
              <a:ea typeface="+mn-ea"/>
              <a:cs typeface="+mn-cs"/>
            </a:endParaRPr>
          </a:p>
        </p:txBody>
      </p:sp>
      <p:sp>
        <p:nvSpPr>
          <p:cNvPr id="38" name="Text Placeholder 2"/>
          <p:cNvSpPr txBox="1">
            <a:spLocks/>
          </p:cNvSpPr>
          <p:nvPr/>
        </p:nvSpPr>
        <p:spPr>
          <a:xfrm>
            <a:off x="2886854" y="1395122"/>
            <a:ext cx="9162906" cy="5312307"/>
          </a:xfrm>
          <a:prstGeom prst="rect">
            <a:avLst/>
          </a:prstGeom>
        </p:spPr>
        <p:txBody>
          <a:bodyPr vert="horz" wrap="square" lIns="182880" tIns="146304" rIns="182880" bIns="146304" rtlCol="0">
            <a:noAutofit/>
          </a:bodyPr>
          <a:lstStyle>
            <a:lvl1pPr marL="182845" marR="0"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3921" kern="1200" spc="0" baseline="0">
                <a:gradFill>
                  <a:gsLst>
                    <a:gs pos="1250">
                      <a:schemeClr val="tx2"/>
                    </a:gs>
                    <a:gs pos="99000">
                      <a:schemeClr val="tx2"/>
                    </a:gs>
                  </a:gsLst>
                  <a:lin ang="5400000" scaled="0"/>
                </a:gradFill>
                <a:latin typeface="+mj-lt"/>
                <a:ea typeface="+mn-ea"/>
                <a:cs typeface="+mn-cs"/>
              </a:defRPr>
            </a:lvl1pPr>
            <a:lvl2pPr marL="365690" marR="0"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2400" kern="1200" spc="0" baseline="0">
                <a:solidFill>
                  <a:schemeClr val="tx2"/>
                </a:solidFill>
                <a:latin typeface="+mj-lt"/>
                <a:ea typeface="+mn-ea"/>
                <a:cs typeface="+mn-cs"/>
              </a:defRPr>
            </a:lvl2pPr>
            <a:lvl3pPr marL="548535" marR="0"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2000" kern="1200" spc="0" baseline="0">
                <a:solidFill>
                  <a:schemeClr val="tx2"/>
                </a:solidFill>
                <a:latin typeface="+mj-lt"/>
                <a:ea typeface="+mn-ea"/>
                <a:cs typeface="+mn-cs"/>
              </a:defRPr>
            </a:lvl3pPr>
            <a:lvl4pPr marL="733802" marR="0" indent="-28569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1765" kern="1200" spc="0" baseline="0">
                <a:solidFill>
                  <a:schemeClr val="tx2"/>
                </a:solidFill>
                <a:latin typeface="+mn-lt"/>
                <a:ea typeface="+mn-ea"/>
                <a:cs typeface="+mn-cs"/>
              </a:defRPr>
            </a:lvl4pPr>
            <a:lvl5pPr marL="957856" marR="0" indent="-28569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1765" kern="1200" spc="0" baseline="0">
                <a:solidFill>
                  <a:schemeClr val="tx2"/>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r>
              <a:rPr kumimoji="0" lang="pt-PT" sz="2400" b="0" i="0" u="none" strike="noStrike" kern="1200" cap="none" spc="0" normalizeH="0" baseline="0" noProof="0">
                <a:ln>
                  <a:noFill/>
                </a:ln>
                <a:solidFill>
                  <a:prstClr val="black"/>
                </a:solidFill>
                <a:effectLst/>
                <a:uLnTx/>
                <a:uFillTx/>
                <a:latin typeface="Segoe UI Light"/>
                <a:ea typeface="Calibri" panose="020F0502020204030204" pitchFamily="34" charset="0"/>
                <a:cs typeface="Times New Roman" panose="02020603050405020304" pitchFamily="18" charset="0"/>
              </a:rPr>
              <a:t>Select the </a:t>
            </a:r>
            <a:r>
              <a:rPr kumimoji="0" lang="pt-PT" sz="2400" b="1" i="0" u="none" strike="noStrike" kern="1200" cap="none" spc="0" normalizeH="0" baseline="0" noProof="0">
                <a:ln>
                  <a:noFill/>
                </a:ln>
                <a:solidFill>
                  <a:prstClr val="black"/>
                </a:solidFill>
                <a:effectLst/>
                <a:uLnTx/>
                <a:uFillTx/>
                <a:latin typeface="Segoe UI Light"/>
                <a:ea typeface="Calibri" panose="020F0502020204030204" pitchFamily="34" charset="0"/>
                <a:cs typeface="Times New Roman" panose="02020603050405020304" pitchFamily="18" charset="0"/>
              </a:rPr>
              <a:t>Data View </a:t>
            </a:r>
            <a:r>
              <a:rPr kumimoji="0" lang="pt-PT" sz="2400" b="0" i="0" u="none" strike="noStrike" kern="1200" cap="none" spc="0" normalizeH="0" baseline="0" noProof="0">
                <a:ln>
                  <a:noFill/>
                </a:ln>
                <a:solidFill>
                  <a:prstClr val="black"/>
                </a:solidFill>
                <a:effectLst/>
                <a:uLnTx/>
                <a:uFillTx/>
                <a:latin typeface="Segoe UI Light"/>
                <a:ea typeface="Calibri" panose="020F0502020204030204" pitchFamily="34" charset="0"/>
                <a:cs typeface="Times New Roman" panose="02020603050405020304" pitchFamily="18" charset="0"/>
              </a:rPr>
              <a:t>and then the </a:t>
            </a:r>
            <a:r>
              <a:rPr kumimoji="0" lang="pt-PT" sz="2400" b="1" i="0" u="none" strike="noStrike" kern="1200" cap="none" spc="0" normalizeH="0" baseline="0" noProof="0">
                <a:ln>
                  <a:noFill/>
                </a:ln>
                <a:solidFill>
                  <a:prstClr val="black"/>
                </a:solidFill>
                <a:effectLst/>
                <a:uLnTx/>
                <a:uFillTx/>
                <a:latin typeface="Segoe UI Light"/>
                <a:ea typeface="Calibri" panose="020F0502020204030204" pitchFamily="34" charset="0"/>
                <a:cs typeface="Times New Roman" panose="02020603050405020304" pitchFamily="18" charset="0"/>
              </a:rPr>
              <a:t>Modeling tab for the target table </a:t>
            </a:r>
            <a:r>
              <a:rPr kumimoji="0" lang="pt-PT" sz="2400" b="0" i="0" u="none" strike="noStrike" kern="1200" cap="none" spc="0" normalizeH="0" baseline="0" noProof="0">
                <a:ln>
                  <a:noFill/>
                </a:ln>
                <a:solidFill>
                  <a:prstClr val="black"/>
                </a:solidFill>
                <a:effectLst/>
                <a:uLnTx/>
                <a:uFillTx/>
                <a:latin typeface="Segoe UI Light"/>
                <a:ea typeface="Calibri" panose="020F0502020204030204" pitchFamily="34" charset="0"/>
                <a:cs typeface="Times New Roman" panose="02020603050405020304" pitchFamily="18" charset="0"/>
              </a:rPr>
              <a:t>(or with the table contextual menu)</a:t>
            </a:r>
            <a:endParaRPr kumimoji="0" lang="pt-PT" sz="2400" b="1" i="0" u="none" strike="noStrike" kern="1200" cap="none" spc="0" normalizeH="0" baseline="0" noProof="0">
              <a:ln>
                <a:noFill/>
              </a:ln>
              <a:solidFill>
                <a:prstClr val="black"/>
              </a:solidFill>
              <a:effectLst/>
              <a:uLnTx/>
              <a:uFillTx/>
              <a:latin typeface="Segoe UI Light"/>
              <a:ea typeface="Calibri" panose="020F0502020204030204" pitchFamily="34" charset="0"/>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pt-PT" sz="2400" b="1" i="0" u="none" strike="noStrike" kern="1200" cap="none" spc="0" normalizeH="0" baseline="0" noProof="0">
              <a:ln>
                <a:noFill/>
              </a:ln>
              <a:solidFill>
                <a:prstClr val="black"/>
              </a:solidFill>
              <a:effectLst/>
              <a:uLnTx/>
              <a:uFillTx/>
              <a:latin typeface="Segoe UI Light"/>
              <a:ea typeface="Calibri" panose="020F0502020204030204" pitchFamily="34" charset="0"/>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pt-PT" sz="2400" b="1" i="0" u="none" strike="noStrike" kern="1200" cap="none" spc="0" normalizeH="0" baseline="0" noProof="0">
              <a:ln>
                <a:noFill/>
              </a:ln>
              <a:solidFill>
                <a:prstClr val="black"/>
              </a:solidFill>
              <a:effectLst/>
              <a:uLnTx/>
              <a:uFillTx/>
              <a:latin typeface="Segoe UI Light"/>
              <a:ea typeface="Calibri" panose="020F0502020204030204" pitchFamily="34" charset="0"/>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pt-PT" sz="2400" b="1" i="0" u="none" strike="noStrike" kern="1200" cap="none" spc="0" normalizeH="0" baseline="0" noProof="0">
              <a:ln>
                <a:noFill/>
              </a:ln>
              <a:solidFill>
                <a:prstClr val="black"/>
              </a:solidFill>
              <a:effectLst/>
              <a:uLnTx/>
              <a:uFillTx/>
              <a:latin typeface="Segoe UI Light"/>
              <a:ea typeface="Calibri" panose="020F0502020204030204" pitchFamily="34" charset="0"/>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pt-PT" sz="2400" b="1" i="0" u="none" strike="noStrike" kern="1200" cap="none" spc="0" normalizeH="0" baseline="0" noProof="0">
              <a:ln>
                <a:noFill/>
              </a:ln>
              <a:solidFill>
                <a:prstClr val="black"/>
              </a:solidFill>
              <a:effectLst/>
              <a:uLnTx/>
              <a:uFillTx/>
              <a:latin typeface="Segoe UI Light"/>
              <a:ea typeface="Calibri" panose="020F0502020204030204" pitchFamily="34" charset="0"/>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pt-PT" sz="2400" b="1" i="0" u="none" strike="noStrike" kern="1200" cap="none" spc="0" normalizeH="0" baseline="0" noProof="0">
              <a:ln>
                <a:noFill/>
              </a:ln>
              <a:solidFill>
                <a:prstClr val="black"/>
              </a:solidFill>
              <a:effectLst/>
              <a:uLnTx/>
              <a:uFillTx/>
              <a:latin typeface="Segoe UI Light"/>
              <a:ea typeface="Calibri" panose="020F0502020204030204" pitchFamily="34" charset="0"/>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pt-PT" sz="2400" b="1" i="0" u="none" strike="noStrike" kern="1200" cap="none" spc="0" normalizeH="0" baseline="0" noProof="0">
              <a:ln>
                <a:noFill/>
              </a:ln>
              <a:solidFill>
                <a:prstClr val="black"/>
              </a:solidFill>
              <a:effectLst/>
              <a:uLnTx/>
              <a:uFillTx/>
              <a:latin typeface="Segoe UI Light"/>
              <a:ea typeface="Calibri" panose="020F0502020204030204" pitchFamily="34" charset="0"/>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pt-PT" sz="2400" b="1" i="0" u="none" strike="noStrike" kern="1200" cap="none" spc="0" normalizeH="0" baseline="0" noProof="0">
              <a:ln>
                <a:noFill/>
              </a:ln>
              <a:solidFill>
                <a:prstClr val="black"/>
              </a:solidFill>
              <a:effectLst/>
              <a:uLnTx/>
              <a:uFillTx/>
              <a:latin typeface="Segoe UI Light"/>
              <a:ea typeface="Calibri" panose="020F0502020204030204" pitchFamily="34" charset="0"/>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pt-PT" sz="2400" b="1" i="0" u="none" strike="noStrike" kern="1200" cap="none" spc="0" normalizeH="0" baseline="0" noProof="0">
              <a:ln>
                <a:noFill/>
              </a:ln>
              <a:solidFill>
                <a:prstClr val="black"/>
              </a:solidFill>
              <a:effectLst/>
              <a:uLnTx/>
              <a:uFillTx/>
              <a:latin typeface="Segoe UI Light"/>
              <a:ea typeface="Calibri" panose="020F0502020204030204" pitchFamily="34" charset="0"/>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r>
              <a:rPr kumimoji="0" lang="pt-PT" sz="2400" b="0" i="0" u="none" strike="noStrike" kern="1200" cap="none" spc="0" normalizeH="0" baseline="0" noProof="0">
                <a:ln>
                  <a:noFill/>
                </a:ln>
                <a:solidFill>
                  <a:prstClr val="black"/>
                </a:solidFill>
                <a:effectLst/>
                <a:uLnTx/>
                <a:uFillTx/>
                <a:latin typeface="Segoe UI Light"/>
                <a:ea typeface="Calibri" panose="020F0502020204030204" pitchFamily="34" charset="0"/>
                <a:cs typeface="Times New Roman" panose="02020603050405020304" pitchFamily="18" charset="0"/>
              </a:rPr>
              <a:t>Type the </a:t>
            </a:r>
            <a:r>
              <a:rPr kumimoji="0" lang="pt-PT" sz="2400" b="1" i="0" u="none" strike="noStrike" kern="1200" cap="none" spc="0" normalizeH="0" baseline="0" noProof="0">
                <a:ln>
                  <a:noFill/>
                </a:ln>
                <a:solidFill>
                  <a:prstClr val="black"/>
                </a:solidFill>
                <a:effectLst/>
                <a:uLnTx/>
                <a:uFillTx/>
                <a:latin typeface="Segoe UI Light"/>
                <a:ea typeface="Calibri" panose="020F0502020204030204" pitchFamily="34" charset="0"/>
                <a:cs typeface="Times New Roman" panose="02020603050405020304" pitchFamily="18" charset="0"/>
              </a:rPr>
              <a:t>expression in the Formula Bar</a:t>
            </a: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pt-PT" sz="2400" b="1" i="0" u="none" strike="noStrike" kern="1200" cap="none" spc="0" normalizeH="0" baseline="0" noProof="0">
              <a:ln>
                <a:noFill/>
              </a:ln>
              <a:solidFill>
                <a:prstClr val="black"/>
              </a:solidFill>
              <a:effectLst/>
              <a:uLnTx/>
              <a:uFillTx/>
              <a:latin typeface="Segoe UI Light"/>
              <a:ea typeface="Calibri" panose="020F0502020204030204" pitchFamily="34" charset="0"/>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pt-PT" sz="2400" b="1" i="0" u="none" strike="noStrike" kern="1200" cap="none" spc="0" normalizeH="0" baseline="0" noProof="0">
              <a:ln>
                <a:noFill/>
              </a:ln>
              <a:solidFill>
                <a:prstClr val="black"/>
              </a:solidFill>
              <a:effectLst/>
              <a:uLnTx/>
              <a:uFillTx/>
              <a:latin typeface="Segoe UI Light"/>
              <a:ea typeface="Calibri" panose="020F0502020204030204" pitchFamily="34" charset="0"/>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pt-PT" sz="2400" b="0" i="0" u="none" strike="noStrike" kern="1200" cap="none" spc="0" normalizeH="0" baseline="0" noProof="0">
              <a:ln>
                <a:noFill/>
              </a:ln>
              <a:solidFill>
                <a:prstClr val="black"/>
              </a:solidFill>
              <a:effectLst/>
              <a:uLnTx/>
              <a:uFillTx/>
              <a:latin typeface="Segoe UI Light"/>
              <a:ea typeface="Calibri" panose="020F0502020204030204" pitchFamily="34" charset="0"/>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400" b="0" i="0" u="none" strike="noStrike" kern="1200" cap="none" spc="0" normalizeH="0" baseline="0" noProof="0">
              <a:ln>
                <a:noFill/>
              </a:ln>
              <a:solidFill>
                <a:prstClr val="black"/>
              </a:solidFill>
              <a:effectLst/>
              <a:uLnTx/>
              <a:uFillTx/>
              <a:latin typeface="Segoe UI Light"/>
              <a:ea typeface="Calibri" panose="020F0502020204030204" pitchFamily="34" charset="0"/>
              <a:cs typeface="Times New Roman" panose="02020603050405020304" pitchFamily="18" charset="0"/>
            </a:endParaRPr>
          </a:p>
        </p:txBody>
      </p:sp>
      <p:pic>
        <p:nvPicPr>
          <p:cNvPr id="5" name="Picture 4"/>
          <p:cNvPicPr>
            <a:picLocks noChangeAspect="1"/>
          </p:cNvPicPr>
          <p:nvPr/>
        </p:nvPicPr>
        <p:blipFill>
          <a:blip r:embed="rId3"/>
          <a:stretch>
            <a:fillRect/>
          </a:stretch>
        </p:blipFill>
        <p:spPr>
          <a:xfrm>
            <a:off x="3183600" y="2517395"/>
            <a:ext cx="8620862" cy="2659484"/>
          </a:xfrm>
          <a:prstGeom prst="rect">
            <a:avLst/>
          </a:prstGeom>
          <a:ln>
            <a:noFill/>
          </a:ln>
          <a:effectLst>
            <a:outerShdw blurRad="190500" algn="tl" rotWithShape="0">
              <a:srgbClr val="000000">
                <a:alpha val="70000"/>
              </a:srgbClr>
            </a:outerShdw>
          </a:effectLst>
        </p:spPr>
      </p:pic>
      <p:sp>
        <p:nvSpPr>
          <p:cNvPr id="39" name="Right Arrow 38"/>
          <p:cNvSpPr/>
          <p:nvPr/>
        </p:nvSpPr>
        <p:spPr bwMode="auto">
          <a:xfrm rot="11857414">
            <a:off x="4182994" y="3556759"/>
            <a:ext cx="6224786" cy="233628"/>
          </a:xfrm>
          <a:prstGeom prst="rightArrow">
            <a:avLst/>
          </a:prstGeom>
          <a:solidFill>
            <a:srgbClr val="FF00FF"/>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pt-PT"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6" name="Picture 5"/>
          <p:cNvPicPr>
            <a:picLocks noChangeAspect="1"/>
          </p:cNvPicPr>
          <p:nvPr/>
        </p:nvPicPr>
        <p:blipFill rotWithShape="1">
          <a:blip r:embed="rId4"/>
          <a:srcRect t="71088"/>
          <a:stretch/>
        </p:blipFill>
        <p:spPr>
          <a:xfrm>
            <a:off x="4225922" y="6011371"/>
            <a:ext cx="6057900" cy="575561"/>
          </a:xfrm>
          <a:prstGeom prst="rect">
            <a:avLst/>
          </a:prstGeom>
          <a:ln>
            <a:noFill/>
          </a:ln>
          <a:effectLst>
            <a:outerShdw blurRad="190500" algn="tl" rotWithShape="0">
              <a:srgbClr val="000000">
                <a:alpha val="70000"/>
              </a:srgbClr>
            </a:outerShdw>
          </a:effectLst>
        </p:spPr>
      </p:pic>
      <p:pic>
        <p:nvPicPr>
          <p:cNvPr id="2" name="Picture 1"/>
          <p:cNvPicPr>
            <a:picLocks noChangeAspect="1"/>
          </p:cNvPicPr>
          <p:nvPr/>
        </p:nvPicPr>
        <p:blipFill>
          <a:blip r:embed="rId5"/>
          <a:stretch>
            <a:fillRect/>
          </a:stretch>
        </p:blipFill>
        <p:spPr>
          <a:xfrm>
            <a:off x="11145516" y="4611437"/>
            <a:ext cx="910808" cy="1041569"/>
          </a:xfrm>
          <a:prstGeom prst="rect">
            <a:avLst/>
          </a:prstGeom>
          <a:ln>
            <a:noFill/>
          </a:ln>
          <a:effectLst>
            <a:outerShdw blurRad="190500" algn="tl" rotWithShape="0">
              <a:srgbClr val="000000">
                <a:alpha val="70000"/>
              </a:srgbClr>
            </a:outerShdw>
          </a:effectLst>
        </p:spPr>
      </p:pic>
    </p:spTree>
    <p:extLst>
      <p:ext uri="{BB962C8B-B14F-4D97-AF65-F5344CB8AC3E}">
        <p14:creationId xmlns:p14="http://schemas.microsoft.com/office/powerpoint/2010/main" val="7620643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p:cNvGrpSpPr/>
          <p:nvPr/>
        </p:nvGrpSpPr>
        <p:grpSpPr>
          <a:xfrm>
            <a:off x="-11149" y="0"/>
            <a:ext cx="2849058" cy="6858000"/>
            <a:chOff x="2" y="1"/>
            <a:chExt cx="2849058" cy="6858000"/>
          </a:xfrm>
        </p:grpSpPr>
        <p:sp>
          <p:nvSpPr>
            <p:cNvPr id="70" name="Rectangle 69"/>
            <p:cNvSpPr/>
            <p:nvPr/>
          </p:nvSpPr>
          <p:spPr bwMode="auto">
            <a:xfrm>
              <a:off x="2" y="1"/>
              <a:ext cx="2849058"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5" name="Oval 70"/>
            <p:cNvSpPr/>
            <p:nvPr/>
          </p:nvSpPr>
          <p:spPr>
            <a:xfrm>
              <a:off x="1413521" y="4951537"/>
              <a:ext cx="1119626" cy="1119626"/>
            </a:xfrm>
            <a:prstGeom prst="ellipse">
              <a:avLst/>
            </a:prstGeom>
            <a:solidFill>
              <a:srgbClr val="F2C812"/>
            </a:solidFill>
            <a:ln w="3175" cap="flat" cmpd="sng" algn="ctr">
              <a:noFill/>
              <a:prstDash val="solid"/>
            </a:ln>
            <a:effectLst/>
          </p:spPr>
          <p:txBody>
            <a:bodyPr vert="horz" wrap="none" lIns="0" tIns="45720" rIns="0" bIns="0" rtlCol="0" anchor="t"/>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Segoe UI"/>
                  <a:ea typeface="Segoe UI" pitchFamily="34" charset="0"/>
                  <a:cs typeface="Segoe UI" pitchFamily="34" charset="0"/>
                </a:rPr>
                <a:t>Share &amp;</a:t>
              </a:r>
            </a:p>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Segoe UI"/>
                  <a:ea typeface="Segoe UI" pitchFamily="34" charset="0"/>
                  <a:cs typeface="Segoe UI" pitchFamily="34" charset="0"/>
                </a:rPr>
                <a:t>collaborate </a:t>
              </a:r>
            </a:p>
          </p:txBody>
        </p:sp>
        <p:grpSp>
          <p:nvGrpSpPr>
            <p:cNvPr id="66" name="Group 38"/>
            <p:cNvGrpSpPr>
              <a:grpSpLocks noChangeAspect="1"/>
            </p:cNvGrpSpPr>
            <p:nvPr/>
          </p:nvGrpSpPr>
          <p:grpSpPr>
            <a:xfrm>
              <a:off x="676996" y="3930692"/>
              <a:ext cx="383905" cy="351536"/>
              <a:chOff x="4363684" y="5330386"/>
              <a:chExt cx="1409956" cy="1291077"/>
            </a:xfrm>
            <a:solidFill>
              <a:srgbClr val="217346"/>
            </a:solidFill>
          </p:grpSpPr>
          <p:sp>
            <p:nvSpPr>
              <p:cNvPr id="67" name="Donut 3"/>
              <p:cNvSpPr/>
              <p:nvPr/>
            </p:nvSpPr>
            <p:spPr bwMode="auto">
              <a:xfrm>
                <a:off x="4363684" y="5330386"/>
                <a:ext cx="1409956" cy="1291077"/>
              </a:xfrm>
              <a:custGeom>
                <a:avLst/>
                <a:gdLst/>
                <a:ahLst/>
                <a:cxnLst/>
                <a:rect l="l" t="t" r="r" b="b"/>
                <a:pathLst>
                  <a:path w="1409956" h="1291077">
                    <a:moveTo>
                      <a:pt x="956401" y="78410"/>
                    </a:moveTo>
                    <a:cubicBezTo>
                      <a:pt x="747518" y="78410"/>
                      <a:pt x="578184" y="247744"/>
                      <a:pt x="578184" y="456627"/>
                    </a:cubicBezTo>
                    <a:cubicBezTo>
                      <a:pt x="578184" y="665510"/>
                      <a:pt x="747518" y="834844"/>
                      <a:pt x="956401" y="834844"/>
                    </a:cubicBezTo>
                    <a:cubicBezTo>
                      <a:pt x="1165284" y="834844"/>
                      <a:pt x="1334618" y="665510"/>
                      <a:pt x="1334618" y="456627"/>
                    </a:cubicBezTo>
                    <a:cubicBezTo>
                      <a:pt x="1334618" y="247744"/>
                      <a:pt x="1165284" y="78410"/>
                      <a:pt x="956401" y="78410"/>
                    </a:cubicBezTo>
                    <a:close/>
                    <a:moveTo>
                      <a:pt x="952756" y="0"/>
                    </a:moveTo>
                    <a:cubicBezTo>
                      <a:pt x="1205261" y="0"/>
                      <a:pt x="1409956" y="204695"/>
                      <a:pt x="1409956" y="457200"/>
                    </a:cubicBezTo>
                    <a:cubicBezTo>
                      <a:pt x="1409956" y="709705"/>
                      <a:pt x="1205261" y="914400"/>
                      <a:pt x="952756" y="914400"/>
                    </a:cubicBezTo>
                    <a:cubicBezTo>
                      <a:pt x="862133" y="914400"/>
                      <a:pt x="777669" y="888034"/>
                      <a:pt x="707132" y="841746"/>
                    </a:cubicBezTo>
                    <a:lnTo>
                      <a:pt x="136495" y="1280102"/>
                    </a:lnTo>
                    <a:cubicBezTo>
                      <a:pt x="21896" y="1327168"/>
                      <a:pt x="-44029" y="1213730"/>
                      <a:pt x="33797" y="1113182"/>
                    </a:cubicBezTo>
                    <a:lnTo>
                      <a:pt x="568587" y="703518"/>
                    </a:lnTo>
                    <a:cubicBezTo>
                      <a:pt x="522087" y="632814"/>
                      <a:pt x="495556" y="548105"/>
                      <a:pt x="495556" y="457200"/>
                    </a:cubicBezTo>
                    <a:cubicBezTo>
                      <a:pt x="495556" y="204695"/>
                      <a:pt x="700251" y="0"/>
                      <a:pt x="952756" y="0"/>
                    </a:cubicBezTo>
                    <a:close/>
                  </a:path>
                </a:pathLst>
              </a:custGeom>
              <a:grpFill/>
              <a:ln>
                <a:solidFill>
                  <a:srgbClr val="21734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sp>
            <p:nvSpPr>
              <p:cNvPr id="68" name="Rectangle 4"/>
              <p:cNvSpPr/>
              <p:nvPr/>
            </p:nvSpPr>
            <p:spPr>
              <a:xfrm>
                <a:off x="5058389" y="5528247"/>
                <a:ext cx="490885" cy="490020"/>
              </a:xfrm>
              <a:custGeom>
                <a:avLst/>
                <a:gdLst/>
                <a:ahLst/>
                <a:cxnLst/>
                <a:rect l="l" t="t" r="r" b="b"/>
                <a:pathLst>
                  <a:path w="490885" h="490020">
                    <a:moveTo>
                      <a:pt x="240752" y="0"/>
                    </a:moveTo>
                    <a:cubicBezTo>
                      <a:pt x="253961" y="11844"/>
                      <a:pt x="293310" y="49692"/>
                      <a:pt x="337332" y="92439"/>
                    </a:cubicBezTo>
                    <a:lnTo>
                      <a:pt x="328342" y="81259"/>
                    </a:lnTo>
                    <a:cubicBezTo>
                      <a:pt x="356946" y="111282"/>
                      <a:pt x="377251" y="107167"/>
                      <a:pt x="382515" y="87941"/>
                    </a:cubicBezTo>
                    <a:cubicBezTo>
                      <a:pt x="383951" y="76921"/>
                      <a:pt x="384595" y="68732"/>
                      <a:pt x="396997" y="52239"/>
                    </a:cubicBezTo>
                    <a:cubicBezTo>
                      <a:pt x="420362" y="32084"/>
                      <a:pt x="442294" y="41736"/>
                      <a:pt x="454920" y="51330"/>
                    </a:cubicBezTo>
                    <a:cubicBezTo>
                      <a:pt x="467834" y="62761"/>
                      <a:pt x="477920" y="86882"/>
                      <a:pt x="460392" y="109714"/>
                    </a:cubicBezTo>
                    <a:cubicBezTo>
                      <a:pt x="451128" y="121912"/>
                      <a:pt x="437554" y="126838"/>
                      <a:pt x="425922" y="126505"/>
                    </a:cubicBezTo>
                    <a:cubicBezTo>
                      <a:pt x="424301" y="127609"/>
                      <a:pt x="382890" y="134974"/>
                      <a:pt x="427348" y="177672"/>
                    </a:cubicBezTo>
                    <a:lnTo>
                      <a:pt x="416886" y="169735"/>
                    </a:lnTo>
                    <a:cubicBezTo>
                      <a:pt x="450207" y="202177"/>
                      <a:pt x="478424" y="229744"/>
                      <a:pt x="490885" y="241900"/>
                    </a:cubicBezTo>
                    <a:lnTo>
                      <a:pt x="417150" y="317347"/>
                    </a:lnTo>
                    <a:cubicBezTo>
                      <a:pt x="417744" y="316535"/>
                      <a:pt x="418443" y="316123"/>
                      <a:pt x="419047" y="315822"/>
                    </a:cubicBezTo>
                    <a:cubicBezTo>
                      <a:pt x="389023" y="344426"/>
                      <a:pt x="393138" y="364731"/>
                      <a:pt x="412364" y="369995"/>
                    </a:cubicBezTo>
                    <a:cubicBezTo>
                      <a:pt x="423384" y="371431"/>
                      <a:pt x="431574" y="372075"/>
                      <a:pt x="448067" y="384477"/>
                    </a:cubicBezTo>
                    <a:cubicBezTo>
                      <a:pt x="468221" y="407842"/>
                      <a:pt x="458569" y="429774"/>
                      <a:pt x="448975" y="442400"/>
                    </a:cubicBezTo>
                    <a:cubicBezTo>
                      <a:pt x="437545" y="455314"/>
                      <a:pt x="413423" y="465400"/>
                      <a:pt x="390591" y="447872"/>
                    </a:cubicBezTo>
                    <a:cubicBezTo>
                      <a:pt x="378394" y="438608"/>
                      <a:pt x="373468" y="425034"/>
                      <a:pt x="373800" y="413402"/>
                    </a:cubicBezTo>
                    <a:cubicBezTo>
                      <a:pt x="372696" y="411781"/>
                      <a:pt x="365332" y="370370"/>
                      <a:pt x="322634" y="414828"/>
                    </a:cubicBezTo>
                    <a:lnTo>
                      <a:pt x="325243" y="411388"/>
                    </a:lnTo>
                    <a:lnTo>
                      <a:pt x="248395" y="490020"/>
                    </a:lnTo>
                    <a:cubicBezTo>
                      <a:pt x="208939" y="451897"/>
                      <a:pt x="199129" y="442073"/>
                      <a:pt x="174192" y="418236"/>
                    </a:cubicBezTo>
                    <a:cubicBezTo>
                      <a:pt x="145587" y="388212"/>
                      <a:pt x="125282" y="392327"/>
                      <a:pt x="120018" y="411553"/>
                    </a:cubicBezTo>
                    <a:cubicBezTo>
                      <a:pt x="118582" y="422573"/>
                      <a:pt x="117938" y="430763"/>
                      <a:pt x="105536" y="447256"/>
                    </a:cubicBezTo>
                    <a:cubicBezTo>
                      <a:pt x="82171" y="467410"/>
                      <a:pt x="60239" y="457758"/>
                      <a:pt x="47614" y="448164"/>
                    </a:cubicBezTo>
                    <a:cubicBezTo>
                      <a:pt x="34699" y="436734"/>
                      <a:pt x="24614" y="412612"/>
                      <a:pt x="42141" y="389780"/>
                    </a:cubicBezTo>
                    <a:cubicBezTo>
                      <a:pt x="51405" y="377583"/>
                      <a:pt x="64979" y="372657"/>
                      <a:pt x="76612" y="372989"/>
                    </a:cubicBezTo>
                    <a:cubicBezTo>
                      <a:pt x="78232" y="371886"/>
                      <a:pt x="119644" y="364521"/>
                      <a:pt x="75186" y="321823"/>
                    </a:cubicBezTo>
                    <a:cubicBezTo>
                      <a:pt x="58767" y="305402"/>
                      <a:pt x="23648" y="271235"/>
                      <a:pt x="0" y="248738"/>
                    </a:cubicBezTo>
                    <a:lnTo>
                      <a:pt x="77303" y="168146"/>
                    </a:lnTo>
                    <a:cubicBezTo>
                      <a:pt x="104269" y="140313"/>
                      <a:pt x="122130" y="156409"/>
                      <a:pt x="124388" y="175543"/>
                    </a:cubicBezTo>
                    <a:cubicBezTo>
                      <a:pt x="124457" y="182466"/>
                      <a:pt x="127106" y="193106"/>
                      <a:pt x="137575" y="203052"/>
                    </a:cubicBezTo>
                    <a:cubicBezTo>
                      <a:pt x="153931" y="220277"/>
                      <a:pt x="181252" y="217451"/>
                      <a:pt x="196721" y="201951"/>
                    </a:cubicBezTo>
                    <a:cubicBezTo>
                      <a:pt x="211961" y="185740"/>
                      <a:pt x="213057" y="157882"/>
                      <a:pt x="196146" y="142797"/>
                    </a:cubicBezTo>
                    <a:cubicBezTo>
                      <a:pt x="184301" y="132637"/>
                      <a:pt x="177155" y="131453"/>
                      <a:pt x="166513" y="129894"/>
                    </a:cubicBezTo>
                    <a:cubicBezTo>
                      <a:pt x="154522" y="129013"/>
                      <a:pt x="131185" y="112953"/>
                      <a:pt x="157905" y="85228"/>
                    </a:cubicBezTo>
                    <a:close/>
                  </a:path>
                </a:pathLst>
              </a:custGeom>
              <a:grpFill/>
              <a:ln>
                <a:solidFill>
                  <a:srgbClr val="21734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grpSp>
        <p:sp>
          <p:nvSpPr>
            <p:cNvPr id="69" name="Oval 47"/>
            <p:cNvSpPr/>
            <p:nvPr/>
          </p:nvSpPr>
          <p:spPr>
            <a:xfrm>
              <a:off x="388608" y="3710471"/>
              <a:ext cx="1119626" cy="1119626"/>
            </a:xfrm>
            <a:prstGeom prst="ellipse">
              <a:avLst/>
            </a:prstGeom>
            <a:solidFill>
              <a:srgbClr val="F2C812"/>
            </a:solidFill>
            <a:ln w="3175" cap="flat" cmpd="sng" algn="ctr">
              <a:noFill/>
              <a:prstDash val="solid"/>
            </a:ln>
            <a:effectLst/>
          </p:spPr>
          <p:txBody>
            <a:bodyPr vert="horz" wrap="none" lIns="0" tIns="45720" rIns="0" bIns="0" rtlCol="0" anchor="t"/>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Segoe UI"/>
                  <a:ea typeface="Segoe UI" pitchFamily="34" charset="0"/>
                  <a:cs typeface="Segoe UI" pitchFamily="34" charset="0"/>
                </a:rPr>
                <a:t>Report</a:t>
              </a:r>
            </a:p>
          </p:txBody>
        </p:sp>
        <p:sp>
          <p:nvSpPr>
            <p:cNvPr id="85" name="Oval 950"/>
            <p:cNvSpPr/>
            <p:nvPr/>
          </p:nvSpPr>
          <p:spPr>
            <a:xfrm>
              <a:off x="388608" y="1252295"/>
              <a:ext cx="1119626" cy="1119626"/>
            </a:xfrm>
            <a:prstGeom prst="ellipse">
              <a:avLst/>
            </a:prstGeom>
            <a:solidFill>
              <a:srgbClr val="F2C812"/>
            </a:solidFill>
            <a:ln w="3175" cap="flat" cmpd="sng" algn="ctr">
              <a:noFill/>
              <a:prstDash val="solid"/>
            </a:ln>
            <a:effectLst/>
          </p:spPr>
          <p:txBody>
            <a:bodyPr vert="horz" wrap="none" lIns="0" tIns="45720" rIns="0" bIns="0" rtlCol="0" anchor="t"/>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1" i="0" u="none" strike="noStrike" kern="1200" cap="none" spc="0" normalizeH="0" baseline="0" noProof="0">
                <a:ln>
                  <a:noFill/>
                </a:ln>
                <a:solidFill>
                  <a:srgbClr val="217346"/>
                </a:solidFill>
                <a:effectLst/>
                <a:uLnTx/>
                <a:uFillTx/>
                <a:latin typeface="Segoe UI"/>
                <a:ea typeface="Segoe UI" pitchFamily="34" charset="0"/>
                <a:cs typeface="Segoe UI" pitchFamily="34" charset="0"/>
              </a:endParaRPr>
            </a:p>
          </p:txBody>
        </p:sp>
        <p:grpSp>
          <p:nvGrpSpPr>
            <p:cNvPr id="86" name="Group 85"/>
            <p:cNvGrpSpPr/>
            <p:nvPr/>
          </p:nvGrpSpPr>
          <p:grpSpPr>
            <a:xfrm>
              <a:off x="1264851" y="3482890"/>
              <a:ext cx="292254" cy="354906"/>
              <a:chOff x="1296521" y="3253388"/>
              <a:chExt cx="292254" cy="354906"/>
            </a:xfrm>
            <a:solidFill>
              <a:srgbClr val="F2C812"/>
            </a:solidFill>
          </p:grpSpPr>
          <p:sp>
            <p:nvSpPr>
              <p:cNvPr id="87" name="Isosceles Triangle 86"/>
              <p:cNvSpPr/>
              <p:nvPr/>
            </p:nvSpPr>
            <p:spPr bwMode="auto">
              <a:xfrm rot="13636515">
                <a:off x="1461362" y="328936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8" name="Isosceles Triangle 87"/>
              <p:cNvSpPr/>
              <p:nvPr/>
            </p:nvSpPr>
            <p:spPr bwMode="auto">
              <a:xfrm rot="13636515">
                <a:off x="1357669" y="338258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9" name="Isosceles Triangle 88"/>
              <p:cNvSpPr/>
              <p:nvPr/>
            </p:nvSpPr>
            <p:spPr bwMode="auto">
              <a:xfrm rot="13636515">
                <a:off x="1260548" y="3480882"/>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90" name="Group 89"/>
            <p:cNvGrpSpPr/>
            <p:nvPr/>
          </p:nvGrpSpPr>
          <p:grpSpPr>
            <a:xfrm rot="15940603">
              <a:off x="1334576" y="2204404"/>
              <a:ext cx="292254" cy="354906"/>
              <a:chOff x="1296521" y="3253388"/>
              <a:chExt cx="292254" cy="354906"/>
            </a:xfrm>
            <a:solidFill>
              <a:srgbClr val="F2C812"/>
            </a:solidFill>
          </p:grpSpPr>
          <p:sp>
            <p:nvSpPr>
              <p:cNvPr id="91" name="Isosceles Triangle 90"/>
              <p:cNvSpPr/>
              <p:nvPr/>
            </p:nvSpPr>
            <p:spPr bwMode="auto">
              <a:xfrm rot="13636515">
                <a:off x="1461362" y="328936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2" name="Isosceles Triangle 91"/>
              <p:cNvSpPr/>
              <p:nvPr/>
            </p:nvSpPr>
            <p:spPr bwMode="auto">
              <a:xfrm rot="13636515">
                <a:off x="1357669" y="338258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3" name="Isosceles Triangle 92"/>
              <p:cNvSpPr/>
              <p:nvPr/>
            </p:nvSpPr>
            <p:spPr bwMode="auto">
              <a:xfrm rot="13636515">
                <a:off x="1260548" y="3480882"/>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94" name="Group 93"/>
            <p:cNvGrpSpPr/>
            <p:nvPr/>
          </p:nvGrpSpPr>
          <p:grpSpPr>
            <a:xfrm rot="16043978">
              <a:off x="1317220" y="4717577"/>
              <a:ext cx="292254" cy="354906"/>
              <a:chOff x="1296521" y="3253388"/>
              <a:chExt cx="292254" cy="354906"/>
            </a:xfrm>
            <a:solidFill>
              <a:srgbClr val="F2C812"/>
            </a:solidFill>
          </p:grpSpPr>
          <p:sp>
            <p:nvSpPr>
              <p:cNvPr id="95" name="Isosceles Triangle 94"/>
              <p:cNvSpPr/>
              <p:nvPr/>
            </p:nvSpPr>
            <p:spPr bwMode="auto">
              <a:xfrm rot="13636515">
                <a:off x="1461362" y="328936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6" name="Isosceles Triangle 95"/>
              <p:cNvSpPr/>
              <p:nvPr/>
            </p:nvSpPr>
            <p:spPr bwMode="auto">
              <a:xfrm rot="13636515">
                <a:off x="1357669" y="338258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7" name="Isosceles Triangle 96"/>
              <p:cNvSpPr/>
              <p:nvPr/>
            </p:nvSpPr>
            <p:spPr bwMode="auto">
              <a:xfrm rot="13636515">
                <a:off x="1260548" y="3480882"/>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98" name="Oval 36"/>
            <p:cNvSpPr/>
            <p:nvPr/>
          </p:nvSpPr>
          <p:spPr>
            <a:xfrm>
              <a:off x="1413521" y="2481383"/>
              <a:ext cx="1119626" cy="1119626"/>
            </a:xfrm>
            <a:prstGeom prst="ellipse">
              <a:avLst/>
            </a:prstGeom>
            <a:solidFill>
              <a:srgbClr val="F2C812"/>
            </a:solidFill>
            <a:ln w="3175" cap="flat" cmpd="sng" algn="ctr">
              <a:noFill/>
              <a:prstDash val="solid"/>
            </a:ln>
            <a:effectLst/>
          </p:spPr>
          <p:txBody>
            <a:bodyPr vert="horz" wrap="none" lIns="0" tIns="0" rIns="0" bIns="0" rtlCol="0" anchor="t"/>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400" b="1" i="0" u="none" strike="noStrike" kern="1200" cap="none" spc="0" normalizeH="0" baseline="0" noProof="0">
                <a:ln>
                  <a:noFill/>
                </a:ln>
                <a:solidFill>
                  <a:srgbClr val="217346"/>
                </a:solidFill>
                <a:effectLst/>
                <a:uLnTx/>
                <a:uFillTx/>
                <a:latin typeface="Segoe UI"/>
                <a:ea typeface="Segoe UI" pitchFamily="34" charset="0"/>
                <a:cs typeface="Segoe UI" pitchFamily="34" charset="0"/>
              </a:endParaRPr>
            </a:p>
          </p:txBody>
        </p:sp>
        <p:sp>
          <p:nvSpPr>
            <p:cNvPr id="99" name="Donut 3"/>
            <p:cNvSpPr/>
            <p:nvPr/>
          </p:nvSpPr>
          <p:spPr bwMode="auto">
            <a:xfrm>
              <a:off x="1742065" y="3002355"/>
              <a:ext cx="383905" cy="351537"/>
            </a:xfrm>
            <a:custGeom>
              <a:avLst/>
              <a:gdLst/>
              <a:ahLst/>
              <a:cxnLst/>
              <a:rect l="l" t="t" r="r" b="b"/>
              <a:pathLst>
                <a:path w="1409956" h="1291077">
                  <a:moveTo>
                    <a:pt x="956401" y="78410"/>
                  </a:moveTo>
                  <a:cubicBezTo>
                    <a:pt x="747518" y="78410"/>
                    <a:pt x="578184" y="247744"/>
                    <a:pt x="578184" y="456627"/>
                  </a:cubicBezTo>
                  <a:cubicBezTo>
                    <a:pt x="578184" y="665510"/>
                    <a:pt x="747518" y="834844"/>
                    <a:pt x="956401" y="834844"/>
                  </a:cubicBezTo>
                  <a:cubicBezTo>
                    <a:pt x="1165284" y="834844"/>
                    <a:pt x="1334618" y="665510"/>
                    <a:pt x="1334618" y="456627"/>
                  </a:cubicBezTo>
                  <a:cubicBezTo>
                    <a:pt x="1334618" y="247744"/>
                    <a:pt x="1165284" y="78410"/>
                    <a:pt x="956401" y="78410"/>
                  </a:cubicBezTo>
                  <a:close/>
                  <a:moveTo>
                    <a:pt x="952756" y="0"/>
                  </a:moveTo>
                  <a:cubicBezTo>
                    <a:pt x="1205261" y="0"/>
                    <a:pt x="1409956" y="204695"/>
                    <a:pt x="1409956" y="457200"/>
                  </a:cubicBezTo>
                  <a:cubicBezTo>
                    <a:pt x="1409956" y="709705"/>
                    <a:pt x="1205261" y="914400"/>
                    <a:pt x="952756" y="914400"/>
                  </a:cubicBezTo>
                  <a:cubicBezTo>
                    <a:pt x="862133" y="914400"/>
                    <a:pt x="777669" y="888034"/>
                    <a:pt x="707132" y="841746"/>
                  </a:cubicBezTo>
                  <a:lnTo>
                    <a:pt x="136495" y="1280102"/>
                  </a:lnTo>
                  <a:cubicBezTo>
                    <a:pt x="21896" y="1327168"/>
                    <a:pt x="-44029" y="1213730"/>
                    <a:pt x="33797" y="1113182"/>
                  </a:cubicBezTo>
                  <a:lnTo>
                    <a:pt x="568587" y="703518"/>
                  </a:lnTo>
                  <a:cubicBezTo>
                    <a:pt x="522087" y="632814"/>
                    <a:pt x="495556" y="548105"/>
                    <a:pt x="495556" y="457200"/>
                  </a:cubicBezTo>
                  <a:cubicBezTo>
                    <a:pt x="495556" y="204695"/>
                    <a:pt x="700251" y="0"/>
                    <a:pt x="952756" y="0"/>
                  </a:cubicBezTo>
                  <a:close/>
                </a:path>
              </a:pathLst>
            </a:cu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ysClr val="windowText" lastClr="000000"/>
                </a:solidFill>
                <a:effectLst/>
                <a:uLnTx/>
                <a:uFillTx/>
                <a:latin typeface="Segoe UI"/>
                <a:ea typeface="+mn-ea"/>
                <a:cs typeface="+mn-cs"/>
              </a:endParaRPr>
            </a:p>
          </p:txBody>
        </p:sp>
        <p:sp>
          <p:nvSpPr>
            <p:cNvPr id="100" name="Rectangle 99"/>
            <p:cNvSpPr/>
            <p:nvPr/>
          </p:nvSpPr>
          <p:spPr>
            <a:xfrm>
              <a:off x="1600398" y="2677430"/>
              <a:ext cx="820353" cy="307777"/>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Segoe UI"/>
                  <a:ea typeface="Segoe UI" pitchFamily="34" charset="0"/>
                  <a:cs typeface="Segoe UI" pitchFamily="34" charset="0"/>
                </a:rPr>
                <a:t>Explore</a:t>
              </a:r>
              <a:endParaRPr kumimoji="0" lang="en-US" sz="1600" b="0" i="0" u="none" strike="noStrike" kern="1200" cap="none" spc="0" normalizeH="0" baseline="0" noProof="0">
                <a:ln>
                  <a:noFill/>
                </a:ln>
                <a:solidFill>
                  <a:prstClr val="black"/>
                </a:solidFill>
                <a:effectLst/>
                <a:uLnTx/>
                <a:uFillTx/>
                <a:latin typeface="Segoe UI"/>
                <a:ea typeface="+mn-ea"/>
                <a:cs typeface="+mn-cs"/>
              </a:endParaRPr>
            </a:p>
          </p:txBody>
        </p:sp>
        <p:sp>
          <p:nvSpPr>
            <p:cNvPr id="101" name="Rectangle 100"/>
            <p:cNvSpPr/>
            <p:nvPr/>
          </p:nvSpPr>
          <p:spPr>
            <a:xfrm>
              <a:off x="509174" y="1475232"/>
              <a:ext cx="838756" cy="307777"/>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Segoe UI"/>
                  <a:ea typeface="Segoe UI" pitchFamily="34" charset="0"/>
                  <a:cs typeface="Segoe UI" pitchFamily="34" charset="0"/>
                </a:rPr>
                <a:t>Prepare</a:t>
              </a:r>
              <a:endParaRPr kumimoji="0" lang="en-US" sz="1400" b="0" i="0" u="none" strike="noStrike" kern="1200" cap="none" spc="0" normalizeH="0" baseline="0" noProof="0">
                <a:ln>
                  <a:noFill/>
                </a:ln>
                <a:solidFill>
                  <a:prstClr val="black"/>
                </a:solidFill>
                <a:effectLst/>
                <a:uLnTx/>
                <a:uFillTx/>
                <a:latin typeface="Segoe UI"/>
                <a:ea typeface="+mn-ea"/>
                <a:cs typeface="+mn-cs"/>
              </a:endParaRPr>
            </a:p>
          </p:txBody>
        </p:sp>
        <p:sp>
          <p:nvSpPr>
            <p:cNvPr id="102" name="Freeform 101"/>
            <p:cNvSpPr>
              <a:spLocks noChangeAspect="1"/>
            </p:cNvSpPr>
            <p:nvPr/>
          </p:nvSpPr>
          <p:spPr bwMode="black">
            <a:xfrm>
              <a:off x="1836174" y="5643069"/>
              <a:ext cx="274320" cy="284173"/>
            </a:xfrm>
            <a:custGeom>
              <a:avLst/>
              <a:gdLst>
                <a:gd name="T0" fmla="*/ 539 w 669"/>
                <a:gd name="T1" fmla="*/ 5 h 693"/>
                <a:gd name="T2" fmla="*/ 640 w 669"/>
                <a:gd name="T3" fmla="*/ 55 h 693"/>
                <a:gd name="T4" fmla="*/ 603 w 669"/>
                <a:gd name="T5" fmla="*/ 195 h 693"/>
                <a:gd name="T6" fmla="*/ 490 w 669"/>
                <a:gd name="T7" fmla="*/ 188 h 693"/>
                <a:gd name="T8" fmla="*/ 479 w 669"/>
                <a:gd name="T9" fmla="*/ 176 h 693"/>
                <a:gd name="T10" fmla="*/ 213 w 669"/>
                <a:gd name="T11" fmla="*/ 330 h 693"/>
                <a:gd name="T12" fmla="*/ 218 w 669"/>
                <a:gd name="T13" fmla="*/ 345 h 693"/>
                <a:gd name="T14" fmla="*/ 218 w 669"/>
                <a:gd name="T15" fmla="*/ 375 h 693"/>
                <a:gd name="T16" fmla="*/ 209 w 669"/>
                <a:gd name="T17" fmla="*/ 402 h 693"/>
                <a:gd name="T18" fmla="*/ 369 w 669"/>
                <a:gd name="T19" fmla="*/ 503 h 693"/>
                <a:gd name="T20" fmla="*/ 373 w 669"/>
                <a:gd name="T21" fmla="*/ 498 h 693"/>
                <a:gd name="T22" fmla="*/ 456 w 669"/>
                <a:gd name="T23" fmla="*/ 475 h 693"/>
                <a:gd name="T24" fmla="*/ 494 w 669"/>
                <a:gd name="T25" fmla="*/ 489 h 693"/>
                <a:gd name="T26" fmla="*/ 527 w 669"/>
                <a:gd name="T27" fmla="*/ 630 h 693"/>
                <a:gd name="T28" fmla="*/ 386 w 669"/>
                <a:gd name="T29" fmla="*/ 663 h 693"/>
                <a:gd name="T30" fmla="*/ 339 w 669"/>
                <a:gd name="T31" fmla="*/ 560 h 693"/>
                <a:gd name="T32" fmla="*/ 345 w 669"/>
                <a:gd name="T33" fmla="*/ 544 h 693"/>
                <a:gd name="T34" fmla="*/ 177 w 669"/>
                <a:gd name="T35" fmla="*/ 439 h 693"/>
                <a:gd name="T36" fmla="*/ 168 w 669"/>
                <a:gd name="T37" fmla="*/ 446 h 693"/>
                <a:gd name="T38" fmla="*/ 28 w 669"/>
                <a:gd name="T39" fmla="*/ 409 h 693"/>
                <a:gd name="T40" fmla="*/ 65 w 669"/>
                <a:gd name="T41" fmla="*/ 269 h 693"/>
                <a:gd name="T42" fmla="*/ 178 w 669"/>
                <a:gd name="T43" fmla="*/ 276 h 693"/>
                <a:gd name="T44" fmla="*/ 189 w 669"/>
                <a:gd name="T45" fmla="*/ 288 h 693"/>
                <a:gd name="T46" fmla="*/ 455 w 669"/>
                <a:gd name="T47" fmla="*/ 134 h 693"/>
                <a:gd name="T48" fmla="*/ 450 w 669"/>
                <a:gd name="T49" fmla="*/ 119 h 693"/>
                <a:gd name="T50" fmla="*/ 501 w 669"/>
                <a:gd name="T51" fmla="*/ 18 h 693"/>
                <a:gd name="T52" fmla="*/ 539 w 669"/>
                <a:gd name="T53" fmla="*/ 5 h 6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69" h="693">
                  <a:moveTo>
                    <a:pt x="539" y="5"/>
                  </a:moveTo>
                  <a:cubicBezTo>
                    <a:pt x="579" y="0"/>
                    <a:pt x="619" y="19"/>
                    <a:pt x="640" y="55"/>
                  </a:cubicBezTo>
                  <a:cubicBezTo>
                    <a:pt x="669" y="104"/>
                    <a:pt x="652" y="167"/>
                    <a:pt x="603" y="195"/>
                  </a:cubicBezTo>
                  <a:cubicBezTo>
                    <a:pt x="566" y="216"/>
                    <a:pt x="522" y="212"/>
                    <a:pt x="490" y="188"/>
                  </a:cubicBezTo>
                  <a:cubicBezTo>
                    <a:pt x="479" y="176"/>
                    <a:pt x="479" y="176"/>
                    <a:pt x="479" y="176"/>
                  </a:cubicBezTo>
                  <a:cubicBezTo>
                    <a:pt x="213" y="330"/>
                    <a:pt x="213" y="330"/>
                    <a:pt x="213" y="330"/>
                  </a:cubicBezTo>
                  <a:cubicBezTo>
                    <a:pt x="218" y="345"/>
                    <a:pt x="218" y="345"/>
                    <a:pt x="218" y="345"/>
                  </a:cubicBezTo>
                  <a:cubicBezTo>
                    <a:pt x="219" y="355"/>
                    <a:pt x="219" y="365"/>
                    <a:pt x="218" y="375"/>
                  </a:cubicBezTo>
                  <a:cubicBezTo>
                    <a:pt x="209" y="402"/>
                    <a:pt x="209" y="402"/>
                    <a:pt x="209" y="402"/>
                  </a:cubicBezTo>
                  <a:cubicBezTo>
                    <a:pt x="369" y="503"/>
                    <a:pt x="369" y="503"/>
                    <a:pt x="369" y="503"/>
                  </a:cubicBezTo>
                  <a:cubicBezTo>
                    <a:pt x="373" y="498"/>
                    <a:pt x="373" y="498"/>
                    <a:pt x="373" y="498"/>
                  </a:cubicBezTo>
                  <a:cubicBezTo>
                    <a:pt x="396" y="479"/>
                    <a:pt x="427" y="470"/>
                    <a:pt x="456" y="475"/>
                  </a:cubicBezTo>
                  <a:cubicBezTo>
                    <a:pt x="470" y="477"/>
                    <a:pt x="482" y="482"/>
                    <a:pt x="494" y="489"/>
                  </a:cubicBezTo>
                  <a:cubicBezTo>
                    <a:pt x="542" y="519"/>
                    <a:pt x="557" y="583"/>
                    <a:pt x="527" y="630"/>
                  </a:cubicBezTo>
                  <a:cubicBezTo>
                    <a:pt x="497" y="678"/>
                    <a:pt x="433" y="693"/>
                    <a:pt x="386" y="663"/>
                  </a:cubicBezTo>
                  <a:cubicBezTo>
                    <a:pt x="350" y="640"/>
                    <a:pt x="333" y="599"/>
                    <a:pt x="339" y="560"/>
                  </a:cubicBezTo>
                  <a:cubicBezTo>
                    <a:pt x="345" y="544"/>
                    <a:pt x="345" y="544"/>
                    <a:pt x="345" y="544"/>
                  </a:cubicBezTo>
                  <a:cubicBezTo>
                    <a:pt x="177" y="439"/>
                    <a:pt x="177" y="439"/>
                    <a:pt x="177" y="439"/>
                  </a:cubicBezTo>
                  <a:cubicBezTo>
                    <a:pt x="168" y="446"/>
                    <a:pt x="168" y="446"/>
                    <a:pt x="168" y="446"/>
                  </a:cubicBezTo>
                  <a:cubicBezTo>
                    <a:pt x="119" y="475"/>
                    <a:pt x="56" y="458"/>
                    <a:pt x="28" y="409"/>
                  </a:cubicBezTo>
                  <a:cubicBezTo>
                    <a:pt x="0" y="360"/>
                    <a:pt x="16" y="297"/>
                    <a:pt x="65" y="269"/>
                  </a:cubicBezTo>
                  <a:cubicBezTo>
                    <a:pt x="102" y="248"/>
                    <a:pt x="147" y="252"/>
                    <a:pt x="178" y="276"/>
                  </a:cubicBezTo>
                  <a:cubicBezTo>
                    <a:pt x="189" y="288"/>
                    <a:pt x="189" y="288"/>
                    <a:pt x="189" y="288"/>
                  </a:cubicBezTo>
                  <a:cubicBezTo>
                    <a:pt x="455" y="134"/>
                    <a:pt x="455" y="134"/>
                    <a:pt x="455" y="134"/>
                  </a:cubicBezTo>
                  <a:cubicBezTo>
                    <a:pt x="450" y="119"/>
                    <a:pt x="450" y="119"/>
                    <a:pt x="450" y="119"/>
                  </a:cubicBezTo>
                  <a:cubicBezTo>
                    <a:pt x="445" y="80"/>
                    <a:pt x="464" y="39"/>
                    <a:pt x="501" y="18"/>
                  </a:cubicBezTo>
                  <a:cubicBezTo>
                    <a:pt x="513" y="11"/>
                    <a:pt x="526" y="6"/>
                    <a:pt x="539" y="5"/>
                  </a:cubicBezTo>
                  <a:close/>
                </a:path>
              </a:pathLst>
            </a:custGeom>
            <a:solidFill>
              <a:schemeClr val="tx1"/>
            </a:solidFill>
            <a:ln>
              <a:noFill/>
            </a:ln>
          </p:spPr>
          <p:txBody>
            <a:bodyPr vert="horz" wrap="square" lIns="68574" tIns="34287" rIns="68574" bIns="34287"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Segoe UI"/>
                <a:ea typeface="+mn-ea"/>
                <a:cs typeface="+mn-cs"/>
              </a:endParaRPr>
            </a:p>
          </p:txBody>
        </p:sp>
        <p:sp>
          <p:nvSpPr>
            <p:cNvPr id="103" name="Freeform 102"/>
            <p:cNvSpPr>
              <a:spLocks noChangeAspect="1" noEditPoints="1"/>
            </p:cNvSpPr>
            <p:nvPr/>
          </p:nvSpPr>
          <p:spPr bwMode="black">
            <a:xfrm>
              <a:off x="722320" y="1783009"/>
              <a:ext cx="452202" cy="366660"/>
            </a:xfrm>
            <a:custGeom>
              <a:avLst/>
              <a:gdLst>
                <a:gd name="T0" fmla="*/ 600 w 1107"/>
                <a:gd name="T1" fmla="*/ 625 h 897"/>
                <a:gd name="T2" fmla="*/ 649 w 1107"/>
                <a:gd name="T3" fmla="*/ 567 h 897"/>
                <a:gd name="T4" fmla="*/ 727 w 1107"/>
                <a:gd name="T5" fmla="*/ 482 h 897"/>
                <a:gd name="T6" fmla="*/ 601 w 1107"/>
                <a:gd name="T7" fmla="*/ 434 h 897"/>
                <a:gd name="T8" fmla="*/ 628 w 1107"/>
                <a:gd name="T9" fmla="*/ 305 h 897"/>
                <a:gd name="T10" fmla="*/ 547 w 1107"/>
                <a:gd name="T11" fmla="*/ 240 h 897"/>
                <a:gd name="T12" fmla="*/ 427 w 1107"/>
                <a:gd name="T13" fmla="*/ 287 h 897"/>
                <a:gd name="T14" fmla="*/ 368 w 1107"/>
                <a:gd name="T15" fmla="*/ 170 h 897"/>
                <a:gd name="T16" fmla="*/ 285 w 1107"/>
                <a:gd name="T17" fmla="*/ 263 h 897"/>
                <a:gd name="T18" fmla="*/ 241 w 1107"/>
                <a:gd name="T19" fmla="*/ 313 h 897"/>
                <a:gd name="T20" fmla="*/ 139 w 1107"/>
                <a:gd name="T21" fmla="*/ 281 h 897"/>
                <a:gd name="T22" fmla="*/ 79 w 1107"/>
                <a:gd name="T23" fmla="*/ 355 h 897"/>
                <a:gd name="T24" fmla="*/ 132 w 1107"/>
                <a:gd name="T25" fmla="*/ 446 h 897"/>
                <a:gd name="T26" fmla="*/ 83 w 1107"/>
                <a:gd name="T27" fmla="*/ 505 h 897"/>
                <a:gd name="T28" fmla="*/ 5 w 1107"/>
                <a:gd name="T29" fmla="*/ 590 h 897"/>
                <a:gd name="T30" fmla="*/ 132 w 1107"/>
                <a:gd name="T31" fmla="*/ 638 h 897"/>
                <a:gd name="T32" fmla="*/ 145 w 1107"/>
                <a:gd name="T33" fmla="*/ 669 h 897"/>
                <a:gd name="T34" fmla="*/ 110 w 1107"/>
                <a:gd name="T35" fmla="*/ 793 h 897"/>
                <a:gd name="T36" fmla="*/ 230 w 1107"/>
                <a:gd name="T37" fmla="*/ 781 h 897"/>
                <a:gd name="T38" fmla="*/ 306 w 1107"/>
                <a:gd name="T39" fmla="*/ 785 h 897"/>
                <a:gd name="T40" fmla="*/ 346 w 1107"/>
                <a:gd name="T41" fmla="*/ 878 h 897"/>
                <a:gd name="T42" fmla="*/ 440 w 1107"/>
                <a:gd name="T43" fmla="*/ 872 h 897"/>
                <a:gd name="T44" fmla="*/ 466 w 1107"/>
                <a:gd name="T45" fmla="*/ 764 h 897"/>
                <a:gd name="T46" fmla="*/ 539 w 1107"/>
                <a:gd name="T47" fmla="*/ 755 h 897"/>
                <a:gd name="T48" fmla="*/ 659 w 1107"/>
                <a:gd name="T49" fmla="*/ 743 h 897"/>
                <a:gd name="T50" fmla="*/ 263 w 1107"/>
                <a:gd name="T51" fmla="*/ 452 h 897"/>
                <a:gd name="T52" fmla="*/ 281 w 1107"/>
                <a:gd name="T53" fmla="*/ 633 h 897"/>
                <a:gd name="T54" fmla="*/ 1002 w 1107"/>
                <a:gd name="T55" fmla="*/ 332 h 897"/>
                <a:gd name="T56" fmla="*/ 1043 w 1107"/>
                <a:gd name="T57" fmla="*/ 304 h 897"/>
                <a:gd name="T58" fmla="*/ 1107 w 1107"/>
                <a:gd name="T59" fmla="*/ 266 h 897"/>
                <a:gd name="T60" fmla="*/ 1037 w 1107"/>
                <a:gd name="T61" fmla="*/ 213 h 897"/>
                <a:gd name="T62" fmla="*/ 1077 w 1107"/>
                <a:gd name="T63" fmla="*/ 138 h 897"/>
                <a:gd name="T64" fmla="*/ 1038 w 1107"/>
                <a:gd name="T65" fmla="*/ 83 h 897"/>
                <a:gd name="T66" fmla="*/ 956 w 1107"/>
                <a:gd name="T67" fmla="*/ 91 h 897"/>
                <a:gd name="T68" fmla="*/ 940 w 1107"/>
                <a:gd name="T69" fmla="*/ 7 h 897"/>
                <a:gd name="T70" fmla="*/ 872 w 1107"/>
                <a:gd name="T71" fmla="*/ 50 h 897"/>
                <a:gd name="T72" fmla="*/ 836 w 1107"/>
                <a:gd name="T73" fmla="*/ 74 h 897"/>
                <a:gd name="T74" fmla="*/ 778 w 1107"/>
                <a:gd name="T75" fmla="*/ 35 h 897"/>
                <a:gd name="T76" fmla="*/ 728 w 1107"/>
                <a:gd name="T77" fmla="*/ 70 h 897"/>
                <a:gd name="T78" fmla="*/ 744 w 1107"/>
                <a:gd name="T79" fmla="*/ 136 h 897"/>
                <a:gd name="T80" fmla="*/ 703 w 1107"/>
                <a:gd name="T81" fmla="*/ 164 h 897"/>
                <a:gd name="T82" fmla="*/ 640 w 1107"/>
                <a:gd name="T83" fmla="*/ 203 h 897"/>
                <a:gd name="T84" fmla="*/ 710 w 1107"/>
                <a:gd name="T85" fmla="*/ 255 h 897"/>
                <a:gd name="T86" fmla="*/ 712 w 1107"/>
                <a:gd name="T87" fmla="*/ 277 h 897"/>
                <a:gd name="T88" fmla="*/ 668 w 1107"/>
                <a:gd name="T89" fmla="*/ 347 h 897"/>
                <a:gd name="T90" fmla="*/ 745 w 1107"/>
                <a:gd name="T91" fmla="*/ 361 h 897"/>
                <a:gd name="T92" fmla="*/ 791 w 1107"/>
                <a:gd name="T93" fmla="*/ 377 h 897"/>
                <a:gd name="T94" fmla="*/ 799 w 1107"/>
                <a:gd name="T95" fmla="*/ 443 h 897"/>
                <a:gd name="T96" fmla="*/ 859 w 1107"/>
                <a:gd name="T97" fmla="*/ 456 h 897"/>
                <a:gd name="T98" fmla="*/ 894 w 1107"/>
                <a:gd name="T99" fmla="*/ 393 h 897"/>
                <a:gd name="T100" fmla="*/ 941 w 1107"/>
                <a:gd name="T101" fmla="*/ 401 h 897"/>
                <a:gd name="T102" fmla="*/ 1018 w 1107"/>
                <a:gd name="T103" fmla="*/ 415 h 897"/>
                <a:gd name="T104" fmla="*/ 825 w 1107"/>
                <a:gd name="T105" fmla="*/ 164 h 897"/>
                <a:gd name="T106" fmla="*/ 803 w 1107"/>
                <a:gd name="T107" fmla="*/ 279 h 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107" h="897">
                  <a:moveTo>
                    <a:pt x="654" y="716"/>
                  </a:moveTo>
                  <a:cubicBezTo>
                    <a:pt x="616" y="670"/>
                    <a:pt x="616" y="670"/>
                    <a:pt x="616" y="670"/>
                  </a:cubicBezTo>
                  <a:cubicBezTo>
                    <a:pt x="593" y="654"/>
                    <a:pt x="603" y="638"/>
                    <a:pt x="600" y="625"/>
                  </a:cubicBezTo>
                  <a:cubicBezTo>
                    <a:pt x="600" y="625"/>
                    <a:pt x="600" y="625"/>
                    <a:pt x="600" y="625"/>
                  </a:cubicBezTo>
                  <a:cubicBezTo>
                    <a:pt x="605" y="617"/>
                    <a:pt x="611" y="609"/>
                    <a:pt x="608" y="596"/>
                  </a:cubicBezTo>
                  <a:cubicBezTo>
                    <a:pt x="618" y="580"/>
                    <a:pt x="623" y="572"/>
                    <a:pt x="649" y="567"/>
                  </a:cubicBezTo>
                  <a:cubicBezTo>
                    <a:pt x="715" y="553"/>
                    <a:pt x="715" y="553"/>
                    <a:pt x="715" y="553"/>
                  </a:cubicBezTo>
                  <a:cubicBezTo>
                    <a:pt x="728" y="550"/>
                    <a:pt x="733" y="542"/>
                    <a:pt x="730" y="529"/>
                  </a:cubicBezTo>
                  <a:cubicBezTo>
                    <a:pt x="727" y="482"/>
                    <a:pt x="727" y="482"/>
                    <a:pt x="727" y="482"/>
                  </a:cubicBezTo>
                  <a:cubicBezTo>
                    <a:pt x="724" y="469"/>
                    <a:pt x="717" y="463"/>
                    <a:pt x="701" y="453"/>
                  </a:cubicBezTo>
                  <a:cubicBezTo>
                    <a:pt x="641" y="459"/>
                    <a:pt x="641" y="459"/>
                    <a:pt x="641" y="459"/>
                  </a:cubicBezTo>
                  <a:cubicBezTo>
                    <a:pt x="620" y="457"/>
                    <a:pt x="604" y="447"/>
                    <a:pt x="601" y="434"/>
                  </a:cubicBezTo>
                  <a:cubicBezTo>
                    <a:pt x="598" y="421"/>
                    <a:pt x="590" y="416"/>
                    <a:pt x="580" y="397"/>
                  </a:cubicBezTo>
                  <a:cubicBezTo>
                    <a:pt x="577" y="384"/>
                    <a:pt x="574" y="371"/>
                    <a:pt x="584" y="355"/>
                  </a:cubicBezTo>
                  <a:cubicBezTo>
                    <a:pt x="628" y="305"/>
                    <a:pt x="628" y="305"/>
                    <a:pt x="628" y="305"/>
                  </a:cubicBezTo>
                  <a:cubicBezTo>
                    <a:pt x="634" y="297"/>
                    <a:pt x="631" y="284"/>
                    <a:pt x="623" y="279"/>
                  </a:cubicBezTo>
                  <a:cubicBezTo>
                    <a:pt x="581" y="240"/>
                    <a:pt x="581" y="240"/>
                    <a:pt x="581" y="240"/>
                  </a:cubicBezTo>
                  <a:cubicBezTo>
                    <a:pt x="573" y="235"/>
                    <a:pt x="560" y="238"/>
                    <a:pt x="547" y="240"/>
                  </a:cubicBezTo>
                  <a:cubicBezTo>
                    <a:pt x="503" y="291"/>
                    <a:pt x="503" y="291"/>
                    <a:pt x="503" y="291"/>
                  </a:cubicBezTo>
                  <a:cubicBezTo>
                    <a:pt x="484" y="302"/>
                    <a:pt x="471" y="304"/>
                    <a:pt x="463" y="299"/>
                  </a:cubicBezTo>
                  <a:cubicBezTo>
                    <a:pt x="456" y="294"/>
                    <a:pt x="435" y="292"/>
                    <a:pt x="427" y="287"/>
                  </a:cubicBezTo>
                  <a:cubicBezTo>
                    <a:pt x="419" y="282"/>
                    <a:pt x="403" y="271"/>
                    <a:pt x="400" y="258"/>
                  </a:cubicBezTo>
                  <a:cubicBezTo>
                    <a:pt x="386" y="193"/>
                    <a:pt x="386" y="193"/>
                    <a:pt x="386" y="193"/>
                  </a:cubicBezTo>
                  <a:cubicBezTo>
                    <a:pt x="384" y="180"/>
                    <a:pt x="368" y="170"/>
                    <a:pt x="368" y="170"/>
                  </a:cubicBezTo>
                  <a:cubicBezTo>
                    <a:pt x="308" y="176"/>
                    <a:pt x="308" y="176"/>
                    <a:pt x="308" y="176"/>
                  </a:cubicBezTo>
                  <a:cubicBezTo>
                    <a:pt x="308" y="176"/>
                    <a:pt x="289" y="187"/>
                    <a:pt x="292" y="200"/>
                  </a:cubicBezTo>
                  <a:cubicBezTo>
                    <a:pt x="285" y="263"/>
                    <a:pt x="285" y="263"/>
                    <a:pt x="285" y="263"/>
                  </a:cubicBezTo>
                  <a:cubicBezTo>
                    <a:pt x="291" y="289"/>
                    <a:pt x="277" y="292"/>
                    <a:pt x="272" y="300"/>
                  </a:cubicBezTo>
                  <a:cubicBezTo>
                    <a:pt x="272" y="300"/>
                    <a:pt x="272" y="300"/>
                    <a:pt x="267" y="308"/>
                  </a:cubicBezTo>
                  <a:cubicBezTo>
                    <a:pt x="259" y="302"/>
                    <a:pt x="246" y="305"/>
                    <a:pt x="241" y="313"/>
                  </a:cubicBezTo>
                  <a:cubicBezTo>
                    <a:pt x="236" y="321"/>
                    <a:pt x="236" y="321"/>
                    <a:pt x="236" y="321"/>
                  </a:cubicBezTo>
                  <a:cubicBezTo>
                    <a:pt x="223" y="324"/>
                    <a:pt x="210" y="327"/>
                    <a:pt x="194" y="317"/>
                  </a:cubicBezTo>
                  <a:cubicBezTo>
                    <a:pt x="139" y="281"/>
                    <a:pt x="139" y="281"/>
                    <a:pt x="139" y="281"/>
                  </a:cubicBezTo>
                  <a:cubicBezTo>
                    <a:pt x="131" y="276"/>
                    <a:pt x="110" y="273"/>
                    <a:pt x="104" y="281"/>
                  </a:cubicBezTo>
                  <a:cubicBezTo>
                    <a:pt x="79" y="321"/>
                    <a:pt x="79" y="321"/>
                    <a:pt x="79" y="321"/>
                  </a:cubicBezTo>
                  <a:cubicBezTo>
                    <a:pt x="66" y="324"/>
                    <a:pt x="68" y="337"/>
                    <a:pt x="79" y="355"/>
                  </a:cubicBezTo>
                  <a:cubicBezTo>
                    <a:pt x="121" y="394"/>
                    <a:pt x="121" y="394"/>
                    <a:pt x="121" y="394"/>
                  </a:cubicBezTo>
                  <a:cubicBezTo>
                    <a:pt x="140" y="417"/>
                    <a:pt x="135" y="425"/>
                    <a:pt x="132" y="446"/>
                  </a:cubicBezTo>
                  <a:cubicBezTo>
                    <a:pt x="132" y="446"/>
                    <a:pt x="132" y="446"/>
                    <a:pt x="132" y="446"/>
                  </a:cubicBezTo>
                  <a:cubicBezTo>
                    <a:pt x="127" y="454"/>
                    <a:pt x="122" y="462"/>
                    <a:pt x="117" y="470"/>
                  </a:cubicBezTo>
                  <a:cubicBezTo>
                    <a:pt x="117" y="470"/>
                    <a:pt x="117" y="470"/>
                    <a:pt x="117" y="470"/>
                  </a:cubicBezTo>
                  <a:cubicBezTo>
                    <a:pt x="120" y="483"/>
                    <a:pt x="109" y="499"/>
                    <a:pt x="83" y="505"/>
                  </a:cubicBezTo>
                  <a:cubicBezTo>
                    <a:pt x="23" y="511"/>
                    <a:pt x="23" y="511"/>
                    <a:pt x="23" y="511"/>
                  </a:cubicBezTo>
                  <a:cubicBezTo>
                    <a:pt x="10" y="514"/>
                    <a:pt x="0" y="529"/>
                    <a:pt x="2" y="543"/>
                  </a:cubicBezTo>
                  <a:cubicBezTo>
                    <a:pt x="5" y="590"/>
                    <a:pt x="5" y="590"/>
                    <a:pt x="5" y="590"/>
                  </a:cubicBezTo>
                  <a:cubicBezTo>
                    <a:pt x="8" y="603"/>
                    <a:pt x="16" y="608"/>
                    <a:pt x="37" y="610"/>
                  </a:cubicBezTo>
                  <a:cubicBezTo>
                    <a:pt x="92" y="612"/>
                    <a:pt x="92" y="612"/>
                    <a:pt x="92" y="612"/>
                  </a:cubicBezTo>
                  <a:cubicBezTo>
                    <a:pt x="113" y="614"/>
                    <a:pt x="129" y="625"/>
                    <a:pt x="132" y="638"/>
                  </a:cubicBezTo>
                  <a:cubicBezTo>
                    <a:pt x="132" y="638"/>
                    <a:pt x="132" y="638"/>
                    <a:pt x="132" y="638"/>
                  </a:cubicBezTo>
                  <a:cubicBezTo>
                    <a:pt x="140" y="643"/>
                    <a:pt x="142" y="656"/>
                    <a:pt x="150" y="661"/>
                  </a:cubicBezTo>
                  <a:cubicBezTo>
                    <a:pt x="145" y="669"/>
                    <a:pt x="145" y="669"/>
                    <a:pt x="145" y="669"/>
                  </a:cubicBezTo>
                  <a:cubicBezTo>
                    <a:pt x="153" y="674"/>
                    <a:pt x="156" y="687"/>
                    <a:pt x="140" y="711"/>
                  </a:cubicBezTo>
                  <a:cubicBezTo>
                    <a:pt x="109" y="759"/>
                    <a:pt x="109" y="759"/>
                    <a:pt x="109" y="759"/>
                  </a:cubicBezTo>
                  <a:cubicBezTo>
                    <a:pt x="99" y="775"/>
                    <a:pt x="102" y="788"/>
                    <a:pt x="110" y="793"/>
                  </a:cubicBezTo>
                  <a:cubicBezTo>
                    <a:pt x="152" y="832"/>
                    <a:pt x="152" y="832"/>
                    <a:pt x="152" y="832"/>
                  </a:cubicBezTo>
                  <a:cubicBezTo>
                    <a:pt x="160" y="837"/>
                    <a:pt x="173" y="834"/>
                    <a:pt x="178" y="826"/>
                  </a:cubicBezTo>
                  <a:cubicBezTo>
                    <a:pt x="230" y="781"/>
                    <a:pt x="230" y="781"/>
                    <a:pt x="230" y="781"/>
                  </a:cubicBezTo>
                  <a:cubicBezTo>
                    <a:pt x="248" y="770"/>
                    <a:pt x="261" y="767"/>
                    <a:pt x="269" y="772"/>
                  </a:cubicBezTo>
                  <a:cubicBezTo>
                    <a:pt x="269" y="772"/>
                    <a:pt x="269" y="772"/>
                    <a:pt x="269" y="772"/>
                  </a:cubicBezTo>
                  <a:cubicBezTo>
                    <a:pt x="282" y="769"/>
                    <a:pt x="298" y="779"/>
                    <a:pt x="306" y="785"/>
                  </a:cubicBezTo>
                  <a:cubicBezTo>
                    <a:pt x="306" y="785"/>
                    <a:pt x="306" y="785"/>
                    <a:pt x="306" y="785"/>
                  </a:cubicBezTo>
                  <a:cubicBezTo>
                    <a:pt x="319" y="782"/>
                    <a:pt x="327" y="787"/>
                    <a:pt x="332" y="813"/>
                  </a:cubicBezTo>
                  <a:cubicBezTo>
                    <a:pt x="346" y="878"/>
                    <a:pt x="346" y="878"/>
                    <a:pt x="346" y="878"/>
                  </a:cubicBezTo>
                  <a:cubicBezTo>
                    <a:pt x="349" y="892"/>
                    <a:pt x="357" y="897"/>
                    <a:pt x="370" y="894"/>
                  </a:cubicBezTo>
                  <a:cubicBezTo>
                    <a:pt x="425" y="896"/>
                    <a:pt x="425" y="896"/>
                    <a:pt x="425" y="896"/>
                  </a:cubicBezTo>
                  <a:cubicBezTo>
                    <a:pt x="430" y="888"/>
                    <a:pt x="443" y="885"/>
                    <a:pt x="440" y="872"/>
                  </a:cubicBezTo>
                  <a:cubicBezTo>
                    <a:pt x="440" y="804"/>
                    <a:pt x="440" y="804"/>
                    <a:pt x="440" y="804"/>
                  </a:cubicBezTo>
                  <a:cubicBezTo>
                    <a:pt x="442" y="783"/>
                    <a:pt x="460" y="772"/>
                    <a:pt x="466" y="764"/>
                  </a:cubicBezTo>
                  <a:cubicBezTo>
                    <a:pt x="466" y="764"/>
                    <a:pt x="466" y="764"/>
                    <a:pt x="466" y="764"/>
                  </a:cubicBezTo>
                  <a:cubicBezTo>
                    <a:pt x="479" y="761"/>
                    <a:pt x="492" y="758"/>
                    <a:pt x="497" y="750"/>
                  </a:cubicBezTo>
                  <a:cubicBezTo>
                    <a:pt x="497" y="750"/>
                    <a:pt x="497" y="750"/>
                    <a:pt x="497" y="750"/>
                  </a:cubicBezTo>
                  <a:cubicBezTo>
                    <a:pt x="510" y="747"/>
                    <a:pt x="523" y="745"/>
                    <a:pt x="539" y="755"/>
                  </a:cubicBezTo>
                  <a:cubicBezTo>
                    <a:pt x="594" y="791"/>
                    <a:pt x="594" y="791"/>
                    <a:pt x="594" y="791"/>
                  </a:cubicBezTo>
                  <a:cubicBezTo>
                    <a:pt x="602" y="796"/>
                    <a:pt x="623" y="798"/>
                    <a:pt x="628" y="790"/>
                  </a:cubicBezTo>
                  <a:cubicBezTo>
                    <a:pt x="659" y="743"/>
                    <a:pt x="659" y="743"/>
                    <a:pt x="659" y="743"/>
                  </a:cubicBezTo>
                  <a:cubicBezTo>
                    <a:pt x="659" y="743"/>
                    <a:pt x="669" y="727"/>
                    <a:pt x="654" y="716"/>
                  </a:cubicBezTo>
                  <a:close/>
                  <a:moveTo>
                    <a:pt x="281" y="633"/>
                  </a:moveTo>
                  <a:cubicBezTo>
                    <a:pt x="223" y="584"/>
                    <a:pt x="219" y="502"/>
                    <a:pt x="263" y="452"/>
                  </a:cubicBezTo>
                  <a:cubicBezTo>
                    <a:pt x="313" y="393"/>
                    <a:pt x="399" y="382"/>
                    <a:pt x="457" y="431"/>
                  </a:cubicBezTo>
                  <a:cubicBezTo>
                    <a:pt x="507" y="475"/>
                    <a:pt x="518" y="561"/>
                    <a:pt x="469" y="619"/>
                  </a:cubicBezTo>
                  <a:cubicBezTo>
                    <a:pt x="420" y="678"/>
                    <a:pt x="339" y="682"/>
                    <a:pt x="281" y="633"/>
                  </a:cubicBezTo>
                  <a:close/>
                  <a:moveTo>
                    <a:pt x="1019" y="398"/>
                  </a:moveTo>
                  <a:cubicBezTo>
                    <a:pt x="1004" y="362"/>
                    <a:pt x="1004" y="362"/>
                    <a:pt x="1004" y="362"/>
                  </a:cubicBezTo>
                  <a:cubicBezTo>
                    <a:pt x="992" y="348"/>
                    <a:pt x="1002" y="340"/>
                    <a:pt x="1002" y="332"/>
                  </a:cubicBezTo>
                  <a:cubicBezTo>
                    <a:pt x="1002" y="332"/>
                    <a:pt x="1002" y="332"/>
                    <a:pt x="1002" y="332"/>
                  </a:cubicBezTo>
                  <a:cubicBezTo>
                    <a:pt x="1007" y="328"/>
                    <a:pt x="1011" y="324"/>
                    <a:pt x="1012" y="315"/>
                  </a:cubicBezTo>
                  <a:cubicBezTo>
                    <a:pt x="1021" y="307"/>
                    <a:pt x="1026" y="303"/>
                    <a:pt x="1043" y="304"/>
                  </a:cubicBezTo>
                  <a:cubicBezTo>
                    <a:pt x="1086" y="307"/>
                    <a:pt x="1086" y="307"/>
                    <a:pt x="1086" y="307"/>
                  </a:cubicBezTo>
                  <a:cubicBezTo>
                    <a:pt x="1095" y="308"/>
                    <a:pt x="1099" y="304"/>
                    <a:pt x="1100" y="295"/>
                  </a:cubicBezTo>
                  <a:cubicBezTo>
                    <a:pt x="1107" y="266"/>
                    <a:pt x="1107" y="266"/>
                    <a:pt x="1107" y="266"/>
                  </a:cubicBezTo>
                  <a:cubicBezTo>
                    <a:pt x="1107" y="257"/>
                    <a:pt x="1103" y="252"/>
                    <a:pt x="1095" y="243"/>
                  </a:cubicBezTo>
                  <a:cubicBezTo>
                    <a:pt x="1057" y="236"/>
                    <a:pt x="1057" y="236"/>
                    <a:pt x="1057" y="236"/>
                  </a:cubicBezTo>
                  <a:cubicBezTo>
                    <a:pt x="1044" y="231"/>
                    <a:pt x="1036" y="222"/>
                    <a:pt x="1037" y="213"/>
                  </a:cubicBezTo>
                  <a:cubicBezTo>
                    <a:pt x="1038" y="205"/>
                    <a:pt x="1034" y="200"/>
                    <a:pt x="1030" y="187"/>
                  </a:cubicBezTo>
                  <a:cubicBezTo>
                    <a:pt x="1031" y="178"/>
                    <a:pt x="1032" y="170"/>
                    <a:pt x="1041" y="162"/>
                  </a:cubicBezTo>
                  <a:cubicBezTo>
                    <a:pt x="1077" y="138"/>
                    <a:pt x="1077" y="138"/>
                    <a:pt x="1077" y="138"/>
                  </a:cubicBezTo>
                  <a:cubicBezTo>
                    <a:pt x="1082" y="134"/>
                    <a:pt x="1083" y="126"/>
                    <a:pt x="1079" y="121"/>
                  </a:cubicBezTo>
                  <a:cubicBezTo>
                    <a:pt x="1059" y="89"/>
                    <a:pt x="1059" y="89"/>
                    <a:pt x="1059" y="89"/>
                  </a:cubicBezTo>
                  <a:cubicBezTo>
                    <a:pt x="1055" y="85"/>
                    <a:pt x="1047" y="84"/>
                    <a:pt x="1038" y="83"/>
                  </a:cubicBezTo>
                  <a:cubicBezTo>
                    <a:pt x="1002" y="107"/>
                    <a:pt x="1002" y="107"/>
                    <a:pt x="1002" y="107"/>
                  </a:cubicBezTo>
                  <a:cubicBezTo>
                    <a:pt x="989" y="110"/>
                    <a:pt x="980" y="110"/>
                    <a:pt x="976" y="105"/>
                  </a:cubicBezTo>
                  <a:cubicBezTo>
                    <a:pt x="972" y="100"/>
                    <a:pt x="960" y="95"/>
                    <a:pt x="956" y="91"/>
                  </a:cubicBezTo>
                  <a:cubicBezTo>
                    <a:pt x="952" y="86"/>
                    <a:pt x="944" y="77"/>
                    <a:pt x="944" y="68"/>
                  </a:cubicBezTo>
                  <a:cubicBezTo>
                    <a:pt x="948" y="25"/>
                    <a:pt x="948" y="25"/>
                    <a:pt x="948" y="25"/>
                  </a:cubicBezTo>
                  <a:cubicBezTo>
                    <a:pt x="948" y="17"/>
                    <a:pt x="940" y="7"/>
                    <a:pt x="940" y="7"/>
                  </a:cubicBezTo>
                  <a:cubicBezTo>
                    <a:pt x="902" y="0"/>
                    <a:pt x="902" y="0"/>
                    <a:pt x="902" y="0"/>
                  </a:cubicBezTo>
                  <a:cubicBezTo>
                    <a:pt x="902" y="0"/>
                    <a:pt x="889" y="4"/>
                    <a:pt x="888" y="12"/>
                  </a:cubicBezTo>
                  <a:cubicBezTo>
                    <a:pt x="872" y="50"/>
                    <a:pt x="872" y="50"/>
                    <a:pt x="872" y="50"/>
                  </a:cubicBezTo>
                  <a:cubicBezTo>
                    <a:pt x="871" y="67"/>
                    <a:pt x="862" y="67"/>
                    <a:pt x="858" y="71"/>
                  </a:cubicBezTo>
                  <a:cubicBezTo>
                    <a:pt x="858" y="71"/>
                    <a:pt x="858" y="71"/>
                    <a:pt x="853" y="75"/>
                  </a:cubicBezTo>
                  <a:cubicBezTo>
                    <a:pt x="849" y="70"/>
                    <a:pt x="840" y="70"/>
                    <a:pt x="836" y="74"/>
                  </a:cubicBezTo>
                  <a:cubicBezTo>
                    <a:pt x="831" y="78"/>
                    <a:pt x="831" y="78"/>
                    <a:pt x="831" y="78"/>
                  </a:cubicBezTo>
                  <a:cubicBezTo>
                    <a:pt x="822" y="77"/>
                    <a:pt x="814" y="76"/>
                    <a:pt x="806" y="67"/>
                  </a:cubicBezTo>
                  <a:cubicBezTo>
                    <a:pt x="778" y="35"/>
                    <a:pt x="778" y="35"/>
                    <a:pt x="778" y="35"/>
                  </a:cubicBezTo>
                  <a:cubicBezTo>
                    <a:pt x="774" y="30"/>
                    <a:pt x="762" y="25"/>
                    <a:pt x="757" y="29"/>
                  </a:cubicBezTo>
                  <a:cubicBezTo>
                    <a:pt x="734" y="49"/>
                    <a:pt x="734" y="49"/>
                    <a:pt x="734" y="49"/>
                  </a:cubicBezTo>
                  <a:cubicBezTo>
                    <a:pt x="725" y="49"/>
                    <a:pt x="725" y="57"/>
                    <a:pt x="728" y="70"/>
                  </a:cubicBezTo>
                  <a:cubicBezTo>
                    <a:pt x="747" y="102"/>
                    <a:pt x="747" y="102"/>
                    <a:pt x="747" y="102"/>
                  </a:cubicBezTo>
                  <a:cubicBezTo>
                    <a:pt x="754" y="120"/>
                    <a:pt x="750" y="124"/>
                    <a:pt x="744" y="136"/>
                  </a:cubicBezTo>
                  <a:cubicBezTo>
                    <a:pt x="744" y="136"/>
                    <a:pt x="744" y="136"/>
                    <a:pt x="744" y="136"/>
                  </a:cubicBezTo>
                  <a:cubicBezTo>
                    <a:pt x="740" y="140"/>
                    <a:pt x="735" y="144"/>
                    <a:pt x="731" y="148"/>
                  </a:cubicBezTo>
                  <a:cubicBezTo>
                    <a:pt x="731" y="148"/>
                    <a:pt x="731" y="148"/>
                    <a:pt x="731" y="148"/>
                  </a:cubicBezTo>
                  <a:cubicBezTo>
                    <a:pt x="730" y="157"/>
                    <a:pt x="721" y="165"/>
                    <a:pt x="703" y="164"/>
                  </a:cubicBezTo>
                  <a:cubicBezTo>
                    <a:pt x="665" y="157"/>
                    <a:pt x="665" y="157"/>
                    <a:pt x="665" y="157"/>
                  </a:cubicBezTo>
                  <a:cubicBezTo>
                    <a:pt x="656" y="156"/>
                    <a:pt x="647" y="164"/>
                    <a:pt x="647" y="173"/>
                  </a:cubicBezTo>
                  <a:cubicBezTo>
                    <a:pt x="640" y="203"/>
                    <a:pt x="640" y="203"/>
                    <a:pt x="640" y="203"/>
                  </a:cubicBezTo>
                  <a:cubicBezTo>
                    <a:pt x="639" y="211"/>
                    <a:pt x="643" y="216"/>
                    <a:pt x="656" y="221"/>
                  </a:cubicBezTo>
                  <a:cubicBezTo>
                    <a:pt x="690" y="232"/>
                    <a:pt x="690" y="232"/>
                    <a:pt x="690" y="232"/>
                  </a:cubicBezTo>
                  <a:cubicBezTo>
                    <a:pt x="702" y="237"/>
                    <a:pt x="710" y="246"/>
                    <a:pt x="710" y="255"/>
                  </a:cubicBezTo>
                  <a:cubicBezTo>
                    <a:pt x="710" y="255"/>
                    <a:pt x="710" y="255"/>
                    <a:pt x="710" y="255"/>
                  </a:cubicBezTo>
                  <a:cubicBezTo>
                    <a:pt x="714" y="260"/>
                    <a:pt x="713" y="268"/>
                    <a:pt x="717" y="273"/>
                  </a:cubicBezTo>
                  <a:cubicBezTo>
                    <a:pt x="712" y="277"/>
                    <a:pt x="712" y="277"/>
                    <a:pt x="712" y="277"/>
                  </a:cubicBezTo>
                  <a:cubicBezTo>
                    <a:pt x="716" y="281"/>
                    <a:pt x="716" y="290"/>
                    <a:pt x="702" y="302"/>
                  </a:cubicBezTo>
                  <a:cubicBezTo>
                    <a:pt x="674" y="326"/>
                    <a:pt x="674" y="326"/>
                    <a:pt x="674" y="326"/>
                  </a:cubicBezTo>
                  <a:cubicBezTo>
                    <a:pt x="665" y="334"/>
                    <a:pt x="664" y="343"/>
                    <a:pt x="668" y="347"/>
                  </a:cubicBezTo>
                  <a:cubicBezTo>
                    <a:pt x="687" y="379"/>
                    <a:pt x="687" y="379"/>
                    <a:pt x="687" y="379"/>
                  </a:cubicBezTo>
                  <a:cubicBezTo>
                    <a:pt x="691" y="383"/>
                    <a:pt x="700" y="384"/>
                    <a:pt x="704" y="380"/>
                  </a:cubicBezTo>
                  <a:cubicBezTo>
                    <a:pt x="745" y="361"/>
                    <a:pt x="745" y="361"/>
                    <a:pt x="745" y="361"/>
                  </a:cubicBezTo>
                  <a:cubicBezTo>
                    <a:pt x="758" y="358"/>
                    <a:pt x="767" y="358"/>
                    <a:pt x="771" y="363"/>
                  </a:cubicBezTo>
                  <a:cubicBezTo>
                    <a:pt x="771" y="363"/>
                    <a:pt x="771" y="363"/>
                    <a:pt x="771" y="363"/>
                  </a:cubicBezTo>
                  <a:cubicBezTo>
                    <a:pt x="779" y="364"/>
                    <a:pt x="787" y="373"/>
                    <a:pt x="791" y="377"/>
                  </a:cubicBezTo>
                  <a:cubicBezTo>
                    <a:pt x="791" y="377"/>
                    <a:pt x="791" y="377"/>
                    <a:pt x="791" y="377"/>
                  </a:cubicBezTo>
                  <a:cubicBezTo>
                    <a:pt x="800" y="378"/>
                    <a:pt x="804" y="383"/>
                    <a:pt x="802" y="400"/>
                  </a:cubicBezTo>
                  <a:cubicBezTo>
                    <a:pt x="799" y="443"/>
                    <a:pt x="799" y="443"/>
                    <a:pt x="799" y="443"/>
                  </a:cubicBezTo>
                  <a:cubicBezTo>
                    <a:pt x="798" y="451"/>
                    <a:pt x="802" y="456"/>
                    <a:pt x="811" y="457"/>
                  </a:cubicBezTo>
                  <a:cubicBezTo>
                    <a:pt x="845" y="468"/>
                    <a:pt x="845" y="468"/>
                    <a:pt x="845" y="468"/>
                  </a:cubicBezTo>
                  <a:cubicBezTo>
                    <a:pt x="849" y="464"/>
                    <a:pt x="858" y="464"/>
                    <a:pt x="859" y="456"/>
                  </a:cubicBezTo>
                  <a:cubicBezTo>
                    <a:pt x="871" y="413"/>
                    <a:pt x="871" y="413"/>
                    <a:pt x="871" y="413"/>
                  </a:cubicBezTo>
                  <a:cubicBezTo>
                    <a:pt x="876" y="401"/>
                    <a:pt x="889" y="397"/>
                    <a:pt x="894" y="393"/>
                  </a:cubicBezTo>
                  <a:cubicBezTo>
                    <a:pt x="894" y="393"/>
                    <a:pt x="894" y="393"/>
                    <a:pt x="894" y="393"/>
                  </a:cubicBezTo>
                  <a:cubicBezTo>
                    <a:pt x="902" y="394"/>
                    <a:pt x="911" y="395"/>
                    <a:pt x="916" y="391"/>
                  </a:cubicBezTo>
                  <a:cubicBezTo>
                    <a:pt x="916" y="391"/>
                    <a:pt x="916" y="391"/>
                    <a:pt x="916" y="391"/>
                  </a:cubicBezTo>
                  <a:cubicBezTo>
                    <a:pt x="924" y="391"/>
                    <a:pt x="933" y="392"/>
                    <a:pt x="941" y="401"/>
                  </a:cubicBezTo>
                  <a:cubicBezTo>
                    <a:pt x="969" y="433"/>
                    <a:pt x="969" y="433"/>
                    <a:pt x="969" y="433"/>
                  </a:cubicBezTo>
                  <a:cubicBezTo>
                    <a:pt x="973" y="438"/>
                    <a:pt x="985" y="443"/>
                    <a:pt x="990" y="439"/>
                  </a:cubicBezTo>
                  <a:cubicBezTo>
                    <a:pt x="1018" y="415"/>
                    <a:pt x="1018" y="415"/>
                    <a:pt x="1018" y="415"/>
                  </a:cubicBezTo>
                  <a:cubicBezTo>
                    <a:pt x="1018" y="415"/>
                    <a:pt x="1027" y="407"/>
                    <a:pt x="1019" y="398"/>
                  </a:cubicBezTo>
                  <a:close/>
                  <a:moveTo>
                    <a:pt x="803" y="279"/>
                  </a:moveTo>
                  <a:cubicBezTo>
                    <a:pt x="776" y="238"/>
                    <a:pt x="788" y="187"/>
                    <a:pt x="825" y="164"/>
                  </a:cubicBezTo>
                  <a:cubicBezTo>
                    <a:pt x="866" y="136"/>
                    <a:pt x="921" y="144"/>
                    <a:pt x="948" y="185"/>
                  </a:cubicBezTo>
                  <a:cubicBezTo>
                    <a:pt x="972" y="221"/>
                    <a:pt x="963" y="277"/>
                    <a:pt x="922" y="304"/>
                  </a:cubicBezTo>
                  <a:cubicBezTo>
                    <a:pt x="881" y="332"/>
                    <a:pt x="830" y="320"/>
                    <a:pt x="803" y="279"/>
                  </a:cubicBezTo>
                  <a:close/>
                </a:path>
              </a:pathLst>
            </a:custGeom>
            <a:solidFill>
              <a:schemeClr val="tx1"/>
            </a:solidFill>
            <a:ln>
              <a:noFill/>
            </a:ln>
          </p:spPr>
          <p:txBody>
            <a:bodyPr vert="horz" wrap="square" lIns="68574" tIns="34287" rIns="68574" bIns="34287"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17346"/>
                </a:solidFill>
                <a:effectLst/>
                <a:uLnTx/>
                <a:uFillTx/>
                <a:latin typeface="Segoe UI"/>
                <a:ea typeface="+mn-ea"/>
                <a:cs typeface="+mn-cs"/>
              </a:endParaRPr>
            </a:p>
          </p:txBody>
        </p:sp>
        <p:sp>
          <p:nvSpPr>
            <p:cNvPr id="104" name="Freeform 103"/>
            <p:cNvSpPr>
              <a:spLocks noChangeAspect="1"/>
            </p:cNvSpPr>
            <p:nvPr/>
          </p:nvSpPr>
          <p:spPr bwMode="black">
            <a:xfrm>
              <a:off x="776985" y="4213905"/>
              <a:ext cx="342871" cy="335728"/>
            </a:xfrm>
            <a:custGeom>
              <a:avLst/>
              <a:gdLst>
                <a:gd name="connsiteX0" fmla="*/ 3713863 w 4893730"/>
                <a:gd name="connsiteY0" fmla="*/ 2130808 h 4791777"/>
                <a:gd name="connsiteX1" fmla="*/ 4426142 w 4893730"/>
                <a:gd name="connsiteY1" fmla="*/ 2130808 h 4791777"/>
                <a:gd name="connsiteX2" fmla="*/ 4598071 w 4893730"/>
                <a:gd name="connsiteY2" fmla="*/ 2301547 h 4791777"/>
                <a:gd name="connsiteX3" fmla="*/ 4598071 w 4893730"/>
                <a:gd name="connsiteY3" fmla="*/ 3886978 h 4791777"/>
                <a:gd name="connsiteX4" fmla="*/ 4426142 w 4893730"/>
                <a:gd name="connsiteY4" fmla="*/ 4057717 h 4791777"/>
                <a:gd name="connsiteX5" fmla="*/ 3713863 w 4893730"/>
                <a:gd name="connsiteY5" fmla="*/ 4057717 h 4791777"/>
                <a:gd name="connsiteX6" fmla="*/ 3517372 w 4893730"/>
                <a:gd name="connsiteY6" fmla="*/ 3886978 h 4791777"/>
                <a:gd name="connsiteX7" fmla="*/ 3517372 w 4893730"/>
                <a:gd name="connsiteY7" fmla="*/ 2301547 h 4791777"/>
                <a:gd name="connsiteX8" fmla="*/ 3713863 w 4893730"/>
                <a:gd name="connsiteY8" fmla="*/ 2130808 h 4791777"/>
                <a:gd name="connsiteX9" fmla="*/ 904368 w 4893730"/>
                <a:gd name="connsiteY9" fmla="*/ 1223432 h 4791777"/>
                <a:gd name="connsiteX10" fmla="*/ 1609930 w 4893730"/>
                <a:gd name="connsiteY10" fmla="*/ 1223432 h 4791777"/>
                <a:gd name="connsiteX11" fmla="*/ 1804567 w 4893730"/>
                <a:gd name="connsiteY11" fmla="*/ 1394467 h 4791777"/>
                <a:gd name="connsiteX12" fmla="*/ 1804567 w 4893730"/>
                <a:gd name="connsiteY12" fmla="*/ 3886683 h 4791777"/>
                <a:gd name="connsiteX13" fmla="*/ 1609930 w 4893730"/>
                <a:gd name="connsiteY13" fmla="*/ 4057717 h 4791777"/>
                <a:gd name="connsiteX14" fmla="*/ 904368 w 4893730"/>
                <a:gd name="connsiteY14" fmla="*/ 4057717 h 4791777"/>
                <a:gd name="connsiteX15" fmla="*/ 734060 w 4893730"/>
                <a:gd name="connsiteY15" fmla="*/ 3886683 h 4791777"/>
                <a:gd name="connsiteX16" fmla="*/ 734060 w 4893730"/>
                <a:gd name="connsiteY16" fmla="*/ 1394467 h 4791777"/>
                <a:gd name="connsiteX17" fmla="*/ 904368 w 4893730"/>
                <a:gd name="connsiteY17" fmla="*/ 1223432 h 4791777"/>
                <a:gd name="connsiteX18" fmla="*/ 2325453 w 4893730"/>
                <a:gd name="connsiteY18" fmla="*/ 316050 h 4791777"/>
                <a:gd name="connsiteX19" fmla="*/ 3031014 w 4893730"/>
                <a:gd name="connsiteY19" fmla="*/ 316050 h 4791777"/>
                <a:gd name="connsiteX20" fmla="*/ 3201322 w 4893730"/>
                <a:gd name="connsiteY20" fmla="*/ 487238 h 4791777"/>
                <a:gd name="connsiteX21" fmla="*/ 3201322 w 4893730"/>
                <a:gd name="connsiteY21" fmla="*/ 3886530 h 4791777"/>
                <a:gd name="connsiteX22" fmla="*/ 3031014 w 4893730"/>
                <a:gd name="connsiteY22" fmla="*/ 4057717 h 4791777"/>
                <a:gd name="connsiteX23" fmla="*/ 2325453 w 4893730"/>
                <a:gd name="connsiteY23" fmla="*/ 4057717 h 4791777"/>
                <a:gd name="connsiteX24" fmla="*/ 2130815 w 4893730"/>
                <a:gd name="connsiteY24" fmla="*/ 3886530 h 4791777"/>
                <a:gd name="connsiteX25" fmla="*/ 2130815 w 4893730"/>
                <a:gd name="connsiteY25" fmla="*/ 487238 h 4791777"/>
                <a:gd name="connsiteX26" fmla="*/ 2325453 w 4893730"/>
                <a:gd name="connsiteY26" fmla="*/ 316050 h 4791777"/>
                <a:gd name="connsiteX27" fmla="*/ 269155 w 4893730"/>
                <a:gd name="connsiteY27" fmla="*/ 0 h 4791777"/>
                <a:gd name="connsiteX28" fmla="*/ 538311 w 4893730"/>
                <a:gd name="connsiteY28" fmla="*/ 268927 h 4791777"/>
                <a:gd name="connsiteX29" fmla="*/ 538311 w 4893730"/>
                <a:gd name="connsiteY29" fmla="*/ 4253925 h 4791777"/>
                <a:gd name="connsiteX30" fmla="*/ 4624575 w 4893730"/>
                <a:gd name="connsiteY30" fmla="*/ 4253925 h 4791777"/>
                <a:gd name="connsiteX31" fmla="*/ 4893730 w 4893730"/>
                <a:gd name="connsiteY31" fmla="*/ 4522851 h 4791777"/>
                <a:gd name="connsiteX32" fmla="*/ 4624575 w 4893730"/>
                <a:gd name="connsiteY32" fmla="*/ 4791777 h 4791777"/>
                <a:gd name="connsiteX33" fmla="*/ 269155 w 4893730"/>
                <a:gd name="connsiteY33" fmla="*/ 4791777 h 4791777"/>
                <a:gd name="connsiteX34" fmla="*/ 0 w 4893730"/>
                <a:gd name="connsiteY34" fmla="*/ 4522851 h 4791777"/>
                <a:gd name="connsiteX35" fmla="*/ 0 w 4893730"/>
                <a:gd name="connsiteY35" fmla="*/ 268927 h 4791777"/>
                <a:gd name="connsiteX36" fmla="*/ 269155 w 4893730"/>
                <a:gd name="connsiteY36" fmla="*/ 0 h 4791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4893730" h="4791777">
                  <a:moveTo>
                    <a:pt x="3713863" y="2130808"/>
                  </a:moveTo>
                  <a:cubicBezTo>
                    <a:pt x="3713863" y="2130808"/>
                    <a:pt x="3713863" y="2130808"/>
                    <a:pt x="4426142" y="2130808"/>
                  </a:cubicBezTo>
                  <a:cubicBezTo>
                    <a:pt x="4524387" y="2130808"/>
                    <a:pt x="4598071" y="2203982"/>
                    <a:pt x="4598071" y="2301547"/>
                  </a:cubicBezTo>
                  <a:cubicBezTo>
                    <a:pt x="4598071" y="2301547"/>
                    <a:pt x="4598071" y="2301547"/>
                    <a:pt x="4598071" y="3886978"/>
                  </a:cubicBezTo>
                  <a:cubicBezTo>
                    <a:pt x="4598071" y="3984543"/>
                    <a:pt x="4524387" y="4057717"/>
                    <a:pt x="4426142" y="4057717"/>
                  </a:cubicBezTo>
                  <a:cubicBezTo>
                    <a:pt x="4426142" y="4057717"/>
                    <a:pt x="4426142" y="4057717"/>
                    <a:pt x="3713863" y="4057717"/>
                  </a:cubicBezTo>
                  <a:cubicBezTo>
                    <a:pt x="3615618" y="4057717"/>
                    <a:pt x="3517372" y="3984543"/>
                    <a:pt x="3517372" y="3886978"/>
                  </a:cubicBezTo>
                  <a:cubicBezTo>
                    <a:pt x="3517372" y="3886978"/>
                    <a:pt x="3517372" y="3886978"/>
                    <a:pt x="3517372" y="2301547"/>
                  </a:cubicBezTo>
                  <a:cubicBezTo>
                    <a:pt x="3517372" y="2203982"/>
                    <a:pt x="3615618" y="2130808"/>
                    <a:pt x="3713863" y="2130808"/>
                  </a:cubicBezTo>
                  <a:close/>
                  <a:moveTo>
                    <a:pt x="904368" y="1223432"/>
                  </a:moveTo>
                  <a:cubicBezTo>
                    <a:pt x="904368" y="1223432"/>
                    <a:pt x="904368" y="1223432"/>
                    <a:pt x="1609930" y="1223432"/>
                  </a:cubicBezTo>
                  <a:cubicBezTo>
                    <a:pt x="1731578" y="1223432"/>
                    <a:pt x="1804567" y="1296733"/>
                    <a:pt x="1804567" y="1394467"/>
                  </a:cubicBezTo>
                  <a:cubicBezTo>
                    <a:pt x="1804567" y="1394467"/>
                    <a:pt x="1804567" y="1394467"/>
                    <a:pt x="1804567" y="3886683"/>
                  </a:cubicBezTo>
                  <a:cubicBezTo>
                    <a:pt x="1804567" y="3984417"/>
                    <a:pt x="1731578" y="4057717"/>
                    <a:pt x="1609930" y="4057717"/>
                  </a:cubicBezTo>
                  <a:cubicBezTo>
                    <a:pt x="1609930" y="4057717"/>
                    <a:pt x="1609930" y="4057717"/>
                    <a:pt x="904368" y="4057717"/>
                  </a:cubicBezTo>
                  <a:cubicBezTo>
                    <a:pt x="807049" y="4057717"/>
                    <a:pt x="734060" y="3984417"/>
                    <a:pt x="734060" y="3886683"/>
                  </a:cubicBezTo>
                  <a:cubicBezTo>
                    <a:pt x="734060" y="3886683"/>
                    <a:pt x="734060" y="3886683"/>
                    <a:pt x="734060" y="1394467"/>
                  </a:cubicBezTo>
                  <a:cubicBezTo>
                    <a:pt x="734060" y="1296733"/>
                    <a:pt x="807049" y="1223432"/>
                    <a:pt x="904368" y="1223432"/>
                  </a:cubicBezTo>
                  <a:close/>
                  <a:moveTo>
                    <a:pt x="2325453" y="316050"/>
                  </a:moveTo>
                  <a:cubicBezTo>
                    <a:pt x="2325453" y="316050"/>
                    <a:pt x="2325453" y="316050"/>
                    <a:pt x="3031014" y="316050"/>
                  </a:cubicBezTo>
                  <a:cubicBezTo>
                    <a:pt x="3128333" y="316050"/>
                    <a:pt x="3201322" y="389416"/>
                    <a:pt x="3201322" y="487238"/>
                  </a:cubicBezTo>
                  <a:cubicBezTo>
                    <a:pt x="3201322" y="487238"/>
                    <a:pt x="3201322" y="487238"/>
                    <a:pt x="3201322" y="3886530"/>
                  </a:cubicBezTo>
                  <a:cubicBezTo>
                    <a:pt x="3201322" y="3984351"/>
                    <a:pt x="3128333" y="4057717"/>
                    <a:pt x="3031014" y="4057717"/>
                  </a:cubicBezTo>
                  <a:cubicBezTo>
                    <a:pt x="3031014" y="4057717"/>
                    <a:pt x="3031014" y="4057717"/>
                    <a:pt x="2325453" y="4057717"/>
                  </a:cubicBezTo>
                  <a:cubicBezTo>
                    <a:pt x="2203804" y="4057717"/>
                    <a:pt x="2130815" y="3984351"/>
                    <a:pt x="2130815" y="3886530"/>
                  </a:cubicBezTo>
                  <a:cubicBezTo>
                    <a:pt x="2130815" y="3886530"/>
                    <a:pt x="2130815" y="3886530"/>
                    <a:pt x="2130815" y="487238"/>
                  </a:cubicBezTo>
                  <a:cubicBezTo>
                    <a:pt x="2130815" y="389416"/>
                    <a:pt x="2203804" y="316050"/>
                    <a:pt x="2325453" y="316050"/>
                  </a:cubicBezTo>
                  <a:close/>
                  <a:moveTo>
                    <a:pt x="269155" y="0"/>
                  </a:moveTo>
                  <a:cubicBezTo>
                    <a:pt x="415967" y="0"/>
                    <a:pt x="538311" y="122239"/>
                    <a:pt x="538311" y="268927"/>
                  </a:cubicBezTo>
                  <a:cubicBezTo>
                    <a:pt x="538311" y="268927"/>
                    <a:pt x="538311" y="268927"/>
                    <a:pt x="538311" y="4253925"/>
                  </a:cubicBezTo>
                  <a:cubicBezTo>
                    <a:pt x="538311" y="4253925"/>
                    <a:pt x="538311" y="4253925"/>
                    <a:pt x="4624575" y="4253925"/>
                  </a:cubicBezTo>
                  <a:cubicBezTo>
                    <a:pt x="4771387" y="4253925"/>
                    <a:pt x="4893730" y="4376164"/>
                    <a:pt x="4893730" y="4522851"/>
                  </a:cubicBezTo>
                  <a:cubicBezTo>
                    <a:pt x="4893730" y="4669538"/>
                    <a:pt x="4771387" y="4791777"/>
                    <a:pt x="4624575" y="4791777"/>
                  </a:cubicBezTo>
                  <a:cubicBezTo>
                    <a:pt x="4624575" y="4791777"/>
                    <a:pt x="4624575" y="4791777"/>
                    <a:pt x="269155" y="4791777"/>
                  </a:cubicBezTo>
                  <a:cubicBezTo>
                    <a:pt x="122344" y="4791777"/>
                    <a:pt x="0" y="4669538"/>
                    <a:pt x="0" y="4522851"/>
                  </a:cubicBezTo>
                  <a:cubicBezTo>
                    <a:pt x="0" y="4522851"/>
                    <a:pt x="0" y="4522851"/>
                    <a:pt x="0" y="268927"/>
                  </a:cubicBezTo>
                  <a:cubicBezTo>
                    <a:pt x="0" y="122239"/>
                    <a:pt x="122344" y="0"/>
                    <a:pt x="269155"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37148" tIns="109719" rIns="137148" bIns="109719"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699261"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5" name="Rectangle 104"/>
            <p:cNvSpPr/>
            <p:nvPr/>
          </p:nvSpPr>
          <p:spPr bwMode="auto">
            <a:xfrm rot="2745734">
              <a:off x="886688" y="2210975"/>
              <a:ext cx="1598323" cy="1625795"/>
            </a:xfrm>
            <a:prstGeom prst="rect">
              <a:avLst/>
            </a:prstGeom>
            <a:solidFill>
              <a:schemeClr val="tx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6" name="Rectangle 105"/>
            <p:cNvSpPr/>
            <p:nvPr/>
          </p:nvSpPr>
          <p:spPr bwMode="auto">
            <a:xfrm rot="2745734">
              <a:off x="292433" y="3819160"/>
              <a:ext cx="1610349" cy="1235003"/>
            </a:xfrm>
            <a:prstGeom prst="rect">
              <a:avLst/>
            </a:prstGeom>
            <a:solidFill>
              <a:schemeClr val="tx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7" name="Rectangle 106"/>
            <p:cNvSpPr/>
            <p:nvPr/>
          </p:nvSpPr>
          <p:spPr bwMode="auto">
            <a:xfrm rot="2745734">
              <a:off x="1315610" y="4915701"/>
              <a:ext cx="1263370" cy="1255989"/>
            </a:xfrm>
            <a:prstGeom prst="rect">
              <a:avLst/>
            </a:prstGeom>
            <a:solidFill>
              <a:schemeClr val="tx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37" name="Title 10"/>
          <p:cNvSpPr txBox="1">
            <a:spLocks/>
          </p:cNvSpPr>
          <p:nvPr/>
        </p:nvSpPr>
        <p:spPr>
          <a:xfrm>
            <a:off x="2849060" y="0"/>
            <a:ext cx="9342940" cy="665151"/>
          </a:xfrm>
          <a:prstGeom prst="rect">
            <a:avLst/>
          </a:prstGeom>
          <a:noFill/>
        </p:spPr>
        <p:txBody>
          <a:bodyPr vert="horz" wrap="square" lIns="0" tIns="91440" rIns="0" bIns="91440" rtlCol="0" anchor="t">
            <a:noAutofit/>
          </a:bodyPr>
          <a:lstStyle>
            <a:lvl1pPr defTabSz="914367">
              <a:lnSpc>
                <a:spcPct val="90000"/>
              </a:lnSpc>
              <a:spcBef>
                <a:spcPct val="0"/>
              </a:spcBef>
              <a:buNone/>
              <a:defRPr lang="en-US" sz="5294" b="0" cap="none" spc="-100" baseline="0" dirty="0" smtClean="0">
                <a:ln w="3175">
                  <a:noFill/>
                </a:ln>
                <a:solidFill>
                  <a:schemeClr val="tx2"/>
                </a:solidFill>
                <a:effectLst/>
                <a:latin typeface="+mj-lt"/>
                <a:cs typeface="Segoe UI" pitchFamily="34" charset="0"/>
              </a:defRPr>
            </a:lvl1pPr>
          </a:lstStyle>
          <a:p>
            <a:pPr marL="168275" marR="0" lvl="0" indent="0" algn="l" defTabSz="914367" rtl="0" eaLnBrk="1" fontAlgn="auto" latinLnBrk="0" hangingPunct="1">
              <a:lnSpc>
                <a:spcPct val="90000"/>
              </a:lnSpc>
              <a:spcBef>
                <a:spcPct val="0"/>
              </a:spcBef>
              <a:spcAft>
                <a:spcPts val="0"/>
              </a:spcAft>
              <a:buClrTx/>
              <a:buSzTx/>
              <a:buFontTx/>
              <a:buNone/>
              <a:tabLst/>
              <a:defRPr/>
            </a:pPr>
            <a:r>
              <a:rPr kumimoji="0" lang="en-US" sz="3600" b="0" i="0" u="none" strike="noStrike" kern="1200" cap="none" spc="-100" normalizeH="0" baseline="0" noProof="0">
                <a:ln w="3175">
                  <a:noFill/>
                </a:ln>
                <a:solidFill>
                  <a:prstClr val="black"/>
                </a:solidFill>
                <a:effectLst/>
                <a:uLnTx/>
                <a:uFillTx/>
                <a:latin typeface="Segoe UI Light"/>
                <a:ea typeface="+mn-ea"/>
                <a:cs typeface="Segoe UI" pitchFamily="34" charset="0"/>
              </a:rPr>
              <a:t>Calculations</a:t>
            </a:r>
            <a:endParaRPr kumimoji="0" lang="en-IN" sz="3600" b="0" i="0" u="none" strike="noStrike" kern="1200" cap="none" spc="-100" normalizeH="0" baseline="0" noProof="0">
              <a:ln w="3175">
                <a:noFill/>
              </a:ln>
              <a:solidFill>
                <a:prstClr val="black"/>
              </a:solidFill>
              <a:effectLst/>
              <a:uLnTx/>
              <a:uFillTx/>
              <a:latin typeface="Segoe UI Light"/>
              <a:ea typeface="+mn-ea"/>
              <a:cs typeface="Segoe UI" pitchFamily="34" charset="0"/>
            </a:endParaRPr>
          </a:p>
        </p:txBody>
      </p:sp>
      <p:sp>
        <p:nvSpPr>
          <p:cNvPr id="40" name="TextBox 39"/>
          <p:cNvSpPr txBox="1"/>
          <p:nvPr/>
        </p:nvSpPr>
        <p:spPr>
          <a:xfrm>
            <a:off x="3" y="51415"/>
            <a:ext cx="2849058" cy="430887"/>
          </a:xfrm>
          <a:prstGeom prst="rect">
            <a:avLst/>
          </a:prstGeom>
        </p:spPr>
        <p:txBody>
          <a:bodyPr wrap="square">
            <a:spAutoFit/>
          </a:bodyPr>
          <a:lstStyle>
            <a:defPPr>
              <a:defRPr lang="en-US"/>
            </a:defPPr>
            <a:lvl1pPr defTabSz="914192">
              <a:defRPr sz="2800" b="1" spc="-100">
                <a:ln w="3175">
                  <a:noFill/>
                </a:ln>
                <a:solidFill>
                  <a:srgbClr val="F2C812"/>
                </a:solidFill>
                <a:latin typeface="Segoe UI" panose="020B0502040204020203" pitchFamily="34" charset="0"/>
                <a:ea typeface="ＭＳ Ｐゴシック" charset="0"/>
                <a:cs typeface="Segoe UI" panose="020B0502040204020203" pitchFamily="34" charset="0"/>
              </a:defRPr>
            </a:lvl1pPr>
          </a:lstStyle>
          <a:p>
            <a:pPr marL="0" marR="0" lvl="0" indent="0" algn="l" defTabSz="914192" rtl="0" eaLnBrk="1" fontAlgn="auto" latinLnBrk="0" hangingPunct="1">
              <a:lnSpc>
                <a:spcPct val="100000"/>
              </a:lnSpc>
              <a:spcBef>
                <a:spcPts val="0"/>
              </a:spcBef>
              <a:spcAft>
                <a:spcPts val="0"/>
              </a:spcAft>
              <a:buClrTx/>
              <a:buSzTx/>
              <a:buFontTx/>
              <a:buNone/>
              <a:tabLst/>
              <a:defRPr/>
            </a:pPr>
            <a:r>
              <a:rPr kumimoji="0" lang="en-US" sz="2200" b="1" i="0" u="none" strike="noStrike" kern="1200" cap="none" spc="-100" normalizeH="0" baseline="0" noProof="0">
                <a:ln w="3175">
                  <a:noFill/>
                </a:ln>
                <a:solidFill>
                  <a:srgbClr val="F2C812"/>
                </a:solidFill>
                <a:effectLst/>
                <a:uLnTx/>
                <a:uFillTx/>
                <a:latin typeface="Segoe UI Light"/>
                <a:ea typeface="ＭＳ Ｐゴシック" charset="0"/>
                <a:cs typeface="Segoe UI" panose="020B0502040204020203" pitchFamily="34" charset="0"/>
              </a:rPr>
              <a:t>Power BI Desktop</a:t>
            </a:r>
          </a:p>
        </p:txBody>
      </p:sp>
      <p:sp>
        <p:nvSpPr>
          <p:cNvPr id="36" name="Rectangle 3"/>
          <p:cNvSpPr/>
          <p:nvPr/>
        </p:nvSpPr>
        <p:spPr bwMode="auto">
          <a:xfrm>
            <a:off x="3202216" y="665151"/>
            <a:ext cx="8105312" cy="44435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PT" sz="2000" b="0" i="1" u="none" strike="noStrike" kern="1200" cap="none" spc="0" normalizeH="0" baseline="0" noProof="0">
                <a:ln>
                  <a:noFill/>
                </a:ln>
                <a:solidFill>
                  <a:prstClr val="black"/>
                </a:solidFill>
                <a:effectLst/>
                <a:uLnTx/>
                <a:uFillTx/>
                <a:latin typeface="Segoe UI Light"/>
                <a:ea typeface="+mn-ea"/>
                <a:cs typeface="+mn-cs"/>
              </a:rPr>
              <a:t>Measures</a:t>
            </a:r>
            <a:endParaRPr kumimoji="0" lang="en-US" sz="2000" b="0" i="1" u="none" strike="noStrike" kern="1200" cap="none" spc="0" normalizeH="0" baseline="0" noProof="0">
              <a:ln>
                <a:noFill/>
              </a:ln>
              <a:solidFill>
                <a:prstClr val="black"/>
              </a:solidFill>
              <a:effectLst/>
              <a:uLnTx/>
              <a:uFillTx/>
              <a:latin typeface="Segoe UI Light"/>
              <a:ea typeface="+mn-ea"/>
              <a:cs typeface="+mn-cs"/>
            </a:endParaRPr>
          </a:p>
        </p:txBody>
      </p:sp>
      <p:sp>
        <p:nvSpPr>
          <p:cNvPr id="35" name="Text Placeholder 2"/>
          <p:cNvSpPr txBox="1">
            <a:spLocks/>
          </p:cNvSpPr>
          <p:nvPr/>
        </p:nvSpPr>
        <p:spPr>
          <a:xfrm>
            <a:off x="2915396" y="1412203"/>
            <a:ext cx="9090381" cy="897374"/>
          </a:xfrm>
          <a:prstGeom prst="rect">
            <a:avLst/>
          </a:prstGeom>
        </p:spPr>
        <p:txBody>
          <a:bodyPr vert="horz" wrap="square" lIns="182880" tIns="146304" rIns="182880" bIns="146304" rtlCol="0">
            <a:noAutofit/>
          </a:bodyPr>
          <a:lstStyle>
            <a:lvl1pPr marL="182845" marR="0"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3921" kern="1200" spc="0" baseline="0">
                <a:gradFill>
                  <a:gsLst>
                    <a:gs pos="1250">
                      <a:schemeClr val="tx2"/>
                    </a:gs>
                    <a:gs pos="99000">
                      <a:schemeClr val="tx2"/>
                    </a:gs>
                  </a:gsLst>
                  <a:lin ang="5400000" scaled="0"/>
                </a:gradFill>
                <a:latin typeface="+mj-lt"/>
                <a:ea typeface="+mn-ea"/>
                <a:cs typeface="+mn-cs"/>
              </a:defRPr>
            </a:lvl1pPr>
            <a:lvl2pPr marL="365690" marR="0"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2400" kern="1200" spc="0" baseline="0">
                <a:solidFill>
                  <a:schemeClr val="tx2"/>
                </a:solidFill>
                <a:latin typeface="+mj-lt"/>
                <a:ea typeface="+mn-ea"/>
                <a:cs typeface="+mn-cs"/>
              </a:defRPr>
            </a:lvl2pPr>
            <a:lvl3pPr marL="548535" marR="0"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2000" kern="1200" spc="0" baseline="0">
                <a:solidFill>
                  <a:schemeClr val="tx2"/>
                </a:solidFill>
                <a:latin typeface="+mj-lt"/>
                <a:ea typeface="+mn-ea"/>
                <a:cs typeface="+mn-cs"/>
              </a:defRPr>
            </a:lvl3pPr>
            <a:lvl4pPr marL="733802" marR="0" indent="-28569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1765" kern="1200" spc="0" baseline="0">
                <a:solidFill>
                  <a:schemeClr val="tx2"/>
                </a:solidFill>
                <a:latin typeface="+mn-lt"/>
                <a:ea typeface="+mn-ea"/>
                <a:cs typeface="+mn-cs"/>
              </a:defRPr>
            </a:lvl4pPr>
            <a:lvl5pPr marL="957856" marR="0" indent="-28569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1765" kern="1200" spc="0" baseline="0">
                <a:solidFill>
                  <a:schemeClr val="tx2"/>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r>
              <a:rPr kumimoji="0" lang="pt-PT" sz="2400" b="0" i="0" u="none" strike="noStrike" kern="1200" cap="none" spc="0" normalizeH="0" baseline="0" noProof="0">
                <a:ln>
                  <a:noFill/>
                </a:ln>
                <a:solidFill>
                  <a:prstClr val="black"/>
                </a:solidFill>
                <a:effectLst/>
                <a:uLnTx/>
                <a:uFillTx/>
                <a:latin typeface="Segoe UI Light"/>
                <a:ea typeface="Calibri" panose="020F0502020204030204" pitchFamily="34" charset="0"/>
                <a:cs typeface="Times New Roman" panose="02020603050405020304" pitchFamily="18" charset="0"/>
              </a:rPr>
              <a:t>Measures are </a:t>
            </a:r>
            <a:r>
              <a:rPr kumimoji="0" lang="pt-PT" sz="2400" b="1" i="0" u="none" strike="noStrike" kern="1200" cap="none" spc="0" normalizeH="0" baseline="0" noProof="0">
                <a:ln>
                  <a:noFill/>
                </a:ln>
                <a:solidFill>
                  <a:prstClr val="black"/>
                </a:solidFill>
                <a:effectLst/>
                <a:uLnTx/>
                <a:uFillTx/>
                <a:latin typeface="Segoe UI Light"/>
                <a:ea typeface="Calibri" panose="020F0502020204030204" pitchFamily="34" charset="0"/>
                <a:cs typeface="Times New Roman" panose="02020603050405020304" pitchFamily="18" charset="0"/>
              </a:rPr>
              <a:t>calculated when they are used </a:t>
            </a:r>
            <a:r>
              <a:rPr kumimoji="0" lang="pt-PT" sz="2400" b="0" i="0" u="none" strike="noStrike" kern="1200" cap="none" spc="0" normalizeH="0" baseline="0" noProof="0">
                <a:ln>
                  <a:noFill/>
                </a:ln>
                <a:solidFill>
                  <a:prstClr val="black"/>
                </a:solidFill>
                <a:effectLst/>
                <a:uLnTx/>
                <a:uFillTx/>
                <a:latin typeface="Segoe UI Light"/>
                <a:ea typeface="Calibri" panose="020F0502020204030204" pitchFamily="34" charset="0"/>
                <a:cs typeface="Times New Roman" panose="02020603050405020304" pitchFamily="18" charset="0"/>
              </a:rPr>
              <a:t>in a particular visualization</a:t>
            </a: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pt-PT" sz="2400" b="0" i="0" u="none" strike="noStrike" kern="1200" cap="none" spc="0" normalizeH="0" baseline="0" noProof="0">
              <a:ln>
                <a:noFill/>
              </a:ln>
              <a:solidFill>
                <a:prstClr val="black"/>
              </a:solidFill>
              <a:effectLst/>
              <a:uLnTx/>
              <a:uFillTx/>
              <a:latin typeface="Segoe UI Light"/>
              <a:ea typeface="Calibri" panose="020F0502020204030204" pitchFamily="34" charset="0"/>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r>
              <a:rPr kumimoji="0" lang="pt-PT" sz="2400" b="0" i="0" u="none" strike="noStrike" kern="1200" cap="none" spc="0" normalizeH="0" baseline="0" noProof="0">
                <a:ln>
                  <a:noFill/>
                </a:ln>
                <a:solidFill>
                  <a:prstClr val="black"/>
                </a:solidFill>
                <a:effectLst/>
                <a:uLnTx/>
                <a:uFillTx/>
                <a:latin typeface="Segoe UI Light"/>
                <a:ea typeface="Calibri" panose="020F0502020204030204" pitchFamily="34" charset="0"/>
                <a:cs typeface="Times New Roman" panose="02020603050405020304" pitchFamily="18" charset="0"/>
              </a:rPr>
              <a:t>And they </a:t>
            </a:r>
            <a:r>
              <a:rPr kumimoji="0" lang="pt-PT" sz="2400" b="1" i="0" u="none" strike="noStrike" kern="1200" cap="none" spc="0" normalizeH="0" baseline="0" noProof="0">
                <a:ln>
                  <a:noFill/>
                </a:ln>
                <a:solidFill>
                  <a:prstClr val="black"/>
                </a:solidFill>
                <a:effectLst/>
                <a:uLnTx/>
                <a:uFillTx/>
                <a:latin typeface="Segoe UI Light"/>
                <a:ea typeface="Calibri" panose="020F0502020204030204" pitchFamily="34" charset="0"/>
                <a:cs typeface="Times New Roman" panose="02020603050405020304" pitchFamily="18" charset="0"/>
              </a:rPr>
              <a:t>can also be calculated on a row-by-row </a:t>
            </a:r>
            <a:r>
              <a:rPr kumimoji="0" lang="pt-PT" sz="2400" b="0" i="0" u="none" strike="noStrike" kern="1200" cap="none" spc="0" normalizeH="0" baseline="0" noProof="0">
                <a:ln>
                  <a:noFill/>
                </a:ln>
                <a:solidFill>
                  <a:prstClr val="black"/>
                </a:solidFill>
                <a:effectLst/>
                <a:uLnTx/>
                <a:uFillTx/>
                <a:latin typeface="Segoe UI Light"/>
                <a:ea typeface="Calibri" panose="020F0502020204030204" pitchFamily="34" charset="0"/>
                <a:cs typeface="Times New Roman" panose="02020603050405020304" pitchFamily="18" charset="0"/>
              </a:rPr>
              <a:t>basis</a:t>
            </a: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pt-PT" sz="2400" b="0" i="0" u="none" strike="noStrike" kern="1200" cap="none" spc="0" normalizeH="0" baseline="0" noProof="0">
              <a:ln>
                <a:noFill/>
              </a:ln>
              <a:solidFill>
                <a:prstClr val="black"/>
              </a:solidFill>
              <a:effectLst/>
              <a:uLnTx/>
              <a:uFillTx/>
              <a:latin typeface="Segoe UI Light"/>
              <a:ea typeface="Calibri" panose="020F0502020204030204" pitchFamily="34" charset="0"/>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r>
              <a:rPr kumimoji="0" lang="pt-PT" sz="2400" b="0" i="0" u="none" strike="noStrike" kern="1200" cap="none" spc="0" normalizeH="0" baseline="0" noProof="0">
                <a:ln>
                  <a:noFill/>
                </a:ln>
                <a:solidFill>
                  <a:prstClr val="black"/>
                </a:solidFill>
                <a:effectLst/>
                <a:uLnTx/>
                <a:uFillTx/>
                <a:latin typeface="Segoe UI Light"/>
                <a:ea typeface="Calibri" panose="020F0502020204030204" pitchFamily="34" charset="0"/>
                <a:cs typeface="Times New Roman" panose="02020603050405020304" pitchFamily="18" charset="0"/>
              </a:rPr>
              <a:t>They can be </a:t>
            </a:r>
            <a:r>
              <a:rPr kumimoji="0" lang="pt-PT" sz="2400" b="1" i="0" u="none" strike="noStrike" kern="1200" cap="none" spc="0" normalizeH="0" baseline="0" noProof="0">
                <a:ln>
                  <a:noFill/>
                </a:ln>
                <a:solidFill>
                  <a:prstClr val="black"/>
                </a:solidFill>
                <a:effectLst/>
                <a:uLnTx/>
                <a:uFillTx/>
                <a:latin typeface="Segoe UI Light"/>
                <a:ea typeface="Calibri" panose="020F0502020204030204" pitchFamily="34" charset="0"/>
                <a:cs typeface="Times New Roman" panose="02020603050405020304" pitchFamily="18" charset="0"/>
              </a:rPr>
              <a:t>implicit</a:t>
            </a:r>
            <a:r>
              <a:rPr kumimoji="0" lang="pt-PT" sz="2400" b="0" i="0" u="none" strike="noStrike" kern="1200" cap="none" spc="0" normalizeH="0" baseline="0" noProof="0">
                <a:ln>
                  <a:noFill/>
                </a:ln>
                <a:solidFill>
                  <a:prstClr val="black"/>
                </a:solidFill>
                <a:effectLst/>
                <a:uLnTx/>
                <a:uFillTx/>
                <a:latin typeface="Segoe UI Light"/>
                <a:ea typeface="Calibri" panose="020F0502020204030204" pitchFamily="34" charset="0"/>
                <a:cs typeface="Times New Roman" panose="02020603050405020304" pitchFamily="18" charset="0"/>
              </a:rPr>
              <a:t> – an aggregation of a field with “Default Summarization” different from “Do Not Summarize”</a:t>
            </a: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pt-PT" sz="2400" b="0" i="0" u="none" strike="noStrike" kern="1200" cap="none" spc="0" normalizeH="0" baseline="0" noProof="0">
              <a:ln>
                <a:noFill/>
              </a:ln>
              <a:solidFill>
                <a:prstClr val="black"/>
              </a:solidFill>
              <a:effectLst/>
              <a:uLnTx/>
              <a:uFillTx/>
              <a:latin typeface="Segoe UI Light"/>
              <a:ea typeface="Calibri" panose="020F0502020204030204" pitchFamily="34" charset="0"/>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pt-PT" sz="2400" b="1" i="0" u="none" strike="noStrike" kern="1200" cap="none" spc="0" normalizeH="0" baseline="0" noProof="0">
              <a:ln>
                <a:noFill/>
              </a:ln>
              <a:solidFill>
                <a:prstClr val="black"/>
              </a:solidFill>
              <a:effectLst/>
              <a:uLnTx/>
              <a:uFillTx/>
              <a:latin typeface="Segoe UI Light"/>
              <a:ea typeface="Calibri" panose="020F0502020204030204" pitchFamily="34" charset="0"/>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r>
              <a:rPr kumimoji="0" lang="pt-PT" sz="2400" b="0" i="0" u="none" strike="noStrike" kern="1200" cap="none" spc="0" normalizeH="0" baseline="0" noProof="0">
                <a:ln>
                  <a:noFill/>
                </a:ln>
                <a:solidFill>
                  <a:prstClr val="black"/>
                </a:solidFill>
                <a:effectLst/>
                <a:uLnTx/>
                <a:uFillTx/>
                <a:latin typeface="Segoe UI Light"/>
                <a:ea typeface="Calibri" panose="020F0502020204030204" pitchFamily="34" charset="0"/>
                <a:cs typeface="Times New Roman" panose="02020603050405020304" pitchFamily="18" charset="0"/>
              </a:rPr>
              <a:t>They can be </a:t>
            </a:r>
            <a:r>
              <a:rPr kumimoji="0" lang="pt-PT" sz="2400" b="1" i="0" u="none" strike="noStrike" kern="1200" cap="none" spc="0" normalizeH="0" baseline="0" noProof="0">
                <a:ln>
                  <a:noFill/>
                </a:ln>
                <a:solidFill>
                  <a:prstClr val="black"/>
                </a:solidFill>
                <a:effectLst/>
                <a:uLnTx/>
                <a:uFillTx/>
                <a:latin typeface="Segoe UI Light"/>
                <a:ea typeface="Calibri" panose="020F0502020204030204" pitchFamily="34" charset="0"/>
                <a:cs typeface="Times New Roman" panose="02020603050405020304" pitchFamily="18" charset="0"/>
              </a:rPr>
              <a:t>explicit</a:t>
            </a:r>
            <a:r>
              <a:rPr kumimoji="0" lang="pt-PT" sz="2400" b="0" i="0" u="none" strike="noStrike" kern="1200" cap="none" spc="0" normalizeH="0" baseline="0" noProof="0">
                <a:ln>
                  <a:noFill/>
                </a:ln>
                <a:solidFill>
                  <a:prstClr val="black"/>
                </a:solidFill>
                <a:effectLst/>
                <a:uLnTx/>
                <a:uFillTx/>
                <a:latin typeface="Segoe UI Light"/>
                <a:ea typeface="Calibri" panose="020F0502020204030204" pitchFamily="34" charset="0"/>
                <a:cs typeface="Times New Roman" panose="02020603050405020304" pitchFamily="18" charset="0"/>
              </a:rPr>
              <a:t>, where they are the result of a DAX expression. You cannot control the aggregation for this type.</a:t>
            </a:r>
            <a:endParaRPr kumimoji="0" lang="en-US" sz="2400" b="0" i="0" u="none" strike="noStrike" kern="1200" cap="none" spc="0" normalizeH="0" baseline="0" noProof="0">
              <a:ln>
                <a:noFill/>
              </a:ln>
              <a:solidFill>
                <a:prstClr val="black"/>
              </a:solidFill>
              <a:effectLst/>
              <a:uLnTx/>
              <a:uFillTx/>
              <a:latin typeface="Segoe UI Light"/>
              <a:ea typeface="Calibri" panose="020F0502020204030204" pitchFamily="34" charset="0"/>
              <a:cs typeface="Times New Roman" panose="02020603050405020304" pitchFamily="18" charset="0"/>
            </a:endParaRPr>
          </a:p>
        </p:txBody>
      </p:sp>
      <p:pic>
        <p:nvPicPr>
          <p:cNvPr id="2" name="Picture 1"/>
          <p:cNvPicPr>
            <a:picLocks noChangeAspect="1"/>
          </p:cNvPicPr>
          <p:nvPr/>
        </p:nvPicPr>
        <p:blipFill>
          <a:blip r:embed="rId3"/>
          <a:stretch>
            <a:fillRect/>
          </a:stretch>
        </p:blipFill>
        <p:spPr>
          <a:xfrm>
            <a:off x="3443287" y="4243721"/>
            <a:ext cx="1775660" cy="355132"/>
          </a:xfrm>
          <a:prstGeom prst="rect">
            <a:avLst/>
          </a:prstGeom>
        </p:spPr>
      </p:pic>
      <p:pic>
        <p:nvPicPr>
          <p:cNvPr id="3" name="Picture 2"/>
          <p:cNvPicPr>
            <a:picLocks noChangeAspect="1"/>
          </p:cNvPicPr>
          <p:nvPr/>
        </p:nvPicPr>
        <p:blipFill>
          <a:blip r:embed="rId4"/>
          <a:stretch>
            <a:fillRect/>
          </a:stretch>
        </p:blipFill>
        <p:spPr>
          <a:xfrm>
            <a:off x="3443287" y="5785154"/>
            <a:ext cx="2237431" cy="350441"/>
          </a:xfrm>
          <a:prstGeom prst="rect">
            <a:avLst/>
          </a:prstGeom>
        </p:spPr>
      </p:pic>
    </p:spTree>
    <p:extLst>
      <p:ext uri="{BB962C8B-B14F-4D97-AF65-F5344CB8AC3E}">
        <p14:creationId xmlns:p14="http://schemas.microsoft.com/office/powerpoint/2010/main" val="28693361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3"/>
          <a:stretch>
            <a:fillRect/>
          </a:stretch>
        </p:blipFill>
        <p:spPr>
          <a:xfrm>
            <a:off x="3610664" y="3665069"/>
            <a:ext cx="4581525" cy="2609850"/>
          </a:xfrm>
          <a:prstGeom prst="rect">
            <a:avLst/>
          </a:prstGeom>
        </p:spPr>
      </p:pic>
      <p:grpSp>
        <p:nvGrpSpPr>
          <p:cNvPr id="4" name="Group 3"/>
          <p:cNvGrpSpPr/>
          <p:nvPr/>
        </p:nvGrpSpPr>
        <p:grpSpPr>
          <a:xfrm>
            <a:off x="-11149" y="0"/>
            <a:ext cx="2849058" cy="6858000"/>
            <a:chOff x="2" y="1"/>
            <a:chExt cx="2849058" cy="6858000"/>
          </a:xfrm>
        </p:grpSpPr>
        <p:sp>
          <p:nvSpPr>
            <p:cNvPr id="70" name="Rectangle 69"/>
            <p:cNvSpPr/>
            <p:nvPr/>
          </p:nvSpPr>
          <p:spPr bwMode="auto">
            <a:xfrm>
              <a:off x="2" y="1"/>
              <a:ext cx="2849058"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5" name="Oval 70"/>
            <p:cNvSpPr/>
            <p:nvPr/>
          </p:nvSpPr>
          <p:spPr>
            <a:xfrm>
              <a:off x="1413521" y="4951537"/>
              <a:ext cx="1119626" cy="1119626"/>
            </a:xfrm>
            <a:prstGeom prst="ellipse">
              <a:avLst/>
            </a:prstGeom>
            <a:solidFill>
              <a:srgbClr val="F2C812"/>
            </a:solidFill>
            <a:ln w="3175" cap="flat" cmpd="sng" algn="ctr">
              <a:noFill/>
              <a:prstDash val="solid"/>
            </a:ln>
            <a:effectLst/>
          </p:spPr>
          <p:txBody>
            <a:bodyPr vert="horz" wrap="none" lIns="0" tIns="45720" rIns="0" bIns="0" rtlCol="0" anchor="t"/>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Segoe UI"/>
                  <a:ea typeface="Segoe UI" pitchFamily="34" charset="0"/>
                  <a:cs typeface="Segoe UI" pitchFamily="34" charset="0"/>
                </a:rPr>
                <a:t>Share &amp;</a:t>
              </a:r>
            </a:p>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Segoe UI"/>
                  <a:ea typeface="Segoe UI" pitchFamily="34" charset="0"/>
                  <a:cs typeface="Segoe UI" pitchFamily="34" charset="0"/>
                </a:rPr>
                <a:t>collaborate </a:t>
              </a:r>
            </a:p>
          </p:txBody>
        </p:sp>
        <p:grpSp>
          <p:nvGrpSpPr>
            <p:cNvPr id="66" name="Group 38"/>
            <p:cNvGrpSpPr>
              <a:grpSpLocks noChangeAspect="1"/>
            </p:cNvGrpSpPr>
            <p:nvPr/>
          </p:nvGrpSpPr>
          <p:grpSpPr>
            <a:xfrm>
              <a:off x="676996" y="3930692"/>
              <a:ext cx="383905" cy="351536"/>
              <a:chOff x="4363684" y="5330386"/>
              <a:chExt cx="1409956" cy="1291077"/>
            </a:xfrm>
            <a:solidFill>
              <a:srgbClr val="217346"/>
            </a:solidFill>
          </p:grpSpPr>
          <p:sp>
            <p:nvSpPr>
              <p:cNvPr id="67" name="Donut 3"/>
              <p:cNvSpPr/>
              <p:nvPr/>
            </p:nvSpPr>
            <p:spPr bwMode="auto">
              <a:xfrm>
                <a:off x="4363684" y="5330386"/>
                <a:ext cx="1409956" cy="1291077"/>
              </a:xfrm>
              <a:custGeom>
                <a:avLst/>
                <a:gdLst/>
                <a:ahLst/>
                <a:cxnLst/>
                <a:rect l="l" t="t" r="r" b="b"/>
                <a:pathLst>
                  <a:path w="1409956" h="1291077">
                    <a:moveTo>
                      <a:pt x="956401" y="78410"/>
                    </a:moveTo>
                    <a:cubicBezTo>
                      <a:pt x="747518" y="78410"/>
                      <a:pt x="578184" y="247744"/>
                      <a:pt x="578184" y="456627"/>
                    </a:cubicBezTo>
                    <a:cubicBezTo>
                      <a:pt x="578184" y="665510"/>
                      <a:pt x="747518" y="834844"/>
                      <a:pt x="956401" y="834844"/>
                    </a:cubicBezTo>
                    <a:cubicBezTo>
                      <a:pt x="1165284" y="834844"/>
                      <a:pt x="1334618" y="665510"/>
                      <a:pt x="1334618" y="456627"/>
                    </a:cubicBezTo>
                    <a:cubicBezTo>
                      <a:pt x="1334618" y="247744"/>
                      <a:pt x="1165284" y="78410"/>
                      <a:pt x="956401" y="78410"/>
                    </a:cubicBezTo>
                    <a:close/>
                    <a:moveTo>
                      <a:pt x="952756" y="0"/>
                    </a:moveTo>
                    <a:cubicBezTo>
                      <a:pt x="1205261" y="0"/>
                      <a:pt x="1409956" y="204695"/>
                      <a:pt x="1409956" y="457200"/>
                    </a:cubicBezTo>
                    <a:cubicBezTo>
                      <a:pt x="1409956" y="709705"/>
                      <a:pt x="1205261" y="914400"/>
                      <a:pt x="952756" y="914400"/>
                    </a:cubicBezTo>
                    <a:cubicBezTo>
                      <a:pt x="862133" y="914400"/>
                      <a:pt x="777669" y="888034"/>
                      <a:pt x="707132" y="841746"/>
                    </a:cubicBezTo>
                    <a:lnTo>
                      <a:pt x="136495" y="1280102"/>
                    </a:lnTo>
                    <a:cubicBezTo>
                      <a:pt x="21896" y="1327168"/>
                      <a:pt x="-44029" y="1213730"/>
                      <a:pt x="33797" y="1113182"/>
                    </a:cubicBezTo>
                    <a:lnTo>
                      <a:pt x="568587" y="703518"/>
                    </a:lnTo>
                    <a:cubicBezTo>
                      <a:pt x="522087" y="632814"/>
                      <a:pt x="495556" y="548105"/>
                      <a:pt x="495556" y="457200"/>
                    </a:cubicBezTo>
                    <a:cubicBezTo>
                      <a:pt x="495556" y="204695"/>
                      <a:pt x="700251" y="0"/>
                      <a:pt x="952756" y="0"/>
                    </a:cubicBezTo>
                    <a:close/>
                  </a:path>
                </a:pathLst>
              </a:custGeom>
              <a:grpFill/>
              <a:ln>
                <a:solidFill>
                  <a:srgbClr val="21734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sp>
            <p:nvSpPr>
              <p:cNvPr id="68" name="Rectangle 4"/>
              <p:cNvSpPr/>
              <p:nvPr/>
            </p:nvSpPr>
            <p:spPr>
              <a:xfrm>
                <a:off x="5058389" y="5528247"/>
                <a:ext cx="490885" cy="490020"/>
              </a:xfrm>
              <a:custGeom>
                <a:avLst/>
                <a:gdLst/>
                <a:ahLst/>
                <a:cxnLst/>
                <a:rect l="l" t="t" r="r" b="b"/>
                <a:pathLst>
                  <a:path w="490885" h="490020">
                    <a:moveTo>
                      <a:pt x="240752" y="0"/>
                    </a:moveTo>
                    <a:cubicBezTo>
                      <a:pt x="253961" y="11844"/>
                      <a:pt x="293310" y="49692"/>
                      <a:pt x="337332" y="92439"/>
                    </a:cubicBezTo>
                    <a:lnTo>
                      <a:pt x="328342" y="81259"/>
                    </a:lnTo>
                    <a:cubicBezTo>
                      <a:pt x="356946" y="111282"/>
                      <a:pt x="377251" y="107167"/>
                      <a:pt x="382515" y="87941"/>
                    </a:cubicBezTo>
                    <a:cubicBezTo>
                      <a:pt x="383951" y="76921"/>
                      <a:pt x="384595" y="68732"/>
                      <a:pt x="396997" y="52239"/>
                    </a:cubicBezTo>
                    <a:cubicBezTo>
                      <a:pt x="420362" y="32084"/>
                      <a:pt x="442294" y="41736"/>
                      <a:pt x="454920" y="51330"/>
                    </a:cubicBezTo>
                    <a:cubicBezTo>
                      <a:pt x="467834" y="62761"/>
                      <a:pt x="477920" y="86882"/>
                      <a:pt x="460392" y="109714"/>
                    </a:cubicBezTo>
                    <a:cubicBezTo>
                      <a:pt x="451128" y="121912"/>
                      <a:pt x="437554" y="126838"/>
                      <a:pt x="425922" y="126505"/>
                    </a:cubicBezTo>
                    <a:cubicBezTo>
                      <a:pt x="424301" y="127609"/>
                      <a:pt x="382890" y="134974"/>
                      <a:pt x="427348" y="177672"/>
                    </a:cubicBezTo>
                    <a:lnTo>
                      <a:pt x="416886" y="169735"/>
                    </a:lnTo>
                    <a:cubicBezTo>
                      <a:pt x="450207" y="202177"/>
                      <a:pt x="478424" y="229744"/>
                      <a:pt x="490885" y="241900"/>
                    </a:cubicBezTo>
                    <a:lnTo>
                      <a:pt x="417150" y="317347"/>
                    </a:lnTo>
                    <a:cubicBezTo>
                      <a:pt x="417744" y="316535"/>
                      <a:pt x="418443" y="316123"/>
                      <a:pt x="419047" y="315822"/>
                    </a:cubicBezTo>
                    <a:cubicBezTo>
                      <a:pt x="389023" y="344426"/>
                      <a:pt x="393138" y="364731"/>
                      <a:pt x="412364" y="369995"/>
                    </a:cubicBezTo>
                    <a:cubicBezTo>
                      <a:pt x="423384" y="371431"/>
                      <a:pt x="431574" y="372075"/>
                      <a:pt x="448067" y="384477"/>
                    </a:cubicBezTo>
                    <a:cubicBezTo>
                      <a:pt x="468221" y="407842"/>
                      <a:pt x="458569" y="429774"/>
                      <a:pt x="448975" y="442400"/>
                    </a:cubicBezTo>
                    <a:cubicBezTo>
                      <a:pt x="437545" y="455314"/>
                      <a:pt x="413423" y="465400"/>
                      <a:pt x="390591" y="447872"/>
                    </a:cubicBezTo>
                    <a:cubicBezTo>
                      <a:pt x="378394" y="438608"/>
                      <a:pt x="373468" y="425034"/>
                      <a:pt x="373800" y="413402"/>
                    </a:cubicBezTo>
                    <a:cubicBezTo>
                      <a:pt x="372696" y="411781"/>
                      <a:pt x="365332" y="370370"/>
                      <a:pt x="322634" y="414828"/>
                    </a:cubicBezTo>
                    <a:lnTo>
                      <a:pt x="325243" y="411388"/>
                    </a:lnTo>
                    <a:lnTo>
                      <a:pt x="248395" y="490020"/>
                    </a:lnTo>
                    <a:cubicBezTo>
                      <a:pt x="208939" y="451897"/>
                      <a:pt x="199129" y="442073"/>
                      <a:pt x="174192" y="418236"/>
                    </a:cubicBezTo>
                    <a:cubicBezTo>
                      <a:pt x="145587" y="388212"/>
                      <a:pt x="125282" y="392327"/>
                      <a:pt x="120018" y="411553"/>
                    </a:cubicBezTo>
                    <a:cubicBezTo>
                      <a:pt x="118582" y="422573"/>
                      <a:pt x="117938" y="430763"/>
                      <a:pt x="105536" y="447256"/>
                    </a:cubicBezTo>
                    <a:cubicBezTo>
                      <a:pt x="82171" y="467410"/>
                      <a:pt x="60239" y="457758"/>
                      <a:pt x="47614" y="448164"/>
                    </a:cubicBezTo>
                    <a:cubicBezTo>
                      <a:pt x="34699" y="436734"/>
                      <a:pt x="24614" y="412612"/>
                      <a:pt x="42141" y="389780"/>
                    </a:cubicBezTo>
                    <a:cubicBezTo>
                      <a:pt x="51405" y="377583"/>
                      <a:pt x="64979" y="372657"/>
                      <a:pt x="76612" y="372989"/>
                    </a:cubicBezTo>
                    <a:cubicBezTo>
                      <a:pt x="78232" y="371886"/>
                      <a:pt x="119644" y="364521"/>
                      <a:pt x="75186" y="321823"/>
                    </a:cubicBezTo>
                    <a:cubicBezTo>
                      <a:pt x="58767" y="305402"/>
                      <a:pt x="23648" y="271235"/>
                      <a:pt x="0" y="248738"/>
                    </a:cubicBezTo>
                    <a:lnTo>
                      <a:pt x="77303" y="168146"/>
                    </a:lnTo>
                    <a:cubicBezTo>
                      <a:pt x="104269" y="140313"/>
                      <a:pt x="122130" y="156409"/>
                      <a:pt x="124388" y="175543"/>
                    </a:cubicBezTo>
                    <a:cubicBezTo>
                      <a:pt x="124457" y="182466"/>
                      <a:pt x="127106" y="193106"/>
                      <a:pt x="137575" y="203052"/>
                    </a:cubicBezTo>
                    <a:cubicBezTo>
                      <a:pt x="153931" y="220277"/>
                      <a:pt x="181252" y="217451"/>
                      <a:pt x="196721" y="201951"/>
                    </a:cubicBezTo>
                    <a:cubicBezTo>
                      <a:pt x="211961" y="185740"/>
                      <a:pt x="213057" y="157882"/>
                      <a:pt x="196146" y="142797"/>
                    </a:cubicBezTo>
                    <a:cubicBezTo>
                      <a:pt x="184301" y="132637"/>
                      <a:pt x="177155" y="131453"/>
                      <a:pt x="166513" y="129894"/>
                    </a:cubicBezTo>
                    <a:cubicBezTo>
                      <a:pt x="154522" y="129013"/>
                      <a:pt x="131185" y="112953"/>
                      <a:pt x="157905" y="85228"/>
                    </a:cubicBezTo>
                    <a:close/>
                  </a:path>
                </a:pathLst>
              </a:custGeom>
              <a:grpFill/>
              <a:ln>
                <a:solidFill>
                  <a:srgbClr val="21734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grpSp>
        <p:sp>
          <p:nvSpPr>
            <p:cNvPr id="69" name="Oval 47"/>
            <p:cNvSpPr/>
            <p:nvPr/>
          </p:nvSpPr>
          <p:spPr>
            <a:xfrm>
              <a:off x="388608" y="3710471"/>
              <a:ext cx="1119626" cy="1119626"/>
            </a:xfrm>
            <a:prstGeom prst="ellipse">
              <a:avLst/>
            </a:prstGeom>
            <a:solidFill>
              <a:srgbClr val="F2C812"/>
            </a:solidFill>
            <a:ln w="3175" cap="flat" cmpd="sng" algn="ctr">
              <a:noFill/>
              <a:prstDash val="solid"/>
            </a:ln>
            <a:effectLst/>
          </p:spPr>
          <p:txBody>
            <a:bodyPr vert="horz" wrap="none" lIns="0" tIns="45720" rIns="0" bIns="0" rtlCol="0" anchor="t"/>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Segoe UI"/>
                  <a:ea typeface="Segoe UI" pitchFamily="34" charset="0"/>
                  <a:cs typeface="Segoe UI" pitchFamily="34" charset="0"/>
                </a:rPr>
                <a:t>Report</a:t>
              </a:r>
            </a:p>
          </p:txBody>
        </p:sp>
        <p:sp>
          <p:nvSpPr>
            <p:cNvPr id="85" name="Oval 950"/>
            <p:cNvSpPr/>
            <p:nvPr/>
          </p:nvSpPr>
          <p:spPr>
            <a:xfrm>
              <a:off x="388608" y="1252295"/>
              <a:ext cx="1119626" cy="1119626"/>
            </a:xfrm>
            <a:prstGeom prst="ellipse">
              <a:avLst/>
            </a:prstGeom>
            <a:solidFill>
              <a:srgbClr val="F2C812"/>
            </a:solidFill>
            <a:ln w="3175" cap="flat" cmpd="sng" algn="ctr">
              <a:noFill/>
              <a:prstDash val="solid"/>
            </a:ln>
            <a:effectLst/>
          </p:spPr>
          <p:txBody>
            <a:bodyPr vert="horz" wrap="none" lIns="0" tIns="45720" rIns="0" bIns="0" rtlCol="0" anchor="t"/>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1" i="0" u="none" strike="noStrike" kern="1200" cap="none" spc="0" normalizeH="0" baseline="0" noProof="0">
                <a:ln>
                  <a:noFill/>
                </a:ln>
                <a:solidFill>
                  <a:srgbClr val="217346"/>
                </a:solidFill>
                <a:effectLst/>
                <a:uLnTx/>
                <a:uFillTx/>
                <a:latin typeface="Segoe UI"/>
                <a:ea typeface="Segoe UI" pitchFamily="34" charset="0"/>
                <a:cs typeface="Segoe UI" pitchFamily="34" charset="0"/>
              </a:endParaRPr>
            </a:p>
          </p:txBody>
        </p:sp>
        <p:grpSp>
          <p:nvGrpSpPr>
            <p:cNvPr id="86" name="Group 85"/>
            <p:cNvGrpSpPr/>
            <p:nvPr/>
          </p:nvGrpSpPr>
          <p:grpSpPr>
            <a:xfrm>
              <a:off x="1264851" y="3482890"/>
              <a:ext cx="292254" cy="354906"/>
              <a:chOff x="1296521" y="3253388"/>
              <a:chExt cx="292254" cy="354906"/>
            </a:xfrm>
            <a:solidFill>
              <a:srgbClr val="F2C812"/>
            </a:solidFill>
          </p:grpSpPr>
          <p:sp>
            <p:nvSpPr>
              <p:cNvPr id="87" name="Isosceles Triangle 86"/>
              <p:cNvSpPr/>
              <p:nvPr/>
            </p:nvSpPr>
            <p:spPr bwMode="auto">
              <a:xfrm rot="13636515">
                <a:off x="1461362" y="328936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8" name="Isosceles Triangle 87"/>
              <p:cNvSpPr/>
              <p:nvPr/>
            </p:nvSpPr>
            <p:spPr bwMode="auto">
              <a:xfrm rot="13636515">
                <a:off x="1357669" y="338258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9" name="Isosceles Triangle 88"/>
              <p:cNvSpPr/>
              <p:nvPr/>
            </p:nvSpPr>
            <p:spPr bwMode="auto">
              <a:xfrm rot="13636515">
                <a:off x="1260548" y="3480882"/>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90" name="Group 89"/>
            <p:cNvGrpSpPr/>
            <p:nvPr/>
          </p:nvGrpSpPr>
          <p:grpSpPr>
            <a:xfrm rot="15940603">
              <a:off x="1334576" y="2204404"/>
              <a:ext cx="292254" cy="354906"/>
              <a:chOff x="1296521" y="3253388"/>
              <a:chExt cx="292254" cy="354906"/>
            </a:xfrm>
            <a:solidFill>
              <a:srgbClr val="F2C812"/>
            </a:solidFill>
          </p:grpSpPr>
          <p:sp>
            <p:nvSpPr>
              <p:cNvPr id="91" name="Isosceles Triangle 90"/>
              <p:cNvSpPr/>
              <p:nvPr/>
            </p:nvSpPr>
            <p:spPr bwMode="auto">
              <a:xfrm rot="13636515">
                <a:off x="1461362" y="328936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2" name="Isosceles Triangle 91"/>
              <p:cNvSpPr/>
              <p:nvPr/>
            </p:nvSpPr>
            <p:spPr bwMode="auto">
              <a:xfrm rot="13636515">
                <a:off x="1357669" y="338258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3" name="Isosceles Triangle 92"/>
              <p:cNvSpPr/>
              <p:nvPr/>
            </p:nvSpPr>
            <p:spPr bwMode="auto">
              <a:xfrm rot="13636515">
                <a:off x="1260548" y="3480882"/>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94" name="Group 93"/>
            <p:cNvGrpSpPr/>
            <p:nvPr/>
          </p:nvGrpSpPr>
          <p:grpSpPr>
            <a:xfrm rot="16043978">
              <a:off x="1317220" y="4717577"/>
              <a:ext cx="292254" cy="354906"/>
              <a:chOff x="1296521" y="3253388"/>
              <a:chExt cx="292254" cy="354906"/>
            </a:xfrm>
            <a:solidFill>
              <a:srgbClr val="F2C812"/>
            </a:solidFill>
          </p:grpSpPr>
          <p:sp>
            <p:nvSpPr>
              <p:cNvPr id="95" name="Isosceles Triangle 94"/>
              <p:cNvSpPr/>
              <p:nvPr/>
            </p:nvSpPr>
            <p:spPr bwMode="auto">
              <a:xfrm rot="13636515">
                <a:off x="1461362" y="328936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6" name="Isosceles Triangle 95"/>
              <p:cNvSpPr/>
              <p:nvPr/>
            </p:nvSpPr>
            <p:spPr bwMode="auto">
              <a:xfrm rot="13636515">
                <a:off x="1357669" y="338258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7" name="Isosceles Triangle 96"/>
              <p:cNvSpPr/>
              <p:nvPr/>
            </p:nvSpPr>
            <p:spPr bwMode="auto">
              <a:xfrm rot="13636515">
                <a:off x="1260548" y="3480882"/>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98" name="Oval 36"/>
            <p:cNvSpPr/>
            <p:nvPr/>
          </p:nvSpPr>
          <p:spPr>
            <a:xfrm>
              <a:off x="1413521" y="2481383"/>
              <a:ext cx="1119626" cy="1119626"/>
            </a:xfrm>
            <a:prstGeom prst="ellipse">
              <a:avLst/>
            </a:prstGeom>
            <a:solidFill>
              <a:srgbClr val="F2C812"/>
            </a:solidFill>
            <a:ln w="3175" cap="flat" cmpd="sng" algn="ctr">
              <a:noFill/>
              <a:prstDash val="solid"/>
            </a:ln>
            <a:effectLst/>
          </p:spPr>
          <p:txBody>
            <a:bodyPr vert="horz" wrap="none" lIns="0" tIns="0" rIns="0" bIns="0" rtlCol="0" anchor="t"/>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400" b="1" i="0" u="none" strike="noStrike" kern="1200" cap="none" spc="0" normalizeH="0" baseline="0" noProof="0">
                <a:ln>
                  <a:noFill/>
                </a:ln>
                <a:solidFill>
                  <a:srgbClr val="217346"/>
                </a:solidFill>
                <a:effectLst/>
                <a:uLnTx/>
                <a:uFillTx/>
                <a:latin typeface="Segoe UI"/>
                <a:ea typeface="Segoe UI" pitchFamily="34" charset="0"/>
                <a:cs typeface="Segoe UI" pitchFamily="34" charset="0"/>
              </a:endParaRPr>
            </a:p>
          </p:txBody>
        </p:sp>
        <p:sp>
          <p:nvSpPr>
            <p:cNvPr id="99" name="Donut 3"/>
            <p:cNvSpPr/>
            <p:nvPr/>
          </p:nvSpPr>
          <p:spPr bwMode="auto">
            <a:xfrm>
              <a:off x="1742065" y="3002355"/>
              <a:ext cx="383905" cy="351537"/>
            </a:xfrm>
            <a:custGeom>
              <a:avLst/>
              <a:gdLst/>
              <a:ahLst/>
              <a:cxnLst/>
              <a:rect l="l" t="t" r="r" b="b"/>
              <a:pathLst>
                <a:path w="1409956" h="1291077">
                  <a:moveTo>
                    <a:pt x="956401" y="78410"/>
                  </a:moveTo>
                  <a:cubicBezTo>
                    <a:pt x="747518" y="78410"/>
                    <a:pt x="578184" y="247744"/>
                    <a:pt x="578184" y="456627"/>
                  </a:cubicBezTo>
                  <a:cubicBezTo>
                    <a:pt x="578184" y="665510"/>
                    <a:pt x="747518" y="834844"/>
                    <a:pt x="956401" y="834844"/>
                  </a:cubicBezTo>
                  <a:cubicBezTo>
                    <a:pt x="1165284" y="834844"/>
                    <a:pt x="1334618" y="665510"/>
                    <a:pt x="1334618" y="456627"/>
                  </a:cubicBezTo>
                  <a:cubicBezTo>
                    <a:pt x="1334618" y="247744"/>
                    <a:pt x="1165284" y="78410"/>
                    <a:pt x="956401" y="78410"/>
                  </a:cubicBezTo>
                  <a:close/>
                  <a:moveTo>
                    <a:pt x="952756" y="0"/>
                  </a:moveTo>
                  <a:cubicBezTo>
                    <a:pt x="1205261" y="0"/>
                    <a:pt x="1409956" y="204695"/>
                    <a:pt x="1409956" y="457200"/>
                  </a:cubicBezTo>
                  <a:cubicBezTo>
                    <a:pt x="1409956" y="709705"/>
                    <a:pt x="1205261" y="914400"/>
                    <a:pt x="952756" y="914400"/>
                  </a:cubicBezTo>
                  <a:cubicBezTo>
                    <a:pt x="862133" y="914400"/>
                    <a:pt x="777669" y="888034"/>
                    <a:pt x="707132" y="841746"/>
                  </a:cubicBezTo>
                  <a:lnTo>
                    <a:pt x="136495" y="1280102"/>
                  </a:lnTo>
                  <a:cubicBezTo>
                    <a:pt x="21896" y="1327168"/>
                    <a:pt x="-44029" y="1213730"/>
                    <a:pt x="33797" y="1113182"/>
                  </a:cubicBezTo>
                  <a:lnTo>
                    <a:pt x="568587" y="703518"/>
                  </a:lnTo>
                  <a:cubicBezTo>
                    <a:pt x="522087" y="632814"/>
                    <a:pt x="495556" y="548105"/>
                    <a:pt x="495556" y="457200"/>
                  </a:cubicBezTo>
                  <a:cubicBezTo>
                    <a:pt x="495556" y="204695"/>
                    <a:pt x="700251" y="0"/>
                    <a:pt x="952756" y="0"/>
                  </a:cubicBezTo>
                  <a:close/>
                </a:path>
              </a:pathLst>
            </a:cu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ysClr val="windowText" lastClr="000000"/>
                </a:solidFill>
                <a:effectLst/>
                <a:uLnTx/>
                <a:uFillTx/>
                <a:latin typeface="Segoe UI"/>
                <a:ea typeface="+mn-ea"/>
                <a:cs typeface="+mn-cs"/>
              </a:endParaRPr>
            </a:p>
          </p:txBody>
        </p:sp>
        <p:sp>
          <p:nvSpPr>
            <p:cNvPr id="100" name="Rectangle 99"/>
            <p:cNvSpPr/>
            <p:nvPr/>
          </p:nvSpPr>
          <p:spPr>
            <a:xfrm>
              <a:off x="1600398" y="2677430"/>
              <a:ext cx="820353" cy="307777"/>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Segoe UI"/>
                  <a:ea typeface="Segoe UI" pitchFamily="34" charset="0"/>
                  <a:cs typeface="Segoe UI" pitchFamily="34" charset="0"/>
                </a:rPr>
                <a:t>Explore</a:t>
              </a:r>
              <a:endParaRPr kumimoji="0" lang="en-US" sz="1600" b="0" i="0" u="none" strike="noStrike" kern="1200" cap="none" spc="0" normalizeH="0" baseline="0" noProof="0">
                <a:ln>
                  <a:noFill/>
                </a:ln>
                <a:solidFill>
                  <a:prstClr val="black"/>
                </a:solidFill>
                <a:effectLst/>
                <a:uLnTx/>
                <a:uFillTx/>
                <a:latin typeface="Segoe UI"/>
                <a:ea typeface="+mn-ea"/>
                <a:cs typeface="+mn-cs"/>
              </a:endParaRPr>
            </a:p>
          </p:txBody>
        </p:sp>
        <p:sp>
          <p:nvSpPr>
            <p:cNvPr id="101" name="Rectangle 100"/>
            <p:cNvSpPr/>
            <p:nvPr/>
          </p:nvSpPr>
          <p:spPr>
            <a:xfrm>
              <a:off x="509174" y="1475232"/>
              <a:ext cx="838756" cy="307777"/>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Segoe UI"/>
                  <a:ea typeface="Segoe UI" pitchFamily="34" charset="0"/>
                  <a:cs typeface="Segoe UI" pitchFamily="34" charset="0"/>
                </a:rPr>
                <a:t>Prepare</a:t>
              </a:r>
              <a:endParaRPr kumimoji="0" lang="en-US" sz="1400" b="0" i="0" u="none" strike="noStrike" kern="1200" cap="none" spc="0" normalizeH="0" baseline="0" noProof="0">
                <a:ln>
                  <a:noFill/>
                </a:ln>
                <a:solidFill>
                  <a:prstClr val="black"/>
                </a:solidFill>
                <a:effectLst/>
                <a:uLnTx/>
                <a:uFillTx/>
                <a:latin typeface="Segoe UI"/>
                <a:ea typeface="+mn-ea"/>
                <a:cs typeface="+mn-cs"/>
              </a:endParaRPr>
            </a:p>
          </p:txBody>
        </p:sp>
        <p:sp>
          <p:nvSpPr>
            <p:cNvPr id="102" name="Freeform 101"/>
            <p:cNvSpPr>
              <a:spLocks noChangeAspect="1"/>
            </p:cNvSpPr>
            <p:nvPr/>
          </p:nvSpPr>
          <p:spPr bwMode="black">
            <a:xfrm>
              <a:off x="1836174" y="5643069"/>
              <a:ext cx="274320" cy="284173"/>
            </a:xfrm>
            <a:custGeom>
              <a:avLst/>
              <a:gdLst>
                <a:gd name="T0" fmla="*/ 539 w 669"/>
                <a:gd name="T1" fmla="*/ 5 h 693"/>
                <a:gd name="T2" fmla="*/ 640 w 669"/>
                <a:gd name="T3" fmla="*/ 55 h 693"/>
                <a:gd name="T4" fmla="*/ 603 w 669"/>
                <a:gd name="T5" fmla="*/ 195 h 693"/>
                <a:gd name="T6" fmla="*/ 490 w 669"/>
                <a:gd name="T7" fmla="*/ 188 h 693"/>
                <a:gd name="T8" fmla="*/ 479 w 669"/>
                <a:gd name="T9" fmla="*/ 176 h 693"/>
                <a:gd name="T10" fmla="*/ 213 w 669"/>
                <a:gd name="T11" fmla="*/ 330 h 693"/>
                <a:gd name="T12" fmla="*/ 218 w 669"/>
                <a:gd name="T13" fmla="*/ 345 h 693"/>
                <a:gd name="T14" fmla="*/ 218 w 669"/>
                <a:gd name="T15" fmla="*/ 375 h 693"/>
                <a:gd name="T16" fmla="*/ 209 w 669"/>
                <a:gd name="T17" fmla="*/ 402 h 693"/>
                <a:gd name="T18" fmla="*/ 369 w 669"/>
                <a:gd name="T19" fmla="*/ 503 h 693"/>
                <a:gd name="T20" fmla="*/ 373 w 669"/>
                <a:gd name="T21" fmla="*/ 498 h 693"/>
                <a:gd name="T22" fmla="*/ 456 w 669"/>
                <a:gd name="T23" fmla="*/ 475 h 693"/>
                <a:gd name="T24" fmla="*/ 494 w 669"/>
                <a:gd name="T25" fmla="*/ 489 h 693"/>
                <a:gd name="T26" fmla="*/ 527 w 669"/>
                <a:gd name="T27" fmla="*/ 630 h 693"/>
                <a:gd name="T28" fmla="*/ 386 w 669"/>
                <a:gd name="T29" fmla="*/ 663 h 693"/>
                <a:gd name="T30" fmla="*/ 339 w 669"/>
                <a:gd name="T31" fmla="*/ 560 h 693"/>
                <a:gd name="T32" fmla="*/ 345 w 669"/>
                <a:gd name="T33" fmla="*/ 544 h 693"/>
                <a:gd name="T34" fmla="*/ 177 w 669"/>
                <a:gd name="T35" fmla="*/ 439 h 693"/>
                <a:gd name="T36" fmla="*/ 168 w 669"/>
                <a:gd name="T37" fmla="*/ 446 h 693"/>
                <a:gd name="T38" fmla="*/ 28 w 669"/>
                <a:gd name="T39" fmla="*/ 409 h 693"/>
                <a:gd name="T40" fmla="*/ 65 w 669"/>
                <a:gd name="T41" fmla="*/ 269 h 693"/>
                <a:gd name="T42" fmla="*/ 178 w 669"/>
                <a:gd name="T43" fmla="*/ 276 h 693"/>
                <a:gd name="T44" fmla="*/ 189 w 669"/>
                <a:gd name="T45" fmla="*/ 288 h 693"/>
                <a:gd name="T46" fmla="*/ 455 w 669"/>
                <a:gd name="T47" fmla="*/ 134 h 693"/>
                <a:gd name="T48" fmla="*/ 450 w 669"/>
                <a:gd name="T49" fmla="*/ 119 h 693"/>
                <a:gd name="T50" fmla="*/ 501 w 669"/>
                <a:gd name="T51" fmla="*/ 18 h 693"/>
                <a:gd name="T52" fmla="*/ 539 w 669"/>
                <a:gd name="T53" fmla="*/ 5 h 6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69" h="693">
                  <a:moveTo>
                    <a:pt x="539" y="5"/>
                  </a:moveTo>
                  <a:cubicBezTo>
                    <a:pt x="579" y="0"/>
                    <a:pt x="619" y="19"/>
                    <a:pt x="640" y="55"/>
                  </a:cubicBezTo>
                  <a:cubicBezTo>
                    <a:pt x="669" y="104"/>
                    <a:pt x="652" y="167"/>
                    <a:pt x="603" y="195"/>
                  </a:cubicBezTo>
                  <a:cubicBezTo>
                    <a:pt x="566" y="216"/>
                    <a:pt x="522" y="212"/>
                    <a:pt x="490" y="188"/>
                  </a:cubicBezTo>
                  <a:cubicBezTo>
                    <a:pt x="479" y="176"/>
                    <a:pt x="479" y="176"/>
                    <a:pt x="479" y="176"/>
                  </a:cubicBezTo>
                  <a:cubicBezTo>
                    <a:pt x="213" y="330"/>
                    <a:pt x="213" y="330"/>
                    <a:pt x="213" y="330"/>
                  </a:cubicBezTo>
                  <a:cubicBezTo>
                    <a:pt x="218" y="345"/>
                    <a:pt x="218" y="345"/>
                    <a:pt x="218" y="345"/>
                  </a:cubicBezTo>
                  <a:cubicBezTo>
                    <a:pt x="219" y="355"/>
                    <a:pt x="219" y="365"/>
                    <a:pt x="218" y="375"/>
                  </a:cubicBezTo>
                  <a:cubicBezTo>
                    <a:pt x="209" y="402"/>
                    <a:pt x="209" y="402"/>
                    <a:pt x="209" y="402"/>
                  </a:cubicBezTo>
                  <a:cubicBezTo>
                    <a:pt x="369" y="503"/>
                    <a:pt x="369" y="503"/>
                    <a:pt x="369" y="503"/>
                  </a:cubicBezTo>
                  <a:cubicBezTo>
                    <a:pt x="373" y="498"/>
                    <a:pt x="373" y="498"/>
                    <a:pt x="373" y="498"/>
                  </a:cubicBezTo>
                  <a:cubicBezTo>
                    <a:pt x="396" y="479"/>
                    <a:pt x="427" y="470"/>
                    <a:pt x="456" y="475"/>
                  </a:cubicBezTo>
                  <a:cubicBezTo>
                    <a:pt x="470" y="477"/>
                    <a:pt x="482" y="482"/>
                    <a:pt x="494" y="489"/>
                  </a:cubicBezTo>
                  <a:cubicBezTo>
                    <a:pt x="542" y="519"/>
                    <a:pt x="557" y="583"/>
                    <a:pt x="527" y="630"/>
                  </a:cubicBezTo>
                  <a:cubicBezTo>
                    <a:pt x="497" y="678"/>
                    <a:pt x="433" y="693"/>
                    <a:pt x="386" y="663"/>
                  </a:cubicBezTo>
                  <a:cubicBezTo>
                    <a:pt x="350" y="640"/>
                    <a:pt x="333" y="599"/>
                    <a:pt x="339" y="560"/>
                  </a:cubicBezTo>
                  <a:cubicBezTo>
                    <a:pt x="345" y="544"/>
                    <a:pt x="345" y="544"/>
                    <a:pt x="345" y="544"/>
                  </a:cubicBezTo>
                  <a:cubicBezTo>
                    <a:pt x="177" y="439"/>
                    <a:pt x="177" y="439"/>
                    <a:pt x="177" y="439"/>
                  </a:cubicBezTo>
                  <a:cubicBezTo>
                    <a:pt x="168" y="446"/>
                    <a:pt x="168" y="446"/>
                    <a:pt x="168" y="446"/>
                  </a:cubicBezTo>
                  <a:cubicBezTo>
                    <a:pt x="119" y="475"/>
                    <a:pt x="56" y="458"/>
                    <a:pt x="28" y="409"/>
                  </a:cubicBezTo>
                  <a:cubicBezTo>
                    <a:pt x="0" y="360"/>
                    <a:pt x="16" y="297"/>
                    <a:pt x="65" y="269"/>
                  </a:cubicBezTo>
                  <a:cubicBezTo>
                    <a:pt x="102" y="248"/>
                    <a:pt x="147" y="252"/>
                    <a:pt x="178" y="276"/>
                  </a:cubicBezTo>
                  <a:cubicBezTo>
                    <a:pt x="189" y="288"/>
                    <a:pt x="189" y="288"/>
                    <a:pt x="189" y="288"/>
                  </a:cubicBezTo>
                  <a:cubicBezTo>
                    <a:pt x="455" y="134"/>
                    <a:pt x="455" y="134"/>
                    <a:pt x="455" y="134"/>
                  </a:cubicBezTo>
                  <a:cubicBezTo>
                    <a:pt x="450" y="119"/>
                    <a:pt x="450" y="119"/>
                    <a:pt x="450" y="119"/>
                  </a:cubicBezTo>
                  <a:cubicBezTo>
                    <a:pt x="445" y="80"/>
                    <a:pt x="464" y="39"/>
                    <a:pt x="501" y="18"/>
                  </a:cubicBezTo>
                  <a:cubicBezTo>
                    <a:pt x="513" y="11"/>
                    <a:pt x="526" y="6"/>
                    <a:pt x="539" y="5"/>
                  </a:cubicBezTo>
                  <a:close/>
                </a:path>
              </a:pathLst>
            </a:custGeom>
            <a:solidFill>
              <a:schemeClr val="tx1"/>
            </a:solidFill>
            <a:ln>
              <a:noFill/>
            </a:ln>
          </p:spPr>
          <p:txBody>
            <a:bodyPr vert="horz" wrap="square" lIns="68574" tIns="34287" rIns="68574" bIns="34287"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Segoe UI"/>
                <a:ea typeface="+mn-ea"/>
                <a:cs typeface="+mn-cs"/>
              </a:endParaRPr>
            </a:p>
          </p:txBody>
        </p:sp>
        <p:sp>
          <p:nvSpPr>
            <p:cNvPr id="103" name="Freeform 102"/>
            <p:cNvSpPr>
              <a:spLocks noChangeAspect="1" noEditPoints="1"/>
            </p:cNvSpPr>
            <p:nvPr/>
          </p:nvSpPr>
          <p:spPr bwMode="black">
            <a:xfrm>
              <a:off x="722320" y="1783009"/>
              <a:ext cx="452202" cy="366660"/>
            </a:xfrm>
            <a:custGeom>
              <a:avLst/>
              <a:gdLst>
                <a:gd name="T0" fmla="*/ 600 w 1107"/>
                <a:gd name="T1" fmla="*/ 625 h 897"/>
                <a:gd name="T2" fmla="*/ 649 w 1107"/>
                <a:gd name="T3" fmla="*/ 567 h 897"/>
                <a:gd name="T4" fmla="*/ 727 w 1107"/>
                <a:gd name="T5" fmla="*/ 482 h 897"/>
                <a:gd name="T6" fmla="*/ 601 w 1107"/>
                <a:gd name="T7" fmla="*/ 434 h 897"/>
                <a:gd name="T8" fmla="*/ 628 w 1107"/>
                <a:gd name="T9" fmla="*/ 305 h 897"/>
                <a:gd name="T10" fmla="*/ 547 w 1107"/>
                <a:gd name="T11" fmla="*/ 240 h 897"/>
                <a:gd name="T12" fmla="*/ 427 w 1107"/>
                <a:gd name="T13" fmla="*/ 287 h 897"/>
                <a:gd name="T14" fmla="*/ 368 w 1107"/>
                <a:gd name="T15" fmla="*/ 170 h 897"/>
                <a:gd name="T16" fmla="*/ 285 w 1107"/>
                <a:gd name="T17" fmla="*/ 263 h 897"/>
                <a:gd name="T18" fmla="*/ 241 w 1107"/>
                <a:gd name="T19" fmla="*/ 313 h 897"/>
                <a:gd name="T20" fmla="*/ 139 w 1107"/>
                <a:gd name="T21" fmla="*/ 281 h 897"/>
                <a:gd name="T22" fmla="*/ 79 w 1107"/>
                <a:gd name="T23" fmla="*/ 355 h 897"/>
                <a:gd name="T24" fmla="*/ 132 w 1107"/>
                <a:gd name="T25" fmla="*/ 446 h 897"/>
                <a:gd name="T26" fmla="*/ 83 w 1107"/>
                <a:gd name="T27" fmla="*/ 505 h 897"/>
                <a:gd name="T28" fmla="*/ 5 w 1107"/>
                <a:gd name="T29" fmla="*/ 590 h 897"/>
                <a:gd name="T30" fmla="*/ 132 w 1107"/>
                <a:gd name="T31" fmla="*/ 638 h 897"/>
                <a:gd name="T32" fmla="*/ 145 w 1107"/>
                <a:gd name="T33" fmla="*/ 669 h 897"/>
                <a:gd name="T34" fmla="*/ 110 w 1107"/>
                <a:gd name="T35" fmla="*/ 793 h 897"/>
                <a:gd name="T36" fmla="*/ 230 w 1107"/>
                <a:gd name="T37" fmla="*/ 781 h 897"/>
                <a:gd name="T38" fmla="*/ 306 w 1107"/>
                <a:gd name="T39" fmla="*/ 785 h 897"/>
                <a:gd name="T40" fmla="*/ 346 w 1107"/>
                <a:gd name="T41" fmla="*/ 878 h 897"/>
                <a:gd name="T42" fmla="*/ 440 w 1107"/>
                <a:gd name="T43" fmla="*/ 872 h 897"/>
                <a:gd name="T44" fmla="*/ 466 w 1107"/>
                <a:gd name="T45" fmla="*/ 764 h 897"/>
                <a:gd name="T46" fmla="*/ 539 w 1107"/>
                <a:gd name="T47" fmla="*/ 755 h 897"/>
                <a:gd name="T48" fmla="*/ 659 w 1107"/>
                <a:gd name="T49" fmla="*/ 743 h 897"/>
                <a:gd name="T50" fmla="*/ 263 w 1107"/>
                <a:gd name="T51" fmla="*/ 452 h 897"/>
                <a:gd name="T52" fmla="*/ 281 w 1107"/>
                <a:gd name="T53" fmla="*/ 633 h 897"/>
                <a:gd name="T54" fmla="*/ 1002 w 1107"/>
                <a:gd name="T55" fmla="*/ 332 h 897"/>
                <a:gd name="T56" fmla="*/ 1043 w 1107"/>
                <a:gd name="T57" fmla="*/ 304 h 897"/>
                <a:gd name="T58" fmla="*/ 1107 w 1107"/>
                <a:gd name="T59" fmla="*/ 266 h 897"/>
                <a:gd name="T60" fmla="*/ 1037 w 1107"/>
                <a:gd name="T61" fmla="*/ 213 h 897"/>
                <a:gd name="T62" fmla="*/ 1077 w 1107"/>
                <a:gd name="T63" fmla="*/ 138 h 897"/>
                <a:gd name="T64" fmla="*/ 1038 w 1107"/>
                <a:gd name="T65" fmla="*/ 83 h 897"/>
                <a:gd name="T66" fmla="*/ 956 w 1107"/>
                <a:gd name="T67" fmla="*/ 91 h 897"/>
                <a:gd name="T68" fmla="*/ 940 w 1107"/>
                <a:gd name="T69" fmla="*/ 7 h 897"/>
                <a:gd name="T70" fmla="*/ 872 w 1107"/>
                <a:gd name="T71" fmla="*/ 50 h 897"/>
                <a:gd name="T72" fmla="*/ 836 w 1107"/>
                <a:gd name="T73" fmla="*/ 74 h 897"/>
                <a:gd name="T74" fmla="*/ 778 w 1107"/>
                <a:gd name="T75" fmla="*/ 35 h 897"/>
                <a:gd name="T76" fmla="*/ 728 w 1107"/>
                <a:gd name="T77" fmla="*/ 70 h 897"/>
                <a:gd name="T78" fmla="*/ 744 w 1107"/>
                <a:gd name="T79" fmla="*/ 136 h 897"/>
                <a:gd name="T80" fmla="*/ 703 w 1107"/>
                <a:gd name="T81" fmla="*/ 164 h 897"/>
                <a:gd name="T82" fmla="*/ 640 w 1107"/>
                <a:gd name="T83" fmla="*/ 203 h 897"/>
                <a:gd name="T84" fmla="*/ 710 w 1107"/>
                <a:gd name="T85" fmla="*/ 255 h 897"/>
                <a:gd name="T86" fmla="*/ 712 w 1107"/>
                <a:gd name="T87" fmla="*/ 277 h 897"/>
                <a:gd name="T88" fmla="*/ 668 w 1107"/>
                <a:gd name="T89" fmla="*/ 347 h 897"/>
                <a:gd name="T90" fmla="*/ 745 w 1107"/>
                <a:gd name="T91" fmla="*/ 361 h 897"/>
                <a:gd name="T92" fmla="*/ 791 w 1107"/>
                <a:gd name="T93" fmla="*/ 377 h 897"/>
                <a:gd name="T94" fmla="*/ 799 w 1107"/>
                <a:gd name="T95" fmla="*/ 443 h 897"/>
                <a:gd name="T96" fmla="*/ 859 w 1107"/>
                <a:gd name="T97" fmla="*/ 456 h 897"/>
                <a:gd name="T98" fmla="*/ 894 w 1107"/>
                <a:gd name="T99" fmla="*/ 393 h 897"/>
                <a:gd name="T100" fmla="*/ 941 w 1107"/>
                <a:gd name="T101" fmla="*/ 401 h 897"/>
                <a:gd name="T102" fmla="*/ 1018 w 1107"/>
                <a:gd name="T103" fmla="*/ 415 h 897"/>
                <a:gd name="T104" fmla="*/ 825 w 1107"/>
                <a:gd name="T105" fmla="*/ 164 h 897"/>
                <a:gd name="T106" fmla="*/ 803 w 1107"/>
                <a:gd name="T107" fmla="*/ 279 h 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107" h="897">
                  <a:moveTo>
                    <a:pt x="654" y="716"/>
                  </a:moveTo>
                  <a:cubicBezTo>
                    <a:pt x="616" y="670"/>
                    <a:pt x="616" y="670"/>
                    <a:pt x="616" y="670"/>
                  </a:cubicBezTo>
                  <a:cubicBezTo>
                    <a:pt x="593" y="654"/>
                    <a:pt x="603" y="638"/>
                    <a:pt x="600" y="625"/>
                  </a:cubicBezTo>
                  <a:cubicBezTo>
                    <a:pt x="600" y="625"/>
                    <a:pt x="600" y="625"/>
                    <a:pt x="600" y="625"/>
                  </a:cubicBezTo>
                  <a:cubicBezTo>
                    <a:pt x="605" y="617"/>
                    <a:pt x="611" y="609"/>
                    <a:pt x="608" y="596"/>
                  </a:cubicBezTo>
                  <a:cubicBezTo>
                    <a:pt x="618" y="580"/>
                    <a:pt x="623" y="572"/>
                    <a:pt x="649" y="567"/>
                  </a:cubicBezTo>
                  <a:cubicBezTo>
                    <a:pt x="715" y="553"/>
                    <a:pt x="715" y="553"/>
                    <a:pt x="715" y="553"/>
                  </a:cubicBezTo>
                  <a:cubicBezTo>
                    <a:pt x="728" y="550"/>
                    <a:pt x="733" y="542"/>
                    <a:pt x="730" y="529"/>
                  </a:cubicBezTo>
                  <a:cubicBezTo>
                    <a:pt x="727" y="482"/>
                    <a:pt x="727" y="482"/>
                    <a:pt x="727" y="482"/>
                  </a:cubicBezTo>
                  <a:cubicBezTo>
                    <a:pt x="724" y="469"/>
                    <a:pt x="717" y="463"/>
                    <a:pt x="701" y="453"/>
                  </a:cubicBezTo>
                  <a:cubicBezTo>
                    <a:pt x="641" y="459"/>
                    <a:pt x="641" y="459"/>
                    <a:pt x="641" y="459"/>
                  </a:cubicBezTo>
                  <a:cubicBezTo>
                    <a:pt x="620" y="457"/>
                    <a:pt x="604" y="447"/>
                    <a:pt x="601" y="434"/>
                  </a:cubicBezTo>
                  <a:cubicBezTo>
                    <a:pt x="598" y="421"/>
                    <a:pt x="590" y="416"/>
                    <a:pt x="580" y="397"/>
                  </a:cubicBezTo>
                  <a:cubicBezTo>
                    <a:pt x="577" y="384"/>
                    <a:pt x="574" y="371"/>
                    <a:pt x="584" y="355"/>
                  </a:cubicBezTo>
                  <a:cubicBezTo>
                    <a:pt x="628" y="305"/>
                    <a:pt x="628" y="305"/>
                    <a:pt x="628" y="305"/>
                  </a:cubicBezTo>
                  <a:cubicBezTo>
                    <a:pt x="634" y="297"/>
                    <a:pt x="631" y="284"/>
                    <a:pt x="623" y="279"/>
                  </a:cubicBezTo>
                  <a:cubicBezTo>
                    <a:pt x="581" y="240"/>
                    <a:pt x="581" y="240"/>
                    <a:pt x="581" y="240"/>
                  </a:cubicBezTo>
                  <a:cubicBezTo>
                    <a:pt x="573" y="235"/>
                    <a:pt x="560" y="238"/>
                    <a:pt x="547" y="240"/>
                  </a:cubicBezTo>
                  <a:cubicBezTo>
                    <a:pt x="503" y="291"/>
                    <a:pt x="503" y="291"/>
                    <a:pt x="503" y="291"/>
                  </a:cubicBezTo>
                  <a:cubicBezTo>
                    <a:pt x="484" y="302"/>
                    <a:pt x="471" y="304"/>
                    <a:pt x="463" y="299"/>
                  </a:cubicBezTo>
                  <a:cubicBezTo>
                    <a:pt x="456" y="294"/>
                    <a:pt x="435" y="292"/>
                    <a:pt x="427" y="287"/>
                  </a:cubicBezTo>
                  <a:cubicBezTo>
                    <a:pt x="419" y="282"/>
                    <a:pt x="403" y="271"/>
                    <a:pt x="400" y="258"/>
                  </a:cubicBezTo>
                  <a:cubicBezTo>
                    <a:pt x="386" y="193"/>
                    <a:pt x="386" y="193"/>
                    <a:pt x="386" y="193"/>
                  </a:cubicBezTo>
                  <a:cubicBezTo>
                    <a:pt x="384" y="180"/>
                    <a:pt x="368" y="170"/>
                    <a:pt x="368" y="170"/>
                  </a:cubicBezTo>
                  <a:cubicBezTo>
                    <a:pt x="308" y="176"/>
                    <a:pt x="308" y="176"/>
                    <a:pt x="308" y="176"/>
                  </a:cubicBezTo>
                  <a:cubicBezTo>
                    <a:pt x="308" y="176"/>
                    <a:pt x="289" y="187"/>
                    <a:pt x="292" y="200"/>
                  </a:cubicBezTo>
                  <a:cubicBezTo>
                    <a:pt x="285" y="263"/>
                    <a:pt x="285" y="263"/>
                    <a:pt x="285" y="263"/>
                  </a:cubicBezTo>
                  <a:cubicBezTo>
                    <a:pt x="291" y="289"/>
                    <a:pt x="277" y="292"/>
                    <a:pt x="272" y="300"/>
                  </a:cubicBezTo>
                  <a:cubicBezTo>
                    <a:pt x="272" y="300"/>
                    <a:pt x="272" y="300"/>
                    <a:pt x="267" y="308"/>
                  </a:cubicBezTo>
                  <a:cubicBezTo>
                    <a:pt x="259" y="302"/>
                    <a:pt x="246" y="305"/>
                    <a:pt x="241" y="313"/>
                  </a:cubicBezTo>
                  <a:cubicBezTo>
                    <a:pt x="236" y="321"/>
                    <a:pt x="236" y="321"/>
                    <a:pt x="236" y="321"/>
                  </a:cubicBezTo>
                  <a:cubicBezTo>
                    <a:pt x="223" y="324"/>
                    <a:pt x="210" y="327"/>
                    <a:pt x="194" y="317"/>
                  </a:cubicBezTo>
                  <a:cubicBezTo>
                    <a:pt x="139" y="281"/>
                    <a:pt x="139" y="281"/>
                    <a:pt x="139" y="281"/>
                  </a:cubicBezTo>
                  <a:cubicBezTo>
                    <a:pt x="131" y="276"/>
                    <a:pt x="110" y="273"/>
                    <a:pt x="104" y="281"/>
                  </a:cubicBezTo>
                  <a:cubicBezTo>
                    <a:pt x="79" y="321"/>
                    <a:pt x="79" y="321"/>
                    <a:pt x="79" y="321"/>
                  </a:cubicBezTo>
                  <a:cubicBezTo>
                    <a:pt x="66" y="324"/>
                    <a:pt x="68" y="337"/>
                    <a:pt x="79" y="355"/>
                  </a:cubicBezTo>
                  <a:cubicBezTo>
                    <a:pt x="121" y="394"/>
                    <a:pt x="121" y="394"/>
                    <a:pt x="121" y="394"/>
                  </a:cubicBezTo>
                  <a:cubicBezTo>
                    <a:pt x="140" y="417"/>
                    <a:pt x="135" y="425"/>
                    <a:pt x="132" y="446"/>
                  </a:cubicBezTo>
                  <a:cubicBezTo>
                    <a:pt x="132" y="446"/>
                    <a:pt x="132" y="446"/>
                    <a:pt x="132" y="446"/>
                  </a:cubicBezTo>
                  <a:cubicBezTo>
                    <a:pt x="127" y="454"/>
                    <a:pt x="122" y="462"/>
                    <a:pt x="117" y="470"/>
                  </a:cubicBezTo>
                  <a:cubicBezTo>
                    <a:pt x="117" y="470"/>
                    <a:pt x="117" y="470"/>
                    <a:pt x="117" y="470"/>
                  </a:cubicBezTo>
                  <a:cubicBezTo>
                    <a:pt x="120" y="483"/>
                    <a:pt x="109" y="499"/>
                    <a:pt x="83" y="505"/>
                  </a:cubicBezTo>
                  <a:cubicBezTo>
                    <a:pt x="23" y="511"/>
                    <a:pt x="23" y="511"/>
                    <a:pt x="23" y="511"/>
                  </a:cubicBezTo>
                  <a:cubicBezTo>
                    <a:pt x="10" y="514"/>
                    <a:pt x="0" y="529"/>
                    <a:pt x="2" y="543"/>
                  </a:cubicBezTo>
                  <a:cubicBezTo>
                    <a:pt x="5" y="590"/>
                    <a:pt x="5" y="590"/>
                    <a:pt x="5" y="590"/>
                  </a:cubicBezTo>
                  <a:cubicBezTo>
                    <a:pt x="8" y="603"/>
                    <a:pt x="16" y="608"/>
                    <a:pt x="37" y="610"/>
                  </a:cubicBezTo>
                  <a:cubicBezTo>
                    <a:pt x="92" y="612"/>
                    <a:pt x="92" y="612"/>
                    <a:pt x="92" y="612"/>
                  </a:cubicBezTo>
                  <a:cubicBezTo>
                    <a:pt x="113" y="614"/>
                    <a:pt x="129" y="625"/>
                    <a:pt x="132" y="638"/>
                  </a:cubicBezTo>
                  <a:cubicBezTo>
                    <a:pt x="132" y="638"/>
                    <a:pt x="132" y="638"/>
                    <a:pt x="132" y="638"/>
                  </a:cubicBezTo>
                  <a:cubicBezTo>
                    <a:pt x="140" y="643"/>
                    <a:pt x="142" y="656"/>
                    <a:pt x="150" y="661"/>
                  </a:cubicBezTo>
                  <a:cubicBezTo>
                    <a:pt x="145" y="669"/>
                    <a:pt x="145" y="669"/>
                    <a:pt x="145" y="669"/>
                  </a:cubicBezTo>
                  <a:cubicBezTo>
                    <a:pt x="153" y="674"/>
                    <a:pt x="156" y="687"/>
                    <a:pt x="140" y="711"/>
                  </a:cubicBezTo>
                  <a:cubicBezTo>
                    <a:pt x="109" y="759"/>
                    <a:pt x="109" y="759"/>
                    <a:pt x="109" y="759"/>
                  </a:cubicBezTo>
                  <a:cubicBezTo>
                    <a:pt x="99" y="775"/>
                    <a:pt x="102" y="788"/>
                    <a:pt x="110" y="793"/>
                  </a:cubicBezTo>
                  <a:cubicBezTo>
                    <a:pt x="152" y="832"/>
                    <a:pt x="152" y="832"/>
                    <a:pt x="152" y="832"/>
                  </a:cubicBezTo>
                  <a:cubicBezTo>
                    <a:pt x="160" y="837"/>
                    <a:pt x="173" y="834"/>
                    <a:pt x="178" y="826"/>
                  </a:cubicBezTo>
                  <a:cubicBezTo>
                    <a:pt x="230" y="781"/>
                    <a:pt x="230" y="781"/>
                    <a:pt x="230" y="781"/>
                  </a:cubicBezTo>
                  <a:cubicBezTo>
                    <a:pt x="248" y="770"/>
                    <a:pt x="261" y="767"/>
                    <a:pt x="269" y="772"/>
                  </a:cubicBezTo>
                  <a:cubicBezTo>
                    <a:pt x="269" y="772"/>
                    <a:pt x="269" y="772"/>
                    <a:pt x="269" y="772"/>
                  </a:cubicBezTo>
                  <a:cubicBezTo>
                    <a:pt x="282" y="769"/>
                    <a:pt x="298" y="779"/>
                    <a:pt x="306" y="785"/>
                  </a:cubicBezTo>
                  <a:cubicBezTo>
                    <a:pt x="306" y="785"/>
                    <a:pt x="306" y="785"/>
                    <a:pt x="306" y="785"/>
                  </a:cubicBezTo>
                  <a:cubicBezTo>
                    <a:pt x="319" y="782"/>
                    <a:pt x="327" y="787"/>
                    <a:pt x="332" y="813"/>
                  </a:cubicBezTo>
                  <a:cubicBezTo>
                    <a:pt x="346" y="878"/>
                    <a:pt x="346" y="878"/>
                    <a:pt x="346" y="878"/>
                  </a:cubicBezTo>
                  <a:cubicBezTo>
                    <a:pt x="349" y="892"/>
                    <a:pt x="357" y="897"/>
                    <a:pt x="370" y="894"/>
                  </a:cubicBezTo>
                  <a:cubicBezTo>
                    <a:pt x="425" y="896"/>
                    <a:pt x="425" y="896"/>
                    <a:pt x="425" y="896"/>
                  </a:cubicBezTo>
                  <a:cubicBezTo>
                    <a:pt x="430" y="888"/>
                    <a:pt x="443" y="885"/>
                    <a:pt x="440" y="872"/>
                  </a:cubicBezTo>
                  <a:cubicBezTo>
                    <a:pt x="440" y="804"/>
                    <a:pt x="440" y="804"/>
                    <a:pt x="440" y="804"/>
                  </a:cubicBezTo>
                  <a:cubicBezTo>
                    <a:pt x="442" y="783"/>
                    <a:pt x="460" y="772"/>
                    <a:pt x="466" y="764"/>
                  </a:cubicBezTo>
                  <a:cubicBezTo>
                    <a:pt x="466" y="764"/>
                    <a:pt x="466" y="764"/>
                    <a:pt x="466" y="764"/>
                  </a:cubicBezTo>
                  <a:cubicBezTo>
                    <a:pt x="479" y="761"/>
                    <a:pt x="492" y="758"/>
                    <a:pt x="497" y="750"/>
                  </a:cubicBezTo>
                  <a:cubicBezTo>
                    <a:pt x="497" y="750"/>
                    <a:pt x="497" y="750"/>
                    <a:pt x="497" y="750"/>
                  </a:cubicBezTo>
                  <a:cubicBezTo>
                    <a:pt x="510" y="747"/>
                    <a:pt x="523" y="745"/>
                    <a:pt x="539" y="755"/>
                  </a:cubicBezTo>
                  <a:cubicBezTo>
                    <a:pt x="594" y="791"/>
                    <a:pt x="594" y="791"/>
                    <a:pt x="594" y="791"/>
                  </a:cubicBezTo>
                  <a:cubicBezTo>
                    <a:pt x="602" y="796"/>
                    <a:pt x="623" y="798"/>
                    <a:pt x="628" y="790"/>
                  </a:cubicBezTo>
                  <a:cubicBezTo>
                    <a:pt x="659" y="743"/>
                    <a:pt x="659" y="743"/>
                    <a:pt x="659" y="743"/>
                  </a:cubicBezTo>
                  <a:cubicBezTo>
                    <a:pt x="659" y="743"/>
                    <a:pt x="669" y="727"/>
                    <a:pt x="654" y="716"/>
                  </a:cubicBezTo>
                  <a:close/>
                  <a:moveTo>
                    <a:pt x="281" y="633"/>
                  </a:moveTo>
                  <a:cubicBezTo>
                    <a:pt x="223" y="584"/>
                    <a:pt x="219" y="502"/>
                    <a:pt x="263" y="452"/>
                  </a:cubicBezTo>
                  <a:cubicBezTo>
                    <a:pt x="313" y="393"/>
                    <a:pt x="399" y="382"/>
                    <a:pt x="457" y="431"/>
                  </a:cubicBezTo>
                  <a:cubicBezTo>
                    <a:pt x="507" y="475"/>
                    <a:pt x="518" y="561"/>
                    <a:pt x="469" y="619"/>
                  </a:cubicBezTo>
                  <a:cubicBezTo>
                    <a:pt x="420" y="678"/>
                    <a:pt x="339" y="682"/>
                    <a:pt x="281" y="633"/>
                  </a:cubicBezTo>
                  <a:close/>
                  <a:moveTo>
                    <a:pt x="1019" y="398"/>
                  </a:moveTo>
                  <a:cubicBezTo>
                    <a:pt x="1004" y="362"/>
                    <a:pt x="1004" y="362"/>
                    <a:pt x="1004" y="362"/>
                  </a:cubicBezTo>
                  <a:cubicBezTo>
                    <a:pt x="992" y="348"/>
                    <a:pt x="1002" y="340"/>
                    <a:pt x="1002" y="332"/>
                  </a:cubicBezTo>
                  <a:cubicBezTo>
                    <a:pt x="1002" y="332"/>
                    <a:pt x="1002" y="332"/>
                    <a:pt x="1002" y="332"/>
                  </a:cubicBezTo>
                  <a:cubicBezTo>
                    <a:pt x="1007" y="328"/>
                    <a:pt x="1011" y="324"/>
                    <a:pt x="1012" y="315"/>
                  </a:cubicBezTo>
                  <a:cubicBezTo>
                    <a:pt x="1021" y="307"/>
                    <a:pt x="1026" y="303"/>
                    <a:pt x="1043" y="304"/>
                  </a:cubicBezTo>
                  <a:cubicBezTo>
                    <a:pt x="1086" y="307"/>
                    <a:pt x="1086" y="307"/>
                    <a:pt x="1086" y="307"/>
                  </a:cubicBezTo>
                  <a:cubicBezTo>
                    <a:pt x="1095" y="308"/>
                    <a:pt x="1099" y="304"/>
                    <a:pt x="1100" y="295"/>
                  </a:cubicBezTo>
                  <a:cubicBezTo>
                    <a:pt x="1107" y="266"/>
                    <a:pt x="1107" y="266"/>
                    <a:pt x="1107" y="266"/>
                  </a:cubicBezTo>
                  <a:cubicBezTo>
                    <a:pt x="1107" y="257"/>
                    <a:pt x="1103" y="252"/>
                    <a:pt x="1095" y="243"/>
                  </a:cubicBezTo>
                  <a:cubicBezTo>
                    <a:pt x="1057" y="236"/>
                    <a:pt x="1057" y="236"/>
                    <a:pt x="1057" y="236"/>
                  </a:cubicBezTo>
                  <a:cubicBezTo>
                    <a:pt x="1044" y="231"/>
                    <a:pt x="1036" y="222"/>
                    <a:pt x="1037" y="213"/>
                  </a:cubicBezTo>
                  <a:cubicBezTo>
                    <a:pt x="1038" y="205"/>
                    <a:pt x="1034" y="200"/>
                    <a:pt x="1030" y="187"/>
                  </a:cubicBezTo>
                  <a:cubicBezTo>
                    <a:pt x="1031" y="178"/>
                    <a:pt x="1032" y="170"/>
                    <a:pt x="1041" y="162"/>
                  </a:cubicBezTo>
                  <a:cubicBezTo>
                    <a:pt x="1077" y="138"/>
                    <a:pt x="1077" y="138"/>
                    <a:pt x="1077" y="138"/>
                  </a:cubicBezTo>
                  <a:cubicBezTo>
                    <a:pt x="1082" y="134"/>
                    <a:pt x="1083" y="126"/>
                    <a:pt x="1079" y="121"/>
                  </a:cubicBezTo>
                  <a:cubicBezTo>
                    <a:pt x="1059" y="89"/>
                    <a:pt x="1059" y="89"/>
                    <a:pt x="1059" y="89"/>
                  </a:cubicBezTo>
                  <a:cubicBezTo>
                    <a:pt x="1055" y="85"/>
                    <a:pt x="1047" y="84"/>
                    <a:pt x="1038" y="83"/>
                  </a:cubicBezTo>
                  <a:cubicBezTo>
                    <a:pt x="1002" y="107"/>
                    <a:pt x="1002" y="107"/>
                    <a:pt x="1002" y="107"/>
                  </a:cubicBezTo>
                  <a:cubicBezTo>
                    <a:pt x="989" y="110"/>
                    <a:pt x="980" y="110"/>
                    <a:pt x="976" y="105"/>
                  </a:cubicBezTo>
                  <a:cubicBezTo>
                    <a:pt x="972" y="100"/>
                    <a:pt x="960" y="95"/>
                    <a:pt x="956" y="91"/>
                  </a:cubicBezTo>
                  <a:cubicBezTo>
                    <a:pt x="952" y="86"/>
                    <a:pt x="944" y="77"/>
                    <a:pt x="944" y="68"/>
                  </a:cubicBezTo>
                  <a:cubicBezTo>
                    <a:pt x="948" y="25"/>
                    <a:pt x="948" y="25"/>
                    <a:pt x="948" y="25"/>
                  </a:cubicBezTo>
                  <a:cubicBezTo>
                    <a:pt x="948" y="17"/>
                    <a:pt x="940" y="7"/>
                    <a:pt x="940" y="7"/>
                  </a:cubicBezTo>
                  <a:cubicBezTo>
                    <a:pt x="902" y="0"/>
                    <a:pt x="902" y="0"/>
                    <a:pt x="902" y="0"/>
                  </a:cubicBezTo>
                  <a:cubicBezTo>
                    <a:pt x="902" y="0"/>
                    <a:pt x="889" y="4"/>
                    <a:pt x="888" y="12"/>
                  </a:cubicBezTo>
                  <a:cubicBezTo>
                    <a:pt x="872" y="50"/>
                    <a:pt x="872" y="50"/>
                    <a:pt x="872" y="50"/>
                  </a:cubicBezTo>
                  <a:cubicBezTo>
                    <a:pt x="871" y="67"/>
                    <a:pt x="862" y="67"/>
                    <a:pt x="858" y="71"/>
                  </a:cubicBezTo>
                  <a:cubicBezTo>
                    <a:pt x="858" y="71"/>
                    <a:pt x="858" y="71"/>
                    <a:pt x="853" y="75"/>
                  </a:cubicBezTo>
                  <a:cubicBezTo>
                    <a:pt x="849" y="70"/>
                    <a:pt x="840" y="70"/>
                    <a:pt x="836" y="74"/>
                  </a:cubicBezTo>
                  <a:cubicBezTo>
                    <a:pt x="831" y="78"/>
                    <a:pt x="831" y="78"/>
                    <a:pt x="831" y="78"/>
                  </a:cubicBezTo>
                  <a:cubicBezTo>
                    <a:pt x="822" y="77"/>
                    <a:pt x="814" y="76"/>
                    <a:pt x="806" y="67"/>
                  </a:cubicBezTo>
                  <a:cubicBezTo>
                    <a:pt x="778" y="35"/>
                    <a:pt x="778" y="35"/>
                    <a:pt x="778" y="35"/>
                  </a:cubicBezTo>
                  <a:cubicBezTo>
                    <a:pt x="774" y="30"/>
                    <a:pt x="762" y="25"/>
                    <a:pt x="757" y="29"/>
                  </a:cubicBezTo>
                  <a:cubicBezTo>
                    <a:pt x="734" y="49"/>
                    <a:pt x="734" y="49"/>
                    <a:pt x="734" y="49"/>
                  </a:cubicBezTo>
                  <a:cubicBezTo>
                    <a:pt x="725" y="49"/>
                    <a:pt x="725" y="57"/>
                    <a:pt x="728" y="70"/>
                  </a:cubicBezTo>
                  <a:cubicBezTo>
                    <a:pt x="747" y="102"/>
                    <a:pt x="747" y="102"/>
                    <a:pt x="747" y="102"/>
                  </a:cubicBezTo>
                  <a:cubicBezTo>
                    <a:pt x="754" y="120"/>
                    <a:pt x="750" y="124"/>
                    <a:pt x="744" y="136"/>
                  </a:cubicBezTo>
                  <a:cubicBezTo>
                    <a:pt x="744" y="136"/>
                    <a:pt x="744" y="136"/>
                    <a:pt x="744" y="136"/>
                  </a:cubicBezTo>
                  <a:cubicBezTo>
                    <a:pt x="740" y="140"/>
                    <a:pt x="735" y="144"/>
                    <a:pt x="731" y="148"/>
                  </a:cubicBezTo>
                  <a:cubicBezTo>
                    <a:pt x="731" y="148"/>
                    <a:pt x="731" y="148"/>
                    <a:pt x="731" y="148"/>
                  </a:cubicBezTo>
                  <a:cubicBezTo>
                    <a:pt x="730" y="157"/>
                    <a:pt x="721" y="165"/>
                    <a:pt x="703" y="164"/>
                  </a:cubicBezTo>
                  <a:cubicBezTo>
                    <a:pt x="665" y="157"/>
                    <a:pt x="665" y="157"/>
                    <a:pt x="665" y="157"/>
                  </a:cubicBezTo>
                  <a:cubicBezTo>
                    <a:pt x="656" y="156"/>
                    <a:pt x="647" y="164"/>
                    <a:pt x="647" y="173"/>
                  </a:cubicBezTo>
                  <a:cubicBezTo>
                    <a:pt x="640" y="203"/>
                    <a:pt x="640" y="203"/>
                    <a:pt x="640" y="203"/>
                  </a:cubicBezTo>
                  <a:cubicBezTo>
                    <a:pt x="639" y="211"/>
                    <a:pt x="643" y="216"/>
                    <a:pt x="656" y="221"/>
                  </a:cubicBezTo>
                  <a:cubicBezTo>
                    <a:pt x="690" y="232"/>
                    <a:pt x="690" y="232"/>
                    <a:pt x="690" y="232"/>
                  </a:cubicBezTo>
                  <a:cubicBezTo>
                    <a:pt x="702" y="237"/>
                    <a:pt x="710" y="246"/>
                    <a:pt x="710" y="255"/>
                  </a:cubicBezTo>
                  <a:cubicBezTo>
                    <a:pt x="710" y="255"/>
                    <a:pt x="710" y="255"/>
                    <a:pt x="710" y="255"/>
                  </a:cubicBezTo>
                  <a:cubicBezTo>
                    <a:pt x="714" y="260"/>
                    <a:pt x="713" y="268"/>
                    <a:pt x="717" y="273"/>
                  </a:cubicBezTo>
                  <a:cubicBezTo>
                    <a:pt x="712" y="277"/>
                    <a:pt x="712" y="277"/>
                    <a:pt x="712" y="277"/>
                  </a:cubicBezTo>
                  <a:cubicBezTo>
                    <a:pt x="716" y="281"/>
                    <a:pt x="716" y="290"/>
                    <a:pt x="702" y="302"/>
                  </a:cubicBezTo>
                  <a:cubicBezTo>
                    <a:pt x="674" y="326"/>
                    <a:pt x="674" y="326"/>
                    <a:pt x="674" y="326"/>
                  </a:cubicBezTo>
                  <a:cubicBezTo>
                    <a:pt x="665" y="334"/>
                    <a:pt x="664" y="343"/>
                    <a:pt x="668" y="347"/>
                  </a:cubicBezTo>
                  <a:cubicBezTo>
                    <a:pt x="687" y="379"/>
                    <a:pt x="687" y="379"/>
                    <a:pt x="687" y="379"/>
                  </a:cubicBezTo>
                  <a:cubicBezTo>
                    <a:pt x="691" y="383"/>
                    <a:pt x="700" y="384"/>
                    <a:pt x="704" y="380"/>
                  </a:cubicBezTo>
                  <a:cubicBezTo>
                    <a:pt x="745" y="361"/>
                    <a:pt x="745" y="361"/>
                    <a:pt x="745" y="361"/>
                  </a:cubicBezTo>
                  <a:cubicBezTo>
                    <a:pt x="758" y="358"/>
                    <a:pt x="767" y="358"/>
                    <a:pt x="771" y="363"/>
                  </a:cubicBezTo>
                  <a:cubicBezTo>
                    <a:pt x="771" y="363"/>
                    <a:pt x="771" y="363"/>
                    <a:pt x="771" y="363"/>
                  </a:cubicBezTo>
                  <a:cubicBezTo>
                    <a:pt x="779" y="364"/>
                    <a:pt x="787" y="373"/>
                    <a:pt x="791" y="377"/>
                  </a:cubicBezTo>
                  <a:cubicBezTo>
                    <a:pt x="791" y="377"/>
                    <a:pt x="791" y="377"/>
                    <a:pt x="791" y="377"/>
                  </a:cubicBezTo>
                  <a:cubicBezTo>
                    <a:pt x="800" y="378"/>
                    <a:pt x="804" y="383"/>
                    <a:pt x="802" y="400"/>
                  </a:cubicBezTo>
                  <a:cubicBezTo>
                    <a:pt x="799" y="443"/>
                    <a:pt x="799" y="443"/>
                    <a:pt x="799" y="443"/>
                  </a:cubicBezTo>
                  <a:cubicBezTo>
                    <a:pt x="798" y="451"/>
                    <a:pt x="802" y="456"/>
                    <a:pt x="811" y="457"/>
                  </a:cubicBezTo>
                  <a:cubicBezTo>
                    <a:pt x="845" y="468"/>
                    <a:pt x="845" y="468"/>
                    <a:pt x="845" y="468"/>
                  </a:cubicBezTo>
                  <a:cubicBezTo>
                    <a:pt x="849" y="464"/>
                    <a:pt x="858" y="464"/>
                    <a:pt x="859" y="456"/>
                  </a:cubicBezTo>
                  <a:cubicBezTo>
                    <a:pt x="871" y="413"/>
                    <a:pt x="871" y="413"/>
                    <a:pt x="871" y="413"/>
                  </a:cubicBezTo>
                  <a:cubicBezTo>
                    <a:pt x="876" y="401"/>
                    <a:pt x="889" y="397"/>
                    <a:pt x="894" y="393"/>
                  </a:cubicBezTo>
                  <a:cubicBezTo>
                    <a:pt x="894" y="393"/>
                    <a:pt x="894" y="393"/>
                    <a:pt x="894" y="393"/>
                  </a:cubicBezTo>
                  <a:cubicBezTo>
                    <a:pt x="902" y="394"/>
                    <a:pt x="911" y="395"/>
                    <a:pt x="916" y="391"/>
                  </a:cubicBezTo>
                  <a:cubicBezTo>
                    <a:pt x="916" y="391"/>
                    <a:pt x="916" y="391"/>
                    <a:pt x="916" y="391"/>
                  </a:cubicBezTo>
                  <a:cubicBezTo>
                    <a:pt x="924" y="391"/>
                    <a:pt x="933" y="392"/>
                    <a:pt x="941" y="401"/>
                  </a:cubicBezTo>
                  <a:cubicBezTo>
                    <a:pt x="969" y="433"/>
                    <a:pt x="969" y="433"/>
                    <a:pt x="969" y="433"/>
                  </a:cubicBezTo>
                  <a:cubicBezTo>
                    <a:pt x="973" y="438"/>
                    <a:pt x="985" y="443"/>
                    <a:pt x="990" y="439"/>
                  </a:cubicBezTo>
                  <a:cubicBezTo>
                    <a:pt x="1018" y="415"/>
                    <a:pt x="1018" y="415"/>
                    <a:pt x="1018" y="415"/>
                  </a:cubicBezTo>
                  <a:cubicBezTo>
                    <a:pt x="1018" y="415"/>
                    <a:pt x="1027" y="407"/>
                    <a:pt x="1019" y="398"/>
                  </a:cubicBezTo>
                  <a:close/>
                  <a:moveTo>
                    <a:pt x="803" y="279"/>
                  </a:moveTo>
                  <a:cubicBezTo>
                    <a:pt x="776" y="238"/>
                    <a:pt x="788" y="187"/>
                    <a:pt x="825" y="164"/>
                  </a:cubicBezTo>
                  <a:cubicBezTo>
                    <a:pt x="866" y="136"/>
                    <a:pt x="921" y="144"/>
                    <a:pt x="948" y="185"/>
                  </a:cubicBezTo>
                  <a:cubicBezTo>
                    <a:pt x="972" y="221"/>
                    <a:pt x="963" y="277"/>
                    <a:pt x="922" y="304"/>
                  </a:cubicBezTo>
                  <a:cubicBezTo>
                    <a:pt x="881" y="332"/>
                    <a:pt x="830" y="320"/>
                    <a:pt x="803" y="279"/>
                  </a:cubicBezTo>
                  <a:close/>
                </a:path>
              </a:pathLst>
            </a:custGeom>
            <a:solidFill>
              <a:schemeClr val="tx1"/>
            </a:solidFill>
            <a:ln>
              <a:noFill/>
            </a:ln>
          </p:spPr>
          <p:txBody>
            <a:bodyPr vert="horz" wrap="square" lIns="68574" tIns="34287" rIns="68574" bIns="34287"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17346"/>
                </a:solidFill>
                <a:effectLst/>
                <a:uLnTx/>
                <a:uFillTx/>
                <a:latin typeface="Segoe UI"/>
                <a:ea typeface="+mn-ea"/>
                <a:cs typeface="+mn-cs"/>
              </a:endParaRPr>
            </a:p>
          </p:txBody>
        </p:sp>
        <p:sp>
          <p:nvSpPr>
            <p:cNvPr id="104" name="Freeform 103"/>
            <p:cNvSpPr>
              <a:spLocks noChangeAspect="1"/>
            </p:cNvSpPr>
            <p:nvPr/>
          </p:nvSpPr>
          <p:spPr bwMode="black">
            <a:xfrm>
              <a:off x="776985" y="4213905"/>
              <a:ext cx="342871" cy="335728"/>
            </a:xfrm>
            <a:custGeom>
              <a:avLst/>
              <a:gdLst>
                <a:gd name="connsiteX0" fmla="*/ 3713863 w 4893730"/>
                <a:gd name="connsiteY0" fmla="*/ 2130808 h 4791777"/>
                <a:gd name="connsiteX1" fmla="*/ 4426142 w 4893730"/>
                <a:gd name="connsiteY1" fmla="*/ 2130808 h 4791777"/>
                <a:gd name="connsiteX2" fmla="*/ 4598071 w 4893730"/>
                <a:gd name="connsiteY2" fmla="*/ 2301547 h 4791777"/>
                <a:gd name="connsiteX3" fmla="*/ 4598071 w 4893730"/>
                <a:gd name="connsiteY3" fmla="*/ 3886978 h 4791777"/>
                <a:gd name="connsiteX4" fmla="*/ 4426142 w 4893730"/>
                <a:gd name="connsiteY4" fmla="*/ 4057717 h 4791777"/>
                <a:gd name="connsiteX5" fmla="*/ 3713863 w 4893730"/>
                <a:gd name="connsiteY5" fmla="*/ 4057717 h 4791777"/>
                <a:gd name="connsiteX6" fmla="*/ 3517372 w 4893730"/>
                <a:gd name="connsiteY6" fmla="*/ 3886978 h 4791777"/>
                <a:gd name="connsiteX7" fmla="*/ 3517372 w 4893730"/>
                <a:gd name="connsiteY7" fmla="*/ 2301547 h 4791777"/>
                <a:gd name="connsiteX8" fmla="*/ 3713863 w 4893730"/>
                <a:gd name="connsiteY8" fmla="*/ 2130808 h 4791777"/>
                <a:gd name="connsiteX9" fmla="*/ 904368 w 4893730"/>
                <a:gd name="connsiteY9" fmla="*/ 1223432 h 4791777"/>
                <a:gd name="connsiteX10" fmla="*/ 1609930 w 4893730"/>
                <a:gd name="connsiteY10" fmla="*/ 1223432 h 4791777"/>
                <a:gd name="connsiteX11" fmla="*/ 1804567 w 4893730"/>
                <a:gd name="connsiteY11" fmla="*/ 1394467 h 4791777"/>
                <a:gd name="connsiteX12" fmla="*/ 1804567 w 4893730"/>
                <a:gd name="connsiteY12" fmla="*/ 3886683 h 4791777"/>
                <a:gd name="connsiteX13" fmla="*/ 1609930 w 4893730"/>
                <a:gd name="connsiteY13" fmla="*/ 4057717 h 4791777"/>
                <a:gd name="connsiteX14" fmla="*/ 904368 w 4893730"/>
                <a:gd name="connsiteY14" fmla="*/ 4057717 h 4791777"/>
                <a:gd name="connsiteX15" fmla="*/ 734060 w 4893730"/>
                <a:gd name="connsiteY15" fmla="*/ 3886683 h 4791777"/>
                <a:gd name="connsiteX16" fmla="*/ 734060 w 4893730"/>
                <a:gd name="connsiteY16" fmla="*/ 1394467 h 4791777"/>
                <a:gd name="connsiteX17" fmla="*/ 904368 w 4893730"/>
                <a:gd name="connsiteY17" fmla="*/ 1223432 h 4791777"/>
                <a:gd name="connsiteX18" fmla="*/ 2325453 w 4893730"/>
                <a:gd name="connsiteY18" fmla="*/ 316050 h 4791777"/>
                <a:gd name="connsiteX19" fmla="*/ 3031014 w 4893730"/>
                <a:gd name="connsiteY19" fmla="*/ 316050 h 4791777"/>
                <a:gd name="connsiteX20" fmla="*/ 3201322 w 4893730"/>
                <a:gd name="connsiteY20" fmla="*/ 487238 h 4791777"/>
                <a:gd name="connsiteX21" fmla="*/ 3201322 w 4893730"/>
                <a:gd name="connsiteY21" fmla="*/ 3886530 h 4791777"/>
                <a:gd name="connsiteX22" fmla="*/ 3031014 w 4893730"/>
                <a:gd name="connsiteY22" fmla="*/ 4057717 h 4791777"/>
                <a:gd name="connsiteX23" fmla="*/ 2325453 w 4893730"/>
                <a:gd name="connsiteY23" fmla="*/ 4057717 h 4791777"/>
                <a:gd name="connsiteX24" fmla="*/ 2130815 w 4893730"/>
                <a:gd name="connsiteY24" fmla="*/ 3886530 h 4791777"/>
                <a:gd name="connsiteX25" fmla="*/ 2130815 w 4893730"/>
                <a:gd name="connsiteY25" fmla="*/ 487238 h 4791777"/>
                <a:gd name="connsiteX26" fmla="*/ 2325453 w 4893730"/>
                <a:gd name="connsiteY26" fmla="*/ 316050 h 4791777"/>
                <a:gd name="connsiteX27" fmla="*/ 269155 w 4893730"/>
                <a:gd name="connsiteY27" fmla="*/ 0 h 4791777"/>
                <a:gd name="connsiteX28" fmla="*/ 538311 w 4893730"/>
                <a:gd name="connsiteY28" fmla="*/ 268927 h 4791777"/>
                <a:gd name="connsiteX29" fmla="*/ 538311 w 4893730"/>
                <a:gd name="connsiteY29" fmla="*/ 4253925 h 4791777"/>
                <a:gd name="connsiteX30" fmla="*/ 4624575 w 4893730"/>
                <a:gd name="connsiteY30" fmla="*/ 4253925 h 4791777"/>
                <a:gd name="connsiteX31" fmla="*/ 4893730 w 4893730"/>
                <a:gd name="connsiteY31" fmla="*/ 4522851 h 4791777"/>
                <a:gd name="connsiteX32" fmla="*/ 4624575 w 4893730"/>
                <a:gd name="connsiteY32" fmla="*/ 4791777 h 4791777"/>
                <a:gd name="connsiteX33" fmla="*/ 269155 w 4893730"/>
                <a:gd name="connsiteY33" fmla="*/ 4791777 h 4791777"/>
                <a:gd name="connsiteX34" fmla="*/ 0 w 4893730"/>
                <a:gd name="connsiteY34" fmla="*/ 4522851 h 4791777"/>
                <a:gd name="connsiteX35" fmla="*/ 0 w 4893730"/>
                <a:gd name="connsiteY35" fmla="*/ 268927 h 4791777"/>
                <a:gd name="connsiteX36" fmla="*/ 269155 w 4893730"/>
                <a:gd name="connsiteY36" fmla="*/ 0 h 4791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4893730" h="4791777">
                  <a:moveTo>
                    <a:pt x="3713863" y="2130808"/>
                  </a:moveTo>
                  <a:cubicBezTo>
                    <a:pt x="3713863" y="2130808"/>
                    <a:pt x="3713863" y="2130808"/>
                    <a:pt x="4426142" y="2130808"/>
                  </a:cubicBezTo>
                  <a:cubicBezTo>
                    <a:pt x="4524387" y="2130808"/>
                    <a:pt x="4598071" y="2203982"/>
                    <a:pt x="4598071" y="2301547"/>
                  </a:cubicBezTo>
                  <a:cubicBezTo>
                    <a:pt x="4598071" y="2301547"/>
                    <a:pt x="4598071" y="2301547"/>
                    <a:pt x="4598071" y="3886978"/>
                  </a:cubicBezTo>
                  <a:cubicBezTo>
                    <a:pt x="4598071" y="3984543"/>
                    <a:pt x="4524387" y="4057717"/>
                    <a:pt x="4426142" y="4057717"/>
                  </a:cubicBezTo>
                  <a:cubicBezTo>
                    <a:pt x="4426142" y="4057717"/>
                    <a:pt x="4426142" y="4057717"/>
                    <a:pt x="3713863" y="4057717"/>
                  </a:cubicBezTo>
                  <a:cubicBezTo>
                    <a:pt x="3615618" y="4057717"/>
                    <a:pt x="3517372" y="3984543"/>
                    <a:pt x="3517372" y="3886978"/>
                  </a:cubicBezTo>
                  <a:cubicBezTo>
                    <a:pt x="3517372" y="3886978"/>
                    <a:pt x="3517372" y="3886978"/>
                    <a:pt x="3517372" y="2301547"/>
                  </a:cubicBezTo>
                  <a:cubicBezTo>
                    <a:pt x="3517372" y="2203982"/>
                    <a:pt x="3615618" y="2130808"/>
                    <a:pt x="3713863" y="2130808"/>
                  </a:cubicBezTo>
                  <a:close/>
                  <a:moveTo>
                    <a:pt x="904368" y="1223432"/>
                  </a:moveTo>
                  <a:cubicBezTo>
                    <a:pt x="904368" y="1223432"/>
                    <a:pt x="904368" y="1223432"/>
                    <a:pt x="1609930" y="1223432"/>
                  </a:cubicBezTo>
                  <a:cubicBezTo>
                    <a:pt x="1731578" y="1223432"/>
                    <a:pt x="1804567" y="1296733"/>
                    <a:pt x="1804567" y="1394467"/>
                  </a:cubicBezTo>
                  <a:cubicBezTo>
                    <a:pt x="1804567" y="1394467"/>
                    <a:pt x="1804567" y="1394467"/>
                    <a:pt x="1804567" y="3886683"/>
                  </a:cubicBezTo>
                  <a:cubicBezTo>
                    <a:pt x="1804567" y="3984417"/>
                    <a:pt x="1731578" y="4057717"/>
                    <a:pt x="1609930" y="4057717"/>
                  </a:cubicBezTo>
                  <a:cubicBezTo>
                    <a:pt x="1609930" y="4057717"/>
                    <a:pt x="1609930" y="4057717"/>
                    <a:pt x="904368" y="4057717"/>
                  </a:cubicBezTo>
                  <a:cubicBezTo>
                    <a:pt x="807049" y="4057717"/>
                    <a:pt x="734060" y="3984417"/>
                    <a:pt x="734060" y="3886683"/>
                  </a:cubicBezTo>
                  <a:cubicBezTo>
                    <a:pt x="734060" y="3886683"/>
                    <a:pt x="734060" y="3886683"/>
                    <a:pt x="734060" y="1394467"/>
                  </a:cubicBezTo>
                  <a:cubicBezTo>
                    <a:pt x="734060" y="1296733"/>
                    <a:pt x="807049" y="1223432"/>
                    <a:pt x="904368" y="1223432"/>
                  </a:cubicBezTo>
                  <a:close/>
                  <a:moveTo>
                    <a:pt x="2325453" y="316050"/>
                  </a:moveTo>
                  <a:cubicBezTo>
                    <a:pt x="2325453" y="316050"/>
                    <a:pt x="2325453" y="316050"/>
                    <a:pt x="3031014" y="316050"/>
                  </a:cubicBezTo>
                  <a:cubicBezTo>
                    <a:pt x="3128333" y="316050"/>
                    <a:pt x="3201322" y="389416"/>
                    <a:pt x="3201322" y="487238"/>
                  </a:cubicBezTo>
                  <a:cubicBezTo>
                    <a:pt x="3201322" y="487238"/>
                    <a:pt x="3201322" y="487238"/>
                    <a:pt x="3201322" y="3886530"/>
                  </a:cubicBezTo>
                  <a:cubicBezTo>
                    <a:pt x="3201322" y="3984351"/>
                    <a:pt x="3128333" y="4057717"/>
                    <a:pt x="3031014" y="4057717"/>
                  </a:cubicBezTo>
                  <a:cubicBezTo>
                    <a:pt x="3031014" y="4057717"/>
                    <a:pt x="3031014" y="4057717"/>
                    <a:pt x="2325453" y="4057717"/>
                  </a:cubicBezTo>
                  <a:cubicBezTo>
                    <a:pt x="2203804" y="4057717"/>
                    <a:pt x="2130815" y="3984351"/>
                    <a:pt x="2130815" y="3886530"/>
                  </a:cubicBezTo>
                  <a:cubicBezTo>
                    <a:pt x="2130815" y="3886530"/>
                    <a:pt x="2130815" y="3886530"/>
                    <a:pt x="2130815" y="487238"/>
                  </a:cubicBezTo>
                  <a:cubicBezTo>
                    <a:pt x="2130815" y="389416"/>
                    <a:pt x="2203804" y="316050"/>
                    <a:pt x="2325453" y="316050"/>
                  </a:cubicBezTo>
                  <a:close/>
                  <a:moveTo>
                    <a:pt x="269155" y="0"/>
                  </a:moveTo>
                  <a:cubicBezTo>
                    <a:pt x="415967" y="0"/>
                    <a:pt x="538311" y="122239"/>
                    <a:pt x="538311" y="268927"/>
                  </a:cubicBezTo>
                  <a:cubicBezTo>
                    <a:pt x="538311" y="268927"/>
                    <a:pt x="538311" y="268927"/>
                    <a:pt x="538311" y="4253925"/>
                  </a:cubicBezTo>
                  <a:cubicBezTo>
                    <a:pt x="538311" y="4253925"/>
                    <a:pt x="538311" y="4253925"/>
                    <a:pt x="4624575" y="4253925"/>
                  </a:cubicBezTo>
                  <a:cubicBezTo>
                    <a:pt x="4771387" y="4253925"/>
                    <a:pt x="4893730" y="4376164"/>
                    <a:pt x="4893730" y="4522851"/>
                  </a:cubicBezTo>
                  <a:cubicBezTo>
                    <a:pt x="4893730" y="4669538"/>
                    <a:pt x="4771387" y="4791777"/>
                    <a:pt x="4624575" y="4791777"/>
                  </a:cubicBezTo>
                  <a:cubicBezTo>
                    <a:pt x="4624575" y="4791777"/>
                    <a:pt x="4624575" y="4791777"/>
                    <a:pt x="269155" y="4791777"/>
                  </a:cubicBezTo>
                  <a:cubicBezTo>
                    <a:pt x="122344" y="4791777"/>
                    <a:pt x="0" y="4669538"/>
                    <a:pt x="0" y="4522851"/>
                  </a:cubicBezTo>
                  <a:cubicBezTo>
                    <a:pt x="0" y="4522851"/>
                    <a:pt x="0" y="4522851"/>
                    <a:pt x="0" y="268927"/>
                  </a:cubicBezTo>
                  <a:cubicBezTo>
                    <a:pt x="0" y="122239"/>
                    <a:pt x="122344" y="0"/>
                    <a:pt x="269155"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37148" tIns="109719" rIns="137148" bIns="109719"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699261"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5" name="Rectangle 104"/>
            <p:cNvSpPr/>
            <p:nvPr/>
          </p:nvSpPr>
          <p:spPr bwMode="auto">
            <a:xfrm rot="2745734">
              <a:off x="886688" y="2210975"/>
              <a:ext cx="1598323" cy="1625795"/>
            </a:xfrm>
            <a:prstGeom prst="rect">
              <a:avLst/>
            </a:prstGeom>
            <a:solidFill>
              <a:schemeClr val="tx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6" name="Rectangle 105"/>
            <p:cNvSpPr/>
            <p:nvPr/>
          </p:nvSpPr>
          <p:spPr bwMode="auto">
            <a:xfrm rot="2745734">
              <a:off x="292433" y="3819160"/>
              <a:ext cx="1610349" cy="1235003"/>
            </a:xfrm>
            <a:prstGeom prst="rect">
              <a:avLst/>
            </a:prstGeom>
            <a:solidFill>
              <a:schemeClr val="tx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7" name="Rectangle 106"/>
            <p:cNvSpPr/>
            <p:nvPr/>
          </p:nvSpPr>
          <p:spPr bwMode="auto">
            <a:xfrm rot="2745734">
              <a:off x="1315610" y="4915701"/>
              <a:ext cx="1263370" cy="1255989"/>
            </a:xfrm>
            <a:prstGeom prst="rect">
              <a:avLst/>
            </a:prstGeom>
            <a:solidFill>
              <a:schemeClr val="tx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37" name="Title 10"/>
          <p:cNvSpPr txBox="1">
            <a:spLocks/>
          </p:cNvSpPr>
          <p:nvPr/>
        </p:nvSpPr>
        <p:spPr>
          <a:xfrm>
            <a:off x="2849060" y="0"/>
            <a:ext cx="9342940" cy="665151"/>
          </a:xfrm>
          <a:prstGeom prst="rect">
            <a:avLst/>
          </a:prstGeom>
          <a:noFill/>
        </p:spPr>
        <p:txBody>
          <a:bodyPr vert="horz" wrap="square" lIns="0" tIns="91440" rIns="0" bIns="91440" rtlCol="0" anchor="t">
            <a:noAutofit/>
          </a:bodyPr>
          <a:lstStyle>
            <a:lvl1pPr defTabSz="914367">
              <a:lnSpc>
                <a:spcPct val="90000"/>
              </a:lnSpc>
              <a:spcBef>
                <a:spcPct val="0"/>
              </a:spcBef>
              <a:buNone/>
              <a:defRPr lang="en-US" sz="5294" b="0" cap="none" spc="-100" baseline="0" dirty="0" smtClean="0">
                <a:ln w="3175">
                  <a:noFill/>
                </a:ln>
                <a:solidFill>
                  <a:schemeClr val="tx2"/>
                </a:solidFill>
                <a:effectLst/>
                <a:latin typeface="+mj-lt"/>
                <a:cs typeface="Segoe UI" pitchFamily="34" charset="0"/>
              </a:defRPr>
            </a:lvl1pPr>
          </a:lstStyle>
          <a:p>
            <a:pPr marL="168275" marR="0" lvl="0" indent="0" algn="l" defTabSz="914367" rtl="0" eaLnBrk="1" fontAlgn="auto" latinLnBrk="0" hangingPunct="1">
              <a:lnSpc>
                <a:spcPct val="90000"/>
              </a:lnSpc>
              <a:spcBef>
                <a:spcPct val="0"/>
              </a:spcBef>
              <a:spcAft>
                <a:spcPts val="0"/>
              </a:spcAft>
              <a:buClrTx/>
              <a:buSzTx/>
              <a:buFontTx/>
              <a:buNone/>
              <a:tabLst/>
              <a:defRPr/>
            </a:pPr>
            <a:r>
              <a:rPr kumimoji="0" lang="en-US" sz="3600" b="0" i="0" u="none" strike="noStrike" kern="1200" cap="none" spc="-100" normalizeH="0" baseline="0" noProof="0">
                <a:ln w="3175">
                  <a:noFill/>
                </a:ln>
                <a:solidFill>
                  <a:prstClr val="black"/>
                </a:solidFill>
                <a:effectLst/>
                <a:uLnTx/>
                <a:uFillTx/>
                <a:latin typeface="Segoe UI Light"/>
                <a:ea typeface="+mn-ea"/>
                <a:cs typeface="Segoe UI" pitchFamily="34" charset="0"/>
              </a:rPr>
              <a:t>Calculations</a:t>
            </a:r>
            <a:endParaRPr kumimoji="0" lang="en-IN" sz="3600" b="0" i="0" u="none" strike="noStrike" kern="1200" cap="none" spc="-100" normalizeH="0" baseline="0" noProof="0">
              <a:ln w="3175">
                <a:noFill/>
              </a:ln>
              <a:solidFill>
                <a:prstClr val="black"/>
              </a:solidFill>
              <a:effectLst/>
              <a:uLnTx/>
              <a:uFillTx/>
              <a:latin typeface="Segoe UI Light"/>
              <a:ea typeface="+mn-ea"/>
              <a:cs typeface="Segoe UI" pitchFamily="34" charset="0"/>
            </a:endParaRPr>
          </a:p>
        </p:txBody>
      </p:sp>
      <p:sp>
        <p:nvSpPr>
          <p:cNvPr id="40" name="TextBox 39"/>
          <p:cNvSpPr txBox="1"/>
          <p:nvPr/>
        </p:nvSpPr>
        <p:spPr>
          <a:xfrm>
            <a:off x="3" y="51415"/>
            <a:ext cx="2849058" cy="430887"/>
          </a:xfrm>
          <a:prstGeom prst="rect">
            <a:avLst/>
          </a:prstGeom>
        </p:spPr>
        <p:txBody>
          <a:bodyPr wrap="square">
            <a:spAutoFit/>
          </a:bodyPr>
          <a:lstStyle>
            <a:defPPr>
              <a:defRPr lang="en-US"/>
            </a:defPPr>
            <a:lvl1pPr defTabSz="914192">
              <a:defRPr sz="2800" b="1" spc="-100">
                <a:ln w="3175">
                  <a:noFill/>
                </a:ln>
                <a:solidFill>
                  <a:srgbClr val="F2C812"/>
                </a:solidFill>
                <a:latin typeface="Segoe UI" panose="020B0502040204020203" pitchFamily="34" charset="0"/>
                <a:ea typeface="ＭＳ Ｐゴシック" charset="0"/>
                <a:cs typeface="Segoe UI" panose="020B0502040204020203" pitchFamily="34" charset="0"/>
              </a:defRPr>
            </a:lvl1pPr>
          </a:lstStyle>
          <a:p>
            <a:pPr marL="0" marR="0" lvl="0" indent="0" algn="l" defTabSz="914192" rtl="0" eaLnBrk="1" fontAlgn="auto" latinLnBrk="0" hangingPunct="1">
              <a:lnSpc>
                <a:spcPct val="100000"/>
              </a:lnSpc>
              <a:spcBef>
                <a:spcPts val="0"/>
              </a:spcBef>
              <a:spcAft>
                <a:spcPts val="0"/>
              </a:spcAft>
              <a:buClrTx/>
              <a:buSzTx/>
              <a:buFontTx/>
              <a:buNone/>
              <a:tabLst/>
              <a:defRPr/>
            </a:pPr>
            <a:r>
              <a:rPr kumimoji="0" lang="en-US" sz="2200" b="1" i="0" u="none" strike="noStrike" kern="1200" cap="none" spc="-100" normalizeH="0" baseline="0" noProof="0">
                <a:ln w="3175">
                  <a:noFill/>
                </a:ln>
                <a:solidFill>
                  <a:srgbClr val="F2C812"/>
                </a:solidFill>
                <a:effectLst/>
                <a:uLnTx/>
                <a:uFillTx/>
                <a:latin typeface="Segoe UI Light"/>
                <a:ea typeface="ＭＳ Ｐゴシック" charset="0"/>
                <a:cs typeface="Segoe UI" panose="020B0502040204020203" pitchFamily="34" charset="0"/>
              </a:rPr>
              <a:t>Power BI Desktop</a:t>
            </a:r>
          </a:p>
        </p:txBody>
      </p:sp>
      <p:sp>
        <p:nvSpPr>
          <p:cNvPr id="36" name="Rectangle 3"/>
          <p:cNvSpPr/>
          <p:nvPr/>
        </p:nvSpPr>
        <p:spPr bwMode="auto">
          <a:xfrm>
            <a:off x="3202216" y="665151"/>
            <a:ext cx="8105312" cy="44435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PT" sz="2000" b="0" i="1" u="none" strike="noStrike" kern="1200" cap="none" spc="0" normalizeH="0" baseline="0" noProof="0">
                <a:ln>
                  <a:noFill/>
                </a:ln>
                <a:solidFill>
                  <a:prstClr val="black"/>
                </a:solidFill>
                <a:effectLst/>
                <a:uLnTx/>
                <a:uFillTx/>
                <a:latin typeface="Segoe UI Light"/>
                <a:ea typeface="+mn-ea"/>
                <a:cs typeface="+mn-cs"/>
              </a:rPr>
              <a:t>Measures</a:t>
            </a:r>
            <a:endParaRPr kumimoji="0" lang="en-US" sz="2000" b="0" i="1" u="none" strike="noStrike" kern="1200" cap="none" spc="0" normalizeH="0" baseline="0" noProof="0">
              <a:ln>
                <a:noFill/>
              </a:ln>
              <a:solidFill>
                <a:prstClr val="black"/>
              </a:solidFill>
              <a:effectLst/>
              <a:uLnTx/>
              <a:uFillTx/>
              <a:latin typeface="Segoe UI Light"/>
              <a:ea typeface="+mn-ea"/>
              <a:cs typeface="+mn-cs"/>
            </a:endParaRPr>
          </a:p>
        </p:txBody>
      </p:sp>
      <p:sp>
        <p:nvSpPr>
          <p:cNvPr id="35" name="Text Placeholder 2"/>
          <p:cNvSpPr txBox="1">
            <a:spLocks/>
          </p:cNvSpPr>
          <p:nvPr/>
        </p:nvSpPr>
        <p:spPr>
          <a:xfrm>
            <a:off x="2915396" y="1412203"/>
            <a:ext cx="9090381" cy="897374"/>
          </a:xfrm>
          <a:prstGeom prst="rect">
            <a:avLst/>
          </a:prstGeom>
        </p:spPr>
        <p:txBody>
          <a:bodyPr vert="horz" wrap="square" lIns="182880" tIns="146304" rIns="182880" bIns="146304" rtlCol="0">
            <a:noAutofit/>
          </a:bodyPr>
          <a:lstStyle>
            <a:lvl1pPr marL="182845" marR="0"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3921" kern="1200" spc="0" baseline="0">
                <a:gradFill>
                  <a:gsLst>
                    <a:gs pos="1250">
                      <a:schemeClr val="tx2"/>
                    </a:gs>
                    <a:gs pos="99000">
                      <a:schemeClr val="tx2"/>
                    </a:gs>
                  </a:gsLst>
                  <a:lin ang="5400000" scaled="0"/>
                </a:gradFill>
                <a:latin typeface="+mj-lt"/>
                <a:ea typeface="+mn-ea"/>
                <a:cs typeface="+mn-cs"/>
              </a:defRPr>
            </a:lvl1pPr>
            <a:lvl2pPr marL="365690" marR="0"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2400" kern="1200" spc="0" baseline="0">
                <a:solidFill>
                  <a:schemeClr val="tx2"/>
                </a:solidFill>
                <a:latin typeface="+mj-lt"/>
                <a:ea typeface="+mn-ea"/>
                <a:cs typeface="+mn-cs"/>
              </a:defRPr>
            </a:lvl2pPr>
            <a:lvl3pPr marL="548535" marR="0"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2000" kern="1200" spc="0" baseline="0">
                <a:solidFill>
                  <a:schemeClr val="tx2"/>
                </a:solidFill>
                <a:latin typeface="+mj-lt"/>
                <a:ea typeface="+mn-ea"/>
                <a:cs typeface="+mn-cs"/>
              </a:defRPr>
            </a:lvl3pPr>
            <a:lvl4pPr marL="733802" marR="0" indent="-28569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1765" kern="1200" spc="0" baseline="0">
                <a:solidFill>
                  <a:schemeClr val="tx2"/>
                </a:solidFill>
                <a:latin typeface="+mn-lt"/>
                <a:ea typeface="+mn-ea"/>
                <a:cs typeface="+mn-cs"/>
              </a:defRPr>
            </a:lvl4pPr>
            <a:lvl5pPr marL="957856" marR="0" indent="-28569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1765" kern="1200" spc="0" baseline="0">
                <a:solidFill>
                  <a:schemeClr val="tx2"/>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r>
              <a:rPr kumimoji="0" lang="pt-PT" sz="2400" b="0" i="0" u="none" strike="noStrike" kern="1200" cap="none" spc="0" normalizeH="0" baseline="0" noProof="0">
                <a:ln>
                  <a:noFill/>
                </a:ln>
                <a:solidFill>
                  <a:prstClr val="black"/>
                </a:solidFill>
                <a:effectLst/>
                <a:uLnTx/>
                <a:uFillTx/>
                <a:latin typeface="Segoe UI Light"/>
                <a:ea typeface="Calibri" panose="020F0502020204030204" pitchFamily="34" charset="0"/>
                <a:cs typeface="Times New Roman" panose="02020603050405020304" pitchFamily="18" charset="0"/>
              </a:rPr>
              <a:t>They can (and should) be </a:t>
            </a:r>
            <a:r>
              <a:rPr kumimoji="0" lang="pt-PT" sz="2400" b="1" i="0" u="none" strike="noStrike" kern="1200" cap="none" spc="0" normalizeH="0" baseline="0" noProof="0">
                <a:ln>
                  <a:noFill/>
                </a:ln>
                <a:solidFill>
                  <a:prstClr val="black"/>
                </a:solidFill>
                <a:effectLst/>
                <a:uLnTx/>
                <a:uFillTx/>
                <a:latin typeface="Segoe UI Light"/>
                <a:ea typeface="Calibri" panose="020F0502020204030204" pitchFamily="34" charset="0"/>
                <a:cs typeface="Times New Roman" panose="02020603050405020304" pitchFamily="18" charset="0"/>
              </a:rPr>
              <a:t>referenced from other measures </a:t>
            </a:r>
            <a:r>
              <a:rPr kumimoji="0" lang="pt-PT" sz="2400" b="0" i="0" u="none" strike="noStrike" kern="1200" cap="none" spc="0" normalizeH="0" baseline="0" noProof="0">
                <a:ln>
                  <a:noFill/>
                </a:ln>
                <a:solidFill>
                  <a:prstClr val="black"/>
                </a:solidFill>
                <a:effectLst/>
                <a:uLnTx/>
                <a:uFillTx/>
                <a:latin typeface="Segoe UI Light"/>
                <a:ea typeface="Calibri" panose="020F0502020204030204" pitchFamily="34" charset="0"/>
                <a:cs typeface="Times New Roman" panose="02020603050405020304" pitchFamily="18" charset="0"/>
              </a:rPr>
              <a:t>– this is a best practice</a:t>
            </a: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pt-PT" sz="2400" b="0" i="0" u="none" strike="noStrike" kern="1200" cap="none" spc="0" normalizeH="0" baseline="0" noProof="0">
              <a:ln>
                <a:noFill/>
              </a:ln>
              <a:solidFill>
                <a:prstClr val="black"/>
              </a:solidFill>
              <a:effectLst/>
              <a:uLnTx/>
              <a:uFillTx/>
              <a:latin typeface="Segoe UI Light"/>
              <a:ea typeface="Calibri" panose="020F0502020204030204" pitchFamily="34" charset="0"/>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r>
              <a:rPr kumimoji="0" lang="pt-PT" sz="2400" b="0" i="0" u="none" strike="noStrike" kern="1200" cap="none" spc="0" normalizeH="0" baseline="0" noProof="0">
                <a:ln>
                  <a:noFill/>
                </a:ln>
                <a:solidFill>
                  <a:prstClr val="black"/>
                </a:solidFill>
                <a:effectLst/>
                <a:uLnTx/>
                <a:uFillTx/>
                <a:latin typeface="Segoe UI Light"/>
                <a:ea typeface="Calibri" panose="020F0502020204030204" pitchFamily="34" charset="0"/>
                <a:cs typeface="Times New Roman" panose="02020603050405020304" pitchFamily="18" charset="0"/>
              </a:rPr>
              <a:t>Measures are </a:t>
            </a:r>
            <a:r>
              <a:rPr kumimoji="0" lang="pt-PT" sz="2400" b="1" i="0" u="none" strike="noStrike" kern="1200" cap="none" spc="0" normalizeH="0" baseline="0" noProof="0">
                <a:ln>
                  <a:noFill/>
                </a:ln>
                <a:solidFill>
                  <a:prstClr val="black"/>
                </a:solidFill>
                <a:effectLst/>
                <a:uLnTx/>
                <a:uFillTx/>
                <a:latin typeface="Segoe UI Light"/>
                <a:ea typeface="Calibri" panose="020F0502020204030204" pitchFamily="34" charset="0"/>
                <a:cs typeface="Times New Roman" panose="02020603050405020304" pitchFamily="18" charset="0"/>
              </a:rPr>
              <a:t>evaluated for each cell </a:t>
            </a:r>
            <a:r>
              <a:rPr kumimoji="0" lang="pt-PT" sz="2400" b="0" i="0" u="none" strike="noStrike" kern="1200" cap="none" spc="0" normalizeH="0" baseline="0" noProof="0">
                <a:ln>
                  <a:noFill/>
                </a:ln>
                <a:solidFill>
                  <a:prstClr val="black"/>
                </a:solidFill>
                <a:effectLst/>
                <a:uLnTx/>
                <a:uFillTx/>
                <a:latin typeface="Segoe UI Light"/>
                <a:ea typeface="Calibri" panose="020F0502020204030204" pitchFamily="34" charset="0"/>
                <a:cs typeface="Times New Roman" panose="02020603050405020304" pitchFamily="18" charset="0"/>
              </a:rPr>
              <a:t>they appear in (Filter Context)</a:t>
            </a: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400" b="0" i="0" u="none" strike="noStrike" kern="1200" cap="none" spc="0" normalizeH="0" baseline="0" noProof="0">
              <a:ln>
                <a:noFill/>
              </a:ln>
              <a:solidFill>
                <a:prstClr val="black"/>
              </a:solidFill>
              <a:effectLst/>
              <a:uLnTx/>
              <a:uFillTx/>
              <a:latin typeface="Segoe UI Light"/>
              <a:ea typeface="Calibri" panose="020F0502020204030204" pitchFamily="34" charset="0"/>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400" b="0" i="0" u="none" strike="noStrike" kern="1200" cap="none" spc="0" normalizeH="0" baseline="0" noProof="0">
              <a:ln>
                <a:noFill/>
              </a:ln>
              <a:solidFill>
                <a:prstClr val="black"/>
              </a:solidFill>
              <a:effectLst/>
              <a:uLnTx/>
              <a:uFillTx/>
              <a:latin typeface="Segoe UI Light"/>
              <a:ea typeface="Calibri" panose="020F0502020204030204" pitchFamily="34" charset="0"/>
              <a:cs typeface="Times New Roman" panose="02020603050405020304" pitchFamily="18" charset="0"/>
            </a:endParaRPr>
          </a:p>
        </p:txBody>
      </p:sp>
      <p:sp>
        <p:nvSpPr>
          <p:cNvPr id="38" name="Rectangle 37"/>
          <p:cNvSpPr/>
          <p:nvPr/>
        </p:nvSpPr>
        <p:spPr bwMode="auto">
          <a:xfrm flipV="1">
            <a:off x="7326527" y="4919892"/>
            <a:ext cx="482719" cy="202310"/>
          </a:xfrm>
          <a:prstGeom prst="rect">
            <a:avLst/>
          </a:prstGeom>
          <a:noFill/>
          <a:ln w="38100">
            <a:solidFill>
              <a:srgbClr val="FF00F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9" name="Rectangle 38"/>
          <p:cNvSpPr/>
          <p:nvPr/>
        </p:nvSpPr>
        <p:spPr bwMode="auto">
          <a:xfrm flipV="1">
            <a:off x="7326528" y="5734964"/>
            <a:ext cx="482719" cy="202310"/>
          </a:xfrm>
          <a:prstGeom prst="rect">
            <a:avLst/>
          </a:prstGeom>
          <a:noFill/>
          <a:ln w="38100">
            <a:solidFill>
              <a:srgbClr val="FF00F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1" name="Right Arrow 40"/>
          <p:cNvSpPr/>
          <p:nvPr/>
        </p:nvSpPr>
        <p:spPr bwMode="auto">
          <a:xfrm rot="20041901" flipV="1">
            <a:off x="7775955" y="4839136"/>
            <a:ext cx="573111" cy="103065"/>
          </a:xfrm>
          <a:prstGeom prst="rightArrow">
            <a:avLst/>
          </a:prstGeom>
          <a:solidFill>
            <a:srgbClr val="FF00FF"/>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pt-PT"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2" name="Text Placeholder 2"/>
          <p:cNvSpPr txBox="1">
            <a:spLocks/>
          </p:cNvSpPr>
          <p:nvPr/>
        </p:nvSpPr>
        <p:spPr>
          <a:xfrm>
            <a:off x="8342700" y="4211985"/>
            <a:ext cx="2380018" cy="969944"/>
          </a:xfrm>
          <a:prstGeom prst="rect">
            <a:avLst/>
          </a:prstGeom>
        </p:spPr>
        <p:style>
          <a:lnRef idx="2">
            <a:schemeClr val="dk1"/>
          </a:lnRef>
          <a:fillRef idx="1">
            <a:schemeClr val="lt1"/>
          </a:fillRef>
          <a:effectRef idx="0">
            <a:schemeClr val="dk1"/>
          </a:effectRef>
          <a:fontRef idx="minor">
            <a:schemeClr val="dk1"/>
          </a:fontRef>
        </p:style>
        <p:txBody>
          <a:bodyPr vert="horz" wrap="square" lIns="182880" tIns="146304" rIns="182880" bIns="146304" rtlCol="0">
            <a:noAutofit/>
          </a:bodyPr>
          <a:lstStyle>
            <a:lvl1pPr marL="182845" marR="0"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3921" kern="1200" spc="0" baseline="0">
                <a:gradFill>
                  <a:gsLst>
                    <a:gs pos="1250">
                      <a:schemeClr val="tx2"/>
                    </a:gs>
                    <a:gs pos="99000">
                      <a:schemeClr val="tx2"/>
                    </a:gs>
                  </a:gsLst>
                  <a:lin ang="5400000" scaled="0"/>
                </a:gradFill>
                <a:latin typeface="+mj-lt"/>
                <a:ea typeface="+mn-ea"/>
                <a:cs typeface="+mn-cs"/>
              </a:defRPr>
            </a:lvl1pPr>
            <a:lvl2pPr marL="365690" marR="0"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2400" kern="1200" spc="0" baseline="0">
                <a:solidFill>
                  <a:schemeClr val="tx2"/>
                </a:solidFill>
                <a:latin typeface="+mj-lt"/>
                <a:ea typeface="+mn-ea"/>
                <a:cs typeface="+mn-cs"/>
              </a:defRPr>
            </a:lvl2pPr>
            <a:lvl3pPr marL="548535" marR="0"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2000" kern="1200" spc="0" baseline="0">
                <a:solidFill>
                  <a:schemeClr val="tx2"/>
                </a:solidFill>
                <a:latin typeface="+mj-lt"/>
                <a:ea typeface="+mn-ea"/>
                <a:cs typeface="+mn-cs"/>
              </a:defRPr>
            </a:lvl3pPr>
            <a:lvl4pPr marL="733802" marR="0" indent="-28569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1765" kern="1200" spc="0" baseline="0">
                <a:solidFill>
                  <a:schemeClr val="tx2"/>
                </a:solidFill>
                <a:latin typeface="+mn-lt"/>
                <a:ea typeface="+mn-ea"/>
                <a:cs typeface="+mn-cs"/>
              </a:defRPr>
            </a:lvl4pPr>
            <a:lvl5pPr marL="957856" marR="0" indent="-28569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1765" kern="1200" spc="0" baseline="0">
                <a:solidFill>
                  <a:schemeClr val="tx2"/>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182845" marR="0" lvl="1" indent="0" algn="l" defTabSz="914367" rtl="0" eaLnBrk="1" fontAlgn="auto" latinLnBrk="0" hangingPunct="1">
              <a:lnSpc>
                <a:spcPct val="90000"/>
              </a:lnSpc>
              <a:spcBef>
                <a:spcPct val="20000"/>
              </a:spcBef>
              <a:spcAft>
                <a:spcPts val="0"/>
              </a:spcAft>
              <a:buClrTx/>
              <a:buSzPct val="90000"/>
              <a:buFont typeface="Arial" panose="020B0604020202020204" pitchFamily="34" charset="0"/>
              <a:buNone/>
              <a:tabLst/>
              <a:defRPr/>
            </a:pPr>
            <a:r>
              <a:rPr kumimoji="0" lang="pt-PT" sz="1400" b="0" i="0" u="none" strike="noStrike" kern="1200" cap="none" spc="0" normalizeH="0" baseline="0" noProof="0">
                <a:ln>
                  <a:noFill/>
                </a:ln>
                <a:solidFill>
                  <a:prstClr val="black"/>
                </a:solidFill>
                <a:effectLst/>
                <a:uLnTx/>
                <a:uFillTx/>
                <a:latin typeface="Segoe UI Light"/>
                <a:ea typeface="Calibri" panose="020F0502020204030204" pitchFamily="34" charset="0"/>
                <a:cs typeface="Times New Roman" panose="02020603050405020304" pitchFamily="18" charset="0"/>
              </a:rPr>
              <a:t>CalendarYear=2012</a:t>
            </a:r>
          </a:p>
          <a:p>
            <a:pPr marL="182845" marR="0" lvl="1" indent="0" algn="l" defTabSz="914367" rtl="0" eaLnBrk="1" fontAlgn="auto" latinLnBrk="0" hangingPunct="1">
              <a:lnSpc>
                <a:spcPct val="90000"/>
              </a:lnSpc>
              <a:spcBef>
                <a:spcPct val="20000"/>
              </a:spcBef>
              <a:spcAft>
                <a:spcPts val="0"/>
              </a:spcAft>
              <a:buClrTx/>
              <a:buSzPct val="90000"/>
              <a:buFont typeface="Arial" panose="020B0604020202020204" pitchFamily="34" charset="0"/>
              <a:buNone/>
              <a:tabLst/>
              <a:defRPr/>
            </a:pPr>
            <a:r>
              <a:rPr kumimoji="0" lang="pt-PT" sz="1400" b="0" i="0" u="none" strike="noStrike" kern="1200" cap="none" spc="0" normalizeH="0" baseline="0" noProof="0">
                <a:ln>
                  <a:noFill/>
                </a:ln>
                <a:solidFill>
                  <a:prstClr val="black"/>
                </a:solidFill>
                <a:effectLst/>
                <a:uLnTx/>
                <a:uFillTx/>
                <a:latin typeface="Segoe UI Light"/>
                <a:ea typeface="Calibri" panose="020F0502020204030204" pitchFamily="34" charset="0"/>
                <a:cs typeface="Times New Roman" panose="02020603050405020304" pitchFamily="18" charset="0"/>
              </a:rPr>
              <a:t>Promotion=“Reseller”</a:t>
            </a:r>
          </a:p>
          <a:p>
            <a:pPr marL="182845" marR="0" lvl="1" indent="0" algn="l" defTabSz="914367" rtl="0" eaLnBrk="1" fontAlgn="auto" latinLnBrk="0" hangingPunct="1">
              <a:lnSpc>
                <a:spcPct val="90000"/>
              </a:lnSpc>
              <a:spcBef>
                <a:spcPct val="20000"/>
              </a:spcBef>
              <a:spcAft>
                <a:spcPts val="0"/>
              </a:spcAft>
              <a:buClrTx/>
              <a:buSzPct val="90000"/>
              <a:buFont typeface="Arial" panose="020B0604020202020204" pitchFamily="34" charset="0"/>
              <a:buNone/>
              <a:tabLst/>
              <a:defRPr/>
            </a:pPr>
            <a:r>
              <a:rPr kumimoji="0" lang="pt-PT" sz="1400" b="0" i="0" u="none" strike="noStrike" kern="1200" cap="none" spc="0" normalizeH="0" baseline="0" noProof="0">
                <a:ln>
                  <a:noFill/>
                </a:ln>
                <a:solidFill>
                  <a:prstClr val="black"/>
                </a:solidFill>
                <a:effectLst/>
                <a:uLnTx/>
                <a:uFillTx/>
                <a:latin typeface="Segoe UI Light"/>
                <a:ea typeface="Calibri" panose="020F0502020204030204" pitchFamily="34" charset="0"/>
                <a:cs typeface="Times New Roman" panose="02020603050405020304" pitchFamily="18" charset="0"/>
              </a:rPr>
              <a:t>Gender=“M”</a:t>
            </a:r>
            <a:endParaRPr kumimoji="0" lang="pt-PT" sz="1200" b="0" i="0" u="none" strike="noStrike" kern="1200" cap="none" spc="0" normalizeH="0" baseline="0" noProof="0">
              <a:ln>
                <a:noFill/>
              </a:ln>
              <a:solidFill>
                <a:prstClr val="black"/>
              </a:solidFill>
              <a:effectLst/>
              <a:uLnTx/>
              <a:uFillTx/>
              <a:latin typeface="Segoe UI Light"/>
              <a:ea typeface="Calibri" panose="020F0502020204030204" pitchFamily="34" charset="0"/>
              <a:cs typeface="Times New Roman" panose="02020603050405020304" pitchFamily="18" charset="0"/>
            </a:endParaRPr>
          </a:p>
        </p:txBody>
      </p:sp>
      <p:sp>
        <p:nvSpPr>
          <p:cNvPr id="43" name="Right Arrow 42"/>
          <p:cNvSpPr/>
          <p:nvPr/>
        </p:nvSpPr>
        <p:spPr bwMode="auto">
          <a:xfrm rot="274997" flipV="1">
            <a:off x="7807348" y="5784585"/>
            <a:ext cx="573111" cy="103065"/>
          </a:xfrm>
          <a:prstGeom prst="rightArrow">
            <a:avLst/>
          </a:prstGeom>
          <a:solidFill>
            <a:srgbClr val="FF00FF"/>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pt-PT"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4" name="Text Placeholder 2"/>
          <p:cNvSpPr txBox="1">
            <a:spLocks/>
          </p:cNvSpPr>
          <p:nvPr/>
        </p:nvSpPr>
        <p:spPr>
          <a:xfrm>
            <a:off x="8383661" y="5492628"/>
            <a:ext cx="2718348" cy="941751"/>
          </a:xfrm>
          <a:prstGeom prst="rect">
            <a:avLst/>
          </a:prstGeom>
        </p:spPr>
        <p:style>
          <a:lnRef idx="2">
            <a:schemeClr val="dk1"/>
          </a:lnRef>
          <a:fillRef idx="1">
            <a:schemeClr val="lt1"/>
          </a:fillRef>
          <a:effectRef idx="0">
            <a:schemeClr val="dk1"/>
          </a:effectRef>
          <a:fontRef idx="minor">
            <a:schemeClr val="dk1"/>
          </a:fontRef>
        </p:style>
        <p:txBody>
          <a:bodyPr vert="horz" wrap="square" lIns="182880" tIns="146304" rIns="182880" bIns="146304" rtlCol="0">
            <a:noAutofit/>
          </a:bodyPr>
          <a:lstStyle>
            <a:lvl1pPr marL="182845" marR="0"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3921" kern="1200" spc="0" baseline="0">
                <a:gradFill>
                  <a:gsLst>
                    <a:gs pos="1250">
                      <a:schemeClr val="tx2"/>
                    </a:gs>
                    <a:gs pos="99000">
                      <a:schemeClr val="tx2"/>
                    </a:gs>
                  </a:gsLst>
                  <a:lin ang="5400000" scaled="0"/>
                </a:gradFill>
                <a:latin typeface="+mj-lt"/>
                <a:ea typeface="+mn-ea"/>
                <a:cs typeface="+mn-cs"/>
              </a:defRPr>
            </a:lvl1pPr>
            <a:lvl2pPr marL="365690" marR="0"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2400" kern="1200" spc="0" baseline="0">
                <a:solidFill>
                  <a:schemeClr val="tx2"/>
                </a:solidFill>
                <a:latin typeface="+mj-lt"/>
                <a:ea typeface="+mn-ea"/>
                <a:cs typeface="+mn-cs"/>
              </a:defRPr>
            </a:lvl2pPr>
            <a:lvl3pPr marL="548535" marR="0"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2000" kern="1200" spc="0" baseline="0">
                <a:solidFill>
                  <a:schemeClr val="tx2"/>
                </a:solidFill>
                <a:latin typeface="+mj-lt"/>
                <a:ea typeface="+mn-ea"/>
                <a:cs typeface="+mn-cs"/>
              </a:defRPr>
            </a:lvl3pPr>
            <a:lvl4pPr marL="733802" marR="0" indent="-28569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1765" kern="1200" spc="0" baseline="0">
                <a:solidFill>
                  <a:schemeClr val="tx2"/>
                </a:solidFill>
                <a:latin typeface="+mn-lt"/>
                <a:ea typeface="+mn-ea"/>
                <a:cs typeface="+mn-cs"/>
              </a:defRPr>
            </a:lvl4pPr>
            <a:lvl5pPr marL="957856" marR="0" indent="-28569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1765" kern="1200" spc="0" baseline="0">
                <a:solidFill>
                  <a:schemeClr val="tx2"/>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182845" marR="0" lvl="1" indent="0" algn="l" defTabSz="914367" rtl="0" eaLnBrk="1" fontAlgn="auto" latinLnBrk="0" hangingPunct="1">
              <a:lnSpc>
                <a:spcPct val="90000"/>
              </a:lnSpc>
              <a:spcBef>
                <a:spcPct val="20000"/>
              </a:spcBef>
              <a:spcAft>
                <a:spcPts val="0"/>
              </a:spcAft>
              <a:buClrTx/>
              <a:buSzPct val="90000"/>
              <a:buFont typeface="Arial" panose="020B0604020202020204" pitchFamily="34" charset="0"/>
              <a:buNone/>
              <a:tabLst/>
              <a:defRPr/>
            </a:pPr>
            <a:r>
              <a:rPr kumimoji="0" lang="pt-PT" sz="1400" b="0" i="0" u="none" strike="noStrike" kern="1200" cap="none" spc="0" normalizeH="0" baseline="0" noProof="0">
                <a:ln>
                  <a:noFill/>
                </a:ln>
                <a:solidFill>
                  <a:prstClr val="black"/>
                </a:solidFill>
                <a:effectLst/>
                <a:uLnTx/>
                <a:uFillTx/>
                <a:latin typeface="Segoe UI Light"/>
                <a:ea typeface="Calibri" panose="020F0502020204030204" pitchFamily="34" charset="0"/>
                <a:cs typeface="Times New Roman" panose="02020603050405020304" pitchFamily="18" charset="0"/>
              </a:rPr>
              <a:t>The total is also calculated independently. It is not an aggregation of the rows.</a:t>
            </a:r>
            <a:endParaRPr kumimoji="0" lang="pt-PT" sz="1200" b="0" i="0" u="none" strike="noStrike" kern="1200" cap="none" spc="0" normalizeH="0" baseline="0" noProof="0">
              <a:ln>
                <a:noFill/>
              </a:ln>
              <a:solidFill>
                <a:prstClr val="black"/>
              </a:solidFill>
              <a:effectLst/>
              <a:uLnTx/>
              <a:uFillTx/>
              <a:latin typeface="Segoe UI Light"/>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27509874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8"/>
                                        </p:tgtEl>
                                        <p:attrNameLst>
                                          <p:attrName>style.visibility</p:attrName>
                                        </p:attrNameLst>
                                      </p:cBhvr>
                                      <p:to>
                                        <p:strVal val="visible"/>
                                      </p:to>
                                    </p:set>
                                    <p:animEffect transition="in" filter="fade">
                                      <p:cBhvr>
                                        <p:cTn id="7" dur="500"/>
                                        <p:tgtEl>
                                          <p:spTgt spid="38"/>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39"/>
                                        </p:tgtEl>
                                        <p:attrNameLst>
                                          <p:attrName>style.visibility</p:attrName>
                                        </p:attrNameLst>
                                      </p:cBhvr>
                                      <p:to>
                                        <p:strVal val="visible"/>
                                      </p:to>
                                    </p:set>
                                    <p:animEffect transition="in" filter="fade">
                                      <p:cBhvr>
                                        <p:cTn id="12" dur="500"/>
                                        <p:tgtEl>
                                          <p:spTgt spid="39"/>
                                        </p:tgtEl>
                                      </p:cBhvr>
                                    </p:animEffect>
                                  </p:childTnLst>
                                </p:cTn>
                              </p:par>
                              <p:par>
                                <p:cTn id="13" presetID="10" presetClass="entr" presetSubtype="0" fill="hold" grpId="0" nodeType="withEffect">
                                  <p:stCondLst>
                                    <p:cond delay="0"/>
                                  </p:stCondLst>
                                  <p:childTnLst>
                                    <p:set>
                                      <p:cBhvr>
                                        <p:cTn id="14" dur="1" fill="hold">
                                          <p:stCondLst>
                                            <p:cond delay="0"/>
                                          </p:stCondLst>
                                        </p:cTn>
                                        <p:tgtEl>
                                          <p:spTgt spid="41"/>
                                        </p:tgtEl>
                                        <p:attrNameLst>
                                          <p:attrName>style.visibility</p:attrName>
                                        </p:attrNameLst>
                                      </p:cBhvr>
                                      <p:to>
                                        <p:strVal val="visible"/>
                                      </p:to>
                                    </p:set>
                                    <p:animEffect transition="in" filter="fade">
                                      <p:cBhvr>
                                        <p:cTn id="15" dur="500"/>
                                        <p:tgtEl>
                                          <p:spTgt spid="41"/>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42"/>
                                        </p:tgtEl>
                                        <p:attrNameLst>
                                          <p:attrName>style.visibility</p:attrName>
                                        </p:attrNameLst>
                                      </p:cBhvr>
                                      <p:to>
                                        <p:strVal val="visible"/>
                                      </p:to>
                                    </p:set>
                                    <p:animEffect transition="in" filter="fade">
                                      <p:cBhvr>
                                        <p:cTn id="18" dur="500"/>
                                        <p:tgtEl>
                                          <p:spTgt spid="42"/>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43"/>
                                        </p:tgtEl>
                                        <p:attrNameLst>
                                          <p:attrName>style.visibility</p:attrName>
                                        </p:attrNameLst>
                                      </p:cBhvr>
                                      <p:to>
                                        <p:strVal val="visible"/>
                                      </p:to>
                                    </p:set>
                                    <p:animEffect transition="in" filter="fade">
                                      <p:cBhvr>
                                        <p:cTn id="21" dur="500"/>
                                        <p:tgtEl>
                                          <p:spTgt spid="43"/>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44"/>
                                        </p:tgtEl>
                                        <p:attrNameLst>
                                          <p:attrName>style.visibility</p:attrName>
                                        </p:attrNameLst>
                                      </p:cBhvr>
                                      <p:to>
                                        <p:strVal val="visible"/>
                                      </p:to>
                                    </p:set>
                                    <p:animEffect transition="in" filter="fade">
                                      <p:cBhvr>
                                        <p:cTn id="24" dur="500"/>
                                        <p:tgtEl>
                                          <p:spTgt spid="4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8" grpId="0" animBg="1"/>
      <p:bldP spid="39" grpId="0" animBg="1"/>
      <p:bldP spid="41" grpId="0" animBg="1"/>
      <p:bldP spid="42" grpId="0" animBg="1"/>
      <p:bldP spid="43" grpId="0" animBg="1"/>
      <p:bldP spid="44" grpId="0" animBg="1"/>
    </p:bld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p:cNvGrpSpPr/>
          <p:nvPr/>
        </p:nvGrpSpPr>
        <p:grpSpPr>
          <a:xfrm>
            <a:off x="-11149" y="0"/>
            <a:ext cx="2849058" cy="6858000"/>
            <a:chOff x="2" y="1"/>
            <a:chExt cx="2849058" cy="6858000"/>
          </a:xfrm>
        </p:grpSpPr>
        <p:sp>
          <p:nvSpPr>
            <p:cNvPr id="70" name="Rectangle 69"/>
            <p:cNvSpPr/>
            <p:nvPr/>
          </p:nvSpPr>
          <p:spPr bwMode="auto">
            <a:xfrm>
              <a:off x="2" y="1"/>
              <a:ext cx="2849058"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5" name="Oval 70"/>
            <p:cNvSpPr/>
            <p:nvPr/>
          </p:nvSpPr>
          <p:spPr>
            <a:xfrm>
              <a:off x="1413521" y="4951537"/>
              <a:ext cx="1119626" cy="1119626"/>
            </a:xfrm>
            <a:prstGeom prst="ellipse">
              <a:avLst/>
            </a:prstGeom>
            <a:solidFill>
              <a:srgbClr val="F2C812"/>
            </a:solidFill>
            <a:ln w="3175" cap="flat" cmpd="sng" algn="ctr">
              <a:noFill/>
              <a:prstDash val="solid"/>
            </a:ln>
            <a:effectLst/>
          </p:spPr>
          <p:txBody>
            <a:bodyPr vert="horz" wrap="none" lIns="0" tIns="45720" rIns="0" bIns="0" rtlCol="0" anchor="t"/>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Segoe UI"/>
                  <a:ea typeface="Segoe UI" pitchFamily="34" charset="0"/>
                  <a:cs typeface="Segoe UI" pitchFamily="34" charset="0"/>
                </a:rPr>
                <a:t>Share &amp;</a:t>
              </a:r>
            </a:p>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Segoe UI"/>
                  <a:ea typeface="Segoe UI" pitchFamily="34" charset="0"/>
                  <a:cs typeface="Segoe UI" pitchFamily="34" charset="0"/>
                </a:rPr>
                <a:t>collaborate </a:t>
              </a:r>
            </a:p>
          </p:txBody>
        </p:sp>
        <p:grpSp>
          <p:nvGrpSpPr>
            <p:cNvPr id="66" name="Group 38"/>
            <p:cNvGrpSpPr>
              <a:grpSpLocks noChangeAspect="1"/>
            </p:cNvGrpSpPr>
            <p:nvPr/>
          </p:nvGrpSpPr>
          <p:grpSpPr>
            <a:xfrm>
              <a:off x="676996" y="3930692"/>
              <a:ext cx="383905" cy="351536"/>
              <a:chOff x="4363684" y="5330386"/>
              <a:chExt cx="1409956" cy="1291077"/>
            </a:xfrm>
            <a:solidFill>
              <a:srgbClr val="217346"/>
            </a:solidFill>
          </p:grpSpPr>
          <p:sp>
            <p:nvSpPr>
              <p:cNvPr id="67" name="Donut 3"/>
              <p:cNvSpPr/>
              <p:nvPr/>
            </p:nvSpPr>
            <p:spPr bwMode="auto">
              <a:xfrm>
                <a:off x="4363684" y="5330386"/>
                <a:ext cx="1409956" cy="1291077"/>
              </a:xfrm>
              <a:custGeom>
                <a:avLst/>
                <a:gdLst/>
                <a:ahLst/>
                <a:cxnLst/>
                <a:rect l="l" t="t" r="r" b="b"/>
                <a:pathLst>
                  <a:path w="1409956" h="1291077">
                    <a:moveTo>
                      <a:pt x="956401" y="78410"/>
                    </a:moveTo>
                    <a:cubicBezTo>
                      <a:pt x="747518" y="78410"/>
                      <a:pt x="578184" y="247744"/>
                      <a:pt x="578184" y="456627"/>
                    </a:cubicBezTo>
                    <a:cubicBezTo>
                      <a:pt x="578184" y="665510"/>
                      <a:pt x="747518" y="834844"/>
                      <a:pt x="956401" y="834844"/>
                    </a:cubicBezTo>
                    <a:cubicBezTo>
                      <a:pt x="1165284" y="834844"/>
                      <a:pt x="1334618" y="665510"/>
                      <a:pt x="1334618" y="456627"/>
                    </a:cubicBezTo>
                    <a:cubicBezTo>
                      <a:pt x="1334618" y="247744"/>
                      <a:pt x="1165284" y="78410"/>
                      <a:pt x="956401" y="78410"/>
                    </a:cubicBezTo>
                    <a:close/>
                    <a:moveTo>
                      <a:pt x="952756" y="0"/>
                    </a:moveTo>
                    <a:cubicBezTo>
                      <a:pt x="1205261" y="0"/>
                      <a:pt x="1409956" y="204695"/>
                      <a:pt x="1409956" y="457200"/>
                    </a:cubicBezTo>
                    <a:cubicBezTo>
                      <a:pt x="1409956" y="709705"/>
                      <a:pt x="1205261" y="914400"/>
                      <a:pt x="952756" y="914400"/>
                    </a:cubicBezTo>
                    <a:cubicBezTo>
                      <a:pt x="862133" y="914400"/>
                      <a:pt x="777669" y="888034"/>
                      <a:pt x="707132" y="841746"/>
                    </a:cubicBezTo>
                    <a:lnTo>
                      <a:pt x="136495" y="1280102"/>
                    </a:lnTo>
                    <a:cubicBezTo>
                      <a:pt x="21896" y="1327168"/>
                      <a:pt x="-44029" y="1213730"/>
                      <a:pt x="33797" y="1113182"/>
                    </a:cubicBezTo>
                    <a:lnTo>
                      <a:pt x="568587" y="703518"/>
                    </a:lnTo>
                    <a:cubicBezTo>
                      <a:pt x="522087" y="632814"/>
                      <a:pt x="495556" y="548105"/>
                      <a:pt x="495556" y="457200"/>
                    </a:cubicBezTo>
                    <a:cubicBezTo>
                      <a:pt x="495556" y="204695"/>
                      <a:pt x="700251" y="0"/>
                      <a:pt x="952756" y="0"/>
                    </a:cubicBezTo>
                    <a:close/>
                  </a:path>
                </a:pathLst>
              </a:custGeom>
              <a:grpFill/>
              <a:ln>
                <a:solidFill>
                  <a:srgbClr val="21734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sp>
            <p:nvSpPr>
              <p:cNvPr id="68" name="Rectangle 4"/>
              <p:cNvSpPr/>
              <p:nvPr/>
            </p:nvSpPr>
            <p:spPr>
              <a:xfrm>
                <a:off x="5058389" y="5528247"/>
                <a:ext cx="490885" cy="490020"/>
              </a:xfrm>
              <a:custGeom>
                <a:avLst/>
                <a:gdLst/>
                <a:ahLst/>
                <a:cxnLst/>
                <a:rect l="l" t="t" r="r" b="b"/>
                <a:pathLst>
                  <a:path w="490885" h="490020">
                    <a:moveTo>
                      <a:pt x="240752" y="0"/>
                    </a:moveTo>
                    <a:cubicBezTo>
                      <a:pt x="253961" y="11844"/>
                      <a:pt x="293310" y="49692"/>
                      <a:pt x="337332" y="92439"/>
                    </a:cubicBezTo>
                    <a:lnTo>
                      <a:pt x="328342" y="81259"/>
                    </a:lnTo>
                    <a:cubicBezTo>
                      <a:pt x="356946" y="111282"/>
                      <a:pt x="377251" y="107167"/>
                      <a:pt x="382515" y="87941"/>
                    </a:cubicBezTo>
                    <a:cubicBezTo>
                      <a:pt x="383951" y="76921"/>
                      <a:pt x="384595" y="68732"/>
                      <a:pt x="396997" y="52239"/>
                    </a:cubicBezTo>
                    <a:cubicBezTo>
                      <a:pt x="420362" y="32084"/>
                      <a:pt x="442294" y="41736"/>
                      <a:pt x="454920" y="51330"/>
                    </a:cubicBezTo>
                    <a:cubicBezTo>
                      <a:pt x="467834" y="62761"/>
                      <a:pt x="477920" y="86882"/>
                      <a:pt x="460392" y="109714"/>
                    </a:cubicBezTo>
                    <a:cubicBezTo>
                      <a:pt x="451128" y="121912"/>
                      <a:pt x="437554" y="126838"/>
                      <a:pt x="425922" y="126505"/>
                    </a:cubicBezTo>
                    <a:cubicBezTo>
                      <a:pt x="424301" y="127609"/>
                      <a:pt x="382890" y="134974"/>
                      <a:pt x="427348" y="177672"/>
                    </a:cubicBezTo>
                    <a:lnTo>
                      <a:pt x="416886" y="169735"/>
                    </a:lnTo>
                    <a:cubicBezTo>
                      <a:pt x="450207" y="202177"/>
                      <a:pt x="478424" y="229744"/>
                      <a:pt x="490885" y="241900"/>
                    </a:cubicBezTo>
                    <a:lnTo>
                      <a:pt x="417150" y="317347"/>
                    </a:lnTo>
                    <a:cubicBezTo>
                      <a:pt x="417744" y="316535"/>
                      <a:pt x="418443" y="316123"/>
                      <a:pt x="419047" y="315822"/>
                    </a:cubicBezTo>
                    <a:cubicBezTo>
                      <a:pt x="389023" y="344426"/>
                      <a:pt x="393138" y="364731"/>
                      <a:pt x="412364" y="369995"/>
                    </a:cubicBezTo>
                    <a:cubicBezTo>
                      <a:pt x="423384" y="371431"/>
                      <a:pt x="431574" y="372075"/>
                      <a:pt x="448067" y="384477"/>
                    </a:cubicBezTo>
                    <a:cubicBezTo>
                      <a:pt x="468221" y="407842"/>
                      <a:pt x="458569" y="429774"/>
                      <a:pt x="448975" y="442400"/>
                    </a:cubicBezTo>
                    <a:cubicBezTo>
                      <a:pt x="437545" y="455314"/>
                      <a:pt x="413423" y="465400"/>
                      <a:pt x="390591" y="447872"/>
                    </a:cubicBezTo>
                    <a:cubicBezTo>
                      <a:pt x="378394" y="438608"/>
                      <a:pt x="373468" y="425034"/>
                      <a:pt x="373800" y="413402"/>
                    </a:cubicBezTo>
                    <a:cubicBezTo>
                      <a:pt x="372696" y="411781"/>
                      <a:pt x="365332" y="370370"/>
                      <a:pt x="322634" y="414828"/>
                    </a:cubicBezTo>
                    <a:lnTo>
                      <a:pt x="325243" y="411388"/>
                    </a:lnTo>
                    <a:lnTo>
                      <a:pt x="248395" y="490020"/>
                    </a:lnTo>
                    <a:cubicBezTo>
                      <a:pt x="208939" y="451897"/>
                      <a:pt x="199129" y="442073"/>
                      <a:pt x="174192" y="418236"/>
                    </a:cubicBezTo>
                    <a:cubicBezTo>
                      <a:pt x="145587" y="388212"/>
                      <a:pt x="125282" y="392327"/>
                      <a:pt x="120018" y="411553"/>
                    </a:cubicBezTo>
                    <a:cubicBezTo>
                      <a:pt x="118582" y="422573"/>
                      <a:pt x="117938" y="430763"/>
                      <a:pt x="105536" y="447256"/>
                    </a:cubicBezTo>
                    <a:cubicBezTo>
                      <a:pt x="82171" y="467410"/>
                      <a:pt x="60239" y="457758"/>
                      <a:pt x="47614" y="448164"/>
                    </a:cubicBezTo>
                    <a:cubicBezTo>
                      <a:pt x="34699" y="436734"/>
                      <a:pt x="24614" y="412612"/>
                      <a:pt x="42141" y="389780"/>
                    </a:cubicBezTo>
                    <a:cubicBezTo>
                      <a:pt x="51405" y="377583"/>
                      <a:pt x="64979" y="372657"/>
                      <a:pt x="76612" y="372989"/>
                    </a:cubicBezTo>
                    <a:cubicBezTo>
                      <a:pt x="78232" y="371886"/>
                      <a:pt x="119644" y="364521"/>
                      <a:pt x="75186" y="321823"/>
                    </a:cubicBezTo>
                    <a:cubicBezTo>
                      <a:pt x="58767" y="305402"/>
                      <a:pt x="23648" y="271235"/>
                      <a:pt x="0" y="248738"/>
                    </a:cubicBezTo>
                    <a:lnTo>
                      <a:pt x="77303" y="168146"/>
                    </a:lnTo>
                    <a:cubicBezTo>
                      <a:pt x="104269" y="140313"/>
                      <a:pt x="122130" y="156409"/>
                      <a:pt x="124388" y="175543"/>
                    </a:cubicBezTo>
                    <a:cubicBezTo>
                      <a:pt x="124457" y="182466"/>
                      <a:pt x="127106" y="193106"/>
                      <a:pt x="137575" y="203052"/>
                    </a:cubicBezTo>
                    <a:cubicBezTo>
                      <a:pt x="153931" y="220277"/>
                      <a:pt x="181252" y="217451"/>
                      <a:pt x="196721" y="201951"/>
                    </a:cubicBezTo>
                    <a:cubicBezTo>
                      <a:pt x="211961" y="185740"/>
                      <a:pt x="213057" y="157882"/>
                      <a:pt x="196146" y="142797"/>
                    </a:cubicBezTo>
                    <a:cubicBezTo>
                      <a:pt x="184301" y="132637"/>
                      <a:pt x="177155" y="131453"/>
                      <a:pt x="166513" y="129894"/>
                    </a:cubicBezTo>
                    <a:cubicBezTo>
                      <a:pt x="154522" y="129013"/>
                      <a:pt x="131185" y="112953"/>
                      <a:pt x="157905" y="85228"/>
                    </a:cubicBezTo>
                    <a:close/>
                  </a:path>
                </a:pathLst>
              </a:custGeom>
              <a:grpFill/>
              <a:ln>
                <a:solidFill>
                  <a:srgbClr val="21734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grpSp>
        <p:sp>
          <p:nvSpPr>
            <p:cNvPr id="69" name="Oval 47"/>
            <p:cNvSpPr/>
            <p:nvPr/>
          </p:nvSpPr>
          <p:spPr>
            <a:xfrm>
              <a:off x="388608" y="3710471"/>
              <a:ext cx="1119626" cy="1119626"/>
            </a:xfrm>
            <a:prstGeom prst="ellipse">
              <a:avLst/>
            </a:prstGeom>
            <a:solidFill>
              <a:srgbClr val="F2C812"/>
            </a:solidFill>
            <a:ln w="3175" cap="flat" cmpd="sng" algn="ctr">
              <a:noFill/>
              <a:prstDash val="solid"/>
            </a:ln>
            <a:effectLst/>
          </p:spPr>
          <p:txBody>
            <a:bodyPr vert="horz" wrap="none" lIns="0" tIns="45720" rIns="0" bIns="0" rtlCol="0" anchor="t"/>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Segoe UI"/>
                  <a:ea typeface="Segoe UI" pitchFamily="34" charset="0"/>
                  <a:cs typeface="Segoe UI" pitchFamily="34" charset="0"/>
                </a:rPr>
                <a:t>Report</a:t>
              </a:r>
            </a:p>
          </p:txBody>
        </p:sp>
        <p:sp>
          <p:nvSpPr>
            <p:cNvPr id="85" name="Oval 950"/>
            <p:cNvSpPr/>
            <p:nvPr/>
          </p:nvSpPr>
          <p:spPr>
            <a:xfrm>
              <a:off x="388608" y="1252295"/>
              <a:ext cx="1119626" cy="1119626"/>
            </a:xfrm>
            <a:prstGeom prst="ellipse">
              <a:avLst/>
            </a:prstGeom>
            <a:solidFill>
              <a:srgbClr val="F2C812"/>
            </a:solidFill>
            <a:ln w="3175" cap="flat" cmpd="sng" algn="ctr">
              <a:noFill/>
              <a:prstDash val="solid"/>
            </a:ln>
            <a:effectLst/>
          </p:spPr>
          <p:txBody>
            <a:bodyPr vert="horz" wrap="none" lIns="0" tIns="45720" rIns="0" bIns="0" rtlCol="0" anchor="t"/>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1" i="0" u="none" strike="noStrike" kern="1200" cap="none" spc="0" normalizeH="0" baseline="0" noProof="0">
                <a:ln>
                  <a:noFill/>
                </a:ln>
                <a:solidFill>
                  <a:srgbClr val="217346"/>
                </a:solidFill>
                <a:effectLst/>
                <a:uLnTx/>
                <a:uFillTx/>
                <a:latin typeface="Segoe UI"/>
                <a:ea typeface="Segoe UI" pitchFamily="34" charset="0"/>
                <a:cs typeface="Segoe UI" pitchFamily="34" charset="0"/>
              </a:endParaRPr>
            </a:p>
          </p:txBody>
        </p:sp>
        <p:grpSp>
          <p:nvGrpSpPr>
            <p:cNvPr id="86" name="Group 85"/>
            <p:cNvGrpSpPr/>
            <p:nvPr/>
          </p:nvGrpSpPr>
          <p:grpSpPr>
            <a:xfrm>
              <a:off x="1264851" y="3482890"/>
              <a:ext cx="292254" cy="354906"/>
              <a:chOff x="1296521" y="3253388"/>
              <a:chExt cx="292254" cy="354906"/>
            </a:xfrm>
            <a:solidFill>
              <a:srgbClr val="F2C812"/>
            </a:solidFill>
          </p:grpSpPr>
          <p:sp>
            <p:nvSpPr>
              <p:cNvPr id="87" name="Isosceles Triangle 86"/>
              <p:cNvSpPr/>
              <p:nvPr/>
            </p:nvSpPr>
            <p:spPr bwMode="auto">
              <a:xfrm rot="13636515">
                <a:off x="1461362" y="328936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8" name="Isosceles Triangle 87"/>
              <p:cNvSpPr/>
              <p:nvPr/>
            </p:nvSpPr>
            <p:spPr bwMode="auto">
              <a:xfrm rot="13636515">
                <a:off x="1357669" y="338258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9" name="Isosceles Triangle 88"/>
              <p:cNvSpPr/>
              <p:nvPr/>
            </p:nvSpPr>
            <p:spPr bwMode="auto">
              <a:xfrm rot="13636515">
                <a:off x="1260548" y="3480882"/>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90" name="Group 89"/>
            <p:cNvGrpSpPr/>
            <p:nvPr/>
          </p:nvGrpSpPr>
          <p:grpSpPr>
            <a:xfrm rot="15940603">
              <a:off x="1334576" y="2204404"/>
              <a:ext cx="292254" cy="354906"/>
              <a:chOff x="1296521" y="3253388"/>
              <a:chExt cx="292254" cy="354906"/>
            </a:xfrm>
            <a:solidFill>
              <a:srgbClr val="F2C812"/>
            </a:solidFill>
          </p:grpSpPr>
          <p:sp>
            <p:nvSpPr>
              <p:cNvPr id="91" name="Isosceles Triangle 90"/>
              <p:cNvSpPr/>
              <p:nvPr/>
            </p:nvSpPr>
            <p:spPr bwMode="auto">
              <a:xfrm rot="13636515">
                <a:off x="1461362" y="328936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2" name="Isosceles Triangle 91"/>
              <p:cNvSpPr/>
              <p:nvPr/>
            </p:nvSpPr>
            <p:spPr bwMode="auto">
              <a:xfrm rot="13636515">
                <a:off x="1357669" y="338258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3" name="Isosceles Triangle 92"/>
              <p:cNvSpPr/>
              <p:nvPr/>
            </p:nvSpPr>
            <p:spPr bwMode="auto">
              <a:xfrm rot="13636515">
                <a:off x="1260548" y="3480882"/>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94" name="Group 93"/>
            <p:cNvGrpSpPr/>
            <p:nvPr/>
          </p:nvGrpSpPr>
          <p:grpSpPr>
            <a:xfrm rot="16043978">
              <a:off x="1317220" y="4717577"/>
              <a:ext cx="292254" cy="354906"/>
              <a:chOff x="1296521" y="3253388"/>
              <a:chExt cx="292254" cy="354906"/>
            </a:xfrm>
            <a:solidFill>
              <a:srgbClr val="F2C812"/>
            </a:solidFill>
          </p:grpSpPr>
          <p:sp>
            <p:nvSpPr>
              <p:cNvPr id="95" name="Isosceles Triangle 94"/>
              <p:cNvSpPr/>
              <p:nvPr/>
            </p:nvSpPr>
            <p:spPr bwMode="auto">
              <a:xfrm rot="13636515">
                <a:off x="1461362" y="328936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6" name="Isosceles Triangle 95"/>
              <p:cNvSpPr/>
              <p:nvPr/>
            </p:nvSpPr>
            <p:spPr bwMode="auto">
              <a:xfrm rot="13636515">
                <a:off x="1357669" y="338258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7" name="Isosceles Triangle 96"/>
              <p:cNvSpPr/>
              <p:nvPr/>
            </p:nvSpPr>
            <p:spPr bwMode="auto">
              <a:xfrm rot="13636515">
                <a:off x="1260548" y="3480882"/>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98" name="Oval 36"/>
            <p:cNvSpPr/>
            <p:nvPr/>
          </p:nvSpPr>
          <p:spPr>
            <a:xfrm>
              <a:off x="1413521" y="2481383"/>
              <a:ext cx="1119626" cy="1119626"/>
            </a:xfrm>
            <a:prstGeom prst="ellipse">
              <a:avLst/>
            </a:prstGeom>
            <a:solidFill>
              <a:srgbClr val="F2C812"/>
            </a:solidFill>
            <a:ln w="3175" cap="flat" cmpd="sng" algn="ctr">
              <a:noFill/>
              <a:prstDash val="solid"/>
            </a:ln>
            <a:effectLst/>
          </p:spPr>
          <p:txBody>
            <a:bodyPr vert="horz" wrap="none" lIns="0" tIns="0" rIns="0" bIns="0" rtlCol="0" anchor="t"/>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400" b="1" i="0" u="none" strike="noStrike" kern="1200" cap="none" spc="0" normalizeH="0" baseline="0" noProof="0">
                <a:ln>
                  <a:noFill/>
                </a:ln>
                <a:solidFill>
                  <a:srgbClr val="217346"/>
                </a:solidFill>
                <a:effectLst/>
                <a:uLnTx/>
                <a:uFillTx/>
                <a:latin typeface="Segoe UI"/>
                <a:ea typeface="Segoe UI" pitchFamily="34" charset="0"/>
                <a:cs typeface="Segoe UI" pitchFamily="34" charset="0"/>
              </a:endParaRPr>
            </a:p>
          </p:txBody>
        </p:sp>
        <p:sp>
          <p:nvSpPr>
            <p:cNvPr id="99" name="Donut 3"/>
            <p:cNvSpPr/>
            <p:nvPr/>
          </p:nvSpPr>
          <p:spPr bwMode="auto">
            <a:xfrm>
              <a:off x="1742065" y="3002355"/>
              <a:ext cx="383905" cy="351537"/>
            </a:xfrm>
            <a:custGeom>
              <a:avLst/>
              <a:gdLst/>
              <a:ahLst/>
              <a:cxnLst/>
              <a:rect l="l" t="t" r="r" b="b"/>
              <a:pathLst>
                <a:path w="1409956" h="1291077">
                  <a:moveTo>
                    <a:pt x="956401" y="78410"/>
                  </a:moveTo>
                  <a:cubicBezTo>
                    <a:pt x="747518" y="78410"/>
                    <a:pt x="578184" y="247744"/>
                    <a:pt x="578184" y="456627"/>
                  </a:cubicBezTo>
                  <a:cubicBezTo>
                    <a:pt x="578184" y="665510"/>
                    <a:pt x="747518" y="834844"/>
                    <a:pt x="956401" y="834844"/>
                  </a:cubicBezTo>
                  <a:cubicBezTo>
                    <a:pt x="1165284" y="834844"/>
                    <a:pt x="1334618" y="665510"/>
                    <a:pt x="1334618" y="456627"/>
                  </a:cubicBezTo>
                  <a:cubicBezTo>
                    <a:pt x="1334618" y="247744"/>
                    <a:pt x="1165284" y="78410"/>
                    <a:pt x="956401" y="78410"/>
                  </a:cubicBezTo>
                  <a:close/>
                  <a:moveTo>
                    <a:pt x="952756" y="0"/>
                  </a:moveTo>
                  <a:cubicBezTo>
                    <a:pt x="1205261" y="0"/>
                    <a:pt x="1409956" y="204695"/>
                    <a:pt x="1409956" y="457200"/>
                  </a:cubicBezTo>
                  <a:cubicBezTo>
                    <a:pt x="1409956" y="709705"/>
                    <a:pt x="1205261" y="914400"/>
                    <a:pt x="952756" y="914400"/>
                  </a:cubicBezTo>
                  <a:cubicBezTo>
                    <a:pt x="862133" y="914400"/>
                    <a:pt x="777669" y="888034"/>
                    <a:pt x="707132" y="841746"/>
                  </a:cubicBezTo>
                  <a:lnTo>
                    <a:pt x="136495" y="1280102"/>
                  </a:lnTo>
                  <a:cubicBezTo>
                    <a:pt x="21896" y="1327168"/>
                    <a:pt x="-44029" y="1213730"/>
                    <a:pt x="33797" y="1113182"/>
                  </a:cubicBezTo>
                  <a:lnTo>
                    <a:pt x="568587" y="703518"/>
                  </a:lnTo>
                  <a:cubicBezTo>
                    <a:pt x="522087" y="632814"/>
                    <a:pt x="495556" y="548105"/>
                    <a:pt x="495556" y="457200"/>
                  </a:cubicBezTo>
                  <a:cubicBezTo>
                    <a:pt x="495556" y="204695"/>
                    <a:pt x="700251" y="0"/>
                    <a:pt x="952756" y="0"/>
                  </a:cubicBezTo>
                  <a:close/>
                </a:path>
              </a:pathLst>
            </a:cu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ysClr val="windowText" lastClr="000000"/>
                </a:solidFill>
                <a:effectLst/>
                <a:uLnTx/>
                <a:uFillTx/>
                <a:latin typeface="Segoe UI"/>
                <a:ea typeface="+mn-ea"/>
                <a:cs typeface="+mn-cs"/>
              </a:endParaRPr>
            </a:p>
          </p:txBody>
        </p:sp>
        <p:sp>
          <p:nvSpPr>
            <p:cNvPr id="100" name="Rectangle 99"/>
            <p:cNvSpPr/>
            <p:nvPr/>
          </p:nvSpPr>
          <p:spPr>
            <a:xfrm>
              <a:off x="1600398" y="2677430"/>
              <a:ext cx="820353" cy="307777"/>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Segoe UI"/>
                  <a:ea typeface="Segoe UI" pitchFamily="34" charset="0"/>
                  <a:cs typeface="Segoe UI" pitchFamily="34" charset="0"/>
                </a:rPr>
                <a:t>Explore</a:t>
              </a:r>
              <a:endParaRPr kumimoji="0" lang="en-US" sz="1600" b="0" i="0" u="none" strike="noStrike" kern="1200" cap="none" spc="0" normalizeH="0" baseline="0" noProof="0">
                <a:ln>
                  <a:noFill/>
                </a:ln>
                <a:solidFill>
                  <a:prstClr val="black"/>
                </a:solidFill>
                <a:effectLst/>
                <a:uLnTx/>
                <a:uFillTx/>
                <a:latin typeface="Segoe UI"/>
                <a:ea typeface="+mn-ea"/>
                <a:cs typeface="+mn-cs"/>
              </a:endParaRPr>
            </a:p>
          </p:txBody>
        </p:sp>
        <p:sp>
          <p:nvSpPr>
            <p:cNvPr id="101" name="Rectangle 100"/>
            <p:cNvSpPr/>
            <p:nvPr/>
          </p:nvSpPr>
          <p:spPr>
            <a:xfrm>
              <a:off x="509174" y="1475232"/>
              <a:ext cx="838756" cy="307777"/>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Segoe UI"/>
                  <a:ea typeface="Segoe UI" pitchFamily="34" charset="0"/>
                  <a:cs typeface="Segoe UI" pitchFamily="34" charset="0"/>
                </a:rPr>
                <a:t>Prepare</a:t>
              </a:r>
              <a:endParaRPr kumimoji="0" lang="en-US" sz="1400" b="0" i="0" u="none" strike="noStrike" kern="1200" cap="none" spc="0" normalizeH="0" baseline="0" noProof="0">
                <a:ln>
                  <a:noFill/>
                </a:ln>
                <a:solidFill>
                  <a:prstClr val="black"/>
                </a:solidFill>
                <a:effectLst/>
                <a:uLnTx/>
                <a:uFillTx/>
                <a:latin typeface="Segoe UI"/>
                <a:ea typeface="+mn-ea"/>
                <a:cs typeface="+mn-cs"/>
              </a:endParaRPr>
            </a:p>
          </p:txBody>
        </p:sp>
        <p:sp>
          <p:nvSpPr>
            <p:cNvPr id="102" name="Freeform 101"/>
            <p:cNvSpPr>
              <a:spLocks noChangeAspect="1"/>
            </p:cNvSpPr>
            <p:nvPr/>
          </p:nvSpPr>
          <p:spPr bwMode="black">
            <a:xfrm>
              <a:off x="1836174" y="5643069"/>
              <a:ext cx="274320" cy="284173"/>
            </a:xfrm>
            <a:custGeom>
              <a:avLst/>
              <a:gdLst>
                <a:gd name="T0" fmla="*/ 539 w 669"/>
                <a:gd name="T1" fmla="*/ 5 h 693"/>
                <a:gd name="T2" fmla="*/ 640 w 669"/>
                <a:gd name="T3" fmla="*/ 55 h 693"/>
                <a:gd name="T4" fmla="*/ 603 w 669"/>
                <a:gd name="T5" fmla="*/ 195 h 693"/>
                <a:gd name="T6" fmla="*/ 490 w 669"/>
                <a:gd name="T7" fmla="*/ 188 h 693"/>
                <a:gd name="T8" fmla="*/ 479 w 669"/>
                <a:gd name="T9" fmla="*/ 176 h 693"/>
                <a:gd name="T10" fmla="*/ 213 w 669"/>
                <a:gd name="T11" fmla="*/ 330 h 693"/>
                <a:gd name="T12" fmla="*/ 218 w 669"/>
                <a:gd name="T13" fmla="*/ 345 h 693"/>
                <a:gd name="T14" fmla="*/ 218 w 669"/>
                <a:gd name="T15" fmla="*/ 375 h 693"/>
                <a:gd name="T16" fmla="*/ 209 w 669"/>
                <a:gd name="T17" fmla="*/ 402 h 693"/>
                <a:gd name="T18" fmla="*/ 369 w 669"/>
                <a:gd name="T19" fmla="*/ 503 h 693"/>
                <a:gd name="T20" fmla="*/ 373 w 669"/>
                <a:gd name="T21" fmla="*/ 498 h 693"/>
                <a:gd name="T22" fmla="*/ 456 w 669"/>
                <a:gd name="T23" fmla="*/ 475 h 693"/>
                <a:gd name="T24" fmla="*/ 494 w 669"/>
                <a:gd name="T25" fmla="*/ 489 h 693"/>
                <a:gd name="T26" fmla="*/ 527 w 669"/>
                <a:gd name="T27" fmla="*/ 630 h 693"/>
                <a:gd name="T28" fmla="*/ 386 w 669"/>
                <a:gd name="T29" fmla="*/ 663 h 693"/>
                <a:gd name="T30" fmla="*/ 339 w 669"/>
                <a:gd name="T31" fmla="*/ 560 h 693"/>
                <a:gd name="T32" fmla="*/ 345 w 669"/>
                <a:gd name="T33" fmla="*/ 544 h 693"/>
                <a:gd name="T34" fmla="*/ 177 w 669"/>
                <a:gd name="T35" fmla="*/ 439 h 693"/>
                <a:gd name="T36" fmla="*/ 168 w 669"/>
                <a:gd name="T37" fmla="*/ 446 h 693"/>
                <a:gd name="T38" fmla="*/ 28 w 669"/>
                <a:gd name="T39" fmla="*/ 409 h 693"/>
                <a:gd name="T40" fmla="*/ 65 w 669"/>
                <a:gd name="T41" fmla="*/ 269 h 693"/>
                <a:gd name="T42" fmla="*/ 178 w 669"/>
                <a:gd name="T43" fmla="*/ 276 h 693"/>
                <a:gd name="T44" fmla="*/ 189 w 669"/>
                <a:gd name="T45" fmla="*/ 288 h 693"/>
                <a:gd name="T46" fmla="*/ 455 w 669"/>
                <a:gd name="T47" fmla="*/ 134 h 693"/>
                <a:gd name="T48" fmla="*/ 450 w 669"/>
                <a:gd name="T49" fmla="*/ 119 h 693"/>
                <a:gd name="T50" fmla="*/ 501 w 669"/>
                <a:gd name="T51" fmla="*/ 18 h 693"/>
                <a:gd name="T52" fmla="*/ 539 w 669"/>
                <a:gd name="T53" fmla="*/ 5 h 6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69" h="693">
                  <a:moveTo>
                    <a:pt x="539" y="5"/>
                  </a:moveTo>
                  <a:cubicBezTo>
                    <a:pt x="579" y="0"/>
                    <a:pt x="619" y="19"/>
                    <a:pt x="640" y="55"/>
                  </a:cubicBezTo>
                  <a:cubicBezTo>
                    <a:pt x="669" y="104"/>
                    <a:pt x="652" y="167"/>
                    <a:pt x="603" y="195"/>
                  </a:cubicBezTo>
                  <a:cubicBezTo>
                    <a:pt x="566" y="216"/>
                    <a:pt x="522" y="212"/>
                    <a:pt x="490" y="188"/>
                  </a:cubicBezTo>
                  <a:cubicBezTo>
                    <a:pt x="479" y="176"/>
                    <a:pt x="479" y="176"/>
                    <a:pt x="479" y="176"/>
                  </a:cubicBezTo>
                  <a:cubicBezTo>
                    <a:pt x="213" y="330"/>
                    <a:pt x="213" y="330"/>
                    <a:pt x="213" y="330"/>
                  </a:cubicBezTo>
                  <a:cubicBezTo>
                    <a:pt x="218" y="345"/>
                    <a:pt x="218" y="345"/>
                    <a:pt x="218" y="345"/>
                  </a:cubicBezTo>
                  <a:cubicBezTo>
                    <a:pt x="219" y="355"/>
                    <a:pt x="219" y="365"/>
                    <a:pt x="218" y="375"/>
                  </a:cubicBezTo>
                  <a:cubicBezTo>
                    <a:pt x="209" y="402"/>
                    <a:pt x="209" y="402"/>
                    <a:pt x="209" y="402"/>
                  </a:cubicBezTo>
                  <a:cubicBezTo>
                    <a:pt x="369" y="503"/>
                    <a:pt x="369" y="503"/>
                    <a:pt x="369" y="503"/>
                  </a:cubicBezTo>
                  <a:cubicBezTo>
                    <a:pt x="373" y="498"/>
                    <a:pt x="373" y="498"/>
                    <a:pt x="373" y="498"/>
                  </a:cubicBezTo>
                  <a:cubicBezTo>
                    <a:pt x="396" y="479"/>
                    <a:pt x="427" y="470"/>
                    <a:pt x="456" y="475"/>
                  </a:cubicBezTo>
                  <a:cubicBezTo>
                    <a:pt x="470" y="477"/>
                    <a:pt x="482" y="482"/>
                    <a:pt x="494" y="489"/>
                  </a:cubicBezTo>
                  <a:cubicBezTo>
                    <a:pt x="542" y="519"/>
                    <a:pt x="557" y="583"/>
                    <a:pt x="527" y="630"/>
                  </a:cubicBezTo>
                  <a:cubicBezTo>
                    <a:pt x="497" y="678"/>
                    <a:pt x="433" y="693"/>
                    <a:pt x="386" y="663"/>
                  </a:cubicBezTo>
                  <a:cubicBezTo>
                    <a:pt x="350" y="640"/>
                    <a:pt x="333" y="599"/>
                    <a:pt x="339" y="560"/>
                  </a:cubicBezTo>
                  <a:cubicBezTo>
                    <a:pt x="345" y="544"/>
                    <a:pt x="345" y="544"/>
                    <a:pt x="345" y="544"/>
                  </a:cubicBezTo>
                  <a:cubicBezTo>
                    <a:pt x="177" y="439"/>
                    <a:pt x="177" y="439"/>
                    <a:pt x="177" y="439"/>
                  </a:cubicBezTo>
                  <a:cubicBezTo>
                    <a:pt x="168" y="446"/>
                    <a:pt x="168" y="446"/>
                    <a:pt x="168" y="446"/>
                  </a:cubicBezTo>
                  <a:cubicBezTo>
                    <a:pt x="119" y="475"/>
                    <a:pt x="56" y="458"/>
                    <a:pt x="28" y="409"/>
                  </a:cubicBezTo>
                  <a:cubicBezTo>
                    <a:pt x="0" y="360"/>
                    <a:pt x="16" y="297"/>
                    <a:pt x="65" y="269"/>
                  </a:cubicBezTo>
                  <a:cubicBezTo>
                    <a:pt x="102" y="248"/>
                    <a:pt x="147" y="252"/>
                    <a:pt x="178" y="276"/>
                  </a:cubicBezTo>
                  <a:cubicBezTo>
                    <a:pt x="189" y="288"/>
                    <a:pt x="189" y="288"/>
                    <a:pt x="189" y="288"/>
                  </a:cubicBezTo>
                  <a:cubicBezTo>
                    <a:pt x="455" y="134"/>
                    <a:pt x="455" y="134"/>
                    <a:pt x="455" y="134"/>
                  </a:cubicBezTo>
                  <a:cubicBezTo>
                    <a:pt x="450" y="119"/>
                    <a:pt x="450" y="119"/>
                    <a:pt x="450" y="119"/>
                  </a:cubicBezTo>
                  <a:cubicBezTo>
                    <a:pt x="445" y="80"/>
                    <a:pt x="464" y="39"/>
                    <a:pt x="501" y="18"/>
                  </a:cubicBezTo>
                  <a:cubicBezTo>
                    <a:pt x="513" y="11"/>
                    <a:pt x="526" y="6"/>
                    <a:pt x="539" y="5"/>
                  </a:cubicBezTo>
                  <a:close/>
                </a:path>
              </a:pathLst>
            </a:custGeom>
            <a:solidFill>
              <a:schemeClr val="tx1"/>
            </a:solidFill>
            <a:ln>
              <a:noFill/>
            </a:ln>
          </p:spPr>
          <p:txBody>
            <a:bodyPr vert="horz" wrap="square" lIns="68574" tIns="34287" rIns="68574" bIns="34287"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Segoe UI"/>
                <a:ea typeface="+mn-ea"/>
                <a:cs typeface="+mn-cs"/>
              </a:endParaRPr>
            </a:p>
          </p:txBody>
        </p:sp>
        <p:sp>
          <p:nvSpPr>
            <p:cNvPr id="103" name="Freeform 102"/>
            <p:cNvSpPr>
              <a:spLocks noChangeAspect="1" noEditPoints="1"/>
            </p:cNvSpPr>
            <p:nvPr/>
          </p:nvSpPr>
          <p:spPr bwMode="black">
            <a:xfrm>
              <a:off x="722320" y="1783009"/>
              <a:ext cx="452202" cy="366660"/>
            </a:xfrm>
            <a:custGeom>
              <a:avLst/>
              <a:gdLst>
                <a:gd name="T0" fmla="*/ 600 w 1107"/>
                <a:gd name="T1" fmla="*/ 625 h 897"/>
                <a:gd name="T2" fmla="*/ 649 w 1107"/>
                <a:gd name="T3" fmla="*/ 567 h 897"/>
                <a:gd name="T4" fmla="*/ 727 w 1107"/>
                <a:gd name="T5" fmla="*/ 482 h 897"/>
                <a:gd name="T6" fmla="*/ 601 w 1107"/>
                <a:gd name="T7" fmla="*/ 434 h 897"/>
                <a:gd name="T8" fmla="*/ 628 w 1107"/>
                <a:gd name="T9" fmla="*/ 305 h 897"/>
                <a:gd name="T10" fmla="*/ 547 w 1107"/>
                <a:gd name="T11" fmla="*/ 240 h 897"/>
                <a:gd name="T12" fmla="*/ 427 w 1107"/>
                <a:gd name="T13" fmla="*/ 287 h 897"/>
                <a:gd name="T14" fmla="*/ 368 w 1107"/>
                <a:gd name="T15" fmla="*/ 170 h 897"/>
                <a:gd name="T16" fmla="*/ 285 w 1107"/>
                <a:gd name="T17" fmla="*/ 263 h 897"/>
                <a:gd name="T18" fmla="*/ 241 w 1107"/>
                <a:gd name="T19" fmla="*/ 313 h 897"/>
                <a:gd name="T20" fmla="*/ 139 w 1107"/>
                <a:gd name="T21" fmla="*/ 281 h 897"/>
                <a:gd name="T22" fmla="*/ 79 w 1107"/>
                <a:gd name="T23" fmla="*/ 355 h 897"/>
                <a:gd name="T24" fmla="*/ 132 w 1107"/>
                <a:gd name="T25" fmla="*/ 446 h 897"/>
                <a:gd name="T26" fmla="*/ 83 w 1107"/>
                <a:gd name="T27" fmla="*/ 505 h 897"/>
                <a:gd name="T28" fmla="*/ 5 w 1107"/>
                <a:gd name="T29" fmla="*/ 590 h 897"/>
                <a:gd name="T30" fmla="*/ 132 w 1107"/>
                <a:gd name="T31" fmla="*/ 638 h 897"/>
                <a:gd name="T32" fmla="*/ 145 w 1107"/>
                <a:gd name="T33" fmla="*/ 669 h 897"/>
                <a:gd name="T34" fmla="*/ 110 w 1107"/>
                <a:gd name="T35" fmla="*/ 793 h 897"/>
                <a:gd name="T36" fmla="*/ 230 w 1107"/>
                <a:gd name="T37" fmla="*/ 781 h 897"/>
                <a:gd name="T38" fmla="*/ 306 w 1107"/>
                <a:gd name="T39" fmla="*/ 785 h 897"/>
                <a:gd name="T40" fmla="*/ 346 w 1107"/>
                <a:gd name="T41" fmla="*/ 878 h 897"/>
                <a:gd name="T42" fmla="*/ 440 w 1107"/>
                <a:gd name="T43" fmla="*/ 872 h 897"/>
                <a:gd name="T44" fmla="*/ 466 w 1107"/>
                <a:gd name="T45" fmla="*/ 764 h 897"/>
                <a:gd name="T46" fmla="*/ 539 w 1107"/>
                <a:gd name="T47" fmla="*/ 755 h 897"/>
                <a:gd name="T48" fmla="*/ 659 w 1107"/>
                <a:gd name="T49" fmla="*/ 743 h 897"/>
                <a:gd name="T50" fmla="*/ 263 w 1107"/>
                <a:gd name="T51" fmla="*/ 452 h 897"/>
                <a:gd name="T52" fmla="*/ 281 w 1107"/>
                <a:gd name="T53" fmla="*/ 633 h 897"/>
                <a:gd name="T54" fmla="*/ 1002 w 1107"/>
                <a:gd name="T55" fmla="*/ 332 h 897"/>
                <a:gd name="T56" fmla="*/ 1043 w 1107"/>
                <a:gd name="T57" fmla="*/ 304 h 897"/>
                <a:gd name="T58" fmla="*/ 1107 w 1107"/>
                <a:gd name="T59" fmla="*/ 266 h 897"/>
                <a:gd name="T60" fmla="*/ 1037 w 1107"/>
                <a:gd name="T61" fmla="*/ 213 h 897"/>
                <a:gd name="T62" fmla="*/ 1077 w 1107"/>
                <a:gd name="T63" fmla="*/ 138 h 897"/>
                <a:gd name="T64" fmla="*/ 1038 w 1107"/>
                <a:gd name="T65" fmla="*/ 83 h 897"/>
                <a:gd name="T66" fmla="*/ 956 w 1107"/>
                <a:gd name="T67" fmla="*/ 91 h 897"/>
                <a:gd name="T68" fmla="*/ 940 w 1107"/>
                <a:gd name="T69" fmla="*/ 7 h 897"/>
                <a:gd name="T70" fmla="*/ 872 w 1107"/>
                <a:gd name="T71" fmla="*/ 50 h 897"/>
                <a:gd name="T72" fmla="*/ 836 w 1107"/>
                <a:gd name="T73" fmla="*/ 74 h 897"/>
                <a:gd name="T74" fmla="*/ 778 w 1107"/>
                <a:gd name="T75" fmla="*/ 35 h 897"/>
                <a:gd name="T76" fmla="*/ 728 w 1107"/>
                <a:gd name="T77" fmla="*/ 70 h 897"/>
                <a:gd name="T78" fmla="*/ 744 w 1107"/>
                <a:gd name="T79" fmla="*/ 136 h 897"/>
                <a:gd name="T80" fmla="*/ 703 w 1107"/>
                <a:gd name="T81" fmla="*/ 164 h 897"/>
                <a:gd name="T82" fmla="*/ 640 w 1107"/>
                <a:gd name="T83" fmla="*/ 203 h 897"/>
                <a:gd name="T84" fmla="*/ 710 w 1107"/>
                <a:gd name="T85" fmla="*/ 255 h 897"/>
                <a:gd name="T86" fmla="*/ 712 w 1107"/>
                <a:gd name="T87" fmla="*/ 277 h 897"/>
                <a:gd name="T88" fmla="*/ 668 w 1107"/>
                <a:gd name="T89" fmla="*/ 347 h 897"/>
                <a:gd name="T90" fmla="*/ 745 w 1107"/>
                <a:gd name="T91" fmla="*/ 361 h 897"/>
                <a:gd name="T92" fmla="*/ 791 w 1107"/>
                <a:gd name="T93" fmla="*/ 377 h 897"/>
                <a:gd name="T94" fmla="*/ 799 w 1107"/>
                <a:gd name="T95" fmla="*/ 443 h 897"/>
                <a:gd name="T96" fmla="*/ 859 w 1107"/>
                <a:gd name="T97" fmla="*/ 456 h 897"/>
                <a:gd name="T98" fmla="*/ 894 w 1107"/>
                <a:gd name="T99" fmla="*/ 393 h 897"/>
                <a:gd name="T100" fmla="*/ 941 w 1107"/>
                <a:gd name="T101" fmla="*/ 401 h 897"/>
                <a:gd name="T102" fmla="*/ 1018 w 1107"/>
                <a:gd name="T103" fmla="*/ 415 h 897"/>
                <a:gd name="T104" fmla="*/ 825 w 1107"/>
                <a:gd name="T105" fmla="*/ 164 h 897"/>
                <a:gd name="T106" fmla="*/ 803 w 1107"/>
                <a:gd name="T107" fmla="*/ 279 h 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107" h="897">
                  <a:moveTo>
                    <a:pt x="654" y="716"/>
                  </a:moveTo>
                  <a:cubicBezTo>
                    <a:pt x="616" y="670"/>
                    <a:pt x="616" y="670"/>
                    <a:pt x="616" y="670"/>
                  </a:cubicBezTo>
                  <a:cubicBezTo>
                    <a:pt x="593" y="654"/>
                    <a:pt x="603" y="638"/>
                    <a:pt x="600" y="625"/>
                  </a:cubicBezTo>
                  <a:cubicBezTo>
                    <a:pt x="600" y="625"/>
                    <a:pt x="600" y="625"/>
                    <a:pt x="600" y="625"/>
                  </a:cubicBezTo>
                  <a:cubicBezTo>
                    <a:pt x="605" y="617"/>
                    <a:pt x="611" y="609"/>
                    <a:pt x="608" y="596"/>
                  </a:cubicBezTo>
                  <a:cubicBezTo>
                    <a:pt x="618" y="580"/>
                    <a:pt x="623" y="572"/>
                    <a:pt x="649" y="567"/>
                  </a:cubicBezTo>
                  <a:cubicBezTo>
                    <a:pt x="715" y="553"/>
                    <a:pt x="715" y="553"/>
                    <a:pt x="715" y="553"/>
                  </a:cubicBezTo>
                  <a:cubicBezTo>
                    <a:pt x="728" y="550"/>
                    <a:pt x="733" y="542"/>
                    <a:pt x="730" y="529"/>
                  </a:cubicBezTo>
                  <a:cubicBezTo>
                    <a:pt x="727" y="482"/>
                    <a:pt x="727" y="482"/>
                    <a:pt x="727" y="482"/>
                  </a:cubicBezTo>
                  <a:cubicBezTo>
                    <a:pt x="724" y="469"/>
                    <a:pt x="717" y="463"/>
                    <a:pt x="701" y="453"/>
                  </a:cubicBezTo>
                  <a:cubicBezTo>
                    <a:pt x="641" y="459"/>
                    <a:pt x="641" y="459"/>
                    <a:pt x="641" y="459"/>
                  </a:cubicBezTo>
                  <a:cubicBezTo>
                    <a:pt x="620" y="457"/>
                    <a:pt x="604" y="447"/>
                    <a:pt x="601" y="434"/>
                  </a:cubicBezTo>
                  <a:cubicBezTo>
                    <a:pt x="598" y="421"/>
                    <a:pt x="590" y="416"/>
                    <a:pt x="580" y="397"/>
                  </a:cubicBezTo>
                  <a:cubicBezTo>
                    <a:pt x="577" y="384"/>
                    <a:pt x="574" y="371"/>
                    <a:pt x="584" y="355"/>
                  </a:cubicBezTo>
                  <a:cubicBezTo>
                    <a:pt x="628" y="305"/>
                    <a:pt x="628" y="305"/>
                    <a:pt x="628" y="305"/>
                  </a:cubicBezTo>
                  <a:cubicBezTo>
                    <a:pt x="634" y="297"/>
                    <a:pt x="631" y="284"/>
                    <a:pt x="623" y="279"/>
                  </a:cubicBezTo>
                  <a:cubicBezTo>
                    <a:pt x="581" y="240"/>
                    <a:pt x="581" y="240"/>
                    <a:pt x="581" y="240"/>
                  </a:cubicBezTo>
                  <a:cubicBezTo>
                    <a:pt x="573" y="235"/>
                    <a:pt x="560" y="238"/>
                    <a:pt x="547" y="240"/>
                  </a:cubicBezTo>
                  <a:cubicBezTo>
                    <a:pt x="503" y="291"/>
                    <a:pt x="503" y="291"/>
                    <a:pt x="503" y="291"/>
                  </a:cubicBezTo>
                  <a:cubicBezTo>
                    <a:pt x="484" y="302"/>
                    <a:pt x="471" y="304"/>
                    <a:pt x="463" y="299"/>
                  </a:cubicBezTo>
                  <a:cubicBezTo>
                    <a:pt x="456" y="294"/>
                    <a:pt x="435" y="292"/>
                    <a:pt x="427" y="287"/>
                  </a:cubicBezTo>
                  <a:cubicBezTo>
                    <a:pt x="419" y="282"/>
                    <a:pt x="403" y="271"/>
                    <a:pt x="400" y="258"/>
                  </a:cubicBezTo>
                  <a:cubicBezTo>
                    <a:pt x="386" y="193"/>
                    <a:pt x="386" y="193"/>
                    <a:pt x="386" y="193"/>
                  </a:cubicBezTo>
                  <a:cubicBezTo>
                    <a:pt x="384" y="180"/>
                    <a:pt x="368" y="170"/>
                    <a:pt x="368" y="170"/>
                  </a:cubicBezTo>
                  <a:cubicBezTo>
                    <a:pt x="308" y="176"/>
                    <a:pt x="308" y="176"/>
                    <a:pt x="308" y="176"/>
                  </a:cubicBezTo>
                  <a:cubicBezTo>
                    <a:pt x="308" y="176"/>
                    <a:pt x="289" y="187"/>
                    <a:pt x="292" y="200"/>
                  </a:cubicBezTo>
                  <a:cubicBezTo>
                    <a:pt x="285" y="263"/>
                    <a:pt x="285" y="263"/>
                    <a:pt x="285" y="263"/>
                  </a:cubicBezTo>
                  <a:cubicBezTo>
                    <a:pt x="291" y="289"/>
                    <a:pt x="277" y="292"/>
                    <a:pt x="272" y="300"/>
                  </a:cubicBezTo>
                  <a:cubicBezTo>
                    <a:pt x="272" y="300"/>
                    <a:pt x="272" y="300"/>
                    <a:pt x="267" y="308"/>
                  </a:cubicBezTo>
                  <a:cubicBezTo>
                    <a:pt x="259" y="302"/>
                    <a:pt x="246" y="305"/>
                    <a:pt x="241" y="313"/>
                  </a:cubicBezTo>
                  <a:cubicBezTo>
                    <a:pt x="236" y="321"/>
                    <a:pt x="236" y="321"/>
                    <a:pt x="236" y="321"/>
                  </a:cubicBezTo>
                  <a:cubicBezTo>
                    <a:pt x="223" y="324"/>
                    <a:pt x="210" y="327"/>
                    <a:pt x="194" y="317"/>
                  </a:cubicBezTo>
                  <a:cubicBezTo>
                    <a:pt x="139" y="281"/>
                    <a:pt x="139" y="281"/>
                    <a:pt x="139" y="281"/>
                  </a:cubicBezTo>
                  <a:cubicBezTo>
                    <a:pt x="131" y="276"/>
                    <a:pt x="110" y="273"/>
                    <a:pt x="104" y="281"/>
                  </a:cubicBezTo>
                  <a:cubicBezTo>
                    <a:pt x="79" y="321"/>
                    <a:pt x="79" y="321"/>
                    <a:pt x="79" y="321"/>
                  </a:cubicBezTo>
                  <a:cubicBezTo>
                    <a:pt x="66" y="324"/>
                    <a:pt x="68" y="337"/>
                    <a:pt x="79" y="355"/>
                  </a:cubicBezTo>
                  <a:cubicBezTo>
                    <a:pt x="121" y="394"/>
                    <a:pt x="121" y="394"/>
                    <a:pt x="121" y="394"/>
                  </a:cubicBezTo>
                  <a:cubicBezTo>
                    <a:pt x="140" y="417"/>
                    <a:pt x="135" y="425"/>
                    <a:pt x="132" y="446"/>
                  </a:cubicBezTo>
                  <a:cubicBezTo>
                    <a:pt x="132" y="446"/>
                    <a:pt x="132" y="446"/>
                    <a:pt x="132" y="446"/>
                  </a:cubicBezTo>
                  <a:cubicBezTo>
                    <a:pt x="127" y="454"/>
                    <a:pt x="122" y="462"/>
                    <a:pt x="117" y="470"/>
                  </a:cubicBezTo>
                  <a:cubicBezTo>
                    <a:pt x="117" y="470"/>
                    <a:pt x="117" y="470"/>
                    <a:pt x="117" y="470"/>
                  </a:cubicBezTo>
                  <a:cubicBezTo>
                    <a:pt x="120" y="483"/>
                    <a:pt x="109" y="499"/>
                    <a:pt x="83" y="505"/>
                  </a:cubicBezTo>
                  <a:cubicBezTo>
                    <a:pt x="23" y="511"/>
                    <a:pt x="23" y="511"/>
                    <a:pt x="23" y="511"/>
                  </a:cubicBezTo>
                  <a:cubicBezTo>
                    <a:pt x="10" y="514"/>
                    <a:pt x="0" y="529"/>
                    <a:pt x="2" y="543"/>
                  </a:cubicBezTo>
                  <a:cubicBezTo>
                    <a:pt x="5" y="590"/>
                    <a:pt x="5" y="590"/>
                    <a:pt x="5" y="590"/>
                  </a:cubicBezTo>
                  <a:cubicBezTo>
                    <a:pt x="8" y="603"/>
                    <a:pt x="16" y="608"/>
                    <a:pt x="37" y="610"/>
                  </a:cubicBezTo>
                  <a:cubicBezTo>
                    <a:pt x="92" y="612"/>
                    <a:pt x="92" y="612"/>
                    <a:pt x="92" y="612"/>
                  </a:cubicBezTo>
                  <a:cubicBezTo>
                    <a:pt x="113" y="614"/>
                    <a:pt x="129" y="625"/>
                    <a:pt x="132" y="638"/>
                  </a:cubicBezTo>
                  <a:cubicBezTo>
                    <a:pt x="132" y="638"/>
                    <a:pt x="132" y="638"/>
                    <a:pt x="132" y="638"/>
                  </a:cubicBezTo>
                  <a:cubicBezTo>
                    <a:pt x="140" y="643"/>
                    <a:pt x="142" y="656"/>
                    <a:pt x="150" y="661"/>
                  </a:cubicBezTo>
                  <a:cubicBezTo>
                    <a:pt x="145" y="669"/>
                    <a:pt x="145" y="669"/>
                    <a:pt x="145" y="669"/>
                  </a:cubicBezTo>
                  <a:cubicBezTo>
                    <a:pt x="153" y="674"/>
                    <a:pt x="156" y="687"/>
                    <a:pt x="140" y="711"/>
                  </a:cubicBezTo>
                  <a:cubicBezTo>
                    <a:pt x="109" y="759"/>
                    <a:pt x="109" y="759"/>
                    <a:pt x="109" y="759"/>
                  </a:cubicBezTo>
                  <a:cubicBezTo>
                    <a:pt x="99" y="775"/>
                    <a:pt x="102" y="788"/>
                    <a:pt x="110" y="793"/>
                  </a:cubicBezTo>
                  <a:cubicBezTo>
                    <a:pt x="152" y="832"/>
                    <a:pt x="152" y="832"/>
                    <a:pt x="152" y="832"/>
                  </a:cubicBezTo>
                  <a:cubicBezTo>
                    <a:pt x="160" y="837"/>
                    <a:pt x="173" y="834"/>
                    <a:pt x="178" y="826"/>
                  </a:cubicBezTo>
                  <a:cubicBezTo>
                    <a:pt x="230" y="781"/>
                    <a:pt x="230" y="781"/>
                    <a:pt x="230" y="781"/>
                  </a:cubicBezTo>
                  <a:cubicBezTo>
                    <a:pt x="248" y="770"/>
                    <a:pt x="261" y="767"/>
                    <a:pt x="269" y="772"/>
                  </a:cubicBezTo>
                  <a:cubicBezTo>
                    <a:pt x="269" y="772"/>
                    <a:pt x="269" y="772"/>
                    <a:pt x="269" y="772"/>
                  </a:cubicBezTo>
                  <a:cubicBezTo>
                    <a:pt x="282" y="769"/>
                    <a:pt x="298" y="779"/>
                    <a:pt x="306" y="785"/>
                  </a:cubicBezTo>
                  <a:cubicBezTo>
                    <a:pt x="306" y="785"/>
                    <a:pt x="306" y="785"/>
                    <a:pt x="306" y="785"/>
                  </a:cubicBezTo>
                  <a:cubicBezTo>
                    <a:pt x="319" y="782"/>
                    <a:pt x="327" y="787"/>
                    <a:pt x="332" y="813"/>
                  </a:cubicBezTo>
                  <a:cubicBezTo>
                    <a:pt x="346" y="878"/>
                    <a:pt x="346" y="878"/>
                    <a:pt x="346" y="878"/>
                  </a:cubicBezTo>
                  <a:cubicBezTo>
                    <a:pt x="349" y="892"/>
                    <a:pt x="357" y="897"/>
                    <a:pt x="370" y="894"/>
                  </a:cubicBezTo>
                  <a:cubicBezTo>
                    <a:pt x="425" y="896"/>
                    <a:pt x="425" y="896"/>
                    <a:pt x="425" y="896"/>
                  </a:cubicBezTo>
                  <a:cubicBezTo>
                    <a:pt x="430" y="888"/>
                    <a:pt x="443" y="885"/>
                    <a:pt x="440" y="872"/>
                  </a:cubicBezTo>
                  <a:cubicBezTo>
                    <a:pt x="440" y="804"/>
                    <a:pt x="440" y="804"/>
                    <a:pt x="440" y="804"/>
                  </a:cubicBezTo>
                  <a:cubicBezTo>
                    <a:pt x="442" y="783"/>
                    <a:pt x="460" y="772"/>
                    <a:pt x="466" y="764"/>
                  </a:cubicBezTo>
                  <a:cubicBezTo>
                    <a:pt x="466" y="764"/>
                    <a:pt x="466" y="764"/>
                    <a:pt x="466" y="764"/>
                  </a:cubicBezTo>
                  <a:cubicBezTo>
                    <a:pt x="479" y="761"/>
                    <a:pt x="492" y="758"/>
                    <a:pt x="497" y="750"/>
                  </a:cubicBezTo>
                  <a:cubicBezTo>
                    <a:pt x="497" y="750"/>
                    <a:pt x="497" y="750"/>
                    <a:pt x="497" y="750"/>
                  </a:cubicBezTo>
                  <a:cubicBezTo>
                    <a:pt x="510" y="747"/>
                    <a:pt x="523" y="745"/>
                    <a:pt x="539" y="755"/>
                  </a:cubicBezTo>
                  <a:cubicBezTo>
                    <a:pt x="594" y="791"/>
                    <a:pt x="594" y="791"/>
                    <a:pt x="594" y="791"/>
                  </a:cubicBezTo>
                  <a:cubicBezTo>
                    <a:pt x="602" y="796"/>
                    <a:pt x="623" y="798"/>
                    <a:pt x="628" y="790"/>
                  </a:cubicBezTo>
                  <a:cubicBezTo>
                    <a:pt x="659" y="743"/>
                    <a:pt x="659" y="743"/>
                    <a:pt x="659" y="743"/>
                  </a:cubicBezTo>
                  <a:cubicBezTo>
                    <a:pt x="659" y="743"/>
                    <a:pt x="669" y="727"/>
                    <a:pt x="654" y="716"/>
                  </a:cubicBezTo>
                  <a:close/>
                  <a:moveTo>
                    <a:pt x="281" y="633"/>
                  </a:moveTo>
                  <a:cubicBezTo>
                    <a:pt x="223" y="584"/>
                    <a:pt x="219" y="502"/>
                    <a:pt x="263" y="452"/>
                  </a:cubicBezTo>
                  <a:cubicBezTo>
                    <a:pt x="313" y="393"/>
                    <a:pt x="399" y="382"/>
                    <a:pt x="457" y="431"/>
                  </a:cubicBezTo>
                  <a:cubicBezTo>
                    <a:pt x="507" y="475"/>
                    <a:pt x="518" y="561"/>
                    <a:pt x="469" y="619"/>
                  </a:cubicBezTo>
                  <a:cubicBezTo>
                    <a:pt x="420" y="678"/>
                    <a:pt x="339" y="682"/>
                    <a:pt x="281" y="633"/>
                  </a:cubicBezTo>
                  <a:close/>
                  <a:moveTo>
                    <a:pt x="1019" y="398"/>
                  </a:moveTo>
                  <a:cubicBezTo>
                    <a:pt x="1004" y="362"/>
                    <a:pt x="1004" y="362"/>
                    <a:pt x="1004" y="362"/>
                  </a:cubicBezTo>
                  <a:cubicBezTo>
                    <a:pt x="992" y="348"/>
                    <a:pt x="1002" y="340"/>
                    <a:pt x="1002" y="332"/>
                  </a:cubicBezTo>
                  <a:cubicBezTo>
                    <a:pt x="1002" y="332"/>
                    <a:pt x="1002" y="332"/>
                    <a:pt x="1002" y="332"/>
                  </a:cubicBezTo>
                  <a:cubicBezTo>
                    <a:pt x="1007" y="328"/>
                    <a:pt x="1011" y="324"/>
                    <a:pt x="1012" y="315"/>
                  </a:cubicBezTo>
                  <a:cubicBezTo>
                    <a:pt x="1021" y="307"/>
                    <a:pt x="1026" y="303"/>
                    <a:pt x="1043" y="304"/>
                  </a:cubicBezTo>
                  <a:cubicBezTo>
                    <a:pt x="1086" y="307"/>
                    <a:pt x="1086" y="307"/>
                    <a:pt x="1086" y="307"/>
                  </a:cubicBezTo>
                  <a:cubicBezTo>
                    <a:pt x="1095" y="308"/>
                    <a:pt x="1099" y="304"/>
                    <a:pt x="1100" y="295"/>
                  </a:cubicBezTo>
                  <a:cubicBezTo>
                    <a:pt x="1107" y="266"/>
                    <a:pt x="1107" y="266"/>
                    <a:pt x="1107" y="266"/>
                  </a:cubicBezTo>
                  <a:cubicBezTo>
                    <a:pt x="1107" y="257"/>
                    <a:pt x="1103" y="252"/>
                    <a:pt x="1095" y="243"/>
                  </a:cubicBezTo>
                  <a:cubicBezTo>
                    <a:pt x="1057" y="236"/>
                    <a:pt x="1057" y="236"/>
                    <a:pt x="1057" y="236"/>
                  </a:cubicBezTo>
                  <a:cubicBezTo>
                    <a:pt x="1044" y="231"/>
                    <a:pt x="1036" y="222"/>
                    <a:pt x="1037" y="213"/>
                  </a:cubicBezTo>
                  <a:cubicBezTo>
                    <a:pt x="1038" y="205"/>
                    <a:pt x="1034" y="200"/>
                    <a:pt x="1030" y="187"/>
                  </a:cubicBezTo>
                  <a:cubicBezTo>
                    <a:pt x="1031" y="178"/>
                    <a:pt x="1032" y="170"/>
                    <a:pt x="1041" y="162"/>
                  </a:cubicBezTo>
                  <a:cubicBezTo>
                    <a:pt x="1077" y="138"/>
                    <a:pt x="1077" y="138"/>
                    <a:pt x="1077" y="138"/>
                  </a:cubicBezTo>
                  <a:cubicBezTo>
                    <a:pt x="1082" y="134"/>
                    <a:pt x="1083" y="126"/>
                    <a:pt x="1079" y="121"/>
                  </a:cubicBezTo>
                  <a:cubicBezTo>
                    <a:pt x="1059" y="89"/>
                    <a:pt x="1059" y="89"/>
                    <a:pt x="1059" y="89"/>
                  </a:cubicBezTo>
                  <a:cubicBezTo>
                    <a:pt x="1055" y="85"/>
                    <a:pt x="1047" y="84"/>
                    <a:pt x="1038" y="83"/>
                  </a:cubicBezTo>
                  <a:cubicBezTo>
                    <a:pt x="1002" y="107"/>
                    <a:pt x="1002" y="107"/>
                    <a:pt x="1002" y="107"/>
                  </a:cubicBezTo>
                  <a:cubicBezTo>
                    <a:pt x="989" y="110"/>
                    <a:pt x="980" y="110"/>
                    <a:pt x="976" y="105"/>
                  </a:cubicBezTo>
                  <a:cubicBezTo>
                    <a:pt x="972" y="100"/>
                    <a:pt x="960" y="95"/>
                    <a:pt x="956" y="91"/>
                  </a:cubicBezTo>
                  <a:cubicBezTo>
                    <a:pt x="952" y="86"/>
                    <a:pt x="944" y="77"/>
                    <a:pt x="944" y="68"/>
                  </a:cubicBezTo>
                  <a:cubicBezTo>
                    <a:pt x="948" y="25"/>
                    <a:pt x="948" y="25"/>
                    <a:pt x="948" y="25"/>
                  </a:cubicBezTo>
                  <a:cubicBezTo>
                    <a:pt x="948" y="17"/>
                    <a:pt x="940" y="7"/>
                    <a:pt x="940" y="7"/>
                  </a:cubicBezTo>
                  <a:cubicBezTo>
                    <a:pt x="902" y="0"/>
                    <a:pt x="902" y="0"/>
                    <a:pt x="902" y="0"/>
                  </a:cubicBezTo>
                  <a:cubicBezTo>
                    <a:pt x="902" y="0"/>
                    <a:pt x="889" y="4"/>
                    <a:pt x="888" y="12"/>
                  </a:cubicBezTo>
                  <a:cubicBezTo>
                    <a:pt x="872" y="50"/>
                    <a:pt x="872" y="50"/>
                    <a:pt x="872" y="50"/>
                  </a:cubicBezTo>
                  <a:cubicBezTo>
                    <a:pt x="871" y="67"/>
                    <a:pt x="862" y="67"/>
                    <a:pt x="858" y="71"/>
                  </a:cubicBezTo>
                  <a:cubicBezTo>
                    <a:pt x="858" y="71"/>
                    <a:pt x="858" y="71"/>
                    <a:pt x="853" y="75"/>
                  </a:cubicBezTo>
                  <a:cubicBezTo>
                    <a:pt x="849" y="70"/>
                    <a:pt x="840" y="70"/>
                    <a:pt x="836" y="74"/>
                  </a:cubicBezTo>
                  <a:cubicBezTo>
                    <a:pt x="831" y="78"/>
                    <a:pt x="831" y="78"/>
                    <a:pt x="831" y="78"/>
                  </a:cubicBezTo>
                  <a:cubicBezTo>
                    <a:pt x="822" y="77"/>
                    <a:pt x="814" y="76"/>
                    <a:pt x="806" y="67"/>
                  </a:cubicBezTo>
                  <a:cubicBezTo>
                    <a:pt x="778" y="35"/>
                    <a:pt x="778" y="35"/>
                    <a:pt x="778" y="35"/>
                  </a:cubicBezTo>
                  <a:cubicBezTo>
                    <a:pt x="774" y="30"/>
                    <a:pt x="762" y="25"/>
                    <a:pt x="757" y="29"/>
                  </a:cubicBezTo>
                  <a:cubicBezTo>
                    <a:pt x="734" y="49"/>
                    <a:pt x="734" y="49"/>
                    <a:pt x="734" y="49"/>
                  </a:cubicBezTo>
                  <a:cubicBezTo>
                    <a:pt x="725" y="49"/>
                    <a:pt x="725" y="57"/>
                    <a:pt x="728" y="70"/>
                  </a:cubicBezTo>
                  <a:cubicBezTo>
                    <a:pt x="747" y="102"/>
                    <a:pt x="747" y="102"/>
                    <a:pt x="747" y="102"/>
                  </a:cubicBezTo>
                  <a:cubicBezTo>
                    <a:pt x="754" y="120"/>
                    <a:pt x="750" y="124"/>
                    <a:pt x="744" y="136"/>
                  </a:cubicBezTo>
                  <a:cubicBezTo>
                    <a:pt x="744" y="136"/>
                    <a:pt x="744" y="136"/>
                    <a:pt x="744" y="136"/>
                  </a:cubicBezTo>
                  <a:cubicBezTo>
                    <a:pt x="740" y="140"/>
                    <a:pt x="735" y="144"/>
                    <a:pt x="731" y="148"/>
                  </a:cubicBezTo>
                  <a:cubicBezTo>
                    <a:pt x="731" y="148"/>
                    <a:pt x="731" y="148"/>
                    <a:pt x="731" y="148"/>
                  </a:cubicBezTo>
                  <a:cubicBezTo>
                    <a:pt x="730" y="157"/>
                    <a:pt x="721" y="165"/>
                    <a:pt x="703" y="164"/>
                  </a:cubicBezTo>
                  <a:cubicBezTo>
                    <a:pt x="665" y="157"/>
                    <a:pt x="665" y="157"/>
                    <a:pt x="665" y="157"/>
                  </a:cubicBezTo>
                  <a:cubicBezTo>
                    <a:pt x="656" y="156"/>
                    <a:pt x="647" y="164"/>
                    <a:pt x="647" y="173"/>
                  </a:cubicBezTo>
                  <a:cubicBezTo>
                    <a:pt x="640" y="203"/>
                    <a:pt x="640" y="203"/>
                    <a:pt x="640" y="203"/>
                  </a:cubicBezTo>
                  <a:cubicBezTo>
                    <a:pt x="639" y="211"/>
                    <a:pt x="643" y="216"/>
                    <a:pt x="656" y="221"/>
                  </a:cubicBezTo>
                  <a:cubicBezTo>
                    <a:pt x="690" y="232"/>
                    <a:pt x="690" y="232"/>
                    <a:pt x="690" y="232"/>
                  </a:cubicBezTo>
                  <a:cubicBezTo>
                    <a:pt x="702" y="237"/>
                    <a:pt x="710" y="246"/>
                    <a:pt x="710" y="255"/>
                  </a:cubicBezTo>
                  <a:cubicBezTo>
                    <a:pt x="710" y="255"/>
                    <a:pt x="710" y="255"/>
                    <a:pt x="710" y="255"/>
                  </a:cubicBezTo>
                  <a:cubicBezTo>
                    <a:pt x="714" y="260"/>
                    <a:pt x="713" y="268"/>
                    <a:pt x="717" y="273"/>
                  </a:cubicBezTo>
                  <a:cubicBezTo>
                    <a:pt x="712" y="277"/>
                    <a:pt x="712" y="277"/>
                    <a:pt x="712" y="277"/>
                  </a:cubicBezTo>
                  <a:cubicBezTo>
                    <a:pt x="716" y="281"/>
                    <a:pt x="716" y="290"/>
                    <a:pt x="702" y="302"/>
                  </a:cubicBezTo>
                  <a:cubicBezTo>
                    <a:pt x="674" y="326"/>
                    <a:pt x="674" y="326"/>
                    <a:pt x="674" y="326"/>
                  </a:cubicBezTo>
                  <a:cubicBezTo>
                    <a:pt x="665" y="334"/>
                    <a:pt x="664" y="343"/>
                    <a:pt x="668" y="347"/>
                  </a:cubicBezTo>
                  <a:cubicBezTo>
                    <a:pt x="687" y="379"/>
                    <a:pt x="687" y="379"/>
                    <a:pt x="687" y="379"/>
                  </a:cubicBezTo>
                  <a:cubicBezTo>
                    <a:pt x="691" y="383"/>
                    <a:pt x="700" y="384"/>
                    <a:pt x="704" y="380"/>
                  </a:cubicBezTo>
                  <a:cubicBezTo>
                    <a:pt x="745" y="361"/>
                    <a:pt x="745" y="361"/>
                    <a:pt x="745" y="361"/>
                  </a:cubicBezTo>
                  <a:cubicBezTo>
                    <a:pt x="758" y="358"/>
                    <a:pt x="767" y="358"/>
                    <a:pt x="771" y="363"/>
                  </a:cubicBezTo>
                  <a:cubicBezTo>
                    <a:pt x="771" y="363"/>
                    <a:pt x="771" y="363"/>
                    <a:pt x="771" y="363"/>
                  </a:cubicBezTo>
                  <a:cubicBezTo>
                    <a:pt x="779" y="364"/>
                    <a:pt x="787" y="373"/>
                    <a:pt x="791" y="377"/>
                  </a:cubicBezTo>
                  <a:cubicBezTo>
                    <a:pt x="791" y="377"/>
                    <a:pt x="791" y="377"/>
                    <a:pt x="791" y="377"/>
                  </a:cubicBezTo>
                  <a:cubicBezTo>
                    <a:pt x="800" y="378"/>
                    <a:pt x="804" y="383"/>
                    <a:pt x="802" y="400"/>
                  </a:cubicBezTo>
                  <a:cubicBezTo>
                    <a:pt x="799" y="443"/>
                    <a:pt x="799" y="443"/>
                    <a:pt x="799" y="443"/>
                  </a:cubicBezTo>
                  <a:cubicBezTo>
                    <a:pt x="798" y="451"/>
                    <a:pt x="802" y="456"/>
                    <a:pt x="811" y="457"/>
                  </a:cubicBezTo>
                  <a:cubicBezTo>
                    <a:pt x="845" y="468"/>
                    <a:pt x="845" y="468"/>
                    <a:pt x="845" y="468"/>
                  </a:cubicBezTo>
                  <a:cubicBezTo>
                    <a:pt x="849" y="464"/>
                    <a:pt x="858" y="464"/>
                    <a:pt x="859" y="456"/>
                  </a:cubicBezTo>
                  <a:cubicBezTo>
                    <a:pt x="871" y="413"/>
                    <a:pt x="871" y="413"/>
                    <a:pt x="871" y="413"/>
                  </a:cubicBezTo>
                  <a:cubicBezTo>
                    <a:pt x="876" y="401"/>
                    <a:pt x="889" y="397"/>
                    <a:pt x="894" y="393"/>
                  </a:cubicBezTo>
                  <a:cubicBezTo>
                    <a:pt x="894" y="393"/>
                    <a:pt x="894" y="393"/>
                    <a:pt x="894" y="393"/>
                  </a:cubicBezTo>
                  <a:cubicBezTo>
                    <a:pt x="902" y="394"/>
                    <a:pt x="911" y="395"/>
                    <a:pt x="916" y="391"/>
                  </a:cubicBezTo>
                  <a:cubicBezTo>
                    <a:pt x="916" y="391"/>
                    <a:pt x="916" y="391"/>
                    <a:pt x="916" y="391"/>
                  </a:cubicBezTo>
                  <a:cubicBezTo>
                    <a:pt x="924" y="391"/>
                    <a:pt x="933" y="392"/>
                    <a:pt x="941" y="401"/>
                  </a:cubicBezTo>
                  <a:cubicBezTo>
                    <a:pt x="969" y="433"/>
                    <a:pt x="969" y="433"/>
                    <a:pt x="969" y="433"/>
                  </a:cubicBezTo>
                  <a:cubicBezTo>
                    <a:pt x="973" y="438"/>
                    <a:pt x="985" y="443"/>
                    <a:pt x="990" y="439"/>
                  </a:cubicBezTo>
                  <a:cubicBezTo>
                    <a:pt x="1018" y="415"/>
                    <a:pt x="1018" y="415"/>
                    <a:pt x="1018" y="415"/>
                  </a:cubicBezTo>
                  <a:cubicBezTo>
                    <a:pt x="1018" y="415"/>
                    <a:pt x="1027" y="407"/>
                    <a:pt x="1019" y="398"/>
                  </a:cubicBezTo>
                  <a:close/>
                  <a:moveTo>
                    <a:pt x="803" y="279"/>
                  </a:moveTo>
                  <a:cubicBezTo>
                    <a:pt x="776" y="238"/>
                    <a:pt x="788" y="187"/>
                    <a:pt x="825" y="164"/>
                  </a:cubicBezTo>
                  <a:cubicBezTo>
                    <a:pt x="866" y="136"/>
                    <a:pt x="921" y="144"/>
                    <a:pt x="948" y="185"/>
                  </a:cubicBezTo>
                  <a:cubicBezTo>
                    <a:pt x="972" y="221"/>
                    <a:pt x="963" y="277"/>
                    <a:pt x="922" y="304"/>
                  </a:cubicBezTo>
                  <a:cubicBezTo>
                    <a:pt x="881" y="332"/>
                    <a:pt x="830" y="320"/>
                    <a:pt x="803" y="279"/>
                  </a:cubicBezTo>
                  <a:close/>
                </a:path>
              </a:pathLst>
            </a:custGeom>
            <a:solidFill>
              <a:schemeClr val="tx1"/>
            </a:solidFill>
            <a:ln>
              <a:noFill/>
            </a:ln>
          </p:spPr>
          <p:txBody>
            <a:bodyPr vert="horz" wrap="square" lIns="68574" tIns="34287" rIns="68574" bIns="34287"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17346"/>
                </a:solidFill>
                <a:effectLst/>
                <a:uLnTx/>
                <a:uFillTx/>
                <a:latin typeface="Segoe UI"/>
                <a:ea typeface="+mn-ea"/>
                <a:cs typeface="+mn-cs"/>
              </a:endParaRPr>
            </a:p>
          </p:txBody>
        </p:sp>
        <p:sp>
          <p:nvSpPr>
            <p:cNvPr id="104" name="Freeform 103"/>
            <p:cNvSpPr>
              <a:spLocks noChangeAspect="1"/>
            </p:cNvSpPr>
            <p:nvPr/>
          </p:nvSpPr>
          <p:spPr bwMode="black">
            <a:xfrm>
              <a:off x="776985" y="4213905"/>
              <a:ext cx="342871" cy="335728"/>
            </a:xfrm>
            <a:custGeom>
              <a:avLst/>
              <a:gdLst>
                <a:gd name="connsiteX0" fmla="*/ 3713863 w 4893730"/>
                <a:gd name="connsiteY0" fmla="*/ 2130808 h 4791777"/>
                <a:gd name="connsiteX1" fmla="*/ 4426142 w 4893730"/>
                <a:gd name="connsiteY1" fmla="*/ 2130808 h 4791777"/>
                <a:gd name="connsiteX2" fmla="*/ 4598071 w 4893730"/>
                <a:gd name="connsiteY2" fmla="*/ 2301547 h 4791777"/>
                <a:gd name="connsiteX3" fmla="*/ 4598071 w 4893730"/>
                <a:gd name="connsiteY3" fmla="*/ 3886978 h 4791777"/>
                <a:gd name="connsiteX4" fmla="*/ 4426142 w 4893730"/>
                <a:gd name="connsiteY4" fmla="*/ 4057717 h 4791777"/>
                <a:gd name="connsiteX5" fmla="*/ 3713863 w 4893730"/>
                <a:gd name="connsiteY5" fmla="*/ 4057717 h 4791777"/>
                <a:gd name="connsiteX6" fmla="*/ 3517372 w 4893730"/>
                <a:gd name="connsiteY6" fmla="*/ 3886978 h 4791777"/>
                <a:gd name="connsiteX7" fmla="*/ 3517372 w 4893730"/>
                <a:gd name="connsiteY7" fmla="*/ 2301547 h 4791777"/>
                <a:gd name="connsiteX8" fmla="*/ 3713863 w 4893730"/>
                <a:gd name="connsiteY8" fmla="*/ 2130808 h 4791777"/>
                <a:gd name="connsiteX9" fmla="*/ 904368 w 4893730"/>
                <a:gd name="connsiteY9" fmla="*/ 1223432 h 4791777"/>
                <a:gd name="connsiteX10" fmla="*/ 1609930 w 4893730"/>
                <a:gd name="connsiteY10" fmla="*/ 1223432 h 4791777"/>
                <a:gd name="connsiteX11" fmla="*/ 1804567 w 4893730"/>
                <a:gd name="connsiteY11" fmla="*/ 1394467 h 4791777"/>
                <a:gd name="connsiteX12" fmla="*/ 1804567 w 4893730"/>
                <a:gd name="connsiteY12" fmla="*/ 3886683 h 4791777"/>
                <a:gd name="connsiteX13" fmla="*/ 1609930 w 4893730"/>
                <a:gd name="connsiteY13" fmla="*/ 4057717 h 4791777"/>
                <a:gd name="connsiteX14" fmla="*/ 904368 w 4893730"/>
                <a:gd name="connsiteY14" fmla="*/ 4057717 h 4791777"/>
                <a:gd name="connsiteX15" fmla="*/ 734060 w 4893730"/>
                <a:gd name="connsiteY15" fmla="*/ 3886683 h 4791777"/>
                <a:gd name="connsiteX16" fmla="*/ 734060 w 4893730"/>
                <a:gd name="connsiteY16" fmla="*/ 1394467 h 4791777"/>
                <a:gd name="connsiteX17" fmla="*/ 904368 w 4893730"/>
                <a:gd name="connsiteY17" fmla="*/ 1223432 h 4791777"/>
                <a:gd name="connsiteX18" fmla="*/ 2325453 w 4893730"/>
                <a:gd name="connsiteY18" fmla="*/ 316050 h 4791777"/>
                <a:gd name="connsiteX19" fmla="*/ 3031014 w 4893730"/>
                <a:gd name="connsiteY19" fmla="*/ 316050 h 4791777"/>
                <a:gd name="connsiteX20" fmla="*/ 3201322 w 4893730"/>
                <a:gd name="connsiteY20" fmla="*/ 487238 h 4791777"/>
                <a:gd name="connsiteX21" fmla="*/ 3201322 w 4893730"/>
                <a:gd name="connsiteY21" fmla="*/ 3886530 h 4791777"/>
                <a:gd name="connsiteX22" fmla="*/ 3031014 w 4893730"/>
                <a:gd name="connsiteY22" fmla="*/ 4057717 h 4791777"/>
                <a:gd name="connsiteX23" fmla="*/ 2325453 w 4893730"/>
                <a:gd name="connsiteY23" fmla="*/ 4057717 h 4791777"/>
                <a:gd name="connsiteX24" fmla="*/ 2130815 w 4893730"/>
                <a:gd name="connsiteY24" fmla="*/ 3886530 h 4791777"/>
                <a:gd name="connsiteX25" fmla="*/ 2130815 w 4893730"/>
                <a:gd name="connsiteY25" fmla="*/ 487238 h 4791777"/>
                <a:gd name="connsiteX26" fmla="*/ 2325453 w 4893730"/>
                <a:gd name="connsiteY26" fmla="*/ 316050 h 4791777"/>
                <a:gd name="connsiteX27" fmla="*/ 269155 w 4893730"/>
                <a:gd name="connsiteY27" fmla="*/ 0 h 4791777"/>
                <a:gd name="connsiteX28" fmla="*/ 538311 w 4893730"/>
                <a:gd name="connsiteY28" fmla="*/ 268927 h 4791777"/>
                <a:gd name="connsiteX29" fmla="*/ 538311 w 4893730"/>
                <a:gd name="connsiteY29" fmla="*/ 4253925 h 4791777"/>
                <a:gd name="connsiteX30" fmla="*/ 4624575 w 4893730"/>
                <a:gd name="connsiteY30" fmla="*/ 4253925 h 4791777"/>
                <a:gd name="connsiteX31" fmla="*/ 4893730 w 4893730"/>
                <a:gd name="connsiteY31" fmla="*/ 4522851 h 4791777"/>
                <a:gd name="connsiteX32" fmla="*/ 4624575 w 4893730"/>
                <a:gd name="connsiteY32" fmla="*/ 4791777 h 4791777"/>
                <a:gd name="connsiteX33" fmla="*/ 269155 w 4893730"/>
                <a:gd name="connsiteY33" fmla="*/ 4791777 h 4791777"/>
                <a:gd name="connsiteX34" fmla="*/ 0 w 4893730"/>
                <a:gd name="connsiteY34" fmla="*/ 4522851 h 4791777"/>
                <a:gd name="connsiteX35" fmla="*/ 0 w 4893730"/>
                <a:gd name="connsiteY35" fmla="*/ 268927 h 4791777"/>
                <a:gd name="connsiteX36" fmla="*/ 269155 w 4893730"/>
                <a:gd name="connsiteY36" fmla="*/ 0 h 4791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4893730" h="4791777">
                  <a:moveTo>
                    <a:pt x="3713863" y="2130808"/>
                  </a:moveTo>
                  <a:cubicBezTo>
                    <a:pt x="3713863" y="2130808"/>
                    <a:pt x="3713863" y="2130808"/>
                    <a:pt x="4426142" y="2130808"/>
                  </a:cubicBezTo>
                  <a:cubicBezTo>
                    <a:pt x="4524387" y="2130808"/>
                    <a:pt x="4598071" y="2203982"/>
                    <a:pt x="4598071" y="2301547"/>
                  </a:cubicBezTo>
                  <a:cubicBezTo>
                    <a:pt x="4598071" y="2301547"/>
                    <a:pt x="4598071" y="2301547"/>
                    <a:pt x="4598071" y="3886978"/>
                  </a:cubicBezTo>
                  <a:cubicBezTo>
                    <a:pt x="4598071" y="3984543"/>
                    <a:pt x="4524387" y="4057717"/>
                    <a:pt x="4426142" y="4057717"/>
                  </a:cubicBezTo>
                  <a:cubicBezTo>
                    <a:pt x="4426142" y="4057717"/>
                    <a:pt x="4426142" y="4057717"/>
                    <a:pt x="3713863" y="4057717"/>
                  </a:cubicBezTo>
                  <a:cubicBezTo>
                    <a:pt x="3615618" y="4057717"/>
                    <a:pt x="3517372" y="3984543"/>
                    <a:pt x="3517372" y="3886978"/>
                  </a:cubicBezTo>
                  <a:cubicBezTo>
                    <a:pt x="3517372" y="3886978"/>
                    <a:pt x="3517372" y="3886978"/>
                    <a:pt x="3517372" y="2301547"/>
                  </a:cubicBezTo>
                  <a:cubicBezTo>
                    <a:pt x="3517372" y="2203982"/>
                    <a:pt x="3615618" y="2130808"/>
                    <a:pt x="3713863" y="2130808"/>
                  </a:cubicBezTo>
                  <a:close/>
                  <a:moveTo>
                    <a:pt x="904368" y="1223432"/>
                  </a:moveTo>
                  <a:cubicBezTo>
                    <a:pt x="904368" y="1223432"/>
                    <a:pt x="904368" y="1223432"/>
                    <a:pt x="1609930" y="1223432"/>
                  </a:cubicBezTo>
                  <a:cubicBezTo>
                    <a:pt x="1731578" y="1223432"/>
                    <a:pt x="1804567" y="1296733"/>
                    <a:pt x="1804567" y="1394467"/>
                  </a:cubicBezTo>
                  <a:cubicBezTo>
                    <a:pt x="1804567" y="1394467"/>
                    <a:pt x="1804567" y="1394467"/>
                    <a:pt x="1804567" y="3886683"/>
                  </a:cubicBezTo>
                  <a:cubicBezTo>
                    <a:pt x="1804567" y="3984417"/>
                    <a:pt x="1731578" y="4057717"/>
                    <a:pt x="1609930" y="4057717"/>
                  </a:cubicBezTo>
                  <a:cubicBezTo>
                    <a:pt x="1609930" y="4057717"/>
                    <a:pt x="1609930" y="4057717"/>
                    <a:pt x="904368" y="4057717"/>
                  </a:cubicBezTo>
                  <a:cubicBezTo>
                    <a:pt x="807049" y="4057717"/>
                    <a:pt x="734060" y="3984417"/>
                    <a:pt x="734060" y="3886683"/>
                  </a:cubicBezTo>
                  <a:cubicBezTo>
                    <a:pt x="734060" y="3886683"/>
                    <a:pt x="734060" y="3886683"/>
                    <a:pt x="734060" y="1394467"/>
                  </a:cubicBezTo>
                  <a:cubicBezTo>
                    <a:pt x="734060" y="1296733"/>
                    <a:pt x="807049" y="1223432"/>
                    <a:pt x="904368" y="1223432"/>
                  </a:cubicBezTo>
                  <a:close/>
                  <a:moveTo>
                    <a:pt x="2325453" y="316050"/>
                  </a:moveTo>
                  <a:cubicBezTo>
                    <a:pt x="2325453" y="316050"/>
                    <a:pt x="2325453" y="316050"/>
                    <a:pt x="3031014" y="316050"/>
                  </a:cubicBezTo>
                  <a:cubicBezTo>
                    <a:pt x="3128333" y="316050"/>
                    <a:pt x="3201322" y="389416"/>
                    <a:pt x="3201322" y="487238"/>
                  </a:cubicBezTo>
                  <a:cubicBezTo>
                    <a:pt x="3201322" y="487238"/>
                    <a:pt x="3201322" y="487238"/>
                    <a:pt x="3201322" y="3886530"/>
                  </a:cubicBezTo>
                  <a:cubicBezTo>
                    <a:pt x="3201322" y="3984351"/>
                    <a:pt x="3128333" y="4057717"/>
                    <a:pt x="3031014" y="4057717"/>
                  </a:cubicBezTo>
                  <a:cubicBezTo>
                    <a:pt x="3031014" y="4057717"/>
                    <a:pt x="3031014" y="4057717"/>
                    <a:pt x="2325453" y="4057717"/>
                  </a:cubicBezTo>
                  <a:cubicBezTo>
                    <a:pt x="2203804" y="4057717"/>
                    <a:pt x="2130815" y="3984351"/>
                    <a:pt x="2130815" y="3886530"/>
                  </a:cubicBezTo>
                  <a:cubicBezTo>
                    <a:pt x="2130815" y="3886530"/>
                    <a:pt x="2130815" y="3886530"/>
                    <a:pt x="2130815" y="487238"/>
                  </a:cubicBezTo>
                  <a:cubicBezTo>
                    <a:pt x="2130815" y="389416"/>
                    <a:pt x="2203804" y="316050"/>
                    <a:pt x="2325453" y="316050"/>
                  </a:cubicBezTo>
                  <a:close/>
                  <a:moveTo>
                    <a:pt x="269155" y="0"/>
                  </a:moveTo>
                  <a:cubicBezTo>
                    <a:pt x="415967" y="0"/>
                    <a:pt x="538311" y="122239"/>
                    <a:pt x="538311" y="268927"/>
                  </a:cubicBezTo>
                  <a:cubicBezTo>
                    <a:pt x="538311" y="268927"/>
                    <a:pt x="538311" y="268927"/>
                    <a:pt x="538311" y="4253925"/>
                  </a:cubicBezTo>
                  <a:cubicBezTo>
                    <a:pt x="538311" y="4253925"/>
                    <a:pt x="538311" y="4253925"/>
                    <a:pt x="4624575" y="4253925"/>
                  </a:cubicBezTo>
                  <a:cubicBezTo>
                    <a:pt x="4771387" y="4253925"/>
                    <a:pt x="4893730" y="4376164"/>
                    <a:pt x="4893730" y="4522851"/>
                  </a:cubicBezTo>
                  <a:cubicBezTo>
                    <a:pt x="4893730" y="4669538"/>
                    <a:pt x="4771387" y="4791777"/>
                    <a:pt x="4624575" y="4791777"/>
                  </a:cubicBezTo>
                  <a:cubicBezTo>
                    <a:pt x="4624575" y="4791777"/>
                    <a:pt x="4624575" y="4791777"/>
                    <a:pt x="269155" y="4791777"/>
                  </a:cubicBezTo>
                  <a:cubicBezTo>
                    <a:pt x="122344" y="4791777"/>
                    <a:pt x="0" y="4669538"/>
                    <a:pt x="0" y="4522851"/>
                  </a:cubicBezTo>
                  <a:cubicBezTo>
                    <a:pt x="0" y="4522851"/>
                    <a:pt x="0" y="4522851"/>
                    <a:pt x="0" y="268927"/>
                  </a:cubicBezTo>
                  <a:cubicBezTo>
                    <a:pt x="0" y="122239"/>
                    <a:pt x="122344" y="0"/>
                    <a:pt x="269155"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37148" tIns="109719" rIns="137148" bIns="109719"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699261"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5" name="Rectangle 104"/>
            <p:cNvSpPr/>
            <p:nvPr/>
          </p:nvSpPr>
          <p:spPr bwMode="auto">
            <a:xfrm rot="2745734">
              <a:off x="886688" y="2210975"/>
              <a:ext cx="1598323" cy="1625795"/>
            </a:xfrm>
            <a:prstGeom prst="rect">
              <a:avLst/>
            </a:prstGeom>
            <a:solidFill>
              <a:schemeClr val="tx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6" name="Rectangle 105"/>
            <p:cNvSpPr/>
            <p:nvPr/>
          </p:nvSpPr>
          <p:spPr bwMode="auto">
            <a:xfrm rot="2745734">
              <a:off x="292433" y="3819160"/>
              <a:ext cx="1610349" cy="1235003"/>
            </a:xfrm>
            <a:prstGeom prst="rect">
              <a:avLst/>
            </a:prstGeom>
            <a:solidFill>
              <a:schemeClr val="tx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7" name="Rectangle 106"/>
            <p:cNvSpPr/>
            <p:nvPr/>
          </p:nvSpPr>
          <p:spPr bwMode="auto">
            <a:xfrm rot="2745734">
              <a:off x="1315610" y="4915701"/>
              <a:ext cx="1263370" cy="1255989"/>
            </a:xfrm>
            <a:prstGeom prst="rect">
              <a:avLst/>
            </a:prstGeom>
            <a:solidFill>
              <a:schemeClr val="tx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37" name="Title 10"/>
          <p:cNvSpPr txBox="1">
            <a:spLocks/>
          </p:cNvSpPr>
          <p:nvPr/>
        </p:nvSpPr>
        <p:spPr>
          <a:xfrm>
            <a:off x="2849060" y="0"/>
            <a:ext cx="9342940" cy="665151"/>
          </a:xfrm>
          <a:prstGeom prst="rect">
            <a:avLst/>
          </a:prstGeom>
          <a:noFill/>
        </p:spPr>
        <p:txBody>
          <a:bodyPr vert="horz" wrap="square" lIns="0" tIns="91440" rIns="0" bIns="91440" rtlCol="0" anchor="t">
            <a:noAutofit/>
          </a:bodyPr>
          <a:lstStyle>
            <a:lvl1pPr defTabSz="914367">
              <a:lnSpc>
                <a:spcPct val="90000"/>
              </a:lnSpc>
              <a:spcBef>
                <a:spcPct val="0"/>
              </a:spcBef>
              <a:buNone/>
              <a:defRPr lang="en-US" sz="5294" b="0" cap="none" spc="-100" baseline="0" dirty="0" smtClean="0">
                <a:ln w="3175">
                  <a:noFill/>
                </a:ln>
                <a:solidFill>
                  <a:schemeClr val="tx2"/>
                </a:solidFill>
                <a:effectLst/>
                <a:latin typeface="+mj-lt"/>
                <a:cs typeface="Segoe UI" pitchFamily="34" charset="0"/>
              </a:defRPr>
            </a:lvl1pPr>
          </a:lstStyle>
          <a:p>
            <a:pPr marL="168275" marR="0" lvl="0" indent="0" algn="l" defTabSz="914367" rtl="0" eaLnBrk="1" fontAlgn="auto" latinLnBrk="0" hangingPunct="1">
              <a:lnSpc>
                <a:spcPct val="90000"/>
              </a:lnSpc>
              <a:spcBef>
                <a:spcPct val="0"/>
              </a:spcBef>
              <a:spcAft>
                <a:spcPts val="0"/>
              </a:spcAft>
              <a:buClrTx/>
              <a:buSzTx/>
              <a:buFontTx/>
              <a:buNone/>
              <a:tabLst/>
              <a:defRPr/>
            </a:pPr>
            <a:r>
              <a:rPr kumimoji="0" lang="en-US" sz="3600" b="0" i="0" u="none" strike="noStrike" kern="1200" cap="none" spc="-100" normalizeH="0" baseline="0" noProof="0">
                <a:ln w="3175">
                  <a:noFill/>
                </a:ln>
                <a:solidFill>
                  <a:prstClr val="black"/>
                </a:solidFill>
                <a:effectLst/>
                <a:uLnTx/>
                <a:uFillTx/>
                <a:latin typeface="Segoe UI Light"/>
                <a:ea typeface="+mn-ea"/>
                <a:cs typeface="Segoe UI" pitchFamily="34" charset="0"/>
              </a:rPr>
              <a:t>Calculations</a:t>
            </a:r>
            <a:endParaRPr kumimoji="0" lang="en-IN" sz="3600" b="0" i="0" u="none" strike="noStrike" kern="1200" cap="none" spc="-100" normalizeH="0" baseline="0" noProof="0">
              <a:ln w="3175">
                <a:noFill/>
              </a:ln>
              <a:solidFill>
                <a:prstClr val="black"/>
              </a:solidFill>
              <a:effectLst/>
              <a:uLnTx/>
              <a:uFillTx/>
              <a:latin typeface="Segoe UI Light"/>
              <a:ea typeface="+mn-ea"/>
              <a:cs typeface="Segoe UI" pitchFamily="34" charset="0"/>
            </a:endParaRPr>
          </a:p>
        </p:txBody>
      </p:sp>
      <p:sp>
        <p:nvSpPr>
          <p:cNvPr id="40" name="TextBox 39"/>
          <p:cNvSpPr txBox="1"/>
          <p:nvPr/>
        </p:nvSpPr>
        <p:spPr>
          <a:xfrm>
            <a:off x="3" y="51415"/>
            <a:ext cx="2849058" cy="430887"/>
          </a:xfrm>
          <a:prstGeom prst="rect">
            <a:avLst/>
          </a:prstGeom>
        </p:spPr>
        <p:txBody>
          <a:bodyPr wrap="square">
            <a:spAutoFit/>
          </a:bodyPr>
          <a:lstStyle>
            <a:defPPr>
              <a:defRPr lang="en-US"/>
            </a:defPPr>
            <a:lvl1pPr defTabSz="914192">
              <a:defRPr sz="2800" b="1" spc="-100">
                <a:ln w="3175">
                  <a:noFill/>
                </a:ln>
                <a:solidFill>
                  <a:srgbClr val="F2C812"/>
                </a:solidFill>
                <a:latin typeface="Segoe UI" panose="020B0502040204020203" pitchFamily="34" charset="0"/>
                <a:ea typeface="ＭＳ Ｐゴシック" charset="0"/>
                <a:cs typeface="Segoe UI" panose="020B0502040204020203" pitchFamily="34" charset="0"/>
              </a:defRPr>
            </a:lvl1pPr>
          </a:lstStyle>
          <a:p>
            <a:pPr marL="0" marR="0" lvl="0" indent="0" algn="l" defTabSz="914192" rtl="0" eaLnBrk="1" fontAlgn="auto" latinLnBrk="0" hangingPunct="1">
              <a:lnSpc>
                <a:spcPct val="100000"/>
              </a:lnSpc>
              <a:spcBef>
                <a:spcPts val="0"/>
              </a:spcBef>
              <a:spcAft>
                <a:spcPts val="0"/>
              </a:spcAft>
              <a:buClrTx/>
              <a:buSzTx/>
              <a:buFontTx/>
              <a:buNone/>
              <a:tabLst/>
              <a:defRPr/>
            </a:pPr>
            <a:r>
              <a:rPr kumimoji="0" lang="en-US" sz="2200" b="1" i="0" u="none" strike="noStrike" kern="1200" cap="none" spc="-100" normalizeH="0" baseline="0" noProof="0">
                <a:ln w="3175">
                  <a:noFill/>
                </a:ln>
                <a:solidFill>
                  <a:srgbClr val="F2C812"/>
                </a:solidFill>
                <a:effectLst/>
                <a:uLnTx/>
                <a:uFillTx/>
                <a:latin typeface="Segoe UI Light"/>
                <a:ea typeface="ＭＳ Ｐゴシック" charset="0"/>
                <a:cs typeface="Segoe UI" panose="020B0502040204020203" pitchFamily="34" charset="0"/>
              </a:rPr>
              <a:t>Power BI Desktop</a:t>
            </a:r>
          </a:p>
        </p:txBody>
      </p:sp>
      <p:sp>
        <p:nvSpPr>
          <p:cNvPr id="36" name="Rectangle 3"/>
          <p:cNvSpPr/>
          <p:nvPr/>
        </p:nvSpPr>
        <p:spPr bwMode="auto">
          <a:xfrm>
            <a:off x="3202216" y="665151"/>
            <a:ext cx="8105312" cy="44435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PT" sz="2000" b="0" i="1" u="none" strike="noStrike" kern="1200" cap="none" spc="0" normalizeH="0" baseline="0" noProof="0">
                <a:ln>
                  <a:noFill/>
                </a:ln>
                <a:solidFill>
                  <a:prstClr val="black"/>
                </a:solidFill>
                <a:effectLst/>
                <a:uLnTx/>
                <a:uFillTx/>
                <a:latin typeface="Segoe UI Light"/>
                <a:ea typeface="+mn-ea"/>
                <a:cs typeface="+mn-cs"/>
              </a:rPr>
              <a:t>Quick Calcs</a:t>
            </a:r>
            <a:endParaRPr kumimoji="0" lang="en-US" sz="2000" b="0" i="1" u="none" strike="noStrike" kern="1200" cap="none" spc="0" normalizeH="0" baseline="0" noProof="0">
              <a:ln>
                <a:noFill/>
              </a:ln>
              <a:solidFill>
                <a:prstClr val="black"/>
              </a:solidFill>
              <a:effectLst/>
              <a:uLnTx/>
              <a:uFillTx/>
              <a:latin typeface="Segoe UI Light"/>
              <a:ea typeface="+mn-ea"/>
              <a:cs typeface="+mn-cs"/>
            </a:endParaRPr>
          </a:p>
        </p:txBody>
      </p:sp>
      <p:sp>
        <p:nvSpPr>
          <p:cNvPr id="35" name="Text Placeholder 2"/>
          <p:cNvSpPr txBox="1">
            <a:spLocks/>
          </p:cNvSpPr>
          <p:nvPr/>
        </p:nvSpPr>
        <p:spPr>
          <a:xfrm>
            <a:off x="2915396" y="1412203"/>
            <a:ext cx="9090381" cy="897374"/>
          </a:xfrm>
          <a:prstGeom prst="rect">
            <a:avLst/>
          </a:prstGeom>
        </p:spPr>
        <p:txBody>
          <a:bodyPr vert="horz" wrap="square" lIns="182880" tIns="146304" rIns="182880" bIns="146304" rtlCol="0">
            <a:noAutofit/>
          </a:bodyPr>
          <a:lstStyle>
            <a:lvl1pPr marL="182845" marR="0"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3921" kern="1200" spc="0" baseline="0">
                <a:gradFill>
                  <a:gsLst>
                    <a:gs pos="1250">
                      <a:schemeClr val="tx2"/>
                    </a:gs>
                    <a:gs pos="99000">
                      <a:schemeClr val="tx2"/>
                    </a:gs>
                  </a:gsLst>
                  <a:lin ang="5400000" scaled="0"/>
                </a:gradFill>
                <a:latin typeface="+mj-lt"/>
                <a:ea typeface="+mn-ea"/>
                <a:cs typeface="+mn-cs"/>
              </a:defRPr>
            </a:lvl1pPr>
            <a:lvl2pPr marL="365690" marR="0"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2400" kern="1200" spc="0" baseline="0">
                <a:solidFill>
                  <a:schemeClr val="tx2"/>
                </a:solidFill>
                <a:latin typeface="+mj-lt"/>
                <a:ea typeface="+mn-ea"/>
                <a:cs typeface="+mn-cs"/>
              </a:defRPr>
            </a:lvl2pPr>
            <a:lvl3pPr marL="548535" marR="0"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2000" kern="1200" spc="0" baseline="0">
                <a:solidFill>
                  <a:schemeClr val="tx2"/>
                </a:solidFill>
                <a:latin typeface="+mj-lt"/>
                <a:ea typeface="+mn-ea"/>
                <a:cs typeface="+mn-cs"/>
              </a:defRPr>
            </a:lvl3pPr>
            <a:lvl4pPr marL="733802" marR="0" indent="-28569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1765" kern="1200" spc="0" baseline="0">
                <a:solidFill>
                  <a:schemeClr val="tx2"/>
                </a:solidFill>
                <a:latin typeface="+mn-lt"/>
                <a:ea typeface="+mn-ea"/>
                <a:cs typeface="+mn-cs"/>
              </a:defRPr>
            </a:lvl4pPr>
            <a:lvl5pPr marL="957856" marR="0" indent="-28569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1765" kern="1200" spc="0" baseline="0">
                <a:solidFill>
                  <a:schemeClr val="tx2"/>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r>
              <a:rPr kumimoji="0" lang="en-US" sz="2400" b="1" i="0" u="none" strike="noStrike" kern="1200" cap="none" spc="0" normalizeH="0" baseline="0" noProof="0">
                <a:ln>
                  <a:noFill/>
                </a:ln>
                <a:solidFill>
                  <a:prstClr val="black"/>
                </a:solidFill>
                <a:effectLst/>
                <a:uLnTx/>
                <a:uFillTx/>
                <a:latin typeface="Segoe UI Light"/>
                <a:ea typeface="Calibri" panose="020F0502020204030204" pitchFamily="34" charset="0"/>
                <a:cs typeface="Times New Roman" panose="02020603050405020304" pitchFamily="18" charset="0"/>
              </a:rPr>
              <a:t>Out-of-the-box calculations </a:t>
            </a:r>
            <a:r>
              <a:rPr kumimoji="0" lang="en-US" sz="2400" b="0" i="0" u="none" strike="noStrike" kern="1200" cap="none" spc="0" normalizeH="0" baseline="0" noProof="0">
                <a:ln>
                  <a:noFill/>
                </a:ln>
                <a:solidFill>
                  <a:prstClr val="black"/>
                </a:solidFill>
                <a:effectLst/>
                <a:uLnTx/>
                <a:uFillTx/>
                <a:latin typeface="Segoe UI Light"/>
                <a:ea typeface="Calibri" panose="020F0502020204030204" pitchFamily="34" charset="0"/>
                <a:cs typeface="Times New Roman" panose="02020603050405020304" pitchFamily="18" charset="0"/>
              </a:rPr>
              <a:t>that can be applied without coding</a:t>
            </a: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400" b="0" i="0" u="none" strike="noStrike" kern="1200" cap="none" spc="0" normalizeH="0" baseline="0" noProof="0">
              <a:ln>
                <a:noFill/>
              </a:ln>
              <a:solidFill>
                <a:prstClr val="black"/>
              </a:solidFill>
              <a:effectLst/>
              <a:uLnTx/>
              <a:uFillTx/>
              <a:latin typeface="Segoe UI Light"/>
              <a:ea typeface="Calibri" panose="020F0502020204030204" pitchFamily="34" charset="0"/>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r>
              <a:rPr kumimoji="0" lang="en-US" sz="2400" b="0" i="0" u="none" strike="noStrike" kern="1200" cap="none" spc="0" normalizeH="0" baseline="0" noProof="0">
                <a:ln>
                  <a:noFill/>
                </a:ln>
                <a:solidFill>
                  <a:prstClr val="black"/>
                </a:solidFill>
                <a:effectLst/>
                <a:uLnTx/>
                <a:uFillTx/>
                <a:latin typeface="Segoe UI Light"/>
                <a:ea typeface="Calibri" panose="020F0502020204030204" pitchFamily="34" charset="0"/>
                <a:cs typeface="Times New Roman" panose="02020603050405020304" pitchFamily="18" charset="0"/>
              </a:rPr>
              <a:t>Accessible </a:t>
            </a:r>
            <a:r>
              <a:rPr kumimoji="0" lang="en-US" sz="2400" b="1" i="0" u="none" strike="noStrike" kern="1200" cap="none" spc="0" normalizeH="0" baseline="0" noProof="0">
                <a:ln>
                  <a:noFill/>
                </a:ln>
                <a:solidFill>
                  <a:prstClr val="black"/>
                </a:solidFill>
                <a:effectLst/>
                <a:uLnTx/>
                <a:uFillTx/>
                <a:latin typeface="Segoe UI Light"/>
                <a:ea typeface="Calibri" panose="020F0502020204030204" pitchFamily="34" charset="0"/>
                <a:cs typeface="Times New Roman" panose="02020603050405020304" pitchFamily="18" charset="0"/>
              </a:rPr>
              <a:t>via field well</a:t>
            </a:r>
            <a:r>
              <a:rPr kumimoji="0" lang="en-US" sz="2400" b="0" i="0" u="none" strike="noStrike" kern="1200" cap="none" spc="0" normalizeH="0" baseline="0" noProof="0">
                <a:ln>
                  <a:noFill/>
                </a:ln>
                <a:solidFill>
                  <a:prstClr val="black"/>
                </a:solidFill>
                <a:effectLst/>
                <a:uLnTx/>
                <a:uFillTx/>
                <a:latin typeface="Segoe UI Light"/>
                <a:ea typeface="Calibri" panose="020F0502020204030204" pitchFamily="34" charset="0"/>
                <a:cs typeface="Times New Roman" panose="02020603050405020304" pitchFamily="18" charset="0"/>
              </a:rPr>
              <a:t>, you can change how a measure is displayed</a:t>
            </a: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400" b="1" i="0" u="none" strike="noStrike" kern="1200" cap="none" spc="0" normalizeH="0" baseline="0" noProof="0">
              <a:ln>
                <a:noFill/>
              </a:ln>
              <a:solidFill>
                <a:prstClr val="black"/>
              </a:solidFill>
              <a:effectLst/>
              <a:uLnTx/>
              <a:uFillTx/>
              <a:latin typeface="Segoe UI Light"/>
              <a:ea typeface="Calibri" panose="020F0502020204030204" pitchFamily="34" charset="0"/>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400" b="1" i="0" u="none" strike="noStrike" kern="1200" cap="none" spc="0" normalizeH="0" baseline="0" noProof="0">
              <a:ln>
                <a:noFill/>
              </a:ln>
              <a:solidFill>
                <a:prstClr val="black"/>
              </a:solidFill>
              <a:effectLst/>
              <a:uLnTx/>
              <a:uFillTx/>
              <a:latin typeface="Segoe UI Light"/>
              <a:ea typeface="Calibri" panose="020F0502020204030204" pitchFamily="34" charset="0"/>
              <a:cs typeface="Times New Roman" panose="02020603050405020304" pitchFamily="18" charset="0"/>
            </a:endParaRPr>
          </a:p>
        </p:txBody>
      </p:sp>
      <p:pic>
        <p:nvPicPr>
          <p:cNvPr id="5" name="Picture 4"/>
          <p:cNvPicPr>
            <a:picLocks noChangeAspect="1"/>
          </p:cNvPicPr>
          <p:nvPr/>
        </p:nvPicPr>
        <p:blipFill>
          <a:blip r:embed="rId3"/>
          <a:stretch>
            <a:fillRect/>
          </a:stretch>
        </p:blipFill>
        <p:spPr>
          <a:xfrm>
            <a:off x="4019550" y="3498252"/>
            <a:ext cx="2933700" cy="2800350"/>
          </a:xfrm>
          <a:prstGeom prst="rect">
            <a:avLst/>
          </a:prstGeom>
          <a:ln>
            <a:noFill/>
          </a:ln>
          <a:effectLst>
            <a:outerShdw blurRad="190500" algn="tl" rotWithShape="0">
              <a:srgbClr val="000000">
                <a:alpha val="70000"/>
              </a:srgbClr>
            </a:outerShdw>
          </a:effectLst>
        </p:spPr>
      </p:pic>
      <p:sp>
        <p:nvSpPr>
          <p:cNvPr id="39" name="Rectangle 38"/>
          <p:cNvSpPr/>
          <p:nvPr/>
        </p:nvSpPr>
        <p:spPr bwMode="auto">
          <a:xfrm flipV="1">
            <a:off x="5386552" y="5773496"/>
            <a:ext cx="1446648" cy="185274"/>
          </a:xfrm>
          <a:prstGeom prst="rect">
            <a:avLst/>
          </a:prstGeom>
          <a:noFill/>
          <a:ln w="38100">
            <a:solidFill>
              <a:srgbClr val="FF00F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1" name="Rectangle 40"/>
          <p:cNvSpPr/>
          <p:nvPr/>
        </p:nvSpPr>
        <p:spPr bwMode="auto">
          <a:xfrm flipV="1">
            <a:off x="4094598" y="5325543"/>
            <a:ext cx="1134299" cy="195786"/>
          </a:xfrm>
          <a:prstGeom prst="rect">
            <a:avLst/>
          </a:prstGeom>
          <a:noFill/>
          <a:ln w="38100">
            <a:solidFill>
              <a:srgbClr val="FF00F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6" name="Picture 5"/>
          <p:cNvPicPr>
            <a:picLocks noChangeAspect="1"/>
          </p:cNvPicPr>
          <p:nvPr/>
        </p:nvPicPr>
        <p:blipFill>
          <a:blip r:embed="rId4"/>
          <a:stretch>
            <a:fillRect/>
          </a:stretch>
        </p:blipFill>
        <p:spPr>
          <a:xfrm>
            <a:off x="7930242" y="2939185"/>
            <a:ext cx="2205999" cy="3719770"/>
          </a:xfrm>
          <a:prstGeom prst="rect">
            <a:avLst/>
          </a:prstGeom>
          <a:ln>
            <a:noFill/>
          </a:ln>
          <a:effectLst>
            <a:outerShdw blurRad="190500" algn="tl" rotWithShape="0">
              <a:srgbClr val="000000">
                <a:alpha val="70000"/>
              </a:srgbClr>
            </a:outerShdw>
          </a:effectLst>
        </p:spPr>
      </p:pic>
    </p:spTree>
    <p:extLst>
      <p:ext uri="{BB962C8B-B14F-4D97-AF65-F5344CB8AC3E}">
        <p14:creationId xmlns:p14="http://schemas.microsoft.com/office/powerpoint/2010/main" val="11642210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9"/>
                                        </p:tgtEl>
                                        <p:attrNameLst>
                                          <p:attrName>style.visibility</p:attrName>
                                        </p:attrNameLst>
                                      </p:cBhvr>
                                      <p:to>
                                        <p:strVal val="visible"/>
                                      </p:to>
                                    </p:set>
                                    <p:animEffect transition="in" filter="fade">
                                      <p:cBhvr>
                                        <p:cTn id="7" dur="500"/>
                                        <p:tgtEl>
                                          <p:spTgt spid="39"/>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41"/>
                                        </p:tgtEl>
                                        <p:attrNameLst>
                                          <p:attrName>style.visibility</p:attrName>
                                        </p:attrNameLst>
                                      </p:cBhvr>
                                      <p:to>
                                        <p:strVal val="visible"/>
                                      </p:to>
                                    </p:set>
                                    <p:animEffect transition="in" filter="fade">
                                      <p:cBhvr>
                                        <p:cTn id="12" dur="500"/>
                                        <p:tgtEl>
                                          <p:spTgt spid="4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9" grpId="0" animBg="1"/>
      <p:bldP spid="41" grpId="0"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8" name="Flowchart: Process 187"/>
          <p:cNvSpPr/>
          <p:nvPr/>
        </p:nvSpPr>
        <p:spPr bwMode="auto">
          <a:xfrm>
            <a:off x="391417" y="893447"/>
            <a:ext cx="3457807" cy="4315180"/>
          </a:xfrm>
          <a:prstGeom prst="flowChartProcess">
            <a:avLst/>
          </a:prstGeom>
          <a:solidFill>
            <a:srgbClr val="EDC30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solidFill>
                <a:srgbClr val="000000"/>
              </a:solidFill>
              <a:ea typeface="Segoe UI" pitchFamily="34" charset="0"/>
              <a:cs typeface="Segoe UI" pitchFamily="34" charset="0"/>
            </a:endParaRPr>
          </a:p>
        </p:txBody>
      </p:sp>
      <p:sp>
        <p:nvSpPr>
          <p:cNvPr id="450" name="Rectangle 449"/>
          <p:cNvSpPr/>
          <p:nvPr/>
        </p:nvSpPr>
        <p:spPr bwMode="auto">
          <a:xfrm>
            <a:off x="391417" y="893447"/>
            <a:ext cx="11411700" cy="4315180"/>
          </a:xfrm>
          <a:prstGeom prst="rect">
            <a:avLst/>
          </a:prstGeom>
          <a:noFill/>
          <a:ln w="3175">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170" name="Title 10"/>
          <p:cNvSpPr txBox="1">
            <a:spLocks/>
          </p:cNvSpPr>
          <p:nvPr/>
        </p:nvSpPr>
        <p:spPr>
          <a:xfrm>
            <a:off x="159488" y="0"/>
            <a:ext cx="11865975" cy="665151"/>
          </a:xfrm>
          <a:prstGeom prst="rect">
            <a:avLst/>
          </a:prstGeom>
          <a:noFill/>
        </p:spPr>
        <p:txBody>
          <a:bodyPr vert="horz" wrap="square" lIns="0" tIns="91440" rIns="0" bIns="91440" rtlCol="0" anchor="t">
            <a:noAutofit/>
          </a:bodyPr>
          <a:lstStyle>
            <a:lvl1pPr defTabSz="914367">
              <a:lnSpc>
                <a:spcPct val="90000"/>
              </a:lnSpc>
              <a:spcBef>
                <a:spcPct val="0"/>
              </a:spcBef>
              <a:buNone/>
              <a:defRPr lang="en-US" sz="5294" b="0" cap="none" spc="-100" baseline="0" dirty="0" smtClean="0">
                <a:ln w="3175">
                  <a:noFill/>
                </a:ln>
                <a:solidFill>
                  <a:schemeClr val="tx2"/>
                </a:solidFill>
                <a:effectLst/>
                <a:latin typeface="+mj-lt"/>
                <a:cs typeface="Segoe UI" pitchFamily="34" charset="0"/>
              </a:defRPr>
            </a:lvl1pPr>
          </a:lstStyle>
          <a:p>
            <a:r>
              <a:rPr lang="en-IN" sz="3600">
                <a:solidFill>
                  <a:srgbClr val="000000"/>
                </a:solidFill>
              </a:rPr>
              <a:t>Power BI Overview</a:t>
            </a:r>
          </a:p>
        </p:txBody>
      </p:sp>
      <p:sp>
        <p:nvSpPr>
          <p:cNvPr id="144" name="Rectangle 143"/>
          <p:cNvSpPr/>
          <p:nvPr/>
        </p:nvSpPr>
        <p:spPr bwMode="auto">
          <a:xfrm>
            <a:off x="6707573" y="5689757"/>
            <a:ext cx="5101031" cy="945787"/>
          </a:xfrm>
          <a:prstGeom prst="rect">
            <a:avLst/>
          </a:prstGeom>
          <a:noFill/>
          <a:ln>
            <a:solidFill>
              <a:schemeClr val="tx1">
                <a:lumMod val="50000"/>
                <a:lumOff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marL="387501" defTabSz="932293" fontAlgn="base">
              <a:spcBef>
                <a:spcPct val="0"/>
              </a:spcBef>
              <a:spcAft>
                <a:spcPct val="0"/>
              </a:spcAft>
            </a:pPr>
            <a:endParaRPr lang="en-US" sz="2600">
              <a:solidFill>
                <a:srgbClr val="FFFFFF"/>
              </a:solidFill>
              <a:latin typeface="Segoe UI Light"/>
              <a:ea typeface="Segoe UI" pitchFamily="34" charset="0"/>
              <a:cs typeface="Segoe UI" pitchFamily="34" charset="0"/>
            </a:endParaRPr>
          </a:p>
        </p:txBody>
      </p:sp>
      <p:sp>
        <p:nvSpPr>
          <p:cNvPr id="145" name="Rectangle 144"/>
          <p:cNvSpPr/>
          <p:nvPr/>
        </p:nvSpPr>
        <p:spPr>
          <a:xfrm>
            <a:off x="7428667" y="5269863"/>
            <a:ext cx="2681209" cy="400110"/>
          </a:xfrm>
          <a:prstGeom prst="rect">
            <a:avLst/>
          </a:prstGeom>
        </p:spPr>
        <p:txBody>
          <a:bodyPr wrap="square">
            <a:spAutoFit/>
          </a:bodyPr>
          <a:lstStyle/>
          <a:p>
            <a:pPr algn="ctr" defTabSz="914367">
              <a:spcAft>
                <a:spcPts val="588"/>
              </a:spcAft>
            </a:pPr>
            <a:r>
              <a:rPr lang="en-US" sz="2000">
                <a:solidFill>
                  <a:srgbClr val="000000"/>
                </a:solidFill>
              </a:rPr>
              <a:t>Power BI Platform</a:t>
            </a:r>
          </a:p>
        </p:txBody>
      </p:sp>
      <p:sp>
        <p:nvSpPr>
          <p:cNvPr id="147" name="Rectangle 146"/>
          <p:cNvSpPr/>
          <p:nvPr/>
        </p:nvSpPr>
        <p:spPr>
          <a:xfrm>
            <a:off x="1189043" y="5257842"/>
            <a:ext cx="2291365" cy="400110"/>
          </a:xfrm>
          <a:prstGeom prst="rect">
            <a:avLst/>
          </a:prstGeom>
        </p:spPr>
        <p:txBody>
          <a:bodyPr wrap="square">
            <a:spAutoFit/>
          </a:bodyPr>
          <a:lstStyle/>
          <a:p>
            <a:pPr defTabSz="914367">
              <a:spcAft>
                <a:spcPts val="588"/>
              </a:spcAft>
            </a:pPr>
            <a:r>
              <a:rPr lang="en-US" sz="2000">
                <a:solidFill>
                  <a:srgbClr val="000000"/>
                </a:solidFill>
              </a:rPr>
              <a:t>Power BI Desktop</a:t>
            </a:r>
          </a:p>
        </p:txBody>
      </p:sp>
      <p:sp>
        <p:nvSpPr>
          <p:cNvPr id="192" name="Rectangle 19"/>
          <p:cNvSpPr/>
          <p:nvPr/>
        </p:nvSpPr>
        <p:spPr bwMode="auto">
          <a:xfrm>
            <a:off x="391418" y="4621648"/>
            <a:ext cx="6177980" cy="2011116"/>
          </a:xfrm>
          <a:custGeom>
            <a:avLst/>
            <a:gdLst>
              <a:gd name="connsiteX0" fmla="*/ 0 w 6755948"/>
              <a:gd name="connsiteY0" fmla="*/ 0 h 814436"/>
              <a:gd name="connsiteX1" fmla="*/ 6755948 w 6755948"/>
              <a:gd name="connsiteY1" fmla="*/ 0 h 814436"/>
              <a:gd name="connsiteX2" fmla="*/ 6755948 w 6755948"/>
              <a:gd name="connsiteY2" fmla="*/ 814436 h 814436"/>
              <a:gd name="connsiteX3" fmla="*/ 0 w 6755948"/>
              <a:gd name="connsiteY3" fmla="*/ 814436 h 814436"/>
              <a:gd name="connsiteX4" fmla="*/ 0 w 6755948"/>
              <a:gd name="connsiteY4" fmla="*/ 0 h 814436"/>
              <a:gd name="connsiteX0" fmla="*/ 0 w 6755948"/>
              <a:gd name="connsiteY0" fmla="*/ 0 h 814436"/>
              <a:gd name="connsiteX1" fmla="*/ 245420 w 6755948"/>
              <a:gd name="connsiteY1" fmla="*/ 620 h 814436"/>
              <a:gd name="connsiteX2" fmla="*/ 6755948 w 6755948"/>
              <a:gd name="connsiteY2" fmla="*/ 0 h 814436"/>
              <a:gd name="connsiteX3" fmla="*/ 6755948 w 6755948"/>
              <a:gd name="connsiteY3" fmla="*/ 814436 h 814436"/>
              <a:gd name="connsiteX4" fmla="*/ 0 w 6755948"/>
              <a:gd name="connsiteY4" fmla="*/ 814436 h 814436"/>
              <a:gd name="connsiteX5" fmla="*/ 0 w 6755948"/>
              <a:gd name="connsiteY5" fmla="*/ 0 h 814436"/>
              <a:gd name="connsiteX0" fmla="*/ 0 w 6755948"/>
              <a:gd name="connsiteY0" fmla="*/ 0 h 814436"/>
              <a:gd name="connsiteX1" fmla="*/ 245420 w 6755948"/>
              <a:gd name="connsiteY1" fmla="*/ 620 h 814436"/>
              <a:gd name="connsiteX2" fmla="*/ 528884 w 6755948"/>
              <a:gd name="connsiteY2" fmla="*/ 620 h 814436"/>
              <a:gd name="connsiteX3" fmla="*/ 6755948 w 6755948"/>
              <a:gd name="connsiteY3" fmla="*/ 0 h 814436"/>
              <a:gd name="connsiteX4" fmla="*/ 6755948 w 6755948"/>
              <a:gd name="connsiteY4" fmla="*/ 814436 h 814436"/>
              <a:gd name="connsiteX5" fmla="*/ 0 w 6755948"/>
              <a:gd name="connsiteY5" fmla="*/ 814436 h 814436"/>
              <a:gd name="connsiteX6" fmla="*/ 0 w 6755948"/>
              <a:gd name="connsiteY6" fmla="*/ 0 h 814436"/>
              <a:gd name="connsiteX0" fmla="*/ 0 w 6755948"/>
              <a:gd name="connsiteY0" fmla="*/ 0 h 814436"/>
              <a:gd name="connsiteX1" fmla="*/ 245420 w 6755948"/>
              <a:gd name="connsiteY1" fmla="*/ 620 h 814436"/>
              <a:gd name="connsiteX2" fmla="*/ 373436 w 6755948"/>
              <a:gd name="connsiteY2" fmla="*/ 620 h 814436"/>
              <a:gd name="connsiteX3" fmla="*/ 528884 w 6755948"/>
              <a:gd name="connsiteY3" fmla="*/ 620 h 814436"/>
              <a:gd name="connsiteX4" fmla="*/ 6755948 w 6755948"/>
              <a:gd name="connsiteY4" fmla="*/ 0 h 814436"/>
              <a:gd name="connsiteX5" fmla="*/ 6755948 w 6755948"/>
              <a:gd name="connsiteY5" fmla="*/ 814436 h 814436"/>
              <a:gd name="connsiteX6" fmla="*/ 0 w 6755948"/>
              <a:gd name="connsiteY6" fmla="*/ 814436 h 814436"/>
              <a:gd name="connsiteX7" fmla="*/ 0 w 6755948"/>
              <a:gd name="connsiteY7" fmla="*/ 0 h 814436"/>
              <a:gd name="connsiteX0" fmla="*/ 0 w 6755948"/>
              <a:gd name="connsiteY0" fmla="*/ 374284 h 1188720"/>
              <a:gd name="connsiteX1" fmla="*/ 245420 w 6755948"/>
              <a:gd name="connsiteY1" fmla="*/ 374904 h 1188720"/>
              <a:gd name="connsiteX2" fmla="*/ 382580 w 6755948"/>
              <a:gd name="connsiteY2" fmla="*/ 0 h 1188720"/>
              <a:gd name="connsiteX3" fmla="*/ 528884 w 6755948"/>
              <a:gd name="connsiteY3" fmla="*/ 374904 h 1188720"/>
              <a:gd name="connsiteX4" fmla="*/ 6755948 w 6755948"/>
              <a:gd name="connsiteY4" fmla="*/ 374284 h 1188720"/>
              <a:gd name="connsiteX5" fmla="*/ 6755948 w 6755948"/>
              <a:gd name="connsiteY5" fmla="*/ 1188720 h 1188720"/>
              <a:gd name="connsiteX6" fmla="*/ 0 w 6755948"/>
              <a:gd name="connsiteY6" fmla="*/ 1188720 h 1188720"/>
              <a:gd name="connsiteX7" fmla="*/ 0 w 6755948"/>
              <a:gd name="connsiteY7" fmla="*/ 374284 h 1188720"/>
              <a:gd name="connsiteX0" fmla="*/ 0 w 6755948"/>
              <a:gd name="connsiteY0" fmla="*/ 273117 h 1087553"/>
              <a:gd name="connsiteX1" fmla="*/ 245420 w 6755948"/>
              <a:gd name="connsiteY1" fmla="*/ 273737 h 1087553"/>
              <a:gd name="connsiteX2" fmla="*/ 388635 w 6755948"/>
              <a:gd name="connsiteY2" fmla="*/ 0 h 1087553"/>
              <a:gd name="connsiteX3" fmla="*/ 528884 w 6755948"/>
              <a:gd name="connsiteY3" fmla="*/ 273737 h 1087553"/>
              <a:gd name="connsiteX4" fmla="*/ 6755948 w 6755948"/>
              <a:gd name="connsiteY4" fmla="*/ 273117 h 1087553"/>
              <a:gd name="connsiteX5" fmla="*/ 6755948 w 6755948"/>
              <a:gd name="connsiteY5" fmla="*/ 1087553 h 1087553"/>
              <a:gd name="connsiteX6" fmla="*/ 0 w 6755948"/>
              <a:gd name="connsiteY6" fmla="*/ 1087553 h 1087553"/>
              <a:gd name="connsiteX7" fmla="*/ 0 w 6755948"/>
              <a:gd name="connsiteY7" fmla="*/ 273117 h 1087553"/>
              <a:gd name="connsiteX0" fmla="*/ 0 w 6755948"/>
              <a:gd name="connsiteY0" fmla="*/ 898462 h 1712898"/>
              <a:gd name="connsiteX1" fmla="*/ 245420 w 6755948"/>
              <a:gd name="connsiteY1" fmla="*/ 899082 h 1712898"/>
              <a:gd name="connsiteX2" fmla="*/ 376614 w 6755948"/>
              <a:gd name="connsiteY2" fmla="*/ 0 h 1712898"/>
              <a:gd name="connsiteX3" fmla="*/ 528884 w 6755948"/>
              <a:gd name="connsiteY3" fmla="*/ 899082 h 1712898"/>
              <a:gd name="connsiteX4" fmla="*/ 6755948 w 6755948"/>
              <a:gd name="connsiteY4" fmla="*/ 898462 h 1712898"/>
              <a:gd name="connsiteX5" fmla="*/ 6755948 w 6755948"/>
              <a:gd name="connsiteY5" fmla="*/ 1712898 h 1712898"/>
              <a:gd name="connsiteX6" fmla="*/ 0 w 6755948"/>
              <a:gd name="connsiteY6" fmla="*/ 1712898 h 1712898"/>
              <a:gd name="connsiteX7" fmla="*/ 0 w 6755948"/>
              <a:gd name="connsiteY7" fmla="*/ 898462 h 1712898"/>
              <a:gd name="connsiteX0" fmla="*/ 0 w 6755948"/>
              <a:gd name="connsiteY0" fmla="*/ 708625 h 1523061"/>
              <a:gd name="connsiteX1" fmla="*/ 245420 w 6755948"/>
              <a:gd name="connsiteY1" fmla="*/ 709245 h 1523061"/>
              <a:gd name="connsiteX2" fmla="*/ 388635 w 6755948"/>
              <a:gd name="connsiteY2" fmla="*/ 0 h 1523061"/>
              <a:gd name="connsiteX3" fmla="*/ 528884 w 6755948"/>
              <a:gd name="connsiteY3" fmla="*/ 709245 h 1523061"/>
              <a:gd name="connsiteX4" fmla="*/ 6755948 w 6755948"/>
              <a:gd name="connsiteY4" fmla="*/ 708625 h 1523061"/>
              <a:gd name="connsiteX5" fmla="*/ 6755948 w 6755948"/>
              <a:gd name="connsiteY5" fmla="*/ 1523061 h 1523061"/>
              <a:gd name="connsiteX6" fmla="*/ 0 w 6755948"/>
              <a:gd name="connsiteY6" fmla="*/ 1523061 h 1523061"/>
              <a:gd name="connsiteX7" fmla="*/ 0 w 6755948"/>
              <a:gd name="connsiteY7" fmla="*/ 708625 h 1523061"/>
              <a:gd name="connsiteX0" fmla="*/ 0 w 6755948"/>
              <a:gd name="connsiteY0" fmla="*/ 546905 h 1361341"/>
              <a:gd name="connsiteX1" fmla="*/ 245420 w 6755948"/>
              <a:gd name="connsiteY1" fmla="*/ 547525 h 1361341"/>
              <a:gd name="connsiteX2" fmla="*/ 388635 w 6755948"/>
              <a:gd name="connsiteY2" fmla="*/ 0 h 1361341"/>
              <a:gd name="connsiteX3" fmla="*/ 528884 w 6755948"/>
              <a:gd name="connsiteY3" fmla="*/ 547525 h 1361341"/>
              <a:gd name="connsiteX4" fmla="*/ 6755948 w 6755948"/>
              <a:gd name="connsiteY4" fmla="*/ 546905 h 1361341"/>
              <a:gd name="connsiteX5" fmla="*/ 6755948 w 6755948"/>
              <a:gd name="connsiteY5" fmla="*/ 1361341 h 1361341"/>
              <a:gd name="connsiteX6" fmla="*/ 0 w 6755948"/>
              <a:gd name="connsiteY6" fmla="*/ 1361341 h 1361341"/>
              <a:gd name="connsiteX7" fmla="*/ 0 w 6755948"/>
              <a:gd name="connsiteY7" fmla="*/ 546905 h 1361341"/>
              <a:gd name="connsiteX0" fmla="*/ 0 w 6755948"/>
              <a:gd name="connsiteY0" fmla="*/ 699731 h 1514167"/>
              <a:gd name="connsiteX1" fmla="*/ 245420 w 6755948"/>
              <a:gd name="connsiteY1" fmla="*/ 700351 h 1514167"/>
              <a:gd name="connsiteX2" fmla="*/ 398757 w 6755948"/>
              <a:gd name="connsiteY2" fmla="*/ 0 h 1514167"/>
              <a:gd name="connsiteX3" fmla="*/ 528884 w 6755948"/>
              <a:gd name="connsiteY3" fmla="*/ 700351 h 1514167"/>
              <a:gd name="connsiteX4" fmla="*/ 6755948 w 6755948"/>
              <a:gd name="connsiteY4" fmla="*/ 699731 h 1514167"/>
              <a:gd name="connsiteX5" fmla="*/ 6755948 w 6755948"/>
              <a:gd name="connsiteY5" fmla="*/ 1514167 h 1514167"/>
              <a:gd name="connsiteX6" fmla="*/ 0 w 6755948"/>
              <a:gd name="connsiteY6" fmla="*/ 1514167 h 1514167"/>
              <a:gd name="connsiteX7" fmla="*/ 0 w 6755948"/>
              <a:gd name="connsiteY7" fmla="*/ 699731 h 1514167"/>
              <a:gd name="connsiteX0" fmla="*/ 0 w 6755948"/>
              <a:gd name="connsiteY0" fmla="*/ 934203 h 1748639"/>
              <a:gd name="connsiteX1" fmla="*/ 245420 w 6755948"/>
              <a:gd name="connsiteY1" fmla="*/ 934823 h 1748639"/>
              <a:gd name="connsiteX2" fmla="*/ 398757 w 6755948"/>
              <a:gd name="connsiteY2" fmla="*/ 0 h 1748639"/>
              <a:gd name="connsiteX3" fmla="*/ 528884 w 6755948"/>
              <a:gd name="connsiteY3" fmla="*/ 934823 h 1748639"/>
              <a:gd name="connsiteX4" fmla="*/ 6755948 w 6755948"/>
              <a:gd name="connsiteY4" fmla="*/ 934203 h 1748639"/>
              <a:gd name="connsiteX5" fmla="*/ 6755948 w 6755948"/>
              <a:gd name="connsiteY5" fmla="*/ 1748639 h 1748639"/>
              <a:gd name="connsiteX6" fmla="*/ 0 w 6755948"/>
              <a:gd name="connsiteY6" fmla="*/ 1748639 h 1748639"/>
              <a:gd name="connsiteX7" fmla="*/ 0 w 6755948"/>
              <a:gd name="connsiteY7" fmla="*/ 934203 h 17486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755948" h="1748639">
                <a:moveTo>
                  <a:pt x="0" y="934203"/>
                </a:moveTo>
                <a:lnTo>
                  <a:pt x="245420" y="934823"/>
                </a:lnTo>
                <a:lnTo>
                  <a:pt x="398757" y="0"/>
                </a:lnTo>
                <a:lnTo>
                  <a:pt x="528884" y="934823"/>
                </a:lnTo>
                <a:lnTo>
                  <a:pt x="6755948" y="934203"/>
                </a:lnTo>
                <a:lnTo>
                  <a:pt x="6755948" y="1748639"/>
                </a:lnTo>
                <a:lnTo>
                  <a:pt x="0" y="1748639"/>
                </a:lnTo>
                <a:lnTo>
                  <a:pt x="0" y="934203"/>
                </a:lnTo>
                <a:close/>
              </a:path>
            </a:pathLst>
          </a:custGeom>
          <a:solidFill>
            <a:schemeClr val="bg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US" sz="2400" err="1">
              <a:solidFill>
                <a:srgbClr val="217346"/>
              </a:solidFill>
              <a:ea typeface="Segoe UI" pitchFamily="34" charset="0"/>
              <a:cs typeface="Segoe UI" pitchFamily="34" charset="0"/>
            </a:endParaRPr>
          </a:p>
        </p:txBody>
      </p:sp>
      <p:sp>
        <p:nvSpPr>
          <p:cNvPr id="149" name="Oval 950"/>
          <p:cNvSpPr>
            <a:spLocks noChangeAspect="1"/>
          </p:cNvSpPr>
          <p:nvPr/>
        </p:nvSpPr>
        <p:spPr>
          <a:xfrm>
            <a:off x="1671253" y="5747492"/>
            <a:ext cx="822960" cy="822954"/>
          </a:xfrm>
          <a:prstGeom prst="ellipse">
            <a:avLst/>
          </a:prstGeom>
          <a:solidFill>
            <a:schemeClr val="bg1"/>
          </a:solidFill>
          <a:ln w="9525" cap="flat" cmpd="sng" algn="ctr">
            <a:solidFill>
              <a:schemeClr val="tx1"/>
            </a:solidFill>
            <a:prstDash val="solid"/>
          </a:ln>
          <a:effectLst/>
        </p:spPr>
        <p:txBody>
          <a:bodyPr vert="horz" wrap="none" lIns="0" tIns="45720" rIns="0" bIns="0" rtlCol="0" anchor="t"/>
          <a:lstStyle/>
          <a:p>
            <a:pPr algn="ctr" defTabSz="932472" fontAlgn="base">
              <a:spcBef>
                <a:spcPct val="0"/>
              </a:spcBef>
              <a:spcAft>
                <a:spcPct val="0"/>
              </a:spcAft>
            </a:pPr>
            <a:r>
              <a:rPr lang="en-US" sz="1200">
                <a:solidFill>
                  <a:srgbClr val="000000"/>
                </a:solidFill>
                <a:ea typeface="Segoe UI" pitchFamily="34" charset="0"/>
                <a:cs typeface="Segoe UI" pitchFamily="34" charset="0"/>
              </a:rPr>
              <a:t>Prepare</a:t>
            </a:r>
          </a:p>
        </p:txBody>
      </p:sp>
      <p:sp>
        <p:nvSpPr>
          <p:cNvPr id="150" name="Oval 957"/>
          <p:cNvSpPr>
            <a:spLocks noChangeAspect="1"/>
          </p:cNvSpPr>
          <p:nvPr/>
        </p:nvSpPr>
        <p:spPr>
          <a:xfrm>
            <a:off x="2849022" y="5747490"/>
            <a:ext cx="822960" cy="822958"/>
          </a:xfrm>
          <a:prstGeom prst="ellipse">
            <a:avLst/>
          </a:prstGeom>
          <a:solidFill>
            <a:schemeClr val="bg1"/>
          </a:solidFill>
          <a:ln w="9525" cap="flat" cmpd="sng" algn="ctr">
            <a:solidFill>
              <a:schemeClr val="tx1"/>
            </a:solidFill>
            <a:prstDash val="solid"/>
          </a:ln>
          <a:effectLst/>
        </p:spPr>
        <p:txBody>
          <a:bodyPr vert="horz" wrap="none" lIns="0" tIns="45720" rIns="0" bIns="0" rtlCol="0" anchor="t"/>
          <a:lstStyle/>
          <a:p>
            <a:pPr algn="ctr" defTabSz="932472" fontAlgn="base">
              <a:spcBef>
                <a:spcPct val="0"/>
              </a:spcBef>
              <a:spcAft>
                <a:spcPct val="0"/>
              </a:spcAft>
            </a:pPr>
            <a:r>
              <a:rPr lang="en-US" sz="1200">
                <a:solidFill>
                  <a:srgbClr val="000000"/>
                </a:solidFill>
                <a:ea typeface="Segoe UI" pitchFamily="34" charset="0"/>
                <a:cs typeface="Segoe UI" pitchFamily="34" charset="0"/>
              </a:rPr>
              <a:t>Explore</a:t>
            </a:r>
          </a:p>
        </p:txBody>
      </p:sp>
      <p:sp>
        <p:nvSpPr>
          <p:cNvPr id="151" name="Isosceles Triangle 48"/>
          <p:cNvSpPr/>
          <p:nvPr/>
        </p:nvSpPr>
        <p:spPr bwMode="auto">
          <a:xfrm rot="16200000" flipV="1">
            <a:off x="4918635" y="6079541"/>
            <a:ext cx="218865" cy="109433"/>
          </a:xfrm>
          <a:prstGeom prst="triangle">
            <a:avLst/>
          </a:prstGeom>
          <a:solidFill>
            <a:schemeClr val="tx1"/>
          </a:solidFill>
          <a:ln w="3175" cap="flat" cmpd="sng" algn="ctr">
            <a:solidFill>
              <a:srgbClr val="217346"/>
            </a:solidFill>
            <a:prstDash val="solid"/>
          </a:ln>
          <a:effectLst/>
        </p:spPr>
        <p:txBody>
          <a:bodyPr vert="vert" wrap="none" lIns="0" tIns="45720" rIns="0" bIns="0" rtlCol="0" anchor="t"/>
          <a:lstStyle/>
          <a:p>
            <a:pPr defTabSz="932472" fontAlgn="base">
              <a:spcBef>
                <a:spcPct val="0"/>
              </a:spcBef>
              <a:spcAft>
                <a:spcPct val="0"/>
              </a:spcAft>
            </a:pPr>
            <a:endParaRPr lang="en-IN" sz="1400" err="1">
              <a:solidFill>
                <a:srgbClr val="31B42E"/>
              </a:solidFill>
              <a:ea typeface="Segoe UI" pitchFamily="34" charset="0"/>
              <a:cs typeface="Segoe UI" pitchFamily="34" charset="0"/>
            </a:endParaRPr>
          </a:p>
        </p:txBody>
      </p:sp>
      <p:sp>
        <p:nvSpPr>
          <p:cNvPr id="152" name="Oval 70"/>
          <p:cNvSpPr>
            <a:spLocks noChangeAspect="1"/>
          </p:cNvSpPr>
          <p:nvPr/>
        </p:nvSpPr>
        <p:spPr>
          <a:xfrm>
            <a:off x="5204559" y="5747490"/>
            <a:ext cx="822960" cy="822958"/>
          </a:xfrm>
          <a:prstGeom prst="ellipse">
            <a:avLst/>
          </a:prstGeom>
          <a:solidFill>
            <a:schemeClr val="bg1"/>
          </a:solidFill>
          <a:ln w="9525" cap="flat" cmpd="sng" algn="ctr">
            <a:solidFill>
              <a:schemeClr val="tx1"/>
            </a:solidFill>
            <a:prstDash val="solid"/>
          </a:ln>
          <a:effectLst/>
        </p:spPr>
        <p:txBody>
          <a:bodyPr vert="horz" wrap="none" lIns="0" tIns="45720" rIns="0" bIns="0" rtlCol="0" anchor="t"/>
          <a:lstStyle/>
          <a:p>
            <a:pPr algn="ctr" defTabSz="932472" fontAlgn="base">
              <a:spcBef>
                <a:spcPct val="0"/>
              </a:spcBef>
              <a:spcAft>
                <a:spcPct val="0"/>
              </a:spcAft>
            </a:pPr>
            <a:r>
              <a:rPr lang="en-US" sz="1200">
                <a:solidFill>
                  <a:srgbClr val="000000"/>
                </a:solidFill>
                <a:ea typeface="Segoe UI" pitchFamily="34" charset="0"/>
                <a:cs typeface="Segoe UI" pitchFamily="34" charset="0"/>
              </a:rPr>
              <a:t>Share</a:t>
            </a:r>
          </a:p>
        </p:txBody>
      </p:sp>
      <p:sp>
        <p:nvSpPr>
          <p:cNvPr id="153" name="Oval 47"/>
          <p:cNvSpPr>
            <a:spLocks noChangeAspect="1"/>
          </p:cNvSpPr>
          <p:nvPr/>
        </p:nvSpPr>
        <p:spPr>
          <a:xfrm>
            <a:off x="4026791" y="5747490"/>
            <a:ext cx="822960" cy="822958"/>
          </a:xfrm>
          <a:prstGeom prst="ellipse">
            <a:avLst/>
          </a:prstGeom>
          <a:solidFill>
            <a:schemeClr val="bg1"/>
          </a:solidFill>
          <a:ln w="9525" cap="flat" cmpd="sng" algn="ctr">
            <a:solidFill>
              <a:schemeClr val="tx1"/>
            </a:solidFill>
            <a:prstDash val="solid"/>
          </a:ln>
          <a:effectLst/>
        </p:spPr>
        <p:txBody>
          <a:bodyPr vert="horz" wrap="none" lIns="0" tIns="45720" rIns="0" bIns="0" rtlCol="0" anchor="t"/>
          <a:lstStyle/>
          <a:p>
            <a:pPr algn="ctr" defTabSz="932472" fontAlgn="base">
              <a:spcBef>
                <a:spcPct val="0"/>
              </a:spcBef>
              <a:spcAft>
                <a:spcPct val="0"/>
              </a:spcAft>
            </a:pPr>
            <a:r>
              <a:rPr lang="en-US" sz="1200">
                <a:solidFill>
                  <a:srgbClr val="000000"/>
                </a:solidFill>
                <a:ea typeface="Segoe UI" pitchFamily="34" charset="0"/>
                <a:cs typeface="Segoe UI" pitchFamily="34" charset="0"/>
              </a:rPr>
              <a:t>Report</a:t>
            </a:r>
          </a:p>
        </p:txBody>
      </p:sp>
      <p:sp>
        <p:nvSpPr>
          <p:cNvPr id="154" name="Isosceles Triangle 48"/>
          <p:cNvSpPr/>
          <p:nvPr/>
        </p:nvSpPr>
        <p:spPr bwMode="auto">
          <a:xfrm rot="16200000" flipV="1">
            <a:off x="3730878" y="6079532"/>
            <a:ext cx="218865" cy="109433"/>
          </a:xfrm>
          <a:prstGeom prst="triangle">
            <a:avLst/>
          </a:prstGeom>
          <a:solidFill>
            <a:schemeClr val="tx1"/>
          </a:solidFill>
          <a:ln w="3175" cap="flat" cmpd="sng" algn="ctr">
            <a:solidFill>
              <a:srgbClr val="217346"/>
            </a:solidFill>
            <a:prstDash val="solid"/>
          </a:ln>
          <a:effectLst/>
        </p:spPr>
        <p:txBody>
          <a:bodyPr vert="vert" wrap="none" lIns="0" tIns="45720" rIns="0" bIns="0" rtlCol="0" anchor="t"/>
          <a:lstStyle/>
          <a:p>
            <a:pPr defTabSz="932472" fontAlgn="base">
              <a:spcBef>
                <a:spcPct val="0"/>
              </a:spcBef>
              <a:spcAft>
                <a:spcPct val="0"/>
              </a:spcAft>
            </a:pPr>
            <a:endParaRPr lang="en-IN" sz="1400" err="1">
              <a:solidFill>
                <a:srgbClr val="31B42E"/>
              </a:solidFill>
              <a:ea typeface="Segoe UI" pitchFamily="34" charset="0"/>
              <a:cs typeface="Segoe UI" pitchFamily="34" charset="0"/>
            </a:endParaRPr>
          </a:p>
        </p:txBody>
      </p:sp>
      <p:sp>
        <p:nvSpPr>
          <p:cNvPr id="155" name="Isosceles Triangle 48"/>
          <p:cNvSpPr/>
          <p:nvPr/>
        </p:nvSpPr>
        <p:spPr bwMode="auto">
          <a:xfrm rot="16200000" flipV="1">
            <a:off x="2546698" y="6079540"/>
            <a:ext cx="218865" cy="109433"/>
          </a:xfrm>
          <a:prstGeom prst="triangle">
            <a:avLst/>
          </a:prstGeom>
          <a:solidFill>
            <a:schemeClr val="tx1"/>
          </a:solidFill>
          <a:ln w="3175" cap="flat" cmpd="sng" algn="ctr">
            <a:solidFill>
              <a:srgbClr val="217346"/>
            </a:solidFill>
            <a:prstDash val="solid"/>
          </a:ln>
          <a:effectLst/>
        </p:spPr>
        <p:txBody>
          <a:bodyPr vert="vert" wrap="none" lIns="0" tIns="45720" rIns="0" bIns="0" rtlCol="0" anchor="t"/>
          <a:lstStyle/>
          <a:p>
            <a:pPr defTabSz="932472" fontAlgn="base">
              <a:spcBef>
                <a:spcPct val="0"/>
              </a:spcBef>
              <a:spcAft>
                <a:spcPct val="0"/>
              </a:spcAft>
            </a:pPr>
            <a:endParaRPr lang="en-IN" sz="1400" err="1">
              <a:solidFill>
                <a:srgbClr val="31B42E"/>
              </a:solidFill>
              <a:ea typeface="Segoe UI" pitchFamily="34" charset="0"/>
              <a:cs typeface="Segoe UI" pitchFamily="34" charset="0"/>
            </a:endParaRPr>
          </a:p>
        </p:txBody>
      </p:sp>
      <p:sp>
        <p:nvSpPr>
          <p:cNvPr id="156" name="Freeform 155"/>
          <p:cNvSpPr>
            <a:spLocks noChangeAspect="1" noEditPoints="1"/>
          </p:cNvSpPr>
          <p:nvPr/>
        </p:nvSpPr>
        <p:spPr bwMode="black">
          <a:xfrm>
            <a:off x="1879268" y="6132421"/>
            <a:ext cx="365760" cy="296570"/>
          </a:xfrm>
          <a:custGeom>
            <a:avLst/>
            <a:gdLst>
              <a:gd name="T0" fmla="*/ 600 w 1107"/>
              <a:gd name="T1" fmla="*/ 625 h 897"/>
              <a:gd name="T2" fmla="*/ 649 w 1107"/>
              <a:gd name="T3" fmla="*/ 567 h 897"/>
              <a:gd name="T4" fmla="*/ 727 w 1107"/>
              <a:gd name="T5" fmla="*/ 482 h 897"/>
              <a:gd name="T6" fmla="*/ 601 w 1107"/>
              <a:gd name="T7" fmla="*/ 434 h 897"/>
              <a:gd name="T8" fmla="*/ 628 w 1107"/>
              <a:gd name="T9" fmla="*/ 305 h 897"/>
              <a:gd name="T10" fmla="*/ 547 w 1107"/>
              <a:gd name="T11" fmla="*/ 240 h 897"/>
              <a:gd name="T12" fmla="*/ 427 w 1107"/>
              <a:gd name="T13" fmla="*/ 287 h 897"/>
              <a:gd name="T14" fmla="*/ 368 w 1107"/>
              <a:gd name="T15" fmla="*/ 170 h 897"/>
              <a:gd name="T16" fmla="*/ 285 w 1107"/>
              <a:gd name="T17" fmla="*/ 263 h 897"/>
              <a:gd name="T18" fmla="*/ 241 w 1107"/>
              <a:gd name="T19" fmla="*/ 313 h 897"/>
              <a:gd name="T20" fmla="*/ 139 w 1107"/>
              <a:gd name="T21" fmla="*/ 281 h 897"/>
              <a:gd name="T22" fmla="*/ 79 w 1107"/>
              <a:gd name="T23" fmla="*/ 355 h 897"/>
              <a:gd name="T24" fmla="*/ 132 w 1107"/>
              <a:gd name="T25" fmla="*/ 446 h 897"/>
              <a:gd name="T26" fmla="*/ 83 w 1107"/>
              <a:gd name="T27" fmla="*/ 505 h 897"/>
              <a:gd name="T28" fmla="*/ 5 w 1107"/>
              <a:gd name="T29" fmla="*/ 590 h 897"/>
              <a:gd name="T30" fmla="*/ 132 w 1107"/>
              <a:gd name="T31" fmla="*/ 638 h 897"/>
              <a:gd name="T32" fmla="*/ 145 w 1107"/>
              <a:gd name="T33" fmla="*/ 669 h 897"/>
              <a:gd name="T34" fmla="*/ 110 w 1107"/>
              <a:gd name="T35" fmla="*/ 793 h 897"/>
              <a:gd name="T36" fmla="*/ 230 w 1107"/>
              <a:gd name="T37" fmla="*/ 781 h 897"/>
              <a:gd name="T38" fmla="*/ 306 w 1107"/>
              <a:gd name="T39" fmla="*/ 785 h 897"/>
              <a:gd name="T40" fmla="*/ 346 w 1107"/>
              <a:gd name="T41" fmla="*/ 878 h 897"/>
              <a:gd name="T42" fmla="*/ 440 w 1107"/>
              <a:gd name="T43" fmla="*/ 872 h 897"/>
              <a:gd name="T44" fmla="*/ 466 w 1107"/>
              <a:gd name="T45" fmla="*/ 764 h 897"/>
              <a:gd name="T46" fmla="*/ 539 w 1107"/>
              <a:gd name="T47" fmla="*/ 755 h 897"/>
              <a:gd name="T48" fmla="*/ 659 w 1107"/>
              <a:gd name="T49" fmla="*/ 743 h 897"/>
              <a:gd name="T50" fmla="*/ 263 w 1107"/>
              <a:gd name="T51" fmla="*/ 452 h 897"/>
              <a:gd name="T52" fmla="*/ 281 w 1107"/>
              <a:gd name="T53" fmla="*/ 633 h 897"/>
              <a:gd name="T54" fmla="*/ 1002 w 1107"/>
              <a:gd name="T55" fmla="*/ 332 h 897"/>
              <a:gd name="T56" fmla="*/ 1043 w 1107"/>
              <a:gd name="T57" fmla="*/ 304 h 897"/>
              <a:gd name="T58" fmla="*/ 1107 w 1107"/>
              <a:gd name="T59" fmla="*/ 266 h 897"/>
              <a:gd name="T60" fmla="*/ 1037 w 1107"/>
              <a:gd name="T61" fmla="*/ 213 h 897"/>
              <a:gd name="T62" fmla="*/ 1077 w 1107"/>
              <a:gd name="T63" fmla="*/ 138 h 897"/>
              <a:gd name="T64" fmla="*/ 1038 w 1107"/>
              <a:gd name="T65" fmla="*/ 83 h 897"/>
              <a:gd name="T66" fmla="*/ 956 w 1107"/>
              <a:gd name="T67" fmla="*/ 91 h 897"/>
              <a:gd name="T68" fmla="*/ 940 w 1107"/>
              <a:gd name="T69" fmla="*/ 7 h 897"/>
              <a:gd name="T70" fmla="*/ 872 w 1107"/>
              <a:gd name="T71" fmla="*/ 50 h 897"/>
              <a:gd name="T72" fmla="*/ 836 w 1107"/>
              <a:gd name="T73" fmla="*/ 74 h 897"/>
              <a:gd name="T74" fmla="*/ 778 w 1107"/>
              <a:gd name="T75" fmla="*/ 35 h 897"/>
              <a:gd name="T76" fmla="*/ 728 w 1107"/>
              <a:gd name="T77" fmla="*/ 70 h 897"/>
              <a:gd name="T78" fmla="*/ 744 w 1107"/>
              <a:gd name="T79" fmla="*/ 136 h 897"/>
              <a:gd name="T80" fmla="*/ 703 w 1107"/>
              <a:gd name="T81" fmla="*/ 164 h 897"/>
              <a:gd name="T82" fmla="*/ 640 w 1107"/>
              <a:gd name="T83" fmla="*/ 203 h 897"/>
              <a:gd name="T84" fmla="*/ 710 w 1107"/>
              <a:gd name="T85" fmla="*/ 255 h 897"/>
              <a:gd name="T86" fmla="*/ 712 w 1107"/>
              <a:gd name="T87" fmla="*/ 277 h 897"/>
              <a:gd name="T88" fmla="*/ 668 w 1107"/>
              <a:gd name="T89" fmla="*/ 347 h 897"/>
              <a:gd name="T90" fmla="*/ 745 w 1107"/>
              <a:gd name="T91" fmla="*/ 361 h 897"/>
              <a:gd name="T92" fmla="*/ 791 w 1107"/>
              <a:gd name="T93" fmla="*/ 377 h 897"/>
              <a:gd name="T94" fmla="*/ 799 w 1107"/>
              <a:gd name="T95" fmla="*/ 443 h 897"/>
              <a:gd name="T96" fmla="*/ 859 w 1107"/>
              <a:gd name="T97" fmla="*/ 456 h 897"/>
              <a:gd name="T98" fmla="*/ 894 w 1107"/>
              <a:gd name="T99" fmla="*/ 393 h 897"/>
              <a:gd name="T100" fmla="*/ 941 w 1107"/>
              <a:gd name="T101" fmla="*/ 401 h 897"/>
              <a:gd name="T102" fmla="*/ 1018 w 1107"/>
              <a:gd name="T103" fmla="*/ 415 h 897"/>
              <a:gd name="T104" fmla="*/ 825 w 1107"/>
              <a:gd name="T105" fmla="*/ 164 h 897"/>
              <a:gd name="T106" fmla="*/ 803 w 1107"/>
              <a:gd name="T107" fmla="*/ 279 h 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107" h="897">
                <a:moveTo>
                  <a:pt x="654" y="716"/>
                </a:moveTo>
                <a:cubicBezTo>
                  <a:pt x="616" y="670"/>
                  <a:pt x="616" y="670"/>
                  <a:pt x="616" y="670"/>
                </a:cubicBezTo>
                <a:cubicBezTo>
                  <a:pt x="593" y="654"/>
                  <a:pt x="603" y="638"/>
                  <a:pt x="600" y="625"/>
                </a:cubicBezTo>
                <a:cubicBezTo>
                  <a:pt x="600" y="625"/>
                  <a:pt x="600" y="625"/>
                  <a:pt x="600" y="625"/>
                </a:cubicBezTo>
                <a:cubicBezTo>
                  <a:pt x="605" y="617"/>
                  <a:pt x="611" y="609"/>
                  <a:pt x="608" y="596"/>
                </a:cubicBezTo>
                <a:cubicBezTo>
                  <a:pt x="618" y="580"/>
                  <a:pt x="623" y="572"/>
                  <a:pt x="649" y="567"/>
                </a:cubicBezTo>
                <a:cubicBezTo>
                  <a:pt x="715" y="553"/>
                  <a:pt x="715" y="553"/>
                  <a:pt x="715" y="553"/>
                </a:cubicBezTo>
                <a:cubicBezTo>
                  <a:pt x="728" y="550"/>
                  <a:pt x="733" y="542"/>
                  <a:pt x="730" y="529"/>
                </a:cubicBezTo>
                <a:cubicBezTo>
                  <a:pt x="727" y="482"/>
                  <a:pt x="727" y="482"/>
                  <a:pt x="727" y="482"/>
                </a:cubicBezTo>
                <a:cubicBezTo>
                  <a:pt x="724" y="469"/>
                  <a:pt x="717" y="463"/>
                  <a:pt x="701" y="453"/>
                </a:cubicBezTo>
                <a:cubicBezTo>
                  <a:pt x="641" y="459"/>
                  <a:pt x="641" y="459"/>
                  <a:pt x="641" y="459"/>
                </a:cubicBezTo>
                <a:cubicBezTo>
                  <a:pt x="620" y="457"/>
                  <a:pt x="604" y="447"/>
                  <a:pt x="601" y="434"/>
                </a:cubicBezTo>
                <a:cubicBezTo>
                  <a:pt x="598" y="421"/>
                  <a:pt x="590" y="416"/>
                  <a:pt x="580" y="397"/>
                </a:cubicBezTo>
                <a:cubicBezTo>
                  <a:pt x="577" y="384"/>
                  <a:pt x="574" y="371"/>
                  <a:pt x="584" y="355"/>
                </a:cubicBezTo>
                <a:cubicBezTo>
                  <a:pt x="628" y="305"/>
                  <a:pt x="628" y="305"/>
                  <a:pt x="628" y="305"/>
                </a:cubicBezTo>
                <a:cubicBezTo>
                  <a:pt x="634" y="297"/>
                  <a:pt x="631" y="284"/>
                  <a:pt x="623" y="279"/>
                </a:cubicBezTo>
                <a:cubicBezTo>
                  <a:pt x="581" y="240"/>
                  <a:pt x="581" y="240"/>
                  <a:pt x="581" y="240"/>
                </a:cubicBezTo>
                <a:cubicBezTo>
                  <a:pt x="573" y="235"/>
                  <a:pt x="560" y="238"/>
                  <a:pt x="547" y="240"/>
                </a:cubicBezTo>
                <a:cubicBezTo>
                  <a:pt x="503" y="291"/>
                  <a:pt x="503" y="291"/>
                  <a:pt x="503" y="291"/>
                </a:cubicBezTo>
                <a:cubicBezTo>
                  <a:pt x="484" y="302"/>
                  <a:pt x="471" y="304"/>
                  <a:pt x="463" y="299"/>
                </a:cubicBezTo>
                <a:cubicBezTo>
                  <a:pt x="456" y="294"/>
                  <a:pt x="435" y="292"/>
                  <a:pt x="427" y="287"/>
                </a:cubicBezTo>
                <a:cubicBezTo>
                  <a:pt x="419" y="282"/>
                  <a:pt x="403" y="271"/>
                  <a:pt x="400" y="258"/>
                </a:cubicBezTo>
                <a:cubicBezTo>
                  <a:pt x="386" y="193"/>
                  <a:pt x="386" y="193"/>
                  <a:pt x="386" y="193"/>
                </a:cubicBezTo>
                <a:cubicBezTo>
                  <a:pt x="384" y="180"/>
                  <a:pt x="368" y="170"/>
                  <a:pt x="368" y="170"/>
                </a:cubicBezTo>
                <a:cubicBezTo>
                  <a:pt x="308" y="176"/>
                  <a:pt x="308" y="176"/>
                  <a:pt x="308" y="176"/>
                </a:cubicBezTo>
                <a:cubicBezTo>
                  <a:pt x="308" y="176"/>
                  <a:pt x="289" y="187"/>
                  <a:pt x="292" y="200"/>
                </a:cubicBezTo>
                <a:cubicBezTo>
                  <a:pt x="285" y="263"/>
                  <a:pt x="285" y="263"/>
                  <a:pt x="285" y="263"/>
                </a:cubicBezTo>
                <a:cubicBezTo>
                  <a:pt x="291" y="289"/>
                  <a:pt x="277" y="292"/>
                  <a:pt x="272" y="300"/>
                </a:cubicBezTo>
                <a:cubicBezTo>
                  <a:pt x="272" y="300"/>
                  <a:pt x="272" y="300"/>
                  <a:pt x="267" y="308"/>
                </a:cubicBezTo>
                <a:cubicBezTo>
                  <a:pt x="259" y="302"/>
                  <a:pt x="246" y="305"/>
                  <a:pt x="241" y="313"/>
                </a:cubicBezTo>
                <a:cubicBezTo>
                  <a:pt x="236" y="321"/>
                  <a:pt x="236" y="321"/>
                  <a:pt x="236" y="321"/>
                </a:cubicBezTo>
                <a:cubicBezTo>
                  <a:pt x="223" y="324"/>
                  <a:pt x="210" y="327"/>
                  <a:pt x="194" y="317"/>
                </a:cubicBezTo>
                <a:cubicBezTo>
                  <a:pt x="139" y="281"/>
                  <a:pt x="139" y="281"/>
                  <a:pt x="139" y="281"/>
                </a:cubicBezTo>
                <a:cubicBezTo>
                  <a:pt x="131" y="276"/>
                  <a:pt x="110" y="273"/>
                  <a:pt x="104" y="281"/>
                </a:cubicBezTo>
                <a:cubicBezTo>
                  <a:pt x="79" y="321"/>
                  <a:pt x="79" y="321"/>
                  <a:pt x="79" y="321"/>
                </a:cubicBezTo>
                <a:cubicBezTo>
                  <a:pt x="66" y="324"/>
                  <a:pt x="68" y="337"/>
                  <a:pt x="79" y="355"/>
                </a:cubicBezTo>
                <a:cubicBezTo>
                  <a:pt x="121" y="394"/>
                  <a:pt x="121" y="394"/>
                  <a:pt x="121" y="394"/>
                </a:cubicBezTo>
                <a:cubicBezTo>
                  <a:pt x="140" y="417"/>
                  <a:pt x="135" y="425"/>
                  <a:pt x="132" y="446"/>
                </a:cubicBezTo>
                <a:cubicBezTo>
                  <a:pt x="132" y="446"/>
                  <a:pt x="132" y="446"/>
                  <a:pt x="132" y="446"/>
                </a:cubicBezTo>
                <a:cubicBezTo>
                  <a:pt x="127" y="454"/>
                  <a:pt x="122" y="462"/>
                  <a:pt x="117" y="470"/>
                </a:cubicBezTo>
                <a:cubicBezTo>
                  <a:pt x="117" y="470"/>
                  <a:pt x="117" y="470"/>
                  <a:pt x="117" y="470"/>
                </a:cubicBezTo>
                <a:cubicBezTo>
                  <a:pt x="120" y="483"/>
                  <a:pt x="109" y="499"/>
                  <a:pt x="83" y="505"/>
                </a:cubicBezTo>
                <a:cubicBezTo>
                  <a:pt x="23" y="511"/>
                  <a:pt x="23" y="511"/>
                  <a:pt x="23" y="511"/>
                </a:cubicBezTo>
                <a:cubicBezTo>
                  <a:pt x="10" y="514"/>
                  <a:pt x="0" y="529"/>
                  <a:pt x="2" y="543"/>
                </a:cubicBezTo>
                <a:cubicBezTo>
                  <a:pt x="5" y="590"/>
                  <a:pt x="5" y="590"/>
                  <a:pt x="5" y="590"/>
                </a:cubicBezTo>
                <a:cubicBezTo>
                  <a:pt x="8" y="603"/>
                  <a:pt x="16" y="608"/>
                  <a:pt x="37" y="610"/>
                </a:cubicBezTo>
                <a:cubicBezTo>
                  <a:pt x="92" y="612"/>
                  <a:pt x="92" y="612"/>
                  <a:pt x="92" y="612"/>
                </a:cubicBezTo>
                <a:cubicBezTo>
                  <a:pt x="113" y="614"/>
                  <a:pt x="129" y="625"/>
                  <a:pt x="132" y="638"/>
                </a:cubicBezTo>
                <a:cubicBezTo>
                  <a:pt x="132" y="638"/>
                  <a:pt x="132" y="638"/>
                  <a:pt x="132" y="638"/>
                </a:cubicBezTo>
                <a:cubicBezTo>
                  <a:pt x="140" y="643"/>
                  <a:pt x="142" y="656"/>
                  <a:pt x="150" y="661"/>
                </a:cubicBezTo>
                <a:cubicBezTo>
                  <a:pt x="145" y="669"/>
                  <a:pt x="145" y="669"/>
                  <a:pt x="145" y="669"/>
                </a:cubicBezTo>
                <a:cubicBezTo>
                  <a:pt x="153" y="674"/>
                  <a:pt x="156" y="687"/>
                  <a:pt x="140" y="711"/>
                </a:cubicBezTo>
                <a:cubicBezTo>
                  <a:pt x="109" y="759"/>
                  <a:pt x="109" y="759"/>
                  <a:pt x="109" y="759"/>
                </a:cubicBezTo>
                <a:cubicBezTo>
                  <a:pt x="99" y="775"/>
                  <a:pt x="102" y="788"/>
                  <a:pt x="110" y="793"/>
                </a:cubicBezTo>
                <a:cubicBezTo>
                  <a:pt x="152" y="832"/>
                  <a:pt x="152" y="832"/>
                  <a:pt x="152" y="832"/>
                </a:cubicBezTo>
                <a:cubicBezTo>
                  <a:pt x="160" y="837"/>
                  <a:pt x="173" y="834"/>
                  <a:pt x="178" y="826"/>
                </a:cubicBezTo>
                <a:cubicBezTo>
                  <a:pt x="230" y="781"/>
                  <a:pt x="230" y="781"/>
                  <a:pt x="230" y="781"/>
                </a:cubicBezTo>
                <a:cubicBezTo>
                  <a:pt x="248" y="770"/>
                  <a:pt x="261" y="767"/>
                  <a:pt x="269" y="772"/>
                </a:cubicBezTo>
                <a:cubicBezTo>
                  <a:pt x="269" y="772"/>
                  <a:pt x="269" y="772"/>
                  <a:pt x="269" y="772"/>
                </a:cubicBezTo>
                <a:cubicBezTo>
                  <a:pt x="282" y="769"/>
                  <a:pt x="298" y="779"/>
                  <a:pt x="306" y="785"/>
                </a:cubicBezTo>
                <a:cubicBezTo>
                  <a:pt x="306" y="785"/>
                  <a:pt x="306" y="785"/>
                  <a:pt x="306" y="785"/>
                </a:cubicBezTo>
                <a:cubicBezTo>
                  <a:pt x="319" y="782"/>
                  <a:pt x="327" y="787"/>
                  <a:pt x="332" y="813"/>
                </a:cubicBezTo>
                <a:cubicBezTo>
                  <a:pt x="346" y="878"/>
                  <a:pt x="346" y="878"/>
                  <a:pt x="346" y="878"/>
                </a:cubicBezTo>
                <a:cubicBezTo>
                  <a:pt x="349" y="892"/>
                  <a:pt x="357" y="897"/>
                  <a:pt x="370" y="894"/>
                </a:cubicBezTo>
                <a:cubicBezTo>
                  <a:pt x="425" y="896"/>
                  <a:pt x="425" y="896"/>
                  <a:pt x="425" y="896"/>
                </a:cubicBezTo>
                <a:cubicBezTo>
                  <a:pt x="430" y="888"/>
                  <a:pt x="443" y="885"/>
                  <a:pt x="440" y="872"/>
                </a:cubicBezTo>
                <a:cubicBezTo>
                  <a:pt x="440" y="804"/>
                  <a:pt x="440" y="804"/>
                  <a:pt x="440" y="804"/>
                </a:cubicBezTo>
                <a:cubicBezTo>
                  <a:pt x="442" y="783"/>
                  <a:pt x="460" y="772"/>
                  <a:pt x="466" y="764"/>
                </a:cubicBezTo>
                <a:cubicBezTo>
                  <a:pt x="466" y="764"/>
                  <a:pt x="466" y="764"/>
                  <a:pt x="466" y="764"/>
                </a:cubicBezTo>
                <a:cubicBezTo>
                  <a:pt x="479" y="761"/>
                  <a:pt x="492" y="758"/>
                  <a:pt x="497" y="750"/>
                </a:cubicBezTo>
                <a:cubicBezTo>
                  <a:pt x="497" y="750"/>
                  <a:pt x="497" y="750"/>
                  <a:pt x="497" y="750"/>
                </a:cubicBezTo>
                <a:cubicBezTo>
                  <a:pt x="510" y="747"/>
                  <a:pt x="523" y="745"/>
                  <a:pt x="539" y="755"/>
                </a:cubicBezTo>
                <a:cubicBezTo>
                  <a:pt x="594" y="791"/>
                  <a:pt x="594" y="791"/>
                  <a:pt x="594" y="791"/>
                </a:cubicBezTo>
                <a:cubicBezTo>
                  <a:pt x="602" y="796"/>
                  <a:pt x="623" y="798"/>
                  <a:pt x="628" y="790"/>
                </a:cubicBezTo>
                <a:cubicBezTo>
                  <a:pt x="659" y="743"/>
                  <a:pt x="659" y="743"/>
                  <a:pt x="659" y="743"/>
                </a:cubicBezTo>
                <a:cubicBezTo>
                  <a:pt x="659" y="743"/>
                  <a:pt x="669" y="727"/>
                  <a:pt x="654" y="716"/>
                </a:cubicBezTo>
                <a:close/>
                <a:moveTo>
                  <a:pt x="281" y="633"/>
                </a:moveTo>
                <a:cubicBezTo>
                  <a:pt x="223" y="584"/>
                  <a:pt x="219" y="502"/>
                  <a:pt x="263" y="452"/>
                </a:cubicBezTo>
                <a:cubicBezTo>
                  <a:pt x="313" y="393"/>
                  <a:pt x="399" y="382"/>
                  <a:pt x="457" y="431"/>
                </a:cubicBezTo>
                <a:cubicBezTo>
                  <a:pt x="507" y="475"/>
                  <a:pt x="518" y="561"/>
                  <a:pt x="469" y="619"/>
                </a:cubicBezTo>
                <a:cubicBezTo>
                  <a:pt x="420" y="678"/>
                  <a:pt x="339" y="682"/>
                  <a:pt x="281" y="633"/>
                </a:cubicBezTo>
                <a:close/>
                <a:moveTo>
                  <a:pt x="1019" y="398"/>
                </a:moveTo>
                <a:cubicBezTo>
                  <a:pt x="1004" y="362"/>
                  <a:pt x="1004" y="362"/>
                  <a:pt x="1004" y="362"/>
                </a:cubicBezTo>
                <a:cubicBezTo>
                  <a:pt x="992" y="348"/>
                  <a:pt x="1002" y="340"/>
                  <a:pt x="1002" y="332"/>
                </a:cubicBezTo>
                <a:cubicBezTo>
                  <a:pt x="1002" y="332"/>
                  <a:pt x="1002" y="332"/>
                  <a:pt x="1002" y="332"/>
                </a:cubicBezTo>
                <a:cubicBezTo>
                  <a:pt x="1007" y="328"/>
                  <a:pt x="1011" y="324"/>
                  <a:pt x="1012" y="315"/>
                </a:cubicBezTo>
                <a:cubicBezTo>
                  <a:pt x="1021" y="307"/>
                  <a:pt x="1026" y="303"/>
                  <a:pt x="1043" y="304"/>
                </a:cubicBezTo>
                <a:cubicBezTo>
                  <a:pt x="1086" y="307"/>
                  <a:pt x="1086" y="307"/>
                  <a:pt x="1086" y="307"/>
                </a:cubicBezTo>
                <a:cubicBezTo>
                  <a:pt x="1095" y="308"/>
                  <a:pt x="1099" y="304"/>
                  <a:pt x="1100" y="295"/>
                </a:cubicBezTo>
                <a:cubicBezTo>
                  <a:pt x="1107" y="266"/>
                  <a:pt x="1107" y="266"/>
                  <a:pt x="1107" y="266"/>
                </a:cubicBezTo>
                <a:cubicBezTo>
                  <a:pt x="1107" y="257"/>
                  <a:pt x="1103" y="252"/>
                  <a:pt x="1095" y="243"/>
                </a:cubicBezTo>
                <a:cubicBezTo>
                  <a:pt x="1057" y="236"/>
                  <a:pt x="1057" y="236"/>
                  <a:pt x="1057" y="236"/>
                </a:cubicBezTo>
                <a:cubicBezTo>
                  <a:pt x="1044" y="231"/>
                  <a:pt x="1036" y="222"/>
                  <a:pt x="1037" y="213"/>
                </a:cubicBezTo>
                <a:cubicBezTo>
                  <a:pt x="1038" y="205"/>
                  <a:pt x="1034" y="200"/>
                  <a:pt x="1030" y="187"/>
                </a:cubicBezTo>
                <a:cubicBezTo>
                  <a:pt x="1031" y="178"/>
                  <a:pt x="1032" y="170"/>
                  <a:pt x="1041" y="162"/>
                </a:cubicBezTo>
                <a:cubicBezTo>
                  <a:pt x="1077" y="138"/>
                  <a:pt x="1077" y="138"/>
                  <a:pt x="1077" y="138"/>
                </a:cubicBezTo>
                <a:cubicBezTo>
                  <a:pt x="1082" y="134"/>
                  <a:pt x="1083" y="126"/>
                  <a:pt x="1079" y="121"/>
                </a:cubicBezTo>
                <a:cubicBezTo>
                  <a:pt x="1059" y="89"/>
                  <a:pt x="1059" y="89"/>
                  <a:pt x="1059" y="89"/>
                </a:cubicBezTo>
                <a:cubicBezTo>
                  <a:pt x="1055" y="85"/>
                  <a:pt x="1047" y="84"/>
                  <a:pt x="1038" y="83"/>
                </a:cubicBezTo>
                <a:cubicBezTo>
                  <a:pt x="1002" y="107"/>
                  <a:pt x="1002" y="107"/>
                  <a:pt x="1002" y="107"/>
                </a:cubicBezTo>
                <a:cubicBezTo>
                  <a:pt x="989" y="110"/>
                  <a:pt x="980" y="110"/>
                  <a:pt x="976" y="105"/>
                </a:cubicBezTo>
                <a:cubicBezTo>
                  <a:pt x="972" y="100"/>
                  <a:pt x="960" y="95"/>
                  <a:pt x="956" y="91"/>
                </a:cubicBezTo>
                <a:cubicBezTo>
                  <a:pt x="952" y="86"/>
                  <a:pt x="944" y="77"/>
                  <a:pt x="944" y="68"/>
                </a:cubicBezTo>
                <a:cubicBezTo>
                  <a:pt x="948" y="25"/>
                  <a:pt x="948" y="25"/>
                  <a:pt x="948" y="25"/>
                </a:cubicBezTo>
                <a:cubicBezTo>
                  <a:pt x="948" y="17"/>
                  <a:pt x="940" y="7"/>
                  <a:pt x="940" y="7"/>
                </a:cubicBezTo>
                <a:cubicBezTo>
                  <a:pt x="902" y="0"/>
                  <a:pt x="902" y="0"/>
                  <a:pt x="902" y="0"/>
                </a:cubicBezTo>
                <a:cubicBezTo>
                  <a:pt x="902" y="0"/>
                  <a:pt x="889" y="4"/>
                  <a:pt x="888" y="12"/>
                </a:cubicBezTo>
                <a:cubicBezTo>
                  <a:pt x="872" y="50"/>
                  <a:pt x="872" y="50"/>
                  <a:pt x="872" y="50"/>
                </a:cubicBezTo>
                <a:cubicBezTo>
                  <a:pt x="871" y="67"/>
                  <a:pt x="862" y="67"/>
                  <a:pt x="858" y="71"/>
                </a:cubicBezTo>
                <a:cubicBezTo>
                  <a:pt x="858" y="71"/>
                  <a:pt x="858" y="71"/>
                  <a:pt x="853" y="75"/>
                </a:cubicBezTo>
                <a:cubicBezTo>
                  <a:pt x="849" y="70"/>
                  <a:pt x="840" y="70"/>
                  <a:pt x="836" y="74"/>
                </a:cubicBezTo>
                <a:cubicBezTo>
                  <a:pt x="831" y="78"/>
                  <a:pt x="831" y="78"/>
                  <a:pt x="831" y="78"/>
                </a:cubicBezTo>
                <a:cubicBezTo>
                  <a:pt x="822" y="77"/>
                  <a:pt x="814" y="76"/>
                  <a:pt x="806" y="67"/>
                </a:cubicBezTo>
                <a:cubicBezTo>
                  <a:pt x="778" y="35"/>
                  <a:pt x="778" y="35"/>
                  <a:pt x="778" y="35"/>
                </a:cubicBezTo>
                <a:cubicBezTo>
                  <a:pt x="774" y="30"/>
                  <a:pt x="762" y="25"/>
                  <a:pt x="757" y="29"/>
                </a:cubicBezTo>
                <a:cubicBezTo>
                  <a:pt x="734" y="49"/>
                  <a:pt x="734" y="49"/>
                  <a:pt x="734" y="49"/>
                </a:cubicBezTo>
                <a:cubicBezTo>
                  <a:pt x="725" y="49"/>
                  <a:pt x="725" y="57"/>
                  <a:pt x="728" y="70"/>
                </a:cubicBezTo>
                <a:cubicBezTo>
                  <a:pt x="747" y="102"/>
                  <a:pt x="747" y="102"/>
                  <a:pt x="747" y="102"/>
                </a:cubicBezTo>
                <a:cubicBezTo>
                  <a:pt x="754" y="120"/>
                  <a:pt x="750" y="124"/>
                  <a:pt x="744" y="136"/>
                </a:cubicBezTo>
                <a:cubicBezTo>
                  <a:pt x="744" y="136"/>
                  <a:pt x="744" y="136"/>
                  <a:pt x="744" y="136"/>
                </a:cubicBezTo>
                <a:cubicBezTo>
                  <a:pt x="740" y="140"/>
                  <a:pt x="735" y="144"/>
                  <a:pt x="731" y="148"/>
                </a:cubicBezTo>
                <a:cubicBezTo>
                  <a:pt x="731" y="148"/>
                  <a:pt x="731" y="148"/>
                  <a:pt x="731" y="148"/>
                </a:cubicBezTo>
                <a:cubicBezTo>
                  <a:pt x="730" y="157"/>
                  <a:pt x="721" y="165"/>
                  <a:pt x="703" y="164"/>
                </a:cubicBezTo>
                <a:cubicBezTo>
                  <a:pt x="665" y="157"/>
                  <a:pt x="665" y="157"/>
                  <a:pt x="665" y="157"/>
                </a:cubicBezTo>
                <a:cubicBezTo>
                  <a:pt x="656" y="156"/>
                  <a:pt x="647" y="164"/>
                  <a:pt x="647" y="173"/>
                </a:cubicBezTo>
                <a:cubicBezTo>
                  <a:pt x="640" y="203"/>
                  <a:pt x="640" y="203"/>
                  <a:pt x="640" y="203"/>
                </a:cubicBezTo>
                <a:cubicBezTo>
                  <a:pt x="639" y="211"/>
                  <a:pt x="643" y="216"/>
                  <a:pt x="656" y="221"/>
                </a:cubicBezTo>
                <a:cubicBezTo>
                  <a:pt x="690" y="232"/>
                  <a:pt x="690" y="232"/>
                  <a:pt x="690" y="232"/>
                </a:cubicBezTo>
                <a:cubicBezTo>
                  <a:pt x="702" y="237"/>
                  <a:pt x="710" y="246"/>
                  <a:pt x="710" y="255"/>
                </a:cubicBezTo>
                <a:cubicBezTo>
                  <a:pt x="710" y="255"/>
                  <a:pt x="710" y="255"/>
                  <a:pt x="710" y="255"/>
                </a:cubicBezTo>
                <a:cubicBezTo>
                  <a:pt x="714" y="260"/>
                  <a:pt x="713" y="268"/>
                  <a:pt x="717" y="273"/>
                </a:cubicBezTo>
                <a:cubicBezTo>
                  <a:pt x="712" y="277"/>
                  <a:pt x="712" y="277"/>
                  <a:pt x="712" y="277"/>
                </a:cubicBezTo>
                <a:cubicBezTo>
                  <a:pt x="716" y="281"/>
                  <a:pt x="716" y="290"/>
                  <a:pt x="702" y="302"/>
                </a:cubicBezTo>
                <a:cubicBezTo>
                  <a:pt x="674" y="326"/>
                  <a:pt x="674" y="326"/>
                  <a:pt x="674" y="326"/>
                </a:cubicBezTo>
                <a:cubicBezTo>
                  <a:pt x="665" y="334"/>
                  <a:pt x="664" y="343"/>
                  <a:pt x="668" y="347"/>
                </a:cubicBezTo>
                <a:cubicBezTo>
                  <a:pt x="687" y="379"/>
                  <a:pt x="687" y="379"/>
                  <a:pt x="687" y="379"/>
                </a:cubicBezTo>
                <a:cubicBezTo>
                  <a:pt x="691" y="383"/>
                  <a:pt x="700" y="384"/>
                  <a:pt x="704" y="380"/>
                </a:cubicBezTo>
                <a:cubicBezTo>
                  <a:pt x="745" y="361"/>
                  <a:pt x="745" y="361"/>
                  <a:pt x="745" y="361"/>
                </a:cubicBezTo>
                <a:cubicBezTo>
                  <a:pt x="758" y="358"/>
                  <a:pt x="767" y="358"/>
                  <a:pt x="771" y="363"/>
                </a:cubicBezTo>
                <a:cubicBezTo>
                  <a:pt x="771" y="363"/>
                  <a:pt x="771" y="363"/>
                  <a:pt x="771" y="363"/>
                </a:cubicBezTo>
                <a:cubicBezTo>
                  <a:pt x="779" y="364"/>
                  <a:pt x="787" y="373"/>
                  <a:pt x="791" y="377"/>
                </a:cubicBezTo>
                <a:cubicBezTo>
                  <a:pt x="791" y="377"/>
                  <a:pt x="791" y="377"/>
                  <a:pt x="791" y="377"/>
                </a:cubicBezTo>
                <a:cubicBezTo>
                  <a:pt x="800" y="378"/>
                  <a:pt x="804" y="383"/>
                  <a:pt x="802" y="400"/>
                </a:cubicBezTo>
                <a:cubicBezTo>
                  <a:pt x="799" y="443"/>
                  <a:pt x="799" y="443"/>
                  <a:pt x="799" y="443"/>
                </a:cubicBezTo>
                <a:cubicBezTo>
                  <a:pt x="798" y="451"/>
                  <a:pt x="802" y="456"/>
                  <a:pt x="811" y="457"/>
                </a:cubicBezTo>
                <a:cubicBezTo>
                  <a:pt x="845" y="468"/>
                  <a:pt x="845" y="468"/>
                  <a:pt x="845" y="468"/>
                </a:cubicBezTo>
                <a:cubicBezTo>
                  <a:pt x="849" y="464"/>
                  <a:pt x="858" y="464"/>
                  <a:pt x="859" y="456"/>
                </a:cubicBezTo>
                <a:cubicBezTo>
                  <a:pt x="871" y="413"/>
                  <a:pt x="871" y="413"/>
                  <a:pt x="871" y="413"/>
                </a:cubicBezTo>
                <a:cubicBezTo>
                  <a:pt x="876" y="401"/>
                  <a:pt x="889" y="397"/>
                  <a:pt x="894" y="393"/>
                </a:cubicBezTo>
                <a:cubicBezTo>
                  <a:pt x="894" y="393"/>
                  <a:pt x="894" y="393"/>
                  <a:pt x="894" y="393"/>
                </a:cubicBezTo>
                <a:cubicBezTo>
                  <a:pt x="902" y="394"/>
                  <a:pt x="911" y="395"/>
                  <a:pt x="916" y="391"/>
                </a:cubicBezTo>
                <a:cubicBezTo>
                  <a:pt x="916" y="391"/>
                  <a:pt x="916" y="391"/>
                  <a:pt x="916" y="391"/>
                </a:cubicBezTo>
                <a:cubicBezTo>
                  <a:pt x="924" y="391"/>
                  <a:pt x="933" y="392"/>
                  <a:pt x="941" y="401"/>
                </a:cubicBezTo>
                <a:cubicBezTo>
                  <a:pt x="969" y="433"/>
                  <a:pt x="969" y="433"/>
                  <a:pt x="969" y="433"/>
                </a:cubicBezTo>
                <a:cubicBezTo>
                  <a:pt x="973" y="438"/>
                  <a:pt x="985" y="443"/>
                  <a:pt x="990" y="439"/>
                </a:cubicBezTo>
                <a:cubicBezTo>
                  <a:pt x="1018" y="415"/>
                  <a:pt x="1018" y="415"/>
                  <a:pt x="1018" y="415"/>
                </a:cubicBezTo>
                <a:cubicBezTo>
                  <a:pt x="1018" y="415"/>
                  <a:pt x="1027" y="407"/>
                  <a:pt x="1019" y="398"/>
                </a:cubicBezTo>
                <a:close/>
                <a:moveTo>
                  <a:pt x="803" y="279"/>
                </a:moveTo>
                <a:cubicBezTo>
                  <a:pt x="776" y="238"/>
                  <a:pt x="788" y="187"/>
                  <a:pt x="825" y="164"/>
                </a:cubicBezTo>
                <a:cubicBezTo>
                  <a:pt x="866" y="136"/>
                  <a:pt x="921" y="144"/>
                  <a:pt x="948" y="185"/>
                </a:cubicBezTo>
                <a:cubicBezTo>
                  <a:pt x="972" y="221"/>
                  <a:pt x="963" y="277"/>
                  <a:pt x="922" y="304"/>
                </a:cubicBezTo>
                <a:cubicBezTo>
                  <a:pt x="881" y="332"/>
                  <a:pt x="830" y="320"/>
                  <a:pt x="803" y="279"/>
                </a:cubicBezTo>
                <a:close/>
              </a:path>
            </a:pathLst>
          </a:custGeom>
          <a:solidFill>
            <a:schemeClr val="tx1"/>
          </a:solidFill>
          <a:ln>
            <a:noFill/>
          </a:ln>
        </p:spPr>
        <p:txBody>
          <a:bodyPr vert="horz" wrap="square" lIns="68574" tIns="34287" rIns="68574" bIns="34287"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US" sz="1350">
              <a:solidFill>
                <a:srgbClr val="217346"/>
              </a:solidFill>
            </a:endParaRPr>
          </a:p>
        </p:txBody>
      </p:sp>
      <p:sp>
        <p:nvSpPr>
          <p:cNvPr id="157" name="Donut 3"/>
          <p:cNvSpPr>
            <a:spLocks noChangeAspect="1"/>
          </p:cNvSpPr>
          <p:nvPr/>
        </p:nvSpPr>
        <p:spPr bwMode="auto">
          <a:xfrm>
            <a:off x="3096597" y="6155110"/>
            <a:ext cx="274320" cy="251192"/>
          </a:xfrm>
          <a:custGeom>
            <a:avLst/>
            <a:gdLst/>
            <a:ahLst/>
            <a:cxnLst/>
            <a:rect l="l" t="t" r="r" b="b"/>
            <a:pathLst>
              <a:path w="1409956" h="1291077">
                <a:moveTo>
                  <a:pt x="956401" y="78410"/>
                </a:moveTo>
                <a:cubicBezTo>
                  <a:pt x="747518" y="78410"/>
                  <a:pt x="578184" y="247744"/>
                  <a:pt x="578184" y="456627"/>
                </a:cubicBezTo>
                <a:cubicBezTo>
                  <a:pt x="578184" y="665510"/>
                  <a:pt x="747518" y="834844"/>
                  <a:pt x="956401" y="834844"/>
                </a:cubicBezTo>
                <a:cubicBezTo>
                  <a:pt x="1165284" y="834844"/>
                  <a:pt x="1334618" y="665510"/>
                  <a:pt x="1334618" y="456627"/>
                </a:cubicBezTo>
                <a:cubicBezTo>
                  <a:pt x="1334618" y="247744"/>
                  <a:pt x="1165284" y="78410"/>
                  <a:pt x="956401" y="78410"/>
                </a:cubicBezTo>
                <a:close/>
                <a:moveTo>
                  <a:pt x="952756" y="0"/>
                </a:moveTo>
                <a:cubicBezTo>
                  <a:pt x="1205261" y="0"/>
                  <a:pt x="1409956" y="204695"/>
                  <a:pt x="1409956" y="457200"/>
                </a:cubicBezTo>
                <a:cubicBezTo>
                  <a:pt x="1409956" y="709705"/>
                  <a:pt x="1205261" y="914400"/>
                  <a:pt x="952756" y="914400"/>
                </a:cubicBezTo>
                <a:cubicBezTo>
                  <a:pt x="862133" y="914400"/>
                  <a:pt x="777669" y="888034"/>
                  <a:pt x="707132" y="841746"/>
                </a:cubicBezTo>
                <a:lnTo>
                  <a:pt x="136495" y="1280102"/>
                </a:lnTo>
                <a:cubicBezTo>
                  <a:pt x="21896" y="1327168"/>
                  <a:pt x="-44029" y="1213730"/>
                  <a:pt x="33797" y="1113182"/>
                </a:cubicBezTo>
                <a:lnTo>
                  <a:pt x="568587" y="703518"/>
                </a:lnTo>
                <a:cubicBezTo>
                  <a:pt x="522087" y="632814"/>
                  <a:pt x="495556" y="548105"/>
                  <a:pt x="495556" y="457200"/>
                </a:cubicBezTo>
                <a:cubicBezTo>
                  <a:pt x="495556" y="204695"/>
                  <a:pt x="700251" y="0"/>
                  <a:pt x="952756" y="0"/>
                </a:cubicBezTo>
                <a:close/>
              </a:path>
            </a:pathLst>
          </a:cu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err="1">
              <a:solidFill>
                <a:srgbClr val="FFFFFF"/>
              </a:solidFill>
            </a:endParaRPr>
          </a:p>
        </p:txBody>
      </p:sp>
      <p:sp>
        <p:nvSpPr>
          <p:cNvPr id="158" name="Freeform 157"/>
          <p:cNvSpPr>
            <a:spLocks noChangeAspect="1"/>
          </p:cNvSpPr>
          <p:nvPr/>
        </p:nvSpPr>
        <p:spPr bwMode="black">
          <a:xfrm>
            <a:off x="4328735" y="6146404"/>
            <a:ext cx="274320" cy="268605"/>
          </a:xfrm>
          <a:custGeom>
            <a:avLst/>
            <a:gdLst>
              <a:gd name="connsiteX0" fmla="*/ 3713863 w 4893730"/>
              <a:gd name="connsiteY0" fmla="*/ 2130808 h 4791777"/>
              <a:gd name="connsiteX1" fmla="*/ 4426142 w 4893730"/>
              <a:gd name="connsiteY1" fmla="*/ 2130808 h 4791777"/>
              <a:gd name="connsiteX2" fmla="*/ 4598071 w 4893730"/>
              <a:gd name="connsiteY2" fmla="*/ 2301547 h 4791777"/>
              <a:gd name="connsiteX3" fmla="*/ 4598071 w 4893730"/>
              <a:gd name="connsiteY3" fmla="*/ 3886978 h 4791777"/>
              <a:gd name="connsiteX4" fmla="*/ 4426142 w 4893730"/>
              <a:gd name="connsiteY4" fmla="*/ 4057717 h 4791777"/>
              <a:gd name="connsiteX5" fmla="*/ 3713863 w 4893730"/>
              <a:gd name="connsiteY5" fmla="*/ 4057717 h 4791777"/>
              <a:gd name="connsiteX6" fmla="*/ 3517372 w 4893730"/>
              <a:gd name="connsiteY6" fmla="*/ 3886978 h 4791777"/>
              <a:gd name="connsiteX7" fmla="*/ 3517372 w 4893730"/>
              <a:gd name="connsiteY7" fmla="*/ 2301547 h 4791777"/>
              <a:gd name="connsiteX8" fmla="*/ 3713863 w 4893730"/>
              <a:gd name="connsiteY8" fmla="*/ 2130808 h 4791777"/>
              <a:gd name="connsiteX9" fmla="*/ 904368 w 4893730"/>
              <a:gd name="connsiteY9" fmla="*/ 1223432 h 4791777"/>
              <a:gd name="connsiteX10" fmla="*/ 1609930 w 4893730"/>
              <a:gd name="connsiteY10" fmla="*/ 1223432 h 4791777"/>
              <a:gd name="connsiteX11" fmla="*/ 1804567 w 4893730"/>
              <a:gd name="connsiteY11" fmla="*/ 1394467 h 4791777"/>
              <a:gd name="connsiteX12" fmla="*/ 1804567 w 4893730"/>
              <a:gd name="connsiteY12" fmla="*/ 3886683 h 4791777"/>
              <a:gd name="connsiteX13" fmla="*/ 1609930 w 4893730"/>
              <a:gd name="connsiteY13" fmla="*/ 4057717 h 4791777"/>
              <a:gd name="connsiteX14" fmla="*/ 904368 w 4893730"/>
              <a:gd name="connsiteY14" fmla="*/ 4057717 h 4791777"/>
              <a:gd name="connsiteX15" fmla="*/ 734060 w 4893730"/>
              <a:gd name="connsiteY15" fmla="*/ 3886683 h 4791777"/>
              <a:gd name="connsiteX16" fmla="*/ 734060 w 4893730"/>
              <a:gd name="connsiteY16" fmla="*/ 1394467 h 4791777"/>
              <a:gd name="connsiteX17" fmla="*/ 904368 w 4893730"/>
              <a:gd name="connsiteY17" fmla="*/ 1223432 h 4791777"/>
              <a:gd name="connsiteX18" fmla="*/ 2325453 w 4893730"/>
              <a:gd name="connsiteY18" fmla="*/ 316050 h 4791777"/>
              <a:gd name="connsiteX19" fmla="*/ 3031014 w 4893730"/>
              <a:gd name="connsiteY19" fmla="*/ 316050 h 4791777"/>
              <a:gd name="connsiteX20" fmla="*/ 3201322 w 4893730"/>
              <a:gd name="connsiteY20" fmla="*/ 487238 h 4791777"/>
              <a:gd name="connsiteX21" fmla="*/ 3201322 w 4893730"/>
              <a:gd name="connsiteY21" fmla="*/ 3886530 h 4791777"/>
              <a:gd name="connsiteX22" fmla="*/ 3031014 w 4893730"/>
              <a:gd name="connsiteY22" fmla="*/ 4057717 h 4791777"/>
              <a:gd name="connsiteX23" fmla="*/ 2325453 w 4893730"/>
              <a:gd name="connsiteY23" fmla="*/ 4057717 h 4791777"/>
              <a:gd name="connsiteX24" fmla="*/ 2130815 w 4893730"/>
              <a:gd name="connsiteY24" fmla="*/ 3886530 h 4791777"/>
              <a:gd name="connsiteX25" fmla="*/ 2130815 w 4893730"/>
              <a:gd name="connsiteY25" fmla="*/ 487238 h 4791777"/>
              <a:gd name="connsiteX26" fmla="*/ 2325453 w 4893730"/>
              <a:gd name="connsiteY26" fmla="*/ 316050 h 4791777"/>
              <a:gd name="connsiteX27" fmla="*/ 269155 w 4893730"/>
              <a:gd name="connsiteY27" fmla="*/ 0 h 4791777"/>
              <a:gd name="connsiteX28" fmla="*/ 538311 w 4893730"/>
              <a:gd name="connsiteY28" fmla="*/ 268927 h 4791777"/>
              <a:gd name="connsiteX29" fmla="*/ 538311 w 4893730"/>
              <a:gd name="connsiteY29" fmla="*/ 4253925 h 4791777"/>
              <a:gd name="connsiteX30" fmla="*/ 4624575 w 4893730"/>
              <a:gd name="connsiteY30" fmla="*/ 4253925 h 4791777"/>
              <a:gd name="connsiteX31" fmla="*/ 4893730 w 4893730"/>
              <a:gd name="connsiteY31" fmla="*/ 4522851 h 4791777"/>
              <a:gd name="connsiteX32" fmla="*/ 4624575 w 4893730"/>
              <a:gd name="connsiteY32" fmla="*/ 4791777 h 4791777"/>
              <a:gd name="connsiteX33" fmla="*/ 269155 w 4893730"/>
              <a:gd name="connsiteY33" fmla="*/ 4791777 h 4791777"/>
              <a:gd name="connsiteX34" fmla="*/ 0 w 4893730"/>
              <a:gd name="connsiteY34" fmla="*/ 4522851 h 4791777"/>
              <a:gd name="connsiteX35" fmla="*/ 0 w 4893730"/>
              <a:gd name="connsiteY35" fmla="*/ 268927 h 4791777"/>
              <a:gd name="connsiteX36" fmla="*/ 269155 w 4893730"/>
              <a:gd name="connsiteY36" fmla="*/ 0 h 4791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4893730" h="4791777">
                <a:moveTo>
                  <a:pt x="3713863" y="2130808"/>
                </a:moveTo>
                <a:cubicBezTo>
                  <a:pt x="3713863" y="2130808"/>
                  <a:pt x="3713863" y="2130808"/>
                  <a:pt x="4426142" y="2130808"/>
                </a:cubicBezTo>
                <a:cubicBezTo>
                  <a:pt x="4524387" y="2130808"/>
                  <a:pt x="4598071" y="2203982"/>
                  <a:pt x="4598071" y="2301547"/>
                </a:cubicBezTo>
                <a:cubicBezTo>
                  <a:pt x="4598071" y="2301547"/>
                  <a:pt x="4598071" y="2301547"/>
                  <a:pt x="4598071" y="3886978"/>
                </a:cubicBezTo>
                <a:cubicBezTo>
                  <a:pt x="4598071" y="3984543"/>
                  <a:pt x="4524387" y="4057717"/>
                  <a:pt x="4426142" y="4057717"/>
                </a:cubicBezTo>
                <a:cubicBezTo>
                  <a:pt x="4426142" y="4057717"/>
                  <a:pt x="4426142" y="4057717"/>
                  <a:pt x="3713863" y="4057717"/>
                </a:cubicBezTo>
                <a:cubicBezTo>
                  <a:pt x="3615618" y="4057717"/>
                  <a:pt x="3517372" y="3984543"/>
                  <a:pt x="3517372" y="3886978"/>
                </a:cubicBezTo>
                <a:cubicBezTo>
                  <a:pt x="3517372" y="3886978"/>
                  <a:pt x="3517372" y="3886978"/>
                  <a:pt x="3517372" y="2301547"/>
                </a:cubicBezTo>
                <a:cubicBezTo>
                  <a:pt x="3517372" y="2203982"/>
                  <a:pt x="3615618" y="2130808"/>
                  <a:pt x="3713863" y="2130808"/>
                </a:cubicBezTo>
                <a:close/>
                <a:moveTo>
                  <a:pt x="904368" y="1223432"/>
                </a:moveTo>
                <a:cubicBezTo>
                  <a:pt x="904368" y="1223432"/>
                  <a:pt x="904368" y="1223432"/>
                  <a:pt x="1609930" y="1223432"/>
                </a:cubicBezTo>
                <a:cubicBezTo>
                  <a:pt x="1731578" y="1223432"/>
                  <a:pt x="1804567" y="1296733"/>
                  <a:pt x="1804567" y="1394467"/>
                </a:cubicBezTo>
                <a:cubicBezTo>
                  <a:pt x="1804567" y="1394467"/>
                  <a:pt x="1804567" y="1394467"/>
                  <a:pt x="1804567" y="3886683"/>
                </a:cubicBezTo>
                <a:cubicBezTo>
                  <a:pt x="1804567" y="3984417"/>
                  <a:pt x="1731578" y="4057717"/>
                  <a:pt x="1609930" y="4057717"/>
                </a:cubicBezTo>
                <a:cubicBezTo>
                  <a:pt x="1609930" y="4057717"/>
                  <a:pt x="1609930" y="4057717"/>
                  <a:pt x="904368" y="4057717"/>
                </a:cubicBezTo>
                <a:cubicBezTo>
                  <a:pt x="807049" y="4057717"/>
                  <a:pt x="734060" y="3984417"/>
                  <a:pt x="734060" y="3886683"/>
                </a:cubicBezTo>
                <a:cubicBezTo>
                  <a:pt x="734060" y="3886683"/>
                  <a:pt x="734060" y="3886683"/>
                  <a:pt x="734060" y="1394467"/>
                </a:cubicBezTo>
                <a:cubicBezTo>
                  <a:pt x="734060" y="1296733"/>
                  <a:pt x="807049" y="1223432"/>
                  <a:pt x="904368" y="1223432"/>
                </a:cubicBezTo>
                <a:close/>
                <a:moveTo>
                  <a:pt x="2325453" y="316050"/>
                </a:moveTo>
                <a:cubicBezTo>
                  <a:pt x="2325453" y="316050"/>
                  <a:pt x="2325453" y="316050"/>
                  <a:pt x="3031014" y="316050"/>
                </a:cubicBezTo>
                <a:cubicBezTo>
                  <a:pt x="3128333" y="316050"/>
                  <a:pt x="3201322" y="389416"/>
                  <a:pt x="3201322" y="487238"/>
                </a:cubicBezTo>
                <a:cubicBezTo>
                  <a:pt x="3201322" y="487238"/>
                  <a:pt x="3201322" y="487238"/>
                  <a:pt x="3201322" y="3886530"/>
                </a:cubicBezTo>
                <a:cubicBezTo>
                  <a:pt x="3201322" y="3984351"/>
                  <a:pt x="3128333" y="4057717"/>
                  <a:pt x="3031014" y="4057717"/>
                </a:cubicBezTo>
                <a:cubicBezTo>
                  <a:pt x="3031014" y="4057717"/>
                  <a:pt x="3031014" y="4057717"/>
                  <a:pt x="2325453" y="4057717"/>
                </a:cubicBezTo>
                <a:cubicBezTo>
                  <a:pt x="2203804" y="4057717"/>
                  <a:pt x="2130815" y="3984351"/>
                  <a:pt x="2130815" y="3886530"/>
                </a:cubicBezTo>
                <a:cubicBezTo>
                  <a:pt x="2130815" y="3886530"/>
                  <a:pt x="2130815" y="3886530"/>
                  <a:pt x="2130815" y="487238"/>
                </a:cubicBezTo>
                <a:cubicBezTo>
                  <a:pt x="2130815" y="389416"/>
                  <a:pt x="2203804" y="316050"/>
                  <a:pt x="2325453" y="316050"/>
                </a:cubicBezTo>
                <a:close/>
                <a:moveTo>
                  <a:pt x="269155" y="0"/>
                </a:moveTo>
                <a:cubicBezTo>
                  <a:pt x="415967" y="0"/>
                  <a:pt x="538311" y="122239"/>
                  <a:pt x="538311" y="268927"/>
                </a:cubicBezTo>
                <a:cubicBezTo>
                  <a:pt x="538311" y="268927"/>
                  <a:pt x="538311" y="268927"/>
                  <a:pt x="538311" y="4253925"/>
                </a:cubicBezTo>
                <a:cubicBezTo>
                  <a:pt x="538311" y="4253925"/>
                  <a:pt x="538311" y="4253925"/>
                  <a:pt x="4624575" y="4253925"/>
                </a:cubicBezTo>
                <a:cubicBezTo>
                  <a:pt x="4771387" y="4253925"/>
                  <a:pt x="4893730" y="4376164"/>
                  <a:pt x="4893730" y="4522851"/>
                </a:cubicBezTo>
                <a:cubicBezTo>
                  <a:pt x="4893730" y="4669538"/>
                  <a:pt x="4771387" y="4791777"/>
                  <a:pt x="4624575" y="4791777"/>
                </a:cubicBezTo>
                <a:cubicBezTo>
                  <a:pt x="4624575" y="4791777"/>
                  <a:pt x="4624575" y="4791777"/>
                  <a:pt x="269155" y="4791777"/>
                </a:cubicBezTo>
                <a:cubicBezTo>
                  <a:pt x="122344" y="4791777"/>
                  <a:pt x="0" y="4669538"/>
                  <a:pt x="0" y="4522851"/>
                </a:cubicBezTo>
                <a:cubicBezTo>
                  <a:pt x="0" y="4522851"/>
                  <a:pt x="0" y="4522851"/>
                  <a:pt x="0" y="268927"/>
                </a:cubicBezTo>
                <a:cubicBezTo>
                  <a:pt x="0" y="122239"/>
                  <a:pt x="122344" y="0"/>
                  <a:pt x="269155"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37148" tIns="109719" rIns="137148" bIns="109719"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699261" fontAlgn="base">
              <a:lnSpc>
                <a:spcPct val="90000"/>
              </a:lnSpc>
              <a:spcBef>
                <a:spcPct val="0"/>
              </a:spcBef>
              <a:spcAft>
                <a:spcPct val="0"/>
              </a:spcAft>
            </a:pPr>
            <a:endParaRPr lang="en-US">
              <a:gradFill>
                <a:gsLst>
                  <a:gs pos="0">
                    <a:srgbClr val="FFFFFF"/>
                  </a:gs>
                  <a:gs pos="100000">
                    <a:srgbClr val="FFFFFF"/>
                  </a:gs>
                </a:gsLst>
                <a:lin ang="5400000" scaled="0"/>
              </a:gradFill>
              <a:ea typeface="Segoe UI" pitchFamily="34" charset="0"/>
              <a:cs typeface="Segoe UI" pitchFamily="34" charset="0"/>
            </a:endParaRPr>
          </a:p>
        </p:txBody>
      </p:sp>
      <p:sp>
        <p:nvSpPr>
          <p:cNvPr id="159" name="Freeform 158"/>
          <p:cNvSpPr>
            <a:spLocks noChangeAspect="1"/>
          </p:cNvSpPr>
          <p:nvPr/>
        </p:nvSpPr>
        <p:spPr bwMode="black">
          <a:xfrm>
            <a:off x="5459118" y="6138620"/>
            <a:ext cx="274320" cy="284173"/>
          </a:xfrm>
          <a:custGeom>
            <a:avLst/>
            <a:gdLst>
              <a:gd name="T0" fmla="*/ 539 w 669"/>
              <a:gd name="T1" fmla="*/ 5 h 693"/>
              <a:gd name="T2" fmla="*/ 640 w 669"/>
              <a:gd name="T3" fmla="*/ 55 h 693"/>
              <a:gd name="T4" fmla="*/ 603 w 669"/>
              <a:gd name="T5" fmla="*/ 195 h 693"/>
              <a:gd name="T6" fmla="*/ 490 w 669"/>
              <a:gd name="T7" fmla="*/ 188 h 693"/>
              <a:gd name="T8" fmla="*/ 479 w 669"/>
              <a:gd name="T9" fmla="*/ 176 h 693"/>
              <a:gd name="T10" fmla="*/ 213 w 669"/>
              <a:gd name="T11" fmla="*/ 330 h 693"/>
              <a:gd name="T12" fmla="*/ 218 w 669"/>
              <a:gd name="T13" fmla="*/ 345 h 693"/>
              <a:gd name="T14" fmla="*/ 218 w 669"/>
              <a:gd name="T15" fmla="*/ 375 h 693"/>
              <a:gd name="T16" fmla="*/ 209 w 669"/>
              <a:gd name="T17" fmla="*/ 402 h 693"/>
              <a:gd name="T18" fmla="*/ 369 w 669"/>
              <a:gd name="T19" fmla="*/ 503 h 693"/>
              <a:gd name="T20" fmla="*/ 373 w 669"/>
              <a:gd name="T21" fmla="*/ 498 h 693"/>
              <a:gd name="T22" fmla="*/ 456 w 669"/>
              <a:gd name="T23" fmla="*/ 475 h 693"/>
              <a:gd name="T24" fmla="*/ 494 w 669"/>
              <a:gd name="T25" fmla="*/ 489 h 693"/>
              <a:gd name="T26" fmla="*/ 527 w 669"/>
              <a:gd name="T27" fmla="*/ 630 h 693"/>
              <a:gd name="T28" fmla="*/ 386 w 669"/>
              <a:gd name="T29" fmla="*/ 663 h 693"/>
              <a:gd name="T30" fmla="*/ 339 w 669"/>
              <a:gd name="T31" fmla="*/ 560 h 693"/>
              <a:gd name="T32" fmla="*/ 345 w 669"/>
              <a:gd name="T33" fmla="*/ 544 h 693"/>
              <a:gd name="T34" fmla="*/ 177 w 669"/>
              <a:gd name="T35" fmla="*/ 439 h 693"/>
              <a:gd name="T36" fmla="*/ 168 w 669"/>
              <a:gd name="T37" fmla="*/ 446 h 693"/>
              <a:gd name="T38" fmla="*/ 28 w 669"/>
              <a:gd name="T39" fmla="*/ 409 h 693"/>
              <a:gd name="T40" fmla="*/ 65 w 669"/>
              <a:gd name="T41" fmla="*/ 269 h 693"/>
              <a:gd name="T42" fmla="*/ 178 w 669"/>
              <a:gd name="T43" fmla="*/ 276 h 693"/>
              <a:gd name="T44" fmla="*/ 189 w 669"/>
              <a:gd name="T45" fmla="*/ 288 h 693"/>
              <a:gd name="T46" fmla="*/ 455 w 669"/>
              <a:gd name="T47" fmla="*/ 134 h 693"/>
              <a:gd name="T48" fmla="*/ 450 w 669"/>
              <a:gd name="T49" fmla="*/ 119 h 693"/>
              <a:gd name="T50" fmla="*/ 501 w 669"/>
              <a:gd name="T51" fmla="*/ 18 h 693"/>
              <a:gd name="T52" fmla="*/ 539 w 669"/>
              <a:gd name="T53" fmla="*/ 5 h 6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69" h="693">
                <a:moveTo>
                  <a:pt x="539" y="5"/>
                </a:moveTo>
                <a:cubicBezTo>
                  <a:pt x="579" y="0"/>
                  <a:pt x="619" y="19"/>
                  <a:pt x="640" y="55"/>
                </a:cubicBezTo>
                <a:cubicBezTo>
                  <a:pt x="669" y="104"/>
                  <a:pt x="652" y="167"/>
                  <a:pt x="603" y="195"/>
                </a:cubicBezTo>
                <a:cubicBezTo>
                  <a:pt x="566" y="216"/>
                  <a:pt x="522" y="212"/>
                  <a:pt x="490" y="188"/>
                </a:cubicBezTo>
                <a:cubicBezTo>
                  <a:pt x="479" y="176"/>
                  <a:pt x="479" y="176"/>
                  <a:pt x="479" y="176"/>
                </a:cubicBezTo>
                <a:cubicBezTo>
                  <a:pt x="213" y="330"/>
                  <a:pt x="213" y="330"/>
                  <a:pt x="213" y="330"/>
                </a:cubicBezTo>
                <a:cubicBezTo>
                  <a:pt x="218" y="345"/>
                  <a:pt x="218" y="345"/>
                  <a:pt x="218" y="345"/>
                </a:cubicBezTo>
                <a:cubicBezTo>
                  <a:pt x="219" y="355"/>
                  <a:pt x="219" y="365"/>
                  <a:pt x="218" y="375"/>
                </a:cubicBezTo>
                <a:cubicBezTo>
                  <a:pt x="209" y="402"/>
                  <a:pt x="209" y="402"/>
                  <a:pt x="209" y="402"/>
                </a:cubicBezTo>
                <a:cubicBezTo>
                  <a:pt x="369" y="503"/>
                  <a:pt x="369" y="503"/>
                  <a:pt x="369" y="503"/>
                </a:cubicBezTo>
                <a:cubicBezTo>
                  <a:pt x="373" y="498"/>
                  <a:pt x="373" y="498"/>
                  <a:pt x="373" y="498"/>
                </a:cubicBezTo>
                <a:cubicBezTo>
                  <a:pt x="396" y="479"/>
                  <a:pt x="427" y="470"/>
                  <a:pt x="456" y="475"/>
                </a:cubicBezTo>
                <a:cubicBezTo>
                  <a:pt x="470" y="477"/>
                  <a:pt x="482" y="482"/>
                  <a:pt x="494" y="489"/>
                </a:cubicBezTo>
                <a:cubicBezTo>
                  <a:pt x="542" y="519"/>
                  <a:pt x="557" y="583"/>
                  <a:pt x="527" y="630"/>
                </a:cubicBezTo>
                <a:cubicBezTo>
                  <a:pt x="497" y="678"/>
                  <a:pt x="433" y="693"/>
                  <a:pt x="386" y="663"/>
                </a:cubicBezTo>
                <a:cubicBezTo>
                  <a:pt x="350" y="640"/>
                  <a:pt x="333" y="599"/>
                  <a:pt x="339" y="560"/>
                </a:cubicBezTo>
                <a:cubicBezTo>
                  <a:pt x="345" y="544"/>
                  <a:pt x="345" y="544"/>
                  <a:pt x="345" y="544"/>
                </a:cubicBezTo>
                <a:cubicBezTo>
                  <a:pt x="177" y="439"/>
                  <a:pt x="177" y="439"/>
                  <a:pt x="177" y="439"/>
                </a:cubicBezTo>
                <a:cubicBezTo>
                  <a:pt x="168" y="446"/>
                  <a:pt x="168" y="446"/>
                  <a:pt x="168" y="446"/>
                </a:cubicBezTo>
                <a:cubicBezTo>
                  <a:pt x="119" y="475"/>
                  <a:pt x="56" y="458"/>
                  <a:pt x="28" y="409"/>
                </a:cubicBezTo>
                <a:cubicBezTo>
                  <a:pt x="0" y="360"/>
                  <a:pt x="16" y="297"/>
                  <a:pt x="65" y="269"/>
                </a:cubicBezTo>
                <a:cubicBezTo>
                  <a:pt x="102" y="248"/>
                  <a:pt x="147" y="252"/>
                  <a:pt x="178" y="276"/>
                </a:cubicBezTo>
                <a:cubicBezTo>
                  <a:pt x="189" y="288"/>
                  <a:pt x="189" y="288"/>
                  <a:pt x="189" y="288"/>
                </a:cubicBezTo>
                <a:cubicBezTo>
                  <a:pt x="455" y="134"/>
                  <a:pt x="455" y="134"/>
                  <a:pt x="455" y="134"/>
                </a:cubicBezTo>
                <a:cubicBezTo>
                  <a:pt x="450" y="119"/>
                  <a:pt x="450" y="119"/>
                  <a:pt x="450" y="119"/>
                </a:cubicBezTo>
                <a:cubicBezTo>
                  <a:pt x="445" y="80"/>
                  <a:pt x="464" y="39"/>
                  <a:pt x="501" y="18"/>
                </a:cubicBezTo>
                <a:cubicBezTo>
                  <a:pt x="513" y="11"/>
                  <a:pt x="526" y="6"/>
                  <a:pt x="539" y="5"/>
                </a:cubicBezTo>
                <a:close/>
              </a:path>
            </a:pathLst>
          </a:custGeom>
          <a:solidFill>
            <a:schemeClr val="tx1"/>
          </a:solidFill>
          <a:ln>
            <a:noFill/>
          </a:ln>
        </p:spPr>
        <p:txBody>
          <a:bodyPr vert="horz" wrap="square" lIns="68574" tIns="34287" rIns="68574" bIns="34287"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US" sz="1350">
              <a:solidFill>
                <a:srgbClr val="000000"/>
              </a:solidFill>
            </a:endParaRPr>
          </a:p>
        </p:txBody>
      </p:sp>
      <p:pic>
        <p:nvPicPr>
          <p:cNvPr id="246" name="Picture 245"/>
          <p:cNvPicPr>
            <a:picLocks noChangeAspect="1"/>
          </p:cNvPicPr>
          <p:nvPr/>
        </p:nvPicPr>
        <p:blipFill rotWithShape="1">
          <a:blip r:embed="rId3">
            <a:biLevel thresh="25000"/>
          </a:blip>
          <a:srcRect l="6503" t="21287" r="74698" b="20220"/>
          <a:stretch/>
        </p:blipFill>
        <p:spPr>
          <a:xfrm>
            <a:off x="598359" y="5854066"/>
            <a:ext cx="548640" cy="556709"/>
          </a:xfrm>
          <a:prstGeom prst="rect">
            <a:avLst/>
          </a:prstGeom>
        </p:spPr>
      </p:pic>
      <p:grpSp>
        <p:nvGrpSpPr>
          <p:cNvPr id="133" name="Group 132"/>
          <p:cNvGrpSpPr/>
          <p:nvPr/>
        </p:nvGrpSpPr>
        <p:grpSpPr>
          <a:xfrm>
            <a:off x="10217405" y="126609"/>
            <a:ext cx="1875360" cy="572464"/>
            <a:chOff x="10316641" y="149435"/>
            <a:chExt cx="1875360" cy="572464"/>
          </a:xfrm>
        </p:grpSpPr>
        <p:pic>
          <p:nvPicPr>
            <p:cNvPr id="134" name="Picture 133"/>
            <p:cNvPicPr>
              <a:picLocks noChangeAspect="1"/>
            </p:cNvPicPr>
            <p:nvPr/>
          </p:nvPicPr>
          <p:blipFill>
            <a:blip r:embed="rId4">
              <a:duotone>
                <a:schemeClr val="bg2">
                  <a:shade val="45000"/>
                  <a:satMod val="135000"/>
                </a:schemeClr>
                <a:prstClr val="white"/>
              </a:duotone>
              <a:lum bright="-32000"/>
            </a:blip>
            <a:stretch>
              <a:fillRect/>
            </a:stretch>
          </p:blipFill>
          <p:spPr>
            <a:xfrm>
              <a:off x="10316641" y="213005"/>
              <a:ext cx="484908" cy="445325"/>
            </a:xfrm>
            <a:prstGeom prst="rect">
              <a:avLst/>
            </a:prstGeom>
          </p:spPr>
        </p:pic>
        <p:sp>
          <p:nvSpPr>
            <p:cNvPr id="141" name="TextBox 140"/>
            <p:cNvSpPr txBox="1"/>
            <p:nvPr/>
          </p:nvSpPr>
          <p:spPr>
            <a:xfrm>
              <a:off x="10716157" y="149435"/>
              <a:ext cx="1475844" cy="572464"/>
            </a:xfrm>
            <a:prstGeom prst="rect">
              <a:avLst/>
            </a:prstGeom>
            <a:noFill/>
          </p:spPr>
          <p:txBody>
            <a:bodyPr wrap="square" lIns="182880" tIns="146304" rIns="182880" bIns="146304" rtlCol="0">
              <a:spAutoFit/>
            </a:bodyPr>
            <a:lstStyle/>
            <a:p>
              <a:pPr>
                <a:lnSpc>
                  <a:spcPct val="90000"/>
                </a:lnSpc>
                <a:spcAft>
                  <a:spcPts val="600"/>
                </a:spcAft>
              </a:pPr>
              <a:r>
                <a:rPr lang="en-US" sz="2000">
                  <a:gradFill>
                    <a:gsLst>
                      <a:gs pos="2917">
                        <a:srgbClr val="000000"/>
                      </a:gs>
                      <a:gs pos="30000">
                        <a:srgbClr val="000000"/>
                      </a:gs>
                    </a:gsLst>
                    <a:lin ang="5400000" scaled="0"/>
                  </a:gradFill>
                  <a:latin typeface="Segoe UI Light"/>
                </a:rPr>
                <a:t>Power BI</a:t>
              </a:r>
            </a:p>
          </p:txBody>
        </p:sp>
      </p:grpSp>
      <p:sp>
        <p:nvSpPr>
          <p:cNvPr id="143" name="Rectangle 142"/>
          <p:cNvSpPr/>
          <p:nvPr/>
        </p:nvSpPr>
        <p:spPr>
          <a:xfrm>
            <a:off x="4066679" y="960836"/>
            <a:ext cx="4018415" cy="400110"/>
          </a:xfrm>
          <a:prstGeom prst="rect">
            <a:avLst/>
          </a:prstGeom>
        </p:spPr>
        <p:txBody>
          <a:bodyPr wrap="square">
            <a:spAutoFit/>
          </a:bodyPr>
          <a:lstStyle/>
          <a:p>
            <a:pPr defTabSz="914367">
              <a:spcAft>
                <a:spcPts val="588"/>
              </a:spcAft>
            </a:pPr>
            <a:r>
              <a:rPr lang="en-US" sz="2000">
                <a:solidFill>
                  <a:srgbClr val="000000"/>
                </a:solidFill>
              </a:rPr>
              <a:t>Power BI Service</a:t>
            </a:r>
          </a:p>
        </p:txBody>
      </p:sp>
      <p:grpSp>
        <p:nvGrpSpPr>
          <p:cNvPr id="262" name="Group 261"/>
          <p:cNvGrpSpPr/>
          <p:nvPr/>
        </p:nvGrpSpPr>
        <p:grpSpPr>
          <a:xfrm>
            <a:off x="4239113" y="4661565"/>
            <a:ext cx="1333108" cy="274320"/>
            <a:chOff x="4306193" y="5441922"/>
            <a:chExt cx="1333108" cy="274320"/>
          </a:xfrm>
        </p:grpSpPr>
        <p:sp>
          <p:nvSpPr>
            <p:cNvPr id="285" name="TextBox 293"/>
            <p:cNvSpPr txBox="1"/>
            <p:nvPr/>
          </p:nvSpPr>
          <p:spPr>
            <a:xfrm>
              <a:off x="4675832" y="5472564"/>
              <a:ext cx="963469" cy="215444"/>
            </a:xfrm>
            <a:prstGeom prst="rect">
              <a:avLst/>
            </a:prstGeom>
            <a:noFill/>
            <a:ln>
              <a:solidFill>
                <a:schemeClr val="bg1"/>
              </a:solidFill>
            </a:ln>
          </p:spPr>
          <p:txBody>
            <a:bodyPr wrap="none" lIns="0" tIns="0" rIns="0" bIns="0" rtlCol="0" anchor="ctr">
              <a:spAutoFit/>
            </a:bodyPr>
            <a:lstStyle/>
            <a:p>
              <a:pPr defTabSz="932293" fontAlgn="base">
                <a:spcBef>
                  <a:spcPct val="0"/>
                </a:spcBef>
                <a:spcAft>
                  <a:spcPct val="0"/>
                </a:spcAft>
              </a:pPr>
              <a:r>
                <a:rPr lang="en-US" sz="1400">
                  <a:solidFill>
                    <a:srgbClr val="000000"/>
                  </a:solidFill>
                  <a:ea typeface="Segoe UI" pitchFamily="34" charset="0"/>
                  <a:cs typeface="Segoe UI" pitchFamily="34" charset="0"/>
                </a:rPr>
                <a:t>Data refresh</a:t>
              </a:r>
            </a:p>
          </p:txBody>
        </p:sp>
        <p:sp>
          <p:nvSpPr>
            <p:cNvPr id="286" name="Freeform 122"/>
            <p:cNvSpPr>
              <a:spLocks/>
            </p:cNvSpPr>
            <p:nvPr/>
          </p:nvSpPr>
          <p:spPr bwMode="black">
            <a:xfrm>
              <a:off x="4306193" y="5441922"/>
              <a:ext cx="274320" cy="274320"/>
            </a:xfrm>
            <a:custGeom>
              <a:avLst/>
              <a:gdLst>
                <a:gd name="T0" fmla="*/ 61 w 70"/>
                <a:gd name="T1" fmla="*/ 11 h 71"/>
                <a:gd name="T2" fmla="*/ 60 w 70"/>
                <a:gd name="T3" fmla="*/ 11 h 71"/>
                <a:gd name="T4" fmla="*/ 53 w 70"/>
                <a:gd name="T5" fmla="*/ 18 h 71"/>
                <a:gd name="T6" fmla="*/ 53 w 70"/>
                <a:gd name="T7" fmla="*/ 19 h 71"/>
                <a:gd name="T8" fmla="*/ 53 w 70"/>
                <a:gd name="T9" fmla="*/ 19 h 71"/>
                <a:gd name="T10" fmla="*/ 60 w 70"/>
                <a:gd name="T11" fmla="*/ 35 h 71"/>
                <a:gd name="T12" fmla="*/ 35 w 70"/>
                <a:gd name="T13" fmla="*/ 60 h 71"/>
                <a:gd name="T14" fmla="*/ 10 w 70"/>
                <a:gd name="T15" fmla="*/ 36 h 71"/>
                <a:gd name="T16" fmla="*/ 16 w 70"/>
                <a:gd name="T17" fmla="*/ 21 h 71"/>
                <a:gd name="T18" fmla="*/ 18 w 70"/>
                <a:gd name="T19" fmla="*/ 18 h 71"/>
                <a:gd name="T20" fmla="*/ 25 w 70"/>
                <a:gd name="T21" fmla="*/ 26 h 71"/>
                <a:gd name="T22" fmla="*/ 30 w 70"/>
                <a:gd name="T23" fmla="*/ 0 h 71"/>
                <a:gd name="T24" fmla="*/ 4 w 70"/>
                <a:gd name="T25" fmla="*/ 2 h 71"/>
                <a:gd name="T26" fmla="*/ 11 w 70"/>
                <a:gd name="T27" fmla="*/ 10 h 71"/>
                <a:gd name="T28" fmla="*/ 9 w 70"/>
                <a:gd name="T29" fmla="*/ 12 h 71"/>
                <a:gd name="T30" fmla="*/ 0 w 70"/>
                <a:gd name="T31" fmla="*/ 36 h 71"/>
                <a:gd name="T32" fmla="*/ 35 w 70"/>
                <a:gd name="T33" fmla="*/ 71 h 71"/>
                <a:gd name="T34" fmla="*/ 35 w 70"/>
                <a:gd name="T35" fmla="*/ 71 h 71"/>
                <a:gd name="T36" fmla="*/ 70 w 70"/>
                <a:gd name="T37" fmla="*/ 35 h 71"/>
                <a:gd name="T38" fmla="*/ 61 w 70"/>
                <a:gd name="T39" fmla="*/ 1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0" h="71">
                  <a:moveTo>
                    <a:pt x="61" y="11"/>
                  </a:moveTo>
                  <a:cubicBezTo>
                    <a:pt x="60" y="11"/>
                    <a:pt x="60" y="11"/>
                    <a:pt x="60" y="11"/>
                  </a:cubicBezTo>
                  <a:cubicBezTo>
                    <a:pt x="53" y="18"/>
                    <a:pt x="53" y="18"/>
                    <a:pt x="53" y="18"/>
                  </a:cubicBezTo>
                  <a:cubicBezTo>
                    <a:pt x="53" y="19"/>
                    <a:pt x="53" y="19"/>
                    <a:pt x="53" y="19"/>
                  </a:cubicBezTo>
                  <a:cubicBezTo>
                    <a:pt x="53" y="19"/>
                    <a:pt x="53" y="19"/>
                    <a:pt x="53" y="19"/>
                  </a:cubicBezTo>
                  <a:cubicBezTo>
                    <a:pt x="57" y="23"/>
                    <a:pt x="60" y="29"/>
                    <a:pt x="60" y="35"/>
                  </a:cubicBezTo>
                  <a:cubicBezTo>
                    <a:pt x="60" y="49"/>
                    <a:pt x="49" y="60"/>
                    <a:pt x="35" y="60"/>
                  </a:cubicBezTo>
                  <a:cubicBezTo>
                    <a:pt x="22" y="60"/>
                    <a:pt x="11" y="49"/>
                    <a:pt x="10" y="36"/>
                  </a:cubicBezTo>
                  <a:cubicBezTo>
                    <a:pt x="10" y="30"/>
                    <a:pt x="12" y="25"/>
                    <a:pt x="16" y="21"/>
                  </a:cubicBezTo>
                  <a:cubicBezTo>
                    <a:pt x="18" y="18"/>
                    <a:pt x="18" y="18"/>
                    <a:pt x="18" y="18"/>
                  </a:cubicBezTo>
                  <a:cubicBezTo>
                    <a:pt x="25" y="26"/>
                    <a:pt x="25" y="26"/>
                    <a:pt x="25" y="26"/>
                  </a:cubicBezTo>
                  <a:cubicBezTo>
                    <a:pt x="30" y="0"/>
                    <a:pt x="30" y="0"/>
                    <a:pt x="30" y="0"/>
                  </a:cubicBezTo>
                  <a:cubicBezTo>
                    <a:pt x="4" y="2"/>
                    <a:pt x="4" y="2"/>
                    <a:pt x="4" y="2"/>
                  </a:cubicBezTo>
                  <a:cubicBezTo>
                    <a:pt x="11" y="10"/>
                    <a:pt x="11" y="10"/>
                    <a:pt x="11" y="10"/>
                  </a:cubicBezTo>
                  <a:cubicBezTo>
                    <a:pt x="9" y="12"/>
                    <a:pt x="9" y="12"/>
                    <a:pt x="9" y="12"/>
                  </a:cubicBezTo>
                  <a:cubicBezTo>
                    <a:pt x="3" y="19"/>
                    <a:pt x="0" y="27"/>
                    <a:pt x="0" y="36"/>
                  </a:cubicBezTo>
                  <a:cubicBezTo>
                    <a:pt x="0" y="55"/>
                    <a:pt x="16" y="71"/>
                    <a:pt x="35" y="71"/>
                  </a:cubicBezTo>
                  <a:cubicBezTo>
                    <a:pt x="35" y="71"/>
                    <a:pt x="35" y="71"/>
                    <a:pt x="35" y="71"/>
                  </a:cubicBezTo>
                  <a:cubicBezTo>
                    <a:pt x="55" y="71"/>
                    <a:pt x="70" y="55"/>
                    <a:pt x="70" y="35"/>
                  </a:cubicBezTo>
                  <a:cubicBezTo>
                    <a:pt x="70" y="26"/>
                    <a:pt x="67" y="18"/>
                    <a:pt x="61" y="11"/>
                  </a:cubicBezTo>
                </a:path>
              </a:pathLst>
            </a:custGeom>
            <a:solidFill>
              <a:srgbClr val="EDC30D"/>
            </a:solidFill>
            <a:ln>
              <a:noFill/>
            </a:ln>
          </p:spPr>
          <p:txBody>
            <a:bodyPr vert="horz" wrap="square" lIns="91440" tIns="45720" rIns="91440" bIns="45720" numCol="1" anchor="t" anchorCtr="0" compatLnSpc="1">
              <a:prstTxWarp prst="textNoShape">
                <a:avLst/>
              </a:prstTxWarp>
            </a:bodyPr>
            <a:lstStyle/>
            <a:p>
              <a:endParaRPr lang="en-US" sz="1600">
                <a:solidFill>
                  <a:srgbClr val="000000"/>
                </a:solidFill>
              </a:endParaRPr>
            </a:p>
          </p:txBody>
        </p:sp>
      </p:grpSp>
      <p:grpSp>
        <p:nvGrpSpPr>
          <p:cNvPr id="287" name="Group 286"/>
          <p:cNvGrpSpPr/>
          <p:nvPr/>
        </p:nvGrpSpPr>
        <p:grpSpPr>
          <a:xfrm>
            <a:off x="4239113" y="3007659"/>
            <a:ext cx="1442048" cy="268606"/>
            <a:chOff x="4306193" y="3788016"/>
            <a:chExt cx="1442048" cy="268606"/>
          </a:xfrm>
        </p:grpSpPr>
        <p:sp>
          <p:nvSpPr>
            <p:cNvPr id="288" name="TextBox 293"/>
            <p:cNvSpPr txBox="1"/>
            <p:nvPr/>
          </p:nvSpPr>
          <p:spPr>
            <a:xfrm>
              <a:off x="4675832" y="3818658"/>
              <a:ext cx="1072409" cy="215444"/>
            </a:xfrm>
            <a:prstGeom prst="rect">
              <a:avLst/>
            </a:prstGeom>
            <a:noFill/>
            <a:ln>
              <a:solidFill>
                <a:schemeClr val="bg1"/>
              </a:solidFill>
            </a:ln>
          </p:spPr>
          <p:txBody>
            <a:bodyPr wrap="none" lIns="0" tIns="0" rIns="0" bIns="0" rtlCol="0" anchor="ctr">
              <a:spAutoFit/>
            </a:bodyPr>
            <a:lstStyle/>
            <a:p>
              <a:pPr defTabSz="932293" fontAlgn="base">
                <a:spcBef>
                  <a:spcPct val="0"/>
                </a:spcBef>
                <a:spcAft>
                  <a:spcPct val="0"/>
                </a:spcAft>
              </a:pPr>
              <a:r>
                <a:rPr lang="en-US" sz="1400">
                  <a:solidFill>
                    <a:srgbClr val="000000"/>
                  </a:solidFill>
                  <a:ea typeface="Segoe UI" pitchFamily="34" charset="0"/>
                  <a:cs typeface="Segoe UI" pitchFamily="34" charset="0"/>
                </a:rPr>
                <a:t>Visualizations</a:t>
              </a:r>
              <a:endParaRPr lang="en-US" sz="1200">
                <a:solidFill>
                  <a:srgbClr val="000000"/>
                </a:solidFill>
                <a:ea typeface="Segoe UI" pitchFamily="34" charset="0"/>
                <a:cs typeface="Segoe UI" pitchFamily="34" charset="0"/>
              </a:endParaRPr>
            </a:p>
          </p:txBody>
        </p:sp>
        <p:sp>
          <p:nvSpPr>
            <p:cNvPr id="289" name="Freeform 288"/>
            <p:cNvSpPr>
              <a:spLocks noChangeAspect="1"/>
            </p:cNvSpPr>
            <p:nvPr/>
          </p:nvSpPr>
          <p:spPr bwMode="black">
            <a:xfrm>
              <a:off x="4306193" y="3788016"/>
              <a:ext cx="274320" cy="268606"/>
            </a:xfrm>
            <a:custGeom>
              <a:avLst/>
              <a:gdLst>
                <a:gd name="connsiteX0" fmla="*/ 3713863 w 4893730"/>
                <a:gd name="connsiteY0" fmla="*/ 2130808 h 4791777"/>
                <a:gd name="connsiteX1" fmla="*/ 4426142 w 4893730"/>
                <a:gd name="connsiteY1" fmla="*/ 2130808 h 4791777"/>
                <a:gd name="connsiteX2" fmla="*/ 4598071 w 4893730"/>
                <a:gd name="connsiteY2" fmla="*/ 2301547 h 4791777"/>
                <a:gd name="connsiteX3" fmla="*/ 4598071 w 4893730"/>
                <a:gd name="connsiteY3" fmla="*/ 3886978 h 4791777"/>
                <a:gd name="connsiteX4" fmla="*/ 4426142 w 4893730"/>
                <a:gd name="connsiteY4" fmla="*/ 4057717 h 4791777"/>
                <a:gd name="connsiteX5" fmla="*/ 3713863 w 4893730"/>
                <a:gd name="connsiteY5" fmla="*/ 4057717 h 4791777"/>
                <a:gd name="connsiteX6" fmla="*/ 3517372 w 4893730"/>
                <a:gd name="connsiteY6" fmla="*/ 3886978 h 4791777"/>
                <a:gd name="connsiteX7" fmla="*/ 3517372 w 4893730"/>
                <a:gd name="connsiteY7" fmla="*/ 2301547 h 4791777"/>
                <a:gd name="connsiteX8" fmla="*/ 3713863 w 4893730"/>
                <a:gd name="connsiteY8" fmla="*/ 2130808 h 4791777"/>
                <a:gd name="connsiteX9" fmla="*/ 904368 w 4893730"/>
                <a:gd name="connsiteY9" fmla="*/ 1223432 h 4791777"/>
                <a:gd name="connsiteX10" fmla="*/ 1609930 w 4893730"/>
                <a:gd name="connsiteY10" fmla="*/ 1223432 h 4791777"/>
                <a:gd name="connsiteX11" fmla="*/ 1804567 w 4893730"/>
                <a:gd name="connsiteY11" fmla="*/ 1394467 h 4791777"/>
                <a:gd name="connsiteX12" fmla="*/ 1804567 w 4893730"/>
                <a:gd name="connsiteY12" fmla="*/ 3886683 h 4791777"/>
                <a:gd name="connsiteX13" fmla="*/ 1609930 w 4893730"/>
                <a:gd name="connsiteY13" fmla="*/ 4057717 h 4791777"/>
                <a:gd name="connsiteX14" fmla="*/ 904368 w 4893730"/>
                <a:gd name="connsiteY14" fmla="*/ 4057717 h 4791777"/>
                <a:gd name="connsiteX15" fmla="*/ 734060 w 4893730"/>
                <a:gd name="connsiteY15" fmla="*/ 3886683 h 4791777"/>
                <a:gd name="connsiteX16" fmla="*/ 734060 w 4893730"/>
                <a:gd name="connsiteY16" fmla="*/ 1394467 h 4791777"/>
                <a:gd name="connsiteX17" fmla="*/ 904368 w 4893730"/>
                <a:gd name="connsiteY17" fmla="*/ 1223432 h 4791777"/>
                <a:gd name="connsiteX18" fmla="*/ 2325453 w 4893730"/>
                <a:gd name="connsiteY18" fmla="*/ 316050 h 4791777"/>
                <a:gd name="connsiteX19" fmla="*/ 3031014 w 4893730"/>
                <a:gd name="connsiteY19" fmla="*/ 316050 h 4791777"/>
                <a:gd name="connsiteX20" fmla="*/ 3201322 w 4893730"/>
                <a:gd name="connsiteY20" fmla="*/ 487238 h 4791777"/>
                <a:gd name="connsiteX21" fmla="*/ 3201322 w 4893730"/>
                <a:gd name="connsiteY21" fmla="*/ 3886530 h 4791777"/>
                <a:gd name="connsiteX22" fmla="*/ 3031014 w 4893730"/>
                <a:gd name="connsiteY22" fmla="*/ 4057717 h 4791777"/>
                <a:gd name="connsiteX23" fmla="*/ 2325453 w 4893730"/>
                <a:gd name="connsiteY23" fmla="*/ 4057717 h 4791777"/>
                <a:gd name="connsiteX24" fmla="*/ 2130815 w 4893730"/>
                <a:gd name="connsiteY24" fmla="*/ 3886530 h 4791777"/>
                <a:gd name="connsiteX25" fmla="*/ 2130815 w 4893730"/>
                <a:gd name="connsiteY25" fmla="*/ 487238 h 4791777"/>
                <a:gd name="connsiteX26" fmla="*/ 2325453 w 4893730"/>
                <a:gd name="connsiteY26" fmla="*/ 316050 h 4791777"/>
                <a:gd name="connsiteX27" fmla="*/ 269155 w 4893730"/>
                <a:gd name="connsiteY27" fmla="*/ 0 h 4791777"/>
                <a:gd name="connsiteX28" fmla="*/ 538311 w 4893730"/>
                <a:gd name="connsiteY28" fmla="*/ 268927 h 4791777"/>
                <a:gd name="connsiteX29" fmla="*/ 538311 w 4893730"/>
                <a:gd name="connsiteY29" fmla="*/ 4253925 h 4791777"/>
                <a:gd name="connsiteX30" fmla="*/ 4624575 w 4893730"/>
                <a:gd name="connsiteY30" fmla="*/ 4253925 h 4791777"/>
                <a:gd name="connsiteX31" fmla="*/ 4893730 w 4893730"/>
                <a:gd name="connsiteY31" fmla="*/ 4522851 h 4791777"/>
                <a:gd name="connsiteX32" fmla="*/ 4624575 w 4893730"/>
                <a:gd name="connsiteY32" fmla="*/ 4791777 h 4791777"/>
                <a:gd name="connsiteX33" fmla="*/ 269155 w 4893730"/>
                <a:gd name="connsiteY33" fmla="*/ 4791777 h 4791777"/>
                <a:gd name="connsiteX34" fmla="*/ 0 w 4893730"/>
                <a:gd name="connsiteY34" fmla="*/ 4522851 h 4791777"/>
                <a:gd name="connsiteX35" fmla="*/ 0 w 4893730"/>
                <a:gd name="connsiteY35" fmla="*/ 268927 h 4791777"/>
                <a:gd name="connsiteX36" fmla="*/ 269155 w 4893730"/>
                <a:gd name="connsiteY36" fmla="*/ 0 h 4791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4893730" h="4791777">
                  <a:moveTo>
                    <a:pt x="3713863" y="2130808"/>
                  </a:moveTo>
                  <a:cubicBezTo>
                    <a:pt x="3713863" y="2130808"/>
                    <a:pt x="3713863" y="2130808"/>
                    <a:pt x="4426142" y="2130808"/>
                  </a:cubicBezTo>
                  <a:cubicBezTo>
                    <a:pt x="4524387" y="2130808"/>
                    <a:pt x="4598071" y="2203982"/>
                    <a:pt x="4598071" y="2301547"/>
                  </a:cubicBezTo>
                  <a:cubicBezTo>
                    <a:pt x="4598071" y="2301547"/>
                    <a:pt x="4598071" y="2301547"/>
                    <a:pt x="4598071" y="3886978"/>
                  </a:cubicBezTo>
                  <a:cubicBezTo>
                    <a:pt x="4598071" y="3984543"/>
                    <a:pt x="4524387" y="4057717"/>
                    <a:pt x="4426142" y="4057717"/>
                  </a:cubicBezTo>
                  <a:cubicBezTo>
                    <a:pt x="4426142" y="4057717"/>
                    <a:pt x="4426142" y="4057717"/>
                    <a:pt x="3713863" y="4057717"/>
                  </a:cubicBezTo>
                  <a:cubicBezTo>
                    <a:pt x="3615618" y="4057717"/>
                    <a:pt x="3517372" y="3984543"/>
                    <a:pt x="3517372" y="3886978"/>
                  </a:cubicBezTo>
                  <a:cubicBezTo>
                    <a:pt x="3517372" y="3886978"/>
                    <a:pt x="3517372" y="3886978"/>
                    <a:pt x="3517372" y="2301547"/>
                  </a:cubicBezTo>
                  <a:cubicBezTo>
                    <a:pt x="3517372" y="2203982"/>
                    <a:pt x="3615618" y="2130808"/>
                    <a:pt x="3713863" y="2130808"/>
                  </a:cubicBezTo>
                  <a:close/>
                  <a:moveTo>
                    <a:pt x="904368" y="1223432"/>
                  </a:moveTo>
                  <a:cubicBezTo>
                    <a:pt x="904368" y="1223432"/>
                    <a:pt x="904368" y="1223432"/>
                    <a:pt x="1609930" y="1223432"/>
                  </a:cubicBezTo>
                  <a:cubicBezTo>
                    <a:pt x="1731578" y="1223432"/>
                    <a:pt x="1804567" y="1296733"/>
                    <a:pt x="1804567" y="1394467"/>
                  </a:cubicBezTo>
                  <a:cubicBezTo>
                    <a:pt x="1804567" y="1394467"/>
                    <a:pt x="1804567" y="1394467"/>
                    <a:pt x="1804567" y="3886683"/>
                  </a:cubicBezTo>
                  <a:cubicBezTo>
                    <a:pt x="1804567" y="3984417"/>
                    <a:pt x="1731578" y="4057717"/>
                    <a:pt x="1609930" y="4057717"/>
                  </a:cubicBezTo>
                  <a:cubicBezTo>
                    <a:pt x="1609930" y="4057717"/>
                    <a:pt x="1609930" y="4057717"/>
                    <a:pt x="904368" y="4057717"/>
                  </a:cubicBezTo>
                  <a:cubicBezTo>
                    <a:pt x="807049" y="4057717"/>
                    <a:pt x="734060" y="3984417"/>
                    <a:pt x="734060" y="3886683"/>
                  </a:cubicBezTo>
                  <a:cubicBezTo>
                    <a:pt x="734060" y="3886683"/>
                    <a:pt x="734060" y="3886683"/>
                    <a:pt x="734060" y="1394467"/>
                  </a:cubicBezTo>
                  <a:cubicBezTo>
                    <a:pt x="734060" y="1296733"/>
                    <a:pt x="807049" y="1223432"/>
                    <a:pt x="904368" y="1223432"/>
                  </a:cubicBezTo>
                  <a:close/>
                  <a:moveTo>
                    <a:pt x="2325453" y="316050"/>
                  </a:moveTo>
                  <a:cubicBezTo>
                    <a:pt x="2325453" y="316050"/>
                    <a:pt x="2325453" y="316050"/>
                    <a:pt x="3031014" y="316050"/>
                  </a:cubicBezTo>
                  <a:cubicBezTo>
                    <a:pt x="3128333" y="316050"/>
                    <a:pt x="3201322" y="389416"/>
                    <a:pt x="3201322" y="487238"/>
                  </a:cubicBezTo>
                  <a:cubicBezTo>
                    <a:pt x="3201322" y="487238"/>
                    <a:pt x="3201322" y="487238"/>
                    <a:pt x="3201322" y="3886530"/>
                  </a:cubicBezTo>
                  <a:cubicBezTo>
                    <a:pt x="3201322" y="3984351"/>
                    <a:pt x="3128333" y="4057717"/>
                    <a:pt x="3031014" y="4057717"/>
                  </a:cubicBezTo>
                  <a:cubicBezTo>
                    <a:pt x="3031014" y="4057717"/>
                    <a:pt x="3031014" y="4057717"/>
                    <a:pt x="2325453" y="4057717"/>
                  </a:cubicBezTo>
                  <a:cubicBezTo>
                    <a:pt x="2203804" y="4057717"/>
                    <a:pt x="2130815" y="3984351"/>
                    <a:pt x="2130815" y="3886530"/>
                  </a:cubicBezTo>
                  <a:cubicBezTo>
                    <a:pt x="2130815" y="3886530"/>
                    <a:pt x="2130815" y="3886530"/>
                    <a:pt x="2130815" y="487238"/>
                  </a:cubicBezTo>
                  <a:cubicBezTo>
                    <a:pt x="2130815" y="389416"/>
                    <a:pt x="2203804" y="316050"/>
                    <a:pt x="2325453" y="316050"/>
                  </a:cubicBezTo>
                  <a:close/>
                  <a:moveTo>
                    <a:pt x="269155" y="0"/>
                  </a:moveTo>
                  <a:cubicBezTo>
                    <a:pt x="415967" y="0"/>
                    <a:pt x="538311" y="122239"/>
                    <a:pt x="538311" y="268927"/>
                  </a:cubicBezTo>
                  <a:cubicBezTo>
                    <a:pt x="538311" y="268927"/>
                    <a:pt x="538311" y="268927"/>
                    <a:pt x="538311" y="4253925"/>
                  </a:cubicBezTo>
                  <a:cubicBezTo>
                    <a:pt x="538311" y="4253925"/>
                    <a:pt x="538311" y="4253925"/>
                    <a:pt x="4624575" y="4253925"/>
                  </a:cubicBezTo>
                  <a:cubicBezTo>
                    <a:pt x="4771387" y="4253925"/>
                    <a:pt x="4893730" y="4376164"/>
                    <a:pt x="4893730" y="4522851"/>
                  </a:cubicBezTo>
                  <a:cubicBezTo>
                    <a:pt x="4893730" y="4669538"/>
                    <a:pt x="4771387" y="4791777"/>
                    <a:pt x="4624575" y="4791777"/>
                  </a:cubicBezTo>
                  <a:cubicBezTo>
                    <a:pt x="4624575" y="4791777"/>
                    <a:pt x="4624575" y="4791777"/>
                    <a:pt x="269155" y="4791777"/>
                  </a:cubicBezTo>
                  <a:cubicBezTo>
                    <a:pt x="122344" y="4791777"/>
                    <a:pt x="0" y="4669538"/>
                    <a:pt x="0" y="4522851"/>
                  </a:cubicBezTo>
                  <a:cubicBezTo>
                    <a:pt x="0" y="4522851"/>
                    <a:pt x="0" y="4522851"/>
                    <a:pt x="0" y="268927"/>
                  </a:cubicBezTo>
                  <a:cubicBezTo>
                    <a:pt x="0" y="122239"/>
                    <a:pt x="122344" y="0"/>
                    <a:pt x="269155" y="0"/>
                  </a:cubicBezTo>
                  <a:close/>
                </a:path>
              </a:pathLst>
            </a:custGeom>
            <a:solidFill>
              <a:srgbClr val="EDC30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8" tIns="109719" rIns="137148" bIns="109719" numCol="1" spcCol="0" rtlCol="0" fromWordArt="0" anchor="t" anchorCtr="0" forceAA="0" compatLnSpc="1">
              <a:prstTxWarp prst="textNoShape">
                <a:avLst/>
              </a:prstTxWarp>
              <a:noAutofit/>
            </a:bodyPr>
            <a:lstStyle/>
            <a:p>
              <a:pPr algn="ctr" defTabSz="699261" fontAlgn="base">
                <a:lnSpc>
                  <a:spcPct val="90000"/>
                </a:lnSpc>
                <a:spcBef>
                  <a:spcPct val="0"/>
                </a:spcBef>
                <a:spcAft>
                  <a:spcPct val="0"/>
                </a:spcAft>
              </a:pPr>
              <a:endParaRPr lang="en-US">
                <a:gradFill>
                  <a:gsLst>
                    <a:gs pos="0">
                      <a:srgbClr val="FFFFFF"/>
                    </a:gs>
                    <a:gs pos="100000">
                      <a:srgbClr val="FFFFFF"/>
                    </a:gs>
                  </a:gsLst>
                  <a:lin ang="5400000" scaled="0"/>
                </a:gradFill>
                <a:ea typeface="Segoe UI" pitchFamily="34" charset="0"/>
                <a:cs typeface="Segoe UI" pitchFamily="34" charset="0"/>
              </a:endParaRPr>
            </a:p>
          </p:txBody>
        </p:sp>
      </p:grpSp>
      <p:grpSp>
        <p:nvGrpSpPr>
          <p:cNvPr id="291" name="Group 290"/>
          <p:cNvGrpSpPr/>
          <p:nvPr/>
        </p:nvGrpSpPr>
        <p:grpSpPr>
          <a:xfrm>
            <a:off x="4238517" y="2456357"/>
            <a:ext cx="1646867" cy="274320"/>
            <a:chOff x="4305597" y="3236714"/>
            <a:chExt cx="1646867" cy="274320"/>
          </a:xfrm>
        </p:grpSpPr>
        <p:sp>
          <p:nvSpPr>
            <p:cNvPr id="292" name="TextBox 293"/>
            <p:cNvSpPr txBox="1"/>
            <p:nvPr/>
          </p:nvSpPr>
          <p:spPr>
            <a:xfrm>
              <a:off x="4675832" y="3268771"/>
              <a:ext cx="1276632" cy="215444"/>
            </a:xfrm>
            <a:prstGeom prst="rect">
              <a:avLst/>
            </a:prstGeom>
            <a:noFill/>
            <a:ln>
              <a:solidFill>
                <a:schemeClr val="bg1"/>
              </a:solidFill>
            </a:ln>
          </p:spPr>
          <p:txBody>
            <a:bodyPr wrap="none" lIns="0" tIns="0" rIns="0" bIns="0" rtlCol="0" anchor="ctr">
              <a:spAutoFit/>
            </a:bodyPr>
            <a:lstStyle/>
            <a:p>
              <a:pPr defTabSz="932293" fontAlgn="base">
                <a:spcBef>
                  <a:spcPct val="0"/>
                </a:spcBef>
                <a:spcAft>
                  <a:spcPct val="0"/>
                </a:spcAft>
              </a:pPr>
              <a:r>
                <a:rPr lang="en-US" sz="1400">
                  <a:solidFill>
                    <a:srgbClr val="000000"/>
                  </a:solidFill>
                  <a:ea typeface="Segoe UI" pitchFamily="34" charset="0"/>
                  <a:cs typeface="Segoe UI" pitchFamily="34" charset="0"/>
                </a:rPr>
                <a:t>Live dashboards</a:t>
              </a:r>
            </a:p>
          </p:txBody>
        </p:sp>
        <p:sp>
          <p:nvSpPr>
            <p:cNvPr id="293" name="Freeform 5"/>
            <p:cNvSpPr>
              <a:spLocks noChangeAspect="1" noEditPoints="1"/>
            </p:cNvSpPr>
            <p:nvPr/>
          </p:nvSpPr>
          <p:spPr bwMode="black">
            <a:xfrm>
              <a:off x="4305597" y="3236714"/>
              <a:ext cx="275513" cy="274320"/>
            </a:xfrm>
            <a:custGeom>
              <a:avLst/>
              <a:gdLst>
                <a:gd name="T0" fmla="*/ 402 w 1088"/>
                <a:gd name="T1" fmla="*/ 588 h 1090"/>
                <a:gd name="T2" fmla="*/ 502 w 1088"/>
                <a:gd name="T3" fmla="*/ 688 h 1090"/>
                <a:gd name="T4" fmla="*/ 502 w 1088"/>
                <a:gd name="T5" fmla="*/ 989 h 1090"/>
                <a:gd name="T6" fmla="*/ 402 w 1088"/>
                <a:gd name="T7" fmla="*/ 1090 h 1090"/>
                <a:gd name="T8" fmla="*/ 100 w 1088"/>
                <a:gd name="T9" fmla="*/ 1090 h 1090"/>
                <a:gd name="T10" fmla="*/ 0 w 1088"/>
                <a:gd name="T11" fmla="*/ 989 h 1090"/>
                <a:gd name="T12" fmla="*/ 0 w 1088"/>
                <a:gd name="T13" fmla="*/ 688 h 1090"/>
                <a:gd name="T14" fmla="*/ 100 w 1088"/>
                <a:gd name="T15" fmla="*/ 588 h 1090"/>
                <a:gd name="T16" fmla="*/ 402 w 1088"/>
                <a:gd name="T17" fmla="*/ 588 h 1090"/>
                <a:gd name="T18" fmla="*/ 402 w 1088"/>
                <a:gd name="T19" fmla="*/ 588 h 1090"/>
                <a:gd name="T20" fmla="*/ 402 w 1088"/>
                <a:gd name="T21" fmla="*/ 2 h 1090"/>
                <a:gd name="T22" fmla="*/ 402 w 1088"/>
                <a:gd name="T23" fmla="*/ 2 h 1090"/>
                <a:gd name="T24" fmla="*/ 100 w 1088"/>
                <a:gd name="T25" fmla="*/ 2 h 1090"/>
                <a:gd name="T26" fmla="*/ 0 w 1088"/>
                <a:gd name="T27" fmla="*/ 103 h 1090"/>
                <a:gd name="T28" fmla="*/ 0 w 1088"/>
                <a:gd name="T29" fmla="*/ 403 h 1090"/>
                <a:gd name="T30" fmla="*/ 100 w 1088"/>
                <a:gd name="T31" fmla="*/ 504 h 1090"/>
                <a:gd name="T32" fmla="*/ 402 w 1088"/>
                <a:gd name="T33" fmla="*/ 504 h 1090"/>
                <a:gd name="T34" fmla="*/ 502 w 1088"/>
                <a:gd name="T35" fmla="*/ 403 h 1090"/>
                <a:gd name="T36" fmla="*/ 502 w 1088"/>
                <a:gd name="T37" fmla="*/ 103 h 1090"/>
                <a:gd name="T38" fmla="*/ 402 w 1088"/>
                <a:gd name="T39" fmla="*/ 2 h 1090"/>
                <a:gd name="T40" fmla="*/ 966 w 1088"/>
                <a:gd name="T41" fmla="*/ 0 h 1090"/>
                <a:gd name="T42" fmla="*/ 1088 w 1088"/>
                <a:gd name="T43" fmla="*/ 121 h 1090"/>
                <a:gd name="T44" fmla="*/ 1088 w 1088"/>
                <a:gd name="T45" fmla="*/ 383 h 1090"/>
                <a:gd name="T46" fmla="*/ 966 w 1088"/>
                <a:gd name="T47" fmla="*/ 504 h 1090"/>
                <a:gd name="T48" fmla="*/ 704 w 1088"/>
                <a:gd name="T49" fmla="*/ 504 h 1090"/>
                <a:gd name="T50" fmla="*/ 583 w 1088"/>
                <a:gd name="T51" fmla="*/ 383 h 1090"/>
                <a:gd name="T52" fmla="*/ 583 w 1088"/>
                <a:gd name="T53" fmla="*/ 121 h 1090"/>
                <a:gd name="T54" fmla="*/ 704 w 1088"/>
                <a:gd name="T55" fmla="*/ 0 h 1090"/>
                <a:gd name="T56" fmla="*/ 966 w 1088"/>
                <a:gd name="T57" fmla="*/ 0 h 1090"/>
                <a:gd name="T58" fmla="*/ 1020 w 1088"/>
                <a:gd name="T59" fmla="*/ 383 h 1090"/>
                <a:gd name="T60" fmla="*/ 1020 w 1088"/>
                <a:gd name="T61" fmla="*/ 383 h 1090"/>
                <a:gd name="T62" fmla="*/ 1020 w 1088"/>
                <a:gd name="T63" fmla="*/ 121 h 1090"/>
                <a:gd name="T64" fmla="*/ 966 w 1088"/>
                <a:gd name="T65" fmla="*/ 67 h 1090"/>
                <a:gd name="T66" fmla="*/ 704 w 1088"/>
                <a:gd name="T67" fmla="*/ 67 h 1090"/>
                <a:gd name="T68" fmla="*/ 650 w 1088"/>
                <a:gd name="T69" fmla="*/ 121 h 1090"/>
                <a:gd name="T70" fmla="*/ 650 w 1088"/>
                <a:gd name="T71" fmla="*/ 383 h 1090"/>
                <a:gd name="T72" fmla="*/ 704 w 1088"/>
                <a:gd name="T73" fmla="*/ 437 h 1090"/>
                <a:gd name="T74" fmla="*/ 966 w 1088"/>
                <a:gd name="T75" fmla="*/ 437 h 1090"/>
                <a:gd name="T76" fmla="*/ 1020 w 1088"/>
                <a:gd name="T77" fmla="*/ 383 h 1090"/>
                <a:gd name="T78" fmla="*/ 584 w 1088"/>
                <a:gd name="T79" fmla="*/ 688 h 1090"/>
                <a:gd name="T80" fmla="*/ 584 w 1088"/>
                <a:gd name="T81" fmla="*/ 688 h 1090"/>
                <a:gd name="T82" fmla="*/ 584 w 1088"/>
                <a:gd name="T83" fmla="*/ 989 h 1090"/>
                <a:gd name="T84" fmla="*/ 686 w 1088"/>
                <a:gd name="T85" fmla="*/ 1090 h 1090"/>
                <a:gd name="T86" fmla="*/ 987 w 1088"/>
                <a:gd name="T87" fmla="*/ 1090 h 1090"/>
                <a:gd name="T88" fmla="*/ 1088 w 1088"/>
                <a:gd name="T89" fmla="*/ 989 h 1090"/>
                <a:gd name="T90" fmla="*/ 1088 w 1088"/>
                <a:gd name="T91" fmla="*/ 688 h 1090"/>
                <a:gd name="T92" fmla="*/ 987 w 1088"/>
                <a:gd name="T93" fmla="*/ 588 h 1090"/>
                <a:gd name="T94" fmla="*/ 686 w 1088"/>
                <a:gd name="T95" fmla="*/ 588 h 1090"/>
                <a:gd name="T96" fmla="*/ 584 w 1088"/>
                <a:gd name="T97" fmla="*/ 688 h 10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088" h="1090">
                  <a:moveTo>
                    <a:pt x="402" y="588"/>
                  </a:moveTo>
                  <a:cubicBezTo>
                    <a:pt x="469" y="588"/>
                    <a:pt x="502" y="621"/>
                    <a:pt x="502" y="688"/>
                  </a:cubicBezTo>
                  <a:cubicBezTo>
                    <a:pt x="502" y="989"/>
                    <a:pt x="502" y="989"/>
                    <a:pt x="502" y="989"/>
                  </a:cubicBezTo>
                  <a:cubicBezTo>
                    <a:pt x="502" y="1056"/>
                    <a:pt x="469" y="1090"/>
                    <a:pt x="402" y="1090"/>
                  </a:cubicBezTo>
                  <a:cubicBezTo>
                    <a:pt x="100" y="1090"/>
                    <a:pt x="100" y="1090"/>
                    <a:pt x="100" y="1090"/>
                  </a:cubicBezTo>
                  <a:cubicBezTo>
                    <a:pt x="33" y="1090"/>
                    <a:pt x="0" y="1056"/>
                    <a:pt x="0" y="989"/>
                  </a:cubicBezTo>
                  <a:cubicBezTo>
                    <a:pt x="0" y="688"/>
                    <a:pt x="0" y="688"/>
                    <a:pt x="0" y="688"/>
                  </a:cubicBezTo>
                  <a:cubicBezTo>
                    <a:pt x="0" y="621"/>
                    <a:pt x="33" y="588"/>
                    <a:pt x="100" y="588"/>
                  </a:cubicBezTo>
                  <a:cubicBezTo>
                    <a:pt x="402" y="588"/>
                    <a:pt x="402" y="588"/>
                    <a:pt x="402" y="588"/>
                  </a:cubicBezTo>
                  <a:cubicBezTo>
                    <a:pt x="402" y="588"/>
                    <a:pt x="402" y="588"/>
                    <a:pt x="402" y="588"/>
                  </a:cubicBezTo>
                  <a:close/>
                  <a:moveTo>
                    <a:pt x="402" y="2"/>
                  </a:moveTo>
                  <a:cubicBezTo>
                    <a:pt x="402" y="2"/>
                    <a:pt x="402" y="2"/>
                    <a:pt x="402" y="2"/>
                  </a:cubicBezTo>
                  <a:cubicBezTo>
                    <a:pt x="100" y="2"/>
                    <a:pt x="100" y="2"/>
                    <a:pt x="100" y="2"/>
                  </a:cubicBezTo>
                  <a:cubicBezTo>
                    <a:pt x="33" y="2"/>
                    <a:pt x="0" y="36"/>
                    <a:pt x="0" y="103"/>
                  </a:cubicBezTo>
                  <a:cubicBezTo>
                    <a:pt x="0" y="103"/>
                    <a:pt x="0" y="103"/>
                    <a:pt x="0" y="403"/>
                  </a:cubicBezTo>
                  <a:cubicBezTo>
                    <a:pt x="0" y="471"/>
                    <a:pt x="33" y="504"/>
                    <a:pt x="100" y="504"/>
                  </a:cubicBezTo>
                  <a:cubicBezTo>
                    <a:pt x="100" y="504"/>
                    <a:pt x="100" y="504"/>
                    <a:pt x="402" y="504"/>
                  </a:cubicBezTo>
                  <a:cubicBezTo>
                    <a:pt x="469" y="504"/>
                    <a:pt x="502" y="471"/>
                    <a:pt x="502" y="403"/>
                  </a:cubicBezTo>
                  <a:cubicBezTo>
                    <a:pt x="502" y="403"/>
                    <a:pt x="502" y="403"/>
                    <a:pt x="502" y="103"/>
                  </a:cubicBezTo>
                  <a:cubicBezTo>
                    <a:pt x="502" y="36"/>
                    <a:pt x="469" y="2"/>
                    <a:pt x="402" y="2"/>
                  </a:cubicBezTo>
                  <a:close/>
                  <a:moveTo>
                    <a:pt x="966" y="0"/>
                  </a:moveTo>
                  <a:cubicBezTo>
                    <a:pt x="1048" y="0"/>
                    <a:pt x="1088" y="40"/>
                    <a:pt x="1088" y="121"/>
                  </a:cubicBezTo>
                  <a:cubicBezTo>
                    <a:pt x="1088" y="121"/>
                    <a:pt x="1088" y="121"/>
                    <a:pt x="1088" y="383"/>
                  </a:cubicBezTo>
                  <a:cubicBezTo>
                    <a:pt x="1088" y="464"/>
                    <a:pt x="1048" y="504"/>
                    <a:pt x="966" y="504"/>
                  </a:cubicBezTo>
                  <a:cubicBezTo>
                    <a:pt x="966" y="504"/>
                    <a:pt x="966" y="504"/>
                    <a:pt x="704" y="504"/>
                  </a:cubicBezTo>
                  <a:cubicBezTo>
                    <a:pt x="623" y="504"/>
                    <a:pt x="583" y="464"/>
                    <a:pt x="583" y="383"/>
                  </a:cubicBezTo>
                  <a:cubicBezTo>
                    <a:pt x="583" y="383"/>
                    <a:pt x="583" y="383"/>
                    <a:pt x="583" y="121"/>
                  </a:cubicBezTo>
                  <a:cubicBezTo>
                    <a:pt x="583" y="40"/>
                    <a:pt x="623" y="0"/>
                    <a:pt x="704" y="0"/>
                  </a:cubicBezTo>
                  <a:cubicBezTo>
                    <a:pt x="704" y="0"/>
                    <a:pt x="704" y="0"/>
                    <a:pt x="966" y="0"/>
                  </a:cubicBezTo>
                  <a:close/>
                  <a:moveTo>
                    <a:pt x="1020" y="383"/>
                  </a:moveTo>
                  <a:cubicBezTo>
                    <a:pt x="1020" y="383"/>
                    <a:pt x="1020" y="383"/>
                    <a:pt x="1020" y="383"/>
                  </a:cubicBezTo>
                  <a:cubicBezTo>
                    <a:pt x="1020" y="121"/>
                    <a:pt x="1020" y="121"/>
                    <a:pt x="1020" y="121"/>
                  </a:cubicBezTo>
                  <a:cubicBezTo>
                    <a:pt x="1020" y="85"/>
                    <a:pt x="1002" y="67"/>
                    <a:pt x="966" y="67"/>
                  </a:cubicBezTo>
                  <a:cubicBezTo>
                    <a:pt x="966" y="67"/>
                    <a:pt x="966" y="67"/>
                    <a:pt x="704" y="67"/>
                  </a:cubicBezTo>
                  <a:cubicBezTo>
                    <a:pt x="668" y="67"/>
                    <a:pt x="650" y="85"/>
                    <a:pt x="650" y="121"/>
                  </a:cubicBezTo>
                  <a:cubicBezTo>
                    <a:pt x="650" y="121"/>
                    <a:pt x="650" y="121"/>
                    <a:pt x="650" y="383"/>
                  </a:cubicBezTo>
                  <a:cubicBezTo>
                    <a:pt x="650" y="419"/>
                    <a:pt x="668" y="437"/>
                    <a:pt x="704" y="437"/>
                  </a:cubicBezTo>
                  <a:cubicBezTo>
                    <a:pt x="704" y="437"/>
                    <a:pt x="704" y="437"/>
                    <a:pt x="966" y="437"/>
                  </a:cubicBezTo>
                  <a:cubicBezTo>
                    <a:pt x="1002" y="437"/>
                    <a:pt x="1020" y="419"/>
                    <a:pt x="1020" y="383"/>
                  </a:cubicBezTo>
                  <a:close/>
                  <a:moveTo>
                    <a:pt x="584" y="688"/>
                  </a:moveTo>
                  <a:cubicBezTo>
                    <a:pt x="584" y="688"/>
                    <a:pt x="584" y="688"/>
                    <a:pt x="584" y="688"/>
                  </a:cubicBezTo>
                  <a:cubicBezTo>
                    <a:pt x="584" y="989"/>
                    <a:pt x="584" y="989"/>
                    <a:pt x="584" y="989"/>
                  </a:cubicBezTo>
                  <a:cubicBezTo>
                    <a:pt x="584" y="1056"/>
                    <a:pt x="619" y="1090"/>
                    <a:pt x="686" y="1090"/>
                  </a:cubicBezTo>
                  <a:cubicBezTo>
                    <a:pt x="686" y="1090"/>
                    <a:pt x="686" y="1090"/>
                    <a:pt x="987" y="1090"/>
                  </a:cubicBezTo>
                  <a:cubicBezTo>
                    <a:pt x="1054" y="1090"/>
                    <a:pt x="1088" y="1056"/>
                    <a:pt x="1088" y="989"/>
                  </a:cubicBezTo>
                  <a:cubicBezTo>
                    <a:pt x="1088" y="989"/>
                    <a:pt x="1088" y="989"/>
                    <a:pt x="1088" y="688"/>
                  </a:cubicBezTo>
                  <a:cubicBezTo>
                    <a:pt x="1088" y="621"/>
                    <a:pt x="1054" y="588"/>
                    <a:pt x="987" y="588"/>
                  </a:cubicBezTo>
                  <a:cubicBezTo>
                    <a:pt x="987" y="588"/>
                    <a:pt x="987" y="588"/>
                    <a:pt x="686" y="588"/>
                  </a:cubicBezTo>
                  <a:cubicBezTo>
                    <a:pt x="619" y="588"/>
                    <a:pt x="584" y="621"/>
                    <a:pt x="584" y="688"/>
                  </a:cubicBezTo>
                  <a:close/>
                </a:path>
              </a:pathLst>
            </a:custGeom>
            <a:solidFill>
              <a:srgbClr val="EDC30D"/>
            </a:solidFill>
            <a:ln>
              <a:noFill/>
            </a:ln>
          </p:spPr>
          <p:txBody>
            <a:bodyPr vert="horz" wrap="square" lIns="68574" tIns="34287" rIns="68574" bIns="34287" numCol="1" anchor="t" anchorCtr="0" compatLnSpc="1">
              <a:prstTxWarp prst="textNoShape">
                <a:avLst/>
              </a:prstTxWarp>
            </a:bodyPr>
            <a:lstStyle/>
            <a:p>
              <a:endParaRPr lang="en-US" sz="1350">
                <a:solidFill>
                  <a:srgbClr val="000000"/>
                </a:solidFill>
              </a:endParaRPr>
            </a:p>
          </p:txBody>
        </p:sp>
      </p:grpSp>
      <p:grpSp>
        <p:nvGrpSpPr>
          <p:cNvPr id="294" name="Group 293"/>
          <p:cNvGrpSpPr/>
          <p:nvPr/>
        </p:nvGrpSpPr>
        <p:grpSpPr>
          <a:xfrm>
            <a:off x="4239113" y="1854025"/>
            <a:ext cx="1497576" cy="290409"/>
            <a:chOff x="4306193" y="2634382"/>
            <a:chExt cx="1497576" cy="290409"/>
          </a:xfrm>
        </p:grpSpPr>
        <p:sp>
          <p:nvSpPr>
            <p:cNvPr id="295" name="Freeform 294"/>
            <p:cNvSpPr>
              <a:spLocks noChangeAspect="1"/>
            </p:cNvSpPr>
            <p:nvPr/>
          </p:nvSpPr>
          <p:spPr bwMode="black">
            <a:xfrm>
              <a:off x="4306193" y="2634382"/>
              <a:ext cx="274320" cy="290409"/>
            </a:xfrm>
            <a:custGeom>
              <a:avLst/>
              <a:gdLst>
                <a:gd name="connsiteX0" fmla="*/ 59957 w 546268"/>
                <a:gd name="connsiteY0" fmla="*/ 369868 h 578307"/>
                <a:gd name="connsiteX1" fmla="*/ 257006 w 546268"/>
                <a:gd name="connsiteY1" fmla="*/ 484264 h 578307"/>
                <a:gd name="connsiteX2" fmla="*/ 257707 w 546268"/>
                <a:gd name="connsiteY2" fmla="*/ 484264 h 578307"/>
                <a:gd name="connsiteX3" fmla="*/ 273135 w 546268"/>
                <a:gd name="connsiteY3" fmla="*/ 488475 h 578307"/>
                <a:gd name="connsiteX4" fmla="*/ 289263 w 546268"/>
                <a:gd name="connsiteY4" fmla="*/ 484264 h 578307"/>
                <a:gd name="connsiteX5" fmla="*/ 487013 w 546268"/>
                <a:gd name="connsiteY5" fmla="*/ 369868 h 578307"/>
                <a:gd name="connsiteX6" fmla="*/ 538204 w 546268"/>
                <a:gd name="connsiteY6" fmla="*/ 399344 h 578307"/>
                <a:gd name="connsiteX7" fmla="*/ 545217 w 546268"/>
                <a:gd name="connsiteY7" fmla="*/ 407766 h 578307"/>
                <a:gd name="connsiteX8" fmla="*/ 545217 w 546268"/>
                <a:gd name="connsiteY8" fmla="*/ 418995 h 578307"/>
                <a:gd name="connsiteX9" fmla="*/ 538204 w 546268"/>
                <a:gd name="connsiteY9" fmla="*/ 427417 h 578307"/>
                <a:gd name="connsiteX10" fmla="*/ 280848 w 546268"/>
                <a:gd name="connsiteY10" fmla="*/ 576202 h 578307"/>
                <a:gd name="connsiteX11" fmla="*/ 273135 w 546268"/>
                <a:gd name="connsiteY11" fmla="*/ 578307 h 578307"/>
                <a:gd name="connsiteX12" fmla="*/ 265421 w 546268"/>
                <a:gd name="connsiteY12" fmla="*/ 576202 h 578307"/>
                <a:gd name="connsiteX13" fmla="*/ 8065 w 546268"/>
                <a:gd name="connsiteY13" fmla="*/ 427417 h 578307"/>
                <a:gd name="connsiteX14" fmla="*/ 1052 w 546268"/>
                <a:gd name="connsiteY14" fmla="*/ 418995 h 578307"/>
                <a:gd name="connsiteX15" fmla="*/ 1052 w 546268"/>
                <a:gd name="connsiteY15" fmla="*/ 407766 h 578307"/>
                <a:gd name="connsiteX16" fmla="*/ 8065 w 546268"/>
                <a:gd name="connsiteY16" fmla="*/ 399344 h 578307"/>
                <a:gd name="connsiteX17" fmla="*/ 59957 w 546268"/>
                <a:gd name="connsiteY17" fmla="*/ 369868 h 578307"/>
                <a:gd name="connsiteX18" fmla="*/ 59957 w 546268"/>
                <a:gd name="connsiteY18" fmla="*/ 245100 h 578307"/>
                <a:gd name="connsiteX19" fmla="*/ 257006 w 546268"/>
                <a:gd name="connsiteY19" fmla="*/ 359394 h 578307"/>
                <a:gd name="connsiteX20" fmla="*/ 257707 w 546268"/>
                <a:gd name="connsiteY20" fmla="*/ 359394 h 578307"/>
                <a:gd name="connsiteX21" fmla="*/ 273135 w 546268"/>
                <a:gd name="connsiteY21" fmla="*/ 362900 h 578307"/>
                <a:gd name="connsiteX22" fmla="*/ 289263 w 546268"/>
                <a:gd name="connsiteY22" fmla="*/ 359394 h 578307"/>
                <a:gd name="connsiteX23" fmla="*/ 487013 w 546268"/>
                <a:gd name="connsiteY23" fmla="*/ 245100 h 578307"/>
                <a:gd name="connsiteX24" fmla="*/ 538204 w 546268"/>
                <a:gd name="connsiteY24" fmla="*/ 274550 h 578307"/>
                <a:gd name="connsiteX25" fmla="*/ 545217 w 546268"/>
                <a:gd name="connsiteY25" fmla="*/ 282964 h 578307"/>
                <a:gd name="connsiteX26" fmla="*/ 545217 w 546268"/>
                <a:gd name="connsiteY26" fmla="*/ 294183 h 578307"/>
                <a:gd name="connsiteX27" fmla="*/ 538204 w 546268"/>
                <a:gd name="connsiteY27" fmla="*/ 302598 h 578307"/>
                <a:gd name="connsiteX28" fmla="*/ 280848 w 546268"/>
                <a:gd name="connsiteY28" fmla="*/ 451250 h 578307"/>
                <a:gd name="connsiteX29" fmla="*/ 273135 w 546268"/>
                <a:gd name="connsiteY29" fmla="*/ 452652 h 578307"/>
                <a:gd name="connsiteX30" fmla="*/ 265421 w 546268"/>
                <a:gd name="connsiteY30" fmla="*/ 451250 h 578307"/>
                <a:gd name="connsiteX31" fmla="*/ 8065 w 546268"/>
                <a:gd name="connsiteY31" fmla="*/ 302598 h 578307"/>
                <a:gd name="connsiteX32" fmla="*/ 1052 w 546268"/>
                <a:gd name="connsiteY32" fmla="*/ 294183 h 578307"/>
                <a:gd name="connsiteX33" fmla="*/ 1052 w 546268"/>
                <a:gd name="connsiteY33" fmla="*/ 282964 h 578307"/>
                <a:gd name="connsiteX34" fmla="*/ 8065 w 546268"/>
                <a:gd name="connsiteY34" fmla="*/ 274550 h 578307"/>
                <a:gd name="connsiteX35" fmla="*/ 59957 w 546268"/>
                <a:gd name="connsiteY35" fmla="*/ 245100 h 578307"/>
                <a:gd name="connsiteX36" fmla="*/ 273135 w 546268"/>
                <a:gd name="connsiteY36" fmla="*/ 0 h 578307"/>
                <a:gd name="connsiteX37" fmla="*/ 280848 w 546268"/>
                <a:gd name="connsiteY37" fmla="*/ 2803 h 578307"/>
                <a:gd name="connsiteX38" fmla="*/ 538204 w 546268"/>
                <a:gd name="connsiteY38" fmla="*/ 151352 h 578307"/>
                <a:gd name="connsiteX39" fmla="*/ 545217 w 546268"/>
                <a:gd name="connsiteY39" fmla="*/ 159761 h 578307"/>
                <a:gd name="connsiteX40" fmla="*/ 545217 w 546268"/>
                <a:gd name="connsiteY40" fmla="*/ 170271 h 578307"/>
                <a:gd name="connsiteX41" fmla="*/ 538204 w 546268"/>
                <a:gd name="connsiteY41" fmla="*/ 178680 h 578307"/>
                <a:gd name="connsiteX42" fmla="*/ 280848 w 546268"/>
                <a:gd name="connsiteY42" fmla="*/ 327930 h 578307"/>
                <a:gd name="connsiteX43" fmla="*/ 277342 w 546268"/>
                <a:gd name="connsiteY43" fmla="*/ 329331 h 578307"/>
                <a:gd name="connsiteX44" fmla="*/ 273135 w 546268"/>
                <a:gd name="connsiteY44" fmla="*/ 331433 h 578307"/>
                <a:gd name="connsiteX45" fmla="*/ 268927 w 546268"/>
                <a:gd name="connsiteY45" fmla="*/ 329331 h 578307"/>
                <a:gd name="connsiteX46" fmla="*/ 265421 w 546268"/>
                <a:gd name="connsiteY46" fmla="*/ 327930 h 578307"/>
                <a:gd name="connsiteX47" fmla="*/ 8065 w 546268"/>
                <a:gd name="connsiteY47" fmla="*/ 178680 h 578307"/>
                <a:gd name="connsiteX48" fmla="*/ 1052 w 546268"/>
                <a:gd name="connsiteY48" fmla="*/ 170271 h 578307"/>
                <a:gd name="connsiteX49" fmla="*/ 1052 w 546268"/>
                <a:gd name="connsiteY49" fmla="*/ 159761 h 578307"/>
                <a:gd name="connsiteX50" fmla="*/ 8065 w 546268"/>
                <a:gd name="connsiteY50" fmla="*/ 151352 h 578307"/>
                <a:gd name="connsiteX51" fmla="*/ 265421 w 546268"/>
                <a:gd name="connsiteY51" fmla="*/ 2803 h 578307"/>
                <a:gd name="connsiteX52" fmla="*/ 273135 w 546268"/>
                <a:gd name="connsiteY52" fmla="*/ 0 h 5783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546268" h="578307">
                  <a:moveTo>
                    <a:pt x="59957" y="369868"/>
                  </a:moveTo>
                  <a:lnTo>
                    <a:pt x="257006" y="484264"/>
                  </a:lnTo>
                  <a:cubicBezTo>
                    <a:pt x="257707" y="484264"/>
                    <a:pt x="257707" y="484264"/>
                    <a:pt x="257707" y="484264"/>
                  </a:cubicBezTo>
                  <a:cubicBezTo>
                    <a:pt x="261915" y="487071"/>
                    <a:pt x="267525" y="488475"/>
                    <a:pt x="273135" y="488475"/>
                  </a:cubicBezTo>
                  <a:cubicBezTo>
                    <a:pt x="278744" y="488475"/>
                    <a:pt x="284354" y="487071"/>
                    <a:pt x="289263" y="484264"/>
                  </a:cubicBezTo>
                  <a:cubicBezTo>
                    <a:pt x="487013" y="369868"/>
                    <a:pt x="487013" y="369868"/>
                    <a:pt x="487013" y="369868"/>
                  </a:cubicBezTo>
                  <a:cubicBezTo>
                    <a:pt x="538204" y="399344"/>
                    <a:pt x="538204" y="399344"/>
                    <a:pt x="538204" y="399344"/>
                  </a:cubicBezTo>
                  <a:cubicBezTo>
                    <a:pt x="541710" y="401450"/>
                    <a:pt x="543814" y="404257"/>
                    <a:pt x="545217" y="407766"/>
                  </a:cubicBezTo>
                  <a:cubicBezTo>
                    <a:pt x="546619" y="411275"/>
                    <a:pt x="546619" y="415486"/>
                    <a:pt x="545217" y="418995"/>
                  </a:cubicBezTo>
                  <a:cubicBezTo>
                    <a:pt x="543814" y="422504"/>
                    <a:pt x="541710" y="425312"/>
                    <a:pt x="538204" y="427417"/>
                  </a:cubicBezTo>
                  <a:cubicBezTo>
                    <a:pt x="280848" y="576202"/>
                    <a:pt x="280848" y="576202"/>
                    <a:pt x="280848" y="576202"/>
                  </a:cubicBezTo>
                  <a:cubicBezTo>
                    <a:pt x="278744" y="577605"/>
                    <a:pt x="275939" y="578307"/>
                    <a:pt x="273135" y="578307"/>
                  </a:cubicBezTo>
                  <a:cubicBezTo>
                    <a:pt x="270330" y="578307"/>
                    <a:pt x="267525" y="577605"/>
                    <a:pt x="265421" y="576202"/>
                  </a:cubicBezTo>
                  <a:cubicBezTo>
                    <a:pt x="8065" y="427417"/>
                    <a:pt x="8065" y="427417"/>
                    <a:pt x="8065" y="427417"/>
                  </a:cubicBezTo>
                  <a:cubicBezTo>
                    <a:pt x="4559" y="425312"/>
                    <a:pt x="2455" y="422504"/>
                    <a:pt x="1052" y="418995"/>
                  </a:cubicBezTo>
                  <a:cubicBezTo>
                    <a:pt x="-350" y="415486"/>
                    <a:pt x="-350" y="411275"/>
                    <a:pt x="1052" y="407766"/>
                  </a:cubicBezTo>
                  <a:cubicBezTo>
                    <a:pt x="2455" y="404257"/>
                    <a:pt x="4559" y="401450"/>
                    <a:pt x="8065" y="399344"/>
                  </a:cubicBezTo>
                  <a:cubicBezTo>
                    <a:pt x="59957" y="369868"/>
                    <a:pt x="59957" y="369868"/>
                    <a:pt x="59957" y="369868"/>
                  </a:cubicBezTo>
                  <a:close/>
                  <a:moveTo>
                    <a:pt x="59957" y="245100"/>
                  </a:moveTo>
                  <a:cubicBezTo>
                    <a:pt x="257006" y="359394"/>
                    <a:pt x="257006" y="359394"/>
                    <a:pt x="257006" y="359394"/>
                  </a:cubicBezTo>
                  <a:cubicBezTo>
                    <a:pt x="257707" y="359394"/>
                    <a:pt x="257707" y="359394"/>
                    <a:pt x="257707" y="359394"/>
                  </a:cubicBezTo>
                  <a:cubicBezTo>
                    <a:pt x="261915" y="362199"/>
                    <a:pt x="267525" y="362900"/>
                    <a:pt x="273135" y="362900"/>
                  </a:cubicBezTo>
                  <a:cubicBezTo>
                    <a:pt x="278744" y="362900"/>
                    <a:pt x="284354" y="362199"/>
                    <a:pt x="289263" y="359394"/>
                  </a:cubicBezTo>
                  <a:cubicBezTo>
                    <a:pt x="487013" y="245100"/>
                    <a:pt x="487013" y="245100"/>
                    <a:pt x="487013" y="245100"/>
                  </a:cubicBezTo>
                  <a:cubicBezTo>
                    <a:pt x="538204" y="274550"/>
                    <a:pt x="538204" y="274550"/>
                    <a:pt x="538204" y="274550"/>
                  </a:cubicBezTo>
                  <a:cubicBezTo>
                    <a:pt x="541710" y="276654"/>
                    <a:pt x="543814" y="279459"/>
                    <a:pt x="545217" y="282964"/>
                  </a:cubicBezTo>
                  <a:cubicBezTo>
                    <a:pt x="546619" y="286470"/>
                    <a:pt x="546619" y="289976"/>
                    <a:pt x="545217" y="294183"/>
                  </a:cubicBezTo>
                  <a:cubicBezTo>
                    <a:pt x="543814" y="296988"/>
                    <a:pt x="541710" y="299793"/>
                    <a:pt x="538204" y="302598"/>
                  </a:cubicBezTo>
                  <a:cubicBezTo>
                    <a:pt x="280848" y="451250"/>
                    <a:pt x="280848" y="451250"/>
                    <a:pt x="280848" y="451250"/>
                  </a:cubicBezTo>
                  <a:cubicBezTo>
                    <a:pt x="278744" y="451951"/>
                    <a:pt x="275939" y="452652"/>
                    <a:pt x="273135" y="452652"/>
                  </a:cubicBezTo>
                  <a:cubicBezTo>
                    <a:pt x="270330" y="452652"/>
                    <a:pt x="267525" y="451951"/>
                    <a:pt x="265421" y="451250"/>
                  </a:cubicBezTo>
                  <a:cubicBezTo>
                    <a:pt x="8065" y="302598"/>
                    <a:pt x="8065" y="302598"/>
                    <a:pt x="8065" y="302598"/>
                  </a:cubicBezTo>
                  <a:cubicBezTo>
                    <a:pt x="4559" y="299793"/>
                    <a:pt x="2455" y="296988"/>
                    <a:pt x="1052" y="294183"/>
                  </a:cubicBezTo>
                  <a:cubicBezTo>
                    <a:pt x="-350" y="289976"/>
                    <a:pt x="-350" y="286470"/>
                    <a:pt x="1052" y="282964"/>
                  </a:cubicBezTo>
                  <a:cubicBezTo>
                    <a:pt x="2455" y="279459"/>
                    <a:pt x="4559" y="276654"/>
                    <a:pt x="8065" y="274550"/>
                  </a:cubicBezTo>
                  <a:cubicBezTo>
                    <a:pt x="59957" y="245100"/>
                    <a:pt x="59957" y="245100"/>
                    <a:pt x="59957" y="245100"/>
                  </a:cubicBezTo>
                  <a:close/>
                  <a:moveTo>
                    <a:pt x="273135" y="0"/>
                  </a:moveTo>
                  <a:cubicBezTo>
                    <a:pt x="275939" y="0"/>
                    <a:pt x="278744" y="701"/>
                    <a:pt x="280848" y="2803"/>
                  </a:cubicBezTo>
                  <a:cubicBezTo>
                    <a:pt x="538204" y="151352"/>
                    <a:pt x="538204" y="151352"/>
                    <a:pt x="538204" y="151352"/>
                  </a:cubicBezTo>
                  <a:cubicBezTo>
                    <a:pt x="541710" y="153454"/>
                    <a:pt x="543814" y="156257"/>
                    <a:pt x="545217" y="159761"/>
                  </a:cubicBezTo>
                  <a:cubicBezTo>
                    <a:pt x="546619" y="163264"/>
                    <a:pt x="546619" y="166768"/>
                    <a:pt x="545217" y="170271"/>
                  </a:cubicBezTo>
                  <a:cubicBezTo>
                    <a:pt x="543814" y="173775"/>
                    <a:pt x="541710" y="176578"/>
                    <a:pt x="538204" y="178680"/>
                  </a:cubicBezTo>
                  <a:cubicBezTo>
                    <a:pt x="280848" y="327930"/>
                    <a:pt x="280848" y="327930"/>
                    <a:pt x="280848" y="327930"/>
                  </a:cubicBezTo>
                  <a:cubicBezTo>
                    <a:pt x="280147" y="327930"/>
                    <a:pt x="278744" y="328630"/>
                    <a:pt x="277342" y="329331"/>
                  </a:cubicBezTo>
                  <a:cubicBezTo>
                    <a:pt x="273135" y="331433"/>
                    <a:pt x="273135" y="331433"/>
                    <a:pt x="273135" y="331433"/>
                  </a:cubicBezTo>
                  <a:cubicBezTo>
                    <a:pt x="268927" y="329331"/>
                    <a:pt x="268927" y="329331"/>
                    <a:pt x="268927" y="329331"/>
                  </a:cubicBezTo>
                  <a:cubicBezTo>
                    <a:pt x="267525" y="328630"/>
                    <a:pt x="266122" y="327930"/>
                    <a:pt x="265421" y="327930"/>
                  </a:cubicBezTo>
                  <a:cubicBezTo>
                    <a:pt x="8065" y="178680"/>
                    <a:pt x="8065" y="178680"/>
                    <a:pt x="8065" y="178680"/>
                  </a:cubicBezTo>
                  <a:cubicBezTo>
                    <a:pt x="4559" y="176578"/>
                    <a:pt x="2455" y="173775"/>
                    <a:pt x="1052" y="170271"/>
                  </a:cubicBezTo>
                  <a:cubicBezTo>
                    <a:pt x="-350" y="166768"/>
                    <a:pt x="-350" y="163264"/>
                    <a:pt x="1052" y="159761"/>
                  </a:cubicBezTo>
                  <a:cubicBezTo>
                    <a:pt x="2455" y="156257"/>
                    <a:pt x="4559" y="153454"/>
                    <a:pt x="8065" y="151352"/>
                  </a:cubicBezTo>
                  <a:cubicBezTo>
                    <a:pt x="265421" y="2803"/>
                    <a:pt x="265421" y="2803"/>
                    <a:pt x="265421" y="2803"/>
                  </a:cubicBezTo>
                  <a:cubicBezTo>
                    <a:pt x="267525" y="701"/>
                    <a:pt x="270330" y="0"/>
                    <a:pt x="273135" y="0"/>
                  </a:cubicBezTo>
                  <a:close/>
                </a:path>
              </a:pathLst>
            </a:custGeom>
            <a:solidFill>
              <a:srgbClr val="EDC30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71177" tIns="56942" rIns="71177" bIns="56942"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362895" fontAlgn="base">
                <a:lnSpc>
                  <a:spcPct val="90000"/>
                </a:lnSpc>
                <a:spcBef>
                  <a:spcPct val="0"/>
                </a:spcBef>
                <a:spcAft>
                  <a:spcPct val="0"/>
                </a:spcAft>
              </a:pPr>
              <a:endParaRPr lang="en-US" sz="934">
                <a:gradFill>
                  <a:gsLst>
                    <a:gs pos="0">
                      <a:srgbClr val="FFFFFF"/>
                    </a:gs>
                    <a:gs pos="100000">
                      <a:srgbClr val="FFFFFF"/>
                    </a:gs>
                  </a:gsLst>
                  <a:lin ang="5400000" scaled="0"/>
                </a:gradFill>
                <a:ea typeface="Segoe UI" pitchFamily="34" charset="0"/>
                <a:cs typeface="Segoe UI" pitchFamily="34" charset="0"/>
              </a:endParaRPr>
            </a:p>
          </p:txBody>
        </p:sp>
        <p:sp>
          <p:nvSpPr>
            <p:cNvPr id="296" name="TextBox 293"/>
            <p:cNvSpPr txBox="1"/>
            <p:nvPr/>
          </p:nvSpPr>
          <p:spPr>
            <a:xfrm>
              <a:off x="4675832" y="2664610"/>
              <a:ext cx="1127937" cy="215444"/>
            </a:xfrm>
            <a:prstGeom prst="rect">
              <a:avLst/>
            </a:prstGeom>
            <a:noFill/>
            <a:ln>
              <a:solidFill>
                <a:schemeClr val="bg1"/>
              </a:solidFill>
            </a:ln>
          </p:spPr>
          <p:txBody>
            <a:bodyPr wrap="none" lIns="0" tIns="0" rIns="0" bIns="0" rtlCol="0" anchor="ctr">
              <a:spAutoFit/>
            </a:bodyPr>
            <a:lstStyle/>
            <a:p>
              <a:pPr defTabSz="932293" fontAlgn="base">
                <a:spcBef>
                  <a:spcPct val="0"/>
                </a:spcBef>
                <a:spcAft>
                  <a:spcPct val="0"/>
                </a:spcAft>
              </a:pPr>
              <a:r>
                <a:rPr lang="en-US" sz="1400">
                  <a:solidFill>
                    <a:srgbClr val="000000"/>
                  </a:solidFill>
                  <a:ea typeface="Segoe UI" pitchFamily="34" charset="0"/>
                  <a:cs typeface="Segoe UI" pitchFamily="34" charset="0"/>
                </a:rPr>
                <a:t>Content packs</a:t>
              </a:r>
            </a:p>
          </p:txBody>
        </p:sp>
      </p:grpSp>
      <p:sp>
        <p:nvSpPr>
          <p:cNvPr id="297" name="Left Bracket 296"/>
          <p:cNvSpPr/>
          <p:nvPr/>
        </p:nvSpPr>
        <p:spPr>
          <a:xfrm>
            <a:off x="4066679" y="2031042"/>
            <a:ext cx="170037" cy="2994038"/>
          </a:xfrm>
          <a:prstGeom prst="leftBracket">
            <a:avLst/>
          </a:prstGeom>
          <a:noFill/>
          <a:ln w="28575">
            <a:solidFill>
              <a:srgbClr val="EDC30D"/>
            </a:solidFill>
            <a:prstDash val="sysDash"/>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srgbClr val="000000"/>
              </a:solidFill>
            </a:endParaRPr>
          </a:p>
        </p:txBody>
      </p:sp>
      <p:grpSp>
        <p:nvGrpSpPr>
          <p:cNvPr id="298" name="Group 297"/>
          <p:cNvGrpSpPr/>
          <p:nvPr/>
        </p:nvGrpSpPr>
        <p:grpSpPr>
          <a:xfrm>
            <a:off x="8944721" y="1878362"/>
            <a:ext cx="2258229" cy="274320"/>
            <a:chOff x="9011801" y="2831439"/>
            <a:chExt cx="2258229" cy="274320"/>
          </a:xfrm>
        </p:grpSpPr>
        <p:sp>
          <p:nvSpPr>
            <p:cNvPr id="299" name="TextBox 293"/>
            <p:cNvSpPr txBox="1"/>
            <p:nvPr/>
          </p:nvSpPr>
          <p:spPr>
            <a:xfrm>
              <a:off x="9381693" y="2847432"/>
              <a:ext cx="1888337" cy="215444"/>
            </a:xfrm>
            <a:prstGeom prst="rect">
              <a:avLst/>
            </a:prstGeom>
            <a:noFill/>
            <a:ln>
              <a:solidFill>
                <a:schemeClr val="bg1"/>
              </a:solidFill>
            </a:ln>
          </p:spPr>
          <p:txBody>
            <a:bodyPr wrap="none" lIns="0" tIns="0" rIns="0" bIns="0" rtlCol="0" anchor="ctr">
              <a:spAutoFit/>
            </a:bodyPr>
            <a:lstStyle/>
            <a:p>
              <a:pPr defTabSz="932293" fontAlgn="base">
                <a:spcBef>
                  <a:spcPct val="0"/>
                </a:spcBef>
                <a:spcAft>
                  <a:spcPct val="0"/>
                </a:spcAft>
              </a:pPr>
              <a:r>
                <a:rPr lang="en-US" sz="1400">
                  <a:solidFill>
                    <a:srgbClr val="000000"/>
                  </a:solidFill>
                  <a:ea typeface="Segoe UI" pitchFamily="34" charset="0"/>
                  <a:cs typeface="Segoe UI" pitchFamily="34" charset="0"/>
                </a:rPr>
                <a:t>Sharing &amp; collaboration</a:t>
              </a:r>
            </a:p>
          </p:txBody>
        </p:sp>
        <p:sp>
          <p:nvSpPr>
            <p:cNvPr id="300" name="Freeform 299"/>
            <p:cNvSpPr>
              <a:spLocks noChangeAspect="1"/>
            </p:cNvSpPr>
            <p:nvPr/>
          </p:nvSpPr>
          <p:spPr bwMode="black">
            <a:xfrm>
              <a:off x="9011801" y="2831439"/>
              <a:ext cx="312642" cy="274320"/>
            </a:xfrm>
            <a:custGeom>
              <a:avLst/>
              <a:gdLst/>
              <a:ahLst/>
              <a:cxnLst/>
              <a:rect l="l" t="t" r="r" b="b"/>
              <a:pathLst>
                <a:path w="4740335" h="4048081">
                  <a:moveTo>
                    <a:pt x="3683614" y="1098549"/>
                  </a:moveTo>
                  <a:cubicBezTo>
                    <a:pt x="3683654" y="1098549"/>
                    <a:pt x="3689354" y="1098549"/>
                    <a:pt x="4502870" y="1098549"/>
                  </a:cubicBezTo>
                  <a:cubicBezTo>
                    <a:pt x="4633477" y="1098549"/>
                    <a:pt x="4740335" y="1205183"/>
                    <a:pt x="4740335" y="1335514"/>
                  </a:cubicBezTo>
                  <a:cubicBezTo>
                    <a:pt x="4740335" y="1335569"/>
                    <a:pt x="4740335" y="1343335"/>
                    <a:pt x="4740335" y="2449249"/>
                  </a:cubicBezTo>
                  <a:cubicBezTo>
                    <a:pt x="4740335" y="2579580"/>
                    <a:pt x="4633477" y="2686214"/>
                    <a:pt x="4502870" y="2686214"/>
                  </a:cubicBezTo>
                  <a:cubicBezTo>
                    <a:pt x="4502870" y="2686253"/>
                    <a:pt x="4502870" y="2691777"/>
                    <a:pt x="4502870" y="3480046"/>
                  </a:cubicBezTo>
                  <a:cubicBezTo>
                    <a:pt x="4502870" y="3610377"/>
                    <a:pt x="4396011" y="3717011"/>
                    <a:pt x="4265405" y="3717011"/>
                  </a:cubicBezTo>
                  <a:cubicBezTo>
                    <a:pt x="4265376" y="3717011"/>
                    <a:pt x="4262133" y="3717011"/>
                    <a:pt x="3909206" y="3717011"/>
                  </a:cubicBezTo>
                  <a:cubicBezTo>
                    <a:pt x="3790473" y="3717011"/>
                    <a:pt x="3683614" y="3610377"/>
                    <a:pt x="3683614" y="3480046"/>
                  </a:cubicBezTo>
                  <a:cubicBezTo>
                    <a:pt x="3683614" y="3480010"/>
                    <a:pt x="3683614" y="3474701"/>
                    <a:pt x="3683614" y="2686214"/>
                  </a:cubicBezTo>
                  <a:cubicBezTo>
                    <a:pt x="3553008" y="2686214"/>
                    <a:pt x="3446148" y="2579580"/>
                    <a:pt x="3446148" y="2449249"/>
                  </a:cubicBezTo>
                  <a:cubicBezTo>
                    <a:pt x="3446148" y="2449192"/>
                    <a:pt x="3446148" y="2441288"/>
                    <a:pt x="3446148" y="1335514"/>
                  </a:cubicBezTo>
                  <a:cubicBezTo>
                    <a:pt x="3446148" y="1205183"/>
                    <a:pt x="3553008" y="1098549"/>
                    <a:pt x="3683614" y="1098549"/>
                  </a:cubicBezTo>
                  <a:close/>
                  <a:moveTo>
                    <a:pt x="236546" y="1098549"/>
                  </a:moveTo>
                  <a:cubicBezTo>
                    <a:pt x="236570" y="1098549"/>
                    <a:pt x="240947" y="1098549"/>
                    <a:pt x="1052628" y="1098549"/>
                  </a:cubicBezTo>
                  <a:cubicBezTo>
                    <a:pt x="1182728" y="1098549"/>
                    <a:pt x="1289174" y="1205183"/>
                    <a:pt x="1289174" y="1335514"/>
                  </a:cubicBezTo>
                  <a:cubicBezTo>
                    <a:pt x="1289174" y="1335532"/>
                    <a:pt x="1289174" y="1340039"/>
                    <a:pt x="1289174" y="2449249"/>
                  </a:cubicBezTo>
                  <a:cubicBezTo>
                    <a:pt x="1289174" y="2579580"/>
                    <a:pt x="1182728" y="2686214"/>
                    <a:pt x="1052628" y="2686214"/>
                  </a:cubicBezTo>
                  <a:cubicBezTo>
                    <a:pt x="1052628" y="2686235"/>
                    <a:pt x="1052628" y="2690268"/>
                    <a:pt x="1052628" y="3480046"/>
                  </a:cubicBezTo>
                  <a:cubicBezTo>
                    <a:pt x="1052628" y="3610377"/>
                    <a:pt x="946183" y="3717011"/>
                    <a:pt x="827910" y="3717011"/>
                  </a:cubicBezTo>
                  <a:cubicBezTo>
                    <a:pt x="827894" y="3717011"/>
                    <a:pt x="825508" y="3717011"/>
                    <a:pt x="473091" y="3717011"/>
                  </a:cubicBezTo>
                  <a:cubicBezTo>
                    <a:pt x="342991" y="3717011"/>
                    <a:pt x="236546" y="3610377"/>
                    <a:pt x="236546" y="3480046"/>
                  </a:cubicBezTo>
                  <a:cubicBezTo>
                    <a:pt x="236546" y="3480026"/>
                    <a:pt x="236546" y="3476021"/>
                    <a:pt x="236546" y="2686214"/>
                  </a:cubicBezTo>
                  <a:cubicBezTo>
                    <a:pt x="106446" y="2686214"/>
                    <a:pt x="0" y="2579580"/>
                    <a:pt x="0" y="2449249"/>
                  </a:cubicBezTo>
                  <a:cubicBezTo>
                    <a:pt x="0" y="2449230"/>
                    <a:pt x="0" y="2444630"/>
                    <a:pt x="0" y="1335514"/>
                  </a:cubicBezTo>
                  <a:cubicBezTo>
                    <a:pt x="0" y="1205183"/>
                    <a:pt x="106446" y="1098549"/>
                    <a:pt x="236546" y="1098549"/>
                  </a:cubicBezTo>
                  <a:close/>
                  <a:moveTo>
                    <a:pt x="1895194" y="993211"/>
                  </a:moveTo>
                  <a:cubicBezTo>
                    <a:pt x="1895245" y="993211"/>
                    <a:pt x="1902161" y="993211"/>
                    <a:pt x="2845141" y="993211"/>
                  </a:cubicBezTo>
                  <a:cubicBezTo>
                    <a:pt x="2999507" y="993211"/>
                    <a:pt x="3130125" y="1123457"/>
                    <a:pt x="3130125" y="1277385"/>
                  </a:cubicBezTo>
                  <a:cubicBezTo>
                    <a:pt x="3130125" y="1277420"/>
                    <a:pt x="3130125" y="1284134"/>
                    <a:pt x="3130125" y="2568008"/>
                  </a:cubicBezTo>
                  <a:cubicBezTo>
                    <a:pt x="3130125" y="2721936"/>
                    <a:pt x="2999507" y="2852182"/>
                    <a:pt x="2845141" y="2852182"/>
                  </a:cubicBezTo>
                  <a:cubicBezTo>
                    <a:pt x="2845141" y="2852231"/>
                    <a:pt x="2845141" y="2858826"/>
                    <a:pt x="2845141" y="3763907"/>
                  </a:cubicBezTo>
                  <a:cubicBezTo>
                    <a:pt x="2845141" y="3917835"/>
                    <a:pt x="2726398" y="4048081"/>
                    <a:pt x="2572031" y="4048081"/>
                  </a:cubicBezTo>
                  <a:cubicBezTo>
                    <a:pt x="2571992" y="4048081"/>
                    <a:pt x="2568051" y="4048081"/>
                    <a:pt x="2168304" y="4048081"/>
                  </a:cubicBezTo>
                  <a:cubicBezTo>
                    <a:pt x="2013937" y="4048081"/>
                    <a:pt x="1895194" y="3917835"/>
                    <a:pt x="1895194" y="3763907"/>
                  </a:cubicBezTo>
                  <a:cubicBezTo>
                    <a:pt x="1895194" y="3763858"/>
                    <a:pt x="1895194" y="3757193"/>
                    <a:pt x="1895194" y="2852182"/>
                  </a:cubicBezTo>
                  <a:cubicBezTo>
                    <a:pt x="1740828" y="2852182"/>
                    <a:pt x="1610210" y="2721936"/>
                    <a:pt x="1610210" y="2568008"/>
                  </a:cubicBezTo>
                  <a:cubicBezTo>
                    <a:pt x="1610210" y="2567966"/>
                    <a:pt x="1610210" y="2560581"/>
                    <a:pt x="1610210" y="1277385"/>
                  </a:cubicBezTo>
                  <a:cubicBezTo>
                    <a:pt x="1610210" y="1123457"/>
                    <a:pt x="1740828" y="993211"/>
                    <a:pt x="1895194" y="993211"/>
                  </a:cubicBezTo>
                  <a:close/>
                  <a:moveTo>
                    <a:pt x="4093246" y="245790"/>
                  </a:moveTo>
                  <a:cubicBezTo>
                    <a:pt x="4306565" y="245790"/>
                    <a:pt x="4479495" y="420965"/>
                    <a:pt x="4479495" y="637055"/>
                  </a:cubicBezTo>
                  <a:cubicBezTo>
                    <a:pt x="4479495" y="853145"/>
                    <a:pt x="4306565" y="1028320"/>
                    <a:pt x="4093246" y="1028320"/>
                  </a:cubicBezTo>
                  <a:cubicBezTo>
                    <a:pt x="3879927" y="1028320"/>
                    <a:pt x="3706997" y="853145"/>
                    <a:pt x="3706997" y="637055"/>
                  </a:cubicBezTo>
                  <a:cubicBezTo>
                    <a:pt x="3706997" y="420965"/>
                    <a:pt x="3879927" y="245790"/>
                    <a:pt x="4093246" y="245790"/>
                  </a:cubicBezTo>
                  <a:close/>
                  <a:moveTo>
                    <a:pt x="644584" y="245790"/>
                  </a:moveTo>
                  <a:cubicBezTo>
                    <a:pt x="856519" y="245790"/>
                    <a:pt x="1028326" y="420965"/>
                    <a:pt x="1028326" y="637055"/>
                  </a:cubicBezTo>
                  <a:cubicBezTo>
                    <a:pt x="1028326" y="853145"/>
                    <a:pt x="856519" y="1028320"/>
                    <a:pt x="644584" y="1028320"/>
                  </a:cubicBezTo>
                  <a:cubicBezTo>
                    <a:pt x="432649" y="1028320"/>
                    <a:pt x="260842" y="853145"/>
                    <a:pt x="260842" y="637055"/>
                  </a:cubicBezTo>
                  <a:cubicBezTo>
                    <a:pt x="260842" y="420965"/>
                    <a:pt x="432649" y="245790"/>
                    <a:pt x="644584" y="245790"/>
                  </a:cubicBezTo>
                  <a:close/>
                  <a:moveTo>
                    <a:pt x="2367657" y="0"/>
                  </a:moveTo>
                  <a:cubicBezTo>
                    <a:pt x="2616992" y="0"/>
                    <a:pt x="2819118" y="203249"/>
                    <a:pt x="2819118" y="453969"/>
                  </a:cubicBezTo>
                  <a:cubicBezTo>
                    <a:pt x="2819118" y="704689"/>
                    <a:pt x="2616992" y="907938"/>
                    <a:pt x="2367657" y="907938"/>
                  </a:cubicBezTo>
                  <a:cubicBezTo>
                    <a:pt x="2118322" y="907938"/>
                    <a:pt x="1916196" y="704689"/>
                    <a:pt x="1916196" y="453969"/>
                  </a:cubicBezTo>
                  <a:cubicBezTo>
                    <a:pt x="1916196" y="203249"/>
                    <a:pt x="2118322" y="0"/>
                    <a:pt x="2367657" y="0"/>
                  </a:cubicBezTo>
                  <a:close/>
                </a:path>
              </a:pathLst>
            </a:custGeom>
            <a:solidFill>
              <a:srgbClr val="EDC30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37148" tIns="109719" rIns="137148" bIns="109719"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699261" fontAlgn="base">
                <a:lnSpc>
                  <a:spcPct val="90000"/>
                </a:lnSpc>
                <a:spcBef>
                  <a:spcPct val="0"/>
                </a:spcBef>
                <a:spcAft>
                  <a:spcPct val="0"/>
                </a:spcAft>
              </a:pPr>
              <a:endParaRPr lang="en-US">
                <a:gradFill>
                  <a:gsLst>
                    <a:gs pos="0">
                      <a:srgbClr val="FFFFFF"/>
                    </a:gs>
                    <a:gs pos="100000">
                      <a:srgbClr val="FFFFFF"/>
                    </a:gs>
                  </a:gsLst>
                  <a:lin ang="5400000" scaled="0"/>
                </a:gradFill>
                <a:ea typeface="Segoe UI" pitchFamily="34" charset="0"/>
                <a:cs typeface="Segoe UI" pitchFamily="34" charset="0"/>
              </a:endParaRPr>
            </a:p>
          </p:txBody>
        </p:sp>
      </p:grpSp>
      <p:grpSp>
        <p:nvGrpSpPr>
          <p:cNvPr id="301" name="Group 300"/>
          <p:cNvGrpSpPr/>
          <p:nvPr/>
        </p:nvGrpSpPr>
        <p:grpSpPr>
          <a:xfrm>
            <a:off x="6328887" y="1881942"/>
            <a:ext cx="2224537" cy="232779"/>
            <a:chOff x="6395967" y="2662299"/>
            <a:chExt cx="2224537" cy="232779"/>
          </a:xfrm>
        </p:grpSpPr>
        <p:sp>
          <p:nvSpPr>
            <p:cNvPr id="302" name="TextBox 293"/>
            <p:cNvSpPr txBox="1"/>
            <p:nvPr/>
          </p:nvSpPr>
          <p:spPr>
            <a:xfrm>
              <a:off x="6744221" y="2679634"/>
              <a:ext cx="1876283" cy="215444"/>
            </a:xfrm>
            <a:prstGeom prst="rect">
              <a:avLst/>
            </a:prstGeom>
            <a:noFill/>
            <a:ln>
              <a:solidFill>
                <a:schemeClr val="bg1"/>
              </a:solidFill>
            </a:ln>
          </p:spPr>
          <p:txBody>
            <a:bodyPr wrap="none" lIns="0" tIns="0" rIns="0" bIns="0" rtlCol="0" anchor="ctr">
              <a:spAutoFit/>
            </a:bodyPr>
            <a:lstStyle/>
            <a:p>
              <a:pPr defTabSz="932293" fontAlgn="base">
                <a:spcBef>
                  <a:spcPct val="0"/>
                </a:spcBef>
                <a:spcAft>
                  <a:spcPct val="0"/>
                </a:spcAft>
              </a:pPr>
              <a:r>
                <a:rPr lang="en-US" sz="1400">
                  <a:solidFill>
                    <a:srgbClr val="000000"/>
                  </a:solidFill>
                  <a:ea typeface="Segoe UI" pitchFamily="34" charset="0"/>
                  <a:cs typeface="Segoe UI" pitchFamily="34" charset="0"/>
                </a:rPr>
                <a:t>Natural language query</a:t>
              </a:r>
            </a:p>
          </p:txBody>
        </p:sp>
        <p:sp>
          <p:nvSpPr>
            <p:cNvPr id="303" name="Oval Callout 302"/>
            <p:cNvSpPr/>
            <p:nvPr/>
          </p:nvSpPr>
          <p:spPr bwMode="auto">
            <a:xfrm>
              <a:off x="6395967" y="2662299"/>
              <a:ext cx="274320" cy="228600"/>
            </a:xfrm>
            <a:prstGeom prst="wedgeEllipseCallout">
              <a:avLst>
                <a:gd name="adj1" fmla="val -59325"/>
                <a:gd name="adj2" fmla="val 71225"/>
              </a:avLst>
            </a:prstGeom>
            <a:solidFill>
              <a:srgbClr val="F2C81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800" b="1">
                <a:solidFill>
                  <a:srgbClr val="000000"/>
                </a:solidFill>
                <a:ea typeface="Segoe UI" pitchFamily="34" charset="0"/>
                <a:cs typeface="Segoe UI" pitchFamily="34" charset="0"/>
              </a:endParaRPr>
            </a:p>
          </p:txBody>
        </p:sp>
      </p:grpSp>
      <p:grpSp>
        <p:nvGrpSpPr>
          <p:cNvPr id="304" name="Group 303"/>
          <p:cNvGrpSpPr/>
          <p:nvPr/>
        </p:nvGrpSpPr>
        <p:grpSpPr>
          <a:xfrm>
            <a:off x="4239113" y="3584317"/>
            <a:ext cx="983781" cy="311845"/>
            <a:chOff x="4306193" y="4364674"/>
            <a:chExt cx="983781" cy="311845"/>
          </a:xfrm>
        </p:grpSpPr>
        <p:sp>
          <p:nvSpPr>
            <p:cNvPr id="305" name="TextBox 293"/>
            <p:cNvSpPr txBox="1"/>
            <p:nvPr/>
          </p:nvSpPr>
          <p:spPr>
            <a:xfrm>
              <a:off x="4675832" y="4391568"/>
              <a:ext cx="614142" cy="215444"/>
            </a:xfrm>
            <a:prstGeom prst="rect">
              <a:avLst/>
            </a:prstGeom>
            <a:noFill/>
            <a:ln>
              <a:solidFill>
                <a:schemeClr val="bg1"/>
              </a:solidFill>
            </a:ln>
          </p:spPr>
          <p:txBody>
            <a:bodyPr wrap="none" lIns="0" tIns="0" rIns="0" bIns="0" rtlCol="0" anchor="ctr">
              <a:spAutoFit/>
            </a:bodyPr>
            <a:lstStyle/>
            <a:p>
              <a:pPr defTabSz="932293" fontAlgn="base">
                <a:spcBef>
                  <a:spcPct val="0"/>
                </a:spcBef>
                <a:spcAft>
                  <a:spcPct val="0"/>
                </a:spcAft>
              </a:pPr>
              <a:r>
                <a:rPr lang="en-US" sz="1400">
                  <a:solidFill>
                    <a:srgbClr val="000000"/>
                  </a:solidFill>
                  <a:ea typeface="Segoe UI" pitchFamily="34" charset="0"/>
                  <a:cs typeface="Segoe UI" pitchFamily="34" charset="0"/>
                </a:rPr>
                <a:t>Reports</a:t>
              </a:r>
              <a:endParaRPr lang="en-US" sz="1200">
                <a:solidFill>
                  <a:srgbClr val="000000"/>
                </a:solidFill>
                <a:ea typeface="Segoe UI" pitchFamily="34" charset="0"/>
                <a:cs typeface="Segoe UI" pitchFamily="34" charset="0"/>
              </a:endParaRPr>
            </a:p>
          </p:txBody>
        </p:sp>
        <p:sp>
          <p:nvSpPr>
            <p:cNvPr id="306" name="Flowchart: Document 305"/>
            <p:cNvSpPr/>
            <p:nvPr/>
          </p:nvSpPr>
          <p:spPr bwMode="auto">
            <a:xfrm>
              <a:off x="4306193" y="4364674"/>
              <a:ext cx="274320" cy="311845"/>
            </a:xfrm>
            <a:prstGeom prst="flowChartDocument">
              <a:avLst/>
            </a:prstGeom>
            <a:noFill/>
            <a:ln w="28575">
              <a:solidFill>
                <a:srgbClr val="F2C81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307" name="Group 306"/>
          <p:cNvGrpSpPr/>
          <p:nvPr/>
        </p:nvGrpSpPr>
        <p:grpSpPr>
          <a:xfrm>
            <a:off x="3912350" y="3991161"/>
            <a:ext cx="1376075" cy="572464"/>
            <a:chOff x="3979430" y="4771518"/>
            <a:chExt cx="1376075" cy="572464"/>
          </a:xfrm>
        </p:grpSpPr>
        <p:sp>
          <p:nvSpPr>
            <p:cNvPr id="308" name="TextBox 293"/>
            <p:cNvSpPr txBox="1"/>
            <p:nvPr/>
          </p:nvSpPr>
          <p:spPr>
            <a:xfrm>
              <a:off x="4675832" y="4921262"/>
              <a:ext cx="679673" cy="215444"/>
            </a:xfrm>
            <a:prstGeom prst="rect">
              <a:avLst/>
            </a:prstGeom>
            <a:noFill/>
            <a:ln>
              <a:solidFill>
                <a:schemeClr val="bg1"/>
              </a:solidFill>
            </a:ln>
          </p:spPr>
          <p:txBody>
            <a:bodyPr wrap="none" lIns="0" tIns="0" rIns="0" bIns="0" rtlCol="0" anchor="ctr">
              <a:spAutoFit/>
            </a:bodyPr>
            <a:lstStyle/>
            <a:p>
              <a:pPr defTabSz="932293" fontAlgn="base">
                <a:spcBef>
                  <a:spcPct val="0"/>
                </a:spcBef>
                <a:spcAft>
                  <a:spcPct val="0"/>
                </a:spcAft>
              </a:pPr>
              <a:r>
                <a:rPr lang="en-US" sz="1400">
                  <a:solidFill>
                    <a:srgbClr val="000000"/>
                  </a:solidFill>
                  <a:ea typeface="Segoe UI" pitchFamily="34" charset="0"/>
                  <a:cs typeface="Segoe UI" pitchFamily="34" charset="0"/>
                </a:rPr>
                <a:t>Datasets</a:t>
              </a:r>
            </a:p>
          </p:txBody>
        </p:sp>
        <p:sp>
          <p:nvSpPr>
            <p:cNvPr id="309" name="TextBox 308"/>
            <p:cNvSpPr txBox="1"/>
            <p:nvPr/>
          </p:nvSpPr>
          <p:spPr>
            <a:xfrm>
              <a:off x="3979430" y="4771518"/>
              <a:ext cx="927847" cy="572464"/>
            </a:xfrm>
            <a:prstGeom prst="rect">
              <a:avLst/>
            </a:prstGeom>
            <a:noFill/>
          </p:spPr>
          <p:txBody>
            <a:bodyPr wrap="square" lIns="182880" tIns="146304" rIns="182880" bIns="146304" rtlCol="0">
              <a:spAutoFit/>
            </a:bodyPr>
            <a:lstStyle/>
            <a:p>
              <a:pPr algn="ctr"/>
              <a:r>
                <a:rPr lang="en-US" sz="900" b="1">
                  <a:solidFill>
                    <a:srgbClr val="F2C812"/>
                  </a:solidFill>
                </a:rPr>
                <a:t>01001</a:t>
              </a:r>
            </a:p>
            <a:p>
              <a:pPr algn="ctr"/>
              <a:r>
                <a:rPr lang="en-US" sz="900" b="1">
                  <a:solidFill>
                    <a:srgbClr val="F2C812"/>
                  </a:solidFill>
                </a:rPr>
                <a:t>10101</a:t>
              </a:r>
            </a:p>
          </p:txBody>
        </p:sp>
      </p:grpSp>
      <p:sp>
        <p:nvSpPr>
          <p:cNvPr id="196" name="TextBox 195"/>
          <p:cNvSpPr txBox="1"/>
          <p:nvPr/>
        </p:nvSpPr>
        <p:spPr>
          <a:xfrm>
            <a:off x="6736403" y="5709123"/>
            <a:ext cx="1548615" cy="916902"/>
          </a:xfrm>
          <a:prstGeom prst="rect">
            <a:avLst/>
          </a:prstGeom>
          <a:noFill/>
        </p:spPr>
        <p:txBody>
          <a:bodyPr wrap="square" lIns="186521" tIns="149217" rIns="186521" bIns="149217" rtlCol="0" anchor="ctr">
            <a:spAutoFit/>
          </a:bodyPr>
          <a:lstStyle/>
          <a:p>
            <a:pPr algn="ctr" defTabSz="932597">
              <a:spcAft>
                <a:spcPts val="600"/>
              </a:spcAft>
            </a:pPr>
            <a:r>
              <a:rPr lang="en-US" sz="4000" b="1">
                <a:solidFill>
                  <a:srgbClr val="EDC30D"/>
                </a:solidFill>
              </a:rPr>
              <a:t>&lt;/&gt;</a:t>
            </a:r>
            <a:endParaRPr lang="en-US" sz="1200">
              <a:solidFill>
                <a:srgbClr val="000000"/>
              </a:solidFill>
              <a:ea typeface="Segoe UI" pitchFamily="34" charset="0"/>
              <a:cs typeface="Segoe UI" pitchFamily="34" charset="0"/>
            </a:endParaRPr>
          </a:p>
        </p:txBody>
      </p:sp>
      <p:sp>
        <p:nvSpPr>
          <p:cNvPr id="2" name="TextBox 1"/>
          <p:cNvSpPr txBox="1"/>
          <p:nvPr/>
        </p:nvSpPr>
        <p:spPr>
          <a:xfrm>
            <a:off x="8087486" y="5923303"/>
            <a:ext cx="3249693" cy="572464"/>
          </a:xfrm>
          <a:prstGeom prst="rect">
            <a:avLst/>
          </a:prstGeom>
          <a:noFill/>
        </p:spPr>
        <p:txBody>
          <a:bodyPr wrap="square" lIns="182880" tIns="146304" rIns="182880" bIns="146304" rtlCol="0">
            <a:spAutoFit/>
          </a:bodyPr>
          <a:lstStyle/>
          <a:p>
            <a:pPr>
              <a:lnSpc>
                <a:spcPct val="90000"/>
              </a:lnSpc>
              <a:spcAft>
                <a:spcPts val="600"/>
              </a:spcAft>
            </a:pPr>
            <a:r>
              <a:rPr lang="en-US" sz="2000">
                <a:solidFill>
                  <a:srgbClr val="000000"/>
                </a:solidFill>
                <a:ea typeface="Segoe UI" pitchFamily="34" charset="0"/>
                <a:cs typeface="Segoe UI" pitchFamily="34" charset="0"/>
              </a:rPr>
              <a:t>embed, extend, integrate</a:t>
            </a:r>
          </a:p>
        </p:txBody>
      </p:sp>
      <p:sp>
        <p:nvSpPr>
          <p:cNvPr id="115" name="Rectangle 114"/>
          <p:cNvSpPr/>
          <p:nvPr/>
        </p:nvSpPr>
        <p:spPr>
          <a:xfrm>
            <a:off x="730539" y="940779"/>
            <a:ext cx="1692204" cy="400110"/>
          </a:xfrm>
          <a:prstGeom prst="rect">
            <a:avLst/>
          </a:prstGeom>
        </p:spPr>
        <p:txBody>
          <a:bodyPr wrap="square">
            <a:spAutoFit/>
          </a:bodyPr>
          <a:lstStyle/>
          <a:p>
            <a:pPr defTabSz="914367">
              <a:spcAft>
                <a:spcPts val="588"/>
              </a:spcAft>
            </a:pPr>
            <a:r>
              <a:rPr lang="en-US" sz="2000">
                <a:solidFill>
                  <a:srgbClr val="000000"/>
                </a:solidFill>
              </a:rPr>
              <a:t>Data sources</a:t>
            </a:r>
          </a:p>
        </p:txBody>
      </p:sp>
      <p:cxnSp>
        <p:nvCxnSpPr>
          <p:cNvPr id="116" name="Straight Connector 115"/>
          <p:cNvCxnSpPr/>
          <p:nvPr/>
        </p:nvCxnSpPr>
        <p:spPr>
          <a:xfrm>
            <a:off x="1038540" y="2087851"/>
            <a:ext cx="1891470" cy="0"/>
          </a:xfrm>
          <a:prstGeom prst="line">
            <a:avLst/>
          </a:prstGeom>
          <a:ln w="28575">
            <a:solidFill>
              <a:schemeClr val="tx1"/>
            </a:solidFill>
            <a:prstDash val="sysDot"/>
            <a:headEnd type="oval" w="sm" len="sm"/>
            <a:tailEnd type="oval" w="sm" len="sm"/>
          </a:ln>
        </p:spPr>
        <p:style>
          <a:lnRef idx="1">
            <a:schemeClr val="accent1"/>
          </a:lnRef>
          <a:fillRef idx="0">
            <a:schemeClr val="accent1"/>
          </a:fillRef>
          <a:effectRef idx="0">
            <a:schemeClr val="accent1"/>
          </a:effectRef>
          <a:fontRef idx="minor">
            <a:schemeClr val="tx1"/>
          </a:fontRef>
        </p:style>
      </p:cxnSp>
      <p:sp>
        <p:nvSpPr>
          <p:cNvPr id="117" name="Rectangle 145"/>
          <p:cNvSpPr/>
          <p:nvPr/>
        </p:nvSpPr>
        <p:spPr bwMode="auto">
          <a:xfrm>
            <a:off x="982973" y="1529904"/>
            <a:ext cx="2059649" cy="49525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14367"/>
            <a:r>
              <a:rPr lang="en-US" sz="1200">
                <a:solidFill>
                  <a:srgbClr val="000000"/>
                </a:solidFill>
                <a:cs typeface="Segoe UI Light"/>
              </a:rPr>
              <a:t>Cloud-based SaaS solutions</a:t>
            </a:r>
          </a:p>
          <a:p>
            <a:pPr defTabSz="914367">
              <a:spcAft>
                <a:spcPts val="600"/>
              </a:spcAft>
            </a:pPr>
            <a:r>
              <a:rPr lang="en-US" sz="900" i="1">
                <a:solidFill>
                  <a:srgbClr val="000000"/>
                </a:solidFill>
                <a:cs typeface="Segoe UI Light"/>
              </a:rPr>
              <a:t>e.g. Marketo, Salesforce, Quickbooks, Google Analytics, …</a:t>
            </a:r>
          </a:p>
        </p:txBody>
      </p:sp>
      <p:sp>
        <p:nvSpPr>
          <p:cNvPr id="118" name="Oval 147"/>
          <p:cNvSpPr/>
          <p:nvPr/>
        </p:nvSpPr>
        <p:spPr bwMode="auto">
          <a:xfrm>
            <a:off x="612426" y="1660604"/>
            <a:ext cx="365760" cy="365760"/>
          </a:xfrm>
          <a:prstGeom prst="ellipse">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2400" err="1">
              <a:gradFill>
                <a:gsLst>
                  <a:gs pos="0">
                    <a:srgbClr val="FFFFFF"/>
                  </a:gs>
                  <a:gs pos="100000">
                    <a:srgbClr val="FFFFFF"/>
                  </a:gs>
                </a:gsLst>
                <a:lin ang="5400000" scaled="0"/>
              </a:gradFill>
              <a:ea typeface="Segoe UI" pitchFamily="34" charset="0"/>
              <a:cs typeface="Segoe UI" pitchFamily="34" charset="0"/>
            </a:endParaRPr>
          </a:p>
        </p:txBody>
      </p:sp>
      <p:grpSp>
        <p:nvGrpSpPr>
          <p:cNvPr id="119" name="Group 332"/>
          <p:cNvGrpSpPr/>
          <p:nvPr/>
        </p:nvGrpSpPr>
        <p:grpSpPr>
          <a:xfrm>
            <a:off x="664469" y="1736533"/>
            <a:ext cx="261675" cy="213902"/>
            <a:chOff x="2123129" y="1797431"/>
            <a:chExt cx="2472585" cy="2021180"/>
          </a:xfrm>
        </p:grpSpPr>
        <p:sp>
          <p:nvSpPr>
            <p:cNvPr id="120" name="Freeform 13"/>
            <p:cNvSpPr>
              <a:spLocks/>
            </p:cNvSpPr>
            <p:nvPr/>
          </p:nvSpPr>
          <p:spPr bwMode="auto">
            <a:xfrm rot="20700000">
              <a:off x="3155851" y="2377161"/>
              <a:ext cx="1439863" cy="1441450"/>
            </a:xfrm>
            <a:custGeom>
              <a:avLst/>
              <a:gdLst>
                <a:gd name="T0" fmla="*/ 138 w 441"/>
                <a:gd name="T1" fmla="*/ 341 h 441"/>
                <a:gd name="T2" fmla="*/ 183 w 441"/>
                <a:gd name="T3" fmla="*/ 374 h 441"/>
                <a:gd name="T4" fmla="*/ 220 w 441"/>
                <a:gd name="T5" fmla="*/ 423 h 441"/>
                <a:gd name="T6" fmla="*/ 422 w 441"/>
                <a:gd name="T7" fmla="*/ 220 h 441"/>
                <a:gd name="T8" fmla="*/ 373 w 441"/>
                <a:gd name="T9" fmla="*/ 184 h 441"/>
                <a:gd name="T10" fmla="*/ 341 w 441"/>
                <a:gd name="T11" fmla="*/ 139 h 441"/>
                <a:gd name="T12" fmla="*/ 382 w 441"/>
                <a:gd name="T13" fmla="*/ 58 h 441"/>
                <a:gd name="T14" fmla="*/ 302 w 441"/>
                <a:gd name="T15" fmla="*/ 100 h 441"/>
                <a:gd name="T16" fmla="*/ 257 w 441"/>
                <a:gd name="T17" fmla="*/ 67 h 441"/>
                <a:gd name="T18" fmla="*/ 220 w 441"/>
                <a:gd name="T19" fmla="*/ 18 h 441"/>
                <a:gd name="T20" fmla="*/ 171 w 441"/>
                <a:gd name="T21" fmla="*/ 55 h 441"/>
                <a:gd name="T22" fmla="*/ 138 w 441"/>
                <a:gd name="T23" fmla="*/ 100 h 441"/>
                <a:gd name="T24" fmla="*/ 180 w 441"/>
                <a:gd name="T25" fmla="*/ 181 h 441"/>
                <a:gd name="T26" fmla="*/ 100 w 441"/>
                <a:gd name="T27" fmla="*/ 139 h 441"/>
                <a:gd name="T28" fmla="*/ 55 w 441"/>
                <a:gd name="T29" fmla="*/ 171 h 441"/>
                <a:gd name="T30" fmla="*/ 18 w 441"/>
                <a:gd name="T31" fmla="*/ 220 h 441"/>
                <a:gd name="T32" fmla="*/ 67 w 441"/>
                <a:gd name="T33" fmla="*/ 257 h 441"/>
                <a:gd name="T34" fmla="*/ 100 w 441"/>
                <a:gd name="T35" fmla="*/ 302 h 441"/>
                <a:gd name="T36" fmla="*/ 58 w 441"/>
                <a:gd name="T37" fmla="*/ 383 h 441"/>
                <a:gd name="T38" fmla="*/ 138 w 441"/>
                <a:gd name="T39" fmla="*/ 341 h 4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41" h="441">
                  <a:moveTo>
                    <a:pt x="138" y="341"/>
                  </a:moveTo>
                  <a:cubicBezTo>
                    <a:pt x="147" y="337"/>
                    <a:pt x="171" y="361"/>
                    <a:pt x="183" y="374"/>
                  </a:cubicBezTo>
                  <a:cubicBezTo>
                    <a:pt x="196" y="386"/>
                    <a:pt x="220" y="423"/>
                    <a:pt x="220" y="423"/>
                  </a:cubicBezTo>
                  <a:cubicBezTo>
                    <a:pt x="422" y="220"/>
                    <a:pt x="422" y="220"/>
                    <a:pt x="422" y="220"/>
                  </a:cubicBezTo>
                  <a:cubicBezTo>
                    <a:pt x="422" y="220"/>
                    <a:pt x="386" y="196"/>
                    <a:pt x="373" y="184"/>
                  </a:cubicBezTo>
                  <a:cubicBezTo>
                    <a:pt x="361" y="171"/>
                    <a:pt x="338" y="149"/>
                    <a:pt x="341" y="139"/>
                  </a:cubicBezTo>
                  <a:cubicBezTo>
                    <a:pt x="343" y="129"/>
                    <a:pt x="441" y="116"/>
                    <a:pt x="382" y="58"/>
                  </a:cubicBezTo>
                  <a:cubicBezTo>
                    <a:pt x="324" y="0"/>
                    <a:pt x="310" y="96"/>
                    <a:pt x="302" y="100"/>
                  </a:cubicBezTo>
                  <a:cubicBezTo>
                    <a:pt x="294" y="104"/>
                    <a:pt x="269" y="80"/>
                    <a:pt x="257" y="67"/>
                  </a:cubicBezTo>
                  <a:cubicBezTo>
                    <a:pt x="245" y="55"/>
                    <a:pt x="220" y="18"/>
                    <a:pt x="220" y="18"/>
                  </a:cubicBezTo>
                  <a:cubicBezTo>
                    <a:pt x="220" y="18"/>
                    <a:pt x="183" y="43"/>
                    <a:pt x="171" y="55"/>
                  </a:cubicBezTo>
                  <a:cubicBezTo>
                    <a:pt x="159" y="67"/>
                    <a:pt x="134" y="92"/>
                    <a:pt x="138" y="100"/>
                  </a:cubicBezTo>
                  <a:cubicBezTo>
                    <a:pt x="142" y="108"/>
                    <a:pt x="238" y="122"/>
                    <a:pt x="180" y="181"/>
                  </a:cubicBezTo>
                  <a:cubicBezTo>
                    <a:pt x="122" y="239"/>
                    <a:pt x="110" y="141"/>
                    <a:pt x="100" y="139"/>
                  </a:cubicBezTo>
                  <a:cubicBezTo>
                    <a:pt x="89" y="137"/>
                    <a:pt x="67" y="159"/>
                    <a:pt x="55" y="171"/>
                  </a:cubicBezTo>
                  <a:cubicBezTo>
                    <a:pt x="42" y="184"/>
                    <a:pt x="18" y="220"/>
                    <a:pt x="18" y="220"/>
                  </a:cubicBezTo>
                  <a:cubicBezTo>
                    <a:pt x="18" y="220"/>
                    <a:pt x="55" y="245"/>
                    <a:pt x="67" y="257"/>
                  </a:cubicBezTo>
                  <a:cubicBezTo>
                    <a:pt x="79" y="269"/>
                    <a:pt x="102" y="292"/>
                    <a:pt x="100" y="302"/>
                  </a:cubicBezTo>
                  <a:cubicBezTo>
                    <a:pt x="98" y="312"/>
                    <a:pt x="0" y="325"/>
                    <a:pt x="58" y="383"/>
                  </a:cubicBezTo>
                  <a:cubicBezTo>
                    <a:pt x="116" y="441"/>
                    <a:pt x="130" y="345"/>
                    <a:pt x="138" y="341"/>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21" name="Freeform 14"/>
            <p:cNvSpPr>
              <a:spLocks/>
            </p:cNvSpPr>
            <p:nvPr/>
          </p:nvSpPr>
          <p:spPr bwMode="auto">
            <a:xfrm rot="9900000">
              <a:off x="2123129" y="1797431"/>
              <a:ext cx="1377949" cy="1377949"/>
            </a:xfrm>
            <a:custGeom>
              <a:avLst/>
              <a:gdLst>
                <a:gd name="T0" fmla="*/ 422 w 422"/>
                <a:gd name="T1" fmla="*/ 220 h 422"/>
                <a:gd name="T2" fmla="*/ 386 w 422"/>
                <a:gd name="T3" fmla="*/ 171 h 422"/>
                <a:gd name="T4" fmla="*/ 341 w 422"/>
                <a:gd name="T5" fmla="*/ 138 h 422"/>
                <a:gd name="T6" fmla="*/ 260 w 422"/>
                <a:gd name="T7" fmla="*/ 180 h 422"/>
                <a:gd name="T8" fmla="*/ 302 w 422"/>
                <a:gd name="T9" fmla="*/ 100 h 422"/>
                <a:gd name="T10" fmla="*/ 269 w 422"/>
                <a:gd name="T11" fmla="*/ 55 h 422"/>
                <a:gd name="T12" fmla="*/ 220 w 422"/>
                <a:gd name="T13" fmla="*/ 18 h 422"/>
                <a:gd name="T14" fmla="*/ 183 w 422"/>
                <a:gd name="T15" fmla="*/ 67 h 422"/>
                <a:gd name="T16" fmla="*/ 138 w 422"/>
                <a:gd name="T17" fmla="*/ 100 h 422"/>
                <a:gd name="T18" fmla="*/ 58 w 422"/>
                <a:gd name="T19" fmla="*/ 58 h 422"/>
                <a:gd name="T20" fmla="*/ 100 w 422"/>
                <a:gd name="T21" fmla="*/ 138 h 422"/>
                <a:gd name="T22" fmla="*/ 67 w 422"/>
                <a:gd name="T23" fmla="*/ 183 h 422"/>
                <a:gd name="T24" fmla="*/ 18 w 422"/>
                <a:gd name="T25" fmla="*/ 220 h 422"/>
                <a:gd name="T26" fmla="*/ 55 w 422"/>
                <a:gd name="T27" fmla="*/ 269 h 422"/>
                <a:gd name="T28" fmla="*/ 100 w 422"/>
                <a:gd name="T29" fmla="*/ 302 h 422"/>
                <a:gd name="T30" fmla="*/ 180 w 422"/>
                <a:gd name="T31" fmla="*/ 260 h 422"/>
                <a:gd name="T32" fmla="*/ 138 w 422"/>
                <a:gd name="T33" fmla="*/ 341 h 422"/>
                <a:gd name="T34" fmla="*/ 171 w 422"/>
                <a:gd name="T35" fmla="*/ 386 h 422"/>
                <a:gd name="T36" fmla="*/ 220 w 422"/>
                <a:gd name="T37" fmla="*/ 422 h 422"/>
                <a:gd name="T38" fmla="*/ 422 w 422"/>
                <a:gd name="T39" fmla="*/ 220 h 4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22" h="422">
                  <a:moveTo>
                    <a:pt x="422" y="220"/>
                  </a:moveTo>
                  <a:cubicBezTo>
                    <a:pt x="422" y="220"/>
                    <a:pt x="398" y="183"/>
                    <a:pt x="386" y="171"/>
                  </a:cubicBezTo>
                  <a:cubicBezTo>
                    <a:pt x="373" y="159"/>
                    <a:pt x="349" y="134"/>
                    <a:pt x="341" y="138"/>
                  </a:cubicBezTo>
                  <a:cubicBezTo>
                    <a:pt x="332" y="142"/>
                    <a:pt x="318" y="239"/>
                    <a:pt x="260" y="180"/>
                  </a:cubicBezTo>
                  <a:cubicBezTo>
                    <a:pt x="202" y="122"/>
                    <a:pt x="300" y="110"/>
                    <a:pt x="302" y="100"/>
                  </a:cubicBezTo>
                  <a:cubicBezTo>
                    <a:pt x="304" y="90"/>
                    <a:pt x="281" y="67"/>
                    <a:pt x="269" y="55"/>
                  </a:cubicBezTo>
                  <a:cubicBezTo>
                    <a:pt x="257" y="42"/>
                    <a:pt x="220" y="18"/>
                    <a:pt x="220" y="18"/>
                  </a:cubicBezTo>
                  <a:cubicBezTo>
                    <a:pt x="220" y="18"/>
                    <a:pt x="196" y="55"/>
                    <a:pt x="183" y="67"/>
                  </a:cubicBezTo>
                  <a:cubicBezTo>
                    <a:pt x="171" y="79"/>
                    <a:pt x="149" y="102"/>
                    <a:pt x="138" y="100"/>
                  </a:cubicBezTo>
                  <a:cubicBezTo>
                    <a:pt x="128" y="98"/>
                    <a:pt x="116" y="0"/>
                    <a:pt x="58" y="58"/>
                  </a:cubicBezTo>
                  <a:cubicBezTo>
                    <a:pt x="0" y="116"/>
                    <a:pt x="96" y="130"/>
                    <a:pt x="100" y="138"/>
                  </a:cubicBezTo>
                  <a:cubicBezTo>
                    <a:pt x="104" y="147"/>
                    <a:pt x="79" y="171"/>
                    <a:pt x="67" y="183"/>
                  </a:cubicBezTo>
                  <a:cubicBezTo>
                    <a:pt x="55" y="196"/>
                    <a:pt x="18" y="220"/>
                    <a:pt x="18" y="220"/>
                  </a:cubicBezTo>
                  <a:cubicBezTo>
                    <a:pt x="18" y="220"/>
                    <a:pt x="42" y="257"/>
                    <a:pt x="55" y="269"/>
                  </a:cubicBezTo>
                  <a:cubicBezTo>
                    <a:pt x="67" y="281"/>
                    <a:pt x="91" y="306"/>
                    <a:pt x="100" y="302"/>
                  </a:cubicBezTo>
                  <a:cubicBezTo>
                    <a:pt x="108" y="298"/>
                    <a:pt x="122" y="202"/>
                    <a:pt x="180" y="260"/>
                  </a:cubicBezTo>
                  <a:cubicBezTo>
                    <a:pt x="238" y="318"/>
                    <a:pt x="140" y="330"/>
                    <a:pt x="138" y="341"/>
                  </a:cubicBezTo>
                  <a:cubicBezTo>
                    <a:pt x="136" y="351"/>
                    <a:pt x="159" y="373"/>
                    <a:pt x="171" y="386"/>
                  </a:cubicBezTo>
                  <a:cubicBezTo>
                    <a:pt x="183" y="398"/>
                    <a:pt x="220" y="422"/>
                    <a:pt x="220" y="422"/>
                  </a:cubicBezTo>
                  <a:lnTo>
                    <a:pt x="422" y="22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cxnSp>
        <p:nvCxnSpPr>
          <p:cNvPr id="122" name="Straight Connector 121"/>
          <p:cNvCxnSpPr/>
          <p:nvPr/>
        </p:nvCxnSpPr>
        <p:spPr>
          <a:xfrm>
            <a:off x="1038540" y="2629962"/>
            <a:ext cx="1891470" cy="0"/>
          </a:xfrm>
          <a:prstGeom prst="line">
            <a:avLst/>
          </a:prstGeom>
          <a:ln w="28575">
            <a:solidFill>
              <a:schemeClr val="tx1"/>
            </a:solidFill>
            <a:prstDash val="sysDot"/>
            <a:headEnd type="oval" w="sm" len="sm"/>
            <a:tailEnd type="oval" w="sm" len="sm"/>
          </a:ln>
        </p:spPr>
        <p:style>
          <a:lnRef idx="1">
            <a:schemeClr val="accent1"/>
          </a:lnRef>
          <a:fillRef idx="0">
            <a:schemeClr val="accent1"/>
          </a:fillRef>
          <a:effectRef idx="0">
            <a:schemeClr val="accent1"/>
          </a:effectRef>
          <a:fontRef idx="minor">
            <a:schemeClr val="tx1"/>
          </a:fontRef>
        </p:style>
      </p:cxnSp>
      <p:sp>
        <p:nvSpPr>
          <p:cNvPr id="123" name="Rectangle 152"/>
          <p:cNvSpPr/>
          <p:nvPr/>
        </p:nvSpPr>
        <p:spPr bwMode="auto">
          <a:xfrm>
            <a:off x="977327" y="2118108"/>
            <a:ext cx="1982520" cy="43694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14367"/>
            <a:r>
              <a:rPr lang="en-US" sz="1200">
                <a:solidFill>
                  <a:srgbClr val="000000"/>
                </a:solidFill>
                <a:cs typeface="Segoe UI Light" panose="020B0502040204020203" pitchFamily="34" charset="0"/>
              </a:rPr>
              <a:t>On-premises data</a:t>
            </a:r>
          </a:p>
          <a:p>
            <a:pPr defTabSz="914367"/>
            <a:r>
              <a:rPr lang="en-US" sz="900">
                <a:solidFill>
                  <a:srgbClr val="000000"/>
                </a:solidFill>
                <a:cs typeface="Segoe UI Light" panose="020B0502040204020203" pitchFamily="34" charset="0"/>
              </a:rPr>
              <a:t>e.g. Analysis Services, SQL Server</a:t>
            </a:r>
          </a:p>
        </p:txBody>
      </p:sp>
      <p:sp>
        <p:nvSpPr>
          <p:cNvPr id="124" name="Oval 154"/>
          <p:cNvSpPr/>
          <p:nvPr/>
        </p:nvSpPr>
        <p:spPr bwMode="auto">
          <a:xfrm>
            <a:off x="612426" y="2189289"/>
            <a:ext cx="365760" cy="365760"/>
          </a:xfrm>
          <a:prstGeom prst="ellipse">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2400" err="1">
              <a:gradFill>
                <a:gsLst>
                  <a:gs pos="0">
                    <a:srgbClr val="FFFFFF"/>
                  </a:gs>
                  <a:gs pos="100000">
                    <a:srgbClr val="FFFFFF"/>
                  </a:gs>
                </a:gsLst>
                <a:lin ang="5400000" scaled="0"/>
              </a:gradFill>
              <a:ea typeface="Segoe UI" pitchFamily="34" charset="0"/>
              <a:cs typeface="Segoe UI" pitchFamily="34" charset="0"/>
            </a:endParaRPr>
          </a:p>
        </p:txBody>
      </p:sp>
      <p:sp>
        <p:nvSpPr>
          <p:cNvPr id="125" name="Freeform 30"/>
          <p:cNvSpPr>
            <a:spLocks noEditPoints="1"/>
          </p:cNvSpPr>
          <p:nvPr/>
        </p:nvSpPr>
        <p:spPr bwMode="auto">
          <a:xfrm>
            <a:off x="694811" y="2283523"/>
            <a:ext cx="200989" cy="177291"/>
          </a:xfrm>
          <a:custGeom>
            <a:avLst/>
            <a:gdLst>
              <a:gd name="T0" fmla="*/ 883 w 916"/>
              <a:gd name="T1" fmla="*/ 286 h 808"/>
              <a:gd name="T2" fmla="*/ 539 w 916"/>
              <a:gd name="T3" fmla="*/ 723 h 808"/>
              <a:gd name="T4" fmla="*/ 504 w 916"/>
              <a:gd name="T5" fmla="*/ 0 h 808"/>
              <a:gd name="T6" fmla="*/ 35 w 916"/>
              <a:gd name="T7" fmla="*/ 723 h 808"/>
              <a:gd name="T8" fmla="*/ 0 w 916"/>
              <a:gd name="T9" fmla="*/ 808 h 808"/>
              <a:gd name="T10" fmla="*/ 916 w 916"/>
              <a:gd name="T11" fmla="*/ 723 h 808"/>
              <a:gd name="T12" fmla="*/ 229 w 916"/>
              <a:gd name="T13" fmla="*/ 665 h 808"/>
              <a:gd name="T14" fmla="*/ 109 w 916"/>
              <a:gd name="T15" fmla="*/ 596 h 808"/>
              <a:gd name="T16" fmla="*/ 229 w 916"/>
              <a:gd name="T17" fmla="*/ 665 h 808"/>
              <a:gd name="T18" fmla="*/ 109 w 916"/>
              <a:gd name="T19" fmla="*/ 501 h 808"/>
              <a:gd name="T20" fmla="*/ 229 w 916"/>
              <a:gd name="T21" fmla="*/ 432 h 808"/>
              <a:gd name="T22" fmla="*/ 229 w 916"/>
              <a:gd name="T23" fmla="*/ 337 h 808"/>
              <a:gd name="T24" fmla="*/ 109 w 916"/>
              <a:gd name="T25" fmla="*/ 267 h 808"/>
              <a:gd name="T26" fmla="*/ 229 w 916"/>
              <a:gd name="T27" fmla="*/ 337 h 808"/>
              <a:gd name="T28" fmla="*/ 109 w 916"/>
              <a:gd name="T29" fmla="*/ 172 h 808"/>
              <a:gd name="T30" fmla="*/ 229 w 916"/>
              <a:gd name="T31" fmla="*/ 103 h 808"/>
              <a:gd name="T32" fmla="*/ 428 w 916"/>
              <a:gd name="T33" fmla="*/ 665 h 808"/>
              <a:gd name="T34" fmla="*/ 307 w 916"/>
              <a:gd name="T35" fmla="*/ 596 h 808"/>
              <a:gd name="T36" fmla="*/ 428 w 916"/>
              <a:gd name="T37" fmla="*/ 665 h 808"/>
              <a:gd name="T38" fmla="*/ 307 w 916"/>
              <a:gd name="T39" fmla="*/ 501 h 808"/>
              <a:gd name="T40" fmla="*/ 428 w 916"/>
              <a:gd name="T41" fmla="*/ 432 h 808"/>
              <a:gd name="T42" fmla="*/ 428 w 916"/>
              <a:gd name="T43" fmla="*/ 337 h 808"/>
              <a:gd name="T44" fmla="*/ 307 w 916"/>
              <a:gd name="T45" fmla="*/ 267 h 808"/>
              <a:gd name="T46" fmla="*/ 428 w 916"/>
              <a:gd name="T47" fmla="*/ 337 h 808"/>
              <a:gd name="T48" fmla="*/ 307 w 916"/>
              <a:gd name="T49" fmla="*/ 172 h 808"/>
              <a:gd name="T50" fmla="*/ 428 w 916"/>
              <a:gd name="T51" fmla="*/ 103 h 808"/>
              <a:gd name="T52" fmla="*/ 684 w 916"/>
              <a:gd name="T53" fmla="*/ 668 h 808"/>
              <a:gd name="T54" fmla="*/ 606 w 916"/>
              <a:gd name="T55" fmla="*/ 549 h 808"/>
              <a:gd name="T56" fmla="*/ 684 w 916"/>
              <a:gd name="T57" fmla="*/ 668 h 808"/>
              <a:gd name="T58" fmla="*/ 606 w 916"/>
              <a:gd name="T59" fmla="*/ 482 h 808"/>
              <a:gd name="T60" fmla="*/ 684 w 916"/>
              <a:gd name="T61" fmla="*/ 365 h 808"/>
              <a:gd name="T62" fmla="*/ 816 w 916"/>
              <a:gd name="T63" fmla="*/ 668 h 808"/>
              <a:gd name="T64" fmla="*/ 738 w 916"/>
              <a:gd name="T65" fmla="*/ 549 h 808"/>
              <a:gd name="T66" fmla="*/ 816 w 916"/>
              <a:gd name="T67" fmla="*/ 668 h 808"/>
              <a:gd name="T68" fmla="*/ 738 w 916"/>
              <a:gd name="T69" fmla="*/ 482 h 808"/>
              <a:gd name="T70" fmla="*/ 816 w 916"/>
              <a:gd name="T71" fmla="*/ 365 h 8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16" h="808">
                <a:moveTo>
                  <a:pt x="883" y="723"/>
                </a:moveTo>
                <a:lnTo>
                  <a:pt x="883" y="286"/>
                </a:lnTo>
                <a:lnTo>
                  <a:pt x="539" y="286"/>
                </a:lnTo>
                <a:lnTo>
                  <a:pt x="539" y="723"/>
                </a:lnTo>
                <a:lnTo>
                  <a:pt x="504" y="723"/>
                </a:lnTo>
                <a:lnTo>
                  <a:pt x="504" y="0"/>
                </a:lnTo>
                <a:lnTo>
                  <a:pt x="35" y="0"/>
                </a:lnTo>
                <a:lnTo>
                  <a:pt x="35" y="723"/>
                </a:lnTo>
                <a:lnTo>
                  <a:pt x="0" y="723"/>
                </a:lnTo>
                <a:lnTo>
                  <a:pt x="0" y="808"/>
                </a:lnTo>
                <a:lnTo>
                  <a:pt x="916" y="808"/>
                </a:lnTo>
                <a:lnTo>
                  <a:pt x="916" y="723"/>
                </a:lnTo>
                <a:lnTo>
                  <a:pt x="883" y="723"/>
                </a:lnTo>
                <a:close/>
                <a:moveTo>
                  <a:pt x="229" y="665"/>
                </a:moveTo>
                <a:lnTo>
                  <a:pt x="109" y="665"/>
                </a:lnTo>
                <a:lnTo>
                  <a:pt x="109" y="596"/>
                </a:lnTo>
                <a:lnTo>
                  <a:pt x="229" y="596"/>
                </a:lnTo>
                <a:lnTo>
                  <a:pt x="229" y="665"/>
                </a:lnTo>
                <a:close/>
                <a:moveTo>
                  <a:pt x="229" y="501"/>
                </a:moveTo>
                <a:lnTo>
                  <a:pt x="109" y="501"/>
                </a:lnTo>
                <a:lnTo>
                  <a:pt x="109" y="432"/>
                </a:lnTo>
                <a:lnTo>
                  <a:pt x="229" y="432"/>
                </a:lnTo>
                <a:lnTo>
                  <a:pt x="229" y="501"/>
                </a:lnTo>
                <a:close/>
                <a:moveTo>
                  <a:pt x="229" y="337"/>
                </a:moveTo>
                <a:lnTo>
                  <a:pt x="109" y="337"/>
                </a:lnTo>
                <a:lnTo>
                  <a:pt x="109" y="267"/>
                </a:lnTo>
                <a:lnTo>
                  <a:pt x="229" y="267"/>
                </a:lnTo>
                <a:lnTo>
                  <a:pt x="229" y="337"/>
                </a:lnTo>
                <a:close/>
                <a:moveTo>
                  <a:pt x="229" y="172"/>
                </a:moveTo>
                <a:lnTo>
                  <a:pt x="109" y="172"/>
                </a:lnTo>
                <a:lnTo>
                  <a:pt x="109" y="103"/>
                </a:lnTo>
                <a:lnTo>
                  <a:pt x="229" y="103"/>
                </a:lnTo>
                <a:lnTo>
                  <a:pt x="229" y="172"/>
                </a:lnTo>
                <a:close/>
                <a:moveTo>
                  <a:pt x="428" y="665"/>
                </a:moveTo>
                <a:lnTo>
                  <a:pt x="307" y="665"/>
                </a:lnTo>
                <a:lnTo>
                  <a:pt x="307" y="596"/>
                </a:lnTo>
                <a:lnTo>
                  <a:pt x="428" y="596"/>
                </a:lnTo>
                <a:lnTo>
                  <a:pt x="428" y="665"/>
                </a:lnTo>
                <a:close/>
                <a:moveTo>
                  <a:pt x="428" y="501"/>
                </a:moveTo>
                <a:lnTo>
                  <a:pt x="307" y="501"/>
                </a:lnTo>
                <a:lnTo>
                  <a:pt x="307" y="432"/>
                </a:lnTo>
                <a:lnTo>
                  <a:pt x="428" y="432"/>
                </a:lnTo>
                <a:lnTo>
                  <a:pt x="428" y="501"/>
                </a:lnTo>
                <a:close/>
                <a:moveTo>
                  <a:pt x="428" y="337"/>
                </a:moveTo>
                <a:lnTo>
                  <a:pt x="307" y="337"/>
                </a:lnTo>
                <a:lnTo>
                  <a:pt x="307" y="267"/>
                </a:lnTo>
                <a:lnTo>
                  <a:pt x="428" y="267"/>
                </a:lnTo>
                <a:lnTo>
                  <a:pt x="428" y="337"/>
                </a:lnTo>
                <a:close/>
                <a:moveTo>
                  <a:pt x="428" y="172"/>
                </a:moveTo>
                <a:lnTo>
                  <a:pt x="307" y="172"/>
                </a:lnTo>
                <a:lnTo>
                  <a:pt x="307" y="103"/>
                </a:lnTo>
                <a:lnTo>
                  <a:pt x="428" y="103"/>
                </a:lnTo>
                <a:lnTo>
                  <a:pt x="428" y="172"/>
                </a:lnTo>
                <a:close/>
                <a:moveTo>
                  <a:pt x="684" y="668"/>
                </a:moveTo>
                <a:lnTo>
                  <a:pt x="606" y="668"/>
                </a:lnTo>
                <a:lnTo>
                  <a:pt x="606" y="549"/>
                </a:lnTo>
                <a:lnTo>
                  <a:pt x="684" y="549"/>
                </a:lnTo>
                <a:lnTo>
                  <a:pt x="684" y="668"/>
                </a:lnTo>
                <a:close/>
                <a:moveTo>
                  <a:pt x="684" y="482"/>
                </a:moveTo>
                <a:lnTo>
                  <a:pt x="606" y="482"/>
                </a:lnTo>
                <a:lnTo>
                  <a:pt x="606" y="365"/>
                </a:lnTo>
                <a:lnTo>
                  <a:pt x="684" y="365"/>
                </a:lnTo>
                <a:lnTo>
                  <a:pt x="684" y="482"/>
                </a:lnTo>
                <a:close/>
                <a:moveTo>
                  <a:pt x="816" y="668"/>
                </a:moveTo>
                <a:lnTo>
                  <a:pt x="738" y="668"/>
                </a:lnTo>
                <a:lnTo>
                  <a:pt x="738" y="549"/>
                </a:lnTo>
                <a:lnTo>
                  <a:pt x="816" y="549"/>
                </a:lnTo>
                <a:lnTo>
                  <a:pt x="816" y="668"/>
                </a:lnTo>
                <a:close/>
                <a:moveTo>
                  <a:pt x="816" y="482"/>
                </a:moveTo>
                <a:lnTo>
                  <a:pt x="738" y="482"/>
                </a:lnTo>
                <a:lnTo>
                  <a:pt x="738" y="365"/>
                </a:lnTo>
                <a:lnTo>
                  <a:pt x="816" y="365"/>
                </a:lnTo>
                <a:lnTo>
                  <a:pt x="816" y="482"/>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cxnSp>
        <p:nvCxnSpPr>
          <p:cNvPr id="126" name="Straight Connector 125"/>
          <p:cNvCxnSpPr/>
          <p:nvPr/>
        </p:nvCxnSpPr>
        <p:spPr>
          <a:xfrm>
            <a:off x="1038540" y="3205749"/>
            <a:ext cx="1891470" cy="0"/>
          </a:xfrm>
          <a:prstGeom prst="line">
            <a:avLst/>
          </a:prstGeom>
          <a:ln w="28575">
            <a:solidFill>
              <a:schemeClr val="tx1"/>
            </a:solidFill>
            <a:prstDash val="sysDot"/>
            <a:headEnd type="oval" w="sm" len="sm"/>
            <a:tailEnd type="oval" w="sm" len="sm"/>
          </a:ln>
        </p:spPr>
        <p:style>
          <a:lnRef idx="1">
            <a:schemeClr val="accent1"/>
          </a:lnRef>
          <a:fillRef idx="0">
            <a:schemeClr val="accent1"/>
          </a:fillRef>
          <a:effectRef idx="0">
            <a:schemeClr val="accent1"/>
          </a:effectRef>
          <a:fontRef idx="minor">
            <a:schemeClr val="tx1"/>
          </a:fontRef>
        </p:style>
      </p:cxnSp>
      <p:sp>
        <p:nvSpPr>
          <p:cNvPr id="127" name="Rectangle 1074"/>
          <p:cNvSpPr/>
          <p:nvPr/>
        </p:nvSpPr>
        <p:spPr bwMode="auto">
          <a:xfrm>
            <a:off x="977326" y="2528510"/>
            <a:ext cx="2065297" cy="79663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14367"/>
            <a:r>
              <a:rPr lang="en-US" sz="1100">
                <a:solidFill>
                  <a:srgbClr val="000000"/>
                </a:solidFill>
                <a:cs typeface="Segoe UI Light" panose="020B0502040204020203" pitchFamily="34" charset="0"/>
              </a:rPr>
              <a:t>Organizational content packs</a:t>
            </a:r>
            <a:br>
              <a:rPr lang="en-US" sz="1100">
                <a:solidFill>
                  <a:srgbClr val="000000"/>
                </a:solidFill>
                <a:cs typeface="Segoe UI Light" panose="020B0502040204020203" pitchFamily="34" charset="0"/>
              </a:rPr>
            </a:br>
            <a:r>
              <a:rPr lang="en-US" sz="900" i="1">
                <a:solidFill>
                  <a:srgbClr val="000000"/>
                </a:solidFill>
                <a:cs typeface="Segoe UI Light" panose="020B0502040204020203" pitchFamily="34" charset="0"/>
              </a:rPr>
              <a:t>Corporate data sources or external data services</a:t>
            </a:r>
          </a:p>
        </p:txBody>
      </p:sp>
      <p:sp>
        <p:nvSpPr>
          <p:cNvPr id="128" name="Oval 1076"/>
          <p:cNvSpPr/>
          <p:nvPr/>
        </p:nvSpPr>
        <p:spPr bwMode="auto">
          <a:xfrm>
            <a:off x="612426" y="2731597"/>
            <a:ext cx="365760" cy="365760"/>
          </a:xfrm>
          <a:prstGeom prst="ellipse">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2400" err="1">
              <a:gradFill>
                <a:gsLst>
                  <a:gs pos="0">
                    <a:srgbClr val="FFFFFF"/>
                  </a:gs>
                  <a:gs pos="100000">
                    <a:srgbClr val="FFFFFF"/>
                  </a:gs>
                </a:gsLst>
                <a:lin ang="5400000" scaled="0"/>
              </a:gradFill>
              <a:ea typeface="Segoe UI" pitchFamily="34" charset="0"/>
              <a:cs typeface="Segoe UI" pitchFamily="34" charset="0"/>
            </a:endParaRPr>
          </a:p>
        </p:txBody>
      </p:sp>
      <p:grpSp>
        <p:nvGrpSpPr>
          <p:cNvPr id="129" name="Group 128"/>
          <p:cNvGrpSpPr/>
          <p:nvPr/>
        </p:nvGrpSpPr>
        <p:grpSpPr>
          <a:xfrm>
            <a:off x="687669" y="2819868"/>
            <a:ext cx="215269" cy="189218"/>
            <a:chOff x="681704" y="2920140"/>
            <a:chExt cx="321649" cy="282723"/>
          </a:xfrm>
          <a:solidFill>
            <a:schemeClr val="tx1"/>
          </a:solidFill>
        </p:grpSpPr>
        <p:sp>
          <p:nvSpPr>
            <p:cNvPr id="130" name="Freeform 34"/>
            <p:cNvSpPr>
              <a:spLocks/>
            </p:cNvSpPr>
            <p:nvPr/>
          </p:nvSpPr>
          <p:spPr bwMode="auto">
            <a:xfrm>
              <a:off x="681704" y="2920140"/>
              <a:ext cx="270621" cy="210107"/>
            </a:xfrm>
            <a:custGeom>
              <a:avLst/>
              <a:gdLst>
                <a:gd name="T0" fmla="*/ 270 w 1048"/>
                <a:gd name="T1" fmla="*/ 104 h 814"/>
                <a:gd name="T2" fmla="*/ 328 w 1048"/>
                <a:gd name="T3" fmla="*/ 81 h 814"/>
                <a:gd name="T4" fmla="*/ 967 w 1048"/>
                <a:gd name="T5" fmla="*/ 81 h 814"/>
                <a:gd name="T6" fmla="*/ 967 w 1048"/>
                <a:gd name="T7" fmla="*/ 142 h 814"/>
                <a:gd name="T8" fmla="*/ 1048 w 1048"/>
                <a:gd name="T9" fmla="*/ 142 h 814"/>
                <a:gd name="T10" fmla="*/ 1048 w 1048"/>
                <a:gd name="T11" fmla="*/ 0 h 814"/>
                <a:gd name="T12" fmla="*/ 328 w 1048"/>
                <a:gd name="T13" fmla="*/ 0 h 814"/>
                <a:gd name="T14" fmla="*/ 205 w 1048"/>
                <a:gd name="T15" fmla="*/ 56 h 814"/>
                <a:gd name="T16" fmla="*/ 38 w 1048"/>
                <a:gd name="T17" fmla="*/ 318 h 814"/>
                <a:gd name="T18" fmla="*/ 0 w 1048"/>
                <a:gd name="T19" fmla="*/ 426 h 814"/>
                <a:gd name="T20" fmla="*/ 0 w 1048"/>
                <a:gd name="T21" fmla="*/ 814 h 814"/>
                <a:gd name="T22" fmla="*/ 240 w 1048"/>
                <a:gd name="T23" fmla="*/ 814 h 814"/>
                <a:gd name="T24" fmla="*/ 240 w 1048"/>
                <a:gd name="T25" fmla="*/ 733 h 814"/>
                <a:gd name="T26" fmla="*/ 81 w 1048"/>
                <a:gd name="T27" fmla="*/ 733 h 814"/>
                <a:gd name="T28" fmla="*/ 81 w 1048"/>
                <a:gd name="T29" fmla="*/ 426 h 814"/>
                <a:gd name="T30" fmla="*/ 280 w 1048"/>
                <a:gd name="T31" fmla="*/ 297 h 814"/>
                <a:gd name="T32" fmla="*/ 270 w 1048"/>
                <a:gd name="T33" fmla="*/ 104 h 8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48" h="814">
                  <a:moveTo>
                    <a:pt x="270" y="104"/>
                  </a:moveTo>
                  <a:cubicBezTo>
                    <a:pt x="274" y="98"/>
                    <a:pt x="287" y="81"/>
                    <a:pt x="328" y="81"/>
                  </a:cubicBezTo>
                  <a:cubicBezTo>
                    <a:pt x="967" y="81"/>
                    <a:pt x="967" y="81"/>
                    <a:pt x="967" y="81"/>
                  </a:cubicBezTo>
                  <a:cubicBezTo>
                    <a:pt x="967" y="142"/>
                    <a:pt x="967" y="142"/>
                    <a:pt x="967" y="142"/>
                  </a:cubicBezTo>
                  <a:cubicBezTo>
                    <a:pt x="1048" y="142"/>
                    <a:pt x="1048" y="142"/>
                    <a:pt x="1048" y="142"/>
                  </a:cubicBezTo>
                  <a:cubicBezTo>
                    <a:pt x="1048" y="0"/>
                    <a:pt x="1048" y="0"/>
                    <a:pt x="1048" y="0"/>
                  </a:cubicBezTo>
                  <a:cubicBezTo>
                    <a:pt x="328" y="0"/>
                    <a:pt x="328" y="0"/>
                    <a:pt x="328" y="0"/>
                  </a:cubicBezTo>
                  <a:cubicBezTo>
                    <a:pt x="260" y="0"/>
                    <a:pt x="223" y="30"/>
                    <a:pt x="205" y="56"/>
                  </a:cubicBezTo>
                  <a:cubicBezTo>
                    <a:pt x="38" y="318"/>
                    <a:pt x="38" y="318"/>
                    <a:pt x="38" y="318"/>
                  </a:cubicBezTo>
                  <a:cubicBezTo>
                    <a:pt x="19" y="345"/>
                    <a:pt x="0" y="383"/>
                    <a:pt x="0" y="426"/>
                  </a:cubicBezTo>
                  <a:cubicBezTo>
                    <a:pt x="0" y="814"/>
                    <a:pt x="0" y="814"/>
                    <a:pt x="0" y="814"/>
                  </a:cubicBezTo>
                  <a:cubicBezTo>
                    <a:pt x="240" y="814"/>
                    <a:pt x="240" y="814"/>
                    <a:pt x="240" y="814"/>
                  </a:cubicBezTo>
                  <a:cubicBezTo>
                    <a:pt x="240" y="733"/>
                    <a:pt x="240" y="733"/>
                    <a:pt x="240" y="733"/>
                  </a:cubicBezTo>
                  <a:cubicBezTo>
                    <a:pt x="81" y="733"/>
                    <a:pt x="81" y="733"/>
                    <a:pt x="81" y="733"/>
                  </a:cubicBezTo>
                  <a:cubicBezTo>
                    <a:pt x="81" y="426"/>
                    <a:pt x="81" y="426"/>
                    <a:pt x="81" y="426"/>
                  </a:cubicBezTo>
                  <a:cubicBezTo>
                    <a:pt x="81" y="357"/>
                    <a:pt x="213" y="303"/>
                    <a:pt x="280" y="297"/>
                  </a:cubicBezTo>
                  <a:cubicBezTo>
                    <a:pt x="258" y="241"/>
                    <a:pt x="241" y="148"/>
                    <a:pt x="270" y="10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1" name="Freeform 35"/>
            <p:cNvSpPr>
              <a:spLocks noEditPoints="1"/>
            </p:cNvSpPr>
            <p:nvPr/>
          </p:nvSpPr>
          <p:spPr bwMode="auto">
            <a:xfrm>
              <a:off x="760426" y="2959065"/>
              <a:ext cx="242927" cy="243798"/>
            </a:xfrm>
            <a:custGeom>
              <a:avLst/>
              <a:gdLst>
                <a:gd name="T0" fmla="*/ 327 w 941"/>
                <a:gd name="T1" fmla="*/ 277 h 944"/>
                <a:gd name="T2" fmla="*/ 327 w 941"/>
                <a:gd name="T3" fmla="*/ 321 h 944"/>
                <a:gd name="T4" fmla="*/ 344 w 941"/>
                <a:gd name="T5" fmla="*/ 338 h 944"/>
                <a:gd name="T6" fmla="*/ 45 w 941"/>
                <a:gd name="T7" fmla="*/ 510 h 944"/>
                <a:gd name="T8" fmla="*/ 44 w 941"/>
                <a:gd name="T9" fmla="*/ 547 h 944"/>
                <a:gd name="T10" fmla="*/ 0 w 941"/>
                <a:gd name="T11" fmla="*/ 640 h 944"/>
                <a:gd name="T12" fmla="*/ 72 w 941"/>
                <a:gd name="T13" fmla="*/ 596 h 944"/>
                <a:gd name="T14" fmla="*/ 87 w 941"/>
                <a:gd name="T15" fmla="*/ 595 h 944"/>
                <a:gd name="T16" fmla="*/ 414 w 941"/>
                <a:gd name="T17" fmla="*/ 408 h 944"/>
                <a:gd name="T18" fmla="*/ 449 w 941"/>
                <a:gd name="T19" fmla="*/ 443 h 944"/>
                <a:gd name="T20" fmla="*/ 443 w 941"/>
                <a:gd name="T21" fmla="*/ 449 h 944"/>
                <a:gd name="T22" fmla="*/ 443 w 941"/>
                <a:gd name="T23" fmla="*/ 502 h 944"/>
                <a:gd name="T24" fmla="*/ 496 w 941"/>
                <a:gd name="T25" fmla="*/ 502 h 944"/>
                <a:gd name="T26" fmla="*/ 502 w 941"/>
                <a:gd name="T27" fmla="*/ 496 h 944"/>
                <a:gd name="T28" fmla="*/ 536 w 941"/>
                <a:gd name="T29" fmla="*/ 530 h 944"/>
                <a:gd name="T30" fmla="*/ 349 w 941"/>
                <a:gd name="T31" fmla="*/ 855 h 944"/>
                <a:gd name="T32" fmla="*/ 348 w 941"/>
                <a:gd name="T33" fmla="*/ 872 h 944"/>
                <a:gd name="T34" fmla="*/ 304 w 941"/>
                <a:gd name="T35" fmla="*/ 944 h 944"/>
                <a:gd name="T36" fmla="*/ 396 w 941"/>
                <a:gd name="T37" fmla="*/ 899 h 944"/>
                <a:gd name="T38" fmla="*/ 433 w 941"/>
                <a:gd name="T39" fmla="*/ 899 h 944"/>
                <a:gd name="T40" fmla="*/ 605 w 941"/>
                <a:gd name="T41" fmla="*/ 599 h 944"/>
                <a:gd name="T42" fmla="*/ 624 w 941"/>
                <a:gd name="T43" fmla="*/ 618 h 944"/>
                <a:gd name="T44" fmla="*/ 668 w 941"/>
                <a:gd name="T45" fmla="*/ 618 h 944"/>
                <a:gd name="T46" fmla="*/ 668 w 941"/>
                <a:gd name="T47" fmla="*/ 575 h 944"/>
                <a:gd name="T48" fmla="*/ 637 w 941"/>
                <a:gd name="T49" fmla="*/ 544 h 944"/>
                <a:gd name="T50" fmla="*/ 747 w 941"/>
                <a:gd name="T51" fmla="*/ 353 h 944"/>
                <a:gd name="T52" fmla="*/ 843 w 941"/>
                <a:gd name="T53" fmla="*/ 310 h 944"/>
                <a:gd name="T54" fmla="*/ 866 w 941"/>
                <a:gd name="T55" fmla="*/ 132 h 944"/>
                <a:gd name="T56" fmla="*/ 927 w 941"/>
                <a:gd name="T57" fmla="*/ 71 h 944"/>
                <a:gd name="T58" fmla="*/ 927 w 941"/>
                <a:gd name="T59" fmla="*/ 18 h 944"/>
                <a:gd name="T60" fmla="*/ 874 w 941"/>
                <a:gd name="T61" fmla="*/ 18 h 944"/>
                <a:gd name="T62" fmla="*/ 813 w 941"/>
                <a:gd name="T63" fmla="*/ 79 h 944"/>
                <a:gd name="T64" fmla="*/ 635 w 941"/>
                <a:gd name="T65" fmla="*/ 102 h 944"/>
                <a:gd name="T66" fmla="*/ 592 w 941"/>
                <a:gd name="T67" fmla="*/ 196 h 944"/>
                <a:gd name="T68" fmla="*/ 400 w 941"/>
                <a:gd name="T69" fmla="*/ 306 h 944"/>
                <a:gd name="T70" fmla="*/ 370 w 941"/>
                <a:gd name="T71" fmla="*/ 277 h 944"/>
                <a:gd name="T72" fmla="*/ 327 w 941"/>
                <a:gd name="T73" fmla="*/ 277 h 944"/>
                <a:gd name="T74" fmla="*/ 500 w 941"/>
                <a:gd name="T75" fmla="*/ 393 h 944"/>
                <a:gd name="T76" fmla="*/ 493 w 941"/>
                <a:gd name="T77" fmla="*/ 399 h 944"/>
                <a:gd name="T78" fmla="*/ 470 w 941"/>
                <a:gd name="T79" fmla="*/ 376 h 944"/>
                <a:gd name="T80" fmla="*/ 618 w 941"/>
                <a:gd name="T81" fmla="*/ 290 h 944"/>
                <a:gd name="T82" fmla="*/ 635 w 941"/>
                <a:gd name="T83" fmla="*/ 310 h 944"/>
                <a:gd name="T84" fmla="*/ 653 w 941"/>
                <a:gd name="T85" fmla="*/ 325 h 944"/>
                <a:gd name="T86" fmla="*/ 568 w 941"/>
                <a:gd name="T87" fmla="*/ 474 h 944"/>
                <a:gd name="T88" fmla="*/ 546 w 941"/>
                <a:gd name="T89" fmla="*/ 452 h 944"/>
                <a:gd name="T90" fmla="*/ 552 w 941"/>
                <a:gd name="T91" fmla="*/ 445 h 944"/>
                <a:gd name="T92" fmla="*/ 552 w 941"/>
                <a:gd name="T93" fmla="*/ 393 h 944"/>
                <a:gd name="T94" fmla="*/ 500 w 941"/>
                <a:gd name="T95" fmla="*/ 393 h 944"/>
                <a:gd name="T96" fmla="*/ 739 w 941"/>
                <a:gd name="T97" fmla="*/ 270 h 944"/>
                <a:gd name="T98" fmla="*/ 675 w 941"/>
                <a:gd name="T99" fmla="*/ 206 h 944"/>
                <a:gd name="T100" fmla="*/ 739 w 941"/>
                <a:gd name="T101" fmla="*/ 142 h 944"/>
                <a:gd name="T102" fmla="*/ 803 w 941"/>
                <a:gd name="T103" fmla="*/ 206 h 944"/>
                <a:gd name="T104" fmla="*/ 739 w 941"/>
                <a:gd name="T105" fmla="*/ 270 h 9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941" h="944">
                  <a:moveTo>
                    <a:pt x="327" y="277"/>
                  </a:moveTo>
                  <a:cubicBezTo>
                    <a:pt x="314" y="289"/>
                    <a:pt x="314" y="308"/>
                    <a:pt x="327" y="321"/>
                  </a:cubicBezTo>
                  <a:cubicBezTo>
                    <a:pt x="344" y="338"/>
                    <a:pt x="344" y="338"/>
                    <a:pt x="344" y="338"/>
                  </a:cubicBezTo>
                  <a:cubicBezTo>
                    <a:pt x="45" y="510"/>
                    <a:pt x="45" y="510"/>
                    <a:pt x="45" y="510"/>
                  </a:cubicBezTo>
                  <a:cubicBezTo>
                    <a:pt x="44" y="547"/>
                    <a:pt x="44" y="547"/>
                    <a:pt x="44" y="547"/>
                  </a:cubicBezTo>
                  <a:cubicBezTo>
                    <a:pt x="0" y="640"/>
                    <a:pt x="0" y="640"/>
                    <a:pt x="0" y="640"/>
                  </a:cubicBezTo>
                  <a:cubicBezTo>
                    <a:pt x="72" y="596"/>
                    <a:pt x="72" y="596"/>
                    <a:pt x="72" y="596"/>
                  </a:cubicBezTo>
                  <a:cubicBezTo>
                    <a:pt x="87" y="595"/>
                    <a:pt x="87" y="595"/>
                    <a:pt x="87" y="595"/>
                  </a:cubicBezTo>
                  <a:cubicBezTo>
                    <a:pt x="414" y="408"/>
                    <a:pt x="414" y="408"/>
                    <a:pt x="414" y="408"/>
                  </a:cubicBezTo>
                  <a:cubicBezTo>
                    <a:pt x="449" y="443"/>
                    <a:pt x="449" y="443"/>
                    <a:pt x="449" y="443"/>
                  </a:cubicBezTo>
                  <a:cubicBezTo>
                    <a:pt x="443" y="449"/>
                    <a:pt x="443" y="449"/>
                    <a:pt x="443" y="449"/>
                  </a:cubicBezTo>
                  <a:cubicBezTo>
                    <a:pt x="429" y="464"/>
                    <a:pt x="429" y="487"/>
                    <a:pt x="443" y="502"/>
                  </a:cubicBezTo>
                  <a:cubicBezTo>
                    <a:pt x="455" y="514"/>
                    <a:pt x="478" y="519"/>
                    <a:pt x="496" y="502"/>
                  </a:cubicBezTo>
                  <a:cubicBezTo>
                    <a:pt x="502" y="496"/>
                    <a:pt x="502" y="496"/>
                    <a:pt x="502" y="496"/>
                  </a:cubicBezTo>
                  <a:cubicBezTo>
                    <a:pt x="536" y="530"/>
                    <a:pt x="536" y="530"/>
                    <a:pt x="536" y="530"/>
                  </a:cubicBezTo>
                  <a:cubicBezTo>
                    <a:pt x="349" y="855"/>
                    <a:pt x="349" y="855"/>
                    <a:pt x="349" y="855"/>
                  </a:cubicBezTo>
                  <a:cubicBezTo>
                    <a:pt x="348" y="872"/>
                    <a:pt x="348" y="872"/>
                    <a:pt x="348" y="872"/>
                  </a:cubicBezTo>
                  <a:cubicBezTo>
                    <a:pt x="304" y="944"/>
                    <a:pt x="304" y="944"/>
                    <a:pt x="304" y="944"/>
                  </a:cubicBezTo>
                  <a:cubicBezTo>
                    <a:pt x="396" y="899"/>
                    <a:pt x="396" y="899"/>
                    <a:pt x="396" y="899"/>
                  </a:cubicBezTo>
                  <a:cubicBezTo>
                    <a:pt x="433" y="899"/>
                    <a:pt x="433" y="899"/>
                    <a:pt x="433" y="899"/>
                  </a:cubicBezTo>
                  <a:cubicBezTo>
                    <a:pt x="605" y="599"/>
                    <a:pt x="605" y="599"/>
                    <a:pt x="605" y="599"/>
                  </a:cubicBezTo>
                  <a:cubicBezTo>
                    <a:pt x="624" y="618"/>
                    <a:pt x="624" y="618"/>
                    <a:pt x="624" y="618"/>
                  </a:cubicBezTo>
                  <a:cubicBezTo>
                    <a:pt x="632" y="627"/>
                    <a:pt x="653" y="634"/>
                    <a:pt x="668" y="618"/>
                  </a:cubicBezTo>
                  <a:cubicBezTo>
                    <a:pt x="680" y="606"/>
                    <a:pt x="680" y="587"/>
                    <a:pt x="668" y="575"/>
                  </a:cubicBezTo>
                  <a:cubicBezTo>
                    <a:pt x="637" y="544"/>
                    <a:pt x="637" y="544"/>
                    <a:pt x="637" y="544"/>
                  </a:cubicBezTo>
                  <a:cubicBezTo>
                    <a:pt x="747" y="353"/>
                    <a:pt x="747" y="353"/>
                    <a:pt x="747" y="353"/>
                  </a:cubicBezTo>
                  <a:cubicBezTo>
                    <a:pt x="782" y="351"/>
                    <a:pt x="816" y="337"/>
                    <a:pt x="843" y="310"/>
                  </a:cubicBezTo>
                  <a:cubicBezTo>
                    <a:pt x="891" y="262"/>
                    <a:pt x="899" y="188"/>
                    <a:pt x="866" y="132"/>
                  </a:cubicBezTo>
                  <a:cubicBezTo>
                    <a:pt x="927" y="71"/>
                    <a:pt x="927" y="71"/>
                    <a:pt x="927" y="71"/>
                  </a:cubicBezTo>
                  <a:cubicBezTo>
                    <a:pt x="941" y="56"/>
                    <a:pt x="941" y="33"/>
                    <a:pt x="927" y="18"/>
                  </a:cubicBezTo>
                  <a:cubicBezTo>
                    <a:pt x="908" y="0"/>
                    <a:pt x="883" y="9"/>
                    <a:pt x="874" y="18"/>
                  </a:cubicBezTo>
                  <a:cubicBezTo>
                    <a:pt x="813" y="79"/>
                    <a:pt x="813" y="79"/>
                    <a:pt x="813" y="79"/>
                  </a:cubicBezTo>
                  <a:cubicBezTo>
                    <a:pt x="758" y="47"/>
                    <a:pt x="685" y="54"/>
                    <a:pt x="635" y="102"/>
                  </a:cubicBezTo>
                  <a:cubicBezTo>
                    <a:pt x="608" y="127"/>
                    <a:pt x="595" y="162"/>
                    <a:pt x="592" y="196"/>
                  </a:cubicBezTo>
                  <a:cubicBezTo>
                    <a:pt x="400" y="306"/>
                    <a:pt x="400" y="306"/>
                    <a:pt x="400" y="306"/>
                  </a:cubicBezTo>
                  <a:cubicBezTo>
                    <a:pt x="370" y="277"/>
                    <a:pt x="370" y="277"/>
                    <a:pt x="370" y="277"/>
                  </a:cubicBezTo>
                  <a:cubicBezTo>
                    <a:pt x="359" y="267"/>
                    <a:pt x="341" y="263"/>
                    <a:pt x="327" y="277"/>
                  </a:cubicBezTo>
                  <a:close/>
                  <a:moveTo>
                    <a:pt x="500" y="393"/>
                  </a:moveTo>
                  <a:cubicBezTo>
                    <a:pt x="493" y="399"/>
                    <a:pt x="493" y="399"/>
                    <a:pt x="493" y="399"/>
                  </a:cubicBezTo>
                  <a:cubicBezTo>
                    <a:pt x="470" y="376"/>
                    <a:pt x="470" y="376"/>
                    <a:pt x="470" y="376"/>
                  </a:cubicBezTo>
                  <a:cubicBezTo>
                    <a:pt x="618" y="290"/>
                    <a:pt x="618" y="290"/>
                    <a:pt x="618" y="290"/>
                  </a:cubicBezTo>
                  <a:cubicBezTo>
                    <a:pt x="623" y="297"/>
                    <a:pt x="629" y="304"/>
                    <a:pt x="635" y="310"/>
                  </a:cubicBezTo>
                  <a:cubicBezTo>
                    <a:pt x="641" y="316"/>
                    <a:pt x="647" y="321"/>
                    <a:pt x="653" y="325"/>
                  </a:cubicBezTo>
                  <a:cubicBezTo>
                    <a:pt x="568" y="474"/>
                    <a:pt x="568" y="474"/>
                    <a:pt x="568" y="474"/>
                  </a:cubicBezTo>
                  <a:cubicBezTo>
                    <a:pt x="546" y="452"/>
                    <a:pt x="546" y="452"/>
                    <a:pt x="546" y="452"/>
                  </a:cubicBezTo>
                  <a:cubicBezTo>
                    <a:pt x="552" y="445"/>
                    <a:pt x="552" y="445"/>
                    <a:pt x="552" y="445"/>
                  </a:cubicBezTo>
                  <a:cubicBezTo>
                    <a:pt x="567" y="431"/>
                    <a:pt x="567" y="407"/>
                    <a:pt x="552" y="393"/>
                  </a:cubicBezTo>
                  <a:cubicBezTo>
                    <a:pt x="535" y="376"/>
                    <a:pt x="513" y="380"/>
                    <a:pt x="500" y="393"/>
                  </a:cubicBezTo>
                  <a:close/>
                  <a:moveTo>
                    <a:pt x="739" y="270"/>
                  </a:moveTo>
                  <a:cubicBezTo>
                    <a:pt x="703" y="270"/>
                    <a:pt x="675" y="241"/>
                    <a:pt x="675" y="206"/>
                  </a:cubicBezTo>
                  <a:cubicBezTo>
                    <a:pt x="675" y="171"/>
                    <a:pt x="703" y="142"/>
                    <a:pt x="739" y="142"/>
                  </a:cubicBezTo>
                  <a:cubicBezTo>
                    <a:pt x="774" y="142"/>
                    <a:pt x="803" y="171"/>
                    <a:pt x="803" y="206"/>
                  </a:cubicBezTo>
                  <a:cubicBezTo>
                    <a:pt x="803" y="241"/>
                    <a:pt x="774" y="270"/>
                    <a:pt x="739" y="27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cxnSp>
        <p:nvCxnSpPr>
          <p:cNvPr id="132" name="Straight Connector 131"/>
          <p:cNvCxnSpPr/>
          <p:nvPr/>
        </p:nvCxnSpPr>
        <p:spPr>
          <a:xfrm>
            <a:off x="1038540" y="3700427"/>
            <a:ext cx="1891470" cy="0"/>
          </a:xfrm>
          <a:prstGeom prst="line">
            <a:avLst/>
          </a:prstGeom>
          <a:ln w="28575">
            <a:solidFill>
              <a:schemeClr val="tx1"/>
            </a:solidFill>
            <a:prstDash val="sysDot"/>
            <a:headEnd type="oval" w="sm" len="sm"/>
            <a:tailEnd type="oval" w="sm" len="sm"/>
          </a:ln>
        </p:spPr>
        <p:style>
          <a:lnRef idx="1">
            <a:schemeClr val="accent1"/>
          </a:lnRef>
          <a:fillRef idx="0">
            <a:schemeClr val="accent1"/>
          </a:fillRef>
          <a:effectRef idx="0">
            <a:schemeClr val="accent1"/>
          </a:effectRef>
          <a:fontRef idx="minor">
            <a:schemeClr val="tx1"/>
          </a:fontRef>
        </p:style>
      </p:cxnSp>
      <p:sp>
        <p:nvSpPr>
          <p:cNvPr id="135" name="Rectangle 1081"/>
          <p:cNvSpPr/>
          <p:nvPr/>
        </p:nvSpPr>
        <p:spPr bwMode="auto">
          <a:xfrm>
            <a:off x="967900" y="3205749"/>
            <a:ext cx="1982520" cy="44662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14367"/>
            <a:r>
              <a:rPr lang="en-US" sz="1200">
                <a:solidFill>
                  <a:srgbClr val="000000"/>
                </a:solidFill>
                <a:cs typeface="Segoe UI Light" panose="020B0502040204020203" pitchFamily="34" charset="0"/>
              </a:rPr>
              <a:t>Azure services</a:t>
            </a:r>
          </a:p>
          <a:p>
            <a:pPr defTabSz="914367">
              <a:spcAft>
                <a:spcPts val="600"/>
              </a:spcAft>
            </a:pPr>
            <a:r>
              <a:rPr lang="en-US" sz="900" i="1">
                <a:solidFill>
                  <a:srgbClr val="000000"/>
                </a:solidFill>
                <a:cs typeface="Segoe UI Light" panose="020B0502040204020203" pitchFamily="34" charset="0"/>
              </a:rPr>
              <a:t>Azure SQL, Stream Analytics…</a:t>
            </a:r>
          </a:p>
        </p:txBody>
      </p:sp>
      <p:sp>
        <p:nvSpPr>
          <p:cNvPr id="136" name="Oval 1083"/>
          <p:cNvSpPr/>
          <p:nvPr/>
        </p:nvSpPr>
        <p:spPr bwMode="auto">
          <a:xfrm>
            <a:off x="612426" y="3245931"/>
            <a:ext cx="365760" cy="365760"/>
          </a:xfrm>
          <a:prstGeom prst="ellipse">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2400" err="1">
              <a:gradFill>
                <a:gsLst>
                  <a:gs pos="0">
                    <a:srgbClr val="FFFFFF"/>
                  </a:gs>
                  <a:gs pos="100000">
                    <a:srgbClr val="FFFFFF"/>
                  </a:gs>
                </a:gsLst>
                <a:lin ang="5400000" scaled="0"/>
              </a:gradFill>
              <a:ea typeface="Segoe UI" pitchFamily="34" charset="0"/>
              <a:cs typeface="Segoe UI" pitchFamily="34" charset="0"/>
            </a:endParaRPr>
          </a:p>
        </p:txBody>
      </p:sp>
      <p:grpSp>
        <p:nvGrpSpPr>
          <p:cNvPr id="142" name="Group 379"/>
          <p:cNvGrpSpPr/>
          <p:nvPr/>
        </p:nvGrpSpPr>
        <p:grpSpPr>
          <a:xfrm>
            <a:off x="678626" y="3366635"/>
            <a:ext cx="233359" cy="162454"/>
            <a:chOff x="3543365" y="7242811"/>
            <a:chExt cx="1238250" cy="862013"/>
          </a:xfrm>
          <a:solidFill>
            <a:schemeClr val="tx1"/>
          </a:solidFill>
        </p:grpSpPr>
        <p:sp>
          <p:nvSpPr>
            <p:cNvPr id="160" name="Freeform 127"/>
            <p:cNvSpPr>
              <a:spLocks/>
            </p:cNvSpPr>
            <p:nvPr/>
          </p:nvSpPr>
          <p:spPr bwMode="auto">
            <a:xfrm>
              <a:off x="3617978" y="7911149"/>
              <a:ext cx="231775" cy="193675"/>
            </a:xfrm>
            <a:custGeom>
              <a:avLst/>
              <a:gdLst>
                <a:gd name="T0" fmla="*/ 0 w 146"/>
                <a:gd name="T1" fmla="*/ 84 h 122"/>
                <a:gd name="T2" fmla="*/ 0 w 146"/>
                <a:gd name="T3" fmla="*/ 122 h 122"/>
                <a:gd name="T4" fmla="*/ 146 w 146"/>
                <a:gd name="T5" fmla="*/ 122 h 122"/>
                <a:gd name="T6" fmla="*/ 146 w 146"/>
                <a:gd name="T7" fmla="*/ 0 h 122"/>
                <a:gd name="T8" fmla="*/ 120 w 146"/>
                <a:gd name="T9" fmla="*/ 0 h 122"/>
                <a:gd name="T10" fmla="*/ 0 w 146"/>
                <a:gd name="T11" fmla="*/ 84 h 122"/>
              </a:gdLst>
              <a:ahLst/>
              <a:cxnLst>
                <a:cxn ang="0">
                  <a:pos x="T0" y="T1"/>
                </a:cxn>
                <a:cxn ang="0">
                  <a:pos x="T2" y="T3"/>
                </a:cxn>
                <a:cxn ang="0">
                  <a:pos x="T4" y="T5"/>
                </a:cxn>
                <a:cxn ang="0">
                  <a:pos x="T6" y="T7"/>
                </a:cxn>
                <a:cxn ang="0">
                  <a:pos x="T8" y="T9"/>
                </a:cxn>
                <a:cxn ang="0">
                  <a:pos x="T10" y="T11"/>
                </a:cxn>
              </a:cxnLst>
              <a:rect l="0" t="0" r="r" b="b"/>
              <a:pathLst>
                <a:path w="146" h="122">
                  <a:moveTo>
                    <a:pt x="0" y="84"/>
                  </a:moveTo>
                  <a:lnTo>
                    <a:pt x="0" y="122"/>
                  </a:lnTo>
                  <a:lnTo>
                    <a:pt x="146" y="122"/>
                  </a:lnTo>
                  <a:lnTo>
                    <a:pt x="146" y="0"/>
                  </a:lnTo>
                  <a:lnTo>
                    <a:pt x="120" y="0"/>
                  </a:lnTo>
                  <a:lnTo>
                    <a:pt x="0" y="84"/>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1" name="Freeform 128"/>
            <p:cNvSpPr>
              <a:spLocks/>
            </p:cNvSpPr>
            <p:nvPr/>
          </p:nvSpPr>
          <p:spPr bwMode="auto">
            <a:xfrm>
              <a:off x="3617978" y="7688899"/>
              <a:ext cx="231775" cy="192088"/>
            </a:xfrm>
            <a:custGeom>
              <a:avLst/>
              <a:gdLst>
                <a:gd name="T0" fmla="*/ 146 w 146"/>
                <a:gd name="T1" fmla="*/ 0 h 121"/>
                <a:gd name="T2" fmla="*/ 0 w 146"/>
                <a:gd name="T3" fmla="*/ 0 h 121"/>
                <a:gd name="T4" fmla="*/ 0 w 146"/>
                <a:gd name="T5" fmla="*/ 121 h 121"/>
                <a:gd name="T6" fmla="*/ 146 w 146"/>
                <a:gd name="T7" fmla="*/ 19 h 121"/>
                <a:gd name="T8" fmla="*/ 146 w 146"/>
                <a:gd name="T9" fmla="*/ 0 h 121"/>
              </a:gdLst>
              <a:ahLst/>
              <a:cxnLst>
                <a:cxn ang="0">
                  <a:pos x="T0" y="T1"/>
                </a:cxn>
                <a:cxn ang="0">
                  <a:pos x="T2" y="T3"/>
                </a:cxn>
                <a:cxn ang="0">
                  <a:pos x="T4" y="T5"/>
                </a:cxn>
                <a:cxn ang="0">
                  <a:pos x="T6" y="T7"/>
                </a:cxn>
                <a:cxn ang="0">
                  <a:pos x="T8" y="T9"/>
                </a:cxn>
              </a:cxnLst>
              <a:rect l="0" t="0" r="r" b="b"/>
              <a:pathLst>
                <a:path w="146" h="121">
                  <a:moveTo>
                    <a:pt x="146" y="0"/>
                  </a:moveTo>
                  <a:lnTo>
                    <a:pt x="0" y="0"/>
                  </a:lnTo>
                  <a:lnTo>
                    <a:pt x="0" y="121"/>
                  </a:lnTo>
                  <a:lnTo>
                    <a:pt x="146" y="19"/>
                  </a:lnTo>
                  <a:lnTo>
                    <a:pt x="146"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2" name="Rectangle 129"/>
            <p:cNvSpPr>
              <a:spLocks noChangeArrowheads="1"/>
            </p:cNvSpPr>
            <p:nvPr/>
          </p:nvSpPr>
          <p:spPr bwMode="auto">
            <a:xfrm>
              <a:off x="3617978" y="7466649"/>
              <a:ext cx="231775" cy="193675"/>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3" name="Rectangle 130"/>
            <p:cNvSpPr>
              <a:spLocks noChangeArrowheads="1"/>
            </p:cNvSpPr>
            <p:nvPr/>
          </p:nvSpPr>
          <p:spPr bwMode="auto">
            <a:xfrm>
              <a:off x="3617978" y="7242811"/>
              <a:ext cx="231775" cy="195263"/>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5" name="Freeform 131"/>
            <p:cNvSpPr>
              <a:spLocks/>
            </p:cNvSpPr>
            <p:nvPr/>
          </p:nvSpPr>
          <p:spPr bwMode="auto">
            <a:xfrm>
              <a:off x="3895790" y="7911149"/>
              <a:ext cx="230188" cy="193675"/>
            </a:xfrm>
            <a:custGeom>
              <a:avLst/>
              <a:gdLst>
                <a:gd name="T0" fmla="*/ 0 w 250"/>
                <a:gd name="T1" fmla="*/ 210 h 210"/>
                <a:gd name="T2" fmla="*/ 250 w 250"/>
                <a:gd name="T3" fmla="*/ 210 h 210"/>
                <a:gd name="T4" fmla="*/ 250 w 250"/>
                <a:gd name="T5" fmla="*/ 3 h 210"/>
                <a:gd name="T6" fmla="*/ 249 w 250"/>
                <a:gd name="T7" fmla="*/ 0 h 210"/>
                <a:gd name="T8" fmla="*/ 0 w 250"/>
                <a:gd name="T9" fmla="*/ 0 h 210"/>
                <a:gd name="T10" fmla="*/ 0 w 250"/>
                <a:gd name="T11" fmla="*/ 210 h 210"/>
              </a:gdLst>
              <a:ahLst/>
              <a:cxnLst>
                <a:cxn ang="0">
                  <a:pos x="T0" y="T1"/>
                </a:cxn>
                <a:cxn ang="0">
                  <a:pos x="T2" y="T3"/>
                </a:cxn>
                <a:cxn ang="0">
                  <a:pos x="T4" y="T5"/>
                </a:cxn>
                <a:cxn ang="0">
                  <a:pos x="T6" y="T7"/>
                </a:cxn>
                <a:cxn ang="0">
                  <a:pos x="T8" y="T9"/>
                </a:cxn>
                <a:cxn ang="0">
                  <a:pos x="T10" y="T11"/>
                </a:cxn>
              </a:cxnLst>
              <a:rect l="0" t="0" r="r" b="b"/>
              <a:pathLst>
                <a:path w="250" h="210">
                  <a:moveTo>
                    <a:pt x="0" y="210"/>
                  </a:moveTo>
                  <a:cubicBezTo>
                    <a:pt x="250" y="210"/>
                    <a:pt x="250" y="210"/>
                    <a:pt x="250" y="210"/>
                  </a:cubicBezTo>
                  <a:cubicBezTo>
                    <a:pt x="250" y="3"/>
                    <a:pt x="250" y="3"/>
                    <a:pt x="250" y="3"/>
                  </a:cubicBezTo>
                  <a:cubicBezTo>
                    <a:pt x="250" y="2"/>
                    <a:pt x="249" y="1"/>
                    <a:pt x="249" y="0"/>
                  </a:cubicBezTo>
                  <a:cubicBezTo>
                    <a:pt x="0" y="0"/>
                    <a:pt x="0" y="0"/>
                    <a:pt x="0" y="0"/>
                  </a:cubicBezTo>
                  <a:lnTo>
                    <a:pt x="0" y="21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8" name="Freeform 132"/>
            <p:cNvSpPr>
              <a:spLocks/>
            </p:cNvSpPr>
            <p:nvPr/>
          </p:nvSpPr>
          <p:spPr bwMode="auto">
            <a:xfrm>
              <a:off x="4125978" y="7688899"/>
              <a:ext cx="0" cy="6350"/>
            </a:xfrm>
            <a:custGeom>
              <a:avLst/>
              <a:gdLst>
                <a:gd name="T0" fmla="*/ 1 w 1"/>
                <a:gd name="T1" fmla="*/ 0 h 8"/>
                <a:gd name="T2" fmla="*/ 0 w 1"/>
                <a:gd name="T3" fmla="*/ 0 h 8"/>
                <a:gd name="T4" fmla="*/ 1 w 1"/>
                <a:gd name="T5" fmla="*/ 8 h 8"/>
                <a:gd name="T6" fmla="*/ 1 w 1"/>
                <a:gd name="T7" fmla="*/ 0 h 8"/>
              </a:gdLst>
              <a:ahLst/>
              <a:cxnLst>
                <a:cxn ang="0">
                  <a:pos x="T0" y="T1"/>
                </a:cxn>
                <a:cxn ang="0">
                  <a:pos x="T2" y="T3"/>
                </a:cxn>
                <a:cxn ang="0">
                  <a:pos x="T4" y="T5"/>
                </a:cxn>
                <a:cxn ang="0">
                  <a:pos x="T6" y="T7"/>
                </a:cxn>
              </a:cxnLst>
              <a:rect l="0" t="0" r="r" b="b"/>
              <a:pathLst>
                <a:path w="1" h="8">
                  <a:moveTo>
                    <a:pt x="1" y="0"/>
                  </a:moveTo>
                  <a:cubicBezTo>
                    <a:pt x="0" y="0"/>
                    <a:pt x="0" y="0"/>
                    <a:pt x="0" y="0"/>
                  </a:cubicBezTo>
                  <a:cubicBezTo>
                    <a:pt x="0" y="3"/>
                    <a:pt x="1" y="5"/>
                    <a:pt x="1" y="8"/>
                  </a:cubicBezTo>
                  <a:lnTo>
                    <a:pt x="1"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9" name="Freeform 133"/>
            <p:cNvSpPr>
              <a:spLocks/>
            </p:cNvSpPr>
            <p:nvPr/>
          </p:nvSpPr>
          <p:spPr bwMode="auto">
            <a:xfrm>
              <a:off x="3895790" y="7812724"/>
              <a:ext cx="219075" cy="69850"/>
            </a:xfrm>
            <a:custGeom>
              <a:avLst/>
              <a:gdLst>
                <a:gd name="T0" fmla="*/ 186 w 238"/>
                <a:gd name="T1" fmla="*/ 9 h 76"/>
                <a:gd name="T2" fmla="*/ 131 w 238"/>
                <a:gd name="T3" fmla="*/ 22 h 76"/>
                <a:gd name="T4" fmla="*/ 60 w 238"/>
                <a:gd name="T5" fmla="*/ 0 h 76"/>
                <a:gd name="T6" fmla="*/ 0 w 238"/>
                <a:gd name="T7" fmla="*/ 42 h 76"/>
                <a:gd name="T8" fmla="*/ 0 w 238"/>
                <a:gd name="T9" fmla="*/ 76 h 76"/>
                <a:gd name="T10" fmla="*/ 238 w 238"/>
                <a:gd name="T11" fmla="*/ 76 h 76"/>
                <a:gd name="T12" fmla="*/ 236 w 238"/>
                <a:gd name="T13" fmla="*/ 53 h 76"/>
                <a:gd name="T14" fmla="*/ 236 w 238"/>
                <a:gd name="T15" fmla="*/ 49 h 76"/>
                <a:gd name="T16" fmla="*/ 186 w 238"/>
                <a:gd name="T17" fmla="*/ 9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8" h="76">
                  <a:moveTo>
                    <a:pt x="186" y="9"/>
                  </a:moveTo>
                  <a:cubicBezTo>
                    <a:pt x="169" y="18"/>
                    <a:pt x="150" y="22"/>
                    <a:pt x="131" y="22"/>
                  </a:cubicBezTo>
                  <a:cubicBezTo>
                    <a:pt x="105" y="22"/>
                    <a:pt x="80" y="14"/>
                    <a:pt x="60" y="0"/>
                  </a:cubicBezTo>
                  <a:cubicBezTo>
                    <a:pt x="0" y="42"/>
                    <a:pt x="0" y="42"/>
                    <a:pt x="0" y="42"/>
                  </a:cubicBezTo>
                  <a:cubicBezTo>
                    <a:pt x="0" y="76"/>
                    <a:pt x="0" y="76"/>
                    <a:pt x="0" y="76"/>
                  </a:cubicBezTo>
                  <a:cubicBezTo>
                    <a:pt x="238" y="76"/>
                    <a:pt x="238" y="76"/>
                    <a:pt x="238" y="76"/>
                  </a:cubicBezTo>
                  <a:cubicBezTo>
                    <a:pt x="237" y="68"/>
                    <a:pt x="236" y="61"/>
                    <a:pt x="236" y="53"/>
                  </a:cubicBezTo>
                  <a:cubicBezTo>
                    <a:pt x="236" y="51"/>
                    <a:pt x="236" y="50"/>
                    <a:pt x="236" y="49"/>
                  </a:cubicBezTo>
                  <a:lnTo>
                    <a:pt x="186" y="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71" name="Freeform 134"/>
            <p:cNvSpPr>
              <a:spLocks/>
            </p:cNvSpPr>
            <p:nvPr/>
          </p:nvSpPr>
          <p:spPr bwMode="auto">
            <a:xfrm>
              <a:off x="3895790" y="7466649"/>
              <a:ext cx="230188" cy="193675"/>
            </a:xfrm>
            <a:custGeom>
              <a:avLst/>
              <a:gdLst>
                <a:gd name="T0" fmla="*/ 131 w 250"/>
                <a:gd name="T1" fmla="*/ 153 h 210"/>
                <a:gd name="T2" fmla="*/ 235 w 250"/>
                <a:gd name="T3" fmla="*/ 210 h 210"/>
                <a:gd name="T4" fmla="*/ 250 w 250"/>
                <a:gd name="T5" fmla="*/ 210 h 210"/>
                <a:gd name="T6" fmla="*/ 250 w 250"/>
                <a:gd name="T7" fmla="*/ 0 h 210"/>
                <a:gd name="T8" fmla="*/ 0 w 250"/>
                <a:gd name="T9" fmla="*/ 0 h 210"/>
                <a:gd name="T10" fmla="*/ 0 w 250"/>
                <a:gd name="T11" fmla="*/ 210 h 210"/>
                <a:gd name="T12" fmla="*/ 27 w 250"/>
                <a:gd name="T13" fmla="*/ 210 h 210"/>
                <a:gd name="T14" fmla="*/ 131 w 250"/>
                <a:gd name="T15" fmla="*/ 153 h 2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10">
                  <a:moveTo>
                    <a:pt x="131" y="153"/>
                  </a:moveTo>
                  <a:cubicBezTo>
                    <a:pt x="175" y="153"/>
                    <a:pt x="213" y="176"/>
                    <a:pt x="235" y="210"/>
                  </a:cubicBezTo>
                  <a:cubicBezTo>
                    <a:pt x="250" y="210"/>
                    <a:pt x="250" y="210"/>
                    <a:pt x="250" y="210"/>
                  </a:cubicBezTo>
                  <a:cubicBezTo>
                    <a:pt x="250" y="0"/>
                    <a:pt x="250" y="0"/>
                    <a:pt x="250" y="0"/>
                  </a:cubicBezTo>
                  <a:cubicBezTo>
                    <a:pt x="0" y="0"/>
                    <a:pt x="0" y="0"/>
                    <a:pt x="0" y="0"/>
                  </a:cubicBezTo>
                  <a:cubicBezTo>
                    <a:pt x="0" y="210"/>
                    <a:pt x="0" y="210"/>
                    <a:pt x="0" y="210"/>
                  </a:cubicBezTo>
                  <a:cubicBezTo>
                    <a:pt x="27" y="210"/>
                    <a:pt x="27" y="210"/>
                    <a:pt x="27" y="210"/>
                  </a:cubicBezTo>
                  <a:cubicBezTo>
                    <a:pt x="49" y="175"/>
                    <a:pt x="88" y="153"/>
                    <a:pt x="131" y="15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72" name="Freeform 135"/>
            <p:cNvSpPr>
              <a:spLocks/>
            </p:cNvSpPr>
            <p:nvPr/>
          </p:nvSpPr>
          <p:spPr bwMode="auto">
            <a:xfrm>
              <a:off x="4173603" y="7911149"/>
              <a:ext cx="230188" cy="193675"/>
            </a:xfrm>
            <a:custGeom>
              <a:avLst/>
              <a:gdLst>
                <a:gd name="T0" fmla="*/ 58 w 250"/>
                <a:gd name="T1" fmla="*/ 69 h 210"/>
                <a:gd name="T2" fmla="*/ 0 w 250"/>
                <a:gd name="T3" fmla="*/ 54 h 210"/>
                <a:gd name="T4" fmla="*/ 0 w 250"/>
                <a:gd name="T5" fmla="*/ 210 h 210"/>
                <a:gd name="T6" fmla="*/ 250 w 250"/>
                <a:gd name="T7" fmla="*/ 210 h 210"/>
                <a:gd name="T8" fmla="*/ 250 w 250"/>
                <a:gd name="T9" fmla="*/ 0 h 210"/>
                <a:gd name="T10" fmla="*/ 168 w 250"/>
                <a:gd name="T11" fmla="*/ 0 h 210"/>
                <a:gd name="T12" fmla="*/ 58 w 250"/>
                <a:gd name="T13" fmla="*/ 69 h 210"/>
              </a:gdLst>
              <a:ahLst/>
              <a:cxnLst>
                <a:cxn ang="0">
                  <a:pos x="T0" y="T1"/>
                </a:cxn>
                <a:cxn ang="0">
                  <a:pos x="T2" y="T3"/>
                </a:cxn>
                <a:cxn ang="0">
                  <a:pos x="T4" y="T5"/>
                </a:cxn>
                <a:cxn ang="0">
                  <a:pos x="T6" y="T7"/>
                </a:cxn>
                <a:cxn ang="0">
                  <a:pos x="T8" y="T9"/>
                </a:cxn>
                <a:cxn ang="0">
                  <a:pos x="T10" y="T11"/>
                </a:cxn>
                <a:cxn ang="0">
                  <a:pos x="T12" y="T13"/>
                </a:cxn>
              </a:cxnLst>
              <a:rect l="0" t="0" r="r" b="b"/>
              <a:pathLst>
                <a:path w="250" h="210">
                  <a:moveTo>
                    <a:pt x="58" y="69"/>
                  </a:moveTo>
                  <a:cubicBezTo>
                    <a:pt x="37" y="69"/>
                    <a:pt x="17" y="63"/>
                    <a:pt x="0" y="54"/>
                  </a:cubicBezTo>
                  <a:cubicBezTo>
                    <a:pt x="0" y="210"/>
                    <a:pt x="0" y="210"/>
                    <a:pt x="0" y="210"/>
                  </a:cubicBezTo>
                  <a:cubicBezTo>
                    <a:pt x="250" y="210"/>
                    <a:pt x="250" y="210"/>
                    <a:pt x="250" y="210"/>
                  </a:cubicBezTo>
                  <a:cubicBezTo>
                    <a:pt x="250" y="0"/>
                    <a:pt x="250" y="0"/>
                    <a:pt x="250" y="0"/>
                  </a:cubicBezTo>
                  <a:cubicBezTo>
                    <a:pt x="168" y="0"/>
                    <a:pt x="168" y="0"/>
                    <a:pt x="168" y="0"/>
                  </a:cubicBezTo>
                  <a:cubicBezTo>
                    <a:pt x="148" y="41"/>
                    <a:pt x="106" y="69"/>
                    <a:pt x="58" y="69"/>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73" name="Freeform 136"/>
            <p:cNvSpPr>
              <a:spLocks/>
            </p:cNvSpPr>
            <p:nvPr/>
          </p:nvSpPr>
          <p:spPr bwMode="auto">
            <a:xfrm>
              <a:off x="4173603" y="7688899"/>
              <a:ext cx="168275" cy="63500"/>
            </a:xfrm>
            <a:custGeom>
              <a:avLst/>
              <a:gdLst>
                <a:gd name="T0" fmla="*/ 92 w 183"/>
                <a:gd name="T1" fmla="*/ 70 h 70"/>
                <a:gd name="T2" fmla="*/ 183 w 183"/>
                <a:gd name="T3" fmla="*/ 0 h 70"/>
                <a:gd name="T4" fmla="*/ 0 w 183"/>
                <a:gd name="T5" fmla="*/ 0 h 70"/>
                <a:gd name="T6" fmla="*/ 0 w 183"/>
                <a:gd name="T7" fmla="*/ 49 h 70"/>
                <a:gd name="T8" fmla="*/ 25 w 183"/>
                <a:gd name="T9" fmla="*/ 69 h 70"/>
                <a:gd name="T10" fmla="*/ 92 w 183"/>
                <a:gd name="T11" fmla="*/ 70 h 70"/>
              </a:gdLst>
              <a:ahLst/>
              <a:cxnLst>
                <a:cxn ang="0">
                  <a:pos x="T0" y="T1"/>
                </a:cxn>
                <a:cxn ang="0">
                  <a:pos x="T2" y="T3"/>
                </a:cxn>
                <a:cxn ang="0">
                  <a:pos x="T4" y="T5"/>
                </a:cxn>
                <a:cxn ang="0">
                  <a:pos x="T6" y="T7"/>
                </a:cxn>
                <a:cxn ang="0">
                  <a:pos x="T8" y="T9"/>
                </a:cxn>
                <a:cxn ang="0">
                  <a:pos x="T10" y="T11"/>
                </a:cxn>
              </a:cxnLst>
              <a:rect l="0" t="0" r="r" b="b"/>
              <a:pathLst>
                <a:path w="183" h="70">
                  <a:moveTo>
                    <a:pt x="92" y="70"/>
                  </a:moveTo>
                  <a:cubicBezTo>
                    <a:pt x="183" y="0"/>
                    <a:pt x="183" y="0"/>
                    <a:pt x="183" y="0"/>
                  </a:cubicBezTo>
                  <a:cubicBezTo>
                    <a:pt x="0" y="0"/>
                    <a:pt x="0" y="0"/>
                    <a:pt x="0" y="0"/>
                  </a:cubicBezTo>
                  <a:cubicBezTo>
                    <a:pt x="0" y="49"/>
                    <a:pt x="0" y="49"/>
                    <a:pt x="0" y="49"/>
                  </a:cubicBezTo>
                  <a:cubicBezTo>
                    <a:pt x="25" y="69"/>
                    <a:pt x="25" y="69"/>
                    <a:pt x="25" y="69"/>
                  </a:cubicBezTo>
                  <a:cubicBezTo>
                    <a:pt x="47" y="63"/>
                    <a:pt x="71" y="64"/>
                    <a:pt x="92" y="7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74" name="Freeform 137"/>
            <p:cNvSpPr>
              <a:spLocks/>
            </p:cNvSpPr>
            <p:nvPr/>
          </p:nvSpPr>
          <p:spPr bwMode="auto">
            <a:xfrm>
              <a:off x="4338703" y="7809549"/>
              <a:ext cx="65088" cy="73025"/>
            </a:xfrm>
            <a:custGeom>
              <a:avLst/>
              <a:gdLst>
                <a:gd name="T0" fmla="*/ 71 w 71"/>
                <a:gd name="T1" fmla="*/ 79 h 79"/>
                <a:gd name="T2" fmla="*/ 71 w 71"/>
                <a:gd name="T3" fmla="*/ 0 h 79"/>
                <a:gd name="T4" fmla="*/ 2 w 71"/>
                <a:gd name="T5" fmla="*/ 53 h 79"/>
                <a:gd name="T6" fmla="*/ 2 w 71"/>
                <a:gd name="T7" fmla="*/ 56 h 79"/>
                <a:gd name="T8" fmla="*/ 0 w 71"/>
                <a:gd name="T9" fmla="*/ 79 h 79"/>
                <a:gd name="T10" fmla="*/ 71 w 71"/>
                <a:gd name="T11" fmla="*/ 79 h 79"/>
              </a:gdLst>
              <a:ahLst/>
              <a:cxnLst>
                <a:cxn ang="0">
                  <a:pos x="T0" y="T1"/>
                </a:cxn>
                <a:cxn ang="0">
                  <a:pos x="T2" y="T3"/>
                </a:cxn>
                <a:cxn ang="0">
                  <a:pos x="T4" y="T5"/>
                </a:cxn>
                <a:cxn ang="0">
                  <a:pos x="T6" y="T7"/>
                </a:cxn>
                <a:cxn ang="0">
                  <a:pos x="T8" y="T9"/>
                </a:cxn>
                <a:cxn ang="0">
                  <a:pos x="T10" y="T11"/>
                </a:cxn>
              </a:cxnLst>
              <a:rect l="0" t="0" r="r" b="b"/>
              <a:pathLst>
                <a:path w="71" h="79">
                  <a:moveTo>
                    <a:pt x="71" y="79"/>
                  </a:moveTo>
                  <a:cubicBezTo>
                    <a:pt x="71" y="0"/>
                    <a:pt x="71" y="0"/>
                    <a:pt x="71" y="0"/>
                  </a:cubicBezTo>
                  <a:cubicBezTo>
                    <a:pt x="2" y="53"/>
                    <a:pt x="2" y="53"/>
                    <a:pt x="2" y="53"/>
                  </a:cubicBezTo>
                  <a:cubicBezTo>
                    <a:pt x="2" y="54"/>
                    <a:pt x="2" y="55"/>
                    <a:pt x="2" y="56"/>
                  </a:cubicBezTo>
                  <a:cubicBezTo>
                    <a:pt x="2" y="64"/>
                    <a:pt x="1" y="71"/>
                    <a:pt x="0" y="79"/>
                  </a:cubicBezTo>
                  <a:lnTo>
                    <a:pt x="71" y="7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75" name="Rectangle 138"/>
            <p:cNvSpPr>
              <a:spLocks noChangeArrowheads="1"/>
            </p:cNvSpPr>
            <p:nvPr/>
          </p:nvSpPr>
          <p:spPr bwMode="auto">
            <a:xfrm>
              <a:off x="4449828" y="7911149"/>
              <a:ext cx="231775" cy="193675"/>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76" name="Freeform 139"/>
            <p:cNvSpPr>
              <a:spLocks/>
            </p:cNvSpPr>
            <p:nvPr/>
          </p:nvSpPr>
          <p:spPr bwMode="auto">
            <a:xfrm>
              <a:off x="4449828" y="7688899"/>
              <a:ext cx="231775" cy="193675"/>
            </a:xfrm>
            <a:custGeom>
              <a:avLst/>
              <a:gdLst>
                <a:gd name="T0" fmla="*/ 0 w 146"/>
                <a:gd name="T1" fmla="*/ 54 h 122"/>
                <a:gd name="T2" fmla="*/ 0 w 146"/>
                <a:gd name="T3" fmla="*/ 122 h 122"/>
                <a:gd name="T4" fmla="*/ 146 w 146"/>
                <a:gd name="T5" fmla="*/ 122 h 122"/>
                <a:gd name="T6" fmla="*/ 146 w 146"/>
                <a:gd name="T7" fmla="*/ 0 h 122"/>
                <a:gd name="T8" fmla="*/ 72 w 146"/>
                <a:gd name="T9" fmla="*/ 0 h 122"/>
                <a:gd name="T10" fmla="*/ 0 w 146"/>
                <a:gd name="T11" fmla="*/ 54 h 122"/>
              </a:gdLst>
              <a:ahLst/>
              <a:cxnLst>
                <a:cxn ang="0">
                  <a:pos x="T0" y="T1"/>
                </a:cxn>
                <a:cxn ang="0">
                  <a:pos x="T2" y="T3"/>
                </a:cxn>
                <a:cxn ang="0">
                  <a:pos x="T4" y="T5"/>
                </a:cxn>
                <a:cxn ang="0">
                  <a:pos x="T6" y="T7"/>
                </a:cxn>
                <a:cxn ang="0">
                  <a:pos x="T8" y="T9"/>
                </a:cxn>
                <a:cxn ang="0">
                  <a:pos x="T10" y="T11"/>
                </a:cxn>
              </a:cxnLst>
              <a:rect l="0" t="0" r="r" b="b"/>
              <a:pathLst>
                <a:path w="146" h="122">
                  <a:moveTo>
                    <a:pt x="0" y="54"/>
                  </a:moveTo>
                  <a:lnTo>
                    <a:pt x="0" y="122"/>
                  </a:lnTo>
                  <a:lnTo>
                    <a:pt x="146" y="122"/>
                  </a:lnTo>
                  <a:lnTo>
                    <a:pt x="146" y="0"/>
                  </a:lnTo>
                  <a:lnTo>
                    <a:pt x="72" y="0"/>
                  </a:lnTo>
                  <a:lnTo>
                    <a:pt x="0" y="54"/>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77" name="Freeform 140"/>
            <p:cNvSpPr>
              <a:spLocks/>
            </p:cNvSpPr>
            <p:nvPr/>
          </p:nvSpPr>
          <p:spPr bwMode="auto">
            <a:xfrm>
              <a:off x="4600640" y="7622224"/>
              <a:ext cx="80963" cy="38100"/>
            </a:xfrm>
            <a:custGeom>
              <a:avLst/>
              <a:gdLst>
                <a:gd name="T0" fmla="*/ 0 w 51"/>
                <a:gd name="T1" fmla="*/ 24 h 24"/>
                <a:gd name="T2" fmla="*/ 51 w 51"/>
                <a:gd name="T3" fmla="*/ 24 h 24"/>
                <a:gd name="T4" fmla="*/ 32 w 51"/>
                <a:gd name="T5" fmla="*/ 0 h 24"/>
                <a:gd name="T6" fmla="*/ 0 w 51"/>
                <a:gd name="T7" fmla="*/ 24 h 24"/>
              </a:gdLst>
              <a:ahLst/>
              <a:cxnLst>
                <a:cxn ang="0">
                  <a:pos x="T0" y="T1"/>
                </a:cxn>
                <a:cxn ang="0">
                  <a:pos x="T2" y="T3"/>
                </a:cxn>
                <a:cxn ang="0">
                  <a:pos x="T4" y="T5"/>
                </a:cxn>
                <a:cxn ang="0">
                  <a:pos x="T6" y="T7"/>
                </a:cxn>
              </a:cxnLst>
              <a:rect l="0" t="0" r="r" b="b"/>
              <a:pathLst>
                <a:path w="51" h="24">
                  <a:moveTo>
                    <a:pt x="0" y="24"/>
                  </a:moveTo>
                  <a:lnTo>
                    <a:pt x="51" y="24"/>
                  </a:lnTo>
                  <a:lnTo>
                    <a:pt x="32" y="0"/>
                  </a:lnTo>
                  <a:lnTo>
                    <a:pt x="0" y="24"/>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78" name="Freeform 141"/>
            <p:cNvSpPr>
              <a:spLocks/>
            </p:cNvSpPr>
            <p:nvPr/>
          </p:nvSpPr>
          <p:spPr bwMode="auto">
            <a:xfrm>
              <a:off x="4449828" y="7466649"/>
              <a:ext cx="119063" cy="139700"/>
            </a:xfrm>
            <a:custGeom>
              <a:avLst/>
              <a:gdLst>
                <a:gd name="T0" fmla="*/ 52 w 75"/>
                <a:gd name="T1" fmla="*/ 0 h 88"/>
                <a:gd name="T2" fmla="*/ 0 w 75"/>
                <a:gd name="T3" fmla="*/ 0 h 88"/>
                <a:gd name="T4" fmla="*/ 0 w 75"/>
                <a:gd name="T5" fmla="*/ 88 h 88"/>
                <a:gd name="T6" fmla="*/ 75 w 75"/>
                <a:gd name="T7" fmla="*/ 30 h 88"/>
                <a:gd name="T8" fmla="*/ 52 w 75"/>
                <a:gd name="T9" fmla="*/ 0 h 88"/>
              </a:gdLst>
              <a:ahLst/>
              <a:cxnLst>
                <a:cxn ang="0">
                  <a:pos x="T0" y="T1"/>
                </a:cxn>
                <a:cxn ang="0">
                  <a:pos x="T2" y="T3"/>
                </a:cxn>
                <a:cxn ang="0">
                  <a:pos x="T4" y="T5"/>
                </a:cxn>
                <a:cxn ang="0">
                  <a:pos x="T6" y="T7"/>
                </a:cxn>
                <a:cxn ang="0">
                  <a:pos x="T8" y="T9"/>
                </a:cxn>
              </a:cxnLst>
              <a:rect l="0" t="0" r="r" b="b"/>
              <a:pathLst>
                <a:path w="75" h="88">
                  <a:moveTo>
                    <a:pt x="52" y="0"/>
                  </a:moveTo>
                  <a:lnTo>
                    <a:pt x="0" y="0"/>
                  </a:lnTo>
                  <a:lnTo>
                    <a:pt x="0" y="88"/>
                  </a:lnTo>
                  <a:lnTo>
                    <a:pt x="75" y="30"/>
                  </a:lnTo>
                  <a:lnTo>
                    <a:pt x="52"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79" name="Freeform 142"/>
            <p:cNvSpPr>
              <a:spLocks noEditPoints="1"/>
            </p:cNvSpPr>
            <p:nvPr/>
          </p:nvSpPr>
          <p:spPr bwMode="auto">
            <a:xfrm>
              <a:off x="3543365" y="7438074"/>
              <a:ext cx="1238250" cy="590550"/>
            </a:xfrm>
            <a:custGeom>
              <a:avLst/>
              <a:gdLst>
                <a:gd name="T0" fmla="*/ 1029 w 1342"/>
                <a:gd name="T1" fmla="*/ 198 h 640"/>
                <a:gd name="T2" fmla="*/ 781 w 1342"/>
                <a:gd name="T3" fmla="*/ 388 h 640"/>
                <a:gd name="T4" fmla="*/ 775 w 1342"/>
                <a:gd name="T5" fmla="*/ 384 h 640"/>
                <a:gd name="T6" fmla="*/ 764 w 1342"/>
                <a:gd name="T7" fmla="*/ 380 h 640"/>
                <a:gd name="T8" fmla="*/ 750 w 1342"/>
                <a:gd name="T9" fmla="*/ 378 h 640"/>
                <a:gd name="T10" fmla="*/ 734 w 1342"/>
                <a:gd name="T11" fmla="*/ 377 h 640"/>
                <a:gd name="T12" fmla="*/ 724 w 1342"/>
                <a:gd name="T13" fmla="*/ 379 h 640"/>
                <a:gd name="T14" fmla="*/ 710 w 1342"/>
                <a:gd name="T15" fmla="*/ 383 h 640"/>
                <a:gd name="T16" fmla="*/ 702 w 1342"/>
                <a:gd name="T17" fmla="*/ 387 h 640"/>
                <a:gd name="T18" fmla="*/ 595 w 1342"/>
                <a:gd name="T19" fmla="*/ 304 h 640"/>
                <a:gd name="T20" fmla="*/ 580 w 1342"/>
                <a:gd name="T21" fmla="*/ 259 h 640"/>
                <a:gd name="T22" fmla="*/ 575 w 1342"/>
                <a:gd name="T23" fmla="*/ 252 h 640"/>
                <a:gd name="T24" fmla="*/ 564 w 1342"/>
                <a:gd name="T25" fmla="*/ 242 h 640"/>
                <a:gd name="T26" fmla="*/ 558 w 1342"/>
                <a:gd name="T27" fmla="*/ 238 h 640"/>
                <a:gd name="T28" fmla="*/ 549 w 1342"/>
                <a:gd name="T29" fmla="*/ 232 h 640"/>
                <a:gd name="T30" fmla="*/ 537 w 1342"/>
                <a:gd name="T31" fmla="*/ 227 h 640"/>
                <a:gd name="T32" fmla="*/ 524 w 1342"/>
                <a:gd name="T33" fmla="*/ 225 h 640"/>
                <a:gd name="T34" fmla="*/ 505 w 1342"/>
                <a:gd name="T35" fmla="*/ 224 h 640"/>
                <a:gd name="T36" fmla="*/ 494 w 1342"/>
                <a:gd name="T37" fmla="*/ 226 h 640"/>
                <a:gd name="T38" fmla="*/ 483 w 1342"/>
                <a:gd name="T39" fmla="*/ 230 h 640"/>
                <a:gd name="T40" fmla="*/ 471 w 1342"/>
                <a:gd name="T41" fmla="*/ 235 h 640"/>
                <a:gd name="T42" fmla="*/ 462 w 1342"/>
                <a:gd name="T43" fmla="*/ 241 h 640"/>
                <a:gd name="T44" fmla="*/ 456 w 1342"/>
                <a:gd name="T45" fmla="*/ 246 h 640"/>
                <a:gd name="T46" fmla="*/ 441 w 1342"/>
                <a:gd name="T47" fmla="*/ 265 h 640"/>
                <a:gd name="T48" fmla="*/ 438 w 1342"/>
                <a:gd name="T49" fmla="*/ 272 h 640"/>
                <a:gd name="T50" fmla="*/ 435 w 1342"/>
                <a:gd name="T51" fmla="*/ 278 h 640"/>
                <a:gd name="T52" fmla="*/ 382 w 1342"/>
                <a:gd name="T53" fmla="*/ 320 h 640"/>
                <a:gd name="T54" fmla="*/ 103 w 1342"/>
                <a:gd name="T55" fmla="*/ 514 h 640"/>
                <a:gd name="T56" fmla="*/ 37 w 1342"/>
                <a:gd name="T57" fmla="*/ 640 h 640"/>
                <a:gd name="T58" fmla="*/ 263 w 1342"/>
                <a:gd name="T59" fmla="*/ 483 h 640"/>
                <a:gd name="T60" fmla="*/ 446 w 1342"/>
                <a:gd name="T61" fmla="*/ 355 h 640"/>
                <a:gd name="T62" fmla="*/ 462 w 1342"/>
                <a:gd name="T63" fmla="*/ 372 h 640"/>
                <a:gd name="T64" fmla="*/ 472 w 1342"/>
                <a:gd name="T65" fmla="*/ 378 h 640"/>
                <a:gd name="T66" fmla="*/ 482 w 1342"/>
                <a:gd name="T67" fmla="*/ 383 h 640"/>
                <a:gd name="T68" fmla="*/ 495 w 1342"/>
                <a:gd name="T69" fmla="*/ 387 h 640"/>
                <a:gd name="T70" fmla="*/ 505 w 1342"/>
                <a:gd name="T71" fmla="*/ 389 h 640"/>
                <a:gd name="T72" fmla="*/ 525 w 1342"/>
                <a:gd name="T73" fmla="*/ 388 h 640"/>
                <a:gd name="T74" fmla="*/ 537 w 1342"/>
                <a:gd name="T75" fmla="*/ 386 h 640"/>
                <a:gd name="T76" fmla="*/ 550 w 1342"/>
                <a:gd name="T77" fmla="*/ 380 h 640"/>
                <a:gd name="T78" fmla="*/ 557 w 1342"/>
                <a:gd name="T79" fmla="*/ 376 h 640"/>
                <a:gd name="T80" fmla="*/ 632 w 1342"/>
                <a:gd name="T81" fmla="*/ 416 h 640"/>
                <a:gd name="T82" fmla="*/ 659 w 1342"/>
                <a:gd name="T83" fmla="*/ 450 h 640"/>
                <a:gd name="T84" fmla="*/ 683 w 1342"/>
                <a:gd name="T85" fmla="*/ 518 h 640"/>
                <a:gd name="T86" fmla="*/ 821 w 1342"/>
                <a:gd name="T87" fmla="*/ 483 h 640"/>
                <a:gd name="T88" fmla="*/ 823 w 1342"/>
                <a:gd name="T89" fmla="*/ 450 h 640"/>
                <a:gd name="T90" fmla="*/ 933 w 1342"/>
                <a:gd name="T91" fmla="*/ 354 h 640"/>
                <a:gd name="T92" fmla="*/ 1080 w 1342"/>
                <a:gd name="T93" fmla="*/ 241 h 640"/>
                <a:gd name="T94" fmla="*/ 1256 w 1342"/>
                <a:gd name="T95" fmla="*/ 206 h 640"/>
                <a:gd name="T96" fmla="*/ 1122 w 1342"/>
                <a:gd name="T97" fmla="*/ 31 h 640"/>
                <a:gd name="T98" fmla="*/ 471 w 1342"/>
                <a:gd name="T99" fmla="*/ 307 h 640"/>
                <a:gd name="T100" fmla="*/ 536 w 1342"/>
                <a:gd name="T101" fmla="*/ 272 h 640"/>
                <a:gd name="T102" fmla="*/ 513 w 1342"/>
                <a:gd name="T103" fmla="*/ 348 h 640"/>
                <a:gd name="T104" fmla="*/ 740 w 1342"/>
                <a:gd name="T105" fmla="*/ 501 h 640"/>
                <a:gd name="T106" fmla="*/ 700 w 1342"/>
                <a:gd name="T107" fmla="*/ 460 h 640"/>
                <a:gd name="T108" fmla="*/ 781 w 1342"/>
                <a:gd name="T109" fmla="*/ 471 h 6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342" h="640">
                  <a:moveTo>
                    <a:pt x="1122" y="31"/>
                  </a:moveTo>
                  <a:cubicBezTo>
                    <a:pt x="1168" y="91"/>
                    <a:pt x="1168" y="91"/>
                    <a:pt x="1168" y="91"/>
                  </a:cubicBezTo>
                  <a:cubicBezTo>
                    <a:pt x="1029" y="198"/>
                    <a:pt x="1029" y="198"/>
                    <a:pt x="1029" y="198"/>
                  </a:cubicBezTo>
                  <a:cubicBezTo>
                    <a:pt x="983" y="233"/>
                    <a:pt x="983" y="233"/>
                    <a:pt x="983" y="233"/>
                  </a:cubicBezTo>
                  <a:cubicBezTo>
                    <a:pt x="932" y="272"/>
                    <a:pt x="932" y="272"/>
                    <a:pt x="932" y="272"/>
                  </a:cubicBezTo>
                  <a:cubicBezTo>
                    <a:pt x="781" y="388"/>
                    <a:pt x="781" y="388"/>
                    <a:pt x="781" y="388"/>
                  </a:cubicBezTo>
                  <a:cubicBezTo>
                    <a:pt x="781" y="388"/>
                    <a:pt x="781" y="388"/>
                    <a:pt x="781" y="388"/>
                  </a:cubicBezTo>
                  <a:cubicBezTo>
                    <a:pt x="780" y="387"/>
                    <a:pt x="780" y="386"/>
                    <a:pt x="779" y="386"/>
                  </a:cubicBezTo>
                  <a:cubicBezTo>
                    <a:pt x="777" y="385"/>
                    <a:pt x="776" y="385"/>
                    <a:pt x="775" y="384"/>
                  </a:cubicBezTo>
                  <a:cubicBezTo>
                    <a:pt x="774" y="384"/>
                    <a:pt x="773" y="384"/>
                    <a:pt x="772" y="383"/>
                  </a:cubicBezTo>
                  <a:cubicBezTo>
                    <a:pt x="771" y="382"/>
                    <a:pt x="769" y="382"/>
                    <a:pt x="767" y="381"/>
                  </a:cubicBezTo>
                  <a:cubicBezTo>
                    <a:pt x="766" y="381"/>
                    <a:pt x="765" y="381"/>
                    <a:pt x="764" y="380"/>
                  </a:cubicBezTo>
                  <a:cubicBezTo>
                    <a:pt x="762" y="380"/>
                    <a:pt x="761" y="379"/>
                    <a:pt x="759" y="379"/>
                  </a:cubicBezTo>
                  <a:cubicBezTo>
                    <a:pt x="758" y="379"/>
                    <a:pt x="758" y="379"/>
                    <a:pt x="757" y="379"/>
                  </a:cubicBezTo>
                  <a:cubicBezTo>
                    <a:pt x="755" y="378"/>
                    <a:pt x="753" y="378"/>
                    <a:pt x="750" y="378"/>
                  </a:cubicBezTo>
                  <a:cubicBezTo>
                    <a:pt x="750" y="377"/>
                    <a:pt x="749" y="377"/>
                    <a:pt x="749" y="377"/>
                  </a:cubicBezTo>
                  <a:cubicBezTo>
                    <a:pt x="746" y="377"/>
                    <a:pt x="744" y="377"/>
                    <a:pt x="741" y="377"/>
                  </a:cubicBezTo>
                  <a:cubicBezTo>
                    <a:pt x="739" y="377"/>
                    <a:pt x="736" y="377"/>
                    <a:pt x="734" y="377"/>
                  </a:cubicBezTo>
                  <a:cubicBezTo>
                    <a:pt x="733" y="377"/>
                    <a:pt x="732" y="377"/>
                    <a:pt x="732" y="378"/>
                  </a:cubicBezTo>
                  <a:cubicBezTo>
                    <a:pt x="730" y="378"/>
                    <a:pt x="727" y="378"/>
                    <a:pt x="725" y="379"/>
                  </a:cubicBezTo>
                  <a:cubicBezTo>
                    <a:pt x="724" y="379"/>
                    <a:pt x="724" y="379"/>
                    <a:pt x="724" y="379"/>
                  </a:cubicBezTo>
                  <a:cubicBezTo>
                    <a:pt x="721" y="379"/>
                    <a:pt x="719" y="380"/>
                    <a:pt x="717" y="380"/>
                  </a:cubicBezTo>
                  <a:cubicBezTo>
                    <a:pt x="717" y="381"/>
                    <a:pt x="717" y="381"/>
                    <a:pt x="716" y="381"/>
                  </a:cubicBezTo>
                  <a:cubicBezTo>
                    <a:pt x="714" y="382"/>
                    <a:pt x="712" y="382"/>
                    <a:pt x="710" y="383"/>
                  </a:cubicBezTo>
                  <a:cubicBezTo>
                    <a:pt x="709" y="383"/>
                    <a:pt x="709" y="384"/>
                    <a:pt x="708" y="384"/>
                  </a:cubicBezTo>
                  <a:cubicBezTo>
                    <a:pt x="706" y="385"/>
                    <a:pt x="704" y="386"/>
                    <a:pt x="702" y="387"/>
                  </a:cubicBezTo>
                  <a:cubicBezTo>
                    <a:pt x="702" y="387"/>
                    <a:pt x="702" y="387"/>
                    <a:pt x="702" y="387"/>
                  </a:cubicBezTo>
                  <a:cubicBezTo>
                    <a:pt x="683" y="372"/>
                    <a:pt x="683" y="372"/>
                    <a:pt x="683" y="372"/>
                  </a:cubicBezTo>
                  <a:cubicBezTo>
                    <a:pt x="632" y="333"/>
                    <a:pt x="632" y="333"/>
                    <a:pt x="632" y="333"/>
                  </a:cubicBezTo>
                  <a:cubicBezTo>
                    <a:pt x="595" y="304"/>
                    <a:pt x="595" y="304"/>
                    <a:pt x="595" y="304"/>
                  </a:cubicBezTo>
                  <a:cubicBezTo>
                    <a:pt x="595" y="304"/>
                    <a:pt x="595" y="304"/>
                    <a:pt x="595" y="304"/>
                  </a:cubicBezTo>
                  <a:cubicBezTo>
                    <a:pt x="595" y="292"/>
                    <a:pt x="592" y="282"/>
                    <a:pt x="588" y="272"/>
                  </a:cubicBezTo>
                  <a:cubicBezTo>
                    <a:pt x="586" y="268"/>
                    <a:pt x="583" y="263"/>
                    <a:pt x="580" y="259"/>
                  </a:cubicBezTo>
                  <a:cubicBezTo>
                    <a:pt x="580" y="259"/>
                    <a:pt x="580" y="259"/>
                    <a:pt x="580" y="259"/>
                  </a:cubicBezTo>
                  <a:cubicBezTo>
                    <a:pt x="579" y="257"/>
                    <a:pt x="577" y="255"/>
                    <a:pt x="575" y="253"/>
                  </a:cubicBezTo>
                  <a:cubicBezTo>
                    <a:pt x="575" y="253"/>
                    <a:pt x="575" y="253"/>
                    <a:pt x="575" y="252"/>
                  </a:cubicBezTo>
                  <a:cubicBezTo>
                    <a:pt x="573" y="251"/>
                    <a:pt x="572" y="249"/>
                    <a:pt x="570" y="247"/>
                  </a:cubicBezTo>
                  <a:cubicBezTo>
                    <a:pt x="570" y="247"/>
                    <a:pt x="570" y="247"/>
                    <a:pt x="569" y="246"/>
                  </a:cubicBezTo>
                  <a:cubicBezTo>
                    <a:pt x="568" y="245"/>
                    <a:pt x="566" y="243"/>
                    <a:pt x="564" y="242"/>
                  </a:cubicBezTo>
                  <a:cubicBezTo>
                    <a:pt x="564" y="242"/>
                    <a:pt x="564" y="242"/>
                    <a:pt x="564" y="241"/>
                  </a:cubicBezTo>
                  <a:cubicBezTo>
                    <a:pt x="563" y="241"/>
                    <a:pt x="563" y="241"/>
                    <a:pt x="563" y="241"/>
                  </a:cubicBezTo>
                  <a:cubicBezTo>
                    <a:pt x="561" y="240"/>
                    <a:pt x="560" y="239"/>
                    <a:pt x="558" y="238"/>
                  </a:cubicBezTo>
                  <a:cubicBezTo>
                    <a:pt x="558" y="237"/>
                    <a:pt x="557" y="237"/>
                    <a:pt x="556" y="236"/>
                  </a:cubicBezTo>
                  <a:cubicBezTo>
                    <a:pt x="555" y="235"/>
                    <a:pt x="553" y="234"/>
                    <a:pt x="552" y="234"/>
                  </a:cubicBezTo>
                  <a:cubicBezTo>
                    <a:pt x="551" y="233"/>
                    <a:pt x="550" y="233"/>
                    <a:pt x="549" y="232"/>
                  </a:cubicBezTo>
                  <a:cubicBezTo>
                    <a:pt x="547" y="232"/>
                    <a:pt x="546" y="231"/>
                    <a:pt x="544" y="230"/>
                  </a:cubicBezTo>
                  <a:cubicBezTo>
                    <a:pt x="543" y="230"/>
                    <a:pt x="542" y="229"/>
                    <a:pt x="541" y="229"/>
                  </a:cubicBezTo>
                  <a:cubicBezTo>
                    <a:pt x="540" y="228"/>
                    <a:pt x="538" y="228"/>
                    <a:pt x="537" y="227"/>
                  </a:cubicBezTo>
                  <a:cubicBezTo>
                    <a:pt x="536" y="227"/>
                    <a:pt x="534" y="227"/>
                    <a:pt x="533" y="226"/>
                  </a:cubicBezTo>
                  <a:cubicBezTo>
                    <a:pt x="532" y="226"/>
                    <a:pt x="530" y="226"/>
                    <a:pt x="529" y="225"/>
                  </a:cubicBezTo>
                  <a:cubicBezTo>
                    <a:pt x="527" y="225"/>
                    <a:pt x="526" y="225"/>
                    <a:pt x="524" y="225"/>
                  </a:cubicBezTo>
                  <a:cubicBezTo>
                    <a:pt x="523" y="225"/>
                    <a:pt x="522" y="224"/>
                    <a:pt x="521" y="224"/>
                  </a:cubicBezTo>
                  <a:cubicBezTo>
                    <a:pt x="518" y="224"/>
                    <a:pt x="516" y="224"/>
                    <a:pt x="513" y="224"/>
                  </a:cubicBezTo>
                  <a:cubicBezTo>
                    <a:pt x="510" y="224"/>
                    <a:pt x="508" y="224"/>
                    <a:pt x="505" y="224"/>
                  </a:cubicBezTo>
                  <a:cubicBezTo>
                    <a:pt x="504" y="224"/>
                    <a:pt x="503" y="224"/>
                    <a:pt x="502" y="224"/>
                  </a:cubicBezTo>
                  <a:cubicBezTo>
                    <a:pt x="501" y="225"/>
                    <a:pt x="499" y="225"/>
                    <a:pt x="497" y="225"/>
                  </a:cubicBezTo>
                  <a:cubicBezTo>
                    <a:pt x="496" y="225"/>
                    <a:pt x="495" y="226"/>
                    <a:pt x="494" y="226"/>
                  </a:cubicBezTo>
                  <a:cubicBezTo>
                    <a:pt x="493" y="226"/>
                    <a:pt x="491" y="227"/>
                    <a:pt x="490" y="227"/>
                  </a:cubicBezTo>
                  <a:cubicBezTo>
                    <a:pt x="489" y="227"/>
                    <a:pt x="488" y="228"/>
                    <a:pt x="487" y="228"/>
                  </a:cubicBezTo>
                  <a:cubicBezTo>
                    <a:pt x="486" y="228"/>
                    <a:pt x="484" y="229"/>
                    <a:pt x="483" y="230"/>
                  </a:cubicBezTo>
                  <a:cubicBezTo>
                    <a:pt x="482" y="230"/>
                    <a:pt x="481" y="230"/>
                    <a:pt x="480" y="231"/>
                  </a:cubicBezTo>
                  <a:cubicBezTo>
                    <a:pt x="478" y="231"/>
                    <a:pt x="476" y="232"/>
                    <a:pt x="474" y="234"/>
                  </a:cubicBezTo>
                  <a:cubicBezTo>
                    <a:pt x="473" y="234"/>
                    <a:pt x="472" y="235"/>
                    <a:pt x="471" y="235"/>
                  </a:cubicBezTo>
                  <a:cubicBezTo>
                    <a:pt x="470" y="236"/>
                    <a:pt x="469" y="237"/>
                    <a:pt x="467" y="237"/>
                  </a:cubicBezTo>
                  <a:cubicBezTo>
                    <a:pt x="466" y="238"/>
                    <a:pt x="465" y="239"/>
                    <a:pt x="464" y="240"/>
                  </a:cubicBezTo>
                  <a:cubicBezTo>
                    <a:pt x="463" y="240"/>
                    <a:pt x="463" y="241"/>
                    <a:pt x="462" y="241"/>
                  </a:cubicBezTo>
                  <a:cubicBezTo>
                    <a:pt x="462" y="242"/>
                    <a:pt x="462" y="242"/>
                    <a:pt x="462" y="242"/>
                  </a:cubicBezTo>
                  <a:cubicBezTo>
                    <a:pt x="461" y="242"/>
                    <a:pt x="460" y="243"/>
                    <a:pt x="458" y="244"/>
                  </a:cubicBezTo>
                  <a:cubicBezTo>
                    <a:pt x="458" y="245"/>
                    <a:pt x="457" y="245"/>
                    <a:pt x="456" y="246"/>
                  </a:cubicBezTo>
                  <a:cubicBezTo>
                    <a:pt x="455" y="247"/>
                    <a:pt x="454" y="248"/>
                    <a:pt x="453" y="249"/>
                  </a:cubicBezTo>
                  <a:cubicBezTo>
                    <a:pt x="453" y="250"/>
                    <a:pt x="452" y="250"/>
                    <a:pt x="452" y="251"/>
                  </a:cubicBezTo>
                  <a:cubicBezTo>
                    <a:pt x="448" y="255"/>
                    <a:pt x="444" y="260"/>
                    <a:pt x="441" y="265"/>
                  </a:cubicBezTo>
                  <a:cubicBezTo>
                    <a:pt x="441" y="265"/>
                    <a:pt x="441" y="265"/>
                    <a:pt x="441" y="266"/>
                  </a:cubicBezTo>
                  <a:cubicBezTo>
                    <a:pt x="440" y="267"/>
                    <a:pt x="439" y="269"/>
                    <a:pt x="438" y="270"/>
                  </a:cubicBezTo>
                  <a:cubicBezTo>
                    <a:pt x="438" y="271"/>
                    <a:pt x="438" y="271"/>
                    <a:pt x="438" y="272"/>
                  </a:cubicBezTo>
                  <a:cubicBezTo>
                    <a:pt x="438" y="272"/>
                    <a:pt x="437" y="272"/>
                    <a:pt x="437" y="272"/>
                  </a:cubicBezTo>
                  <a:cubicBezTo>
                    <a:pt x="437" y="274"/>
                    <a:pt x="436" y="275"/>
                    <a:pt x="436" y="277"/>
                  </a:cubicBezTo>
                  <a:cubicBezTo>
                    <a:pt x="435" y="277"/>
                    <a:pt x="435" y="278"/>
                    <a:pt x="435" y="278"/>
                  </a:cubicBezTo>
                  <a:cubicBezTo>
                    <a:pt x="434" y="280"/>
                    <a:pt x="434" y="282"/>
                    <a:pt x="433" y="284"/>
                  </a:cubicBezTo>
                  <a:cubicBezTo>
                    <a:pt x="433" y="284"/>
                    <a:pt x="433" y="284"/>
                    <a:pt x="433" y="284"/>
                  </a:cubicBezTo>
                  <a:cubicBezTo>
                    <a:pt x="382" y="320"/>
                    <a:pt x="382" y="320"/>
                    <a:pt x="382" y="320"/>
                  </a:cubicBezTo>
                  <a:cubicBezTo>
                    <a:pt x="332" y="355"/>
                    <a:pt x="332" y="355"/>
                    <a:pt x="332" y="355"/>
                  </a:cubicBezTo>
                  <a:cubicBezTo>
                    <a:pt x="147" y="483"/>
                    <a:pt x="147" y="483"/>
                    <a:pt x="147" y="483"/>
                  </a:cubicBezTo>
                  <a:cubicBezTo>
                    <a:pt x="103" y="514"/>
                    <a:pt x="103" y="514"/>
                    <a:pt x="103" y="514"/>
                  </a:cubicBezTo>
                  <a:cubicBezTo>
                    <a:pt x="81" y="529"/>
                    <a:pt x="81" y="529"/>
                    <a:pt x="81" y="529"/>
                  </a:cubicBezTo>
                  <a:cubicBezTo>
                    <a:pt x="0" y="586"/>
                    <a:pt x="0" y="586"/>
                    <a:pt x="0" y="586"/>
                  </a:cubicBezTo>
                  <a:cubicBezTo>
                    <a:pt x="37" y="640"/>
                    <a:pt x="37" y="640"/>
                    <a:pt x="37" y="640"/>
                  </a:cubicBezTo>
                  <a:cubicBezTo>
                    <a:pt x="81" y="609"/>
                    <a:pt x="81" y="609"/>
                    <a:pt x="81" y="609"/>
                  </a:cubicBezTo>
                  <a:cubicBezTo>
                    <a:pt x="218" y="514"/>
                    <a:pt x="218" y="514"/>
                    <a:pt x="218" y="514"/>
                  </a:cubicBezTo>
                  <a:cubicBezTo>
                    <a:pt x="263" y="483"/>
                    <a:pt x="263" y="483"/>
                    <a:pt x="263" y="483"/>
                  </a:cubicBezTo>
                  <a:cubicBezTo>
                    <a:pt x="332" y="435"/>
                    <a:pt x="332" y="435"/>
                    <a:pt x="332" y="435"/>
                  </a:cubicBezTo>
                  <a:cubicBezTo>
                    <a:pt x="382" y="400"/>
                    <a:pt x="382" y="400"/>
                    <a:pt x="382" y="400"/>
                  </a:cubicBezTo>
                  <a:cubicBezTo>
                    <a:pt x="446" y="355"/>
                    <a:pt x="446" y="355"/>
                    <a:pt x="446" y="355"/>
                  </a:cubicBezTo>
                  <a:cubicBezTo>
                    <a:pt x="448" y="358"/>
                    <a:pt x="450" y="360"/>
                    <a:pt x="452" y="362"/>
                  </a:cubicBezTo>
                  <a:cubicBezTo>
                    <a:pt x="452" y="362"/>
                    <a:pt x="452" y="363"/>
                    <a:pt x="452" y="363"/>
                  </a:cubicBezTo>
                  <a:cubicBezTo>
                    <a:pt x="455" y="366"/>
                    <a:pt x="458" y="369"/>
                    <a:pt x="462" y="372"/>
                  </a:cubicBezTo>
                  <a:cubicBezTo>
                    <a:pt x="463" y="372"/>
                    <a:pt x="463" y="373"/>
                    <a:pt x="464" y="373"/>
                  </a:cubicBezTo>
                  <a:cubicBezTo>
                    <a:pt x="465" y="374"/>
                    <a:pt x="467" y="376"/>
                    <a:pt x="469" y="377"/>
                  </a:cubicBezTo>
                  <a:cubicBezTo>
                    <a:pt x="470" y="377"/>
                    <a:pt x="471" y="378"/>
                    <a:pt x="472" y="378"/>
                  </a:cubicBezTo>
                  <a:cubicBezTo>
                    <a:pt x="472" y="379"/>
                    <a:pt x="473" y="379"/>
                    <a:pt x="474" y="380"/>
                  </a:cubicBezTo>
                  <a:cubicBezTo>
                    <a:pt x="476" y="381"/>
                    <a:pt x="478" y="382"/>
                    <a:pt x="480" y="382"/>
                  </a:cubicBezTo>
                  <a:cubicBezTo>
                    <a:pt x="480" y="383"/>
                    <a:pt x="481" y="383"/>
                    <a:pt x="482" y="383"/>
                  </a:cubicBezTo>
                  <a:cubicBezTo>
                    <a:pt x="484" y="384"/>
                    <a:pt x="486" y="385"/>
                    <a:pt x="487" y="385"/>
                  </a:cubicBezTo>
                  <a:cubicBezTo>
                    <a:pt x="488" y="386"/>
                    <a:pt x="488" y="386"/>
                    <a:pt x="489" y="386"/>
                  </a:cubicBezTo>
                  <a:cubicBezTo>
                    <a:pt x="491" y="386"/>
                    <a:pt x="493" y="387"/>
                    <a:pt x="495" y="387"/>
                  </a:cubicBezTo>
                  <a:cubicBezTo>
                    <a:pt x="496" y="388"/>
                    <a:pt x="496" y="388"/>
                    <a:pt x="497" y="388"/>
                  </a:cubicBezTo>
                  <a:cubicBezTo>
                    <a:pt x="499" y="388"/>
                    <a:pt x="501" y="389"/>
                    <a:pt x="504" y="389"/>
                  </a:cubicBezTo>
                  <a:cubicBezTo>
                    <a:pt x="504" y="389"/>
                    <a:pt x="505" y="389"/>
                    <a:pt x="505" y="389"/>
                  </a:cubicBezTo>
                  <a:cubicBezTo>
                    <a:pt x="508" y="389"/>
                    <a:pt x="510" y="389"/>
                    <a:pt x="513" y="389"/>
                  </a:cubicBezTo>
                  <a:cubicBezTo>
                    <a:pt x="516" y="389"/>
                    <a:pt x="518" y="389"/>
                    <a:pt x="521" y="389"/>
                  </a:cubicBezTo>
                  <a:cubicBezTo>
                    <a:pt x="522" y="389"/>
                    <a:pt x="524" y="389"/>
                    <a:pt x="525" y="388"/>
                  </a:cubicBezTo>
                  <a:cubicBezTo>
                    <a:pt x="526" y="388"/>
                    <a:pt x="528" y="388"/>
                    <a:pt x="529" y="388"/>
                  </a:cubicBezTo>
                  <a:cubicBezTo>
                    <a:pt x="531" y="387"/>
                    <a:pt x="532" y="387"/>
                    <a:pt x="534" y="386"/>
                  </a:cubicBezTo>
                  <a:cubicBezTo>
                    <a:pt x="535" y="386"/>
                    <a:pt x="536" y="386"/>
                    <a:pt x="537" y="386"/>
                  </a:cubicBezTo>
                  <a:cubicBezTo>
                    <a:pt x="539" y="385"/>
                    <a:pt x="541" y="384"/>
                    <a:pt x="543" y="384"/>
                  </a:cubicBezTo>
                  <a:cubicBezTo>
                    <a:pt x="543" y="384"/>
                    <a:pt x="543" y="383"/>
                    <a:pt x="544" y="383"/>
                  </a:cubicBezTo>
                  <a:cubicBezTo>
                    <a:pt x="546" y="382"/>
                    <a:pt x="548" y="381"/>
                    <a:pt x="550" y="380"/>
                  </a:cubicBezTo>
                  <a:cubicBezTo>
                    <a:pt x="550" y="380"/>
                    <a:pt x="551" y="380"/>
                    <a:pt x="551" y="380"/>
                  </a:cubicBezTo>
                  <a:cubicBezTo>
                    <a:pt x="553" y="379"/>
                    <a:pt x="555" y="378"/>
                    <a:pt x="557" y="376"/>
                  </a:cubicBezTo>
                  <a:cubicBezTo>
                    <a:pt x="557" y="376"/>
                    <a:pt x="557" y="376"/>
                    <a:pt x="557" y="376"/>
                  </a:cubicBezTo>
                  <a:cubicBezTo>
                    <a:pt x="562" y="373"/>
                    <a:pt x="566" y="370"/>
                    <a:pt x="569" y="367"/>
                  </a:cubicBezTo>
                  <a:cubicBezTo>
                    <a:pt x="569" y="367"/>
                    <a:pt x="569" y="367"/>
                    <a:pt x="569" y="367"/>
                  </a:cubicBezTo>
                  <a:cubicBezTo>
                    <a:pt x="632" y="416"/>
                    <a:pt x="632" y="416"/>
                    <a:pt x="632" y="416"/>
                  </a:cubicBezTo>
                  <a:cubicBezTo>
                    <a:pt x="661" y="439"/>
                    <a:pt x="661" y="439"/>
                    <a:pt x="661" y="439"/>
                  </a:cubicBezTo>
                  <a:cubicBezTo>
                    <a:pt x="660" y="441"/>
                    <a:pt x="660" y="444"/>
                    <a:pt x="659" y="447"/>
                  </a:cubicBezTo>
                  <a:cubicBezTo>
                    <a:pt x="659" y="448"/>
                    <a:pt x="659" y="449"/>
                    <a:pt x="659" y="450"/>
                  </a:cubicBezTo>
                  <a:cubicBezTo>
                    <a:pt x="659" y="451"/>
                    <a:pt x="659" y="452"/>
                    <a:pt x="659" y="453"/>
                  </a:cubicBezTo>
                  <a:cubicBezTo>
                    <a:pt x="658" y="455"/>
                    <a:pt x="658" y="457"/>
                    <a:pt x="658" y="460"/>
                  </a:cubicBezTo>
                  <a:cubicBezTo>
                    <a:pt x="658" y="483"/>
                    <a:pt x="668" y="503"/>
                    <a:pt x="683" y="518"/>
                  </a:cubicBezTo>
                  <a:cubicBezTo>
                    <a:pt x="698" y="533"/>
                    <a:pt x="718" y="543"/>
                    <a:pt x="741" y="543"/>
                  </a:cubicBezTo>
                  <a:cubicBezTo>
                    <a:pt x="766" y="543"/>
                    <a:pt x="788" y="531"/>
                    <a:pt x="804" y="514"/>
                  </a:cubicBezTo>
                  <a:cubicBezTo>
                    <a:pt x="811" y="505"/>
                    <a:pt x="817" y="494"/>
                    <a:pt x="821" y="483"/>
                  </a:cubicBezTo>
                  <a:cubicBezTo>
                    <a:pt x="823" y="476"/>
                    <a:pt x="824" y="468"/>
                    <a:pt x="824" y="460"/>
                  </a:cubicBezTo>
                  <a:cubicBezTo>
                    <a:pt x="824" y="457"/>
                    <a:pt x="824" y="455"/>
                    <a:pt x="824" y="453"/>
                  </a:cubicBezTo>
                  <a:cubicBezTo>
                    <a:pt x="824" y="452"/>
                    <a:pt x="823" y="451"/>
                    <a:pt x="823" y="450"/>
                  </a:cubicBezTo>
                  <a:cubicBezTo>
                    <a:pt x="823" y="449"/>
                    <a:pt x="823" y="448"/>
                    <a:pt x="823" y="447"/>
                  </a:cubicBezTo>
                  <a:cubicBezTo>
                    <a:pt x="823" y="445"/>
                    <a:pt x="822" y="442"/>
                    <a:pt x="821" y="440"/>
                  </a:cubicBezTo>
                  <a:cubicBezTo>
                    <a:pt x="933" y="354"/>
                    <a:pt x="933" y="354"/>
                    <a:pt x="933" y="354"/>
                  </a:cubicBezTo>
                  <a:cubicBezTo>
                    <a:pt x="983" y="316"/>
                    <a:pt x="983" y="316"/>
                    <a:pt x="983" y="316"/>
                  </a:cubicBezTo>
                  <a:cubicBezTo>
                    <a:pt x="1040" y="272"/>
                    <a:pt x="1040" y="272"/>
                    <a:pt x="1040" y="272"/>
                  </a:cubicBezTo>
                  <a:cubicBezTo>
                    <a:pt x="1080" y="241"/>
                    <a:pt x="1080" y="241"/>
                    <a:pt x="1080" y="241"/>
                  </a:cubicBezTo>
                  <a:cubicBezTo>
                    <a:pt x="1208" y="143"/>
                    <a:pt x="1208" y="143"/>
                    <a:pt x="1208" y="143"/>
                  </a:cubicBezTo>
                  <a:cubicBezTo>
                    <a:pt x="1234" y="177"/>
                    <a:pt x="1234" y="177"/>
                    <a:pt x="1234" y="177"/>
                  </a:cubicBezTo>
                  <a:cubicBezTo>
                    <a:pt x="1256" y="206"/>
                    <a:pt x="1256" y="206"/>
                    <a:pt x="1256" y="206"/>
                  </a:cubicBezTo>
                  <a:cubicBezTo>
                    <a:pt x="1342" y="0"/>
                    <a:pt x="1342" y="0"/>
                    <a:pt x="1342" y="0"/>
                  </a:cubicBezTo>
                  <a:cubicBezTo>
                    <a:pt x="1121" y="29"/>
                    <a:pt x="1121" y="29"/>
                    <a:pt x="1121" y="29"/>
                  </a:cubicBezTo>
                  <a:lnTo>
                    <a:pt x="1122" y="31"/>
                  </a:lnTo>
                  <a:close/>
                  <a:moveTo>
                    <a:pt x="513" y="348"/>
                  </a:moveTo>
                  <a:cubicBezTo>
                    <a:pt x="499" y="348"/>
                    <a:pt x="487" y="341"/>
                    <a:pt x="480" y="331"/>
                  </a:cubicBezTo>
                  <a:cubicBezTo>
                    <a:pt x="475" y="325"/>
                    <a:pt x="471" y="316"/>
                    <a:pt x="471" y="307"/>
                  </a:cubicBezTo>
                  <a:cubicBezTo>
                    <a:pt x="471" y="292"/>
                    <a:pt x="479" y="280"/>
                    <a:pt x="490" y="272"/>
                  </a:cubicBezTo>
                  <a:cubicBezTo>
                    <a:pt x="496" y="268"/>
                    <a:pt x="504" y="265"/>
                    <a:pt x="513" y="265"/>
                  </a:cubicBezTo>
                  <a:cubicBezTo>
                    <a:pt x="521" y="265"/>
                    <a:pt x="529" y="268"/>
                    <a:pt x="536" y="272"/>
                  </a:cubicBezTo>
                  <a:cubicBezTo>
                    <a:pt x="547" y="280"/>
                    <a:pt x="554" y="292"/>
                    <a:pt x="554" y="307"/>
                  </a:cubicBezTo>
                  <a:cubicBezTo>
                    <a:pt x="554" y="321"/>
                    <a:pt x="547" y="333"/>
                    <a:pt x="536" y="340"/>
                  </a:cubicBezTo>
                  <a:cubicBezTo>
                    <a:pt x="529" y="345"/>
                    <a:pt x="521" y="348"/>
                    <a:pt x="513" y="348"/>
                  </a:cubicBezTo>
                  <a:close/>
                  <a:moveTo>
                    <a:pt x="741" y="501"/>
                  </a:moveTo>
                  <a:cubicBezTo>
                    <a:pt x="741" y="501"/>
                    <a:pt x="741" y="501"/>
                    <a:pt x="741" y="501"/>
                  </a:cubicBezTo>
                  <a:cubicBezTo>
                    <a:pt x="741" y="501"/>
                    <a:pt x="741" y="501"/>
                    <a:pt x="740" y="501"/>
                  </a:cubicBezTo>
                  <a:cubicBezTo>
                    <a:pt x="726" y="501"/>
                    <a:pt x="714" y="494"/>
                    <a:pt x="707" y="483"/>
                  </a:cubicBezTo>
                  <a:cubicBezTo>
                    <a:pt x="704" y="479"/>
                    <a:pt x="702" y="475"/>
                    <a:pt x="701" y="470"/>
                  </a:cubicBezTo>
                  <a:cubicBezTo>
                    <a:pt x="700" y="467"/>
                    <a:pt x="700" y="463"/>
                    <a:pt x="700" y="460"/>
                  </a:cubicBezTo>
                  <a:cubicBezTo>
                    <a:pt x="700" y="437"/>
                    <a:pt x="718" y="419"/>
                    <a:pt x="741" y="419"/>
                  </a:cubicBezTo>
                  <a:cubicBezTo>
                    <a:pt x="764" y="419"/>
                    <a:pt x="782" y="437"/>
                    <a:pt x="782" y="460"/>
                  </a:cubicBezTo>
                  <a:cubicBezTo>
                    <a:pt x="782" y="464"/>
                    <a:pt x="782" y="467"/>
                    <a:pt x="781" y="471"/>
                  </a:cubicBezTo>
                  <a:cubicBezTo>
                    <a:pt x="779" y="475"/>
                    <a:pt x="778" y="479"/>
                    <a:pt x="775" y="483"/>
                  </a:cubicBezTo>
                  <a:cubicBezTo>
                    <a:pt x="768" y="494"/>
                    <a:pt x="755" y="501"/>
                    <a:pt x="741" y="50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180" name="Rectangle 160"/>
          <p:cNvSpPr/>
          <p:nvPr/>
        </p:nvSpPr>
        <p:spPr bwMode="auto">
          <a:xfrm>
            <a:off x="967900" y="3745316"/>
            <a:ext cx="1982520" cy="3657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14367"/>
            <a:r>
              <a:rPr lang="en-IN" sz="1200">
                <a:solidFill>
                  <a:srgbClr val="000000"/>
                </a:solidFill>
                <a:cs typeface="Segoe UI Light" panose="020B0502040204020203" pitchFamily="34" charset="0"/>
              </a:rPr>
              <a:t>Excel and CSV files</a:t>
            </a:r>
          </a:p>
          <a:p>
            <a:pPr defTabSz="914367"/>
            <a:r>
              <a:rPr lang="en-IN" sz="900" i="1">
                <a:solidFill>
                  <a:srgbClr val="000000"/>
                </a:solidFill>
                <a:cs typeface="Segoe UI Light" panose="020B0502040204020203" pitchFamily="34" charset="0"/>
              </a:rPr>
              <a:t>Workbook data, flat files</a:t>
            </a:r>
          </a:p>
        </p:txBody>
      </p:sp>
      <p:sp>
        <p:nvSpPr>
          <p:cNvPr id="181" name="Oval 162"/>
          <p:cNvSpPr/>
          <p:nvPr/>
        </p:nvSpPr>
        <p:spPr bwMode="auto">
          <a:xfrm>
            <a:off x="612426" y="3745316"/>
            <a:ext cx="365760" cy="365760"/>
          </a:xfrm>
          <a:prstGeom prst="ellipse">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2400" err="1">
              <a:gradFill>
                <a:gsLst>
                  <a:gs pos="0">
                    <a:srgbClr val="FFFFFF"/>
                  </a:gs>
                  <a:gs pos="100000">
                    <a:srgbClr val="FFFFFF"/>
                  </a:gs>
                </a:gsLst>
                <a:lin ang="5400000" scaled="0"/>
              </a:gradFill>
              <a:ea typeface="Segoe UI" pitchFamily="34" charset="0"/>
              <a:cs typeface="Segoe UI" pitchFamily="34" charset="0"/>
            </a:endParaRPr>
          </a:p>
        </p:txBody>
      </p:sp>
      <p:cxnSp>
        <p:nvCxnSpPr>
          <p:cNvPr id="182" name="Straight Connector 181"/>
          <p:cNvCxnSpPr/>
          <p:nvPr/>
        </p:nvCxnSpPr>
        <p:spPr>
          <a:xfrm>
            <a:off x="1038540" y="4176844"/>
            <a:ext cx="1891470" cy="0"/>
          </a:xfrm>
          <a:prstGeom prst="line">
            <a:avLst/>
          </a:prstGeom>
          <a:ln w="28575">
            <a:solidFill>
              <a:schemeClr val="tx1"/>
            </a:solidFill>
            <a:prstDash val="sysDot"/>
            <a:headEnd type="oval" w="sm" len="sm"/>
            <a:tailEnd type="oval" w="sm" len="sm"/>
          </a:ln>
        </p:spPr>
        <p:style>
          <a:lnRef idx="1">
            <a:schemeClr val="accent1"/>
          </a:lnRef>
          <a:fillRef idx="0">
            <a:schemeClr val="accent1"/>
          </a:fillRef>
          <a:effectRef idx="0">
            <a:schemeClr val="accent1"/>
          </a:effectRef>
          <a:fontRef idx="minor">
            <a:schemeClr val="tx1"/>
          </a:fontRef>
        </p:style>
      </p:cxnSp>
      <p:sp>
        <p:nvSpPr>
          <p:cNvPr id="183" name="Oval 162"/>
          <p:cNvSpPr/>
          <p:nvPr/>
        </p:nvSpPr>
        <p:spPr bwMode="auto">
          <a:xfrm>
            <a:off x="612426" y="4253867"/>
            <a:ext cx="365760" cy="365760"/>
          </a:xfrm>
          <a:prstGeom prst="ellipse">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2400" err="1">
              <a:gradFill>
                <a:gsLst>
                  <a:gs pos="0">
                    <a:srgbClr val="FFFFFF"/>
                  </a:gs>
                  <a:gs pos="100000">
                    <a:srgbClr val="FFFFFF"/>
                  </a:gs>
                </a:gsLst>
                <a:lin ang="5400000" scaled="0"/>
              </a:gradFill>
              <a:ea typeface="Segoe UI" pitchFamily="34" charset="0"/>
              <a:cs typeface="Segoe UI" pitchFamily="34" charset="0"/>
            </a:endParaRPr>
          </a:p>
        </p:txBody>
      </p:sp>
      <p:sp>
        <p:nvSpPr>
          <p:cNvPr id="184" name="Rectangle 160"/>
          <p:cNvSpPr/>
          <p:nvPr/>
        </p:nvSpPr>
        <p:spPr bwMode="auto">
          <a:xfrm>
            <a:off x="967900" y="4253867"/>
            <a:ext cx="1982520" cy="42495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14367"/>
            <a:r>
              <a:rPr lang="en-IN" sz="1200">
                <a:solidFill>
                  <a:srgbClr val="000000"/>
                </a:solidFill>
                <a:cs typeface="Segoe UI Light" panose="020B0502040204020203" pitchFamily="34" charset="0"/>
              </a:rPr>
              <a:t>Power BI Desktop files</a:t>
            </a:r>
          </a:p>
          <a:p>
            <a:pPr defTabSz="914367"/>
            <a:r>
              <a:rPr lang="en-IN" sz="900" i="1">
                <a:solidFill>
                  <a:srgbClr val="000000"/>
                </a:solidFill>
                <a:cs typeface="Segoe UI Light" panose="020B0502040204020203" pitchFamily="34" charset="0"/>
              </a:rPr>
              <a:t>Data from files, databases, Azure, Online Services, and other sources</a:t>
            </a:r>
          </a:p>
        </p:txBody>
      </p:sp>
      <p:sp>
        <p:nvSpPr>
          <p:cNvPr id="185" name="Isosceles Triangle 153"/>
          <p:cNvSpPr/>
          <p:nvPr/>
        </p:nvSpPr>
        <p:spPr bwMode="auto">
          <a:xfrm rot="5400000">
            <a:off x="1850671" y="2970617"/>
            <a:ext cx="2964025" cy="333997"/>
          </a:xfrm>
          <a:prstGeom prst="triangl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14367"/>
            <a:endParaRPr lang="en-US" sz="900" i="1">
              <a:solidFill>
                <a:srgbClr val="FFFFFF"/>
              </a:solidFill>
              <a:cs typeface="Segoe UI Light" panose="020B0502040204020203" pitchFamily="34" charset="0"/>
            </a:endParaRPr>
          </a:p>
        </p:txBody>
      </p:sp>
      <p:pic>
        <p:nvPicPr>
          <p:cNvPr id="186" name="Picture 185"/>
          <p:cNvPicPr>
            <a:picLocks noChangeAspect="1"/>
          </p:cNvPicPr>
          <p:nvPr/>
        </p:nvPicPr>
        <p:blipFill rotWithShape="1">
          <a:blip r:embed="rId3"/>
          <a:srcRect l="6503" t="21287" r="74698" b="20220"/>
          <a:stretch/>
        </p:blipFill>
        <p:spPr>
          <a:xfrm>
            <a:off x="692331" y="4319517"/>
            <a:ext cx="228600" cy="231962"/>
          </a:xfrm>
          <a:prstGeom prst="rect">
            <a:avLst/>
          </a:prstGeom>
        </p:spPr>
      </p:pic>
      <p:grpSp>
        <p:nvGrpSpPr>
          <p:cNvPr id="114" name="Group 113"/>
          <p:cNvGrpSpPr>
            <a:grpSpLocks noChangeAspect="1"/>
          </p:cNvGrpSpPr>
          <p:nvPr/>
        </p:nvGrpSpPr>
        <p:grpSpPr>
          <a:xfrm>
            <a:off x="6181819" y="2328901"/>
            <a:ext cx="5120640" cy="2756516"/>
            <a:chOff x="266699" y="-225976"/>
            <a:chExt cx="11319416" cy="6093390"/>
          </a:xfrm>
        </p:grpSpPr>
        <p:grpSp>
          <p:nvGrpSpPr>
            <p:cNvPr id="187" name="Group 186"/>
            <p:cNvGrpSpPr/>
            <p:nvPr/>
          </p:nvGrpSpPr>
          <p:grpSpPr>
            <a:xfrm>
              <a:off x="266699" y="-225976"/>
              <a:ext cx="11319416" cy="6093390"/>
              <a:chOff x="6856629" y="2032578"/>
              <a:chExt cx="5221473" cy="2523453"/>
            </a:xfrm>
          </p:grpSpPr>
          <p:sp>
            <p:nvSpPr>
              <p:cNvPr id="193" name="Rounded Rectangle 223"/>
              <p:cNvSpPr/>
              <p:nvPr/>
            </p:nvSpPr>
            <p:spPr bwMode="auto">
              <a:xfrm>
                <a:off x="10432181" y="2032578"/>
                <a:ext cx="616073" cy="1042089"/>
              </a:xfrm>
              <a:custGeom>
                <a:avLst/>
                <a:gdLst/>
                <a:ahLst/>
                <a:cxnLst/>
                <a:rect l="l" t="t" r="r" b="b"/>
                <a:pathLst>
                  <a:path w="3657600" h="6434945">
                    <a:moveTo>
                      <a:pt x="1828801" y="5761924"/>
                    </a:moveTo>
                    <a:cubicBezTo>
                      <a:pt x="1694209" y="5761924"/>
                      <a:pt x="1585101" y="5871032"/>
                      <a:pt x="1585101" y="6005624"/>
                    </a:cubicBezTo>
                    <a:cubicBezTo>
                      <a:pt x="1585101" y="6140216"/>
                      <a:pt x="1694209" y="6249324"/>
                      <a:pt x="1828801" y="6249324"/>
                    </a:cubicBezTo>
                    <a:cubicBezTo>
                      <a:pt x="1963393" y="6249324"/>
                      <a:pt x="2072501" y="6140216"/>
                      <a:pt x="2072501" y="6005624"/>
                    </a:cubicBezTo>
                    <a:cubicBezTo>
                      <a:pt x="2072501" y="5871032"/>
                      <a:pt x="1963393" y="5761924"/>
                      <a:pt x="1828801" y="5761924"/>
                    </a:cubicBezTo>
                    <a:close/>
                    <a:moveTo>
                      <a:pt x="367260" y="607233"/>
                    </a:moveTo>
                    <a:lnTo>
                      <a:pt x="367260" y="5543030"/>
                    </a:lnTo>
                    <a:lnTo>
                      <a:pt x="3290341" y="5543030"/>
                    </a:lnTo>
                    <a:lnTo>
                      <a:pt x="3290341" y="607233"/>
                    </a:lnTo>
                    <a:close/>
                    <a:moveTo>
                      <a:pt x="1097280" y="257182"/>
                    </a:moveTo>
                    <a:cubicBezTo>
                      <a:pt x="1072030" y="257182"/>
                      <a:pt x="1051560" y="277652"/>
                      <a:pt x="1051560" y="302902"/>
                    </a:cubicBezTo>
                    <a:cubicBezTo>
                      <a:pt x="1051560" y="328152"/>
                      <a:pt x="1072030" y="348622"/>
                      <a:pt x="1097280" y="348622"/>
                    </a:cubicBezTo>
                    <a:lnTo>
                      <a:pt x="2560320" y="348622"/>
                    </a:lnTo>
                    <a:cubicBezTo>
                      <a:pt x="2585570" y="348622"/>
                      <a:pt x="2606040" y="328152"/>
                      <a:pt x="2606040" y="302902"/>
                    </a:cubicBezTo>
                    <a:cubicBezTo>
                      <a:pt x="2606040" y="277652"/>
                      <a:pt x="2585570" y="257182"/>
                      <a:pt x="2560320" y="257182"/>
                    </a:cubicBezTo>
                    <a:close/>
                    <a:moveTo>
                      <a:pt x="609612" y="0"/>
                    </a:moveTo>
                    <a:lnTo>
                      <a:pt x="3047988" y="0"/>
                    </a:lnTo>
                    <a:cubicBezTo>
                      <a:pt x="3384667" y="0"/>
                      <a:pt x="3657600" y="272933"/>
                      <a:pt x="3657600" y="609612"/>
                    </a:cubicBezTo>
                    <a:lnTo>
                      <a:pt x="3657600" y="5825333"/>
                    </a:lnTo>
                    <a:cubicBezTo>
                      <a:pt x="3657600" y="6162012"/>
                      <a:pt x="3384667" y="6434945"/>
                      <a:pt x="3047988" y="6434945"/>
                    </a:cubicBezTo>
                    <a:lnTo>
                      <a:pt x="609612" y="6434945"/>
                    </a:lnTo>
                    <a:cubicBezTo>
                      <a:pt x="272933" y="6434945"/>
                      <a:pt x="0" y="6162012"/>
                      <a:pt x="0" y="5825333"/>
                    </a:cubicBezTo>
                    <a:lnTo>
                      <a:pt x="0" y="609612"/>
                    </a:lnTo>
                    <a:cubicBezTo>
                      <a:pt x="0" y="272933"/>
                      <a:pt x="272933" y="0"/>
                      <a:pt x="609612" y="0"/>
                    </a:cubicBezTo>
                    <a:close/>
                  </a:path>
                </a:pathLst>
              </a:custGeom>
              <a:solidFill>
                <a:srgbClr val="A5A5A5">
                  <a:lumMod val="50000"/>
                </a:srgbClr>
              </a:solidFill>
              <a:ln w="6350" cap="flat" cmpd="sng" algn="ctr">
                <a:solidFill>
                  <a:sysClr val="window" lastClr="FFFFFF"/>
                </a:solidFill>
                <a:prstDash val="solid"/>
                <a:miter lim="800000"/>
                <a:headEnd type="none" w="med" len="med"/>
                <a:tailEnd type="none" w="med" len="med"/>
              </a:ln>
              <a:effectLst/>
            </p:spPr>
            <p:txBody>
              <a:bodyPr rot="0" spcFirstLastPara="0" vertOverflow="overflow" horzOverflow="overflow" vert="horz" wrap="square" lIns="89642" tIns="44821" rIns="44821" bIns="89642" numCol="1" spcCol="0" rtlCol="0" fromWordArt="0" anchor="b" anchorCtr="0" forceAA="0" compatLnSpc="1">
                <a:prstTxWarp prst="textNoShape">
                  <a:avLst/>
                </a:prstTxWarp>
                <a:noAutofit/>
              </a:bodyPr>
              <a:lstStyle/>
              <a:p>
                <a:pPr marL="0" marR="0" lvl="0" indent="0" algn="ctr" defTabSz="896091" eaLnBrk="1" fontAlgn="base" latinLnBrk="0" hangingPunct="1">
                  <a:lnSpc>
                    <a:spcPct val="100000"/>
                  </a:lnSpc>
                  <a:spcBef>
                    <a:spcPct val="0"/>
                  </a:spcBef>
                  <a:spcAft>
                    <a:spcPct val="0"/>
                  </a:spcAft>
                  <a:buClrTx/>
                  <a:buSzTx/>
                  <a:buFontTx/>
                  <a:buNone/>
                  <a:tabLst/>
                  <a:defRPr/>
                </a:pPr>
                <a:endParaRPr kumimoji="0" lang="en-US" sz="800" b="0" i="0" u="none" strike="noStrike" kern="0" cap="none" spc="-49" normalizeH="0" baseline="0" noProof="0" err="1">
                  <a:ln>
                    <a:noFill/>
                  </a:ln>
                  <a:solidFill>
                    <a:srgbClr val="68217A"/>
                  </a:solidFill>
                  <a:effectLst/>
                  <a:uLnTx/>
                  <a:uFillTx/>
                  <a:latin typeface="Calibri" panose="020F0502020204030204"/>
                  <a:ea typeface="Segoe UI" pitchFamily="34" charset="0"/>
                  <a:cs typeface="Segoe UI" pitchFamily="34" charset="0"/>
                </a:endParaRPr>
              </a:p>
            </p:txBody>
          </p:sp>
          <p:sp>
            <p:nvSpPr>
              <p:cNvPr id="194" name="Freeform 1383"/>
              <p:cNvSpPr>
                <a:spLocks noChangeAspect="1" noEditPoints="1"/>
              </p:cNvSpPr>
              <p:nvPr/>
            </p:nvSpPr>
            <p:spPr bwMode="auto">
              <a:xfrm>
                <a:off x="6856629" y="2534980"/>
                <a:ext cx="4002717" cy="2021051"/>
              </a:xfrm>
              <a:custGeom>
                <a:avLst/>
                <a:gdLst>
                  <a:gd name="T0" fmla="*/ 340 w 400"/>
                  <a:gd name="T1" fmla="*/ 0 h 214"/>
                  <a:gd name="T2" fmla="*/ 61 w 400"/>
                  <a:gd name="T3" fmla="*/ 0 h 214"/>
                  <a:gd name="T4" fmla="*/ 51 w 400"/>
                  <a:gd name="T5" fmla="*/ 10 h 214"/>
                  <a:gd name="T6" fmla="*/ 51 w 400"/>
                  <a:gd name="T7" fmla="*/ 181 h 214"/>
                  <a:gd name="T8" fmla="*/ 61 w 400"/>
                  <a:gd name="T9" fmla="*/ 191 h 214"/>
                  <a:gd name="T10" fmla="*/ 340 w 400"/>
                  <a:gd name="T11" fmla="*/ 191 h 214"/>
                  <a:gd name="T12" fmla="*/ 350 w 400"/>
                  <a:gd name="T13" fmla="*/ 181 h 214"/>
                  <a:gd name="T14" fmla="*/ 350 w 400"/>
                  <a:gd name="T15" fmla="*/ 10 h 214"/>
                  <a:gd name="T16" fmla="*/ 340 w 400"/>
                  <a:gd name="T17" fmla="*/ 0 h 214"/>
                  <a:gd name="T18" fmla="*/ 337 w 400"/>
                  <a:gd name="T19" fmla="*/ 179 h 214"/>
                  <a:gd name="T20" fmla="*/ 64 w 400"/>
                  <a:gd name="T21" fmla="*/ 179 h 214"/>
                  <a:gd name="T22" fmla="*/ 64 w 400"/>
                  <a:gd name="T23" fmla="*/ 11 h 214"/>
                  <a:gd name="T24" fmla="*/ 337 w 400"/>
                  <a:gd name="T25" fmla="*/ 11 h 214"/>
                  <a:gd name="T26" fmla="*/ 337 w 400"/>
                  <a:gd name="T27" fmla="*/ 179 h 214"/>
                  <a:gd name="T28" fmla="*/ 228 w 400"/>
                  <a:gd name="T29" fmla="*/ 198 h 214"/>
                  <a:gd name="T30" fmla="*/ 228 w 400"/>
                  <a:gd name="T31" fmla="*/ 200 h 214"/>
                  <a:gd name="T32" fmla="*/ 224 w 400"/>
                  <a:gd name="T33" fmla="*/ 203 h 214"/>
                  <a:gd name="T34" fmla="*/ 177 w 400"/>
                  <a:gd name="T35" fmla="*/ 203 h 214"/>
                  <a:gd name="T36" fmla="*/ 173 w 400"/>
                  <a:gd name="T37" fmla="*/ 200 h 214"/>
                  <a:gd name="T38" fmla="*/ 173 w 400"/>
                  <a:gd name="T39" fmla="*/ 198 h 214"/>
                  <a:gd name="T40" fmla="*/ 0 w 400"/>
                  <a:gd name="T41" fmla="*/ 198 h 214"/>
                  <a:gd name="T42" fmla="*/ 0 w 400"/>
                  <a:gd name="T43" fmla="*/ 208 h 214"/>
                  <a:gd name="T44" fmla="*/ 13 w 400"/>
                  <a:gd name="T45" fmla="*/ 214 h 214"/>
                  <a:gd name="T46" fmla="*/ 13 w 400"/>
                  <a:gd name="T47" fmla="*/ 214 h 214"/>
                  <a:gd name="T48" fmla="*/ 387 w 400"/>
                  <a:gd name="T49" fmla="*/ 214 h 214"/>
                  <a:gd name="T50" fmla="*/ 387 w 400"/>
                  <a:gd name="T51" fmla="*/ 214 h 214"/>
                  <a:gd name="T52" fmla="*/ 400 w 400"/>
                  <a:gd name="T53" fmla="*/ 208 h 214"/>
                  <a:gd name="T54" fmla="*/ 400 w 400"/>
                  <a:gd name="T55" fmla="*/ 198 h 214"/>
                  <a:gd name="T56" fmla="*/ 228 w 400"/>
                  <a:gd name="T57" fmla="*/ 198 h 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400" h="214">
                    <a:moveTo>
                      <a:pt x="340" y="0"/>
                    </a:moveTo>
                    <a:cubicBezTo>
                      <a:pt x="61" y="0"/>
                      <a:pt x="61" y="0"/>
                      <a:pt x="61" y="0"/>
                    </a:cubicBezTo>
                    <a:cubicBezTo>
                      <a:pt x="56" y="0"/>
                      <a:pt x="51" y="4"/>
                      <a:pt x="51" y="10"/>
                    </a:cubicBezTo>
                    <a:cubicBezTo>
                      <a:pt x="51" y="181"/>
                      <a:pt x="51" y="181"/>
                      <a:pt x="51" y="181"/>
                    </a:cubicBezTo>
                    <a:cubicBezTo>
                      <a:pt x="51" y="187"/>
                      <a:pt x="56" y="191"/>
                      <a:pt x="61" y="191"/>
                    </a:cubicBezTo>
                    <a:cubicBezTo>
                      <a:pt x="340" y="191"/>
                      <a:pt x="340" y="191"/>
                      <a:pt x="340" y="191"/>
                    </a:cubicBezTo>
                    <a:cubicBezTo>
                      <a:pt x="346" y="191"/>
                      <a:pt x="350" y="187"/>
                      <a:pt x="350" y="181"/>
                    </a:cubicBezTo>
                    <a:cubicBezTo>
                      <a:pt x="350" y="10"/>
                      <a:pt x="350" y="10"/>
                      <a:pt x="350" y="10"/>
                    </a:cubicBezTo>
                    <a:cubicBezTo>
                      <a:pt x="350" y="4"/>
                      <a:pt x="346" y="0"/>
                      <a:pt x="340" y="0"/>
                    </a:cubicBezTo>
                    <a:close/>
                    <a:moveTo>
                      <a:pt x="337" y="179"/>
                    </a:moveTo>
                    <a:cubicBezTo>
                      <a:pt x="64" y="179"/>
                      <a:pt x="64" y="179"/>
                      <a:pt x="64" y="179"/>
                    </a:cubicBezTo>
                    <a:cubicBezTo>
                      <a:pt x="64" y="11"/>
                      <a:pt x="64" y="11"/>
                      <a:pt x="64" y="11"/>
                    </a:cubicBezTo>
                    <a:cubicBezTo>
                      <a:pt x="337" y="11"/>
                      <a:pt x="337" y="11"/>
                      <a:pt x="337" y="11"/>
                    </a:cubicBezTo>
                    <a:cubicBezTo>
                      <a:pt x="337" y="179"/>
                      <a:pt x="337" y="179"/>
                      <a:pt x="337" y="179"/>
                    </a:cubicBezTo>
                    <a:close/>
                    <a:moveTo>
                      <a:pt x="228" y="198"/>
                    </a:moveTo>
                    <a:cubicBezTo>
                      <a:pt x="228" y="200"/>
                      <a:pt x="228" y="200"/>
                      <a:pt x="228" y="200"/>
                    </a:cubicBezTo>
                    <a:cubicBezTo>
                      <a:pt x="228" y="202"/>
                      <a:pt x="226" y="203"/>
                      <a:pt x="224" y="203"/>
                    </a:cubicBezTo>
                    <a:cubicBezTo>
                      <a:pt x="177" y="203"/>
                      <a:pt x="177" y="203"/>
                      <a:pt x="177" y="203"/>
                    </a:cubicBezTo>
                    <a:cubicBezTo>
                      <a:pt x="175" y="203"/>
                      <a:pt x="173" y="202"/>
                      <a:pt x="173" y="200"/>
                    </a:cubicBezTo>
                    <a:cubicBezTo>
                      <a:pt x="173" y="198"/>
                      <a:pt x="173" y="198"/>
                      <a:pt x="173" y="198"/>
                    </a:cubicBezTo>
                    <a:cubicBezTo>
                      <a:pt x="0" y="198"/>
                      <a:pt x="0" y="198"/>
                      <a:pt x="0" y="198"/>
                    </a:cubicBezTo>
                    <a:cubicBezTo>
                      <a:pt x="0" y="208"/>
                      <a:pt x="0" y="208"/>
                      <a:pt x="0" y="208"/>
                    </a:cubicBezTo>
                    <a:cubicBezTo>
                      <a:pt x="0" y="208"/>
                      <a:pt x="9" y="214"/>
                      <a:pt x="13" y="214"/>
                    </a:cubicBezTo>
                    <a:cubicBezTo>
                      <a:pt x="13" y="214"/>
                      <a:pt x="13" y="214"/>
                      <a:pt x="13" y="214"/>
                    </a:cubicBezTo>
                    <a:cubicBezTo>
                      <a:pt x="387" y="214"/>
                      <a:pt x="387" y="214"/>
                      <a:pt x="387" y="214"/>
                    </a:cubicBezTo>
                    <a:cubicBezTo>
                      <a:pt x="387" y="214"/>
                      <a:pt x="387" y="214"/>
                      <a:pt x="387" y="214"/>
                    </a:cubicBezTo>
                    <a:cubicBezTo>
                      <a:pt x="391" y="214"/>
                      <a:pt x="400" y="208"/>
                      <a:pt x="400" y="208"/>
                    </a:cubicBezTo>
                    <a:cubicBezTo>
                      <a:pt x="400" y="198"/>
                      <a:pt x="400" y="198"/>
                      <a:pt x="400" y="198"/>
                    </a:cubicBezTo>
                    <a:lnTo>
                      <a:pt x="228" y="198"/>
                    </a:lnTo>
                    <a:close/>
                  </a:path>
                </a:pathLst>
              </a:custGeom>
              <a:solidFill>
                <a:srgbClr val="A5A5A5">
                  <a:lumMod val="50000"/>
                </a:srgbClr>
              </a:solidFill>
              <a:ln w="9525">
                <a:solidFill>
                  <a:sysClr val="window" lastClr="FFFFFF"/>
                </a:solidFill>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Calibri" panose="020F0502020204030204"/>
                  <a:ea typeface="+mn-ea"/>
                  <a:cs typeface="+mn-cs"/>
                </a:endParaRPr>
              </a:p>
            </p:txBody>
          </p:sp>
          <p:grpSp>
            <p:nvGrpSpPr>
              <p:cNvPr id="195" name="Group 194"/>
              <p:cNvGrpSpPr/>
              <p:nvPr/>
            </p:nvGrpSpPr>
            <p:grpSpPr>
              <a:xfrm>
                <a:off x="10432182" y="3198527"/>
                <a:ext cx="1645920" cy="1132186"/>
                <a:chOff x="1117587" y="1757085"/>
                <a:chExt cx="2372574" cy="1629559"/>
              </a:xfrm>
            </p:grpSpPr>
            <p:sp>
              <p:nvSpPr>
                <p:cNvPr id="197" name="Rounded Rectangle 89"/>
                <p:cNvSpPr>
                  <a:spLocks noChangeAspect="1"/>
                </p:cNvSpPr>
                <p:nvPr/>
              </p:nvSpPr>
              <p:spPr bwMode="auto">
                <a:xfrm rot="16200000">
                  <a:off x="1489094" y="1385578"/>
                  <a:ext cx="1629559" cy="2372574"/>
                </a:xfrm>
                <a:custGeom>
                  <a:avLst/>
                  <a:gdLst/>
                  <a:ahLst/>
                  <a:cxnLst/>
                  <a:rect l="l" t="t" r="r" b="b"/>
                  <a:pathLst>
                    <a:path w="3265981" h="3654426">
                      <a:moveTo>
                        <a:pt x="2686301" y="3311991"/>
                      </a:moveTo>
                      <a:cubicBezTo>
                        <a:pt x="2647724" y="3311991"/>
                        <a:pt x="2616451" y="3343264"/>
                        <a:pt x="2616451" y="3381841"/>
                      </a:cubicBezTo>
                      <a:cubicBezTo>
                        <a:pt x="2616451" y="3420417"/>
                        <a:pt x="2647724" y="3451690"/>
                        <a:pt x="2686301" y="3451690"/>
                      </a:cubicBezTo>
                      <a:lnTo>
                        <a:pt x="2698749" y="3451691"/>
                      </a:lnTo>
                      <a:cubicBezTo>
                        <a:pt x="2737326" y="3451691"/>
                        <a:pt x="2768599" y="3420418"/>
                        <a:pt x="2768599" y="3381841"/>
                      </a:cubicBezTo>
                      <a:lnTo>
                        <a:pt x="2768600" y="3381841"/>
                      </a:lnTo>
                      <a:cubicBezTo>
                        <a:pt x="2768600" y="3343264"/>
                        <a:pt x="2737327" y="3311991"/>
                        <a:pt x="2698750" y="3311991"/>
                      </a:cubicBezTo>
                      <a:close/>
                      <a:moveTo>
                        <a:pt x="2477370" y="3311991"/>
                      </a:moveTo>
                      <a:cubicBezTo>
                        <a:pt x="2438793" y="3311991"/>
                        <a:pt x="2407520" y="3343264"/>
                        <a:pt x="2407520" y="3381841"/>
                      </a:cubicBezTo>
                      <a:cubicBezTo>
                        <a:pt x="2407520" y="3420417"/>
                        <a:pt x="2438793" y="3451690"/>
                        <a:pt x="2477370" y="3451690"/>
                      </a:cubicBezTo>
                      <a:lnTo>
                        <a:pt x="2490960" y="3451691"/>
                      </a:lnTo>
                      <a:cubicBezTo>
                        <a:pt x="2529537" y="3451691"/>
                        <a:pt x="2560810" y="3420418"/>
                        <a:pt x="2560810" y="3381841"/>
                      </a:cubicBezTo>
                      <a:lnTo>
                        <a:pt x="2560811" y="3381841"/>
                      </a:lnTo>
                      <a:cubicBezTo>
                        <a:pt x="2560811" y="3343264"/>
                        <a:pt x="2529538" y="3311991"/>
                        <a:pt x="2490961" y="3311991"/>
                      </a:cubicBezTo>
                      <a:close/>
                      <a:moveTo>
                        <a:pt x="1951037" y="3311991"/>
                      </a:moveTo>
                      <a:cubicBezTo>
                        <a:pt x="1912460" y="3311991"/>
                        <a:pt x="1881187" y="3343264"/>
                        <a:pt x="1881187" y="3381841"/>
                      </a:cubicBezTo>
                      <a:cubicBezTo>
                        <a:pt x="1881187" y="3420417"/>
                        <a:pt x="1912460" y="3451690"/>
                        <a:pt x="1951037" y="3451690"/>
                      </a:cubicBezTo>
                      <a:lnTo>
                        <a:pt x="2282030" y="3451691"/>
                      </a:lnTo>
                      <a:cubicBezTo>
                        <a:pt x="2320607" y="3451691"/>
                        <a:pt x="2351880" y="3420418"/>
                        <a:pt x="2351880" y="3381841"/>
                      </a:cubicBezTo>
                      <a:lnTo>
                        <a:pt x="2351881" y="3381841"/>
                      </a:lnTo>
                      <a:cubicBezTo>
                        <a:pt x="2351881" y="3343264"/>
                        <a:pt x="2320608" y="3311991"/>
                        <a:pt x="2282031" y="3311991"/>
                      </a:cubicBezTo>
                      <a:close/>
                      <a:moveTo>
                        <a:pt x="299489" y="299430"/>
                      </a:moveTo>
                      <a:lnTo>
                        <a:pt x="299489" y="3141056"/>
                      </a:lnTo>
                      <a:lnTo>
                        <a:pt x="2966489" y="3141056"/>
                      </a:lnTo>
                      <a:lnTo>
                        <a:pt x="2966489" y="299430"/>
                      </a:lnTo>
                      <a:close/>
                      <a:moveTo>
                        <a:pt x="134787" y="0"/>
                      </a:moveTo>
                      <a:lnTo>
                        <a:pt x="3131194" y="0"/>
                      </a:lnTo>
                      <a:cubicBezTo>
                        <a:pt x="3205635" y="0"/>
                        <a:pt x="3265981" y="60346"/>
                        <a:pt x="3265981" y="134787"/>
                      </a:cubicBezTo>
                      <a:lnTo>
                        <a:pt x="3265981" y="3519639"/>
                      </a:lnTo>
                      <a:cubicBezTo>
                        <a:pt x="3265981" y="3594080"/>
                        <a:pt x="3205635" y="3654426"/>
                        <a:pt x="3131194" y="3654426"/>
                      </a:cubicBezTo>
                      <a:lnTo>
                        <a:pt x="134787" y="3654426"/>
                      </a:lnTo>
                      <a:cubicBezTo>
                        <a:pt x="60346" y="3654426"/>
                        <a:pt x="0" y="3594080"/>
                        <a:pt x="0" y="3519639"/>
                      </a:cubicBezTo>
                      <a:lnTo>
                        <a:pt x="0" y="134787"/>
                      </a:lnTo>
                      <a:cubicBezTo>
                        <a:pt x="0" y="60346"/>
                        <a:pt x="60346" y="0"/>
                        <a:pt x="134787" y="0"/>
                      </a:cubicBezTo>
                      <a:close/>
                    </a:path>
                  </a:pathLst>
                </a:custGeom>
                <a:solidFill>
                  <a:srgbClr val="A5A5A5">
                    <a:lumMod val="50000"/>
                  </a:srgbClr>
                </a:solidFill>
                <a:ln w="6350" cap="flat" cmpd="sng" algn="ctr">
                  <a:solidFill>
                    <a:sysClr val="window" lastClr="FFFFFF"/>
                  </a:solidFill>
                  <a:prstDash val="solid"/>
                  <a:miter lim="800000"/>
                  <a:headEnd type="none" w="med" len="med"/>
                  <a:tailEnd type="none" w="med" len="med"/>
                </a:ln>
                <a:effectLst/>
              </p:spPr>
              <p:txBody>
                <a:bodyPr rot="0" spcFirstLastPara="0" vertOverflow="overflow" horzOverflow="overflow" vert="horz" wrap="square" lIns="89642" tIns="44821" rIns="44821" bIns="89642" numCol="1" spcCol="0" rtlCol="0" fromWordArt="0" anchor="b" anchorCtr="0" forceAA="0" compatLnSpc="1">
                  <a:prstTxWarp prst="textNoShape">
                    <a:avLst/>
                  </a:prstTxWarp>
                  <a:noAutofit/>
                </a:bodyPr>
                <a:lstStyle/>
                <a:p>
                  <a:pPr marL="0" marR="0" lvl="0" indent="0" algn="ctr" defTabSz="896091" eaLnBrk="1" fontAlgn="base" latinLnBrk="0" hangingPunct="1">
                    <a:lnSpc>
                      <a:spcPct val="100000"/>
                    </a:lnSpc>
                    <a:spcBef>
                      <a:spcPct val="0"/>
                    </a:spcBef>
                    <a:spcAft>
                      <a:spcPct val="0"/>
                    </a:spcAft>
                    <a:buClrTx/>
                    <a:buSzTx/>
                    <a:buFontTx/>
                    <a:buNone/>
                    <a:tabLst/>
                    <a:defRPr/>
                  </a:pPr>
                  <a:endParaRPr kumimoji="0" lang="en-US" sz="800" b="0" i="0" u="none" strike="noStrike" kern="0" cap="none" spc="-49" normalizeH="0" baseline="0" noProof="0" err="1">
                    <a:ln>
                      <a:noFill/>
                    </a:ln>
                    <a:solidFill>
                      <a:srgbClr val="68217A"/>
                    </a:solidFill>
                    <a:effectLst/>
                    <a:uLnTx/>
                    <a:uFillTx/>
                    <a:latin typeface="Calibri" panose="020F0502020204030204"/>
                    <a:ea typeface="Segoe UI" pitchFamily="34" charset="0"/>
                    <a:cs typeface="Segoe UI" pitchFamily="34" charset="0"/>
                  </a:endParaRPr>
                </a:p>
              </p:txBody>
            </p:sp>
            <p:sp>
              <p:nvSpPr>
                <p:cNvPr id="198" name="Rectangle 197"/>
                <p:cNvSpPr/>
                <p:nvPr/>
              </p:nvSpPr>
              <p:spPr bwMode="auto">
                <a:xfrm>
                  <a:off x="3172854" y="1909278"/>
                  <a:ext cx="307998" cy="808750"/>
                </a:xfrm>
                <a:prstGeom prst="rect">
                  <a:avLst/>
                </a:prstGeom>
                <a:solidFill>
                  <a:srgbClr val="A5A5A5">
                    <a:lumMod val="50000"/>
                  </a:srgbClr>
                </a:solidFill>
                <a:ln w="6350" cap="flat" cmpd="sng" algn="ctr">
                  <a:noFill/>
                  <a:prstDash val="solid"/>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pic>
              <p:nvPicPr>
                <p:cNvPr id="199" name="Picture 198"/>
                <p:cNvPicPr>
                  <a:picLocks noChangeAspect="1"/>
                </p:cNvPicPr>
                <p:nvPr/>
              </p:nvPicPr>
              <p:blipFill>
                <a:blip r:embed="rId5" cstate="print">
                  <a:biLevel thresh="25000"/>
                  <a:extLst>
                    <a:ext uri="{28A0092B-C50C-407E-A947-70E740481C1C}">
                      <a14:useLocalDpi xmlns:a14="http://schemas.microsoft.com/office/drawing/2010/main" val="0"/>
                    </a:ext>
                  </a:extLst>
                </a:blip>
                <a:stretch>
                  <a:fillRect/>
                </a:stretch>
              </p:blipFill>
              <p:spPr>
                <a:xfrm>
                  <a:off x="3229523" y="2500731"/>
                  <a:ext cx="195334" cy="108208"/>
                </a:xfrm>
                <a:prstGeom prst="rect">
                  <a:avLst/>
                </a:prstGeom>
              </p:spPr>
            </p:pic>
          </p:grpSp>
        </p:grpSp>
        <p:pic>
          <p:nvPicPr>
            <p:cNvPr id="189" name="Picture 188"/>
            <p:cNvPicPr>
              <a:picLocks noChangeAspect="1"/>
            </p:cNvPicPr>
            <p:nvPr/>
          </p:nvPicPr>
          <p:blipFill>
            <a:blip r:embed="rId6"/>
            <a:stretch>
              <a:fillRect/>
            </a:stretch>
          </p:blipFill>
          <p:spPr>
            <a:xfrm>
              <a:off x="1573234" y="1197427"/>
              <a:ext cx="6064253" cy="3898448"/>
            </a:xfrm>
            <a:prstGeom prst="rect">
              <a:avLst/>
            </a:prstGeom>
          </p:spPr>
        </p:pic>
        <p:pic>
          <p:nvPicPr>
            <p:cNvPr id="190" name="Picture 189"/>
            <p:cNvPicPr>
              <a:picLocks noChangeAspect="1"/>
            </p:cNvPicPr>
            <p:nvPr/>
          </p:nvPicPr>
          <p:blipFill>
            <a:blip r:embed="rId7"/>
            <a:stretch>
              <a:fillRect/>
            </a:stretch>
          </p:blipFill>
          <p:spPr>
            <a:xfrm>
              <a:off x="8143778" y="0"/>
              <a:ext cx="1097280" cy="1957805"/>
            </a:xfrm>
            <a:prstGeom prst="rect">
              <a:avLst/>
            </a:prstGeom>
          </p:spPr>
        </p:pic>
        <p:pic>
          <p:nvPicPr>
            <p:cNvPr id="191" name="Picture 190"/>
            <p:cNvPicPr>
              <a:picLocks noChangeAspect="1"/>
            </p:cNvPicPr>
            <p:nvPr/>
          </p:nvPicPr>
          <p:blipFill rotWithShape="1">
            <a:blip r:embed="rId8"/>
            <a:srcRect b="6643"/>
            <a:stretch/>
          </p:blipFill>
          <p:spPr>
            <a:xfrm>
              <a:off x="8272114" y="2784368"/>
              <a:ext cx="2834640" cy="2295525"/>
            </a:xfrm>
            <a:prstGeom prst="rect">
              <a:avLst/>
            </a:prstGeom>
          </p:spPr>
        </p:pic>
      </p:grpSp>
      <p:pic>
        <p:nvPicPr>
          <p:cNvPr id="107" name="Picture 106"/>
          <p:cNvPicPr>
            <a:picLocks noChangeAspect="1"/>
          </p:cNvPicPr>
          <p:nvPr/>
        </p:nvPicPr>
        <p:blipFill>
          <a:blip r:embed="rId9" cstate="print">
            <a:biLevel thresh="25000"/>
            <a:extLst>
              <a:ext uri="{28A0092B-C50C-407E-A947-70E740481C1C}">
                <a14:useLocalDpi xmlns:a14="http://schemas.microsoft.com/office/drawing/2010/main" val="0"/>
              </a:ext>
            </a:extLst>
          </a:blip>
          <a:stretch>
            <a:fillRect/>
          </a:stretch>
        </p:blipFill>
        <p:spPr>
          <a:xfrm>
            <a:off x="682782" y="3805556"/>
            <a:ext cx="236260" cy="236260"/>
          </a:xfrm>
          <a:prstGeom prst="rect">
            <a:avLst/>
          </a:prstGeom>
        </p:spPr>
      </p:pic>
    </p:spTree>
    <p:extLst>
      <p:ext uri="{BB962C8B-B14F-4D97-AF65-F5344CB8AC3E}">
        <p14:creationId xmlns:p14="http://schemas.microsoft.com/office/powerpoint/2010/main" val="6310849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p:cNvGrpSpPr/>
          <p:nvPr/>
        </p:nvGrpSpPr>
        <p:grpSpPr>
          <a:xfrm>
            <a:off x="-11149" y="0"/>
            <a:ext cx="2849058" cy="6858000"/>
            <a:chOff x="2" y="1"/>
            <a:chExt cx="2849058" cy="6858000"/>
          </a:xfrm>
        </p:grpSpPr>
        <p:sp>
          <p:nvSpPr>
            <p:cNvPr id="70" name="Rectangle 69"/>
            <p:cNvSpPr/>
            <p:nvPr/>
          </p:nvSpPr>
          <p:spPr bwMode="auto">
            <a:xfrm>
              <a:off x="2" y="1"/>
              <a:ext cx="2849058"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5" name="Oval 70"/>
            <p:cNvSpPr/>
            <p:nvPr/>
          </p:nvSpPr>
          <p:spPr>
            <a:xfrm>
              <a:off x="1413521" y="4951537"/>
              <a:ext cx="1119626" cy="1119626"/>
            </a:xfrm>
            <a:prstGeom prst="ellipse">
              <a:avLst/>
            </a:prstGeom>
            <a:solidFill>
              <a:srgbClr val="F2C812"/>
            </a:solidFill>
            <a:ln w="3175" cap="flat" cmpd="sng" algn="ctr">
              <a:noFill/>
              <a:prstDash val="solid"/>
            </a:ln>
            <a:effectLst/>
          </p:spPr>
          <p:txBody>
            <a:bodyPr vert="horz" wrap="none" lIns="0" tIns="45720" rIns="0" bIns="0" rtlCol="0" anchor="t"/>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Segoe UI"/>
                  <a:ea typeface="Segoe UI" pitchFamily="34" charset="0"/>
                  <a:cs typeface="Segoe UI" pitchFamily="34" charset="0"/>
                </a:rPr>
                <a:t>Share &amp;</a:t>
              </a:r>
            </a:p>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Segoe UI"/>
                  <a:ea typeface="Segoe UI" pitchFamily="34" charset="0"/>
                  <a:cs typeface="Segoe UI" pitchFamily="34" charset="0"/>
                </a:rPr>
                <a:t>collaborate </a:t>
              </a:r>
            </a:p>
          </p:txBody>
        </p:sp>
        <p:grpSp>
          <p:nvGrpSpPr>
            <p:cNvPr id="66" name="Group 38"/>
            <p:cNvGrpSpPr>
              <a:grpSpLocks noChangeAspect="1"/>
            </p:cNvGrpSpPr>
            <p:nvPr/>
          </p:nvGrpSpPr>
          <p:grpSpPr>
            <a:xfrm>
              <a:off x="676996" y="3930692"/>
              <a:ext cx="383905" cy="351536"/>
              <a:chOff x="4363684" y="5330386"/>
              <a:chExt cx="1409956" cy="1291077"/>
            </a:xfrm>
            <a:solidFill>
              <a:srgbClr val="217346"/>
            </a:solidFill>
          </p:grpSpPr>
          <p:sp>
            <p:nvSpPr>
              <p:cNvPr id="67" name="Donut 3"/>
              <p:cNvSpPr/>
              <p:nvPr/>
            </p:nvSpPr>
            <p:spPr bwMode="auto">
              <a:xfrm>
                <a:off x="4363684" y="5330386"/>
                <a:ext cx="1409956" cy="1291077"/>
              </a:xfrm>
              <a:custGeom>
                <a:avLst/>
                <a:gdLst/>
                <a:ahLst/>
                <a:cxnLst/>
                <a:rect l="l" t="t" r="r" b="b"/>
                <a:pathLst>
                  <a:path w="1409956" h="1291077">
                    <a:moveTo>
                      <a:pt x="956401" y="78410"/>
                    </a:moveTo>
                    <a:cubicBezTo>
                      <a:pt x="747518" y="78410"/>
                      <a:pt x="578184" y="247744"/>
                      <a:pt x="578184" y="456627"/>
                    </a:cubicBezTo>
                    <a:cubicBezTo>
                      <a:pt x="578184" y="665510"/>
                      <a:pt x="747518" y="834844"/>
                      <a:pt x="956401" y="834844"/>
                    </a:cubicBezTo>
                    <a:cubicBezTo>
                      <a:pt x="1165284" y="834844"/>
                      <a:pt x="1334618" y="665510"/>
                      <a:pt x="1334618" y="456627"/>
                    </a:cubicBezTo>
                    <a:cubicBezTo>
                      <a:pt x="1334618" y="247744"/>
                      <a:pt x="1165284" y="78410"/>
                      <a:pt x="956401" y="78410"/>
                    </a:cubicBezTo>
                    <a:close/>
                    <a:moveTo>
                      <a:pt x="952756" y="0"/>
                    </a:moveTo>
                    <a:cubicBezTo>
                      <a:pt x="1205261" y="0"/>
                      <a:pt x="1409956" y="204695"/>
                      <a:pt x="1409956" y="457200"/>
                    </a:cubicBezTo>
                    <a:cubicBezTo>
                      <a:pt x="1409956" y="709705"/>
                      <a:pt x="1205261" y="914400"/>
                      <a:pt x="952756" y="914400"/>
                    </a:cubicBezTo>
                    <a:cubicBezTo>
                      <a:pt x="862133" y="914400"/>
                      <a:pt x="777669" y="888034"/>
                      <a:pt x="707132" y="841746"/>
                    </a:cubicBezTo>
                    <a:lnTo>
                      <a:pt x="136495" y="1280102"/>
                    </a:lnTo>
                    <a:cubicBezTo>
                      <a:pt x="21896" y="1327168"/>
                      <a:pt x="-44029" y="1213730"/>
                      <a:pt x="33797" y="1113182"/>
                    </a:cubicBezTo>
                    <a:lnTo>
                      <a:pt x="568587" y="703518"/>
                    </a:lnTo>
                    <a:cubicBezTo>
                      <a:pt x="522087" y="632814"/>
                      <a:pt x="495556" y="548105"/>
                      <a:pt x="495556" y="457200"/>
                    </a:cubicBezTo>
                    <a:cubicBezTo>
                      <a:pt x="495556" y="204695"/>
                      <a:pt x="700251" y="0"/>
                      <a:pt x="952756" y="0"/>
                    </a:cubicBezTo>
                    <a:close/>
                  </a:path>
                </a:pathLst>
              </a:custGeom>
              <a:grpFill/>
              <a:ln>
                <a:solidFill>
                  <a:srgbClr val="21734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sp>
            <p:nvSpPr>
              <p:cNvPr id="68" name="Rectangle 4"/>
              <p:cNvSpPr/>
              <p:nvPr/>
            </p:nvSpPr>
            <p:spPr>
              <a:xfrm>
                <a:off x="5058389" y="5528247"/>
                <a:ext cx="490885" cy="490020"/>
              </a:xfrm>
              <a:custGeom>
                <a:avLst/>
                <a:gdLst/>
                <a:ahLst/>
                <a:cxnLst/>
                <a:rect l="l" t="t" r="r" b="b"/>
                <a:pathLst>
                  <a:path w="490885" h="490020">
                    <a:moveTo>
                      <a:pt x="240752" y="0"/>
                    </a:moveTo>
                    <a:cubicBezTo>
                      <a:pt x="253961" y="11844"/>
                      <a:pt x="293310" y="49692"/>
                      <a:pt x="337332" y="92439"/>
                    </a:cubicBezTo>
                    <a:lnTo>
                      <a:pt x="328342" y="81259"/>
                    </a:lnTo>
                    <a:cubicBezTo>
                      <a:pt x="356946" y="111282"/>
                      <a:pt x="377251" y="107167"/>
                      <a:pt x="382515" y="87941"/>
                    </a:cubicBezTo>
                    <a:cubicBezTo>
                      <a:pt x="383951" y="76921"/>
                      <a:pt x="384595" y="68732"/>
                      <a:pt x="396997" y="52239"/>
                    </a:cubicBezTo>
                    <a:cubicBezTo>
                      <a:pt x="420362" y="32084"/>
                      <a:pt x="442294" y="41736"/>
                      <a:pt x="454920" y="51330"/>
                    </a:cubicBezTo>
                    <a:cubicBezTo>
                      <a:pt x="467834" y="62761"/>
                      <a:pt x="477920" y="86882"/>
                      <a:pt x="460392" y="109714"/>
                    </a:cubicBezTo>
                    <a:cubicBezTo>
                      <a:pt x="451128" y="121912"/>
                      <a:pt x="437554" y="126838"/>
                      <a:pt x="425922" y="126505"/>
                    </a:cubicBezTo>
                    <a:cubicBezTo>
                      <a:pt x="424301" y="127609"/>
                      <a:pt x="382890" y="134974"/>
                      <a:pt x="427348" y="177672"/>
                    </a:cubicBezTo>
                    <a:lnTo>
                      <a:pt x="416886" y="169735"/>
                    </a:lnTo>
                    <a:cubicBezTo>
                      <a:pt x="450207" y="202177"/>
                      <a:pt x="478424" y="229744"/>
                      <a:pt x="490885" y="241900"/>
                    </a:cubicBezTo>
                    <a:lnTo>
                      <a:pt x="417150" y="317347"/>
                    </a:lnTo>
                    <a:cubicBezTo>
                      <a:pt x="417744" y="316535"/>
                      <a:pt x="418443" y="316123"/>
                      <a:pt x="419047" y="315822"/>
                    </a:cubicBezTo>
                    <a:cubicBezTo>
                      <a:pt x="389023" y="344426"/>
                      <a:pt x="393138" y="364731"/>
                      <a:pt x="412364" y="369995"/>
                    </a:cubicBezTo>
                    <a:cubicBezTo>
                      <a:pt x="423384" y="371431"/>
                      <a:pt x="431574" y="372075"/>
                      <a:pt x="448067" y="384477"/>
                    </a:cubicBezTo>
                    <a:cubicBezTo>
                      <a:pt x="468221" y="407842"/>
                      <a:pt x="458569" y="429774"/>
                      <a:pt x="448975" y="442400"/>
                    </a:cubicBezTo>
                    <a:cubicBezTo>
                      <a:pt x="437545" y="455314"/>
                      <a:pt x="413423" y="465400"/>
                      <a:pt x="390591" y="447872"/>
                    </a:cubicBezTo>
                    <a:cubicBezTo>
                      <a:pt x="378394" y="438608"/>
                      <a:pt x="373468" y="425034"/>
                      <a:pt x="373800" y="413402"/>
                    </a:cubicBezTo>
                    <a:cubicBezTo>
                      <a:pt x="372696" y="411781"/>
                      <a:pt x="365332" y="370370"/>
                      <a:pt x="322634" y="414828"/>
                    </a:cubicBezTo>
                    <a:lnTo>
                      <a:pt x="325243" y="411388"/>
                    </a:lnTo>
                    <a:lnTo>
                      <a:pt x="248395" y="490020"/>
                    </a:lnTo>
                    <a:cubicBezTo>
                      <a:pt x="208939" y="451897"/>
                      <a:pt x="199129" y="442073"/>
                      <a:pt x="174192" y="418236"/>
                    </a:cubicBezTo>
                    <a:cubicBezTo>
                      <a:pt x="145587" y="388212"/>
                      <a:pt x="125282" y="392327"/>
                      <a:pt x="120018" y="411553"/>
                    </a:cubicBezTo>
                    <a:cubicBezTo>
                      <a:pt x="118582" y="422573"/>
                      <a:pt x="117938" y="430763"/>
                      <a:pt x="105536" y="447256"/>
                    </a:cubicBezTo>
                    <a:cubicBezTo>
                      <a:pt x="82171" y="467410"/>
                      <a:pt x="60239" y="457758"/>
                      <a:pt x="47614" y="448164"/>
                    </a:cubicBezTo>
                    <a:cubicBezTo>
                      <a:pt x="34699" y="436734"/>
                      <a:pt x="24614" y="412612"/>
                      <a:pt x="42141" y="389780"/>
                    </a:cubicBezTo>
                    <a:cubicBezTo>
                      <a:pt x="51405" y="377583"/>
                      <a:pt x="64979" y="372657"/>
                      <a:pt x="76612" y="372989"/>
                    </a:cubicBezTo>
                    <a:cubicBezTo>
                      <a:pt x="78232" y="371886"/>
                      <a:pt x="119644" y="364521"/>
                      <a:pt x="75186" y="321823"/>
                    </a:cubicBezTo>
                    <a:cubicBezTo>
                      <a:pt x="58767" y="305402"/>
                      <a:pt x="23648" y="271235"/>
                      <a:pt x="0" y="248738"/>
                    </a:cubicBezTo>
                    <a:lnTo>
                      <a:pt x="77303" y="168146"/>
                    </a:lnTo>
                    <a:cubicBezTo>
                      <a:pt x="104269" y="140313"/>
                      <a:pt x="122130" y="156409"/>
                      <a:pt x="124388" y="175543"/>
                    </a:cubicBezTo>
                    <a:cubicBezTo>
                      <a:pt x="124457" y="182466"/>
                      <a:pt x="127106" y="193106"/>
                      <a:pt x="137575" y="203052"/>
                    </a:cubicBezTo>
                    <a:cubicBezTo>
                      <a:pt x="153931" y="220277"/>
                      <a:pt x="181252" y="217451"/>
                      <a:pt x="196721" y="201951"/>
                    </a:cubicBezTo>
                    <a:cubicBezTo>
                      <a:pt x="211961" y="185740"/>
                      <a:pt x="213057" y="157882"/>
                      <a:pt x="196146" y="142797"/>
                    </a:cubicBezTo>
                    <a:cubicBezTo>
                      <a:pt x="184301" y="132637"/>
                      <a:pt x="177155" y="131453"/>
                      <a:pt x="166513" y="129894"/>
                    </a:cubicBezTo>
                    <a:cubicBezTo>
                      <a:pt x="154522" y="129013"/>
                      <a:pt x="131185" y="112953"/>
                      <a:pt x="157905" y="85228"/>
                    </a:cubicBezTo>
                    <a:close/>
                  </a:path>
                </a:pathLst>
              </a:custGeom>
              <a:grpFill/>
              <a:ln>
                <a:solidFill>
                  <a:srgbClr val="21734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grpSp>
        <p:sp>
          <p:nvSpPr>
            <p:cNvPr id="69" name="Oval 47"/>
            <p:cNvSpPr/>
            <p:nvPr/>
          </p:nvSpPr>
          <p:spPr>
            <a:xfrm>
              <a:off x="388608" y="3710471"/>
              <a:ext cx="1119626" cy="1119626"/>
            </a:xfrm>
            <a:prstGeom prst="ellipse">
              <a:avLst/>
            </a:prstGeom>
            <a:solidFill>
              <a:srgbClr val="F2C812"/>
            </a:solidFill>
            <a:ln w="3175" cap="flat" cmpd="sng" algn="ctr">
              <a:noFill/>
              <a:prstDash val="solid"/>
            </a:ln>
            <a:effectLst/>
          </p:spPr>
          <p:txBody>
            <a:bodyPr vert="horz" wrap="none" lIns="0" tIns="45720" rIns="0" bIns="0" rtlCol="0" anchor="t"/>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Segoe UI"/>
                  <a:ea typeface="Segoe UI" pitchFamily="34" charset="0"/>
                  <a:cs typeface="Segoe UI" pitchFamily="34" charset="0"/>
                </a:rPr>
                <a:t>Report</a:t>
              </a:r>
            </a:p>
          </p:txBody>
        </p:sp>
        <p:sp>
          <p:nvSpPr>
            <p:cNvPr id="85" name="Oval 950"/>
            <p:cNvSpPr/>
            <p:nvPr/>
          </p:nvSpPr>
          <p:spPr>
            <a:xfrm>
              <a:off x="388608" y="1252295"/>
              <a:ext cx="1119626" cy="1119626"/>
            </a:xfrm>
            <a:prstGeom prst="ellipse">
              <a:avLst/>
            </a:prstGeom>
            <a:solidFill>
              <a:srgbClr val="F2C812"/>
            </a:solidFill>
            <a:ln w="3175" cap="flat" cmpd="sng" algn="ctr">
              <a:noFill/>
              <a:prstDash val="solid"/>
            </a:ln>
            <a:effectLst/>
          </p:spPr>
          <p:txBody>
            <a:bodyPr vert="horz" wrap="none" lIns="0" tIns="45720" rIns="0" bIns="0" rtlCol="0" anchor="t"/>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1" i="0" u="none" strike="noStrike" kern="1200" cap="none" spc="0" normalizeH="0" baseline="0" noProof="0">
                <a:ln>
                  <a:noFill/>
                </a:ln>
                <a:solidFill>
                  <a:srgbClr val="217346"/>
                </a:solidFill>
                <a:effectLst/>
                <a:uLnTx/>
                <a:uFillTx/>
                <a:latin typeface="Segoe UI"/>
                <a:ea typeface="Segoe UI" pitchFamily="34" charset="0"/>
                <a:cs typeface="Segoe UI" pitchFamily="34" charset="0"/>
              </a:endParaRPr>
            </a:p>
          </p:txBody>
        </p:sp>
        <p:grpSp>
          <p:nvGrpSpPr>
            <p:cNvPr id="86" name="Group 85"/>
            <p:cNvGrpSpPr/>
            <p:nvPr/>
          </p:nvGrpSpPr>
          <p:grpSpPr>
            <a:xfrm>
              <a:off x="1264851" y="3482890"/>
              <a:ext cx="292254" cy="354906"/>
              <a:chOff x="1296521" y="3253388"/>
              <a:chExt cx="292254" cy="354906"/>
            </a:xfrm>
            <a:solidFill>
              <a:srgbClr val="F2C812"/>
            </a:solidFill>
          </p:grpSpPr>
          <p:sp>
            <p:nvSpPr>
              <p:cNvPr id="87" name="Isosceles Triangle 86"/>
              <p:cNvSpPr/>
              <p:nvPr/>
            </p:nvSpPr>
            <p:spPr bwMode="auto">
              <a:xfrm rot="13636515">
                <a:off x="1461362" y="328936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8" name="Isosceles Triangle 87"/>
              <p:cNvSpPr/>
              <p:nvPr/>
            </p:nvSpPr>
            <p:spPr bwMode="auto">
              <a:xfrm rot="13636515">
                <a:off x="1357669" y="338258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9" name="Isosceles Triangle 88"/>
              <p:cNvSpPr/>
              <p:nvPr/>
            </p:nvSpPr>
            <p:spPr bwMode="auto">
              <a:xfrm rot="13636515">
                <a:off x="1260548" y="3480882"/>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90" name="Group 89"/>
            <p:cNvGrpSpPr/>
            <p:nvPr/>
          </p:nvGrpSpPr>
          <p:grpSpPr>
            <a:xfrm rot="15940603">
              <a:off x="1334576" y="2204404"/>
              <a:ext cx="292254" cy="354906"/>
              <a:chOff x="1296521" y="3253388"/>
              <a:chExt cx="292254" cy="354906"/>
            </a:xfrm>
            <a:solidFill>
              <a:srgbClr val="F2C812"/>
            </a:solidFill>
          </p:grpSpPr>
          <p:sp>
            <p:nvSpPr>
              <p:cNvPr id="91" name="Isosceles Triangle 90"/>
              <p:cNvSpPr/>
              <p:nvPr/>
            </p:nvSpPr>
            <p:spPr bwMode="auto">
              <a:xfrm rot="13636515">
                <a:off x="1461362" y="328936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2" name="Isosceles Triangle 91"/>
              <p:cNvSpPr/>
              <p:nvPr/>
            </p:nvSpPr>
            <p:spPr bwMode="auto">
              <a:xfrm rot="13636515">
                <a:off x="1357669" y="338258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3" name="Isosceles Triangle 92"/>
              <p:cNvSpPr/>
              <p:nvPr/>
            </p:nvSpPr>
            <p:spPr bwMode="auto">
              <a:xfrm rot="13636515">
                <a:off x="1260548" y="3480882"/>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94" name="Group 93"/>
            <p:cNvGrpSpPr/>
            <p:nvPr/>
          </p:nvGrpSpPr>
          <p:grpSpPr>
            <a:xfrm rot="16043978">
              <a:off x="1317220" y="4717577"/>
              <a:ext cx="292254" cy="354906"/>
              <a:chOff x="1296521" y="3253388"/>
              <a:chExt cx="292254" cy="354906"/>
            </a:xfrm>
            <a:solidFill>
              <a:srgbClr val="F2C812"/>
            </a:solidFill>
          </p:grpSpPr>
          <p:sp>
            <p:nvSpPr>
              <p:cNvPr id="95" name="Isosceles Triangle 94"/>
              <p:cNvSpPr/>
              <p:nvPr/>
            </p:nvSpPr>
            <p:spPr bwMode="auto">
              <a:xfrm rot="13636515">
                <a:off x="1461362" y="328936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6" name="Isosceles Triangle 95"/>
              <p:cNvSpPr/>
              <p:nvPr/>
            </p:nvSpPr>
            <p:spPr bwMode="auto">
              <a:xfrm rot="13636515">
                <a:off x="1357669" y="338258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7" name="Isosceles Triangle 96"/>
              <p:cNvSpPr/>
              <p:nvPr/>
            </p:nvSpPr>
            <p:spPr bwMode="auto">
              <a:xfrm rot="13636515">
                <a:off x="1260548" y="3480882"/>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98" name="Oval 36"/>
            <p:cNvSpPr/>
            <p:nvPr/>
          </p:nvSpPr>
          <p:spPr>
            <a:xfrm>
              <a:off x="1413521" y="2481383"/>
              <a:ext cx="1119626" cy="1119626"/>
            </a:xfrm>
            <a:prstGeom prst="ellipse">
              <a:avLst/>
            </a:prstGeom>
            <a:solidFill>
              <a:srgbClr val="F2C812"/>
            </a:solidFill>
            <a:ln w="3175" cap="flat" cmpd="sng" algn="ctr">
              <a:noFill/>
              <a:prstDash val="solid"/>
            </a:ln>
            <a:effectLst/>
          </p:spPr>
          <p:txBody>
            <a:bodyPr vert="horz" wrap="none" lIns="0" tIns="0" rIns="0" bIns="0" rtlCol="0" anchor="t"/>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400" b="1" i="0" u="none" strike="noStrike" kern="1200" cap="none" spc="0" normalizeH="0" baseline="0" noProof="0">
                <a:ln>
                  <a:noFill/>
                </a:ln>
                <a:solidFill>
                  <a:srgbClr val="217346"/>
                </a:solidFill>
                <a:effectLst/>
                <a:uLnTx/>
                <a:uFillTx/>
                <a:latin typeface="Segoe UI"/>
                <a:ea typeface="Segoe UI" pitchFamily="34" charset="0"/>
                <a:cs typeface="Segoe UI" pitchFamily="34" charset="0"/>
              </a:endParaRPr>
            </a:p>
          </p:txBody>
        </p:sp>
        <p:sp>
          <p:nvSpPr>
            <p:cNvPr id="99" name="Donut 3"/>
            <p:cNvSpPr/>
            <p:nvPr/>
          </p:nvSpPr>
          <p:spPr bwMode="auto">
            <a:xfrm>
              <a:off x="1742065" y="3002355"/>
              <a:ext cx="383905" cy="351537"/>
            </a:xfrm>
            <a:custGeom>
              <a:avLst/>
              <a:gdLst/>
              <a:ahLst/>
              <a:cxnLst/>
              <a:rect l="l" t="t" r="r" b="b"/>
              <a:pathLst>
                <a:path w="1409956" h="1291077">
                  <a:moveTo>
                    <a:pt x="956401" y="78410"/>
                  </a:moveTo>
                  <a:cubicBezTo>
                    <a:pt x="747518" y="78410"/>
                    <a:pt x="578184" y="247744"/>
                    <a:pt x="578184" y="456627"/>
                  </a:cubicBezTo>
                  <a:cubicBezTo>
                    <a:pt x="578184" y="665510"/>
                    <a:pt x="747518" y="834844"/>
                    <a:pt x="956401" y="834844"/>
                  </a:cubicBezTo>
                  <a:cubicBezTo>
                    <a:pt x="1165284" y="834844"/>
                    <a:pt x="1334618" y="665510"/>
                    <a:pt x="1334618" y="456627"/>
                  </a:cubicBezTo>
                  <a:cubicBezTo>
                    <a:pt x="1334618" y="247744"/>
                    <a:pt x="1165284" y="78410"/>
                    <a:pt x="956401" y="78410"/>
                  </a:cubicBezTo>
                  <a:close/>
                  <a:moveTo>
                    <a:pt x="952756" y="0"/>
                  </a:moveTo>
                  <a:cubicBezTo>
                    <a:pt x="1205261" y="0"/>
                    <a:pt x="1409956" y="204695"/>
                    <a:pt x="1409956" y="457200"/>
                  </a:cubicBezTo>
                  <a:cubicBezTo>
                    <a:pt x="1409956" y="709705"/>
                    <a:pt x="1205261" y="914400"/>
                    <a:pt x="952756" y="914400"/>
                  </a:cubicBezTo>
                  <a:cubicBezTo>
                    <a:pt x="862133" y="914400"/>
                    <a:pt x="777669" y="888034"/>
                    <a:pt x="707132" y="841746"/>
                  </a:cubicBezTo>
                  <a:lnTo>
                    <a:pt x="136495" y="1280102"/>
                  </a:lnTo>
                  <a:cubicBezTo>
                    <a:pt x="21896" y="1327168"/>
                    <a:pt x="-44029" y="1213730"/>
                    <a:pt x="33797" y="1113182"/>
                  </a:cubicBezTo>
                  <a:lnTo>
                    <a:pt x="568587" y="703518"/>
                  </a:lnTo>
                  <a:cubicBezTo>
                    <a:pt x="522087" y="632814"/>
                    <a:pt x="495556" y="548105"/>
                    <a:pt x="495556" y="457200"/>
                  </a:cubicBezTo>
                  <a:cubicBezTo>
                    <a:pt x="495556" y="204695"/>
                    <a:pt x="700251" y="0"/>
                    <a:pt x="952756" y="0"/>
                  </a:cubicBezTo>
                  <a:close/>
                </a:path>
              </a:pathLst>
            </a:cu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ysClr val="windowText" lastClr="000000"/>
                </a:solidFill>
                <a:effectLst/>
                <a:uLnTx/>
                <a:uFillTx/>
                <a:latin typeface="Segoe UI"/>
                <a:ea typeface="+mn-ea"/>
                <a:cs typeface="+mn-cs"/>
              </a:endParaRPr>
            </a:p>
          </p:txBody>
        </p:sp>
        <p:sp>
          <p:nvSpPr>
            <p:cNvPr id="100" name="Rectangle 99"/>
            <p:cNvSpPr/>
            <p:nvPr/>
          </p:nvSpPr>
          <p:spPr>
            <a:xfrm>
              <a:off x="1600398" y="2677430"/>
              <a:ext cx="820353" cy="307777"/>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Segoe UI"/>
                  <a:ea typeface="Segoe UI" pitchFamily="34" charset="0"/>
                  <a:cs typeface="Segoe UI" pitchFamily="34" charset="0"/>
                </a:rPr>
                <a:t>Explore</a:t>
              </a:r>
              <a:endParaRPr kumimoji="0" lang="en-US" sz="1600" b="0" i="0" u="none" strike="noStrike" kern="1200" cap="none" spc="0" normalizeH="0" baseline="0" noProof="0">
                <a:ln>
                  <a:noFill/>
                </a:ln>
                <a:solidFill>
                  <a:prstClr val="black"/>
                </a:solidFill>
                <a:effectLst/>
                <a:uLnTx/>
                <a:uFillTx/>
                <a:latin typeface="Segoe UI"/>
                <a:ea typeface="+mn-ea"/>
                <a:cs typeface="+mn-cs"/>
              </a:endParaRPr>
            </a:p>
          </p:txBody>
        </p:sp>
        <p:sp>
          <p:nvSpPr>
            <p:cNvPr id="101" name="Rectangle 100"/>
            <p:cNvSpPr/>
            <p:nvPr/>
          </p:nvSpPr>
          <p:spPr>
            <a:xfrm>
              <a:off x="509174" y="1475232"/>
              <a:ext cx="838756" cy="307777"/>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Segoe UI"/>
                  <a:ea typeface="Segoe UI" pitchFamily="34" charset="0"/>
                  <a:cs typeface="Segoe UI" pitchFamily="34" charset="0"/>
                </a:rPr>
                <a:t>Prepare</a:t>
              </a:r>
              <a:endParaRPr kumimoji="0" lang="en-US" sz="1400" b="0" i="0" u="none" strike="noStrike" kern="1200" cap="none" spc="0" normalizeH="0" baseline="0" noProof="0">
                <a:ln>
                  <a:noFill/>
                </a:ln>
                <a:solidFill>
                  <a:prstClr val="black"/>
                </a:solidFill>
                <a:effectLst/>
                <a:uLnTx/>
                <a:uFillTx/>
                <a:latin typeface="Segoe UI"/>
                <a:ea typeface="+mn-ea"/>
                <a:cs typeface="+mn-cs"/>
              </a:endParaRPr>
            </a:p>
          </p:txBody>
        </p:sp>
        <p:sp>
          <p:nvSpPr>
            <p:cNvPr id="102" name="Freeform 101"/>
            <p:cNvSpPr>
              <a:spLocks noChangeAspect="1"/>
            </p:cNvSpPr>
            <p:nvPr/>
          </p:nvSpPr>
          <p:spPr bwMode="black">
            <a:xfrm>
              <a:off x="1836174" y="5643069"/>
              <a:ext cx="274320" cy="284173"/>
            </a:xfrm>
            <a:custGeom>
              <a:avLst/>
              <a:gdLst>
                <a:gd name="T0" fmla="*/ 539 w 669"/>
                <a:gd name="T1" fmla="*/ 5 h 693"/>
                <a:gd name="T2" fmla="*/ 640 w 669"/>
                <a:gd name="T3" fmla="*/ 55 h 693"/>
                <a:gd name="T4" fmla="*/ 603 w 669"/>
                <a:gd name="T5" fmla="*/ 195 h 693"/>
                <a:gd name="T6" fmla="*/ 490 w 669"/>
                <a:gd name="T7" fmla="*/ 188 h 693"/>
                <a:gd name="T8" fmla="*/ 479 w 669"/>
                <a:gd name="T9" fmla="*/ 176 h 693"/>
                <a:gd name="T10" fmla="*/ 213 w 669"/>
                <a:gd name="T11" fmla="*/ 330 h 693"/>
                <a:gd name="T12" fmla="*/ 218 w 669"/>
                <a:gd name="T13" fmla="*/ 345 h 693"/>
                <a:gd name="T14" fmla="*/ 218 w 669"/>
                <a:gd name="T15" fmla="*/ 375 h 693"/>
                <a:gd name="T16" fmla="*/ 209 w 669"/>
                <a:gd name="T17" fmla="*/ 402 h 693"/>
                <a:gd name="T18" fmla="*/ 369 w 669"/>
                <a:gd name="T19" fmla="*/ 503 h 693"/>
                <a:gd name="T20" fmla="*/ 373 w 669"/>
                <a:gd name="T21" fmla="*/ 498 h 693"/>
                <a:gd name="T22" fmla="*/ 456 w 669"/>
                <a:gd name="T23" fmla="*/ 475 h 693"/>
                <a:gd name="T24" fmla="*/ 494 w 669"/>
                <a:gd name="T25" fmla="*/ 489 h 693"/>
                <a:gd name="T26" fmla="*/ 527 w 669"/>
                <a:gd name="T27" fmla="*/ 630 h 693"/>
                <a:gd name="T28" fmla="*/ 386 w 669"/>
                <a:gd name="T29" fmla="*/ 663 h 693"/>
                <a:gd name="T30" fmla="*/ 339 w 669"/>
                <a:gd name="T31" fmla="*/ 560 h 693"/>
                <a:gd name="T32" fmla="*/ 345 w 669"/>
                <a:gd name="T33" fmla="*/ 544 h 693"/>
                <a:gd name="T34" fmla="*/ 177 w 669"/>
                <a:gd name="T35" fmla="*/ 439 h 693"/>
                <a:gd name="T36" fmla="*/ 168 w 669"/>
                <a:gd name="T37" fmla="*/ 446 h 693"/>
                <a:gd name="T38" fmla="*/ 28 w 669"/>
                <a:gd name="T39" fmla="*/ 409 h 693"/>
                <a:gd name="T40" fmla="*/ 65 w 669"/>
                <a:gd name="T41" fmla="*/ 269 h 693"/>
                <a:gd name="T42" fmla="*/ 178 w 669"/>
                <a:gd name="T43" fmla="*/ 276 h 693"/>
                <a:gd name="T44" fmla="*/ 189 w 669"/>
                <a:gd name="T45" fmla="*/ 288 h 693"/>
                <a:gd name="T46" fmla="*/ 455 w 669"/>
                <a:gd name="T47" fmla="*/ 134 h 693"/>
                <a:gd name="T48" fmla="*/ 450 w 669"/>
                <a:gd name="T49" fmla="*/ 119 h 693"/>
                <a:gd name="T50" fmla="*/ 501 w 669"/>
                <a:gd name="T51" fmla="*/ 18 h 693"/>
                <a:gd name="T52" fmla="*/ 539 w 669"/>
                <a:gd name="T53" fmla="*/ 5 h 6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69" h="693">
                  <a:moveTo>
                    <a:pt x="539" y="5"/>
                  </a:moveTo>
                  <a:cubicBezTo>
                    <a:pt x="579" y="0"/>
                    <a:pt x="619" y="19"/>
                    <a:pt x="640" y="55"/>
                  </a:cubicBezTo>
                  <a:cubicBezTo>
                    <a:pt x="669" y="104"/>
                    <a:pt x="652" y="167"/>
                    <a:pt x="603" y="195"/>
                  </a:cubicBezTo>
                  <a:cubicBezTo>
                    <a:pt x="566" y="216"/>
                    <a:pt x="522" y="212"/>
                    <a:pt x="490" y="188"/>
                  </a:cubicBezTo>
                  <a:cubicBezTo>
                    <a:pt x="479" y="176"/>
                    <a:pt x="479" y="176"/>
                    <a:pt x="479" y="176"/>
                  </a:cubicBezTo>
                  <a:cubicBezTo>
                    <a:pt x="213" y="330"/>
                    <a:pt x="213" y="330"/>
                    <a:pt x="213" y="330"/>
                  </a:cubicBezTo>
                  <a:cubicBezTo>
                    <a:pt x="218" y="345"/>
                    <a:pt x="218" y="345"/>
                    <a:pt x="218" y="345"/>
                  </a:cubicBezTo>
                  <a:cubicBezTo>
                    <a:pt x="219" y="355"/>
                    <a:pt x="219" y="365"/>
                    <a:pt x="218" y="375"/>
                  </a:cubicBezTo>
                  <a:cubicBezTo>
                    <a:pt x="209" y="402"/>
                    <a:pt x="209" y="402"/>
                    <a:pt x="209" y="402"/>
                  </a:cubicBezTo>
                  <a:cubicBezTo>
                    <a:pt x="369" y="503"/>
                    <a:pt x="369" y="503"/>
                    <a:pt x="369" y="503"/>
                  </a:cubicBezTo>
                  <a:cubicBezTo>
                    <a:pt x="373" y="498"/>
                    <a:pt x="373" y="498"/>
                    <a:pt x="373" y="498"/>
                  </a:cubicBezTo>
                  <a:cubicBezTo>
                    <a:pt x="396" y="479"/>
                    <a:pt x="427" y="470"/>
                    <a:pt x="456" y="475"/>
                  </a:cubicBezTo>
                  <a:cubicBezTo>
                    <a:pt x="470" y="477"/>
                    <a:pt x="482" y="482"/>
                    <a:pt x="494" y="489"/>
                  </a:cubicBezTo>
                  <a:cubicBezTo>
                    <a:pt x="542" y="519"/>
                    <a:pt x="557" y="583"/>
                    <a:pt x="527" y="630"/>
                  </a:cubicBezTo>
                  <a:cubicBezTo>
                    <a:pt x="497" y="678"/>
                    <a:pt x="433" y="693"/>
                    <a:pt x="386" y="663"/>
                  </a:cubicBezTo>
                  <a:cubicBezTo>
                    <a:pt x="350" y="640"/>
                    <a:pt x="333" y="599"/>
                    <a:pt x="339" y="560"/>
                  </a:cubicBezTo>
                  <a:cubicBezTo>
                    <a:pt x="345" y="544"/>
                    <a:pt x="345" y="544"/>
                    <a:pt x="345" y="544"/>
                  </a:cubicBezTo>
                  <a:cubicBezTo>
                    <a:pt x="177" y="439"/>
                    <a:pt x="177" y="439"/>
                    <a:pt x="177" y="439"/>
                  </a:cubicBezTo>
                  <a:cubicBezTo>
                    <a:pt x="168" y="446"/>
                    <a:pt x="168" y="446"/>
                    <a:pt x="168" y="446"/>
                  </a:cubicBezTo>
                  <a:cubicBezTo>
                    <a:pt x="119" y="475"/>
                    <a:pt x="56" y="458"/>
                    <a:pt x="28" y="409"/>
                  </a:cubicBezTo>
                  <a:cubicBezTo>
                    <a:pt x="0" y="360"/>
                    <a:pt x="16" y="297"/>
                    <a:pt x="65" y="269"/>
                  </a:cubicBezTo>
                  <a:cubicBezTo>
                    <a:pt x="102" y="248"/>
                    <a:pt x="147" y="252"/>
                    <a:pt x="178" y="276"/>
                  </a:cubicBezTo>
                  <a:cubicBezTo>
                    <a:pt x="189" y="288"/>
                    <a:pt x="189" y="288"/>
                    <a:pt x="189" y="288"/>
                  </a:cubicBezTo>
                  <a:cubicBezTo>
                    <a:pt x="455" y="134"/>
                    <a:pt x="455" y="134"/>
                    <a:pt x="455" y="134"/>
                  </a:cubicBezTo>
                  <a:cubicBezTo>
                    <a:pt x="450" y="119"/>
                    <a:pt x="450" y="119"/>
                    <a:pt x="450" y="119"/>
                  </a:cubicBezTo>
                  <a:cubicBezTo>
                    <a:pt x="445" y="80"/>
                    <a:pt x="464" y="39"/>
                    <a:pt x="501" y="18"/>
                  </a:cubicBezTo>
                  <a:cubicBezTo>
                    <a:pt x="513" y="11"/>
                    <a:pt x="526" y="6"/>
                    <a:pt x="539" y="5"/>
                  </a:cubicBezTo>
                  <a:close/>
                </a:path>
              </a:pathLst>
            </a:custGeom>
            <a:solidFill>
              <a:schemeClr val="tx1"/>
            </a:solidFill>
            <a:ln>
              <a:noFill/>
            </a:ln>
          </p:spPr>
          <p:txBody>
            <a:bodyPr vert="horz" wrap="square" lIns="68574" tIns="34287" rIns="68574" bIns="34287"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Segoe UI"/>
                <a:ea typeface="+mn-ea"/>
                <a:cs typeface="+mn-cs"/>
              </a:endParaRPr>
            </a:p>
          </p:txBody>
        </p:sp>
        <p:sp>
          <p:nvSpPr>
            <p:cNvPr id="103" name="Freeform 102"/>
            <p:cNvSpPr>
              <a:spLocks noChangeAspect="1" noEditPoints="1"/>
            </p:cNvSpPr>
            <p:nvPr/>
          </p:nvSpPr>
          <p:spPr bwMode="black">
            <a:xfrm>
              <a:off x="722320" y="1783009"/>
              <a:ext cx="452202" cy="366660"/>
            </a:xfrm>
            <a:custGeom>
              <a:avLst/>
              <a:gdLst>
                <a:gd name="T0" fmla="*/ 600 w 1107"/>
                <a:gd name="T1" fmla="*/ 625 h 897"/>
                <a:gd name="T2" fmla="*/ 649 w 1107"/>
                <a:gd name="T3" fmla="*/ 567 h 897"/>
                <a:gd name="T4" fmla="*/ 727 w 1107"/>
                <a:gd name="T5" fmla="*/ 482 h 897"/>
                <a:gd name="T6" fmla="*/ 601 w 1107"/>
                <a:gd name="T7" fmla="*/ 434 h 897"/>
                <a:gd name="T8" fmla="*/ 628 w 1107"/>
                <a:gd name="T9" fmla="*/ 305 h 897"/>
                <a:gd name="T10" fmla="*/ 547 w 1107"/>
                <a:gd name="T11" fmla="*/ 240 h 897"/>
                <a:gd name="T12" fmla="*/ 427 w 1107"/>
                <a:gd name="T13" fmla="*/ 287 h 897"/>
                <a:gd name="T14" fmla="*/ 368 w 1107"/>
                <a:gd name="T15" fmla="*/ 170 h 897"/>
                <a:gd name="T16" fmla="*/ 285 w 1107"/>
                <a:gd name="T17" fmla="*/ 263 h 897"/>
                <a:gd name="T18" fmla="*/ 241 w 1107"/>
                <a:gd name="T19" fmla="*/ 313 h 897"/>
                <a:gd name="T20" fmla="*/ 139 w 1107"/>
                <a:gd name="T21" fmla="*/ 281 h 897"/>
                <a:gd name="T22" fmla="*/ 79 w 1107"/>
                <a:gd name="T23" fmla="*/ 355 h 897"/>
                <a:gd name="T24" fmla="*/ 132 w 1107"/>
                <a:gd name="T25" fmla="*/ 446 h 897"/>
                <a:gd name="T26" fmla="*/ 83 w 1107"/>
                <a:gd name="T27" fmla="*/ 505 h 897"/>
                <a:gd name="T28" fmla="*/ 5 w 1107"/>
                <a:gd name="T29" fmla="*/ 590 h 897"/>
                <a:gd name="T30" fmla="*/ 132 w 1107"/>
                <a:gd name="T31" fmla="*/ 638 h 897"/>
                <a:gd name="T32" fmla="*/ 145 w 1107"/>
                <a:gd name="T33" fmla="*/ 669 h 897"/>
                <a:gd name="T34" fmla="*/ 110 w 1107"/>
                <a:gd name="T35" fmla="*/ 793 h 897"/>
                <a:gd name="T36" fmla="*/ 230 w 1107"/>
                <a:gd name="T37" fmla="*/ 781 h 897"/>
                <a:gd name="T38" fmla="*/ 306 w 1107"/>
                <a:gd name="T39" fmla="*/ 785 h 897"/>
                <a:gd name="T40" fmla="*/ 346 w 1107"/>
                <a:gd name="T41" fmla="*/ 878 h 897"/>
                <a:gd name="T42" fmla="*/ 440 w 1107"/>
                <a:gd name="T43" fmla="*/ 872 h 897"/>
                <a:gd name="T44" fmla="*/ 466 w 1107"/>
                <a:gd name="T45" fmla="*/ 764 h 897"/>
                <a:gd name="T46" fmla="*/ 539 w 1107"/>
                <a:gd name="T47" fmla="*/ 755 h 897"/>
                <a:gd name="T48" fmla="*/ 659 w 1107"/>
                <a:gd name="T49" fmla="*/ 743 h 897"/>
                <a:gd name="T50" fmla="*/ 263 w 1107"/>
                <a:gd name="T51" fmla="*/ 452 h 897"/>
                <a:gd name="T52" fmla="*/ 281 w 1107"/>
                <a:gd name="T53" fmla="*/ 633 h 897"/>
                <a:gd name="T54" fmla="*/ 1002 w 1107"/>
                <a:gd name="T55" fmla="*/ 332 h 897"/>
                <a:gd name="T56" fmla="*/ 1043 w 1107"/>
                <a:gd name="T57" fmla="*/ 304 h 897"/>
                <a:gd name="T58" fmla="*/ 1107 w 1107"/>
                <a:gd name="T59" fmla="*/ 266 h 897"/>
                <a:gd name="T60" fmla="*/ 1037 w 1107"/>
                <a:gd name="T61" fmla="*/ 213 h 897"/>
                <a:gd name="T62" fmla="*/ 1077 w 1107"/>
                <a:gd name="T63" fmla="*/ 138 h 897"/>
                <a:gd name="T64" fmla="*/ 1038 w 1107"/>
                <a:gd name="T65" fmla="*/ 83 h 897"/>
                <a:gd name="T66" fmla="*/ 956 w 1107"/>
                <a:gd name="T67" fmla="*/ 91 h 897"/>
                <a:gd name="T68" fmla="*/ 940 w 1107"/>
                <a:gd name="T69" fmla="*/ 7 h 897"/>
                <a:gd name="T70" fmla="*/ 872 w 1107"/>
                <a:gd name="T71" fmla="*/ 50 h 897"/>
                <a:gd name="T72" fmla="*/ 836 w 1107"/>
                <a:gd name="T73" fmla="*/ 74 h 897"/>
                <a:gd name="T74" fmla="*/ 778 w 1107"/>
                <a:gd name="T75" fmla="*/ 35 h 897"/>
                <a:gd name="T76" fmla="*/ 728 w 1107"/>
                <a:gd name="T77" fmla="*/ 70 h 897"/>
                <a:gd name="T78" fmla="*/ 744 w 1107"/>
                <a:gd name="T79" fmla="*/ 136 h 897"/>
                <a:gd name="T80" fmla="*/ 703 w 1107"/>
                <a:gd name="T81" fmla="*/ 164 h 897"/>
                <a:gd name="T82" fmla="*/ 640 w 1107"/>
                <a:gd name="T83" fmla="*/ 203 h 897"/>
                <a:gd name="T84" fmla="*/ 710 w 1107"/>
                <a:gd name="T85" fmla="*/ 255 h 897"/>
                <a:gd name="T86" fmla="*/ 712 w 1107"/>
                <a:gd name="T87" fmla="*/ 277 h 897"/>
                <a:gd name="T88" fmla="*/ 668 w 1107"/>
                <a:gd name="T89" fmla="*/ 347 h 897"/>
                <a:gd name="T90" fmla="*/ 745 w 1107"/>
                <a:gd name="T91" fmla="*/ 361 h 897"/>
                <a:gd name="T92" fmla="*/ 791 w 1107"/>
                <a:gd name="T93" fmla="*/ 377 h 897"/>
                <a:gd name="T94" fmla="*/ 799 w 1107"/>
                <a:gd name="T95" fmla="*/ 443 h 897"/>
                <a:gd name="T96" fmla="*/ 859 w 1107"/>
                <a:gd name="T97" fmla="*/ 456 h 897"/>
                <a:gd name="T98" fmla="*/ 894 w 1107"/>
                <a:gd name="T99" fmla="*/ 393 h 897"/>
                <a:gd name="T100" fmla="*/ 941 w 1107"/>
                <a:gd name="T101" fmla="*/ 401 h 897"/>
                <a:gd name="T102" fmla="*/ 1018 w 1107"/>
                <a:gd name="T103" fmla="*/ 415 h 897"/>
                <a:gd name="T104" fmla="*/ 825 w 1107"/>
                <a:gd name="T105" fmla="*/ 164 h 897"/>
                <a:gd name="T106" fmla="*/ 803 w 1107"/>
                <a:gd name="T107" fmla="*/ 279 h 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107" h="897">
                  <a:moveTo>
                    <a:pt x="654" y="716"/>
                  </a:moveTo>
                  <a:cubicBezTo>
                    <a:pt x="616" y="670"/>
                    <a:pt x="616" y="670"/>
                    <a:pt x="616" y="670"/>
                  </a:cubicBezTo>
                  <a:cubicBezTo>
                    <a:pt x="593" y="654"/>
                    <a:pt x="603" y="638"/>
                    <a:pt x="600" y="625"/>
                  </a:cubicBezTo>
                  <a:cubicBezTo>
                    <a:pt x="600" y="625"/>
                    <a:pt x="600" y="625"/>
                    <a:pt x="600" y="625"/>
                  </a:cubicBezTo>
                  <a:cubicBezTo>
                    <a:pt x="605" y="617"/>
                    <a:pt x="611" y="609"/>
                    <a:pt x="608" y="596"/>
                  </a:cubicBezTo>
                  <a:cubicBezTo>
                    <a:pt x="618" y="580"/>
                    <a:pt x="623" y="572"/>
                    <a:pt x="649" y="567"/>
                  </a:cubicBezTo>
                  <a:cubicBezTo>
                    <a:pt x="715" y="553"/>
                    <a:pt x="715" y="553"/>
                    <a:pt x="715" y="553"/>
                  </a:cubicBezTo>
                  <a:cubicBezTo>
                    <a:pt x="728" y="550"/>
                    <a:pt x="733" y="542"/>
                    <a:pt x="730" y="529"/>
                  </a:cubicBezTo>
                  <a:cubicBezTo>
                    <a:pt x="727" y="482"/>
                    <a:pt x="727" y="482"/>
                    <a:pt x="727" y="482"/>
                  </a:cubicBezTo>
                  <a:cubicBezTo>
                    <a:pt x="724" y="469"/>
                    <a:pt x="717" y="463"/>
                    <a:pt x="701" y="453"/>
                  </a:cubicBezTo>
                  <a:cubicBezTo>
                    <a:pt x="641" y="459"/>
                    <a:pt x="641" y="459"/>
                    <a:pt x="641" y="459"/>
                  </a:cubicBezTo>
                  <a:cubicBezTo>
                    <a:pt x="620" y="457"/>
                    <a:pt x="604" y="447"/>
                    <a:pt x="601" y="434"/>
                  </a:cubicBezTo>
                  <a:cubicBezTo>
                    <a:pt x="598" y="421"/>
                    <a:pt x="590" y="416"/>
                    <a:pt x="580" y="397"/>
                  </a:cubicBezTo>
                  <a:cubicBezTo>
                    <a:pt x="577" y="384"/>
                    <a:pt x="574" y="371"/>
                    <a:pt x="584" y="355"/>
                  </a:cubicBezTo>
                  <a:cubicBezTo>
                    <a:pt x="628" y="305"/>
                    <a:pt x="628" y="305"/>
                    <a:pt x="628" y="305"/>
                  </a:cubicBezTo>
                  <a:cubicBezTo>
                    <a:pt x="634" y="297"/>
                    <a:pt x="631" y="284"/>
                    <a:pt x="623" y="279"/>
                  </a:cubicBezTo>
                  <a:cubicBezTo>
                    <a:pt x="581" y="240"/>
                    <a:pt x="581" y="240"/>
                    <a:pt x="581" y="240"/>
                  </a:cubicBezTo>
                  <a:cubicBezTo>
                    <a:pt x="573" y="235"/>
                    <a:pt x="560" y="238"/>
                    <a:pt x="547" y="240"/>
                  </a:cubicBezTo>
                  <a:cubicBezTo>
                    <a:pt x="503" y="291"/>
                    <a:pt x="503" y="291"/>
                    <a:pt x="503" y="291"/>
                  </a:cubicBezTo>
                  <a:cubicBezTo>
                    <a:pt x="484" y="302"/>
                    <a:pt x="471" y="304"/>
                    <a:pt x="463" y="299"/>
                  </a:cubicBezTo>
                  <a:cubicBezTo>
                    <a:pt x="456" y="294"/>
                    <a:pt x="435" y="292"/>
                    <a:pt x="427" y="287"/>
                  </a:cubicBezTo>
                  <a:cubicBezTo>
                    <a:pt x="419" y="282"/>
                    <a:pt x="403" y="271"/>
                    <a:pt x="400" y="258"/>
                  </a:cubicBezTo>
                  <a:cubicBezTo>
                    <a:pt x="386" y="193"/>
                    <a:pt x="386" y="193"/>
                    <a:pt x="386" y="193"/>
                  </a:cubicBezTo>
                  <a:cubicBezTo>
                    <a:pt x="384" y="180"/>
                    <a:pt x="368" y="170"/>
                    <a:pt x="368" y="170"/>
                  </a:cubicBezTo>
                  <a:cubicBezTo>
                    <a:pt x="308" y="176"/>
                    <a:pt x="308" y="176"/>
                    <a:pt x="308" y="176"/>
                  </a:cubicBezTo>
                  <a:cubicBezTo>
                    <a:pt x="308" y="176"/>
                    <a:pt x="289" y="187"/>
                    <a:pt x="292" y="200"/>
                  </a:cubicBezTo>
                  <a:cubicBezTo>
                    <a:pt x="285" y="263"/>
                    <a:pt x="285" y="263"/>
                    <a:pt x="285" y="263"/>
                  </a:cubicBezTo>
                  <a:cubicBezTo>
                    <a:pt x="291" y="289"/>
                    <a:pt x="277" y="292"/>
                    <a:pt x="272" y="300"/>
                  </a:cubicBezTo>
                  <a:cubicBezTo>
                    <a:pt x="272" y="300"/>
                    <a:pt x="272" y="300"/>
                    <a:pt x="267" y="308"/>
                  </a:cubicBezTo>
                  <a:cubicBezTo>
                    <a:pt x="259" y="302"/>
                    <a:pt x="246" y="305"/>
                    <a:pt x="241" y="313"/>
                  </a:cubicBezTo>
                  <a:cubicBezTo>
                    <a:pt x="236" y="321"/>
                    <a:pt x="236" y="321"/>
                    <a:pt x="236" y="321"/>
                  </a:cubicBezTo>
                  <a:cubicBezTo>
                    <a:pt x="223" y="324"/>
                    <a:pt x="210" y="327"/>
                    <a:pt x="194" y="317"/>
                  </a:cubicBezTo>
                  <a:cubicBezTo>
                    <a:pt x="139" y="281"/>
                    <a:pt x="139" y="281"/>
                    <a:pt x="139" y="281"/>
                  </a:cubicBezTo>
                  <a:cubicBezTo>
                    <a:pt x="131" y="276"/>
                    <a:pt x="110" y="273"/>
                    <a:pt x="104" y="281"/>
                  </a:cubicBezTo>
                  <a:cubicBezTo>
                    <a:pt x="79" y="321"/>
                    <a:pt x="79" y="321"/>
                    <a:pt x="79" y="321"/>
                  </a:cubicBezTo>
                  <a:cubicBezTo>
                    <a:pt x="66" y="324"/>
                    <a:pt x="68" y="337"/>
                    <a:pt x="79" y="355"/>
                  </a:cubicBezTo>
                  <a:cubicBezTo>
                    <a:pt x="121" y="394"/>
                    <a:pt x="121" y="394"/>
                    <a:pt x="121" y="394"/>
                  </a:cubicBezTo>
                  <a:cubicBezTo>
                    <a:pt x="140" y="417"/>
                    <a:pt x="135" y="425"/>
                    <a:pt x="132" y="446"/>
                  </a:cubicBezTo>
                  <a:cubicBezTo>
                    <a:pt x="132" y="446"/>
                    <a:pt x="132" y="446"/>
                    <a:pt x="132" y="446"/>
                  </a:cubicBezTo>
                  <a:cubicBezTo>
                    <a:pt x="127" y="454"/>
                    <a:pt x="122" y="462"/>
                    <a:pt x="117" y="470"/>
                  </a:cubicBezTo>
                  <a:cubicBezTo>
                    <a:pt x="117" y="470"/>
                    <a:pt x="117" y="470"/>
                    <a:pt x="117" y="470"/>
                  </a:cubicBezTo>
                  <a:cubicBezTo>
                    <a:pt x="120" y="483"/>
                    <a:pt x="109" y="499"/>
                    <a:pt x="83" y="505"/>
                  </a:cubicBezTo>
                  <a:cubicBezTo>
                    <a:pt x="23" y="511"/>
                    <a:pt x="23" y="511"/>
                    <a:pt x="23" y="511"/>
                  </a:cubicBezTo>
                  <a:cubicBezTo>
                    <a:pt x="10" y="514"/>
                    <a:pt x="0" y="529"/>
                    <a:pt x="2" y="543"/>
                  </a:cubicBezTo>
                  <a:cubicBezTo>
                    <a:pt x="5" y="590"/>
                    <a:pt x="5" y="590"/>
                    <a:pt x="5" y="590"/>
                  </a:cubicBezTo>
                  <a:cubicBezTo>
                    <a:pt x="8" y="603"/>
                    <a:pt x="16" y="608"/>
                    <a:pt x="37" y="610"/>
                  </a:cubicBezTo>
                  <a:cubicBezTo>
                    <a:pt x="92" y="612"/>
                    <a:pt x="92" y="612"/>
                    <a:pt x="92" y="612"/>
                  </a:cubicBezTo>
                  <a:cubicBezTo>
                    <a:pt x="113" y="614"/>
                    <a:pt x="129" y="625"/>
                    <a:pt x="132" y="638"/>
                  </a:cubicBezTo>
                  <a:cubicBezTo>
                    <a:pt x="132" y="638"/>
                    <a:pt x="132" y="638"/>
                    <a:pt x="132" y="638"/>
                  </a:cubicBezTo>
                  <a:cubicBezTo>
                    <a:pt x="140" y="643"/>
                    <a:pt x="142" y="656"/>
                    <a:pt x="150" y="661"/>
                  </a:cubicBezTo>
                  <a:cubicBezTo>
                    <a:pt x="145" y="669"/>
                    <a:pt x="145" y="669"/>
                    <a:pt x="145" y="669"/>
                  </a:cubicBezTo>
                  <a:cubicBezTo>
                    <a:pt x="153" y="674"/>
                    <a:pt x="156" y="687"/>
                    <a:pt x="140" y="711"/>
                  </a:cubicBezTo>
                  <a:cubicBezTo>
                    <a:pt x="109" y="759"/>
                    <a:pt x="109" y="759"/>
                    <a:pt x="109" y="759"/>
                  </a:cubicBezTo>
                  <a:cubicBezTo>
                    <a:pt x="99" y="775"/>
                    <a:pt x="102" y="788"/>
                    <a:pt x="110" y="793"/>
                  </a:cubicBezTo>
                  <a:cubicBezTo>
                    <a:pt x="152" y="832"/>
                    <a:pt x="152" y="832"/>
                    <a:pt x="152" y="832"/>
                  </a:cubicBezTo>
                  <a:cubicBezTo>
                    <a:pt x="160" y="837"/>
                    <a:pt x="173" y="834"/>
                    <a:pt x="178" y="826"/>
                  </a:cubicBezTo>
                  <a:cubicBezTo>
                    <a:pt x="230" y="781"/>
                    <a:pt x="230" y="781"/>
                    <a:pt x="230" y="781"/>
                  </a:cubicBezTo>
                  <a:cubicBezTo>
                    <a:pt x="248" y="770"/>
                    <a:pt x="261" y="767"/>
                    <a:pt x="269" y="772"/>
                  </a:cubicBezTo>
                  <a:cubicBezTo>
                    <a:pt x="269" y="772"/>
                    <a:pt x="269" y="772"/>
                    <a:pt x="269" y="772"/>
                  </a:cubicBezTo>
                  <a:cubicBezTo>
                    <a:pt x="282" y="769"/>
                    <a:pt x="298" y="779"/>
                    <a:pt x="306" y="785"/>
                  </a:cubicBezTo>
                  <a:cubicBezTo>
                    <a:pt x="306" y="785"/>
                    <a:pt x="306" y="785"/>
                    <a:pt x="306" y="785"/>
                  </a:cubicBezTo>
                  <a:cubicBezTo>
                    <a:pt x="319" y="782"/>
                    <a:pt x="327" y="787"/>
                    <a:pt x="332" y="813"/>
                  </a:cubicBezTo>
                  <a:cubicBezTo>
                    <a:pt x="346" y="878"/>
                    <a:pt x="346" y="878"/>
                    <a:pt x="346" y="878"/>
                  </a:cubicBezTo>
                  <a:cubicBezTo>
                    <a:pt x="349" y="892"/>
                    <a:pt x="357" y="897"/>
                    <a:pt x="370" y="894"/>
                  </a:cubicBezTo>
                  <a:cubicBezTo>
                    <a:pt x="425" y="896"/>
                    <a:pt x="425" y="896"/>
                    <a:pt x="425" y="896"/>
                  </a:cubicBezTo>
                  <a:cubicBezTo>
                    <a:pt x="430" y="888"/>
                    <a:pt x="443" y="885"/>
                    <a:pt x="440" y="872"/>
                  </a:cubicBezTo>
                  <a:cubicBezTo>
                    <a:pt x="440" y="804"/>
                    <a:pt x="440" y="804"/>
                    <a:pt x="440" y="804"/>
                  </a:cubicBezTo>
                  <a:cubicBezTo>
                    <a:pt x="442" y="783"/>
                    <a:pt x="460" y="772"/>
                    <a:pt x="466" y="764"/>
                  </a:cubicBezTo>
                  <a:cubicBezTo>
                    <a:pt x="466" y="764"/>
                    <a:pt x="466" y="764"/>
                    <a:pt x="466" y="764"/>
                  </a:cubicBezTo>
                  <a:cubicBezTo>
                    <a:pt x="479" y="761"/>
                    <a:pt x="492" y="758"/>
                    <a:pt x="497" y="750"/>
                  </a:cubicBezTo>
                  <a:cubicBezTo>
                    <a:pt x="497" y="750"/>
                    <a:pt x="497" y="750"/>
                    <a:pt x="497" y="750"/>
                  </a:cubicBezTo>
                  <a:cubicBezTo>
                    <a:pt x="510" y="747"/>
                    <a:pt x="523" y="745"/>
                    <a:pt x="539" y="755"/>
                  </a:cubicBezTo>
                  <a:cubicBezTo>
                    <a:pt x="594" y="791"/>
                    <a:pt x="594" y="791"/>
                    <a:pt x="594" y="791"/>
                  </a:cubicBezTo>
                  <a:cubicBezTo>
                    <a:pt x="602" y="796"/>
                    <a:pt x="623" y="798"/>
                    <a:pt x="628" y="790"/>
                  </a:cubicBezTo>
                  <a:cubicBezTo>
                    <a:pt x="659" y="743"/>
                    <a:pt x="659" y="743"/>
                    <a:pt x="659" y="743"/>
                  </a:cubicBezTo>
                  <a:cubicBezTo>
                    <a:pt x="659" y="743"/>
                    <a:pt x="669" y="727"/>
                    <a:pt x="654" y="716"/>
                  </a:cubicBezTo>
                  <a:close/>
                  <a:moveTo>
                    <a:pt x="281" y="633"/>
                  </a:moveTo>
                  <a:cubicBezTo>
                    <a:pt x="223" y="584"/>
                    <a:pt x="219" y="502"/>
                    <a:pt x="263" y="452"/>
                  </a:cubicBezTo>
                  <a:cubicBezTo>
                    <a:pt x="313" y="393"/>
                    <a:pt x="399" y="382"/>
                    <a:pt x="457" y="431"/>
                  </a:cubicBezTo>
                  <a:cubicBezTo>
                    <a:pt x="507" y="475"/>
                    <a:pt x="518" y="561"/>
                    <a:pt x="469" y="619"/>
                  </a:cubicBezTo>
                  <a:cubicBezTo>
                    <a:pt x="420" y="678"/>
                    <a:pt x="339" y="682"/>
                    <a:pt x="281" y="633"/>
                  </a:cubicBezTo>
                  <a:close/>
                  <a:moveTo>
                    <a:pt x="1019" y="398"/>
                  </a:moveTo>
                  <a:cubicBezTo>
                    <a:pt x="1004" y="362"/>
                    <a:pt x="1004" y="362"/>
                    <a:pt x="1004" y="362"/>
                  </a:cubicBezTo>
                  <a:cubicBezTo>
                    <a:pt x="992" y="348"/>
                    <a:pt x="1002" y="340"/>
                    <a:pt x="1002" y="332"/>
                  </a:cubicBezTo>
                  <a:cubicBezTo>
                    <a:pt x="1002" y="332"/>
                    <a:pt x="1002" y="332"/>
                    <a:pt x="1002" y="332"/>
                  </a:cubicBezTo>
                  <a:cubicBezTo>
                    <a:pt x="1007" y="328"/>
                    <a:pt x="1011" y="324"/>
                    <a:pt x="1012" y="315"/>
                  </a:cubicBezTo>
                  <a:cubicBezTo>
                    <a:pt x="1021" y="307"/>
                    <a:pt x="1026" y="303"/>
                    <a:pt x="1043" y="304"/>
                  </a:cubicBezTo>
                  <a:cubicBezTo>
                    <a:pt x="1086" y="307"/>
                    <a:pt x="1086" y="307"/>
                    <a:pt x="1086" y="307"/>
                  </a:cubicBezTo>
                  <a:cubicBezTo>
                    <a:pt x="1095" y="308"/>
                    <a:pt x="1099" y="304"/>
                    <a:pt x="1100" y="295"/>
                  </a:cubicBezTo>
                  <a:cubicBezTo>
                    <a:pt x="1107" y="266"/>
                    <a:pt x="1107" y="266"/>
                    <a:pt x="1107" y="266"/>
                  </a:cubicBezTo>
                  <a:cubicBezTo>
                    <a:pt x="1107" y="257"/>
                    <a:pt x="1103" y="252"/>
                    <a:pt x="1095" y="243"/>
                  </a:cubicBezTo>
                  <a:cubicBezTo>
                    <a:pt x="1057" y="236"/>
                    <a:pt x="1057" y="236"/>
                    <a:pt x="1057" y="236"/>
                  </a:cubicBezTo>
                  <a:cubicBezTo>
                    <a:pt x="1044" y="231"/>
                    <a:pt x="1036" y="222"/>
                    <a:pt x="1037" y="213"/>
                  </a:cubicBezTo>
                  <a:cubicBezTo>
                    <a:pt x="1038" y="205"/>
                    <a:pt x="1034" y="200"/>
                    <a:pt x="1030" y="187"/>
                  </a:cubicBezTo>
                  <a:cubicBezTo>
                    <a:pt x="1031" y="178"/>
                    <a:pt x="1032" y="170"/>
                    <a:pt x="1041" y="162"/>
                  </a:cubicBezTo>
                  <a:cubicBezTo>
                    <a:pt x="1077" y="138"/>
                    <a:pt x="1077" y="138"/>
                    <a:pt x="1077" y="138"/>
                  </a:cubicBezTo>
                  <a:cubicBezTo>
                    <a:pt x="1082" y="134"/>
                    <a:pt x="1083" y="126"/>
                    <a:pt x="1079" y="121"/>
                  </a:cubicBezTo>
                  <a:cubicBezTo>
                    <a:pt x="1059" y="89"/>
                    <a:pt x="1059" y="89"/>
                    <a:pt x="1059" y="89"/>
                  </a:cubicBezTo>
                  <a:cubicBezTo>
                    <a:pt x="1055" y="85"/>
                    <a:pt x="1047" y="84"/>
                    <a:pt x="1038" y="83"/>
                  </a:cubicBezTo>
                  <a:cubicBezTo>
                    <a:pt x="1002" y="107"/>
                    <a:pt x="1002" y="107"/>
                    <a:pt x="1002" y="107"/>
                  </a:cubicBezTo>
                  <a:cubicBezTo>
                    <a:pt x="989" y="110"/>
                    <a:pt x="980" y="110"/>
                    <a:pt x="976" y="105"/>
                  </a:cubicBezTo>
                  <a:cubicBezTo>
                    <a:pt x="972" y="100"/>
                    <a:pt x="960" y="95"/>
                    <a:pt x="956" y="91"/>
                  </a:cubicBezTo>
                  <a:cubicBezTo>
                    <a:pt x="952" y="86"/>
                    <a:pt x="944" y="77"/>
                    <a:pt x="944" y="68"/>
                  </a:cubicBezTo>
                  <a:cubicBezTo>
                    <a:pt x="948" y="25"/>
                    <a:pt x="948" y="25"/>
                    <a:pt x="948" y="25"/>
                  </a:cubicBezTo>
                  <a:cubicBezTo>
                    <a:pt x="948" y="17"/>
                    <a:pt x="940" y="7"/>
                    <a:pt x="940" y="7"/>
                  </a:cubicBezTo>
                  <a:cubicBezTo>
                    <a:pt x="902" y="0"/>
                    <a:pt x="902" y="0"/>
                    <a:pt x="902" y="0"/>
                  </a:cubicBezTo>
                  <a:cubicBezTo>
                    <a:pt x="902" y="0"/>
                    <a:pt x="889" y="4"/>
                    <a:pt x="888" y="12"/>
                  </a:cubicBezTo>
                  <a:cubicBezTo>
                    <a:pt x="872" y="50"/>
                    <a:pt x="872" y="50"/>
                    <a:pt x="872" y="50"/>
                  </a:cubicBezTo>
                  <a:cubicBezTo>
                    <a:pt x="871" y="67"/>
                    <a:pt x="862" y="67"/>
                    <a:pt x="858" y="71"/>
                  </a:cubicBezTo>
                  <a:cubicBezTo>
                    <a:pt x="858" y="71"/>
                    <a:pt x="858" y="71"/>
                    <a:pt x="853" y="75"/>
                  </a:cubicBezTo>
                  <a:cubicBezTo>
                    <a:pt x="849" y="70"/>
                    <a:pt x="840" y="70"/>
                    <a:pt x="836" y="74"/>
                  </a:cubicBezTo>
                  <a:cubicBezTo>
                    <a:pt x="831" y="78"/>
                    <a:pt x="831" y="78"/>
                    <a:pt x="831" y="78"/>
                  </a:cubicBezTo>
                  <a:cubicBezTo>
                    <a:pt x="822" y="77"/>
                    <a:pt x="814" y="76"/>
                    <a:pt x="806" y="67"/>
                  </a:cubicBezTo>
                  <a:cubicBezTo>
                    <a:pt x="778" y="35"/>
                    <a:pt x="778" y="35"/>
                    <a:pt x="778" y="35"/>
                  </a:cubicBezTo>
                  <a:cubicBezTo>
                    <a:pt x="774" y="30"/>
                    <a:pt x="762" y="25"/>
                    <a:pt x="757" y="29"/>
                  </a:cubicBezTo>
                  <a:cubicBezTo>
                    <a:pt x="734" y="49"/>
                    <a:pt x="734" y="49"/>
                    <a:pt x="734" y="49"/>
                  </a:cubicBezTo>
                  <a:cubicBezTo>
                    <a:pt x="725" y="49"/>
                    <a:pt x="725" y="57"/>
                    <a:pt x="728" y="70"/>
                  </a:cubicBezTo>
                  <a:cubicBezTo>
                    <a:pt x="747" y="102"/>
                    <a:pt x="747" y="102"/>
                    <a:pt x="747" y="102"/>
                  </a:cubicBezTo>
                  <a:cubicBezTo>
                    <a:pt x="754" y="120"/>
                    <a:pt x="750" y="124"/>
                    <a:pt x="744" y="136"/>
                  </a:cubicBezTo>
                  <a:cubicBezTo>
                    <a:pt x="744" y="136"/>
                    <a:pt x="744" y="136"/>
                    <a:pt x="744" y="136"/>
                  </a:cubicBezTo>
                  <a:cubicBezTo>
                    <a:pt x="740" y="140"/>
                    <a:pt x="735" y="144"/>
                    <a:pt x="731" y="148"/>
                  </a:cubicBezTo>
                  <a:cubicBezTo>
                    <a:pt x="731" y="148"/>
                    <a:pt x="731" y="148"/>
                    <a:pt x="731" y="148"/>
                  </a:cubicBezTo>
                  <a:cubicBezTo>
                    <a:pt x="730" y="157"/>
                    <a:pt x="721" y="165"/>
                    <a:pt x="703" y="164"/>
                  </a:cubicBezTo>
                  <a:cubicBezTo>
                    <a:pt x="665" y="157"/>
                    <a:pt x="665" y="157"/>
                    <a:pt x="665" y="157"/>
                  </a:cubicBezTo>
                  <a:cubicBezTo>
                    <a:pt x="656" y="156"/>
                    <a:pt x="647" y="164"/>
                    <a:pt x="647" y="173"/>
                  </a:cubicBezTo>
                  <a:cubicBezTo>
                    <a:pt x="640" y="203"/>
                    <a:pt x="640" y="203"/>
                    <a:pt x="640" y="203"/>
                  </a:cubicBezTo>
                  <a:cubicBezTo>
                    <a:pt x="639" y="211"/>
                    <a:pt x="643" y="216"/>
                    <a:pt x="656" y="221"/>
                  </a:cubicBezTo>
                  <a:cubicBezTo>
                    <a:pt x="690" y="232"/>
                    <a:pt x="690" y="232"/>
                    <a:pt x="690" y="232"/>
                  </a:cubicBezTo>
                  <a:cubicBezTo>
                    <a:pt x="702" y="237"/>
                    <a:pt x="710" y="246"/>
                    <a:pt x="710" y="255"/>
                  </a:cubicBezTo>
                  <a:cubicBezTo>
                    <a:pt x="710" y="255"/>
                    <a:pt x="710" y="255"/>
                    <a:pt x="710" y="255"/>
                  </a:cubicBezTo>
                  <a:cubicBezTo>
                    <a:pt x="714" y="260"/>
                    <a:pt x="713" y="268"/>
                    <a:pt x="717" y="273"/>
                  </a:cubicBezTo>
                  <a:cubicBezTo>
                    <a:pt x="712" y="277"/>
                    <a:pt x="712" y="277"/>
                    <a:pt x="712" y="277"/>
                  </a:cubicBezTo>
                  <a:cubicBezTo>
                    <a:pt x="716" y="281"/>
                    <a:pt x="716" y="290"/>
                    <a:pt x="702" y="302"/>
                  </a:cubicBezTo>
                  <a:cubicBezTo>
                    <a:pt x="674" y="326"/>
                    <a:pt x="674" y="326"/>
                    <a:pt x="674" y="326"/>
                  </a:cubicBezTo>
                  <a:cubicBezTo>
                    <a:pt x="665" y="334"/>
                    <a:pt x="664" y="343"/>
                    <a:pt x="668" y="347"/>
                  </a:cubicBezTo>
                  <a:cubicBezTo>
                    <a:pt x="687" y="379"/>
                    <a:pt x="687" y="379"/>
                    <a:pt x="687" y="379"/>
                  </a:cubicBezTo>
                  <a:cubicBezTo>
                    <a:pt x="691" y="383"/>
                    <a:pt x="700" y="384"/>
                    <a:pt x="704" y="380"/>
                  </a:cubicBezTo>
                  <a:cubicBezTo>
                    <a:pt x="745" y="361"/>
                    <a:pt x="745" y="361"/>
                    <a:pt x="745" y="361"/>
                  </a:cubicBezTo>
                  <a:cubicBezTo>
                    <a:pt x="758" y="358"/>
                    <a:pt x="767" y="358"/>
                    <a:pt x="771" y="363"/>
                  </a:cubicBezTo>
                  <a:cubicBezTo>
                    <a:pt x="771" y="363"/>
                    <a:pt x="771" y="363"/>
                    <a:pt x="771" y="363"/>
                  </a:cubicBezTo>
                  <a:cubicBezTo>
                    <a:pt x="779" y="364"/>
                    <a:pt x="787" y="373"/>
                    <a:pt x="791" y="377"/>
                  </a:cubicBezTo>
                  <a:cubicBezTo>
                    <a:pt x="791" y="377"/>
                    <a:pt x="791" y="377"/>
                    <a:pt x="791" y="377"/>
                  </a:cubicBezTo>
                  <a:cubicBezTo>
                    <a:pt x="800" y="378"/>
                    <a:pt x="804" y="383"/>
                    <a:pt x="802" y="400"/>
                  </a:cubicBezTo>
                  <a:cubicBezTo>
                    <a:pt x="799" y="443"/>
                    <a:pt x="799" y="443"/>
                    <a:pt x="799" y="443"/>
                  </a:cubicBezTo>
                  <a:cubicBezTo>
                    <a:pt x="798" y="451"/>
                    <a:pt x="802" y="456"/>
                    <a:pt x="811" y="457"/>
                  </a:cubicBezTo>
                  <a:cubicBezTo>
                    <a:pt x="845" y="468"/>
                    <a:pt x="845" y="468"/>
                    <a:pt x="845" y="468"/>
                  </a:cubicBezTo>
                  <a:cubicBezTo>
                    <a:pt x="849" y="464"/>
                    <a:pt x="858" y="464"/>
                    <a:pt x="859" y="456"/>
                  </a:cubicBezTo>
                  <a:cubicBezTo>
                    <a:pt x="871" y="413"/>
                    <a:pt x="871" y="413"/>
                    <a:pt x="871" y="413"/>
                  </a:cubicBezTo>
                  <a:cubicBezTo>
                    <a:pt x="876" y="401"/>
                    <a:pt x="889" y="397"/>
                    <a:pt x="894" y="393"/>
                  </a:cubicBezTo>
                  <a:cubicBezTo>
                    <a:pt x="894" y="393"/>
                    <a:pt x="894" y="393"/>
                    <a:pt x="894" y="393"/>
                  </a:cubicBezTo>
                  <a:cubicBezTo>
                    <a:pt x="902" y="394"/>
                    <a:pt x="911" y="395"/>
                    <a:pt x="916" y="391"/>
                  </a:cubicBezTo>
                  <a:cubicBezTo>
                    <a:pt x="916" y="391"/>
                    <a:pt x="916" y="391"/>
                    <a:pt x="916" y="391"/>
                  </a:cubicBezTo>
                  <a:cubicBezTo>
                    <a:pt x="924" y="391"/>
                    <a:pt x="933" y="392"/>
                    <a:pt x="941" y="401"/>
                  </a:cubicBezTo>
                  <a:cubicBezTo>
                    <a:pt x="969" y="433"/>
                    <a:pt x="969" y="433"/>
                    <a:pt x="969" y="433"/>
                  </a:cubicBezTo>
                  <a:cubicBezTo>
                    <a:pt x="973" y="438"/>
                    <a:pt x="985" y="443"/>
                    <a:pt x="990" y="439"/>
                  </a:cubicBezTo>
                  <a:cubicBezTo>
                    <a:pt x="1018" y="415"/>
                    <a:pt x="1018" y="415"/>
                    <a:pt x="1018" y="415"/>
                  </a:cubicBezTo>
                  <a:cubicBezTo>
                    <a:pt x="1018" y="415"/>
                    <a:pt x="1027" y="407"/>
                    <a:pt x="1019" y="398"/>
                  </a:cubicBezTo>
                  <a:close/>
                  <a:moveTo>
                    <a:pt x="803" y="279"/>
                  </a:moveTo>
                  <a:cubicBezTo>
                    <a:pt x="776" y="238"/>
                    <a:pt x="788" y="187"/>
                    <a:pt x="825" y="164"/>
                  </a:cubicBezTo>
                  <a:cubicBezTo>
                    <a:pt x="866" y="136"/>
                    <a:pt x="921" y="144"/>
                    <a:pt x="948" y="185"/>
                  </a:cubicBezTo>
                  <a:cubicBezTo>
                    <a:pt x="972" y="221"/>
                    <a:pt x="963" y="277"/>
                    <a:pt x="922" y="304"/>
                  </a:cubicBezTo>
                  <a:cubicBezTo>
                    <a:pt x="881" y="332"/>
                    <a:pt x="830" y="320"/>
                    <a:pt x="803" y="279"/>
                  </a:cubicBezTo>
                  <a:close/>
                </a:path>
              </a:pathLst>
            </a:custGeom>
            <a:solidFill>
              <a:schemeClr val="tx1"/>
            </a:solidFill>
            <a:ln>
              <a:noFill/>
            </a:ln>
          </p:spPr>
          <p:txBody>
            <a:bodyPr vert="horz" wrap="square" lIns="68574" tIns="34287" rIns="68574" bIns="34287"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17346"/>
                </a:solidFill>
                <a:effectLst/>
                <a:uLnTx/>
                <a:uFillTx/>
                <a:latin typeface="Segoe UI"/>
                <a:ea typeface="+mn-ea"/>
                <a:cs typeface="+mn-cs"/>
              </a:endParaRPr>
            </a:p>
          </p:txBody>
        </p:sp>
        <p:sp>
          <p:nvSpPr>
            <p:cNvPr id="104" name="Freeform 103"/>
            <p:cNvSpPr>
              <a:spLocks noChangeAspect="1"/>
            </p:cNvSpPr>
            <p:nvPr/>
          </p:nvSpPr>
          <p:spPr bwMode="black">
            <a:xfrm>
              <a:off x="776985" y="4213905"/>
              <a:ext cx="342871" cy="335728"/>
            </a:xfrm>
            <a:custGeom>
              <a:avLst/>
              <a:gdLst>
                <a:gd name="connsiteX0" fmla="*/ 3713863 w 4893730"/>
                <a:gd name="connsiteY0" fmla="*/ 2130808 h 4791777"/>
                <a:gd name="connsiteX1" fmla="*/ 4426142 w 4893730"/>
                <a:gd name="connsiteY1" fmla="*/ 2130808 h 4791777"/>
                <a:gd name="connsiteX2" fmla="*/ 4598071 w 4893730"/>
                <a:gd name="connsiteY2" fmla="*/ 2301547 h 4791777"/>
                <a:gd name="connsiteX3" fmla="*/ 4598071 w 4893730"/>
                <a:gd name="connsiteY3" fmla="*/ 3886978 h 4791777"/>
                <a:gd name="connsiteX4" fmla="*/ 4426142 w 4893730"/>
                <a:gd name="connsiteY4" fmla="*/ 4057717 h 4791777"/>
                <a:gd name="connsiteX5" fmla="*/ 3713863 w 4893730"/>
                <a:gd name="connsiteY5" fmla="*/ 4057717 h 4791777"/>
                <a:gd name="connsiteX6" fmla="*/ 3517372 w 4893730"/>
                <a:gd name="connsiteY6" fmla="*/ 3886978 h 4791777"/>
                <a:gd name="connsiteX7" fmla="*/ 3517372 w 4893730"/>
                <a:gd name="connsiteY7" fmla="*/ 2301547 h 4791777"/>
                <a:gd name="connsiteX8" fmla="*/ 3713863 w 4893730"/>
                <a:gd name="connsiteY8" fmla="*/ 2130808 h 4791777"/>
                <a:gd name="connsiteX9" fmla="*/ 904368 w 4893730"/>
                <a:gd name="connsiteY9" fmla="*/ 1223432 h 4791777"/>
                <a:gd name="connsiteX10" fmla="*/ 1609930 w 4893730"/>
                <a:gd name="connsiteY10" fmla="*/ 1223432 h 4791777"/>
                <a:gd name="connsiteX11" fmla="*/ 1804567 w 4893730"/>
                <a:gd name="connsiteY11" fmla="*/ 1394467 h 4791777"/>
                <a:gd name="connsiteX12" fmla="*/ 1804567 w 4893730"/>
                <a:gd name="connsiteY12" fmla="*/ 3886683 h 4791777"/>
                <a:gd name="connsiteX13" fmla="*/ 1609930 w 4893730"/>
                <a:gd name="connsiteY13" fmla="*/ 4057717 h 4791777"/>
                <a:gd name="connsiteX14" fmla="*/ 904368 w 4893730"/>
                <a:gd name="connsiteY14" fmla="*/ 4057717 h 4791777"/>
                <a:gd name="connsiteX15" fmla="*/ 734060 w 4893730"/>
                <a:gd name="connsiteY15" fmla="*/ 3886683 h 4791777"/>
                <a:gd name="connsiteX16" fmla="*/ 734060 w 4893730"/>
                <a:gd name="connsiteY16" fmla="*/ 1394467 h 4791777"/>
                <a:gd name="connsiteX17" fmla="*/ 904368 w 4893730"/>
                <a:gd name="connsiteY17" fmla="*/ 1223432 h 4791777"/>
                <a:gd name="connsiteX18" fmla="*/ 2325453 w 4893730"/>
                <a:gd name="connsiteY18" fmla="*/ 316050 h 4791777"/>
                <a:gd name="connsiteX19" fmla="*/ 3031014 w 4893730"/>
                <a:gd name="connsiteY19" fmla="*/ 316050 h 4791777"/>
                <a:gd name="connsiteX20" fmla="*/ 3201322 w 4893730"/>
                <a:gd name="connsiteY20" fmla="*/ 487238 h 4791777"/>
                <a:gd name="connsiteX21" fmla="*/ 3201322 w 4893730"/>
                <a:gd name="connsiteY21" fmla="*/ 3886530 h 4791777"/>
                <a:gd name="connsiteX22" fmla="*/ 3031014 w 4893730"/>
                <a:gd name="connsiteY22" fmla="*/ 4057717 h 4791777"/>
                <a:gd name="connsiteX23" fmla="*/ 2325453 w 4893730"/>
                <a:gd name="connsiteY23" fmla="*/ 4057717 h 4791777"/>
                <a:gd name="connsiteX24" fmla="*/ 2130815 w 4893730"/>
                <a:gd name="connsiteY24" fmla="*/ 3886530 h 4791777"/>
                <a:gd name="connsiteX25" fmla="*/ 2130815 w 4893730"/>
                <a:gd name="connsiteY25" fmla="*/ 487238 h 4791777"/>
                <a:gd name="connsiteX26" fmla="*/ 2325453 w 4893730"/>
                <a:gd name="connsiteY26" fmla="*/ 316050 h 4791777"/>
                <a:gd name="connsiteX27" fmla="*/ 269155 w 4893730"/>
                <a:gd name="connsiteY27" fmla="*/ 0 h 4791777"/>
                <a:gd name="connsiteX28" fmla="*/ 538311 w 4893730"/>
                <a:gd name="connsiteY28" fmla="*/ 268927 h 4791777"/>
                <a:gd name="connsiteX29" fmla="*/ 538311 w 4893730"/>
                <a:gd name="connsiteY29" fmla="*/ 4253925 h 4791777"/>
                <a:gd name="connsiteX30" fmla="*/ 4624575 w 4893730"/>
                <a:gd name="connsiteY30" fmla="*/ 4253925 h 4791777"/>
                <a:gd name="connsiteX31" fmla="*/ 4893730 w 4893730"/>
                <a:gd name="connsiteY31" fmla="*/ 4522851 h 4791777"/>
                <a:gd name="connsiteX32" fmla="*/ 4624575 w 4893730"/>
                <a:gd name="connsiteY32" fmla="*/ 4791777 h 4791777"/>
                <a:gd name="connsiteX33" fmla="*/ 269155 w 4893730"/>
                <a:gd name="connsiteY33" fmla="*/ 4791777 h 4791777"/>
                <a:gd name="connsiteX34" fmla="*/ 0 w 4893730"/>
                <a:gd name="connsiteY34" fmla="*/ 4522851 h 4791777"/>
                <a:gd name="connsiteX35" fmla="*/ 0 w 4893730"/>
                <a:gd name="connsiteY35" fmla="*/ 268927 h 4791777"/>
                <a:gd name="connsiteX36" fmla="*/ 269155 w 4893730"/>
                <a:gd name="connsiteY36" fmla="*/ 0 h 4791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4893730" h="4791777">
                  <a:moveTo>
                    <a:pt x="3713863" y="2130808"/>
                  </a:moveTo>
                  <a:cubicBezTo>
                    <a:pt x="3713863" y="2130808"/>
                    <a:pt x="3713863" y="2130808"/>
                    <a:pt x="4426142" y="2130808"/>
                  </a:cubicBezTo>
                  <a:cubicBezTo>
                    <a:pt x="4524387" y="2130808"/>
                    <a:pt x="4598071" y="2203982"/>
                    <a:pt x="4598071" y="2301547"/>
                  </a:cubicBezTo>
                  <a:cubicBezTo>
                    <a:pt x="4598071" y="2301547"/>
                    <a:pt x="4598071" y="2301547"/>
                    <a:pt x="4598071" y="3886978"/>
                  </a:cubicBezTo>
                  <a:cubicBezTo>
                    <a:pt x="4598071" y="3984543"/>
                    <a:pt x="4524387" y="4057717"/>
                    <a:pt x="4426142" y="4057717"/>
                  </a:cubicBezTo>
                  <a:cubicBezTo>
                    <a:pt x="4426142" y="4057717"/>
                    <a:pt x="4426142" y="4057717"/>
                    <a:pt x="3713863" y="4057717"/>
                  </a:cubicBezTo>
                  <a:cubicBezTo>
                    <a:pt x="3615618" y="4057717"/>
                    <a:pt x="3517372" y="3984543"/>
                    <a:pt x="3517372" y="3886978"/>
                  </a:cubicBezTo>
                  <a:cubicBezTo>
                    <a:pt x="3517372" y="3886978"/>
                    <a:pt x="3517372" y="3886978"/>
                    <a:pt x="3517372" y="2301547"/>
                  </a:cubicBezTo>
                  <a:cubicBezTo>
                    <a:pt x="3517372" y="2203982"/>
                    <a:pt x="3615618" y="2130808"/>
                    <a:pt x="3713863" y="2130808"/>
                  </a:cubicBezTo>
                  <a:close/>
                  <a:moveTo>
                    <a:pt x="904368" y="1223432"/>
                  </a:moveTo>
                  <a:cubicBezTo>
                    <a:pt x="904368" y="1223432"/>
                    <a:pt x="904368" y="1223432"/>
                    <a:pt x="1609930" y="1223432"/>
                  </a:cubicBezTo>
                  <a:cubicBezTo>
                    <a:pt x="1731578" y="1223432"/>
                    <a:pt x="1804567" y="1296733"/>
                    <a:pt x="1804567" y="1394467"/>
                  </a:cubicBezTo>
                  <a:cubicBezTo>
                    <a:pt x="1804567" y="1394467"/>
                    <a:pt x="1804567" y="1394467"/>
                    <a:pt x="1804567" y="3886683"/>
                  </a:cubicBezTo>
                  <a:cubicBezTo>
                    <a:pt x="1804567" y="3984417"/>
                    <a:pt x="1731578" y="4057717"/>
                    <a:pt x="1609930" y="4057717"/>
                  </a:cubicBezTo>
                  <a:cubicBezTo>
                    <a:pt x="1609930" y="4057717"/>
                    <a:pt x="1609930" y="4057717"/>
                    <a:pt x="904368" y="4057717"/>
                  </a:cubicBezTo>
                  <a:cubicBezTo>
                    <a:pt x="807049" y="4057717"/>
                    <a:pt x="734060" y="3984417"/>
                    <a:pt x="734060" y="3886683"/>
                  </a:cubicBezTo>
                  <a:cubicBezTo>
                    <a:pt x="734060" y="3886683"/>
                    <a:pt x="734060" y="3886683"/>
                    <a:pt x="734060" y="1394467"/>
                  </a:cubicBezTo>
                  <a:cubicBezTo>
                    <a:pt x="734060" y="1296733"/>
                    <a:pt x="807049" y="1223432"/>
                    <a:pt x="904368" y="1223432"/>
                  </a:cubicBezTo>
                  <a:close/>
                  <a:moveTo>
                    <a:pt x="2325453" y="316050"/>
                  </a:moveTo>
                  <a:cubicBezTo>
                    <a:pt x="2325453" y="316050"/>
                    <a:pt x="2325453" y="316050"/>
                    <a:pt x="3031014" y="316050"/>
                  </a:cubicBezTo>
                  <a:cubicBezTo>
                    <a:pt x="3128333" y="316050"/>
                    <a:pt x="3201322" y="389416"/>
                    <a:pt x="3201322" y="487238"/>
                  </a:cubicBezTo>
                  <a:cubicBezTo>
                    <a:pt x="3201322" y="487238"/>
                    <a:pt x="3201322" y="487238"/>
                    <a:pt x="3201322" y="3886530"/>
                  </a:cubicBezTo>
                  <a:cubicBezTo>
                    <a:pt x="3201322" y="3984351"/>
                    <a:pt x="3128333" y="4057717"/>
                    <a:pt x="3031014" y="4057717"/>
                  </a:cubicBezTo>
                  <a:cubicBezTo>
                    <a:pt x="3031014" y="4057717"/>
                    <a:pt x="3031014" y="4057717"/>
                    <a:pt x="2325453" y="4057717"/>
                  </a:cubicBezTo>
                  <a:cubicBezTo>
                    <a:pt x="2203804" y="4057717"/>
                    <a:pt x="2130815" y="3984351"/>
                    <a:pt x="2130815" y="3886530"/>
                  </a:cubicBezTo>
                  <a:cubicBezTo>
                    <a:pt x="2130815" y="3886530"/>
                    <a:pt x="2130815" y="3886530"/>
                    <a:pt x="2130815" y="487238"/>
                  </a:cubicBezTo>
                  <a:cubicBezTo>
                    <a:pt x="2130815" y="389416"/>
                    <a:pt x="2203804" y="316050"/>
                    <a:pt x="2325453" y="316050"/>
                  </a:cubicBezTo>
                  <a:close/>
                  <a:moveTo>
                    <a:pt x="269155" y="0"/>
                  </a:moveTo>
                  <a:cubicBezTo>
                    <a:pt x="415967" y="0"/>
                    <a:pt x="538311" y="122239"/>
                    <a:pt x="538311" y="268927"/>
                  </a:cubicBezTo>
                  <a:cubicBezTo>
                    <a:pt x="538311" y="268927"/>
                    <a:pt x="538311" y="268927"/>
                    <a:pt x="538311" y="4253925"/>
                  </a:cubicBezTo>
                  <a:cubicBezTo>
                    <a:pt x="538311" y="4253925"/>
                    <a:pt x="538311" y="4253925"/>
                    <a:pt x="4624575" y="4253925"/>
                  </a:cubicBezTo>
                  <a:cubicBezTo>
                    <a:pt x="4771387" y="4253925"/>
                    <a:pt x="4893730" y="4376164"/>
                    <a:pt x="4893730" y="4522851"/>
                  </a:cubicBezTo>
                  <a:cubicBezTo>
                    <a:pt x="4893730" y="4669538"/>
                    <a:pt x="4771387" y="4791777"/>
                    <a:pt x="4624575" y="4791777"/>
                  </a:cubicBezTo>
                  <a:cubicBezTo>
                    <a:pt x="4624575" y="4791777"/>
                    <a:pt x="4624575" y="4791777"/>
                    <a:pt x="269155" y="4791777"/>
                  </a:cubicBezTo>
                  <a:cubicBezTo>
                    <a:pt x="122344" y="4791777"/>
                    <a:pt x="0" y="4669538"/>
                    <a:pt x="0" y="4522851"/>
                  </a:cubicBezTo>
                  <a:cubicBezTo>
                    <a:pt x="0" y="4522851"/>
                    <a:pt x="0" y="4522851"/>
                    <a:pt x="0" y="268927"/>
                  </a:cubicBezTo>
                  <a:cubicBezTo>
                    <a:pt x="0" y="122239"/>
                    <a:pt x="122344" y="0"/>
                    <a:pt x="269155"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37148" tIns="109719" rIns="137148" bIns="109719"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699261"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5" name="Rectangle 104"/>
            <p:cNvSpPr/>
            <p:nvPr/>
          </p:nvSpPr>
          <p:spPr bwMode="auto">
            <a:xfrm rot="2745734">
              <a:off x="886688" y="2210975"/>
              <a:ext cx="1598323" cy="1625795"/>
            </a:xfrm>
            <a:prstGeom prst="rect">
              <a:avLst/>
            </a:prstGeom>
            <a:solidFill>
              <a:schemeClr val="tx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6" name="Rectangle 105"/>
            <p:cNvSpPr/>
            <p:nvPr/>
          </p:nvSpPr>
          <p:spPr bwMode="auto">
            <a:xfrm rot="2745734">
              <a:off x="292433" y="3819160"/>
              <a:ext cx="1610349" cy="1235003"/>
            </a:xfrm>
            <a:prstGeom prst="rect">
              <a:avLst/>
            </a:prstGeom>
            <a:solidFill>
              <a:schemeClr val="tx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7" name="Rectangle 106"/>
            <p:cNvSpPr/>
            <p:nvPr/>
          </p:nvSpPr>
          <p:spPr bwMode="auto">
            <a:xfrm rot="2745734">
              <a:off x="1315610" y="4915701"/>
              <a:ext cx="1263370" cy="1255989"/>
            </a:xfrm>
            <a:prstGeom prst="rect">
              <a:avLst/>
            </a:prstGeom>
            <a:solidFill>
              <a:schemeClr val="tx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37" name="Title 10"/>
          <p:cNvSpPr txBox="1">
            <a:spLocks/>
          </p:cNvSpPr>
          <p:nvPr/>
        </p:nvSpPr>
        <p:spPr>
          <a:xfrm>
            <a:off x="2849060" y="0"/>
            <a:ext cx="9342940" cy="665151"/>
          </a:xfrm>
          <a:prstGeom prst="rect">
            <a:avLst/>
          </a:prstGeom>
          <a:noFill/>
        </p:spPr>
        <p:txBody>
          <a:bodyPr vert="horz" wrap="square" lIns="0" tIns="91440" rIns="0" bIns="91440" rtlCol="0" anchor="t">
            <a:noAutofit/>
          </a:bodyPr>
          <a:lstStyle>
            <a:lvl1pPr defTabSz="914367">
              <a:lnSpc>
                <a:spcPct val="90000"/>
              </a:lnSpc>
              <a:spcBef>
                <a:spcPct val="0"/>
              </a:spcBef>
              <a:buNone/>
              <a:defRPr lang="en-US" sz="5294" b="0" cap="none" spc="-100" baseline="0" dirty="0" smtClean="0">
                <a:ln w="3175">
                  <a:noFill/>
                </a:ln>
                <a:solidFill>
                  <a:schemeClr val="tx2"/>
                </a:solidFill>
                <a:effectLst/>
                <a:latin typeface="+mj-lt"/>
                <a:cs typeface="Segoe UI" pitchFamily="34" charset="0"/>
              </a:defRPr>
            </a:lvl1pPr>
          </a:lstStyle>
          <a:p>
            <a:pPr marL="168275" marR="0" lvl="0" indent="0" algn="l" defTabSz="914367" rtl="0" eaLnBrk="1" fontAlgn="auto" latinLnBrk="0" hangingPunct="1">
              <a:lnSpc>
                <a:spcPct val="90000"/>
              </a:lnSpc>
              <a:spcBef>
                <a:spcPct val="0"/>
              </a:spcBef>
              <a:spcAft>
                <a:spcPts val="0"/>
              </a:spcAft>
              <a:buClrTx/>
              <a:buSzTx/>
              <a:buFontTx/>
              <a:buNone/>
              <a:tabLst/>
              <a:defRPr/>
            </a:pPr>
            <a:r>
              <a:rPr kumimoji="0" lang="en-US" sz="3600" b="0" i="0" u="none" strike="noStrike" kern="1200" cap="none" spc="-100" normalizeH="0" baseline="0" noProof="0">
                <a:ln w="3175">
                  <a:noFill/>
                </a:ln>
                <a:solidFill>
                  <a:prstClr val="black"/>
                </a:solidFill>
                <a:effectLst/>
                <a:uLnTx/>
                <a:uFillTx/>
                <a:latin typeface="Segoe UI Light"/>
                <a:ea typeface="+mn-ea"/>
                <a:cs typeface="Segoe UI" pitchFamily="34" charset="0"/>
              </a:rPr>
              <a:t>Calculations</a:t>
            </a:r>
            <a:endParaRPr kumimoji="0" lang="en-IN" sz="3600" b="0" i="0" u="none" strike="noStrike" kern="1200" cap="none" spc="-100" normalizeH="0" baseline="0" noProof="0">
              <a:ln w="3175">
                <a:noFill/>
              </a:ln>
              <a:solidFill>
                <a:prstClr val="black"/>
              </a:solidFill>
              <a:effectLst/>
              <a:uLnTx/>
              <a:uFillTx/>
              <a:latin typeface="Segoe UI Light"/>
              <a:ea typeface="+mn-ea"/>
              <a:cs typeface="Segoe UI" pitchFamily="34" charset="0"/>
            </a:endParaRPr>
          </a:p>
        </p:txBody>
      </p:sp>
      <p:sp>
        <p:nvSpPr>
          <p:cNvPr id="40" name="TextBox 39"/>
          <p:cNvSpPr txBox="1"/>
          <p:nvPr/>
        </p:nvSpPr>
        <p:spPr>
          <a:xfrm>
            <a:off x="3" y="51415"/>
            <a:ext cx="2849058" cy="430887"/>
          </a:xfrm>
          <a:prstGeom prst="rect">
            <a:avLst/>
          </a:prstGeom>
        </p:spPr>
        <p:txBody>
          <a:bodyPr wrap="square">
            <a:spAutoFit/>
          </a:bodyPr>
          <a:lstStyle>
            <a:defPPr>
              <a:defRPr lang="en-US"/>
            </a:defPPr>
            <a:lvl1pPr defTabSz="914192">
              <a:defRPr sz="2800" b="1" spc="-100">
                <a:ln w="3175">
                  <a:noFill/>
                </a:ln>
                <a:solidFill>
                  <a:srgbClr val="F2C812"/>
                </a:solidFill>
                <a:latin typeface="Segoe UI" panose="020B0502040204020203" pitchFamily="34" charset="0"/>
                <a:ea typeface="ＭＳ Ｐゴシック" charset="0"/>
                <a:cs typeface="Segoe UI" panose="020B0502040204020203" pitchFamily="34" charset="0"/>
              </a:defRPr>
            </a:lvl1pPr>
          </a:lstStyle>
          <a:p>
            <a:pPr marL="0" marR="0" lvl="0" indent="0" algn="l" defTabSz="914192" rtl="0" eaLnBrk="1" fontAlgn="auto" latinLnBrk="0" hangingPunct="1">
              <a:lnSpc>
                <a:spcPct val="100000"/>
              </a:lnSpc>
              <a:spcBef>
                <a:spcPts val="0"/>
              </a:spcBef>
              <a:spcAft>
                <a:spcPts val="0"/>
              </a:spcAft>
              <a:buClrTx/>
              <a:buSzTx/>
              <a:buFontTx/>
              <a:buNone/>
              <a:tabLst/>
              <a:defRPr/>
            </a:pPr>
            <a:r>
              <a:rPr kumimoji="0" lang="en-US" sz="2200" b="1" i="0" u="none" strike="noStrike" kern="1200" cap="none" spc="-100" normalizeH="0" baseline="0" noProof="0">
                <a:ln w="3175">
                  <a:noFill/>
                </a:ln>
                <a:solidFill>
                  <a:srgbClr val="F2C812"/>
                </a:solidFill>
                <a:effectLst/>
                <a:uLnTx/>
                <a:uFillTx/>
                <a:latin typeface="Segoe UI Light"/>
                <a:ea typeface="ＭＳ Ｐゴシック" charset="0"/>
                <a:cs typeface="Segoe UI" panose="020B0502040204020203" pitchFamily="34" charset="0"/>
              </a:rPr>
              <a:t>Power BI Desktop</a:t>
            </a:r>
          </a:p>
        </p:txBody>
      </p:sp>
      <p:sp>
        <p:nvSpPr>
          <p:cNvPr id="36" name="Rectangle 3"/>
          <p:cNvSpPr/>
          <p:nvPr/>
        </p:nvSpPr>
        <p:spPr bwMode="auto">
          <a:xfrm>
            <a:off x="3202216" y="665151"/>
            <a:ext cx="8105312" cy="44435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PT" sz="2000" b="0" i="1" u="none" strike="noStrike" kern="1200" cap="none" spc="0" normalizeH="0" baseline="0" noProof="0">
                <a:ln>
                  <a:noFill/>
                </a:ln>
                <a:solidFill>
                  <a:prstClr val="black"/>
                </a:solidFill>
                <a:effectLst/>
                <a:uLnTx/>
                <a:uFillTx/>
                <a:latin typeface="Segoe UI Light"/>
                <a:ea typeface="+mn-ea"/>
                <a:cs typeface="+mn-cs"/>
              </a:rPr>
              <a:t>Advanced Calculations</a:t>
            </a:r>
            <a:endParaRPr kumimoji="0" lang="en-US" sz="2000" b="0" i="1" u="none" strike="noStrike" kern="1200" cap="none" spc="0" normalizeH="0" baseline="0" noProof="0">
              <a:ln>
                <a:noFill/>
              </a:ln>
              <a:solidFill>
                <a:prstClr val="black"/>
              </a:solidFill>
              <a:effectLst/>
              <a:uLnTx/>
              <a:uFillTx/>
              <a:latin typeface="Segoe UI Light"/>
              <a:ea typeface="+mn-ea"/>
              <a:cs typeface="+mn-cs"/>
            </a:endParaRPr>
          </a:p>
        </p:txBody>
      </p:sp>
      <p:sp>
        <p:nvSpPr>
          <p:cNvPr id="38" name="Text Placeholder 2"/>
          <p:cNvSpPr txBox="1">
            <a:spLocks/>
          </p:cNvSpPr>
          <p:nvPr/>
        </p:nvSpPr>
        <p:spPr>
          <a:xfrm>
            <a:off x="2915396" y="1412203"/>
            <a:ext cx="9090381" cy="897374"/>
          </a:xfrm>
          <a:prstGeom prst="rect">
            <a:avLst/>
          </a:prstGeom>
        </p:spPr>
        <p:txBody>
          <a:bodyPr vert="horz" wrap="square" lIns="182880" tIns="146304" rIns="182880" bIns="146304" rtlCol="0">
            <a:noAutofit/>
          </a:bodyPr>
          <a:lstStyle>
            <a:lvl1pPr marL="182845" marR="0"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3921" kern="1200" spc="0" baseline="0">
                <a:gradFill>
                  <a:gsLst>
                    <a:gs pos="1250">
                      <a:schemeClr val="tx2"/>
                    </a:gs>
                    <a:gs pos="99000">
                      <a:schemeClr val="tx2"/>
                    </a:gs>
                  </a:gsLst>
                  <a:lin ang="5400000" scaled="0"/>
                </a:gradFill>
                <a:latin typeface="+mj-lt"/>
                <a:ea typeface="+mn-ea"/>
                <a:cs typeface="+mn-cs"/>
              </a:defRPr>
            </a:lvl1pPr>
            <a:lvl2pPr marL="365690" marR="0"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2400" kern="1200" spc="0" baseline="0">
                <a:solidFill>
                  <a:schemeClr val="tx2"/>
                </a:solidFill>
                <a:latin typeface="+mj-lt"/>
                <a:ea typeface="+mn-ea"/>
                <a:cs typeface="+mn-cs"/>
              </a:defRPr>
            </a:lvl2pPr>
            <a:lvl3pPr marL="548535" marR="0"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2000" kern="1200" spc="0" baseline="0">
                <a:solidFill>
                  <a:schemeClr val="tx2"/>
                </a:solidFill>
                <a:latin typeface="+mj-lt"/>
                <a:ea typeface="+mn-ea"/>
                <a:cs typeface="+mn-cs"/>
              </a:defRPr>
            </a:lvl3pPr>
            <a:lvl4pPr marL="733802" marR="0" indent="-28569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1765" kern="1200" spc="0" baseline="0">
                <a:solidFill>
                  <a:schemeClr val="tx2"/>
                </a:solidFill>
                <a:latin typeface="+mn-lt"/>
                <a:ea typeface="+mn-ea"/>
                <a:cs typeface="+mn-cs"/>
              </a:defRPr>
            </a:lvl4pPr>
            <a:lvl5pPr marL="957856" marR="0" indent="-28569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1765" kern="1200" spc="0" baseline="0">
                <a:solidFill>
                  <a:schemeClr val="tx2"/>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r>
              <a:rPr kumimoji="0" lang="en-US" sz="2400" b="1" i="0" u="none" strike="noStrike" kern="1200" cap="none" spc="0" normalizeH="0" baseline="0" noProof="0">
                <a:ln>
                  <a:noFill/>
                </a:ln>
                <a:solidFill>
                  <a:prstClr val="black"/>
                </a:solidFill>
                <a:effectLst/>
                <a:uLnTx/>
                <a:uFillTx/>
                <a:latin typeface="Segoe UI Light"/>
                <a:ea typeface="Calibri" panose="020F0502020204030204" pitchFamily="34" charset="0"/>
                <a:cs typeface="Times New Roman" panose="02020603050405020304" pitchFamily="18" charset="0"/>
              </a:rPr>
              <a:t>CALCULATE(&lt;measure expression&gt;, &lt;filter1&gt;, &lt;filter2&gt;, …) </a:t>
            </a:r>
            <a:r>
              <a:rPr kumimoji="0" lang="pt-PT" sz="2400" b="0" i="0" u="none" strike="noStrike" kern="1200" cap="none" spc="0" normalizeH="0" baseline="0" noProof="0">
                <a:ln>
                  <a:noFill/>
                </a:ln>
                <a:solidFill>
                  <a:prstClr val="black"/>
                </a:solidFill>
                <a:effectLst/>
                <a:uLnTx/>
                <a:uFillTx/>
                <a:latin typeface="Segoe UI Light"/>
                <a:ea typeface="Calibri" panose="020F0502020204030204" pitchFamily="34" charset="0"/>
                <a:cs typeface="Times New Roman" panose="02020603050405020304" pitchFamily="18" charset="0"/>
              </a:rPr>
              <a:t>allows us to change the filter context</a:t>
            </a: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pt-PT" sz="2400" b="1" i="0" u="none" strike="noStrike" kern="1200" cap="none" spc="0" normalizeH="0" baseline="0" noProof="0">
              <a:ln>
                <a:noFill/>
              </a:ln>
              <a:solidFill>
                <a:prstClr val="black"/>
              </a:solidFill>
              <a:effectLst/>
              <a:uLnTx/>
              <a:uFillTx/>
              <a:latin typeface="Segoe UI Light"/>
              <a:ea typeface="Calibri" panose="020F0502020204030204" pitchFamily="34" charset="0"/>
              <a:cs typeface="Times New Roman" panose="02020603050405020304" pitchFamily="18" charset="0"/>
            </a:endParaRPr>
          </a:p>
          <a:p>
            <a:pPr marL="182845" marR="0" lvl="1" indent="0" algn="l" defTabSz="914367" rtl="0" eaLnBrk="1" fontAlgn="auto" latinLnBrk="0" hangingPunct="1">
              <a:lnSpc>
                <a:spcPct val="90000"/>
              </a:lnSpc>
              <a:spcBef>
                <a:spcPct val="20000"/>
              </a:spcBef>
              <a:spcAft>
                <a:spcPts val="0"/>
              </a:spcAft>
              <a:buClrTx/>
              <a:buSzPct val="90000"/>
              <a:buFont typeface="Arial" panose="020B0604020202020204" pitchFamily="34" charset="0"/>
              <a:buNone/>
              <a:tabLst/>
              <a:defRPr/>
            </a:pPr>
            <a:r>
              <a:rPr kumimoji="0" lang="en-US" sz="2400" b="0" i="0" u="none" strike="noStrike" kern="1200" cap="none" spc="0" normalizeH="0" baseline="0" noProof="0">
                <a:ln>
                  <a:noFill/>
                </a:ln>
                <a:solidFill>
                  <a:srgbClr val="000000"/>
                </a:solidFill>
                <a:effectLst/>
                <a:uLnTx/>
                <a:uFillTx/>
                <a:latin typeface="Segoe UI Light"/>
                <a:ea typeface="+mn-ea"/>
                <a:cs typeface="+mn-cs"/>
              </a:rPr>
              <a:t>No Discount Sales =</a:t>
            </a:r>
            <a:br>
              <a:rPr kumimoji="0" lang="en-US" sz="2400" b="0" i="0" u="none" strike="noStrike" kern="1200" cap="none" spc="0" normalizeH="0" baseline="0" noProof="0">
                <a:ln>
                  <a:noFill/>
                </a:ln>
                <a:solidFill>
                  <a:srgbClr val="000000"/>
                </a:solidFill>
                <a:effectLst/>
                <a:uLnTx/>
                <a:uFillTx/>
                <a:latin typeface="Segoe UI Light"/>
                <a:ea typeface="+mn-ea"/>
                <a:cs typeface="+mn-cs"/>
              </a:rPr>
            </a:br>
            <a:r>
              <a:rPr kumimoji="0" lang="en-US" sz="2400" b="0" i="0" u="none" strike="noStrike" kern="1200" cap="none" spc="0" normalizeH="0" baseline="0" noProof="0">
                <a:ln>
                  <a:noFill/>
                </a:ln>
                <a:solidFill>
                  <a:srgbClr val="0070FF"/>
                </a:solidFill>
                <a:effectLst/>
                <a:uLnTx/>
                <a:uFillTx/>
                <a:latin typeface="Segoe UI Light"/>
                <a:ea typeface="+mn-ea"/>
                <a:cs typeface="+mn-cs"/>
              </a:rPr>
              <a:t>CALCULATE</a:t>
            </a:r>
            <a:r>
              <a:rPr kumimoji="0" lang="en-US" sz="2400" b="0" i="0" u="none" strike="noStrike" kern="1200" cap="none" spc="0" normalizeH="0" baseline="0" noProof="0">
                <a:ln>
                  <a:noFill/>
                </a:ln>
                <a:solidFill>
                  <a:srgbClr val="D0D0D0"/>
                </a:solidFill>
                <a:effectLst/>
                <a:uLnTx/>
                <a:uFillTx/>
                <a:latin typeface="Segoe UI Light"/>
                <a:ea typeface="+mn-ea"/>
                <a:cs typeface="+mn-cs"/>
              </a:rPr>
              <a:t> (</a:t>
            </a:r>
            <a:br>
              <a:rPr kumimoji="0" lang="en-US" sz="2400" b="0" i="0" u="none" strike="noStrike" kern="1200" cap="none" spc="0" normalizeH="0" baseline="0" noProof="0">
                <a:ln>
                  <a:noFill/>
                </a:ln>
                <a:solidFill>
                  <a:srgbClr val="000000"/>
                </a:solidFill>
                <a:effectLst/>
                <a:uLnTx/>
                <a:uFillTx/>
                <a:latin typeface="Segoe UI Light"/>
                <a:ea typeface="+mn-ea"/>
                <a:cs typeface="+mn-cs"/>
              </a:rPr>
            </a:br>
            <a:r>
              <a:rPr kumimoji="0" lang="en-US" sz="2400" b="0" i="0" u="none" strike="noStrike" kern="1200" cap="none" spc="0" normalizeH="0" baseline="0" noProof="0">
                <a:ln>
                  <a:noFill/>
                </a:ln>
                <a:solidFill>
                  <a:srgbClr val="000000"/>
                </a:solidFill>
                <a:effectLst/>
                <a:uLnTx/>
                <a:uFillTx/>
                <a:latin typeface="Segoe UI Light"/>
                <a:ea typeface="+mn-ea"/>
                <a:cs typeface="+mn-cs"/>
              </a:rPr>
              <a:t>    </a:t>
            </a:r>
            <a:r>
              <a:rPr kumimoji="0" lang="en-US" sz="2400" b="0" i="0" u="none" strike="noStrike" kern="1200" cap="none" spc="0" normalizeH="0" baseline="0" noProof="0">
                <a:ln>
                  <a:noFill/>
                </a:ln>
                <a:solidFill>
                  <a:srgbClr val="0070FF"/>
                </a:solidFill>
                <a:effectLst/>
                <a:uLnTx/>
                <a:uFillTx/>
                <a:latin typeface="Segoe UI Light"/>
                <a:ea typeface="+mn-ea"/>
                <a:cs typeface="+mn-cs"/>
              </a:rPr>
              <a:t>SUM</a:t>
            </a:r>
            <a:r>
              <a:rPr kumimoji="0" lang="en-US" sz="2400" b="0" i="0" u="none" strike="noStrike" kern="1200" cap="none" spc="0" normalizeH="0" baseline="0" noProof="0">
                <a:ln>
                  <a:noFill/>
                </a:ln>
                <a:solidFill>
                  <a:srgbClr val="D0D0D0"/>
                </a:solidFill>
                <a:effectLst/>
                <a:uLnTx/>
                <a:uFillTx/>
                <a:latin typeface="Segoe UI Light"/>
                <a:ea typeface="+mn-ea"/>
                <a:cs typeface="+mn-cs"/>
              </a:rPr>
              <a:t> (</a:t>
            </a:r>
            <a:r>
              <a:rPr kumimoji="0" lang="en-US" sz="2400" b="0" i="0" u="none" strike="noStrike" kern="1200" cap="none" spc="0" normalizeH="0" baseline="0" noProof="0">
                <a:ln>
                  <a:noFill/>
                </a:ln>
                <a:solidFill>
                  <a:srgbClr val="000000"/>
                </a:solidFill>
                <a:effectLst/>
                <a:uLnTx/>
                <a:uFillTx/>
                <a:latin typeface="Segoe UI Light"/>
                <a:ea typeface="+mn-ea"/>
                <a:cs typeface="+mn-cs"/>
              </a:rPr>
              <a:t> FactResellerSales[SalesAmount] </a:t>
            </a:r>
            <a:r>
              <a:rPr kumimoji="0" lang="en-US" sz="2400" b="0" i="0" u="none" strike="noStrike" kern="1200" cap="none" spc="0" normalizeH="0" baseline="0" noProof="0">
                <a:ln>
                  <a:noFill/>
                </a:ln>
                <a:solidFill>
                  <a:srgbClr val="D0D0D0"/>
                </a:solidFill>
                <a:effectLst/>
                <a:uLnTx/>
                <a:uFillTx/>
                <a:latin typeface="Segoe UI Light"/>
                <a:ea typeface="+mn-ea"/>
                <a:cs typeface="+mn-cs"/>
              </a:rPr>
              <a:t>)</a:t>
            </a:r>
            <a:r>
              <a:rPr kumimoji="0" lang="en-US" sz="2400" b="0" i="0" u="none" strike="noStrike" kern="1200" cap="none" spc="0" normalizeH="0" baseline="0" noProof="0">
                <a:ln>
                  <a:noFill/>
                </a:ln>
                <a:solidFill>
                  <a:srgbClr val="000000"/>
                </a:solidFill>
                <a:effectLst/>
                <a:uLnTx/>
                <a:uFillTx/>
                <a:latin typeface="Segoe UI Light"/>
                <a:ea typeface="+mn-ea"/>
                <a:cs typeface="+mn-cs"/>
              </a:rPr>
              <a:t>,</a:t>
            </a:r>
            <a:br>
              <a:rPr kumimoji="0" lang="en-US" sz="2400" b="0" i="0" u="none" strike="noStrike" kern="1200" cap="none" spc="0" normalizeH="0" baseline="0" noProof="0">
                <a:ln>
                  <a:noFill/>
                </a:ln>
                <a:solidFill>
                  <a:srgbClr val="000000"/>
                </a:solidFill>
                <a:effectLst/>
                <a:uLnTx/>
                <a:uFillTx/>
                <a:latin typeface="Segoe UI Light"/>
                <a:ea typeface="+mn-ea"/>
                <a:cs typeface="+mn-cs"/>
              </a:rPr>
            </a:br>
            <a:r>
              <a:rPr kumimoji="0" lang="en-US" sz="2400" b="0" i="0" u="none" strike="noStrike" kern="1200" cap="none" spc="0" normalizeH="0" baseline="0" noProof="0">
                <a:ln>
                  <a:noFill/>
                </a:ln>
                <a:solidFill>
                  <a:srgbClr val="000000"/>
                </a:solidFill>
                <a:effectLst/>
                <a:uLnTx/>
                <a:uFillTx/>
                <a:latin typeface="Segoe UI Light"/>
                <a:ea typeface="+mn-ea"/>
                <a:cs typeface="+mn-cs"/>
              </a:rPr>
              <a:t>    DimPromotion[EnglishPromotionName] = </a:t>
            </a:r>
            <a:r>
              <a:rPr kumimoji="0" lang="en-US" sz="2400" b="0" i="0" u="none" strike="noStrike" kern="1200" cap="none" spc="0" normalizeH="0" baseline="0" noProof="0">
                <a:ln>
                  <a:noFill/>
                </a:ln>
                <a:solidFill>
                  <a:srgbClr val="D93124"/>
                </a:solidFill>
                <a:effectLst/>
                <a:uLnTx/>
                <a:uFillTx/>
                <a:latin typeface="Segoe UI Light"/>
                <a:ea typeface="+mn-ea"/>
                <a:cs typeface="+mn-cs"/>
              </a:rPr>
              <a:t>"No Discount"</a:t>
            </a:r>
            <a:br>
              <a:rPr kumimoji="0" lang="en-US" sz="2400" b="0" i="0" u="none" strike="noStrike" kern="1200" cap="none" spc="0" normalizeH="0" baseline="0" noProof="0">
                <a:ln>
                  <a:noFill/>
                </a:ln>
                <a:solidFill>
                  <a:srgbClr val="000000"/>
                </a:solidFill>
                <a:effectLst/>
                <a:uLnTx/>
                <a:uFillTx/>
                <a:latin typeface="Segoe UI Light"/>
                <a:ea typeface="+mn-ea"/>
                <a:cs typeface="+mn-cs"/>
              </a:rPr>
            </a:br>
            <a:r>
              <a:rPr kumimoji="0" lang="en-US" sz="2400" b="0" i="0" u="none" strike="noStrike" kern="1200" cap="none" spc="0" normalizeH="0" baseline="0" noProof="0">
                <a:ln>
                  <a:noFill/>
                </a:ln>
                <a:solidFill>
                  <a:srgbClr val="D0D0D0"/>
                </a:solidFill>
                <a:effectLst/>
                <a:uLnTx/>
                <a:uFillTx/>
                <a:latin typeface="Segoe UI Light"/>
                <a:ea typeface="+mn-ea"/>
                <a:cs typeface="+mn-cs"/>
              </a:rPr>
              <a:t>)</a:t>
            </a:r>
          </a:p>
          <a:p>
            <a:pPr marL="182845" marR="0" lvl="1" indent="0" algn="l" defTabSz="914367" rtl="0" eaLnBrk="1" fontAlgn="auto" latinLnBrk="0" hangingPunct="1">
              <a:lnSpc>
                <a:spcPct val="90000"/>
              </a:lnSpc>
              <a:spcBef>
                <a:spcPct val="20000"/>
              </a:spcBef>
              <a:spcAft>
                <a:spcPts val="0"/>
              </a:spcAft>
              <a:buClrTx/>
              <a:buSzPct val="90000"/>
              <a:buFont typeface="Arial" panose="020B0604020202020204" pitchFamily="34" charset="0"/>
              <a:buNone/>
              <a:tabLst/>
              <a:defRPr/>
            </a:pPr>
            <a:endParaRPr kumimoji="0" lang="en-US" sz="2400" b="1" i="0" u="none" strike="noStrike" kern="1200" cap="none" spc="0" normalizeH="0" baseline="0" noProof="0">
              <a:ln>
                <a:noFill/>
              </a:ln>
              <a:solidFill>
                <a:srgbClr val="D0D0D0"/>
              </a:solidFill>
              <a:effectLst/>
              <a:uLnTx/>
              <a:uFillTx/>
              <a:latin typeface="Segoe UI Light"/>
              <a:ea typeface="Calibri" panose="020F0502020204030204" pitchFamily="34" charset="0"/>
              <a:cs typeface="Times New Roman" panose="02020603050405020304" pitchFamily="18" charset="0"/>
            </a:endParaRPr>
          </a:p>
          <a:p>
            <a:pPr marL="182845" marR="0" lvl="1" indent="0" algn="l" defTabSz="914367" rtl="0" eaLnBrk="1" fontAlgn="auto" latinLnBrk="0" hangingPunct="1">
              <a:lnSpc>
                <a:spcPct val="90000"/>
              </a:lnSpc>
              <a:spcBef>
                <a:spcPct val="20000"/>
              </a:spcBef>
              <a:spcAft>
                <a:spcPts val="0"/>
              </a:spcAft>
              <a:buClrTx/>
              <a:buSzPct val="90000"/>
              <a:buFont typeface="Arial" panose="020B0604020202020204" pitchFamily="34" charset="0"/>
              <a:buNone/>
              <a:tabLst/>
              <a:defRPr/>
            </a:pPr>
            <a:endParaRPr kumimoji="0" lang="pt-PT" sz="2400" b="1" i="0" u="none" strike="noStrike" kern="1200" cap="none" spc="0" normalizeH="0" baseline="0" noProof="0">
              <a:ln>
                <a:noFill/>
              </a:ln>
              <a:solidFill>
                <a:prstClr val="black"/>
              </a:solidFill>
              <a:effectLst/>
              <a:uLnTx/>
              <a:uFillTx/>
              <a:latin typeface="Segoe UI Light"/>
              <a:ea typeface="Calibri" panose="020F0502020204030204" pitchFamily="34" charset="0"/>
              <a:cs typeface="Times New Roman" panose="02020603050405020304" pitchFamily="18" charset="0"/>
            </a:endParaRPr>
          </a:p>
        </p:txBody>
      </p:sp>
      <p:pic>
        <p:nvPicPr>
          <p:cNvPr id="6" name="Picture 5"/>
          <p:cNvPicPr>
            <a:picLocks noChangeAspect="1"/>
          </p:cNvPicPr>
          <p:nvPr/>
        </p:nvPicPr>
        <p:blipFill>
          <a:blip r:embed="rId3"/>
          <a:stretch>
            <a:fillRect/>
          </a:stretch>
        </p:blipFill>
        <p:spPr>
          <a:xfrm>
            <a:off x="4852788" y="4598853"/>
            <a:ext cx="4804167" cy="1824992"/>
          </a:xfrm>
          <a:prstGeom prst="rect">
            <a:avLst/>
          </a:prstGeom>
          <a:ln>
            <a:noFill/>
          </a:ln>
          <a:effectLst>
            <a:outerShdw blurRad="190500" algn="tl" rotWithShape="0">
              <a:srgbClr val="000000">
                <a:alpha val="70000"/>
              </a:srgbClr>
            </a:outerShdw>
          </a:effectLst>
        </p:spPr>
      </p:pic>
    </p:spTree>
    <p:extLst>
      <p:ext uri="{BB962C8B-B14F-4D97-AF65-F5344CB8AC3E}">
        <p14:creationId xmlns:p14="http://schemas.microsoft.com/office/powerpoint/2010/main" val="10035881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1.xml><?xml version="1.0" encoding="utf-8"?>
<p:sld xmlns:a="http://schemas.openxmlformats.org/drawingml/2006/main" xmlns:r="http://schemas.openxmlformats.org/officeDocument/2006/relationships" xmlns:p="http://schemas.openxmlformats.org/presentationml/2006/main">
  <p:cSld>
    <p:bg>
      <p:bgPr>
        <a:solidFill>
          <a:srgbClr val="F2C81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solidFill>
                  <a:schemeClr val="bg1"/>
                </a:solidFill>
              </a:rPr>
              <a:t>Power BI Desktop:</a:t>
            </a:r>
            <a:br>
              <a:rPr lang="en-US">
                <a:solidFill>
                  <a:schemeClr val="bg1"/>
                </a:solidFill>
              </a:rPr>
            </a:br>
            <a:r>
              <a:rPr lang="en-US">
                <a:solidFill>
                  <a:schemeClr val="bg1"/>
                </a:solidFill>
              </a:rPr>
              <a:t>Building a Report</a:t>
            </a:r>
          </a:p>
        </p:txBody>
      </p:sp>
    </p:spTree>
    <p:extLst>
      <p:ext uri="{BB962C8B-B14F-4D97-AF65-F5344CB8AC3E}">
        <p14:creationId xmlns:p14="http://schemas.microsoft.com/office/powerpoint/2010/main" val="1807627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2" name="Group 51"/>
          <p:cNvGrpSpPr/>
          <p:nvPr/>
        </p:nvGrpSpPr>
        <p:grpSpPr>
          <a:xfrm>
            <a:off x="2" y="1"/>
            <a:ext cx="2849058" cy="6858000"/>
            <a:chOff x="2" y="1"/>
            <a:chExt cx="2849058" cy="6858000"/>
          </a:xfrm>
        </p:grpSpPr>
        <p:sp>
          <p:nvSpPr>
            <p:cNvPr id="71" name="Rectangle 70"/>
            <p:cNvSpPr/>
            <p:nvPr/>
          </p:nvSpPr>
          <p:spPr bwMode="auto">
            <a:xfrm>
              <a:off x="2" y="1"/>
              <a:ext cx="2849058"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3" name="Oval 70"/>
            <p:cNvSpPr/>
            <p:nvPr/>
          </p:nvSpPr>
          <p:spPr>
            <a:xfrm>
              <a:off x="1413521" y="4951537"/>
              <a:ext cx="1119626" cy="1119626"/>
            </a:xfrm>
            <a:prstGeom prst="ellipse">
              <a:avLst/>
            </a:prstGeom>
            <a:solidFill>
              <a:srgbClr val="F2C812"/>
            </a:solidFill>
            <a:ln w="3175" cap="flat" cmpd="sng" algn="ctr">
              <a:noFill/>
              <a:prstDash val="solid"/>
            </a:ln>
            <a:effectLst/>
          </p:spPr>
          <p:txBody>
            <a:bodyPr vert="horz" wrap="none" lIns="0" tIns="45720" rIns="0" bIns="0" rtlCol="0" anchor="t"/>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Segoe UI"/>
                  <a:ea typeface="Segoe UI" pitchFamily="34" charset="0"/>
                  <a:cs typeface="Segoe UI" pitchFamily="34" charset="0"/>
                </a:rPr>
                <a:t>Share &amp;</a:t>
              </a:r>
            </a:p>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Segoe UI"/>
                  <a:ea typeface="Segoe UI" pitchFamily="34" charset="0"/>
                  <a:cs typeface="Segoe UI" pitchFamily="34" charset="0"/>
                </a:rPr>
                <a:t>collaborate </a:t>
              </a:r>
            </a:p>
          </p:txBody>
        </p:sp>
        <p:grpSp>
          <p:nvGrpSpPr>
            <p:cNvPr id="76" name="Group 38"/>
            <p:cNvGrpSpPr>
              <a:grpSpLocks noChangeAspect="1"/>
            </p:cNvGrpSpPr>
            <p:nvPr/>
          </p:nvGrpSpPr>
          <p:grpSpPr>
            <a:xfrm>
              <a:off x="676996" y="3930692"/>
              <a:ext cx="383905" cy="351536"/>
              <a:chOff x="4363684" y="5330386"/>
              <a:chExt cx="1409956" cy="1291077"/>
            </a:xfrm>
            <a:solidFill>
              <a:srgbClr val="217346"/>
            </a:solidFill>
          </p:grpSpPr>
          <p:sp>
            <p:nvSpPr>
              <p:cNvPr id="102" name="Donut 3"/>
              <p:cNvSpPr/>
              <p:nvPr/>
            </p:nvSpPr>
            <p:spPr bwMode="auto">
              <a:xfrm>
                <a:off x="4363684" y="5330386"/>
                <a:ext cx="1409956" cy="1291077"/>
              </a:xfrm>
              <a:custGeom>
                <a:avLst/>
                <a:gdLst/>
                <a:ahLst/>
                <a:cxnLst/>
                <a:rect l="l" t="t" r="r" b="b"/>
                <a:pathLst>
                  <a:path w="1409956" h="1291077">
                    <a:moveTo>
                      <a:pt x="956401" y="78410"/>
                    </a:moveTo>
                    <a:cubicBezTo>
                      <a:pt x="747518" y="78410"/>
                      <a:pt x="578184" y="247744"/>
                      <a:pt x="578184" y="456627"/>
                    </a:cubicBezTo>
                    <a:cubicBezTo>
                      <a:pt x="578184" y="665510"/>
                      <a:pt x="747518" y="834844"/>
                      <a:pt x="956401" y="834844"/>
                    </a:cubicBezTo>
                    <a:cubicBezTo>
                      <a:pt x="1165284" y="834844"/>
                      <a:pt x="1334618" y="665510"/>
                      <a:pt x="1334618" y="456627"/>
                    </a:cubicBezTo>
                    <a:cubicBezTo>
                      <a:pt x="1334618" y="247744"/>
                      <a:pt x="1165284" y="78410"/>
                      <a:pt x="956401" y="78410"/>
                    </a:cubicBezTo>
                    <a:close/>
                    <a:moveTo>
                      <a:pt x="952756" y="0"/>
                    </a:moveTo>
                    <a:cubicBezTo>
                      <a:pt x="1205261" y="0"/>
                      <a:pt x="1409956" y="204695"/>
                      <a:pt x="1409956" y="457200"/>
                    </a:cubicBezTo>
                    <a:cubicBezTo>
                      <a:pt x="1409956" y="709705"/>
                      <a:pt x="1205261" y="914400"/>
                      <a:pt x="952756" y="914400"/>
                    </a:cubicBezTo>
                    <a:cubicBezTo>
                      <a:pt x="862133" y="914400"/>
                      <a:pt x="777669" y="888034"/>
                      <a:pt x="707132" y="841746"/>
                    </a:cubicBezTo>
                    <a:lnTo>
                      <a:pt x="136495" y="1280102"/>
                    </a:lnTo>
                    <a:cubicBezTo>
                      <a:pt x="21896" y="1327168"/>
                      <a:pt x="-44029" y="1213730"/>
                      <a:pt x="33797" y="1113182"/>
                    </a:cubicBezTo>
                    <a:lnTo>
                      <a:pt x="568587" y="703518"/>
                    </a:lnTo>
                    <a:cubicBezTo>
                      <a:pt x="522087" y="632814"/>
                      <a:pt x="495556" y="548105"/>
                      <a:pt x="495556" y="457200"/>
                    </a:cubicBezTo>
                    <a:cubicBezTo>
                      <a:pt x="495556" y="204695"/>
                      <a:pt x="700251" y="0"/>
                      <a:pt x="952756" y="0"/>
                    </a:cubicBezTo>
                    <a:close/>
                  </a:path>
                </a:pathLst>
              </a:custGeom>
              <a:grpFill/>
              <a:ln>
                <a:solidFill>
                  <a:srgbClr val="21734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sp>
            <p:nvSpPr>
              <p:cNvPr id="103" name="Rectangle 4"/>
              <p:cNvSpPr/>
              <p:nvPr/>
            </p:nvSpPr>
            <p:spPr>
              <a:xfrm>
                <a:off x="5058389" y="5528247"/>
                <a:ext cx="490885" cy="490020"/>
              </a:xfrm>
              <a:custGeom>
                <a:avLst/>
                <a:gdLst/>
                <a:ahLst/>
                <a:cxnLst/>
                <a:rect l="l" t="t" r="r" b="b"/>
                <a:pathLst>
                  <a:path w="490885" h="490020">
                    <a:moveTo>
                      <a:pt x="240752" y="0"/>
                    </a:moveTo>
                    <a:cubicBezTo>
                      <a:pt x="253961" y="11844"/>
                      <a:pt x="293310" y="49692"/>
                      <a:pt x="337332" y="92439"/>
                    </a:cubicBezTo>
                    <a:lnTo>
                      <a:pt x="328342" y="81259"/>
                    </a:lnTo>
                    <a:cubicBezTo>
                      <a:pt x="356946" y="111282"/>
                      <a:pt x="377251" y="107167"/>
                      <a:pt x="382515" y="87941"/>
                    </a:cubicBezTo>
                    <a:cubicBezTo>
                      <a:pt x="383951" y="76921"/>
                      <a:pt x="384595" y="68732"/>
                      <a:pt x="396997" y="52239"/>
                    </a:cubicBezTo>
                    <a:cubicBezTo>
                      <a:pt x="420362" y="32084"/>
                      <a:pt x="442294" y="41736"/>
                      <a:pt x="454920" y="51330"/>
                    </a:cubicBezTo>
                    <a:cubicBezTo>
                      <a:pt x="467834" y="62761"/>
                      <a:pt x="477920" y="86882"/>
                      <a:pt x="460392" y="109714"/>
                    </a:cubicBezTo>
                    <a:cubicBezTo>
                      <a:pt x="451128" y="121912"/>
                      <a:pt x="437554" y="126838"/>
                      <a:pt x="425922" y="126505"/>
                    </a:cubicBezTo>
                    <a:cubicBezTo>
                      <a:pt x="424301" y="127609"/>
                      <a:pt x="382890" y="134974"/>
                      <a:pt x="427348" y="177672"/>
                    </a:cubicBezTo>
                    <a:lnTo>
                      <a:pt x="416886" y="169735"/>
                    </a:lnTo>
                    <a:cubicBezTo>
                      <a:pt x="450207" y="202177"/>
                      <a:pt x="478424" y="229744"/>
                      <a:pt x="490885" y="241900"/>
                    </a:cubicBezTo>
                    <a:lnTo>
                      <a:pt x="417150" y="317347"/>
                    </a:lnTo>
                    <a:cubicBezTo>
                      <a:pt x="417744" y="316535"/>
                      <a:pt x="418443" y="316123"/>
                      <a:pt x="419047" y="315822"/>
                    </a:cubicBezTo>
                    <a:cubicBezTo>
                      <a:pt x="389023" y="344426"/>
                      <a:pt x="393138" y="364731"/>
                      <a:pt x="412364" y="369995"/>
                    </a:cubicBezTo>
                    <a:cubicBezTo>
                      <a:pt x="423384" y="371431"/>
                      <a:pt x="431574" y="372075"/>
                      <a:pt x="448067" y="384477"/>
                    </a:cubicBezTo>
                    <a:cubicBezTo>
                      <a:pt x="468221" y="407842"/>
                      <a:pt x="458569" y="429774"/>
                      <a:pt x="448975" y="442400"/>
                    </a:cubicBezTo>
                    <a:cubicBezTo>
                      <a:pt x="437545" y="455314"/>
                      <a:pt x="413423" y="465400"/>
                      <a:pt x="390591" y="447872"/>
                    </a:cubicBezTo>
                    <a:cubicBezTo>
                      <a:pt x="378394" y="438608"/>
                      <a:pt x="373468" y="425034"/>
                      <a:pt x="373800" y="413402"/>
                    </a:cubicBezTo>
                    <a:cubicBezTo>
                      <a:pt x="372696" y="411781"/>
                      <a:pt x="365332" y="370370"/>
                      <a:pt x="322634" y="414828"/>
                    </a:cubicBezTo>
                    <a:lnTo>
                      <a:pt x="325243" y="411388"/>
                    </a:lnTo>
                    <a:lnTo>
                      <a:pt x="248395" y="490020"/>
                    </a:lnTo>
                    <a:cubicBezTo>
                      <a:pt x="208939" y="451897"/>
                      <a:pt x="199129" y="442073"/>
                      <a:pt x="174192" y="418236"/>
                    </a:cubicBezTo>
                    <a:cubicBezTo>
                      <a:pt x="145587" y="388212"/>
                      <a:pt x="125282" y="392327"/>
                      <a:pt x="120018" y="411553"/>
                    </a:cubicBezTo>
                    <a:cubicBezTo>
                      <a:pt x="118582" y="422573"/>
                      <a:pt x="117938" y="430763"/>
                      <a:pt x="105536" y="447256"/>
                    </a:cubicBezTo>
                    <a:cubicBezTo>
                      <a:pt x="82171" y="467410"/>
                      <a:pt x="60239" y="457758"/>
                      <a:pt x="47614" y="448164"/>
                    </a:cubicBezTo>
                    <a:cubicBezTo>
                      <a:pt x="34699" y="436734"/>
                      <a:pt x="24614" y="412612"/>
                      <a:pt x="42141" y="389780"/>
                    </a:cubicBezTo>
                    <a:cubicBezTo>
                      <a:pt x="51405" y="377583"/>
                      <a:pt x="64979" y="372657"/>
                      <a:pt x="76612" y="372989"/>
                    </a:cubicBezTo>
                    <a:cubicBezTo>
                      <a:pt x="78232" y="371886"/>
                      <a:pt x="119644" y="364521"/>
                      <a:pt x="75186" y="321823"/>
                    </a:cubicBezTo>
                    <a:cubicBezTo>
                      <a:pt x="58767" y="305402"/>
                      <a:pt x="23648" y="271235"/>
                      <a:pt x="0" y="248738"/>
                    </a:cubicBezTo>
                    <a:lnTo>
                      <a:pt x="77303" y="168146"/>
                    </a:lnTo>
                    <a:cubicBezTo>
                      <a:pt x="104269" y="140313"/>
                      <a:pt x="122130" y="156409"/>
                      <a:pt x="124388" y="175543"/>
                    </a:cubicBezTo>
                    <a:cubicBezTo>
                      <a:pt x="124457" y="182466"/>
                      <a:pt x="127106" y="193106"/>
                      <a:pt x="137575" y="203052"/>
                    </a:cubicBezTo>
                    <a:cubicBezTo>
                      <a:pt x="153931" y="220277"/>
                      <a:pt x="181252" y="217451"/>
                      <a:pt x="196721" y="201951"/>
                    </a:cubicBezTo>
                    <a:cubicBezTo>
                      <a:pt x="211961" y="185740"/>
                      <a:pt x="213057" y="157882"/>
                      <a:pt x="196146" y="142797"/>
                    </a:cubicBezTo>
                    <a:cubicBezTo>
                      <a:pt x="184301" y="132637"/>
                      <a:pt x="177155" y="131453"/>
                      <a:pt x="166513" y="129894"/>
                    </a:cubicBezTo>
                    <a:cubicBezTo>
                      <a:pt x="154522" y="129013"/>
                      <a:pt x="131185" y="112953"/>
                      <a:pt x="157905" y="85228"/>
                    </a:cubicBezTo>
                    <a:close/>
                  </a:path>
                </a:pathLst>
              </a:custGeom>
              <a:grpFill/>
              <a:ln>
                <a:solidFill>
                  <a:srgbClr val="21734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grpSp>
        <p:sp>
          <p:nvSpPr>
            <p:cNvPr id="77" name="Oval 47"/>
            <p:cNvSpPr/>
            <p:nvPr/>
          </p:nvSpPr>
          <p:spPr>
            <a:xfrm>
              <a:off x="388608" y="3710471"/>
              <a:ext cx="1119626" cy="1119626"/>
            </a:xfrm>
            <a:prstGeom prst="ellipse">
              <a:avLst/>
            </a:prstGeom>
            <a:solidFill>
              <a:srgbClr val="F2C812"/>
            </a:solidFill>
            <a:ln w="3175" cap="flat" cmpd="sng" algn="ctr">
              <a:noFill/>
              <a:prstDash val="solid"/>
            </a:ln>
            <a:effectLst/>
          </p:spPr>
          <p:txBody>
            <a:bodyPr vert="horz" wrap="none" lIns="0" tIns="45720" rIns="0" bIns="0" rtlCol="0" anchor="t"/>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Segoe UI"/>
                  <a:ea typeface="Segoe UI" pitchFamily="34" charset="0"/>
                  <a:cs typeface="Segoe UI" pitchFamily="34" charset="0"/>
                </a:rPr>
                <a:t>Report</a:t>
              </a:r>
            </a:p>
          </p:txBody>
        </p:sp>
        <p:sp>
          <p:nvSpPr>
            <p:cNvPr id="78" name="Oval 950"/>
            <p:cNvSpPr/>
            <p:nvPr/>
          </p:nvSpPr>
          <p:spPr>
            <a:xfrm>
              <a:off x="388608" y="1252295"/>
              <a:ext cx="1119626" cy="1119626"/>
            </a:xfrm>
            <a:prstGeom prst="ellipse">
              <a:avLst/>
            </a:prstGeom>
            <a:solidFill>
              <a:srgbClr val="F2C812"/>
            </a:solidFill>
            <a:ln w="3175" cap="flat" cmpd="sng" algn="ctr">
              <a:noFill/>
              <a:prstDash val="solid"/>
            </a:ln>
            <a:effectLst/>
          </p:spPr>
          <p:txBody>
            <a:bodyPr vert="horz" wrap="none" lIns="0" tIns="45720" rIns="0" bIns="0" rtlCol="0" anchor="t"/>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1" i="0" u="none" strike="noStrike" kern="1200" cap="none" spc="0" normalizeH="0" baseline="0" noProof="0">
                <a:ln>
                  <a:noFill/>
                </a:ln>
                <a:solidFill>
                  <a:srgbClr val="217346"/>
                </a:solidFill>
                <a:effectLst/>
                <a:uLnTx/>
                <a:uFillTx/>
                <a:latin typeface="Segoe UI"/>
                <a:ea typeface="Segoe UI" pitchFamily="34" charset="0"/>
                <a:cs typeface="Segoe UI" pitchFamily="34" charset="0"/>
              </a:endParaRPr>
            </a:p>
          </p:txBody>
        </p:sp>
        <p:grpSp>
          <p:nvGrpSpPr>
            <p:cNvPr id="79" name="Group 78"/>
            <p:cNvGrpSpPr/>
            <p:nvPr/>
          </p:nvGrpSpPr>
          <p:grpSpPr>
            <a:xfrm>
              <a:off x="1264851" y="3482890"/>
              <a:ext cx="292254" cy="354906"/>
              <a:chOff x="1296521" y="3253388"/>
              <a:chExt cx="292254" cy="354906"/>
            </a:xfrm>
            <a:solidFill>
              <a:srgbClr val="F2C812"/>
            </a:solidFill>
          </p:grpSpPr>
          <p:sp>
            <p:nvSpPr>
              <p:cNvPr id="99" name="Isosceles Triangle 98"/>
              <p:cNvSpPr/>
              <p:nvPr/>
            </p:nvSpPr>
            <p:spPr bwMode="auto">
              <a:xfrm rot="13636515">
                <a:off x="1461362" y="328936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0" name="Isosceles Triangle 99"/>
              <p:cNvSpPr/>
              <p:nvPr/>
            </p:nvSpPr>
            <p:spPr bwMode="auto">
              <a:xfrm rot="13636515">
                <a:off x="1357669" y="338258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1" name="Isosceles Triangle 100"/>
              <p:cNvSpPr/>
              <p:nvPr/>
            </p:nvSpPr>
            <p:spPr bwMode="auto">
              <a:xfrm rot="13636515">
                <a:off x="1260548" y="3480882"/>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80" name="Group 79"/>
            <p:cNvGrpSpPr/>
            <p:nvPr/>
          </p:nvGrpSpPr>
          <p:grpSpPr>
            <a:xfrm rot="15940603">
              <a:off x="1334576" y="2204404"/>
              <a:ext cx="292254" cy="354906"/>
              <a:chOff x="1296521" y="3253388"/>
              <a:chExt cx="292254" cy="354906"/>
            </a:xfrm>
            <a:solidFill>
              <a:srgbClr val="F2C812"/>
            </a:solidFill>
          </p:grpSpPr>
          <p:sp>
            <p:nvSpPr>
              <p:cNvPr id="96" name="Isosceles Triangle 95"/>
              <p:cNvSpPr/>
              <p:nvPr/>
            </p:nvSpPr>
            <p:spPr bwMode="auto">
              <a:xfrm rot="13636515">
                <a:off x="1461362" y="328936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7" name="Isosceles Triangle 96"/>
              <p:cNvSpPr/>
              <p:nvPr/>
            </p:nvSpPr>
            <p:spPr bwMode="auto">
              <a:xfrm rot="13636515">
                <a:off x="1357669" y="338258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8" name="Isosceles Triangle 97"/>
              <p:cNvSpPr/>
              <p:nvPr/>
            </p:nvSpPr>
            <p:spPr bwMode="auto">
              <a:xfrm rot="13636515">
                <a:off x="1260548" y="3480882"/>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81" name="Group 80"/>
            <p:cNvGrpSpPr/>
            <p:nvPr/>
          </p:nvGrpSpPr>
          <p:grpSpPr>
            <a:xfrm rot="16043978">
              <a:off x="1317220" y="4717577"/>
              <a:ext cx="292254" cy="354906"/>
              <a:chOff x="1296521" y="3253388"/>
              <a:chExt cx="292254" cy="354906"/>
            </a:xfrm>
            <a:solidFill>
              <a:srgbClr val="F2C812"/>
            </a:solidFill>
          </p:grpSpPr>
          <p:sp>
            <p:nvSpPr>
              <p:cNvPr id="93" name="Isosceles Triangle 92"/>
              <p:cNvSpPr/>
              <p:nvPr/>
            </p:nvSpPr>
            <p:spPr bwMode="auto">
              <a:xfrm rot="13636515">
                <a:off x="1461362" y="328936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4" name="Isosceles Triangle 93"/>
              <p:cNvSpPr/>
              <p:nvPr/>
            </p:nvSpPr>
            <p:spPr bwMode="auto">
              <a:xfrm rot="13636515">
                <a:off x="1357669" y="338258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5" name="Isosceles Triangle 94"/>
              <p:cNvSpPr/>
              <p:nvPr/>
            </p:nvSpPr>
            <p:spPr bwMode="auto">
              <a:xfrm rot="13636515">
                <a:off x="1260548" y="3480882"/>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82" name="Oval 36"/>
            <p:cNvSpPr/>
            <p:nvPr/>
          </p:nvSpPr>
          <p:spPr>
            <a:xfrm>
              <a:off x="1413521" y="2481383"/>
              <a:ext cx="1119626" cy="1119626"/>
            </a:xfrm>
            <a:prstGeom prst="ellipse">
              <a:avLst/>
            </a:prstGeom>
            <a:solidFill>
              <a:srgbClr val="F2C812"/>
            </a:solidFill>
            <a:ln w="3175" cap="flat" cmpd="sng" algn="ctr">
              <a:noFill/>
              <a:prstDash val="solid"/>
            </a:ln>
            <a:effectLst/>
          </p:spPr>
          <p:txBody>
            <a:bodyPr vert="horz" wrap="none" lIns="0" tIns="0" rIns="0" bIns="0" rtlCol="0" anchor="t"/>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400" b="1" i="0" u="none" strike="noStrike" kern="1200" cap="none" spc="0" normalizeH="0" baseline="0" noProof="0">
                <a:ln>
                  <a:noFill/>
                </a:ln>
                <a:solidFill>
                  <a:srgbClr val="217346"/>
                </a:solidFill>
                <a:effectLst/>
                <a:uLnTx/>
                <a:uFillTx/>
                <a:latin typeface="Segoe UI"/>
                <a:ea typeface="Segoe UI" pitchFamily="34" charset="0"/>
                <a:cs typeface="Segoe UI" pitchFamily="34" charset="0"/>
              </a:endParaRPr>
            </a:p>
          </p:txBody>
        </p:sp>
        <p:sp>
          <p:nvSpPr>
            <p:cNvPr id="83" name="Donut 3"/>
            <p:cNvSpPr/>
            <p:nvPr/>
          </p:nvSpPr>
          <p:spPr bwMode="auto">
            <a:xfrm>
              <a:off x="1742065" y="3002355"/>
              <a:ext cx="383905" cy="351537"/>
            </a:xfrm>
            <a:custGeom>
              <a:avLst/>
              <a:gdLst/>
              <a:ahLst/>
              <a:cxnLst/>
              <a:rect l="l" t="t" r="r" b="b"/>
              <a:pathLst>
                <a:path w="1409956" h="1291077">
                  <a:moveTo>
                    <a:pt x="956401" y="78410"/>
                  </a:moveTo>
                  <a:cubicBezTo>
                    <a:pt x="747518" y="78410"/>
                    <a:pt x="578184" y="247744"/>
                    <a:pt x="578184" y="456627"/>
                  </a:cubicBezTo>
                  <a:cubicBezTo>
                    <a:pt x="578184" y="665510"/>
                    <a:pt x="747518" y="834844"/>
                    <a:pt x="956401" y="834844"/>
                  </a:cubicBezTo>
                  <a:cubicBezTo>
                    <a:pt x="1165284" y="834844"/>
                    <a:pt x="1334618" y="665510"/>
                    <a:pt x="1334618" y="456627"/>
                  </a:cubicBezTo>
                  <a:cubicBezTo>
                    <a:pt x="1334618" y="247744"/>
                    <a:pt x="1165284" y="78410"/>
                    <a:pt x="956401" y="78410"/>
                  </a:cubicBezTo>
                  <a:close/>
                  <a:moveTo>
                    <a:pt x="952756" y="0"/>
                  </a:moveTo>
                  <a:cubicBezTo>
                    <a:pt x="1205261" y="0"/>
                    <a:pt x="1409956" y="204695"/>
                    <a:pt x="1409956" y="457200"/>
                  </a:cubicBezTo>
                  <a:cubicBezTo>
                    <a:pt x="1409956" y="709705"/>
                    <a:pt x="1205261" y="914400"/>
                    <a:pt x="952756" y="914400"/>
                  </a:cubicBezTo>
                  <a:cubicBezTo>
                    <a:pt x="862133" y="914400"/>
                    <a:pt x="777669" y="888034"/>
                    <a:pt x="707132" y="841746"/>
                  </a:cubicBezTo>
                  <a:lnTo>
                    <a:pt x="136495" y="1280102"/>
                  </a:lnTo>
                  <a:cubicBezTo>
                    <a:pt x="21896" y="1327168"/>
                    <a:pt x="-44029" y="1213730"/>
                    <a:pt x="33797" y="1113182"/>
                  </a:cubicBezTo>
                  <a:lnTo>
                    <a:pt x="568587" y="703518"/>
                  </a:lnTo>
                  <a:cubicBezTo>
                    <a:pt x="522087" y="632814"/>
                    <a:pt x="495556" y="548105"/>
                    <a:pt x="495556" y="457200"/>
                  </a:cubicBezTo>
                  <a:cubicBezTo>
                    <a:pt x="495556" y="204695"/>
                    <a:pt x="700251" y="0"/>
                    <a:pt x="952756" y="0"/>
                  </a:cubicBezTo>
                  <a:close/>
                </a:path>
              </a:pathLst>
            </a:cu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sp>
          <p:nvSpPr>
            <p:cNvPr id="84" name="Rectangle 83"/>
            <p:cNvSpPr/>
            <p:nvPr/>
          </p:nvSpPr>
          <p:spPr>
            <a:xfrm>
              <a:off x="1600398" y="2677430"/>
              <a:ext cx="820353" cy="307777"/>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Segoe UI"/>
                  <a:ea typeface="Segoe UI" pitchFamily="34" charset="0"/>
                  <a:cs typeface="Segoe UI" pitchFamily="34" charset="0"/>
                </a:rPr>
                <a:t>Explore</a:t>
              </a:r>
              <a:endParaRPr kumimoji="0" lang="en-US" sz="1600" b="0" i="0" u="none" strike="noStrike" kern="1200" cap="none" spc="0" normalizeH="0" baseline="0" noProof="0">
                <a:ln>
                  <a:noFill/>
                </a:ln>
                <a:solidFill>
                  <a:srgbClr val="000000"/>
                </a:solidFill>
                <a:effectLst/>
                <a:uLnTx/>
                <a:uFillTx/>
                <a:latin typeface="Segoe UI"/>
                <a:ea typeface="+mn-ea"/>
                <a:cs typeface="+mn-cs"/>
              </a:endParaRPr>
            </a:p>
          </p:txBody>
        </p:sp>
        <p:sp>
          <p:nvSpPr>
            <p:cNvPr id="85" name="Rectangle 84"/>
            <p:cNvSpPr/>
            <p:nvPr/>
          </p:nvSpPr>
          <p:spPr>
            <a:xfrm>
              <a:off x="509174" y="1475232"/>
              <a:ext cx="838756" cy="307777"/>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Segoe UI"/>
                  <a:ea typeface="Segoe UI" pitchFamily="34" charset="0"/>
                  <a:cs typeface="Segoe UI" pitchFamily="34" charset="0"/>
                </a:rPr>
                <a:t>Prepare</a:t>
              </a: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86" name="Freeform 85"/>
            <p:cNvSpPr>
              <a:spLocks noChangeAspect="1"/>
            </p:cNvSpPr>
            <p:nvPr/>
          </p:nvSpPr>
          <p:spPr bwMode="black">
            <a:xfrm>
              <a:off x="1836174" y="5643069"/>
              <a:ext cx="274320" cy="284173"/>
            </a:xfrm>
            <a:custGeom>
              <a:avLst/>
              <a:gdLst>
                <a:gd name="T0" fmla="*/ 539 w 669"/>
                <a:gd name="T1" fmla="*/ 5 h 693"/>
                <a:gd name="T2" fmla="*/ 640 w 669"/>
                <a:gd name="T3" fmla="*/ 55 h 693"/>
                <a:gd name="T4" fmla="*/ 603 w 669"/>
                <a:gd name="T5" fmla="*/ 195 h 693"/>
                <a:gd name="T6" fmla="*/ 490 w 669"/>
                <a:gd name="T7" fmla="*/ 188 h 693"/>
                <a:gd name="T8" fmla="*/ 479 w 669"/>
                <a:gd name="T9" fmla="*/ 176 h 693"/>
                <a:gd name="T10" fmla="*/ 213 w 669"/>
                <a:gd name="T11" fmla="*/ 330 h 693"/>
                <a:gd name="T12" fmla="*/ 218 w 669"/>
                <a:gd name="T13" fmla="*/ 345 h 693"/>
                <a:gd name="T14" fmla="*/ 218 w 669"/>
                <a:gd name="T15" fmla="*/ 375 h 693"/>
                <a:gd name="T16" fmla="*/ 209 w 669"/>
                <a:gd name="T17" fmla="*/ 402 h 693"/>
                <a:gd name="T18" fmla="*/ 369 w 669"/>
                <a:gd name="T19" fmla="*/ 503 h 693"/>
                <a:gd name="T20" fmla="*/ 373 w 669"/>
                <a:gd name="T21" fmla="*/ 498 h 693"/>
                <a:gd name="T22" fmla="*/ 456 w 669"/>
                <a:gd name="T23" fmla="*/ 475 h 693"/>
                <a:gd name="T24" fmla="*/ 494 w 669"/>
                <a:gd name="T25" fmla="*/ 489 h 693"/>
                <a:gd name="T26" fmla="*/ 527 w 669"/>
                <a:gd name="T27" fmla="*/ 630 h 693"/>
                <a:gd name="T28" fmla="*/ 386 w 669"/>
                <a:gd name="T29" fmla="*/ 663 h 693"/>
                <a:gd name="T30" fmla="*/ 339 w 669"/>
                <a:gd name="T31" fmla="*/ 560 h 693"/>
                <a:gd name="T32" fmla="*/ 345 w 669"/>
                <a:gd name="T33" fmla="*/ 544 h 693"/>
                <a:gd name="T34" fmla="*/ 177 w 669"/>
                <a:gd name="T35" fmla="*/ 439 h 693"/>
                <a:gd name="T36" fmla="*/ 168 w 669"/>
                <a:gd name="T37" fmla="*/ 446 h 693"/>
                <a:gd name="T38" fmla="*/ 28 w 669"/>
                <a:gd name="T39" fmla="*/ 409 h 693"/>
                <a:gd name="T40" fmla="*/ 65 w 669"/>
                <a:gd name="T41" fmla="*/ 269 h 693"/>
                <a:gd name="T42" fmla="*/ 178 w 669"/>
                <a:gd name="T43" fmla="*/ 276 h 693"/>
                <a:gd name="T44" fmla="*/ 189 w 669"/>
                <a:gd name="T45" fmla="*/ 288 h 693"/>
                <a:gd name="T46" fmla="*/ 455 w 669"/>
                <a:gd name="T47" fmla="*/ 134 h 693"/>
                <a:gd name="T48" fmla="*/ 450 w 669"/>
                <a:gd name="T49" fmla="*/ 119 h 693"/>
                <a:gd name="T50" fmla="*/ 501 w 669"/>
                <a:gd name="T51" fmla="*/ 18 h 693"/>
                <a:gd name="T52" fmla="*/ 539 w 669"/>
                <a:gd name="T53" fmla="*/ 5 h 6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69" h="693">
                  <a:moveTo>
                    <a:pt x="539" y="5"/>
                  </a:moveTo>
                  <a:cubicBezTo>
                    <a:pt x="579" y="0"/>
                    <a:pt x="619" y="19"/>
                    <a:pt x="640" y="55"/>
                  </a:cubicBezTo>
                  <a:cubicBezTo>
                    <a:pt x="669" y="104"/>
                    <a:pt x="652" y="167"/>
                    <a:pt x="603" y="195"/>
                  </a:cubicBezTo>
                  <a:cubicBezTo>
                    <a:pt x="566" y="216"/>
                    <a:pt x="522" y="212"/>
                    <a:pt x="490" y="188"/>
                  </a:cubicBezTo>
                  <a:cubicBezTo>
                    <a:pt x="479" y="176"/>
                    <a:pt x="479" y="176"/>
                    <a:pt x="479" y="176"/>
                  </a:cubicBezTo>
                  <a:cubicBezTo>
                    <a:pt x="213" y="330"/>
                    <a:pt x="213" y="330"/>
                    <a:pt x="213" y="330"/>
                  </a:cubicBezTo>
                  <a:cubicBezTo>
                    <a:pt x="218" y="345"/>
                    <a:pt x="218" y="345"/>
                    <a:pt x="218" y="345"/>
                  </a:cubicBezTo>
                  <a:cubicBezTo>
                    <a:pt x="219" y="355"/>
                    <a:pt x="219" y="365"/>
                    <a:pt x="218" y="375"/>
                  </a:cubicBezTo>
                  <a:cubicBezTo>
                    <a:pt x="209" y="402"/>
                    <a:pt x="209" y="402"/>
                    <a:pt x="209" y="402"/>
                  </a:cubicBezTo>
                  <a:cubicBezTo>
                    <a:pt x="369" y="503"/>
                    <a:pt x="369" y="503"/>
                    <a:pt x="369" y="503"/>
                  </a:cubicBezTo>
                  <a:cubicBezTo>
                    <a:pt x="373" y="498"/>
                    <a:pt x="373" y="498"/>
                    <a:pt x="373" y="498"/>
                  </a:cubicBezTo>
                  <a:cubicBezTo>
                    <a:pt x="396" y="479"/>
                    <a:pt x="427" y="470"/>
                    <a:pt x="456" y="475"/>
                  </a:cubicBezTo>
                  <a:cubicBezTo>
                    <a:pt x="470" y="477"/>
                    <a:pt x="482" y="482"/>
                    <a:pt x="494" y="489"/>
                  </a:cubicBezTo>
                  <a:cubicBezTo>
                    <a:pt x="542" y="519"/>
                    <a:pt x="557" y="583"/>
                    <a:pt x="527" y="630"/>
                  </a:cubicBezTo>
                  <a:cubicBezTo>
                    <a:pt x="497" y="678"/>
                    <a:pt x="433" y="693"/>
                    <a:pt x="386" y="663"/>
                  </a:cubicBezTo>
                  <a:cubicBezTo>
                    <a:pt x="350" y="640"/>
                    <a:pt x="333" y="599"/>
                    <a:pt x="339" y="560"/>
                  </a:cubicBezTo>
                  <a:cubicBezTo>
                    <a:pt x="345" y="544"/>
                    <a:pt x="345" y="544"/>
                    <a:pt x="345" y="544"/>
                  </a:cubicBezTo>
                  <a:cubicBezTo>
                    <a:pt x="177" y="439"/>
                    <a:pt x="177" y="439"/>
                    <a:pt x="177" y="439"/>
                  </a:cubicBezTo>
                  <a:cubicBezTo>
                    <a:pt x="168" y="446"/>
                    <a:pt x="168" y="446"/>
                    <a:pt x="168" y="446"/>
                  </a:cubicBezTo>
                  <a:cubicBezTo>
                    <a:pt x="119" y="475"/>
                    <a:pt x="56" y="458"/>
                    <a:pt x="28" y="409"/>
                  </a:cubicBezTo>
                  <a:cubicBezTo>
                    <a:pt x="0" y="360"/>
                    <a:pt x="16" y="297"/>
                    <a:pt x="65" y="269"/>
                  </a:cubicBezTo>
                  <a:cubicBezTo>
                    <a:pt x="102" y="248"/>
                    <a:pt x="147" y="252"/>
                    <a:pt x="178" y="276"/>
                  </a:cubicBezTo>
                  <a:cubicBezTo>
                    <a:pt x="189" y="288"/>
                    <a:pt x="189" y="288"/>
                    <a:pt x="189" y="288"/>
                  </a:cubicBezTo>
                  <a:cubicBezTo>
                    <a:pt x="455" y="134"/>
                    <a:pt x="455" y="134"/>
                    <a:pt x="455" y="134"/>
                  </a:cubicBezTo>
                  <a:cubicBezTo>
                    <a:pt x="450" y="119"/>
                    <a:pt x="450" y="119"/>
                    <a:pt x="450" y="119"/>
                  </a:cubicBezTo>
                  <a:cubicBezTo>
                    <a:pt x="445" y="80"/>
                    <a:pt x="464" y="39"/>
                    <a:pt x="501" y="18"/>
                  </a:cubicBezTo>
                  <a:cubicBezTo>
                    <a:pt x="513" y="11"/>
                    <a:pt x="526" y="6"/>
                    <a:pt x="539" y="5"/>
                  </a:cubicBezTo>
                  <a:close/>
                </a:path>
              </a:pathLst>
            </a:custGeom>
            <a:solidFill>
              <a:schemeClr val="tx1"/>
            </a:solidFill>
            <a:ln>
              <a:noFill/>
            </a:ln>
          </p:spPr>
          <p:txBody>
            <a:bodyPr vert="horz" wrap="square" lIns="68574" tIns="34287" rIns="68574" bIns="34287"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0000"/>
                </a:solidFill>
                <a:effectLst/>
                <a:uLnTx/>
                <a:uFillTx/>
                <a:latin typeface="Segoe UI"/>
                <a:ea typeface="+mn-ea"/>
                <a:cs typeface="+mn-cs"/>
              </a:endParaRPr>
            </a:p>
          </p:txBody>
        </p:sp>
        <p:sp>
          <p:nvSpPr>
            <p:cNvPr id="87" name="Freeform 86"/>
            <p:cNvSpPr>
              <a:spLocks noChangeAspect="1" noEditPoints="1"/>
            </p:cNvSpPr>
            <p:nvPr/>
          </p:nvSpPr>
          <p:spPr bwMode="black">
            <a:xfrm>
              <a:off x="722320" y="1783009"/>
              <a:ext cx="452202" cy="366660"/>
            </a:xfrm>
            <a:custGeom>
              <a:avLst/>
              <a:gdLst>
                <a:gd name="T0" fmla="*/ 600 w 1107"/>
                <a:gd name="T1" fmla="*/ 625 h 897"/>
                <a:gd name="T2" fmla="*/ 649 w 1107"/>
                <a:gd name="T3" fmla="*/ 567 h 897"/>
                <a:gd name="T4" fmla="*/ 727 w 1107"/>
                <a:gd name="T5" fmla="*/ 482 h 897"/>
                <a:gd name="T6" fmla="*/ 601 w 1107"/>
                <a:gd name="T7" fmla="*/ 434 h 897"/>
                <a:gd name="T8" fmla="*/ 628 w 1107"/>
                <a:gd name="T9" fmla="*/ 305 h 897"/>
                <a:gd name="T10" fmla="*/ 547 w 1107"/>
                <a:gd name="T11" fmla="*/ 240 h 897"/>
                <a:gd name="T12" fmla="*/ 427 w 1107"/>
                <a:gd name="T13" fmla="*/ 287 h 897"/>
                <a:gd name="T14" fmla="*/ 368 w 1107"/>
                <a:gd name="T15" fmla="*/ 170 h 897"/>
                <a:gd name="T16" fmla="*/ 285 w 1107"/>
                <a:gd name="T17" fmla="*/ 263 h 897"/>
                <a:gd name="T18" fmla="*/ 241 w 1107"/>
                <a:gd name="T19" fmla="*/ 313 h 897"/>
                <a:gd name="T20" fmla="*/ 139 w 1107"/>
                <a:gd name="T21" fmla="*/ 281 h 897"/>
                <a:gd name="T22" fmla="*/ 79 w 1107"/>
                <a:gd name="T23" fmla="*/ 355 h 897"/>
                <a:gd name="T24" fmla="*/ 132 w 1107"/>
                <a:gd name="T25" fmla="*/ 446 h 897"/>
                <a:gd name="T26" fmla="*/ 83 w 1107"/>
                <a:gd name="T27" fmla="*/ 505 h 897"/>
                <a:gd name="T28" fmla="*/ 5 w 1107"/>
                <a:gd name="T29" fmla="*/ 590 h 897"/>
                <a:gd name="T30" fmla="*/ 132 w 1107"/>
                <a:gd name="T31" fmla="*/ 638 h 897"/>
                <a:gd name="T32" fmla="*/ 145 w 1107"/>
                <a:gd name="T33" fmla="*/ 669 h 897"/>
                <a:gd name="T34" fmla="*/ 110 w 1107"/>
                <a:gd name="T35" fmla="*/ 793 h 897"/>
                <a:gd name="T36" fmla="*/ 230 w 1107"/>
                <a:gd name="T37" fmla="*/ 781 h 897"/>
                <a:gd name="T38" fmla="*/ 306 w 1107"/>
                <a:gd name="T39" fmla="*/ 785 h 897"/>
                <a:gd name="T40" fmla="*/ 346 w 1107"/>
                <a:gd name="T41" fmla="*/ 878 h 897"/>
                <a:gd name="T42" fmla="*/ 440 w 1107"/>
                <a:gd name="T43" fmla="*/ 872 h 897"/>
                <a:gd name="T44" fmla="*/ 466 w 1107"/>
                <a:gd name="T45" fmla="*/ 764 h 897"/>
                <a:gd name="T46" fmla="*/ 539 w 1107"/>
                <a:gd name="T47" fmla="*/ 755 h 897"/>
                <a:gd name="T48" fmla="*/ 659 w 1107"/>
                <a:gd name="T49" fmla="*/ 743 h 897"/>
                <a:gd name="T50" fmla="*/ 263 w 1107"/>
                <a:gd name="T51" fmla="*/ 452 h 897"/>
                <a:gd name="T52" fmla="*/ 281 w 1107"/>
                <a:gd name="T53" fmla="*/ 633 h 897"/>
                <a:gd name="T54" fmla="*/ 1002 w 1107"/>
                <a:gd name="T55" fmla="*/ 332 h 897"/>
                <a:gd name="T56" fmla="*/ 1043 w 1107"/>
                <a:gd name="T57" fmla="*/ 304 h 897"/>
                <a:gd name="T58" fmla="*/ 1107 w 1107"/>
                <a:gd name="T59" fmla="*/ 266 h 897"/>
                <a:gd name="T60" fmla="*/ 1037 w 1107"/>
                <a:gd name="T61" fmla="*/ 213 h 897"/>
                <a:gd name="T62" fmla="*/ 1077 w 1107"/>
                <a:gd name="T63" fmla="*/ 138 h 897"/>
                <a:gd name="T64" fmla="*/ 1038 w 1107"/>
                <a:gd name="T65" fmla="*/ 83 h 897"/>
                <a:gd name="T66" fmla="*/ 956 w 1107"/>
                <a:gd name="T67" fmla="*/ 91 h 897"/>
                <a:gd name="T68" fmla="*/ 940 w 1107"/>
                <a:gd name="T69" fmla="*/ 7 h 897"/>
                <a:gd name="T70" fmla="*/ 872 w 1107"/>
                <a:gd name="T71" fmla="*/ 50 h 897"/>
                <a:gd name="T72" fmla="*/ 836 w 1107"/>
                <a:gd name="T73" fmla="*/ 74 h 897"/>
                <a:gd name="T74" fmla="*/ 778 w 1107"/>
                <a:gd name="T75" fmla="*/ 35 h 897"/>
                <a:gd name="T76" fmla="*/ 728 w 1107"/>
                <a:gd name="T77" fmla="*/ 70 h 897"/>
                <a:gd name="T78" fmla="*/ 744 w 1107"/>
                <a:gd name="T79" fmla="*/ 136 h 897"/>
                <a:gd name="T80" fmla="*/ 703 w 1107"/>
                <a:gd name="T81" fmla="*/ 164 h 897"/>
                <a:gd name="T82" fmla="*/ 640 w 1107"/>
                <a:gd name="T83" fmla="*/ 203 h 897"/>
                <a:gd name="T84" fmla="*/ 710 w 1107"/>
                <a:gd name="T85" fmla="*/ 255 h 897"/>
                <a:gd name="T86" fmla="*/ 712 w 1107"/>
                <a:gd name="T87" fmla="*/ 277 h 897"/>
                <a:gd name="T88" fmla="*/ 668 w 1107"/>
                <a:gd name="T89" fmla="*/ 347 h 897"/>
                <a:gd name="T90" fmla="*/ 745 w 1107"/>
                <a:gd name="T91" fmla="*/ 361 h 897"/>
                <a:gd name="T92" fmla="*/ 791 w 1107"/>
                <a:gd name="T93" fmla="*/ 377 h 897"/>
                <a:gd name="T94" fmla="*/ 799 w 1107"/>
                <a:gd name="T95" fmla="*/ 443 h 897"/>
                <a:gd name="T96" fmla="*/ 859 w 1107"/>
                <a:gd name="T97" fmla="*/ 456 h 897"/>
                <a:gd name="T98" fmla="*/ 894 w 1107"/>
                <a:gd name="T99" fmla="*/ 393 h 897"/>
                <a:gd name="T100" fmla="*/ 941 w 1107"/>
                <a:gd name="T101" fmla="*/ 401 h 897"/>
                <a:gd name="T102" fmla="*/ 1018 w 1107"/>
                <a:gd name="T103" fmla="*/ 415 h 897"/>
                <a:gd name="T104" fmla="*/ 825 w 1107"/>
                <a:gd name="T105" fmla="*/ 164 h 897"/>
                <a:gd name="T106" fmla="*/ 803 w 1107"/>
                <a:gd name="T107" fmla="*/ 279 h 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107" h="897">
                  <a:moveTo>
                    <a:pt x="654" y="716"/>
                  </a:moveTo>
                  <a:cubicBezTo>
                    <a:pt x="616" y="670"/>
                    <a:pt x="616" y="670"/>
                    <a:pt x="616" y="670"/>
                  </a:cubicBezTo>
                  <a:cubicBezTo>
                    <a:pt x="593" y="654"/>
                    <a:pt x="603" y="638"/>
                    <a:pt x="600" y="625"/>
                  </a:cubicBezTo>
                  <a:cubicBezTo>
                    <a:pt x="600" y="625"/>
                    <a:pt x="600" y="625"/>
                    <a:pt x="600" y="625"/>
                  </a:cubicBezTo>
                  <a:cubicBezTo>
                    <a:pt x="605" y="617"/>
                    <a:pt x="611" y="609"/>
                    <a:pt x="608" y="596"/>
                  </a:cubicBezTo>
                  <a:cubicBezTo>
                    <a:pt x="618" y="580"/>
                    <a:pt x="623" y="572"/>
                    <a:pt x="649" y="567"/>
                  </a:cubicBezTo>
                  <a:cubicBezTo>
                    <a:pt x="715" y="553"/>
                    <a:pt x="715" y="553"/>
                    <a:pt x="715" y="553"/>
                  </a:cubicBezTo>
                  <a:cubicBezTo>
                    <a:pt x="728" y="550"/>
                    <a:pt x="733" y="542"/>
                    <a:pt x="730" y="529"/>
                  </a:cubicBezTo>
                  <a:cubicBezTo>
                    <a:pt x="727" y="482"/>
                    <a:pt x="727" y="482"/>
                    <a:pt x="727" y="482"/>
                  </a:cubicBezTo>
                  <a:cubicBezTo>
                    <a:pt x="724" y="469"/>
                    <a:pt x="717" y="463"/>
                    <a:pt x="701" y="453"/>
                  </a:cubicBezTo>
                  <a:cubicBezTo>
                    <a:pt x="641" y="459"/>
                    <a:pt x="641" y="459"/>
                    <a:pt x="641" y="459"/>
                  </a:cubicBezTo>
                  <a:cubicBezTo>
                    <a:pt x="620" y="457"/>
                    <a:pt x="604" y="447"/>
                    <a:pt x="601" y="434"/>
                  </a:cubicBezTo>
                  <a:cubicBezTo>
                    <a:pt x="598" y="421"/>
                    <a:pt x="590" y="416"/>
                    <a:pt x="580" y="397"/>
                  </a:cubicBezTo>
                  <a:cubicBezTo>
                    <a:pt x="577" y="384"/>
                    <a:pt x="574" y="371"/>
                    <a:pt x="584" y="355"/>
                  </a:cubicBezTo>
                  <a:cubicBezTo>
                    <a:pt x="628" y="305"/>
                    <a:pt x="628" y="305"/>
                    <a:pt x="628" y="305"/>
                  </a:cubicBezTo>
                  <a:cubicBezTo>
                    <a:pt x="634" y="297"/>
                    <a:pt x="631" y="284"/>
                    <a:pt x="623" y="279"/>
                  </a:cubicBezTo>
                  <a:cubicBezTo>
                    <a:pt x="581" y="240"/>
                    <a:pt x="581" y="240"/>
                    <a:pt x="581" y="240"/>
                  </a:cubicBezTo>
                  <a:cubicBezTo>
                    <a:pt x="573" y="235"/>
                    <a:pt x="560" y="238"/>
                    <a:pt x="547" y="240"/>
                  </a:cubicBezTo>
                  <a:cubicBezTo>
                    <a:pt x="503" y="291"/>
                    <a:pt x="503" y="291"/>
                    <a:pt x="503" y="291"/>
                  </a:cubicBezTo>
                  <a:cubicBezTo>
                    <a:pt x="484" y="302"/>
                    <a:pt x="471" y="304"/>
                    <a:pt x="463" y="299"/>
                  </a:cubicBezTo>
                  <a:cubicBezTo>
                    <a:pt x="456" y="294"/>
                    <a:pt x="435" y="292"/>
                    <a:pt x="427" y="287"/>
                  </a:cubicBezTo>
                  <a:cubicBezTo>
                    <a:pt x="419" y="282"/>
                    <a:pt x="403" y="271"/>
                    <a:pt x="400" y="258"/>
                  </a:cubicBezTo>
                  <a:cubicBezTo>
                    <a:pt x="386" y="193"/>
                    <a:pt x="386" y="193"/>
                    <a:pt x="386" y="193"/>
                  </a:cubicBezTo>
                  <a:cubicBezTo>
                    <a:pt x="384" y="180"/>
                    <a:pt x="368" y="170"/>
                    <a:pt x="368" y="170"/>
                  </a:cubicBezTo>
                  <a:cubicBezTo>
                    <a:pt x="308" y="176"/>
                    <a:pt x="308" y="176"/>
                    <a:pt x="308" y="176"/>
                  </a:cubicBezTo>
                  <a:cubicBezTo>
                    <a:pt x="308" y="176"/>
                    <a:pt x="289" y="187"/>
                    <a:pt x="292" y="200"/>
                  </a:cubicBezTo>
                  <a:cubicBezTo>
                    <a:pt x="285" y="263"/>
                    <a:pt x="285" y="263"/>
                    <a:pt x="285" y="263"/>
                  </a:cubicBezTo>
                  <a:cubicBezTo>
                    <a:pt x="291" y="289"/>
                    <a:pt x="277" y="292"/>
                    <a:pt x="272" y="300"/>
                  </a:cubicBezTo>
                  <a:cubicBezTo>
                    <a:pt x="272" y="300"/>
                    <a:pt x="272" y="300"/>
                    <a:pt x="267" y="308"/>
                  </a:cubicBezTo>
                  <a:cubicBezTo>
                    <a:pt x="259" y="302"/>
                    <a:pt x="246" y="305"/>
                    <a:pt x="241" y="313"/>
                  </a:cubicBezTo>
                  <a:cubicBezTo>
                    <a:pt x="236" y="321"/>
                    <a:pt x="236" y="321"/>
                    <a:pt x="236" y="321"/>
                  </a:cubicBezTo>
                  <a:cubicBezTo>
                    <a:pt x="223" y="324"/>
                    <a:pt x="210" y="327"/>
                    <a:pt x="194" y="317"/>
                  </a:cubicBezTo>
                  <a:cubicBezTo>
                    <a:pt x="139" y="281"/>
                    <a:pt x="139" y="281"/>
                    <a:pt x="139" y="281"/>
                  </a:cubicBezTo>
                  <a:cubicBezTo>
                    <a:pt x="131" y="276"/>
                    <a:pt x="110" y="273"/>
                    <a:pt x="104" y="281"/>
                  </a:cubicBezTo>
                  <a:cubicBezTo>
                    <a:pt x="79" y="321"/>
                    <a:pt x="79" y="321"/>
                    <a:pt x="79" y="321"/>
                  </a:cubicBezTo>
                  <a:cubicBezTo>
                    <a:pt x="66" y="324"/>
                    <a:pt x="68" y="337"/>
                    <a:pt x="79" y="355"/>
                  </a:cubicBezTo>
                  <a:cubicBezTo>
                    <a:pt x="121" y="394"/>
                    <a:pt x="121" y="394"/>
                    <a:pt x="121" y="394"/>
                  </a:cubicBezTo>
                  <a:cubicBezTo>
                    <a:pt x="140" y="417"/>
                    <a:pt x="135" y="425"/>
                    <a:pt x="132" y="446"/>
                  </a:cubicBezTo>
                  <a:cubicBezTo>
                    <a:pt x="132" y="446"/>
                    <a:pt x="132" y="446"/>
                    <a:pt x="132" y="446"/>
                  </a:cubicBezTo>
                  <a:cubicBezTo>
                    <a:pt x="127" y="454"/>
                    <a:pt x="122" y="462"/>
                    <a:pt x="117" y="470"/>
                  </a:cubicBezTo>
                  <a:cubicBezTo>
                    <a:pt x="117" y="470"/>
                    <a:pt x="117" y="470"/>
                    <a:pt x="117" y="470"/>
                  </a:cubicBezTo>
                  <a:cubicBezTo>
                    <a:pt x="120" y="483"/>
                    <a:pt x="109" y="499"/>
                    <a:pt x="83" y="505"/>
                  </a:cubicBezTo>
                  <a:cubicBezTo>
                    <a:pt x="23" y="511"/>
                    <a:pt x="23" y="511"/>
                    <a:pt x="23" y="511"/>
                  </a:cubicBezTo>
                  <a:cubicBezTo>
                    <a:pt x="10" y="514"/>
                    <a:pt x="0" y="529"/>
                    <a:pt x="2" y="543"/>
                  </a:cubicBezTo>
                  <a:cubicBezTo>
                    <a:pt x="5" y="590"/>
                    <a:pt x="5" y="590"/>
                    <a:pt x="5" y="590"/>
                  </a:cubicBezTo>
                  <a:cubicBezTo>
                    <a:pt x="8" y="603"/>
                    <a:pt x="16" y="608"/>
                    <a:pt x="37" y="610"/>
                  </a:cubicBezTo>
                  <a:cubicBezTo>
                    <a:pt x="92" y="612"/>
                    <a:pt x="92" y="612"/>
                    <a:pt x="92" y="612"/>
                  </a:cubicBezTo>
                  <a:cubicBezTo>
                    <a:pt x="113" y="614"/>
                    <a:pt x="129" y="625"/>
                    <a:pt x="132" y="638"/>
                  </a:cubicBezTo>
                  <a:cubicBezTo>
                    <a:pt x="132" y="638"/>
                    <a:pt x="132" y="638"/>
                    <a:pt x="132" y="638"/>
                  </a:cubicBezTo>
                  <a:cubicBezTo>
                    <a:pt x="140" y="643"/>
                    <a:pt x="142" y="656"/>
                    <a:pt x="150" y="661"/>
                  </a:cubicBezTo>
                  <a:cubicBezTo>
                    <a:pt x="145" y="669"/>
                    <a:pt x="145" y="669"/>
                    <a:pt x="145" y="669"/>
                  </a:cubicBezTo>
                  <a:cubicBezTo>
                    <a:pt x="153" y="674"/>
                    <a:pt x="156" y="687"/>
                    <a:pt x="140" y="711"/>
                  </a:cubicBezTo>
                  <a:cubicBezTo>
                    <a:pt x="109" y="759"/>
                    <a:pt x="109" y="759"/>
                    <a:pt x="109" y="759"/>
                  </a:cubicBezTo>
                  <a:cubicBezTo>
                    <a:pt x="99" y="775"/>
                    <a:pt x="102" y="788"/>
                    <a:pt x="110" y="793"/>
                  </a:cubicBezTo>
                  <a:cubicBezTo>
                    <a:pt x="152" y="832"/>
                    <a:pt x="152" y="832"/>
                    <a:pt x="152" y="832"/>
                  </a:cubicBezTo>
                  <a:cubicBezTo>
                    <a:pt x="160" y="837"/>
                    <a:pt x="173" y="834"/>
                    <a:pt x="178" y="826"/>
                  </a:cubicBezTo>
                  <a:cubicBezTo>
                    <a:pt x="230" y="781"/>
                    <a:pt x="230" y="781"/>
                    <a:pt x="230" y="781"/>
                  </a:cubicBezTo>
                  <a:cubicBezTo>
                    <a:pt x="248" y="770"/>
                    <a:pt x="261" y="767"/>
                    <a:pt x="269" y="772"/>
                  </a:cubicBezTo>
                  <a:cubicBezTo>
                    <a:pt x="269" y="772"/>
                    <a:pt x="269" y="772"/>
                    <a:pt x="269" y="772"/>
                  </a:cubicBezTo>
                  <a:cubicBezTo>
                    <a:pt x="282" y="769"/>
                    <a:pt x="298" y="779"/>
                    <a:pt x="306" y="785"/>
                  </a:cubicBezTo>
                  <a:cubicBezTo>
                    <a:pt x="306" y="785"/>
                    <a:pt x="306" y="785"/>
                    <a:pt x="306" y="785"/>
                  </a:cubicBezTo>
                  <a:cubicBezTo>
                    <a:pt x="319" y="782"/>
                    <a:pt x="327" y="787"/>
                    <a:pt x="332" y="813"/>
                  </a:cubicBezTo>
                  <a:cubicBezTo>
                    <a:pt x="346" y="878"/>
                    <a:pt x="346" y="878"/>
                    <a:pt x="346" y="878"/>
                  </a:cubicBezTo>
                  <a:cubicBezTo>
                    <a:pt x="349" y="892"/>
                    <a:pt x="357" y="897"/>
                    <a:pt x="370" y="894"/>
                  </a:cubicBezTo>
                  <a:cubicBezTo>
                    <a:pt x="425" y="896"/>
                    <a:pt x="425" y="896"/>
                    <a:pt x="425" y="896"/>
                  </a:cubicBezTo>
                  <a:cubicBezTo>
                    <a:pt x="430" y="888"/>
                    <a:pt x="443" y="885"/>
                    <a:pt x="440" y="872"/>
                  </a:cubicBezTo>
                  <a:cubicBezTo>
                    <a:pt x="440" y="804"/>
                    <a:pt x="440" y="804"/>
                    <a:pt x="440" y="804"/>
                  </a:cubicBezTo>
                  <a:cubicBezTo>
                    <a:pt x="442" y="783"/>
                    <a:pt x="460" y="772"/>
                    <a:pt x="466" y="764"/>
                  </a:cubicBezTo>
                  <a:cubicBezTo>
                    <a:pt x="466" y="764"/>
                    <a:pt x="466" y="764"/>
                    <a:pt x="466" y="764"/>
                  </a:cubicBezTo>
                  <a:cubicBezTo>
                    <a:pt x="479" y="761"/>
                    <a:pt x="492" y="758"/>
                    <a:pt x="497" y="750"/>
                  </a:cubicBezTo>
                  <a:cubicBezTo>
                    <a:pt x="497" y="750"/>
                    <a:pt x="497" y="750"/>
                    <a:pt x="497" y="750"/>
                  </a:cubicBezTo>
                  <a:cubicBezTo>
                    <a:pt x="510" y="747"/>
                    <a:pt x="523" y="745"/>
                    <a:pt x="539" y="755"/>
                  </a:cubicBezTo>
                  <a:cubicBezTo>
                    <a:pt x="594" y="791"/>
                    <a:pt x="594" y="791"/>
                    <a:pt x="594" y="791"/>
                  </a:cubicBezTo>
                  <a:cubicBezTo>
                    <a:pt x="602" y="796"/>
                    <a:pt x="623" y="798"/>
                    <a:pt x="628" y="790"/>
                  </a:cubicBezTo>
                  <a:cubicBezTo>
                    <a:pt x="659" y="743"/>
                    <a:pt x="659" y="743"/>
                    <a:pt x="659" y="743"/>
                  </a:cubicBezTo>
                  <a:cubicBezTo>
                    <a:pt x="659" y="743"/>
                    <a:pt x="669" y="727"/>
                    <a:pt x="654" y="716"/>
                  </a:cubicBezTo>
                  <a:close/>
                  <a:moveTo>
                    <a:pt x="281" y="633"/>
                  </a:moveTo>
                  <a:cubicBezTo>
                    <a:pt x="223" y="584"/>
                    <a:pt x="219" y="502"/>
                    <a:pt x="263" y="452"/>
                  </a:cubicBezTo>
                  <a:cubicBezTo>
                    <a:pt x="313" y="393"/>
                    <a:pt x="399" y="382"/>
                    <a:pt x="457" y="431"/>
                  </a:cubicBezTo>
                  <a:cubicBezTo>
                    <a:pt x="507" y="475"/>
                    <a:pt x="518" y="561"/>
                    <a:pt x="469" y="619"/>
                  </a:cubicBezTo>
                  <a:cubicBezTo>
                    <a:pt x="420" y="678"/>
                    <a:pt x="339" y="682"/>
                    <a:pt x="281" y="633"/>
                  </a:cubicBezTo>
                  <a:close/>
                  <a:moveTo>
                    <a:pt x="1019" y="398"/>
                  </a:moveTo>
                  <a:cubicBezTo>
                    <a:pt x="1004" y="362"/>
                    <a:pt x="1004" y="362"/>
                    <a:pt x="1004" y="362"/>
                  </a:cubicBezTo>
                  <a:cubicBezTo>
                    <a:pt x="992" y="348"/>
                    <a:pt x="1002" y="340"/>
                    <a:pt x="1002" y="332"/>
                  </a:cubicBezTo>
                  <a:cubicBezTo>
                    <a:pt x="1002" y="332"/>
                    <a:pt x="1002" y="332"/>
                    <a:pt x="1002" y="332"/>
                  </a:cubicBezTo>
                  <a:cubicBezTo>
                    <a:pt x="1007" y="328"/>
                    <a:pt x="1011" y="324"/>
                    <a:pt x="1012" y="315"/>
                  </a:cubicBezTo>
                  <a:cubicBezTo>
                    <a:pt x="1021" y="307"/>
                    <a:pt x="1026" y="303"/>
                    <a:pt x="1043" y="304"/>
                  </a:cubicBezTo>
                  <a:cubicBezTo>
                    <a:pt x="1086" y="307"/>
                    <a:pt x="1086" y="307"/>
                    <a:pt x="1086" y="307"/>
                  </a:cubicBezTo>
                  <a:cubicBezTo>
                    <a:pt x="1095" y="308"/>
                    <a:pt x="1099" y="304"/>
                    <a:pt x="1100" y="295"/>
                  </a:cubicBezTo>
                  <a:cubicBezTo>
                    <a:pt x="1107" y="266"/>
                    <a:pt x="1107" y="266"/>
                    <a:pt x="1107" y="266"/>
                  </a:cubicBezTo>
                  <a:cubicBezTo>
                    <a:pt x="1107" y="257"/>
                    <a:pt x="1103" y="252"/>
                    <a:pt x="1095" y="243"/>
                  </a:cubicBezTo>
                  <a:cubicBezTo>
                    <a:pt x="1057" y="236"/>
                    <a:pt x="1057" y="236"/>
                    <a:pt x="1057" y="236"/>
                  </a:cubicBezTo>
                  <a:cubicBezTo>
                    <a:pt x="1044" y="231"/>
                    <a:pt x="1036" y="222"/>
                    <a:pt x="1037" y="213"/>
                  </a:cubicBezTo>
                  <a:cubicBezTo>
                    <a:pt x="1038" y="205"/>
                    <a:pt x="1034" y="200"/>
                    <a:pt x="1030" y="187"/>
                  </a:cubicBezTo>
                  <a:cubicBezTo>
                    <a:pt x="1031" y="178"/>
                    <a:pt x="1032" y="170"/>
                    <a:pt x="1041" y="162"/>
                  </a:cubicBezTo>
                  <a:cubicBezTo>
                    <a:pt x="1077" y="138"/>
                    <a:pt x="1077" y="138"/>
                    <a:pt x="1077" y="138"/>
                  </a:cubicBezTo>
                  <a:cubicBezTo>
                    <a:pt x="1082" y="134"/>
                    <a:pt x="1083" y="126"/>
                    <a:pt x="1079" y="121"/>
                  </a:cubicBezTo>
                  <a:cubicBezTo>
                    <a:pt x="1059" y="89"/>
                    <a:pt x="1059" y="89"/>
                    <a:pt x="1059" y="89"/>
                  </a:cubicBezTo>
                  <a:cubicBezTo>
                    <a:pt x="1055" y="85"/>
                    <a:pt x="1047" y="84"/>
                    <a:pt x="1038" y="83"/>
                  </a:cubicBezTo>
                  <a:cubicBezTo>
                    <a:pt x="1002" y="107"/>
                    <a:pt x="1002" y="107"/>
                    <a:pt x="1002" y="107"/>
                  </a:cubicBezTo>
                  <a:cubicBezTo>
                    <a:pt x="989" y="110"/>
                    <a:pt x="980" y="110"/>
                    <a:pt x="976" y="105"/>
                  </a:cubicBezTo>
                  <a:cubicBezTo>
                    <a:pt x="972" y="100"/>
                    <a:pt x="960" y="95"/>
                    <a:pt x="956" y="91"/>
                  </a:cubicBezTo>
                  <a:cubicBezTo>
                    <a:pt x="952" y="86"/>
                    <a:pt x="944" y="77"/>
                    <a:pt x="944" y="68"/>
                  </a:cubicBezTo>
                  <a:cubicBezTo>
                    <a:pt x="948" y="25"/>
                    <a:pt x="948" y="25"/>
                    <a:pt x="948" y="25"/>
                  </a:cubicBezTo>
                  <a:cubicBezTo>
                    <a:pt x="948" y="17"/>
                    <a:pt x="940" y="7"/>
                    <a:pt x="940" y="7"/>
                  </a:cubicBezTo>
                  <a:cubicBezTo>
                    <a:pt x="902" y="0"/>
                    <a:pt x="902" y="0"/>
                    <a:pt x="902" y="0"/>
                  </a:cubicBezTo>
                  <a:cubicBezTo>
                    <a:pt x="902" y="0"/>
                    <a:pt x="889" y="4"/>
                    <a:pt x="888" y="12"/>
                  </a:cubicBezTo>
                  <a:cubicBezTo>
                    <a:pt x="872" y="50"/>
                    <a:pt x="872" y="50"/>
                    <a:pt x="872" y="50"/>
                  </a:cubicBezTo>
                  <a:cubicBezTo>
                    <a:pt x="871" y="67"/>
                    <a:pt x="862" y="67"/>
                    <a:pt x="858" y="71"/>
                  </a:cubicBezTo>
                  <a:cubicBezTo>
                    <a:pt x="858" y="71"/>
                    <a:pt x="858" y="71"/>
                    <a:pt x="853" y="75"/>
                  </a:cubicBezTo>
                  <a:cubicBezTo>
                    <a:pt x="849" y="70"/>
                    <a:pt x="840" y="70"/>
                    <a:pt x="836" y="74"/>
                  </a:cubicBezTo>
                  <a:cubicBezTo>
                    <a:pt x="831" y="78"/>
                    <a:pt x="831" y="78"/>
                    <a:pt x="831" y="78"/>
                  </a:cubicBezTo>
                  <a:cubicBezTo>
                    <a:pt x="822" y="77"/>
                    <a:pt x="814" y="76"/>
                    <a:pt x="806" y="67"/>
                  </a:cubicBezTo>
                  <a:cubicBezTo>
                    <a:pt x="778" y="35"/>
                    <a:pt x="778" y="35"/>
                    <a:pt x="778" y="35"/>
                  </a:cubicBezTo>
                  <a:cubicBezTo>
                    <a:pt x="774" y="30"/>
                    <a:pt x="762" y="25"/>
                    <a:pt x="757" y="29"/>
                  </a:cubicBezTo>
                  <a:cubicBezTo>
                    <a:pt x="734" y="49"/>
                    <a:pt x="734" y="49"/>
                    <a:pt x="734" y="49"/>
                  </a:cubicBezTo>
                  <a:cubicBezTo>
                    <a:pt x="725" y="49"/>
                    <a:pt x="725" y="57"/>
                    <a:pt x="728" y="70"/>
                  </a:cubicBezTo>
                  <a:cubicBezTo>
                    <a:pt x="747" y="102"/>
                    <a:pt x="747" y="102"/>
                    <a:pt x="747" y="102"/>
                  </a:cubicBezTo>
                  <a:cubicBezTo>
                    <a:pt x="754" y="120"/>
                    <a:pt x="750" y="124"/>
                    <a:pt x="744" y="136"/>
                  </a:cubicBezTo>
                  <a:cubicBezTo>
                    <a:pt x="744" y="136"/>
                    <a:pt x="744" y="136"/>
                    <a:pt x="744" y="136"/>
                  </a:cubicBezTo>
                  <a:cubicBezTo>
                    <a:pt x="740" y="140"/>
                    <a:pt x="735" y="144"/>
                    <a:pt x="731" y="148"/>
                  </a:cubicBezTo>
                  <a:cubicBezTo>
                    <a:pt x="731" y="148"/>
                    <a:pt x="731" y="148"/>
                    <a:pt x="731" y="148"/>
                  </a:cubicBezTo>
                  <a:cubicBezTo>
                    <a:pt x="730" y="157"/>
                    <a:pt x="721" y="165"/>
                    <a:pt x="703" y="164"/>
                  </a:cubicBezTo>
                  <a:cubicBezTo>
                    <a:pt x="665" y="157"/>
                    <a:pt x="665" y="157"/>
                    <a:pt x="665" y="157"/>
                  </a:cubicBezTo>
                  <a:cubicBezTo>
                    <a:pt x="656" y="156"/>
                    <a:pt x="647" y="164"/>
                    <a:pt x="647" y="173"/>
                  </a:cubicBezTo>
                  <a:cubicBezTo>
                    <a:pt x="640" y="203"/>
                    <a:pt x="640" y="203"/>
                    <a:pt x="640" y="203"/>
                  </a:cubicBezTo>
                  <a:cubicBezTo>
                    <a:pt x="639" y="211"/>
                    <a:pt x="643" y="216"/>
                    <a:pt x="656" y="221"/>
                  </a:cubicBezTo>
                  <a:cubicBezTo>
                    <a:pt x="690" y="232"/>
                    <a:pt x="690" y="232"/>
                    <a:pt x="690" y="232"/>
                  </a:cubicBezTo>
                  <a:cubicBezTo>
                    <a:pt x="702" y="237"/>
                    <a:pt x="710" y="246"/>
                    <a:pt x="710" y="255"/>
                  </a:cubicBezTo>
                  <a:cubicBezTo>
                    <a:pt x="710" y="255"/>
                    <a:pt x="710" y="255"/>
                    <a:pt x="710" y="255"/>
                  </a:cubicBezTo>
                  <a:cubicBezTo>
                    <a:pt x="714" y="260"/>
                    <a:pt x="713" y="268"/>
                    <a:pt x="717" y="273"/>
                  </a:cubicBezTo>
                  <a:cubicBezTo>
                    <a:pt x="712" y="277"/>
                    <a:pt x="712" y="277"/>
                    <a:pt x="712" y="277"/>
                  </a:cubicBezTo>
                  <a:cubicBezTo>
                    <a:pt x="716" y="281"/>
                    <a:pt x="716" y="290"/>
                    <a:pt x="702" y="302"/>
                  </a:cubicBezTo>
                  <a:cubicBezTo>
                    <a:pt x="674" y="326"/>
                    <a:pt x="674" y="326"/>
                    <a:pt x="674" y="326"/>
                  </a:cubicBezTo>
                  <a:cubicBezTo>
                    <a:pt x="665" y="334"/>
                    <a:pt x="664" y="343"/>
                    <a:pt x="668" y="347"/>
                  </a:cubicBezTo>
                  <a:cubicBezTo>
                    <a:pt x="687" y="379"/>
                    <a:pt x="687" y="379"/>
                    <a:pt x="687" y="379"/>
                  </a:cubicBezTo>
                  <a:cubicBezTo>
                    <a:pt x="691" y="383"/>
                    <a:pt x="700" y="384"/>
                    <a:pt x="704" y="380"/>
                  </a:cubicBezTo>
                  <a:cubicBezTo>
                    <a:pt x="745" y="361"/>
                    <a:pt x="745" y="361"/>
                    <a:pt x="745" y="361"/>
                  </a:cubicBezTo>
                  <a:cubicBezTo>
                    <a:pt x="758" y="358"/>
                    <a:pt x="767" y="358"/>
                    <a:pt x="771" y="363"/>
                  </a:cubicBezTo>
                  <a:cubicBezTo>
                    <a:pt x="771" y="363"/>
                    <a:pt x="771" y="363"/>
                    <a:pt x="771" y="363"/>
                  </a:cubicBezTo>
                  <a:cubicBezTo>
                    <a:pt x="779" y="364"/>
                    <a:pt x="787" y="373"/>
                    <a:pt x="791" y="377"/>
                  </a:cubicBezTo>
                  <a:cubicBezTo>
                    <a:pt x="791" y="377"/>
                    <a:pt x="791" y="377"/>
                    <a:pt x="791" y="377"/>
                  </a:cubicBezTo>
                  <a:cubicBezTo>
                    <a:pt x="800" y="378"/>
                    <a:pt x="804" y="383"/>
                    <a:pt x="802" y="400"/>
                  </a:cubicBezTo>
                  <a:cubicBezTo>
                    <a:pt x="799" y="443"/>
                    <a:pt x="799" y="443"/>
                    <a:pt x="799" y="443"/>
                  </a:cubicBezTo>
                  <a:cubicBezTo>
                    <a:pt x="798" y="451"/>
                    <a:pt x="802" y="456"/>
                    <a:pt x="811" y="457"/>
                  </a:cubicBezTo>
                  <a:cubicBezTo>
                    <a:pt x="845" y="468"/>
                    <a:pt x="845" y="468"/>
                    <a:pt x="845" y="468"/>
                  </a:cubicBezTo>
                  <a:cubicBezTo>
                    <a:pt x="849" y="464"/>
                    <a:pt x="858" y="464"/>
                    <a:pt x="859" y="456"/>
                  </a:cubicBezTo>
                  <a:cubicBezTo>
                    <a:pt x="871" y="413"/>
                    <a:pt x="871" y="413"/>
                    <a:pt x="871" y="413"/>
                  </a:cubicBezTo>
                  <a:cubicBezTo>
                    <a:pt x="876" y="401"/>
                    <a:pt x="889" y="397"/>
                    <a:pt x="894" y="393"/>
                  </a:cubicBezTo>
                  <a:cubicBezTo>
                    <a:pt x="894" y="393"/>
                    <a:pt x="894" y="393"/>
                    <a:pt x="894" y="393"/>
                  </a:cubicBezTo>
                  <a:cubicBezTo>
                    <a:pt x="902" y="394"/>
                    <a:pt x="911" y="395"/>
                    <a:pt x="916" y="391"/>
                  </a:cubicBezTo>
                  <a:cubicBezTo>
                    <a:pt x="916" y="391"/>
                    <a:pt x="916" y="391"/>
                    <a:pt x="916" y="391"/>
                  </a:cubicBezTo>
                  <a:cubicBezTo>
                    <a:pt x="924" y="391"/>
                    <a:pt x="933" y="392"/>
                    <a:pt x="941" y="401"/>
                  </a:cubicBezTo>
                  <a:cubicBezTo>
                    <a:pt x="969" y="433"/>
                    <a:pt x="969" y="433"/>
                    <a:pt x="969" y="433"/>
                  </a:cubicBezTo>
                  <a:cubicBezTo>
                    <a:pt x="973" y="438"/>
                    <a:pt x="985" y="443"/>
                    <a:pt x="990" y="439"/>
                  </a:cubicBezTo>
                  <a:cubicBezTo>
                    <a:pt x="1018" y="415"/>
                    <a:pt x="1018" y="415"/>
                    <a:pt x="1018" y="415"/>
                  </a:cubicBezTo>
                  <a:cubicBezTo>
                    <a:pt x="1018" y="415"/>
                    <a:pt x="1027" y="407"/>
                    <a:pt x="1019" y="398"/>
                  </a:cubicBezTo>
                  <a:close/>
                  <a:moveTo>
                    <a:pt x="803" y="279"/>
                  </a:moveTo>
                  <a:cubicBezTo>
                    <a:pt x="776" y="238"/>
                    <a:pt x="788" y="187"/>
                    <a:pt x="825" y="164"/>
                  </a:cubicBezTo>
                  <a:cubicBezTo>
                    <a:pt x="866" y="136"/>
                    <a:pt x="921" y="144"/>
                    <a:pt x="948" y="185"/>
                  </a:cubicBezTo>
                  <a:cubicBezTo>
                    <a:pt x="972" y="221"/>
                    <a:pt x="963" y="277"/>
                    <a:pt x="922" y="304"/>
                  </a:cubicBezTo>
                  <a:cubicBezTo>
                    <a:pt x="881" y="332"/>
                    <a:pt x="830" y="320"/>
                    <a:pt x="803" y="279"/>
                  </a:cubicBezTo>
                  <a:close/>
                </a:path>
              </a:pathLst>
            </a:custGeom>
            <a:solidFill>
              <a:schemeClr val="tx1"/>
            </a:solidFill>
            <a:ln>
              <a:noFill/>
            </a:ln>
          </p:spPr>
          <p:txBody>
            <a:bodyPr vert="horz" wrap="square" lIns="68574" tIns="34287" rIns="68574" bIns="34287"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17346"/>
                </a:solidFill>
                <a:effectLst/>
                <a:uLnTx/>
                <a:uFillTx/>
                <a:latin typeface="Segoe UI"/>
                <a:ea typeface="+mn-ea"/>
                <a:cs typeface="+mn-cs"/>
              </a:endParaRPr>
            </a:p>
          </p:txBody>
        </p:sp>
        <p:sp>
          <p:nvSpPr>
            <p:cNvPr id="88" name="Freeform 87"/>
            <p:cNvSpPr>
              <a:spLocks noChangeAspect="1"/>
            </p:cNvSpPr>
            <p:nvPr/>
          </p:nvSpPr>
          <p:spPr bwMode="black">
            <a:xfrm>
              <a:off x="776985" y="4213905"/>
              <a:ext cx="342871" cy="335728"/>
            </a:xfrm>
            <a:custGeom>
              <a:avLst/>
              <a:gdLst>
                <a:gd name="connsiteX0" fmla="*/ 3713863 w 4893730"/>
                <a:gd name="connsiteY0" fmla="*/ 2130808 h 4791777"/>
                <a:gd name="connsiteX1" fmla="*/ 4426142 w 4893730"/>
                <a:gd name="connsiteY1" fmla="*/ 2130808 h 4791777"/>
                <a:gd name="connsiteX2" fmla="*/ 4598071 w 4893730"/>
                <a:gd name="connsiteY2" fmla="*/ 2301547 h 4791777"/>
                <a:gd name="connsiteX3" fmla="*/ 4598071 w 4893730"/>
                <a:gd name="connsiteY3" fmla="*/ 3886978 h 4791777"/>
                <a:gd name="connsiteX4" fmla="*/ 4426142 w 4893730"/>
                <a:gd name="connsiteY4" fmla="*/ 4057717 h 4791777"/>
                <a:gd name="connsiteX5" fmla="*/ 3713863 w 4893730"/>
                <a:gd name="connsiteY5" fmla="*/ 4057717 h 4791777"/>
                <a:gd name="connsiteX6" fmla="*/ 3517372 w 4893730"/>
                <a:gd name="connsiteY6" fmla="*/ 3886978 h 4791777"/>
                <a:gd name="connsiteX7" fmla="*/ 3517372 w 4893730"/>
                <a:gd name="connsiteY7" fmla="*/ 2301547 h 4791777"/>
                <a:gd name="connsiteX8" fmla="*/ 3713863 w 4893730"/>
                <a:gd name="connsiteY8" fmla="*/ 2130808 h 4791777"/>
                <a:gd name="connsiteX9" fmla="*/ 904368 w 4893730"/>
                <a:gd name="connsiteY9" fmla="*/ 1223432 h 4791777"/>
                <a:gd name="connsiteX10" fmla="*/ 1609930 w 4893730"/>
                <a:gd name="connsiteY10" fmla="*/ 1223432 h 4791777"/>
                <a:gd name="connsiteX11" fmla="*/ 1804567 w 4893730"/>
                <a:gd name="connsiteY11" fmla="*/ 1394467 h 4791777"/>
                <a:gd name="connsiteX12" fmla="*/ 1804567 w 4893730"/>
                <a:gd name="connsiteY12" fmla="*/ 3886683 h 4791777"/>
                <a:gd name="connsiteX13" fmla="*/ 1609930 w 4893730"/>
                <a:gd name="connsiteY13" fmla="*/ 4057717 h 4791777"/>
                <a:gd name="connsiteX14" fmla="*/ 904368 w 4893730"/>
                <a:gd name="connsiteY14" fmla="*/ 4057717 h 4791777"/>
                <a:gd name="connsiteX15" fmla="*/ 734060 w 4893730"/>
                <a:gd name="connsiteY15" fmla="*/ 3886683 h 4791777"/>
                <a:gd name="connsiteX16" fmla="*/ 734060 w 4893730"/>
                <a:gd name="connsiteY16" fmla="*/ 1394467 h 4791777"/>
                <a:gd name="connsiteX17" fmla="*/ 904368 w 4893730"/>
                <a:gd name="connsiteY17" fmla="*/ 1223432 h 4791777"/>
                <a:gd name="connsiteX18" fmla="*/ 2325453 w 4893730"/>
                <a:gd name="connsiteY18" fmla="*/ 316050 h 4791777"/>
                <a:gd name="connsiteX19" fmla="*/ 3031014 w 4893730"/>
                <a:gd name="connsiteY19" fmla="*/ 316050 h 4791777"/>
                <a:gd name="connsiteX20" fmla="*/ 3201322 w 4893730"/>
                <a:gd name="connsiteY20" fmla="*/ 487238 h 4791777"/>
                <a:gd name="connsiteX21" fmla="*/ 3201322 w 4893730"/>
                <a:gd name="connsiteY21" fmla="*/ 3886530 h 4791777"/>
                <a:gd name="connsiteX22" fmla="*/ 3031014 w 4893730"/>
                <a:gd name="connsiteY22" fmla="*/ 4057717 h 4791777"/>
                <a:gd name="connsiteX23" fmla="*/ 2325453 w 4893730"/>
                <a:gd name="connsiteY23" fmla="*/ 4057717 h 4791777"/>
                <a:gd name="connsiteX24" fmla="*/ 2130815 w 4893730"/>
                <a:gd name="connsiteY24" fmla="*/ 3886530 h 4791777"/>
                <a:gd name="connsiteX25" fmla="*/ 2130815 w 4893730"/>
                <a:gd name="connsiteY25" fmla="*/ 487238 h 4791777"/>
                <a:gd name="connsiteX26" fmla="*/ 2325453 w 4893730"/>
                <a:gd name="connsiteY26" fmla="*/ 316050 h 4791777"/>
                <a:gd name="connsiteX27" fmla="*/ 269155 w 4893730"/>
                <a:gd name="connsiteY27" fmla="*/ 0 h 4791777"/>
                <a:gd name="connsiteX28" fmla="*/ 538311 w 4893730"/>
                <a:gd name="connsiteY28" fmla="*/ 268927 h 4791777"/>
                <a:gd name="connsiteX29" fmla="*/ 538311 w 4893730"/>
                <a:gd name="connsiteY29" fmla="*/ 4253925 h 4791777"/>
                <a:gd name="connsiteX30" fmla="*/ 4624575 w 4893730"/>
                <a:gd name="connsiteY30" fmla="*/ 4253925 h 4791777"/>
                <a:gd name="connsiteX31" fmla="*/ 4893730 w 4893730"/>
                <a:gd name="connsiteY31" fmla="*/ 4522851 h 4791777"/>
                <a:gd name="connsiteX32" fmla="*/ 4624575 w 4893730"/>
                <a:gd name="connsiteY32" fmla="*/ 4791777 h 4791777"/>
                <a:gd name="connsiteX33" fmla="*/ 269155 w 4893730"/>
                <a:gd name="connsiteY33" fmla="*/ 4791777 h 4791777"/>
                <a:gd name="connsiteX34" fmla="*/ 0 w 4893730"/>
                <a:gd name="connsiteY34" fmla="*/ 4522851 h 4791777"/>
                <a:gd name="connsiteX35" fmla="*/ 0 w 4893730"/>
                <a:gd name="connsiteY35" fmla="*/ 268927 h 4791777"/>
                <a:gd name="connsiteX36" fmla="*/ 269155 w 4893730"/>
                <a:gd name="connsiteY36" fmla="*/ 0 h 4791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4893730" h="4791777">
                  <a:moveTo>
                    <a:pt x="3713863" y="2130808"/>
                  </a:moveTo>
                  <a:cubicBezTo>
                    <a:pt x="3713863" y="2130808"/>
                    <a:pt x="3713863" y="2130808"/>
                    <a:pt x="4426142" y="2130808"/>
                  </a:cubicBezTo>
                  <a:cubicBezTo>
                    <a:pt x="4524387" y="2130808"/>
                    <a:pt x="4598071" y="2203982"/>
                    <a:pt x="4598071" y="2301547"/>
                  </a:cubicBezTo>
                  <a:cubicBezTo>
                    <a:pt x="4598071" y="2301547"/>
                    <a:pt x="4598071" y="2301547"/>
                    <a:pt x="4598071" y="3886978"/>
                  </a:cubicBezTo>
                  <a:cubicBezTo>
                    <a:pt x="4598071" y="3984543"/>
                    <a:pt x="4524387" y="4057717"/>
                    <a:pt x="4426142" y="4057717"/>
                  </a:cubicBezTo>
                  <a:cubicBezTo>
                    <a:pt x="4426142" y="4057717"/>
                    <a:pt x="4426142" y="4057717"/>
                    <a:pt x="3713863" y="4057717"/>
                  </a:cubicBezTo>
                  <a:cubicBezTo>
                    <a:pt x="3615618" y="4057717"/>
                    <a:pt x="3517372" y="3984543"/>
                    <a:pt x="3517372" y="3886978"/>
                  </a:cubicBezTo>
                  <a:cubicBezTo>
                    <a:pt x="3517372" y="3886978"/>
                    <a:pt x="3517372" y="3886978"/>
                    <a:pt x="3517372" y="2301547"/>
                  </a:cubicBezTo>
                  <a:cubicBezTo>
                    <a:pt x="3517372" y="2203982"/>
                    <a:pt x="3615618" y="2130808"/>
                    <a:pt x="3713863" y="2130808"/>
                  </a:cubicBezTo>
                  <a:close/>
                  <a:moveTo>
                    <a:pt x="904368" y="1223432"/>
                  </a:moveTo>
                  <a:cubicBezTo>
                    <a:pt x="904368" y="1223432"/>
                    <a:pt x="904368" y="1223432"/>
                    <a:pt x="1609930" y="1223432"/>
                  </a:cubicBezTo>
                  <a:cubicBezTo>
                    <a:pt x="1731578" y="1223432"/>
                    <a:pt x="1804567" y="1296733"/>
                    <a:pt x="1804567" y="1394467"/>
                  </a:cubicBezTo>
                  <a:cubicBezTo>
                    <a:pt x="1804567" y="1394467"/>
                    <a:pt x="1804567" y="1394467"/>
                    <a:pt x="1804567" y="3886683"/>
                  </a:cubicBezTo>
                  <a:cubicBezTo>
                    <a:pt x="1804567" y="3984417"/>
                    <a:pt x="1731578" y="4057717"/>
                    <a:pt x="1609930" y="4057717"/>
                  </a:cubicBezTo>
                  <a:cubicBezTo>
                    <a:pt x="1609930" y="4057717"/>
                    <a:pt x="1609930" y="4057717"/>
                    <a:pt x="904368" y="4057717"/>
                  </a:cubicBezTo>
                  <a:cubicBezTo>
                    <a:pt x="807049" y="4057717"/>
                    <a:pt x="734060" y="3984417"/>
                    <a:pt x="734060" y="3886683"/>
                  </a:cubicBezTo>
                  <a:cubicBezTo>
                    <a:pt x="734060" y="3886683"/>
                    <a:pt x="734060" y="3886683"/>
                    <a:pt x="734060" y="1394467"/>
                  </a:cubicBezTo>
                  <a:cubicBezTo>
                    <a:pt x="734060" y="1296733"/>
                    <a:pt x="807049" y="1223432"/>
                    <a:pt x="904368" y="1223432"/>
                  </a:cubicBezTo>
                  <a:close/>
                  <a:moveTo>
                    <a:pt x="2325453" y="316050"/>
                  </a:moveTo>
                  <a:cubicBezTo>
                    <a:pt x="2325453" y="316050"/>
                    <a:pt x="2325453" y="316050"/>
                    <a:pt x="3031014" y="316050"/>
                  </a:cubicBezTo>
                  <a:cubicBezTo>
                    <a:pt x="3128333" y="316050"/>
                    <a:pt x="3201322" y="389416"/>
                    <a:pt x="3201322" y="487238"/>
                  </a:cubicBezTo>
                  <a:cubicBezTo>
                    <a:pt x="3201322" y="487238"/>
                    <a:pt x="3201322" y="487238"/>
                    <a:pt x="3201322" y="3886530"/>
                  </a:cubicBezTo>
                  <a:cubicBezTo>
                    <a:pt x="3201322" y="3984351"/>
                    <a:pt x="3128333" y="4057717"/>
                    <a:pt x="3031014" y="4057717"/>
                  </a:cubicBezTo>
                  <a:cubicBezTo>
                    <a:pt x="3031014" y="4057717"/>
                    <a:pt x="3031014" y="4057717"/>
                    <a:pt x="2325453" y="4057717"/>
                  </a:cubicBezTo>
                  <a:cubicBezTo>
                    <a:pt x="2203804" y="4057717"/>
                    <a:pt x="2130815" y="3984351"/>
                    <a:pt x="2130815" y="3886530"/>
                  </a:cubicBezTo>
                  <a:cubicBezTo>
                    <a:pt x="2130815" y="3886530"/>
                    <a:pt x="2130815" y="3886530"/>
                    <a:pt x="2130815" y="487238"/>
                  </a:cubicBezTo>
                  <a:cubicBezTo>
                    <a:pt x="2130815" y="389416"/>
                    <a:pt x="2203804" y="316050"/>
                    <a:pt x="2325453" y="316050"/>
                  </a:cubicBezTo>
                  <a:close/>
                  <a:moveTo>
                    <a:pt x="269155" y="0"/>
                  </a:moveTo>
                  <a:cubicBezTo>
                    <a:pt x="415967" y="0"/>
                    <a:pt x="538311" y="122239"/>
                    <a:pt x="538311" y="268927"/>
                  </a:cubicBezTo>
                  <a:cubicBezTo>
                    <a:pt x="538311" y="268927"/>
                    <a:pt x="538311" y="268927"/>
                    <a:pt x="538311" y="4253925"/>
                  </a:cubicBezTo>
                  <a:cubicBezTo>
                    <a:pt x="538311" y="4253925"/>
                    <a:pt x="538311" y="4253925"/>
                    <a:pt x="4624575" y="4253925"/>
                  </a:cubicBezTo>
                  <a:cubicBezTo>
                    <a:pt x="4771387" y="4253925"/>
                    <a:pt x="4893730" y="4376164"/>
                    <a:pt x="4893730" y="4522851"/>
                  </a:cubicBezTo>
                  <a:cubicBezTo>
                    <a:pt x="4893730" y="4669538"/>
                    <a:pt x="4771387" y="4791777"/>
                    <a:pt x="4624575" y="4791777"/>
                  </a:cubicBezTo>
                  <a:cubicBezTo>
                    <a:pt x="4624575" y="4791777"/>
                    <a:pt x="4624575" y="4791777"/>
                    <a:pt x="269155" y="4791777"/>
                  </a:cubicBezTo>
                  <a:cubicBezTo>
                    <a:pt x="122344" y="4791777"/>
                    <a:pt x="0" y="4669538"/>
                    <a:pt x="0" y="4522851"/>
                  </a:cubicBezTo>
                  <a:cubicBezTo>
                    <a:pt x="0" y="4522851"/>
                    <a:pt x="0" y="4522851"/>
                    <a:pt x="0" y="268927"/>
                  </a:cubicBezTo>
                  <a:cubicBezTo>
                    <a:pt x="0" y="122239"/>
                    <a:pt x="122344" y="0"/>
                    <a:pt x="269155"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37148" tIns="109719" rIns="137148" bIns="109719"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699261"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9" name="Rectangle 88"/>
            <p:cNvSpPr/>
            <p:nvPr/>
          </p:nvSpPr>
          <p:spPr bwMode="auto">
            <a:xfrm rot="2745734">
              <a:off x="279530" y="1141266"/>
              <a:ext cx="1260714" cy="1255193"/>
            </a:xfrm>
            <a:prstGeom prst="rect">
              <a:avLst/>
            </a:prstGeom>
            <a:solidFill>
              <a:schemeClr val="tx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0" name="Rectangle 89"/>
            <p:cNvSpPr/>
            <p:nvPr/>
          </p:nvSpPr>
          <p:spPr bwMode="auto">
            <a:xfrm rot="2745734">
              <a:off x="292433" y="3819160"/>
              <a:ext cx="1610349" cy="1235003"/>
            </a:xfrm>
            <a:prstGeom prst="rect">
              <a:avLst/>
            </a:prstGeom>
            <a:solidFill>
              <a:schemeClr val="tx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2" name="Rectangle 91"/>
            <p:cNvSpPr/>
            <p:nvPr/>
          </p:nvSpPr>
          <p:spPr bwMode="auto">
            <a:xfrm rot="2745734">
              <a:off x="1315610" y="4915701"/>
              <a:ext cx="1263370" cy="1255989"/>
            </a:xfrm>
            <a:prstGeom prst="rect">
              <a:avLst/>
            </a:prstGeom>
            <a:solidFill>
              <a:schemeClr val="tx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40" name="TextBox 39"/>
          <p:cNvSpPr txBox="1"/>
          <p:nvPr/>
        </p:nvSpPr>
        <p:spPr>
          <a:xfrm>
            <a:off x="3" y="51415"/>
            <a:ext cx="2849058" cy="430887"/>
          </a:xfrm>
          <a:prstGeom prst="rect">
            <a:avLst/>
          </a:prstGeom>
        </p:spPr>
        <p:txBody>
          <a:bodyPr wrap="square">
            <a:spAutoFit/>
          </a:bodyPr>
          <a:lstStyle>
            <a:defPPr>
              <a:defRPr lang="en-US"/>
            </a:defPPr>
            <a:lvl1pPr defTabSz="914192">
              <a:defRPr sz="2800" b="1" spc="-100">
                <a:ln w="3175">
                  <a:noFill/>
                </a:ln>
                <a:solidFill>
                  <a:srgbClr val="F2C812"/>
                </a:solidFill>
                <a:latin typeface="Segoe UI" panose="020B0502040204020203" pitchFamily="34" charset="0"/>
                <a:ea typeface="ＭＳ Ｐゴシック" charset="0"/>
                <a:cs typeface="Segoe UI" panose="020B0502040204020203" pitchFamily="34" charset="0"/>
              </a:defRPr>
            </a:lvl1pPr>
          </a:lstStyle>
          <a:p>
            <a:pPr marL="0" marR="0" lvl="0" indent="0" algn="l" defTabSz="914192" rtl="0" eaLnBrk="1" fontAlgn="auto" latinLnBrk="0" hangingPunct="1">
              <a:lnSpc>
                <a:spcPct val="100000"/>
              </a:lnSpc>
              <a:spcBef>
                <a:spcPts val="0"/>
              </a:spcBef>
              <a:spcAft>
                <a:spcPts val="0"/>
              </a:spcAft>
              <a:buClrTx/>
              <a:buSzTx/>
              <a:buFontTx/>
              <a:buNone/>
              <a:tabLst/>
              <a:defRPr/>
            </a:pPr>
            <a:r>
              <a:rPr kumimoji="0" lang="en-US" sz="2200" b="1" i="0" u="none" strike="noStrike" kern="1200" cap="none" spc="-100" normalizeH="0" baseline="0" noProof="0">
                <a:ln w="3175">
                  <a:noFill/>
                </a:ln>
                <a:solidFill>
                  <a:srgbClr val="F2C812"/>
                </a:solidFill>
                <a:effectLst/>
                <a:uLnTx/>
                <a:uFillTx/>
                <a:latin typeface="Segoe UI Light"/>
                <a:ea typeface="ＭＳ Ｐゴシック" charset="0"/>
                <a:cs typeface="Segoe UI" panose="020B0502040204020203" pitchFamily="34" charset="0"/>
              </a:rPr>
              <a:t>Power BI Desktop</a:t>
            </a:r>
          </a:p>
        </p:txBody>
      </p:sp>
      <p:sp>
        <p:nvSpPr>
          <p:cNvPr id="41" name="Rectangle 40"/>
          <p:cNvSpPr/>
          <p:nvPr/>
        </p:nvSpPr>
        <p:spPr bwMode="auto">
          <a:xfrm rot="2745734">
            <a:off x="825067" y="3494250"/>
            <a:ext cx="1260714" cy="370170"/>
          </a:xfrm>
          <a:prstGeom prst="rect">
            <a:avLst/>
          </a:prstGeom>
          <a:solidFill>
            <a:schemeClr val="tx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2" name="Text Placeholder 2"/>
          <p:cNvSpPr txBox="1">
            <a:spLocks/>
          </p:cNvSpPr>
          <p:nvPr/>
        </p:nvSpPr>
        <p:spPr>
          <a:xfrm>
            <a:off x="2915396" y="1412203"/>
            <a:ext cx="9090381" cy="897374"/>
          </a:xfrm>
          <a:prstGeom prst="rect">
            <a:avLst/>
          </a:prstGeom>
        </p:spPr>
        <p:txBody>
          <a:bodyPr vert="horz" wrap="square" lIns="182880" tIns="146304" rIns="182880" bIns="146304" rtlCol="0">
            <a:noAutofit/>
          </a:bodyPr>
          <a:lstStyle>
            <a:lvl1pPr marL="182845" marR="0"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3921" kern="1200" spc="0" baseline="0">
                <a:gradFill>
                  <a:gsLst>
                    <a:gs pos="1250">
                      <a:schemeClr val="tx2"/>
                    </a:gs>
                    <a:gs pos="99000">
                      <a:schemeClr val="tx2"/>
                    </a:gs>
                  </a:gsLst>
                  <a:lin ang="5400000" scaled="0"/>
                </a:gradFill>
                <a:latin typeface="+mj-lt"/>
                <a:ea typeface="+mn-ea"/>
                <a:cs typeface="+mn-cs"/>
              </a:defRPr>
            </a:lvl1pPr>
            <a:lvl2pPr marL="365690" marR="0"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2400" kern="1200" spc="0" baseline="0">
                <a:solidFill>
                  <a:schemeClr val="tx2"/>
                </a:solidFill>
                <a:latin typeface="+mj-lt"/>
                <a:ea typeface="+mn-ea"/>
                <a:cs typeface="+mn-cs"/>
              </a:defRPr>
            </a:lvl2pPr>
            <a:lvl3pPr marL="548535" marR="0"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2000" kern="1200" spc="0" baseline="0">
                <a:solidFill>
                  <a:schemeClr val="tx2"/>
                </a:solidFill>
                <a:latin typeface="+mj-lt"/>
                <a:ea typeface="+mn-ea"/>
                <a:cs typeface="+mn-cs"/>
              </a:defRPr>
            </a:lvl3pPr>
            <a:lvl4pPr marL="733802" marR="0" indent="-28569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1765" kern="1200" spc="0" baseline="0">
                <a:solidFill>
                  <a:schemeClr val="tx2"/>
                </a:solidFill>
                <a:latin typeface="+mn-lt"/>
                <a:ea typeface="+mn-ea"/>
                <a:cs typeface="+mn-cs"/>
              </a:defRPr>
            </a:lvl4pPr>
            <a:lvl5pPr marL="957856" marR="0" indent="-28569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1765" kern="1200" spc="0" baseline="0">
                <a:solidFill>
                  <a:schemeClr val="tx2"/>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r>
              <a:rPr kumimoji="0" lang="pt-PT" sz="2000" b="0" i="0" u="none" strike="noStrike" kern="1200" cap="none" spc="0" normalizeH="0" baseline="0" noProof="0">
                <a:ln>
                  <a:noFill/>
                </a:ln>
                <a:solidFill>
                  <a:prstClr val="black"/>
                </a:solidFill>
                <a:effectLst/>
                <a:uLnTx/>
                <a:uFillTx/>
                <a:latin typeface="Segoe UI Light"/>
                <a:ea typeface="Calibri" panose="020F0502020204030204" pitchFamily="34" charset="0"/>
                <a:cs typeface="Times New Roman" panose="02020603050405020304" pitchFamily="18" charset="0"/>
              </a:rPr>
              <a:t>The </a:t>
            </a:r>
            <a:r>
              <a:rPr kumimoji="0" lang="pt-PT" sz="2000" b="1" i="0" u="none" strike="noStrike" kern="1200" cap="none" spc="0" normalizeH="0" baseline="0" noProof="0">
                <a:ln>
                  <a:noFill/>
                </a:ln>
                <a:solidFill>
                  <a:prstClr val="black"/>
                </a:solidFill>
                <a:effectLst/>
                <a:uLnTx/>
                <a:uFillTx/>
                <a:latin typeface="Segoe UI Light"/>
                <a:ea typeface="Calibri" panose="020F0502020204030204" pitchFamily="34" charset="0"/>
                <a:cs typeface="Times New Roman" panose="02020603050405020304" pitchFamily="18" charset="0"/>
              </a:rPr>
              <a:t>first canvas </a:t>
            </a:r>
            <a:r>
              <a:rPr kumimoji="0" lang="pt-PT" sz="2000" b="0" i="0" u="none" strike="noStrike" kern="1200" cap="none" spc="0" normalizeH="0" baseline="0" noProof="0">
                <a:ln>
                  <a:noFill/>
                </a:ln>
                <a:solidFill>
                  <a:prstClr val="black"/>
                </a:solidFill>
                <a:effectLst/>
                <a:uLnTx/>
                <a:uFillTx/>
                <a:latin typeface="Segoe UI Light"/>
                <a:ea typeface="Calibri" panose="020F0502020204030204" pitchFamily="34" charset="0"/>
                <a:cs typeface="Times New Roman" panose="02020603050405020304" pitchFamily="18" charset="0"/>
              </a:rPr>
              <a:t>that is presented to the user</a:t>
            </a: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pt-PT"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a:p>
            <a:pPr marL="182845" marR="0" lvl="1" indent="0" algn="l" defTabSz="914367" rtl="0" eaLnBrk="1" fontAlgn="auto" latinLnBrk="0" hangingPunct="1">
              <a:lnSpc>
                <a:spcPct val="90000"/>
              </a:lnSpc>
              <a:spcBef>
                <a:spcPct val="20000"/>
              </a:spcBef>
              <a:spcAft>
                <a:spcPts val="0"/>
              </a:spcAft>
              <a:buClrTx/>
              <a:buSzPct val="90000"/>
              <a:buFont typeface="Arial" panose="020B0604020202020204" pitchFamily="34" charset="0"/>
              <a:buNone/>
              <a:tabLst/>
              <a:defRPr/>
            </a:pPr>
            <a:endParaRPr kumimoji="0" lang="en-US" sz="2000" b="0" i="0" u="none" strike="noStrike" kern="1200" cap="none" spc="0" normalizeH="0" baseline="0" noProof="0">
              <a:ln>
                <a:noFill/>
              </a:ln>
              <a:solidFill>
                <a:srgbClr val="000000"/>
              </a:solidFill>
              <a:effectLst/>
              <a:uLnTx/>
              <a:uFillTx/>
              <a:latin typeface="Segoe UI Light"/>
              <a:ea typeface="+mn-ea"/>
              <a:cs typeface="+mn-cs"/>
            </a:endParaRPr>
          </a:p>
          <a:p>
            <a:pPr marL="182845" marR="0" lvl="1" indent="0" algn="l" defTabSz="914367" rtl="0" eaLnBrk="1" fontAlgn="auto" latinLnBrk="0" hangingPunct="1">
              <a:lnSpc>
                <a:spcPct val="90000"/>
              </a:lnSpc>
              <a:spcBef>
                <a:spcPct val="20000"/>
              </a:spcBef>
              <a:spcAft>
                <a:spcPts val="0"/>
              </a:spcAft>
              <a:buClrTx/>
              <a:buSzPct val="90000"/>
              <a:buFont typeface="Arial" panose="020B0604020202020204" pitchFamily="34" charset="0"/>
              <a:buNone/>
              <a:tabLst/>
              <a:defRPr/>
            </a:pPr>
            <a:endParaRPr kumimoji="0" lang="en-US" sz="2000" b="0" i="0" u="none" strike="noStrike" kern="1200" cap="none" spc="0" normalizeH="0" baseline="0" noProof="0">
              <a:ln>
                <a:noFill/>
              </a:ln>
              <a:solidFill>
                <a:srgbClr val="000000"/>
              </a:solidFill>
              <a:effectLst/>
              <a:uLnTx/>
              <a:uFillTx/>
              <a:latin typeface="Segoe UI Light"/>
              <a:ea typeface="+mn-ea"/>
              <a:cs typeface="+mn-cs"/>
            </a:endParaRPr>
          </a:p>
          <a:p>
            <a:pPr marL="182845" marR="0" lvl="1" indent="0" algn="l" defTabSz="914367" rtl="0" eaLnBrk="1" fontAlgn="auto" latinLnBrk="0" hangingPunct="1">
              <a:lnSpc>
                <a:spcPct val="90000"/>
              </a:lnSpc>
              <a:spcBef>
                <a:spcPct val="20000"/>
              </a:spcBef>
              <a:spcAft>
                <a:spcPts val="0"/>
              </a:spcAft>
              <a:buClrTx/>
              <a:buSzPct val="90000"/>
              <a:buFont typeface="Arial" panose="020B0604020202020204" pitchFamily="34" charset="0"/>
              <a:buNone/>
              <a:tabLst/>
              <a:defRPr/>
            </a:pPr>
            <a:endParaRPr kumimoji="0" lang="en-US" sz="2000" b="0" i="0" u="none" strike="noStrike" kern="1200" cap="none" spc="0" normalizeH="0" baseline="0" noProof="0">
              <a:ln>
                <a:noFill/>
              </a:ln>
              <a:solidFill>
                <a:srgbClr val="000000"/>
              </a:solidFill>
              <a:effectLst/>
              <a:uLnTx/>
              <a:uFillTx/>
              <a:latin typeface="Segoe UI Light"/>
              <a:ea typeface="+mn-ea"/>
              <a:cs typeface="+mn-cs"/>
            </a:endParaRPr>
          </a:p>
          <a:p>
            <a:pPr marL="182845" marR="0" lvl="1" indent="0" algn="l" defTabSz="914367" rtl="0" eaLnBrk="1" fontAlgn="auto" latinLnBrk="0" hangingPunct="1">
              <a:lnSpc>
                <a:spcPct val="90000"/>
              </a:lnSpc>
              <a:spcBef>
                <a:spcPct val="20000"/>
              </a:spcBef>
              <a:spcAft>
                <a:spcPts val="0"/>
              </a:spcAft>
              <a:buClrTx/>
              <a:buSzPct val="90000"/>
              <a:buFont typeface="Arial" panose="020B0604020202020204" pitchFamily="34" charset="0"/>
              <a:buNone/>
              <a:tabLst/>
              <a:defRPr/>
            </a:pPr>
            <a:endParaRPr kumimoji="0" lang="en-US" sz="2000" b="0" i="0" u="none" strike="noStrike" kern="1200" cap="none" spc="0" normalizeH="0" baseline="0" noProof="0">
              <a:ln>
                <a:noFill/>
              </a:ln>
              <a:solidFill>
                <a:srgbClr val="000000"/>
              </a:solidFill>
              <a:effectLst/>
              <a:uLnTx/>
              <a:uFillTx/>
              <a:latin typeface="Segoe UI Light"/>
              <a:ea typeface="+mn-ea"/>
              <a:cs typeface="+mn-cs"/>
            </a:endParaRPr>
          </a:p>
        </p:txBody>
      </p:sp>
      <p:pic>
        <p:nvPicPr>
          <p:cNvPr id="6" name="Picture 5"/>
          <p:cNvPicPr>
            <a:picLocks noChangeAspect="1"/>
          </p:cNvPicPr>
          <p:nvPr/>
        </p:nvPicPr>
        <p:blipFill>
          <a:blip r:embed="rId3"/>
          <a:stretch>
            <a:fillRect/>
          </a:stretch>
        </p:blipFill>
        <p:spPr>
          <a:xfrm>
            <a:off x="3638640" y="2204946"/>
            <a:ext cx="7883435" cy="4229434"/>
          </a:xfrm>
          <a:prstGeom prst="rect">
            <a:avLst/>
          </a:prstGeom>
        </p:spPr>
      </p:pic>
      <p:sp>
        <p:nvSpPr>
          <p:cNvPr id="46" name="Rectangle 45"/>
          <p:cNvSpPr/>
          <p:nvPr/>
        </p:nvSpPr>
        <p:spPr bwMode="auto">
          <a:xfrm>
            <a:off x="3628701" y="2913149"/>
            <a:ext cx="262100" cy="237556"/>
          </a:xfrm>
          <a:prstGeom prst="rect">
            <a:avLst/>
          </a:prstGeom>
          <a:noFill/>
          <a:ln w="38100">
            <a:solidFill>
              <a:srgbClr val="FF00F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7" name="Right Arrow 46"/>
          <p:cNvSpPr/>
          <p:nvPr/>
        </p:nvSpPr>
        <p:spPr bwMode="auto">
          <a:xfrm rot="4526639" flipV="1">
            <a:off x="3595836" y="3446052"/>
            <a:ext cx="720000" cy="113118"/>
          </a:xfrm>
          <a:prstGeom prst="rightArrow">
            <a:avLst/>
          </a:prstGeom>
          <a:solidFill>
            <a:srgbClr val="FF00FF"/>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pt-PT"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TextBox 6"/>
          <p:cNvSpPr txBox="1"/>
          <p:nvPr/>
        </p:nvSpPr>
        <p:spPr>
          <a:xfrm>
            <a:off x="3401043" y="3865271"/>
            <a:ext cx="1299385" cy="683264"/>
          </a:xfrm>
          <a:prstGeom prst="rect">
            <a:avLst/>
          </a:prstGeom>
        </p:spPr>
        <p:style>
          <a:lnRef idx="2">
            <a:schemeClr val="dk1"/>
          </a:lnRef>
          <a:fillRef idx="1">
            <a:schemeClr val="lt1"/>
          </a:fillRef>
          <a:effectRef idx="0">
            <a:schemeClr val="dk1"/>
          </a:effectRef>
          <a:fontRef idx="minor">
            <a:schemeClr val="dk1"/>
          </a:fontRef>
        </p:style>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a:ln>
                  <a:noFill/>
                </a:ln>
                <a:gradFill>
                  <a:gsLst>
                    <a:gs pos="2917">
                      <a:prstClr val="black"/>
                    </a:gs>
                    <a:gs pos="30000">
                      <a:prstClr val="black"/>
                    </a:gs>
                  </a:gsLst>
                  <a:lin ang="5400000" scaled="0"/>
                </a:gradFill>
                <a:effectLst/>
                <a:uLnTx/>
                <a:uFillTx/>
                <a:latin typeface="Segoe UI Light"/>
                <a:ea typeface="+mn-ea"/>
                <a:cs typeface="+mn-cs"/>
              </a:rPr>
              <a:t>Toggle Report View</a:t>
            </a:r>
          </a:p>
        </p:txBody>
      </p:sp>
      <p:sp>
        <p:nvSpPr>
          <p:cNvPr id="49" name="Rectangle 48"/>
          <p:cNvSpPr/>
          <p:nvPr/>
        </p:nvSpPr>
        <p:spPr bwMode="auto">
          <a:xfrm>
            <a:off x="10827944" y="2919107"/>
            <a:ext cx="704070" cy="1279558"/>
          </a:xfrm>
          <a:prstGeom prst="rect">
            <a:avLst/>
          </a:prstGeom>
          <a:noFill/>
          <a:ln w="38100">
            <a:solidFill>
              <a:srgbClr val="FF00F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0" name="Right Arrow 49"/>
          <p:cNvSpPr/>
          <p:nvPr/>
        </p:nvSpPr>
        <p:spPr bwMode="auto">
          <a:xfrm rot="15444250" flipV="1">
            <a:off x="10601648" y="2505120"/>
            <a:ext cx="720000" cy="113118"/>
          </a:xfrm>
          <a:prstGeom prst="rightArrow">
            <a:avLst/>
          </a:prstGeom>
          <a:solidFill>
            <a:srgbClr val="FF00FF"/>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pt-PT"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1" name="TextBox 50"/>
          <p:cNvSpPr txBox="1"/>
          <p:nvPr/>
        </p:nvSpPr>
        <p:spPr>
          <a:xfrm>
            <a:off x="9943080" y="1505747"/>
            <a:ext cx="1769727" cy="683264"/>
          </a:xfrm>
          <a:prstGeom prst="rect">
            <a:avLst/>
          </a:prstGeom>
        </p:spPr>
        <p:style>
          <a:lnRef idx="2">
            <a:schemeClr val="dk1"/>
          </a:lnRef>
          <a:fillRef idx="1">
            <a:schemeClr val="lt1"/>
          </a:fillRef>
          <a:effectRef idx="0">
            <a:schemeClr val="dk1"/>
          </a:effectRef>
          <a:fontRef idx="minor">
            <a:schemeClr val="dk1"/>
          </a:fontRef>
        </p:style>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a:ln>
                  <a:noFill/>
                </a:ln>
                <a:gradFill>
                  <a:gsLst>
                    <a:gs pos="2917">
                      <a:prstClr val="black"/>
                    </a:gs>
                    <a:gs pos="30000">
                      <a:prstClr val="black"/>
                    </a:gs>
                  </a:gsLst>
                  <a:lin ang="5400000" scaled="0"/>
                </a:gradFill>
                <a:effectLst/>
                <a:uLnTx/>
                <a:uFillTx/>
                <a:latin typeface="Segoe UI Light"/>
                <a:ea typeface="+mn-ea"/>
                <a:cs typeface="+mn-cs"/>
              </a:rPr>
              <a:t>Available fields to explore</a:t>
            </a:r>
          </a:p>
        </p:txBody>
      </p:sp>
      <p:sp>
        <p:nvSpPr>
          <p:cNvPr id="53" name="Rectangle 52"/>
          <p:cNvSpPr/>
          <p:nvPr/>
        </p:nvSpPr>
        <p:spPr bwMode="auto">
          <a:xfrm>
            <a:off x="9816020" y="2919488"/>
            <a:ext cx="967053" cy="650969"/>
          </a:xfrm>
          <a:prstGeom prst="rect">
            <a:avLst/>
          </a:prstGeom>
          <a:noFill/>
          <a:ln w="38100">
            <a:solidFill>
              <a:srgbClr val="FF00F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7" name="TextBox 56"/>
          <p:cNvSpPr txBox="1"/>
          <p:nvPr/>
        </p:nvSpPr>
        <p:spPr>
          <a:xfrm>
            <a:off x="7978303" y="2165882"/>
            <a:ext cx="1299385" cy="877163"/>
          </a:xfrm>
          <a:prstGeom prst="rect">
            <a:avLst/>
          </a:prstGeom>
        </p:spPr>
        <p:style>
          <a:lnRef idx="2">
            <a:schemeClr val="dk1"/>
          </a:lnRef>
          <a:fillRef idx="1">
            <a:schemeClr val="lt1"/>
          </a:fillRef>
          <a:effectRef idx="0">
            <a:schemeClr val="dk1"/>
          </a:effectRef>
          <a:fontRef idx="minor">
            <a:schemeClr val="dk1"/>
          </a:fontRef>
        </p:style>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a:ln>
                  <a:noFill/>
                </a:ln>
                <a:gradFill>
                  <a:gsLst>
                    <a:gs pos="2917">
                      <a:prstClr val="black"/>
                    </a:gs>
                    <a:gs pos="30000">
                      <a:prstClr val="black"/>
                    </a:gs>
                  </a:gsLst>
                  <a:lin ang="5400000" scaled="0"/>
                </a:gradFill>
                <a:effectLst/>
                <a:uLnTx/>
                <a:uFillTx/>
                <a:latin typeface="Segoe UI Light"/>
                <a:ea typeface="+mn-ea"/>
                <a:cs typeface="+mn-cs"/>
              </a:rPr>
              <a:t>Available Visualization Types</a:t>
            </a:r>
          </a:p>
        </p:txBody>
      </p:sp>
      <p:sp>
        <p:nvSpPr>
          <p:cNvPr id="55" name="Right Arrow 54"/>
          <p:cNvSpPr/>
          <p:nvPr/>
        </p:nvSpPr>
        <p:spPr bwMode="auto">
          <a:xfrm rot="12359521" flipV="1">
            <a:off x="9263554" y="2941578"/>
            <a:ext cx="576000" cy="113118"/>
          </a:xfrm>
          <a:prstGeom prst="rightArrow">
            <a:avLst/>
          </a:prstGeom>
          <a:solidFill>
            <a:srgbClr val="FF00FF"/>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pt-PT"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8" name="Rectangle 47"/>
          <p:cNvSpPr/>
          <p:nvPr/>
        </p:nvSpPr>
        <p:spPr bwMode="auto">
          <a:xfrm>
            <a:off x="9817653" y="3564583"/>
            <a:ext cx="967053" cy="200429"/>
          </a:xfrm>
          <a:prstGeom prst="rect">
            <a:avLst/>
          </a:prstGeom>
          <a:noFill/>
          <a:ln w="38100">
            <a:solidFill>
              <a:srgbClr val="FF00F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4" name="Right Arrow 53"/>
          <p:cNvSpPr/>
          <p:nvPr/>
        </p:nvSpPr>
        <p:spPr bwMode="auto">
          <a:xfrm rot="11645007" flipV="1">
            <a:off x="9241720" y="3544449"/>
            <a:ext cx="576000" cy="113118"/>
          </a:xfrm>
          <a:prstGeom prst="rightArrow">
            <a:avLst/>
          </a:prstGeom>
          <a:solidFill>
            <a:srgbClr val="FF00FF"/>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pt-PT"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6" name="TextBox 55"/>
          <p:cNvSpPr txBox="1"/>
          <p:nvPr/>
        </p:nvSpPr>
        <p:spPr>
          <a:xfrm>
            <a:off x="7288057" y="3175191"/>
            <a:ext cx="1946923" cy="683264"/>
          </a:xfrm>
          <a:prstGeom prst="rect">
            <a:avLst/>
          </a:prstGeom>
        </p:spPr>
        <p:style>
          <a:lnRef idx="2">
            <a:schemeClr val="dk1"/>
          </a:lnRef>
          <a:fillRef idx="1">
            <a:schemeClr val="lt1"/>
          </a:fillRef>
          <a:effectRef idx="0">
            <a:schemeClr val="dk1"/>
          </a:effectRef>
          <a:fontRef idx="minor">
            <a:schemeClr val="dk1"/>
          </a:fontRef>
        </p:style>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a:ln>
                  <a:noFill/>
                </a:ln>
                <a:gradFill>
                  <a:gsLst>
                    <a:gs pos="2917">
                      <a:prstClr val="black"/>
                    </a:gs>
                    <a:gs pos="30000">
                      <a:prstClr val="black"/>
                    </a:gs>
                  </a:gsLst>
                  <a:lin ang="5400000" scaled="0"/>
                </a:gradFill>
                <a:effectLst/>
                <a:uLnTx/>
                <a:uFillTx/>
                <a:latin typeface="Segoe UI Light"/>
                <a:ea typeface="+mn-ea"/>
                <a:cs typeface="+mn-cs"/>
              </a:rPr>
              <a:t>Toggle between Data and Properties</a:t>
            </a:r>
          </a:p>
        </p:txBody>
      </p:sp>
      <p:sp>
        <p:nvSpPr>
          <p:cNvPr id="58" name="Rectangle 57"/>
          <p:cNvSpPr/>
          <p:nvPr/>
        </p:nvSpPr>
        <p:spPr bwMode="auto">
          <a:xfrm>
            <a:off x="9816020" y="3762496"/>
            <a:ext cx="967053" cy="264329"/>
          </a:xfrm>
          <a:prstGeom prst="rect">
            <a:avLst/>
          </a:prstGeom>
          <a:noFill/>
          <a:ln w="38100">
            <a:solidFill>
              <a:srgbClr val="FF00F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0" name="Right Arrow 59"/>
          <p:cNvSpPr/>
          <p:nvPr/>
        </p:nvSpPr>
        <p:spPr bwMode="auto">
          <a:xfrm rot="9805283" flipV="1">
            <a:off x="8654666" y="3987963"/>
            <a:ext cx="1191143" cy="126967"/>
          </a:xfrm>
          <a:prstGeom prst="rightArrow">
            <a:avLst/>
          </a:prstGeom>
          <a:solidFill>
            <a:srgbClr val="FF00FF"/>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pt-PT"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1" name="TextBox 60"/>
          <p:cNvSpPr txBox="1"/>
          <p:nvPr/>
        </p:nvSpPr>
        <p:spPr>
          <a:xfrm>
            <a:off x="7288057" y="4054742"/>
            <a:ext cx="1373253" cy="683264"/>
          </a:xfrm>
          <a:prstGeom prst="rect">
            <a:avLst/>
          </a:prstGeom>
        </p:spPr>
        <p:style>
          <a:lnRef idx="2">
            <a:schemeClr val="dk1"/>
          </a:lnRef>
          <a:fillRef idx="1">
            <a:schemeClr val="lt1"/>
          </a:fillRef>
          <a:effectRef idx="0">
            <a:schemeClr val="dk1"/>
          </a:effectRef>
          <a:fontRef idx="minor">
            <a:schemeClr val="dk1"/>
          </a:fontRef>
        </p:style>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a:ln>
                  <a:noFill/>
                </a:ln>
                <a:gradFill>
                  <a:gsLst>
                    <a:gs pos="2917">
                      <a:prstClr val="black"/>
                    </a:gs>
                    <a:gs pos="30000">
                      <a:prstClr val="black"/>
                    </a:gs>
                  </a:gsLst>
                  <a:lin ang="5400000" scaled="0"/>
                </a:gradFill>
                <a:effectLst/>
                <a:uLnTx/>
                <a:uFillTx/>
                <a:latin typeface="Segoe UI Light"/>
                <a:ea typeface="+mn-ea"/>
                <a:cs typeface="+mn-cs"/>
              </a:rPr>
              <a:t>View data configuration</a:t>
            </a:r>
          </a:p>
        </p:txBody>
      </p:sp>
      <p:sp>
        <p:nvSpPr>
          <p:cNvPr id="62" name="Rectangle 61"/>
          <p:cNvSpPr/>
          <p:nvPr/>
        </p:nvSpPr>
        <p:spPr bwMode="auto">
          <a:xfrm>
            <a:off x="9816020" y="4028753"/>
            <a:ext cx="967053" cy="680080"/>
          </a:xfrm>
          <a:prstGeom prst="rect">
            <a:avLst/>
          </a:prstGeom>
          <a:noFill/>
          <a:ln w="38100">
            <a:solidFill>
              <a:srgbClr val="FF00F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3" name="Right Arrow 62"/>
          <p:cNvSpPr/>
          <p:nvPr/>
        </p:nvSpPr>
        <p:spPr bwMode="auto">
          <a:xfrm rot="9081202" flipV="1">
            <a:off x="8686536" y="4825566"/>
            <a:ext cx="1191143" cy="126967"/>
          </a:xfrm>
          <a:prstGeom prst="rightArrow">
            <a:avLst/>
          </a:prstGeom>
          <a:solidFill>
            <a:srgbClr val="FF00FF"/>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pt-PT"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4" name="TextBox 63"/>
          <p:cNvSpPr txBox="1"/>
          <p:nvPr/>
        </p:nvSpPr>
        <p:spPr>
          <a:xfrm>
            <a:off x="7363831" y="5074969"/>
            <a:ext cx="1373253" cy="489365"/>
          </a:xfrm>
          <a:prstGeom prst="rect">
            <a:avLst/>
          </a:prstGeom>
        </p:spPr>
        <p:style>
          <a:lnRef idx="2">
            <a:schemeClr val="dk1"/>
          </a:lnRef>
          <a:fillRef idx="1">
            <a:schemeClr val="lt1"/>
          </a:fillRef>
          <a:effectRef idx="0">
            <a:schemeClr val="dk1"/>
          </a:effectRef>
          <a:fontRef idx="minor">
            <a:schemeClr val="dk1"/>
          </a:fontRef>
        </p:style>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a:ln>
                  <a:noFill/>
                </a:ln>
                <a:gradFill>
                  <a:gsLst>
                    <a:gs pos="2917">
                      <a:prstClr val="black"/>
                    </a:gs>
                    <a:gs pos="30000">
                      <a:prstClr val="black"/>
                    </a:gs>
                  </a:gsLst>
                  <a:lin ang="5400000" scaled="0"/>
                </a:gradFill>
                <a:effectLst/>
                <a:uLnTx/>
                <a:uFillTx/>
                <a:latin typeface="Segoe UI Light"/>
                <a:ea typeface="+mn-ea"/>
                <a:cs typeface="+mn-cs"/>
              </a:rPr>
              <a:t>Filters pane</a:t>
            </a:r>
          </a:p>
        </p:txBody>
      </p:sp>
      <p:sp>
        <p:nvSpPr>
          <p:cNvPr id="65" name="Rectangle 64"/>
          <p:cNvSpPr/>
          <p:nvPr/>
        </p:nvSpPr>
        <p:spPr bwMode="auto">
          <a:xfrm>
            <a:off x="5574195" y="2410892"/>
            <a:ext cx="1046454" cy="514457"/>
          </a:xfrm>
          <a:prstGeom prst="rect">
            <a:avLst/>
          </a:prstGeom>
          <a:noFill/>
          <a:ln w="38100">
            <a:solidFill>
              <a:srgbClr val="FF00F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6" name="Right Arrow 65"/>
          <p:cNvSpPr/>
          <p:nvPr/>
        </p:nvSpPr>
        <p:spPr bwMode="auto">
          <a:xfrm rot="5603092" flipV="1">
            <a:off x="5755292" y="3219249"/>
            <a:ext cx="720000" cy="113118"/>
          </a:xfrm>
          <a:prstGeom prst="rightArrow">
            <a:avLst/>
          </a:prstGeom>
          <a:solidFill>
            <a:srgbClr val="FF00FF"/>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pt-PT"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7" name="TextBox 66"/>
          <p:cNvSpPr txBox="1"/>
          <p:nvPr/>
        </p:nvSpPr>
        <p:spPr>
          <a:xfrm>
            <a:off x="5418793" y="3643577"/>
            <a:ext cx="1484927" cy="683264"/>
          </a:xfrm>
          <a:prstGeom prst="rect">
            <a:avLst/>
          </a:prstGeom>
        </p:spPr>
        <p:style>
          <a:lnRef idx="2">
            <a:schemeClr val="dk1"/>
          </a:lnRef>
          <a:fillRef idx="1">
            <a:schemeClr val="lt1"/>
          </a:fillRef>
          <a:effectRef idx="0">
            <a:schemeClr val="dk1"/>
          </a:effectRef>
          <a:fontRef idx="minor">
            <a:schemeClr val="dk1"/>
          </a:fontRef>
        </p:style>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a:ln>
                  <a:noFill/>
                </a:ln>
                <a:gradFill>
                  <a:gsLst>
                    <a:gs pos="2917">
                      <a:prstClr val="black"/>
                    </a:gs>
                    <a:gs pos="30000">
                      <a:prstClr val="black"/>
                    </a:gs>
                  </a:gsLst>
                  <a:lin ang="5400000" scaled="0"/>
                </a:gradFill>
                <a:effectLst/>
                <a:uLnTx/>
                <a:uFillTx/>
                <a:latin typeface="Segoe UI Light"/>
                <a:ea typeface="+mn-ea"/>
                <a:cs typeface="+mn-cs"/>
              </a:rPr>
              <a:t>Report related ribbon options</a:t>
            </a:r>
          </a:p>
        </p:txBody>
      </p:sp>
      <p:sp>
        <p:nvSpPr>
          <p:cNvPr id="68" name="Rectangle 67"/>
          <p:cNvSpPr/>
          <p:nvPr/>
        </p:nvSpPr>
        <p:spPr bwMode="auto">
          <a:xfrm>
            <a:off x="3955836" y="6187440"/>
            <a:ext cx="852384" cy="140951"/>
          </a:xfrm>
          <a:prstGeom prst="rect">
            <a:avLst/>
          </a:prstGeom>
          <a:noFill/>
          <a:ln w="38100">
            <a:solidFill>
              <a:srgbClr val="FF00F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9" name="Right Arrow 68"/>
          <p:cNvSpPr/>
          <p:nvPr/>
        </p:nvSpPr>
        <p:spPr bwMode="auto">
          <a:xfrm rot="18926322" flipV="1">
            <a:off x="4340428" y="5876059"/>
            <a:ext cx="720000" cy="113118"/>
          </a:xfrm>
          <a:prstGeom prst="rightArrow">
            <a:avLst/>
          </a:prstGeom>
          <a:solidFill>
            <a:srgbClr val="FF00FF"/>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pt-PT"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0" name="TextBox 69"/>
          <p:cNvSpPr txBox="1"/>
          <p:nvPr/>
        </p:nvSpPr>
        <p:spPr>
          <a:xfrm>
            <a:off x="4977394" y="5267356"/>
            <a:ext cx="1484927" cy="683264"/>
          </a:xfrm>
          <a:prstGeom prst="rect">
            <a:avLst/>
          </a:prstGeom>
        </p:spPr>
        <p:style>
          <a:lnRef idx="2">
            <a:schemeClr val="dk1"/>
          </a:lnRef>
          <a:fillRef idx="1">
            <a:schemeClr val="lt1"/>
          </a:fillRef>
          <a:effectRef idx="0">
            <a:schemeClr val="dk1"/>
          </a:effectRef>
          <a:fontRef idx="minor">
            <a:schemeClr val="dk1"/>
          </a:fontRef>
        </p:style>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a:ln>
                  <a:noFill/>
                </a:ln>
                <a:gradFill>
                  <a:gsLst>
                    <a:gs pos="2917">
                      <a:prstClr val="black"/>
                    </a:gs>
                    <a:gs pos="30000">
                      <a:prstClr val="black"/>
                    </a:gs>
                  </a:gsLst>
                  <a:lin ang="5400000" scaled="0"/>
                </a:gradFill>
                <a:effectLst/>
                <a:uLnTx/>
                <a:uFillTx/>
                <a:latin typeface="Segoe UI Light"/>
                <a:ea typeface="+mn-ea"/>
                <a:cs typeface="+mn-cs"/>
              </a:rPr>
              <a:t>Report Page Selection</a:t>
            </a:r>
          </a:p>
        </p:txBody>
      </p:sp>
      <p:sp>
        <p:nvSpPr>
          <p:cNvPr id="3" name="Title 2"/>
          <p:cNvSpPr>
            <a:spLocks noGrp="1"/>
          </p:cNvSpPr>
          <p:nvPr>
            <p:ph type="title"/>
          </p:nvPr>
        </p:nvSpPr>
        <p:spPr/>
        <p:txBody>
          <a:bodyPr/>
          <a:lstStyle/>
          <a:p>
            <a:r>
              <a:rPr lang="en-GB"/>
              <a:t>Report View</a:t>
            </a:r>
          </a:p>
        </p:txBody>
      </p:sp>
    </p:spTree>
    <p:extLst>
      <p:ext uri="{BB962C8B-B14F-4D97-AF65-F5344CB8AC3E}">
        <p14:creationId xmlns:p14="http://schemas.microsoft.com/office/powerpoint/2010/main" val="26765705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2" name="Group 51"/>
          <p:cNvGrpSpPr/>
          <p:nvPr/>
        </p:nvGrpSpPr>
        <p:grpSpPr>
          <a:xfrm>
            <a:off x="2" y="1"/>
            <a:ext cx="2849058" cy="6858000"/>
            <a:chOff x="2" y="1"/>
            <a:chExt cx="2849058" cy="6858000"/>
          </a:xfrm>
        </p:grpSpPr>
        <p:sp>
          <p:nvSpPr>
            <p:cNvPr id="71" name="Rectangle 70"/>
            <p:cNvSpPr/>
            <p:nvPr/>
          </p:nvSpPr>
          <p:spPr bwMode="auto">
            <a:xfrm>
              <a:off x="2" y="1"/>
              <a:ext cx="2849058"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3" name="Oval 70"/>
            <p:cNvSpPr/>
            <p:nvPr/>
          </p:nvSpPr>
          <p:spPr>
            <a:xfrm>
              <a:off x="1413521" y="4951537"/>
              <a:ext cx="1119626" cy="1119626"/>
            </a:xfrm>
            <a:prstGeom prst="ellipse">
              <a:avLst/>
            </a:prstGeom>
            <a:solidFill>
              <a:srgbClr val="F2C812"/>
            </a:solidFill>
            <a:ln w="3175" cap="flat" cmpd="sng" algn="ctr">
              <a:noFill/>
              <a:prstDash val="solid"/>
            </a:ln>
            <a:effectLst/>
          </p:spPr>
          <p:txBody>
            <a:bodyPr vert="horz" wrap="none" lIns="0" tIns="45720" rIns="0" bIns="0" rtlCol="0" anchor="t"/>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Segoe UI"/>
                  <a:ea typeface="Segoe UI" pitchFamily="34" charset="0"/>
                  <a:cs typeface="Segoe UI" pitchFamily="34" charset="0"/>
                </a:rPr>
                <a:t>Share &amp;</a:t>
              </a:r>
            </a:p>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Segoe UI"/>
                  <a:ea typeface="Segoe UI" pitchFamily="34" charset="0"/>
                  <a:cs typeface="Segoe UI" pitchFamily="34" charset="0"/>
                </a:rPr>
                <a:t>collaborate </a:t>
              </a:r>
            </a:p>
          </p:txBody>
        </p:sp>
        <p:grpSp>
          <p:nvGrpSpPr>
            <p:cNvPr id="76" name="Group 38"/>
            <p:cNvGrpSpPr>
              <a:grpSpLocks noChangeAspect="1"/>
            </p:cNvGrpSpPr>
            <p:nvPr/>
          </p:nvGrpSpPr>
          <p:grpSpPr>
            <a:xfrm>
              <a:off x="676996" y="3930692"/>
              <a:ext cx="383905" cy="351536"/>
              <a:chOff x="4363684" y="5330386"/>
              <a:chExt cx="1409956" cy="1291077"/>
            </a:xfrm>
            <a:solidFill>
              <a:srgbClr val="217346"/>
            </a:solidFill>
          </p:grpSpPr>
          <p:sp>
            <p:nvSpPr>
              <p:cNvPr id="102" name="Donut 3"/>
              <p:cNvSpPr/>
              <p:nvPr/>
            </p:nvSpPr>
            <p:spPr bwMode="auto">
              <a:xfrm>
                <a:off x="4363684" y="5330386"/>
                <a:ext cx="1409956" cy="1291077"/>
              </a:xfrm>
              <a:custGeom>
                <a:avLst/>
                <a:gdLst/>
                <a:ahLst/>
                <a:cxnLst/>
                <a:rect l="l" t="t" r="r" b="b"/>
                <a:pathLst>
                  <a:path w="1409956" h="1291077">
                    <a:moveTo>
                      <a:pt x="956401" y="78410"/>
                    </a:moveTo>
                    <a:cubicBezTo>
                      <a:pt x="747518" y="78410"/>
                      <a:pt x="578184" y="247744"/>
                      <a:pt x="578184" y="456627"/>
                    </a:cubicBezTo>
                    <a:cubicBezTo>
                      <a:pt x="578184" y="665510"/>
                      <a:pt x="747518" y="834844"/>
                      <a:pt x="956401" y="834844"/>
                    </a:cubicBezTo>
                    <a:cubicBezTo>
                      <a:pt x="1165284" y="834844"/>
                      <a:pt x="1334618" y="665510"/>
                      <a:pt x="1334618" y="456627"/>
                    </a:cubicBezTo>
                    <a:cubicBezTo>
                      <a:pt x="1334618" y="247744"/>
                      <a:pt x="1165284" y="78410"/>
                      <a:pt x="956401" y="78410"/>
                    </a:cubicBezTo>
                    <a:close/>
                    <a:moveTo>
                      <a:pt x="952756" y="0"/>
                    </a:moveTo>
                    <a:cubicBezTo>
                      <a:pt x="1205261" y="0"/>
                      <a:pt x="1409956" y="204695"/>
                      <a:pt x="1409956" y="457200"/>
                    </a:cubicBezTo>
                    <a:cubicBezTo>
                      <a:pt x="1409956" y="709705"/>
                      <a:pt x="1205261" y="914400"/>
                      <a:pt x="952756" y="914400"/>
                    </a:cubicBezTo>
                    <a:cubicBezTo>
                      <a:pt x="862133" y="914400"/>
                      <a:pt x="777669" y="888034"/>
                      <a:pt x="707132" y="841746"/>
                    </a:cubicBezTo>
                    <a:lnTo>
                      <a:pt x="136495" y="1280102"/>
                    </a:lnTo>
                    <a:cubicBezTo>
                      <a:pt x="21896" y="1327168"/>
                      <a:pt x="-44029" y="1213730"/>
                      <a:pt x="33797" y="1113182"/>
                    </a:cubicBezTo>
                    <a:lnTo>
                      <a:pt x="568587" y="703518"/>
                    </a:lnTo>
                    <a:cubicBezTo>
                      <a:pt x="522087" y="632814"/>
                      <a:pt x="495556" y="548105"/>
                      <a:pt x="495556" y="457200"/>
                    </a:cubicBezTo>
                    <a:cubicBezTo>
                      <a:pt x="495556" y="204695"/>
                      <a:pt x="700251" y="0"/>
                      <a:pt x="952756" y="0"/>
                    </a:cubicBezTo>
                    <a:close/>
                  </a:path>
                </a:pathLst>
              </a:custGeom>
              <a:grpFill/>
              <a:ln>
                <a:solidFill>
                  <a:srgbClr val="21734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sp>
            <p:nvSpPr>
              <p:cNvPr id="103" name="Rectangle 4"/>
              <p:cNvSpPr/>
              <p:nvPr/>
            </p:nvSpPr>
            <p:spPr>
              <a:xfrm>
                <a:off x="5058389" y="5528247"/>
                <a:ext cx="490885" cy="490020"/>
              </a:xfrm>
              <a:custGeom>
                <a:avLst/>
                <a:gdLst/>
                <a:ahLst/>
                <a:cxnLst/>
                <a:rect l="l" t="t" r="r" b="b"/>
                <a:pathLst>
                  <a:path w="490885" h="490020">
                    <a:moveTo>
                      <a:pt x="240752" y="0"/>
                    </a:moveTo>
                    <a:cubicBezTo>
                      <a:pt x="253961" y="11844"/>
                      <a:pt x="293310" y="49692"/>
                      <a:pt x="337332" y="92439"/>
                    </a:cubicBezTo>
                    <a:lnTo>
                      <a:pt x="328342" y="81259"/>
                    </a:lnTo>
                    <a:cubicBezTo>
                      <a:pt x="356946" y="111282"/>
                      <a:pt x="377251" y="107167"/>
                      <a:pt x="382515" y="87941"/>
                    </a:cubicBezTo>
                    <a:cubicBezTo>
                      <a:pt x="383951" y="76921"/>
                      <a:pt x="384595" y="68732"/>
                      <a:pt x="396997" y="52239"/>
                    </a:cubicBezTo>
                    <a:cubicBezTo>
                      <a:pt x="420362" y="32084"/>
                      <a:pt x="442294" y="41736"/>
                      <a:pt x="454920" y="51330"/>
                    </a:cubicBezTo>
                    <a:cubicBezTo>
                      <a:pt x="467834" y="62761"/>
                      <a:pt x="477920" y="86882"/>
                      <a:pt x="460392" y="109714"/>
                    </a:cubicBezTo>
                    <a:cubicBezTo>
                      <a:pt x="451128" y="121912"/>
                      <a:pt x="437554" y="126838"/>
                      <a:pt x="425922" y="126505"/>
                    </a:cubicBezTo>
                    <a:cubicBezTo>
                      <a:pt x="424301" y="127609"/>
                      <a:pt x="382890" y="134974"/>
                      <a:pt x="427348" y="177672"/>
                    </a:cubicBezTo>
                    <a:lnTo>
                      <a:pt x="416886" y="169735"/>
                    </a:lnTo>
                    <a:cubicBezTo>
                      <a:pt x="450207" y="202177"/>
                      <a:pt x="478424" y="229744"/>
                      <a:pt x="490885" y="241900"/>
                    </a:cubicBezTo>
                    <a:lnTo>
                      <a:pt x="417150" y="317347"/>
                    </a:lnTo>
                    <a:cubicBezTo>
                      <a:pt x="417744" y="316535"/>
                      <a:pt x="418443" y="316123"/>
                      <a:pt x="419047" y="315822"/>
                    </a:cubicBezTo>
                    <a:cubicBezTo>
                      <a:pt x="389023" y="344426"/>
                      <a:pt x="393138" y="364731"/>
                      <a:pt x="412364" y="369995"/>
                    </a:cubicBezTo>
                    <a:cubicBezTo>
                      <a:pt x="423384" y="371431"/>
                      <a:pt x="431574" y="372075"/>
                      <a:pt x="448067" y="384477"/>
                    </a:cubicBezTo>
                    <a:cubicBezTo>
                      <a:pt x="468221" y="407842"/>
                      <a:pt x="458569" y="429774"/>
                      <a:pt x="448975" y="442400"/>
                    </a:cubicBezTo>
                    <a:cubicBezTo>
                      <a:pt x="437545" y="455314"/>
                      <a:pt x="413423" y="465400"/>
                      <a:pt x="390591" y="447872"/>
                    </a:cubicBezTo>
                    <a:cubicBezTo>
                      <a:pt x="378394" y="438608"/>
                      <a:pt x="373468" y="425034"/>
                      <a:pt x="373800" y="413402"/>
                    </a:cubicBezTo>
                    <a:cubicBezTo>
                      <a:pt x="372696" y="411781"/>
                      <a:pt x="365332" y="370370"/>
                      <a:pt x="322634" y="414828"/>
                    </a:cubicBezTo>
                    <a:lnTo>
                      <a:pt x="325243" y="411388"/>
                    </a:lnTo>
                    <a:lnTo>
                      <a:pt x="248395" y="490020"/>
                    </a:lnTo>
                    <a:cubicBezTo>
                      <a:pt x="208939" y="451897"/>
                      <a:pt x="199129" y="442073"/>
                      <a:pt x="174192" y="418236"/>
                    </a:cubicBezTo>
                    <a:cubicBezTo>
                      <a:pt x="145587" y="388212"/>
                      <a:pt x="125282" y="392327"/>
                      <a:pt x="120018" y="411553"/>
                    </a:cubicBezTo>
                    <a:cubicBezTo>
                      <a:pt x="118582" y="422573"/>
                      <a:pt x="117938" y="430763"/>
                      <a:pt x="105536" y="447256"/>
                    </a:cubicBezTo>
                    <a:cubicBezTo>
                      <a:pt x="82171" y="467410"/>
                      <a:pt x="60239" y="457758"/>
                      <a:pt x="47614" y="448164"/>
                    </a:cubicBezTo>
                    <a:cubicBezTo>
                      <a:pt x="34699" y="436734"/>
                      <a:pt x="24614" y="412612"/>
                      <a:pt x="42141" y="389780"/>
                    </a:cubicBezTo>
                    <a:cubicBezTo>
                      <a:pt x="51405" y="377583"/>
                      <a:pt x="64979" y="372657"/>
                      <a:pt x="76612" y="372989"/>
                    </a:cubicBezTo>
                    <a:cubicBezTo>
                      <a:pt x="78232" y="371886"/>
                      <a:pt x="119644" y="364521"/>
                      <a:pt x="75186" y="321823"/>
                    </a:cubicBezTo>
                    <a:cubicBezTo>
                      <a:pt x="58767" y="305402"/>
                      <a:pt x="23648" y="271235"/>
                      <a:pt x="0" y="248738"/>
                    </a:cubicBezTo>
                    <a:lnTo>
                      <a:pt x="77303" y="168146"/>
                    </a:lnTo>
                    <a:cubicBezTo>
                      <a:pt x="104269" y="140313"/>
                      <a:pt x="122130" y="156409"/>
                      <a:pt x="124388" y="175543"/>
                    </a:cubicBezTo>
                    <a:cubicBezTo>
                      <a:pt x="124457" y="182466"/>
                      <a:pt x="127106" y="193106"/>
                      <a:pt x="137575" y="203052"/>
                    </a:cubicBezTo>
                    <a:cubicBezTo>
                      <a:pt x="153931" y="220277"/>
                      <a:pt x="181252" y="217451"/>
                      <a:pt x="196721" y="201951"/>
                    </a:cubicBezTo>
                    <a:cubicBezTo>
                      <a:pt x="211961" y="185740"/>
                      <a:pt x="213057" y="157882"/>
                      <a:pt x="196146" y="142797"/>
                    </a:cubicBezTo>
                    <a:cubicBezTo>
                      <a:pt x="184301" y="132637"/>
                      <a:pt x="177155" y="131453"/>
                      <a:pt x="166513" y="129894"/>
                    </a:cubicBezTo>
                    <a:cubicBezTo>
                      <a:pt x="154522" y="129013"/>
                      <a:pt x="131185" y="112953"/>
                      <a:pt x="157905" y="85228"/>
                    </a:cubicBezTo>
                    <a:close/>
                  </a:path>
                </a:pathLst>
              </a:custGeom>
              <a:grpFill/>
              <a:ln>
                <a:solidFill>
                  <a:srgbClr val="21734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grpSp>
        <p:sp>
          <p:nvSpPr>
            <p:cNvPr id="77" name="Oval 47"/>
            <p:cNvSpPr/>
            <p:nvPr/>
          </p:nvSpPr>
          <p:spPr>
            <a:xfrm>
              <a:off x="388608" y="3710471"/>
              <a:ext cx="1119626" cy="1119626"/>
            </a:xfrm>
            <a:prstGeom prst="ellipse">
              <a:avLst/>
            </a:prstGeom>
            <a:solidFill>
              <a:srgbClr val="F2C812"/>
            </a:solidFill>
            <a:ln w="3175" cap="flat" cmpd="sng" algn="ctr">
              <a:noFill/>
              <a:prstDash val="solid"/>
            </a:ln>
            <a:effectLst/>
          </p:spPr>
          <p:txBody>
            <a:bodyPr vert="horz" wrap="none" lIns="0" tIns="45720" rIns="0" bIns="0" rtlCol="0" anchor="t"/>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Segoe UI"/>
                  <a:ea typeface="Segoe UI" pitchFamily="34" charset="0"/>
                  <a:cs typeface="Segoe UI" pitchFamily="34" charset="0"/>
                </a:rPr>
                <a:t>Report</a:t>
              </a:r>
            </a:p>
          </p:txBody>
        </p:sp>
        <p:sp>
          <p:nvSpPr>
            <p:cNvPr id="78" name="Oval 950"/>
            <p:cNvSpPr/>
            <p:nvPr/>
          </p:nvSpPr>
          <p:spPr>
            <a:xfrm>
              <a:off x="388608" y="1252295"/>
              <a:ext cx="1119626" cy="1119626"/>
            </a:xfrm>
            <a:prstGeom prst="ellipse">
              <a:avLst/>
            </a:prstGeom>
            <a:solidFill>
              <a:srgbClr val="F2C812"/>
            </a:solidFill>
            <a:ln w="3175" cap="flat" cmpd="sng" algn="ctr">
              <a:noFill/>
              <a:prstDash val="solid"/>
            </a:ln>
            <a:effectLst/>
          </p:spPr>
          <p:txBody>
            <a:bodyPr vert="horz" wrap="none" lIns="0" tIns="45720" rIns="0" bIns="0" rtlCol="0" anchor="t"/>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1" i="0" u="none" strike="noStrike" kern="1200" cap="none" spc="0" normalizeH="0" baseline="0" noProof="0">
                <a:ln>
                  <a:noFill/>
                </a:ln>
                <a:solidFill>
                  <a:srgbClr val="217346"/>
                </a:solidFill>
                <a:effectLst/>
                <a:uLnTx/>
                <a:uFillTx/>
                <a:latin typeface="Segoe UI"/>
                <a:ea typeface="Segoe UI" pitchFamily="34" charset="0"/>
                <a:cs typeface="Segoe UI" pitchFamily="34" charset="0"/>
              </a:endParaRPr>
            </a:p>
          </p:txBody>
        </p:sp>
        <p:grpSp>
          <p:nvGrpSpPr>
            <p:cNvPr id="79" name="Group 78"/>
            <p:cNvGrpSpPr/>
            <p:nvPr/>
          </p:nvGrpSpPr>
          <p:grpSpPr>
            <a:xfrm>
              <a:off x="1264851" y="3482890"/>
              <a:ext cx="292254" cy="354906"/>
              <a:chOff x="1296521" y="3253388"/>
              <a:chExt cx="292254" cy="354906"/>
            </a:xfrm>
            <a:solidFill>
              <a:srgbClr val="F2C812"/>
            </a:solidFill>
          </p:grpSpPr>
          <p:sp>
            <p:nvSpPr>
              <p:cNvPr id="99" name="Isosceles Triangle 98"/>
              <p:cNvSpPr/>
              <p:nvPr/>
            </p:nvSpPr>
            <p:spPr bwMode="auto">
              <a:xfrm rot="13636515">
                <a:off x="1461362" y="328936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0" name="Isosceles Triangle 99"/>
              <p:cNvSpPr/>
              <p:nvPr/>
            </p:nvSpPr>
            <p:spPr bwMode="auto">
              <a:xfrm rot="13636515">
                <a:off x="1357669" y="338258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1" name="Isosceles Triangle 100"/>
              <p:cNvSpPr/>
              <p:nvPr/>
            </p:nvSpPr>
            <p:spPr bwMode="auto">
              <a:xfrm rot="13636515">
                <a:off x="1260548" y="3480882"/>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80" name="Group 79"/>
            <p:cNvGrpSpPr/>
            <p:nvPr/>
          </p:nvGrpSpPr>
          <p:grpSpPr>
            <a:xfrm rot="15940603">
              <a:off x="1334576" y="2204404"/>
              <a:ext cx="292254" cy="354906"/>
              <a:chOff x="1296521" y="3253388"/>
              <a:chExt cx="292254" cy="354906"/>
            </a:xfrm>
            <a:solidFill>
              <a:srgbClr val="F2C812"/>
            </a:solidFill>
          </p:grpSpPr>
          <p:sp>
            <p:nvSpPr>
              <p:cNvPr id="96" name="Isosceles Triangle 95"/>
              <p:cNvSpPr/>
              <p:nvPr/>
            </p:nvSpPr>
            <p:spPr bwMode="auto">
              <a:xfrm rot="13636515">
                <a:off x="1461362" y="328936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7" name="Isosceles Triangle 96"/>
              <p:cNvSpPr/>
              <p:nvPr/>
            </p:nvSpPr>
            <p:spPr bwMode="auto">
              <a:xfrm rot="13636515">
                <a:off x="1357669" y="338258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8" name="Isosceles Triangle 97"/>
              <p:cNvSpPr/>
              <p:nvPr/>
            </p:nvSpPr>
            <p:spPr bwMode="auto">
              <a:xfrm rot="13636515">
                <a:off x="1260548" y="3480882"/>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81" name="Group 80"/>
            <p:cNvGrpSpPr/>
            <p:nvPr/>
          </p:nvGrpSpPr>
          <p:grpSpPr>
            <a:xfrm rot="16043978">
              <a:off x="1317220" y="4717577"/>
              <a:ext cx="292254" cy="354906"/>
              <a:chOff x="1296521" y="3253388"/>
              <a:chExt cx="292254" cy="354906"/>
            </a:xfrm>
            <a:solidFill>
              <a:srgbClr val="F2C812"/>
            </a:solidFill>
          </p:grpSpPr>
          <p:sp>
            <p:nvSpPr>
              <p:cNvPr id="93" name="Isosceles Triangle 92"/>
              <p:cNvSpPr/>
              <p:nvPr/>
            </p:nvSpPr>
            <p:spPr bwMode="auto">
              <a:xfrm rot="13636515">
                <a:off x="1461362" y="328936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4" name="Isosceles Triangle 93"/>
              <p:cNvSpPr/>
              <p:nvPr/>
            </p:nvSpPr>
            <p:spPr bwMode="auto">
              <a:xfrm rot="13636515">
                <a:off x="1357669" y="338258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5" name="Isosceles Triangle 94"/>
              <p:cNvSpPr/>
              <p:nvPr/>
            </p:nvSpPr>
            <p:spPr bwMode="auto">
              <a:xfrm rot="13636515">
                <a:off x="1260548" y="3480882"/>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82" name="Oval 36"/>
            <p:cNvSpPr/>
            <p:nvPr/>
          </p:nvSpPr>
          <p:spPr>
            <a:xfrm>
              <a:off x="1413521" y="2481383"/>
              <a:ext cx="1119626" cy="1119626"/>
            </a:xfrm>
            <a:prstGeom prst="ellipse">
              <a:avLst/>
            </a:prstGeom>
            <a:solidFill>
              <a:srgbClr val="F2C812"/>
            </a:solidFill>
            <a:ln w="3175" cap="flat" cmpd="sng" algn="ctr">
              <a:noFill/>
              <a:prstDash val="solid"/>
            </a:ln>
            <a:effectLst/>
          </p:spPr>
          <p:txBody>
            <a:bodyPr vert="horz" wrap="none" lIns="0" tIns="0" rIns="0" bIns="0" rtlCol="0" anchor="t"/>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400" b="1" i="0" u="none" strike="noStrike" kern="1200" cap="none" spc="0" normalizeH="0" baseline="0" noProof="0">
                <a:ln>
                  <a:noFill/>
                </a:ln>
                <a:solidFill>
                  <a:srgbClr val="217346"/>
                </a:solidFill>
                <a:effectLst/>
                <a:uLnTx/>
                <a:uFillTx/>
                <a:latin typeface="Segoe UI"/>
                <a:ea typeface="Segoe UI" pitchFamily="34" charset="0"/>
                <a:cs typeface="Segoe UI" pitchFamily="34" charset="0"/>
              </a:endParaRPr>
            </a:p>
          </p:txBody>
        </p:sp>
        <p:sp>
          <p:nvSpPr>
            <p:cNvPr id="83" name="Donut 3"/>
            <p:cNvSpPr/>
            <p:nvPr/>
          </p:nvSpPr>
          <p:spPr bwMode="auto">
            <a:xfrm>
              <a:off x="1742065" y="3002355"/>
              <a:ext cx="383905" cy="351537"/>
            </a:xfrm>
            <a:custGeom>
              <a:avLst/>
              <a:gdLst/>
              <a:ahLst/>
              <a:cxnLst/>
              <a:rect l="l" t="t" r="r" b="b"/>
              <a:pathLst>
                <a:path w="1409956" h="1291077">
                  <a:moveTo>
                    <a:pt x="956401" y="78410"/>
                  </a:moveTo>
                  <a:cubicBezTo>
                    <a:pt x="747518" y="78410"/>
                    <a:pt x="578184" y="247744"/>
                    <a:pt x="578184" y="456627"/>
                  </a:cubicBezTo>
                  <a:cubicBezTo>
                    <a:pt x="578184" y="665510"/>
                    <a:pt x="747518" y="834844"/>
                    <a:pt x="956401" y="834844"/>
                  </a:cubicBezTo>
                  <a:cubicBezTo>
                    <a:pt x="1165284" y="834844"/>
                    <a:pt x="1334618" y="665510"/>
                    <a:pt x="1334618" y="456627"/>
                  </a:cubicBezTo>
                  <a:cubicBezTo>
                    <a:pt x="1334618" y="247744"/>
                    <a:pt x="1165284" y="78410"/>
                    <a:pt x="956401" y="78410"/>
                  </a:cubicBezTo>
                  <a:close/>
                  <a:moveTo>
                    <a:pt x="952756" y="0"/>
                  </a:moveTo>
                  <a:cubicBezTo>
                    <a:pt x="1205261" y="0"/>
                    <a:pt x="1409956" y="204695"/>
                    <a:pt x="1409956" y="457200"/>
                  </a:cubicBezTo>
                  <a:cubicBezTo>
                    <a:pt x="1409956" y="709705"/>
                    <a:pt x="1205261" y="914400"/>
                    <a:pt x="952756" y="914400"/>
                  </a:cubicBezTo>
                  <a:cubicBezTo>
                    <a:pt x="862133" y="914400"/>
                    <a:pt x="777669" y="888034"/>
                    <a:pt x="707132" y="841746"/>
                  </a:cubicBezTo>
                  <a:lnTo>
                    <a:pt x="136495" y="1280102"/>
                  </a:lnTo>
                  <a:cubicBezTo>
                    <a:pt x="21896" y="1327168"/>
                    <a:pt x="-44029" y="1213730"/>
                    <a:pt x="33797" y="1113182"/>
                  </a:cubicBezTo>
                  <a:lnTo>
                    <a:pt x="568587" y="703518"/>
                  </a:lnTo>
                  <a:cubicBezTo>
                    <a:pt x="522087" y="632814"/>
                    <a:pt x="495556" y="548105"/>
                    <a:pt x="495556" y="457200"/>
                  </a:cubicBezTo>
                  <a:cubicBezTo>
                    <a:pt x="495556" y="204695"/>
                    <a:pt x="700251" y="0"/>
                    <a:pt x="952756" y="0"/>
                  </a:cubicBezTo>
                  <a:close/>
                </a:path>
              </a:pathLst>
            </a:cu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sp>
          <p:nvSpPr>
            <p:cNvPr id="84" name="Rectangle 83"/>
            <p:cNvSpPr/>
            <p:nvPr/>
          </p:nvSpPr>
          <p:spPr>
            <a:xfrm>
              <a:off x="1600398" y="2677430"/>
              <a:ext cx="820353" cy="307777"/>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Segoe UI"/>
                  <a:ea typeface="Segoe UI" pitchFamily="34" charset="0"/>
                  <a:cs typeface="Segoe UI" pitchFamily="34" charset="0"/>
                </a:rPr>
                <a:t>Explore</a:t>
              </a:r>
              <a:endParaRPr kumimoji="0" lang="en-US" sz="1600" b="0" i="0" u="none" strike="noStrike" kern="1200" cap="none" spc="0" normalizeH="0" baseline="0" noProof="0">
                <a:ln>
                  <a:noFill/>
                </a:ln>
                <a:solidFill>
                  <a:srgbClr val="000000"/>
                </a:solidFill>
                <a:effectLst/>
                <a:uLnTx/>
                <a:uFillTx/>
                <a:latin typeface="Segoe UI"/>
                <a:ea typeface="+mn-ea"/>
                <a:cs typeface="+mn-cs"/>
              </a:endParaRPr>
            </a:p>
          </p:txBody>
        </p:sp>
        <p:sp>
          <p:nvSpPr>
            <p:cNvPr id="85" name="Rectangle 84"/>
            <p:cNvSpPr/>
            <p:nvPr/>
          </p:nvSpPr>
          <p:spPr>
            <a:xfrm>
              <a:off x="509174" y="1475232"/>
              <a:ext cx="838756" cy="307777"/>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Segoe UI"/>
                  <a:ea typeface="Segoe UI" pitchFamily="34" charset="0"/>
                  <a:cs typeface="Segoe UI" pitchFamily="34" charset="0"/>
                </a:rPr>
                <a:t>Prepare</a:t>
              </a: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86" name="Freeform 85"/>
            <p:cNvSpPr>
              <a:spLocks noChangeAspect="1"/>
            </p:cNvSpPr>
            <p:nvPr/>
          </p:nvSpPr>
          <p:spPr bwMode="black">
            <a:xfrm>
              <a:off x="1836174" y="5643069"/>
              <a:ext cx="274320" cy="284173"/>
            </a:xfrm>
            <a:custGeom>
              <a:avLst/>
              <a:gdLst>
                <a:gd name="T0" fmla="*/ 539 w 669"/>
                <a:gd name="T1" fmla="*/ 5 h 693"/>
                <a:gd name="T2" fmla="*/ 640 w 669"/>
                <a:gd name="T3" fmla="*/ 55 h 693"/>
                <a:gd name="T4" fmla="*/ 603 w 669"/>
                <a:gd name="T5" fmla="*/ 195 h 693"/>
                <a:gd name="T6" fmla="*/ 490 w 669"/>
                <a:gd name="T7" fmla="*/ 188 h 693"/>
                <a:gd name="T8" fmla="*/ 479 w 669"/>
                <a:gd name="T9" fmla="*/ 176 h 693"/>
                <a:gd name="T10" fmla="*/ 213 w 669"/>
                <a:gd name="T11" fmla="*/ 330 h 693"/>
                <a:gd name="T12" fmla="*/ 218 w 669"/>
                <a:gd name="T13" fmla="*/ 345 h 693"/>
                <a:gd name="T14" fmla="*/ 218 w 669"/>
                <a:gd name="T15" fmla="*/ 375 h 693"/>
                <a:gd name="T16" fmla="*/ 209 w 669"/>
                <a:gd name="T17" fmla="*/ 402 h 693"/>
                <a:gd name="T18" fmla="*/ 369 w 669"/>
                <a:gd name="T19" fmla="*/ 503 h 693"/>
                <a:gd name="T20" fmla="*/ 373 w 669"/>
                <a:gd name="T21" fmla="*/ 498 h 693"/>
                <a:gd name="T22" fmla="*/ 456 w 669"/>
                <a:gd name="T23" fmla="*/ 475 h 693"/>
                <a:gd name="T24" fmla="*/ 494 w 669"/>
                <a:gd name="T25" fmla="*/ 489 h 693"/>
                <a:gd name="T26" fmla="*/ 527 w 669"/>
                <a:gd name="T27" fmla="*/ 630 h 693"/>
                <a:gd name="T28" fmla="*/ 386 w 669"/>
                <a:gd name="T29" fmla="*/ 663 h 693"/>
                <a:gd name="T30" fmla="*/ 339 w 669"/>
                <a:gd name="T31" fmla="*/ 560 h 693"/>
                <a:gd name="T32" fmla="*/ 345 w 669"/>
                <a:gd name="T33" fmla="*/ 544 h 693"/>
                <a:gd name="T34" fmla="*/ 177 w 669"/>
                <a:gd name="T35" fmla="*/ 439 h 693"/>
                <a:gd name="T36" fmla="*/ 168 w 669"/>
                <a:gd name="T37" fmla="*/ 446 h 693"/>
                <a:gd name="T38" fmla="*/ 28 w 669"/>
                <a:gd name="T39" fmla="*/ 409 h 693"/>
                <a:gd name="T40" fmla="*/ 65 w 669"/>
                <a:gd name="T41" fmla="*/ 269 h 693"/>
                <a:gd name="T42" fmla="*/ 178 w 669"/>
                <a:gd name="T43" fmla="*/ 276 h 693"/>
                <a:gd name="T44" fmla="*/ 189 w 669"/>
                <a:gd name="T45" fmla="*/ 288 h 693"/>
                <a:gd name="T46" fmla="*/ 455 w 669"/>
                <a:gd name="T47" fmla="*/ 134 h 693"/>
                <a:gd name="T48" fmla="*/ 450 w 669"/>
                <a:gd name="T49" fmla="*/ 119 h 693"/>
                <a:gd name="T50" fmla="*/ 501 w 669"/>
                <a:gd name="T51" fmla="*/ 18 h 693"/>
                <a:gd name="T52" fmla="*/ 539 w 669"/>
                <a:gd name="T53" fmla="*/ 5 h 6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69" h="693">
                  <a:moveTo>
                    <a:pt x="539" y="5"/>
                  </a:moveTo>
                  <a:cubicBezTo>
                    <a:pt x="579" y="0"/>
                    <a:pt x="619" y="19"/>
                    <a:pt x="640" y="55"/>
                  </a:cubicBezTo>
                  <a:cubicBezTo>
                    <a:pt x="669" y="104"/>
                    <a:pt x="652" y="167"/>
                    <a:pt x="603" y="195"/>
                  </a:cubicBezTo>
                  <a:cubicBezTo>
                    <a:pt x="566" y="216"/>
                    <a:pt x="522" y="212"/>
                    <a:pt x="490" y="188"/>
                  </a:cubicBezTo>
                  <a:cubicBezTo>
                    <a:pt x="479" y="176"/>
                    <a:pt x="479" y="176"/>
                    <a:pt x="479" y="176"/>
                  </a:cubicBezTo>
                  <a:cubicBezTo>
                    <a:pt x="213" y="330"/>
                    <a:pt x="213" y="330"/>
                    <a:pt x="213" y="330"/>
                  </a:cubicBezTo>
                  <a:cubicBezTo>
                    <a:pt x="218" y="345"/>
                    <a:pt x="218" y="345"/>
                    <a:pt x="218" y="345"/>
                  </a:cubicBezTo>
                  <a:cubicBezTo>
                    <a:pt x="219" y="355"/>
                    <a:pt x="219" y="365"/>
                    <a:pt x="218" y="375"/>
                  </a:cubicBezTo>
                  <a:cubicBezTo>
                    <a:pt x="209" y="402"/>
                    <a:pt x="209" y="402"/>
                    <a:pt x="209" y="402"/>
                  </a:cubicBezTo>
                  <a:cubicBezTo>
                    <a:pt x="369" y="503"/>
                    <a:pt x="369" y="503"/>
                    <a:pt x="369" y="503"/>
                  </a:cubicBezTo>
                  <a:cubicBezTo>
                    <a:pt x="373" y="498"/>
                    <a:pt x="373" y="498"/>
                    <a:pt x="373" y="498"/>
                  </a:cubicBezTo>
                  <a:cubicBezTo>
                    <a:pt x="396" y="479"/>
                    <a:pt x="427" y="470"/>
                    <a:pt x="456" y="475"/>
                  </a:cubicBezTo>
                  <a:cubicBezTo>
                    <a:pt x="470" y="477"/>
                    <a:pt x="482" y="482"/>
                    <a:pt x="494" y="489"/>
                  </a:cubicBezTo>
                  <a:cubicBezTo>
                    <a:pt x="542" y="519"/>
                    <a:pt x="557" y="583"/>
                    <a:pt x="527" y="630"/>
                  </a:cubicBezTo>
                  <a:cubicBezTo>
                    <a:pt x="497" y="678"/>
                    <a:pt x="433" y="693"/>
                    <a:pt x="386" y="663"/>
                  </a:cubicBezTo>
                  <a:cubicBezTo>
                    <a:pt x="350" y="640"/>
                    <a:pt x="333" y="599"/>
                    <a:pt x="339" y="560"/>
                  </a:cubicBezTo>
                  <a:cubicBezTo>
                    <a:pt x="345" y="544"/>
                    <a:pt x="345" y="544"/>
                    <a:pt x="345" y="544"/>
                  </a:cubicBezTo>
                  <a:cubicBezTo>
                    <a:pt x="177" y="439"/>
                    <a:pt x="177" y="439"/>
                    <a:pt x="177" y="439"/>
                  </a:cubicBezTo>
                  <a:cubicBezTo>
                    <a:pt x="168" y="446"/>
                    <a:pt x="168" y="446"/>
                    <a:pt x="168" y="446"/>
                  </a:cubicBezTo>
                  <a:cubicBezTo>
                    <a:pt x="119" y="475"/>
                    <a:pt x="56" y="458"/>
                    <a:pt x="28" y="409"/>
                  </a:cubicBezTo>
                  <a:cubicBezTo>
                    <a:pt x="0" y="360"/>
                    <a:pt x="16" y="297"/>
                    <a:pt x="65" y="269"/>
                  </a:cubicBezTo>
                  <a:cubicBezTo>
                    <a:pt x="102" y="248"/>
                    <a:pt x="147" y="252"/>
                    <a:pt x="178" y="276"/>
                  </a:cubicBezTo>
                  <a:cubicBezTo>
                    <a:pt x="189" y="288"/>
                    <a:pt x="189" y="288"/>
                    <a:pt x="189" y="288"/>
                  </a:cubicBezTo>
                  <a:cubicBezTo>
                    <a:pt x="455" y="134"/>
                    <a:pt x="455" y="134"/>
                    <a:pt x="455" y="134"/>
                  </a:cubicBezTo>
                  <a:cubicBezTo>
                    <a:pt x="450" y="119"/>
                    <a:pt x="450" y="119"/>
                    <a:pt x="450" y="119"/>
                  </a:cubicBezTo>
                  <a:cubicBezTo>
                    <a:pt x="445" y="80"/>
                    <a:pt x="464" y="39"/>
                    <a:pt x="501" y="18"/>
                  </a:cubicBezTo>
                  <a:cubicBezTo>
                    <a:pt x="513" y="11"/>
                    <a:pt x="526" y="6"/>
                    <a:pt x="539" y="5"/>
                  </a:cubicBezTo>
                  <a:close/>
                </a:path>
              </a:pathLst>
            </a:custGeom>
            <a:solidFill>
              <a:schemeClr val="tx1"/>
            </a:solidFill>
            <a:ln>
              <a:noFill/>
            </a:ln>
          </p:spPr>
          <p:txBody>
            <a:bodyPr vert="horz" wrap="square" lIns="68574" tIns="34287" rIns="68574" bIns="34287"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0000"/>
                </a:solidFill>
                <a:effectLst/>
                <a:uLnTx/>
                <a:uFillTx/>
                <a:latin typeface="Segoe UI"/>
                <a:ea typeface="+mn-ea"/>
                <a:cs typeface="+mn-cs"/>
              </a:endParaRPr>
            </a:p>
          </p:txBody>
        </p:sp>
        <p:sp>
          <p:nvSpPr>
            <p:cNvPr id="87" name="Freeform 86"/>
            <p:cNvSpPr>
              <a:spLocks noChangeAspect="1" noEditPoints="1"/>
            </p:cNvSpPr>
            <p:nvPr/>
          </p:nvSpPr>
          <p:spPr bwMode="black">
            <a:xfrm>
              <a:off x="722320" y="1783009"/>
              <a:ext cx="452202" cy="366660"/>
            </a:xfrm>
            <a:custGeom>
              <a:avLst/>
              <a:gdLst>
                <a:gd name="T0" fmla="*/ 600 w 1107"/>
                <a:gd name="T1" fmla="*/ 625 h 897"/>
                <a:gd name="T2" fmla="*/ 649 w 1107"/>
                <a:gd name="T3" fmla="*/ 567 h 897"/>
                <a:gd name="T4" fmla="*/ 727 w 1107"/>
                <a:gd name="T5" fmla="*/ 482 h 897"/>
                <a:gd name="T6" fmla="*/ 601 w 1107"/>
                <a:gd name="T7" fmla="*/ 434 h 897"/>
                <a:gd name="T8" fmla="*/ 628 w 1107"/>
                <a:gd name="T9" fmla="*/ 305 h 897"/>
                <a:gd name="T10" fmla="*/ 547 w 1107"/>
                <a:gd name="T11" fmla="*/ 240 h 897"/>
                <a:gd name="T12" fmla="*/ 427 w 1107"/>
                <a:gd name="T13" fmla="*/ 287 h 897"/>
                <a:gd name="T14" fmla="*/ 368 w 1107"/>
                <a:gd name="T15" fmla="*/ 170 h 897"/>
                <a:gd name="T16" fmla="*/ 285 w 1107"/>
                <a:gd name="T17" fmla="*/ 263 h 897"/>
                <a:gd name="T18" fmla="*/ 241 w 1107"/>
                <a:gd name="T19" fmla="*/ 313 h 897"/>
                <a:gd name="T20" fmla="*/ 139 w 1107"/>
                <a:gd name="T21" fmla="*/ 281 h 897"/>
                <a:gd name="T22" fmla="*/ 79 w 1107"/>
                <a:gd name="T23" fmla="*/ 355 h 897"/>
                <a:gd name="T24" fmla="*/ 132 w 1107"/>
                <a:gd name="T25" fmla="*/ 446 h 897"/>
                <a:gd name="T26" fmla="*/ 83 w 1107"/>
                <a:gd name="T27" fmla="*/ 505 h 897"/>
                <a:gd name="T28" fmla="*/ 5 w 1107"/>
                <a:gd name="T29" fmla="*/ 590 h 897"/>
                <a:gd name="T30" fmla="*/ 132 w 1107"/>
                <a:gd name="T31" fmla="*/ 638 h 897"/>
                <a:gd name="T32" fmla="*/ 145 w 1107"/>
                <a:gd name="T33" fmla="*/ 669 h 897"/>
                <a:gd name="T34" fmla="*/ 110 w 1107"/>
                <a:gd name="T35" fmla="*/ 793 h 897"/>
                <a:gd name="T36" fmla="*/ 230 w 1107"/>
                <a:gd name="T37" fmla="*/ 781 h 897"/>
                <a:gd name="T38" fmla="*/ 306 w 1107"/>
                <a:gd name="T39" fmla="*/ 785 h 897"/>
                <a:gd name="T40" fmla="*/ 346 w 1107"/>
                <a:gd name="T41" fmla="*/ 878 h 897"/>
                <a:gd name="T42" fmla="*/ 440 w 1107"/>
                <a:gd name="T43" fmla="*/ 872 h 897"/>
                <a:gd name="T44" fmla="*/ 466 w 1107"/>
                <a:gd name="T45" fmla="*/ 764 h 897"/>
                <a:gd name="T46" fmla="*/ 539 w 1107"/>
                <a:gd name="T47" fmla="*/ 755 h 897"/>
                <a:gd name="T48" fmla="*/ 659 w 1107"/>
                <a:gd name="T49" fmla="*/ 743 h 897"/>
                <a:gd name="T50" fmla="*/ 263 w 1107"/>
                <a:gd name="T51" fmla="*/ 452 h 897"/>
                <a:gd name="T52" fmla="*/ 281 w 1107"/>
                <a:gd name="T53" fmla="*/ 633 h 897"/>
                <a:gd name="T54" fmla="*/ 1002 w 1107"/>
                <a:gd name="T55" fmla="*/ 332 h 897"/>
                <a:gd name="T56" fmla="*/ 1043 w 1107"/>
                <a:gd name="T57" fmla="*/ 304 h 897"/>
                <a:gd name="T58" fmla="*/ 1107 w 1107"/>
                <a:gd name="T59" fmla="*/ 266 h 897"/>
                <a:gd name="T60" fmla="*/ 1037 w 1107"/>
                <a:gd name="T61" fmla="*/ 213 h 897"/>
                <a:gd name="T62" fmla="*/ 1077 w 1107"/>
                <a:gd name="T63" fmla="*/ 138 h 897"/>
                <a:gd name="T64" fmla="*/ 1038 w 1107"/>
                <a:gd name="T65" fmla="*/ 83 h 897"/>
                <a:gd name="T66" fmla="*/ 956 w 1107"/>
                <a:gd name="T67" fmla="*/ 91 h 897"/>
                <a:gd name="T68" fmla="*/ 940 w 1107"/>
                <a:gd name="T69" fmla="*/ 7 h 897"/>
                <a:gd name="T70" fmla="*/ 872 w 1107"/>
                <a:gd name="T71" fmla="*/ 50 h 897"/>
                <a:gd name="T72" fmla="*/ 836 w 1107"/>
                <a:gd name="T73" fmla="*/ 74 h 897"/>
                <a:gd name="T74" fmla="*/ 778 w 1107"/>
                <a:gd name="T75" fmla="*/ 35 h 897"/>
                <a:gd name="T76" fmla="*/ 728 w 1107"/>
                <a:gd name="T77" fmla="*/ 70 h 897"/>
                <a:gd name="T78" fmla="*/ 744 w 1107"/>
                <a:gd name="T79" fmla="*/ 136 h 897"/>
                <a:gd name="T80" fmla="*/ 703 w 1107"/>
                <a:gd name="T81" fmla="*/ 164 h 897"/>
                <a:gd name="T82" fmla="*/ 640 w 1107"/>
                <a:gd name="T83" fmla="*/ 203 h 897"/>
                <a:gd name="T84" fmla="*/ 710 w 1107"/>
                <a:gd name="T85" fmla="*/ 255 h 897"/>
                <a:gd name="T86" fmla="*/ 712 w 1107"/>
                <a:gd name="T87" fmla="*/ 277 h 897"/>
                <a:gd name="T88" fmla="*/ 668 w 1107"/>
                <a:gd name="T89" fmla="*/ 347 h 897"/>
                <a:gd name="T90" fmla="*/ 745 w 1107"/>
                <a:gd name="T91" fmla="*/ 361 h 897"/>
                <a:gd name="T92" fmla="*/ 791 w 1107"/>
                <a:gd name="T93" fmla="*/ 377 h 897"/>
                <a:gd name="T94" fmla="*/ 799 w 1107"/>
                <a:gd name="T95" fmla="*/ 443 h 897"/>
                <a:gd name="T96" fmla="*/ 859 w 1107"/>
                <a:gd name="T97" fmla="*/ 456 h 897"/>
                <a:gd name="T98" fmla="*/ 894 w 1107"/>
                <a:gd name="T99" fmla="*/ 393 h 897"/>
                <a:gd name="T100" fmla="*/ 941 w 1107"/>
                <a:gd name="T101" fmla="*/ 401 h 897"/>
                <a:gd name="T102" fmla="*/ 1018 w 1107"/>
                <a:gd name="T103" fmla="*/ 415 h 897"/>
                <a:gd name="T104" fmla="*/ 825 w 1107"/>
                <a:gd name="T105" fmla="*/ 164 h 897"/>
                <a:gd name="T106" fmla="*/ 803 w 1107"/>
                <a:gd name="T107" fmla="*/ 279 h 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107" h="897">
                  <a:moveTo>
                    <a:pt x="654" y="716"/>
                  </a:moveTo>
                  <a:cubicBezTo>
                    <a:pt x="616" y="670"/>
                    <a:pt x="616" y="670"/>
                    <a:pt x="616" y="670"/>
                  </a:cubicBezTo>
                  <a:cubicBezTo>
                    <a:pt x="593" y="654"/>
                    <a:pt x="603" y="638"/>
                    <a:pt x="600" y="625"/>
                  </a:cubicBezTo>
                  <a:cubicBezTo>
                    <a:pt x="600" y="625"/>
                    <a:pt x="600" y="625"/>
                    <a:pt x="600" y="625"/>
                  </a:cubicBezTo>
                  <a:cubicBezTo>
                    <a:pt x="605" y="617"/>
                    <a:pt x="611" y="609"/>
                    <a:pt x="608" y="596"/>
                  </a:cubicBezTo>
                  <a:cubicBezTo>
                    <a:pt x="618" y="580"/>
                    <a:pt x="623" y="572"/>
                    <a:pt x="649" y="567"/>
                  </a:cubicBezTo>
                  <a:cubicBezTo>
                    <a:pt x="715" y="553"/>
                    <a:pt x="715" y="553"/>
                    <a:pt x="715" y="553"/>
                  </a:cubicBezTo>
                  <a:cubicBezTo>
                    <a:pt x="728" y="550"/>
                    <a:pt x="733" y="542"/>
                    <a:pt x="730" y="529"/>
                  </a:cubicBezTo>
                  <a:cubicBezTo>
                    <a:pt x="727" y="482"/>
                    <a:pt x="727" y="482"/>
                    <a:pt x="727" y="482"/>
                  </a:cubicBezTo>
                  <a:cubicBezTo>
                    <a:pt x="724" y="469"/>
                    <a:pt x="717" y="463"/>
                    <a:pt x="701" y="453"/>
                  </a:cubicBezTo>
                  <a:cubicBezTo>
                    <a:pt x="641" y="459"/>
                    <a:pt x="641" y="459"/>
                    <a:pt x="641" y="459"/>
                  </a:cubicBezTo>
                  <a:cubicBezTo>
                    <a:pt x="620" y="457"/>
                    <a:pt x="604" y="447"/>
                    <a:pt x="601" y="434"/>
                  </a:cubicBezTo>
                  <a:cubicBezTo>
                    <a:pt x="598" y="421"/>
                    <a:pt x="590" y="416"/>
                    <a:pt x="580" y="397"/>
                  </a:cubicBezTo>
                  <a:cubicBezTo>
                    <a:pt x="577" y="384"/>
                    <a:pt x="574" y="371"/>
                    <a:pt x="584" y="355"/>
                  </a:cubicBezTo>
                  <a:cubicBezTo>
                    <a:pt x="628" y="305"/>
                    <a:pt x="628" y="305"/>
                    <a:pt x="628" y="305"/>
                  </a:cubicBezTo>
                  <a:cubicBezTo>
                    <a:pt x="634" y="297"/>
                    <a:pt x="631" y="284"/>
                    <a:pt x="623" y="279"/>
                  </a:cubicBezTo>
                  <a:cubicBezTo>
                    <a:pt x="581" y="240"/>
                    <a:pt x="581" y="240"/>
                    <a:pt x="581" y="240"/>
                  </a:cubicBezTo>
                  <a:cubicBezTo>
                    <a:pt x="573" y="235"/>
                    <a:pt x="560" y="238"/>
                    <a:pt x="547" y="240"/>
                  </a:cubicBezTo>
                  <a:cubicBezTo>
                    <a:pt x="503" y="291"/>
                    <a:pt x="503" y="291"/>
                    <a:pt x="503" y="291"/>
                  </a:cubicBezTo>
                  <a:cubicBezTo>
                    <a:pt x="484" y="302"/>
                    <a:pt x="471" y="304"/>
                    <a:pt x="463" y="299"/>
                  </a:cubicBezTo>
                  <a:cubicBezTo>
                    <a:pt x="456" y="294"/>
                    <a:pt x="435" y="292"/>
                    <a:pt x="427" y="287"/>
                  </a:cubicBezTo>
                  <a:cubicBezTo>
                    <a:pt x="419" y="282"/>
                    <a:pt x="403" y="271"/>
                    <a:pt x="400" y="258"/>
                  </a:cubicBezTo>
                  <a:cubicBezTo>
                    <a:pt x="386" y="193"/>
                    <a:pt x="386" y="193"/>
                    <a:pt x="386" y="193"/>
                  </a:cubicBezTo>
                  <a:cubicBezTo>
                    <a:pt x="384" y="180"/>
                    <a:pt x="368" y="170"/>
                    <a:pt x="368" y="170"/>
                  </a:cubicBezTo>
                  <a:cubicBezTo>
                    <a:pt x="308" y="176"/>
                    <a:pt x="308" y="176"/>
                    <a:pt x="308" y="176"/>
                  </a:cubicBezTo>
                  <a:cubicBezTo>
                    <a:pt x="308" y="176"/>
                    <a:pt x="289" y="187"/>
                    <a:pt x="292" y="200"/>
                  </a:cubicBezTo>
                  <a:cubicBezTo>
                    <a:pt x="285" y="263"/>
                    <a:pt x="285" y="263"/>
                    <a:pt x="285" y="263"/>
                  </a:cubicBezTo>
                  <a:cubicBezTo>
                    <a:pt x="291" y="289"/>
                    <a:pt x="277" y="292"/>
                    <a:pt x="272" y="300"/>
                  </a:cubicBezTo>
                  <a:cubicBezTo>
                    <a:pt x="272" y="300"/>
                    <a:pt x="272" y="300"/>
                    <a:pt x="267" y="308"/>
                  </a:cubicBezTo>
                  <a:cubicBezTo>
                    <a:pt x="259" y="302"/>
                    <a:pt x="246" y="305"/>
                    <a:pt x="241" y="313"/>
                  </a:cubicBezTo>
                  <a:cubicBezTo>
                    <a:pt x="236" y="321"/>
                    <a:pt x="236" y="321"/>
                    <a:pt x="236" y="321"/>
                  </a:cubicBezTo>
                  <a:cubicBezTo>
                    <a:pt x="223" y="324"/>
                    <a:pt x="210" y="327"/>
                    <a:pt x="194" y="317"/>
                  </a:cubicBezTo>
                  <a:cubicBezTo>
                    <a:pt x="139" y="281"/>
                    <a:pt x="139" y="281"/>
                    <a:pt x="139" y="281"/>
                  </a:cubicBezTo>
                  <a:cubicBezTo>
                    <a:pt x="131" y="276"/>
                    <a:pt x="110" y="273"/>
                    <a:pt x="104" y="281"/>
                  </a:cubicBezTo>
                  <a:cubicBezTo>
                    <a:pt x="79" y="321"/>
                    <a:pt x="79" y="321"/>
                    <a:pt x="79" y="321"/>
                  </a:cubicBezTo>
                  <a:cubicBezTo>
                    <a:pt x="66" y="324"/>
                    <a:pt x="68" y="337"/>
                    <a:pt x="79" y="355"/>
                  </a:cubicBezTo>
                  <a:cubicBezTo>
                    <a:pt x="121" y="394"/>
                    <a:pt x="121" y="394"/>
                    <a:pt x="121" y="394"/>
                  </a:cubicBezTo>
                  <a:cubicBezTo>
                    <a:pt x="140" y="417"/>
                    <a:pt x="135" y="425"/>
                    <a:pt x="132" y="446"/>
                  </a:cubicBezTo>
                  <a:cubicBezTo>
                    <a:pt x="132" y="446"/>
                    <a:pt x="132" y="446"/>
                    <a:pt x="132" y="446"/>
                  </a:cubicBezTo>
                  <a:cubicBezTo>
                    <a:pt x="127" y="454"/>
                    <a:pt x="122" y="462"/>
                    <a:pt x="117" y="470"/>
                  </a:cubicBezTo>
                  <a:cubicBezTo>
                    <a:pt x="117" y="470"/>
                    <a:pt x="117" y="470"/>
                    <a:pt x="117" y="470"/>
                  </a:cubicBezTo>
                  <a:cubicBezTo>
                    <a:pt x="120" y="483"/>
                    <a:pt x="109" y="499"/>
                    <a:pt x="83" y="505"/>
                  </a:cubicBezTo>
                  <a:cubicBezTo>
                    <a:pt x="23" y="511"/>
                    <a:pt x="23" y="511"/>
                    <a:pt x="23" y="511"/>
                  </a:cubicBezTo>
                  <a:cubicBezTo>
                    <a:pt x="10" y="514"/>
                    <a:pt x="0" y="529"/>
                    <a:pt x="2" y="543"/>
                  </a:cubicBezTo>
                  <a:cubicBezTo>
                    <a:pt x="5" y="590"/>
                    <a:pt x="5" y="590"/>
                    <a:pt x="5" y="590"/>
                  </a:cubicBezTo>
                  <a:cubicBezTo>
                    <a:pt x="8" y="603"/>
                    <a:pt x="16" y="608"/>
                    <a:pt x="37" y="610"/>
                  </a:cubicBezTo>
                  <a:cubicBezTo>
                    <a:pt x="92" y="612"/>
                    <a:pt x="92" y="612"/>
                    <a:pt x="92" y="612"/>
                  </a:cubicBezTo>
                  <a:cubicBezTo>
                    <a:pt x="113" y="614"/>
                    <a:pt x="129" y="625"/>
                    <a:pt x="132" y="638"/>
                  </a:cubicBezTo>
                  <a:cubicBezTo>
                    <a:pt x="132" y="638"/>
                    <a:pt x="132" y="638"/>
                    <a:pt x="132" y="638"/>
                  </a:cubicBezTo>
                  <a:cubicBezTo>
                    <a:pt x="140" y="643"/>
                    <a:pt x="142" y="656"/>
                    <a:pt x="150" y="661"/>
                  </a:cubicBezTo>
                  <a:cubicBezTo>
                    <a:pt x="145" y="669"/>
                    <a:pt x="145" y="669"/>
                    <a:pt x="145" y="669"/>
                  </a:cubicBezTo>
                  <a:cubicBezTo>
                    <a:pt x="153" y="674"/>
                    <a:pt x="156" y="687"/>
                    <a:pt x="140" y="711"/>
                  </a:cubicBezTo>
                  <a:cubicBezTo>
                    <a:pt x="109" y="759"/>
                    <a:pt x="109" y="759"/>
                    <a:pt x="109" y="759"/>
                  </a:cubicBezTo>
                  <a:cubicBezTo>
                    <a:pt x="99" y="775"/>
                    <a:pt x="102" y="788"/>
                    <a:pt x="110" y="793"/>
                  </a:cubicBezTo>
                  <a:cubicBezTo>
                    <a:pt x="152" y="832"/>
                    <a:pt x="152" y="832"/>
                    <a:pt x="152" y="832"/>
                  </a:cubicBezTo>
                  <a:cubicBezTo>
                    <a:pt x="160" y="837"/>
                    <a:pt x="173" y="834"/>
                    <a:pt x="178" y="826"/>
                  </a:cubicBezTo>
                  <a:cubicBezTo>
                    <a:pt x="230" y="781"/>
                    <a:pt x="230" y="781"/>
                    <a:pt x="230" y="781"/>
                  </a:cubicBezTo>
                  <a:cubicBezTo>
                    <a:pt x="248" y="770"/>
                    <a:pt x="261" y="767"/>
                    <a:pt x="269" y="772"/>
                  </a:cubicBezTo>
                  <a:cubicBezTo>
                    <a:pt x="269" y="772"/>
                    <a:pt x="269" y="772"/>
                    <a:pt x="269" y="772"/>
                  </a:cubicBezTo>
                  <a:cubicBezTo>
                    <a:pt x="282" y="769"/>
                    <a:pt x="298" y="779"/>
                    <a:pt x="306" y="785"/>
                  </a:cubicBezTo>
                  <a:cubicBezTo>
                    <a:pt x="306" y="785"/>
                    <a:pt x="306" y="785"/>
                    <a:pt x="306" y="785"/>
                  </a:cubicBezTo>
                  <a:cubicBezTo>
                    <a:pt x="319" y="782"/>
                    <a:pt x="327" y="787"/>
                    <a:pt x="332" y="813"/>
                  </a:cubicBezTo>
                  <a:cubicBezTo>
                    <a:pt x="346" y="878"/>
                    <a:pt x="346" y="878"/>
                    <a:pt x="346" y="878"/>
                  </a:cubicBezTo>
                  <a:cubicBezTo>
                    <a:pt x="349" y="892"/>
                    <a:pt x="357" y="897"/>
                    <a:pt x="370" y="894"/>
                  </a:cubicBezTo>
                  <a:cubicBezTo>
                    <a:pt x="425" y="896"/>
                    <a:pt x="425" y="896"/>
                    <a:pt x="425" y="896"/>
                  </a:cubicBezTo>
                  <a:cubicBezTo>
                    <a:pt x="430" y="888"/>
                    <a:pt x="443" y="885"/>
                    <a:pt x="440" y="872"/>
                  </a:cubicBezTo>
                  <a:cubicBezTo>
                    <a:pt x="440" y="804"/>
                    <a:pt x="440" y="804"/>
                    <a:pt x="440" y="804"/>
                  </a:cubicBezTo>
                  <a:cubicBezTo>
                    <a:pt x="442" y="783"/>
                    <a:pt x="460" y="772"/>
                    <a:pt x="466" y="764"/>
                  </a:cubicBezTo>
                  <a:cubicBezTo>
                    <a:pt x="466" y="764"/>
                    <a:pt x="466" y="764"/>
                    <a:pt x="466" y="764"/>
                  </a:cubicBezTo>
                  <a:cubicBezTo>
                    <a:pt x="479" y="761"/>
                    <a:pt x="492" y="758"/>
                    <a:pt x="497" y="750"/>
                  </a:cubicBezTo>
                  <a:cubicBezTo>
                    <a:pt x="497" y="750"/>
                    <a:pt x="497" y="750"/>
                    <a:pt x="497" y="750"/>
                  </a:cubicBezTo>
                  <a:cubicBezTo>
                    <a:pt x="510" y="747"/>
                    <a:pt x="523" y="745"/>
                    <a:pt x="539" y="755"/>
                  </a:cubicBezTo>
                  <a:cubicBezTo>
                    <a:pt x="594" y="791"/>
                    <a:pt x="594" y="791"/>
                    <a:pt x="594" y="791"/>
                  </a:cubicBezTo>
                  <a:cubicBezTo>
                    <a:pt x="602" y="796"/>
                    <a:pt x="623" y="798"/>
                    <a:pt x="628" y="790"/>
                  </a:cubicBezTo>
                  <a:cubicBezTo>
                    <a:pt x="659" y="743"/>
                    <a:pt x="659" y="743"/>
                    <a:pt x="659" y="743"/>
                  </a:cubicBezTo>
                  <a:cubicBezTo>
                    <a:pt x="659" y="743"/>
                    <a:pt x="669" y="727"/>
                    <a:pt x="654" y="716"/>
                  </a:cubicBezTo>
                  <a:close/>
                  <a:moveTo>
                    <a:pt x="281" y="633"/>
                  </a:moveTo>
                  <a:cubicBezTo>
                    <a:pt x="223" y="584"/>
                    <a:pt x="219" y="502"/>
                    <a:pt x="263" y="452"/>
                  </a:cubicBezTo>
                  <a:cubicBezTo>
                    <a:pt x="313" y="393"/>
                    <a:pt x="399" y="382"/>
                    <a:pt x="457" y="431"/>
                  </a:cubicBezTo>
                  <a:cubicBezTo>
                    <a:pt x="507" y="475"/>
                    <a:pt x="518" y="561"/>
                    <a:pt x="469" y="619"/>
                  </a:cubicBezTo>
                  <a:cubicBezTo>
                    <a:pt x="420" y="678"/>
                    <a:pt x="339" y="682"/>
                    <a:pt x="281" y="633"/>
                  </a:cubicBezTo>
                  <a:close/>
                  <a:moveTo>
                    <a:pt x="1019" y="398"/>
                  </a:moveTo>
                  <a:cubicBezTo>
                    <a:pt x="1004" y="362"/>
                    <a:pt x="1004" y="362"/>
                    <a:pt x="1004" y="362"/>
                  </a:cubicBezTo>
                  <a:cubicBezTo>
                    <a:pt x="992" y="348"/>
                    <a:pt x="1002" y="340"/>
                    <a:pt x="1002" y="332"/>
                  </a:cubicBezTo>
                  <a:cubicBezTo>
                    <a:pt x="1002" y="332"/>
                    <a:pt x="1002" y="332"/>
                    <a:pt x="1002" y="332"/>
                  </a:cubicBezTo>
                  <a:cubicBezTo>
                    <a:pt x="1007" y="328"/>
                    <a:pt x="1011" y="324"/>
                    <a:pt x="1012" y="315"/>
                  </a:cubicBezTo>
                  <a:cubicBezTo>
                    <a:pt x="1021" y="307"/>
                    <a:pt x="1026" y="303"/>
                    <a:pt x="1043" y="304"/>
                  </a:cubicBezTo>
                  <a:cubicBezTo>
                    <a:pt x="1086" y="307"/>
                    <a:pt x="1086" y="307"/>
                    <a:pt x="1086" y="307"/>
                  </a:cubicBezTo>
                  <a:cubicBezTo>
                    <a:pt x="1095" y="308"/>
                    <a:pt x="1099" y="304"/>
                    <a:pt x="1100" y="295"/>
                  </a:cubicBezTo>
                  <a:cubicBezTo>
                    <a:pt x="1107" y="266"/>
                    <a:pt x="1107" y="266"/>
                    <a:pt x="1107" y="266"/>
                  </a:cubicBezTo>
                  <a:cubicBezTo>
                    <a:pt x="1107" y="257"/>
                    <a:pt x="1103" y="252"/>
                    <a:pt x="1095" y="243"/>
                  </a:cubicBezTo>
                  <a:cubicBezTo>
                    <a:pt x="1057" y="236"/>
                    <a:pt x="1057" y="236"/>
                    <a:pt x="1057" y="236"/>
                  </a:cubicBezTo>
                  <a:cubicBezTo>
                    <a:pt x="1044" y="231"/>
                    <a:pt x="1036" y="222"/>
                    <a:pt x="1037" y="213"/>
                  </a:cubicBezTo>
                  <a:cubicBezTo>
                    <a:pt x="1038" y="205"/>
                    <a:pt x="1034" y="200"/>
                    <a:pt x="1030" y="187"/>
                  </a:cubicBezTo>
                  <a:cubicBezTo>
                    <a:pt x="1031" y="178"/>
                    <a:pt x="1032" y="170"/>
                    <a:pt x="1041" y="162"/>
                  </a:cubicBezTo>
                  <a:cubicBezTo>
                    <a:pt x="1077" y="138"/>
                    <a:pt x="1077" y="138"/>
                    <a:pt x="1077" y="138"/>
                  </a:cubicBezTo>
                  <a:cubicBezTo>
                    <a:pt x="1082" y="134"/>
                    <a:pt x="1083" y="126"/>
                    <a:pt x="1079" y="121"/>
                  </a:cubicBezTo>
                  <a:cubicBezTo>
                    <a:pt x="1059" y="89"/>
                    <a:pt x="1059" y="89"/>
                    <a:pt x="1059" y="89"/>
                  </a:cubicBezTo>
                  <a:cubicBezTo>
                    <a:pt x="1055" y="85"/>
                    <a:pt x="1047" y="84"/>
                    <a:pt x="1038" y="83"/>
                  </a:cubicBezTo>
                  <a:cubicBezTo>
                    <a:pt x="1002" y="107"/>
                    <a:pt x="1002" y="107"/>
                    <a:pt x="1002" y="107"/>
                  </a:cubicBezTo>
                  <a:cubicBezTo>
                    <a:pt x="989" y="110"/>
                    <a:pt x="980" y="110"/>
                    <a:pt x="976" y="105"/>
                  </a:cubicBezTo>
                  <a:cubicBezTo>
                    <a:pt x="972" y="100"/>
                    <a:pt x="960" y="95"/>
                    <a:pt x="956" y="91"/>
                  </a:cubicBezTo>
                  <a:cubicBezTo>
                    <a:pt x="952" y="86"/>
                    <a:pt x="944" y="77"/>
                    <a:pt x="944" y="68"/>
                  </a:cubicBezTo>
                  <a:cubicBezTo>
                    <a:pt x="948" y="25"/>
                    <a:pt x="948" y="25"/>
                    <a:pt x="948" y="25"/>
                  </a:cubicBezTo>
                  <a:cubicBezTo>
                    <a:pt x="948" y="17"/>
                    <a:pt x="940" y="7"/>
                    <a:pt x="940" y="7"/>
                  </a:cubicBezTo>
                  <a:cubicBezTo>
                    <a:pt x="902" y="0"/>
                    <a:pt x="902" y="0"/>
                    <a:pt x="902" y="0"/>
                  </a:cubicBezTo>
                  <a:cubicBezTo>
                    <a:pt x="902" y="0"/>
                    <a:pt x="889" y="4"/>
                    <a:pt x="888" y="12"/>
                  </a:cubicBezTo>
                  <a:cubicBezTo>
                    <a:pt x="872" y="50"/>
                    <a:pt x="872" y="50"/>
                    <a:pt x="872" y="50"/>
                  </a:cubicBezTo>
                  <a:cubicBezTo>
                    <a:pt x="871" y="67"/>
                    <a:pt x="862" y="67"/>
                    <a:pt x="858" y="71"/>
                  </a:cubicBezTo>
                  <a:cubicBezTo>
                    <a:pt x="858" y="71"/>
                    <a:pt x="858" y="71"/>
                    <a:pt x="853" y="75"/>
                  </a:cubicBezTo>
                  <a:cubicBezTo>
                    <a:pt x="849" y="70"/>
                    <a:pt x="840" y="70"/>
                    <a:pt x="836" y="74"/>
                  </a:cubicBezTo>
                  <a:cubicBezTo>
                    <a:pt x="831" y="78"/>
                    <a:pt x="831" y="78"/>
                    <a:pt x="831" y="78"/>
                  </a:cubicBezTo>
                  <a:cubicBezTo>
                    <a:pt x="822" y="77"/>
                    <a:pt x="814" y="76"/>
                    <a:pt x="806" y="67"/>
                  </a:cubicBezTo>
                  <a:cubicBezTo>
                    <a:pt x="778" y="35"/>
                    <a:pt x="778" y="35"/>
                    <a:pt x="778" y="35"/>
                  </a:cubicBezTo>
                  <a:cubicBezTo>
                    <a:pt x="774" y="30"/>
                    <a:pt x="762" y="25"/>
                    <a:pt x="757" y="29"/>
                  </a:cubicBezTo>
                  <a:cubicBezTo>
                    <a:pt x="734" y="49"/>
                    <a:pt x="734" y="49"/>
                    <a:pt x="734" y="49"/>
                  </a:cubicBezTo>
                  <a:cubicBezTo>
                    <a:pt x="725" y="49"/>
                    <a:pt x="725" y="57"/>
                    <a:pt x="728" y="70"/>
                  </a:cubicBezTo>
                  <a:cubicBezTo>
                    <a:pt x="747" y="102"/>
                    <a:pt x="747" y="102"/>
                    <a:pt x="747" y="102"/>
                  </a:cubicBezTo>
                  <a:cubicBezTo>
                    <a:pt x="754" y="120"/>
                    <a:pt x="750" y="124"/>
                    <a:pt x="744" y="136"/>
                  </a:cubicBezTo>
                  <a:cubicBezTo>
                    <a:pt x="744" y="136"/>
                    <a:pt x="744" y="136"/>
                    <a:pt x="744" y="136"/>
                  </a:cubicBezTo>
                  <a:cubicBezTo>
                    <a:pt x="740" y="140"/>
                    <a:pt x="735" y="144"/>
                    <a:pt x="731" y="148"/>
                  </a:cubicBezTo>
                  <a:cubicBezTo>
                    <a:pt x="731" y="148"/>
                    <a:pt x="731" y="148"/>
                    <a:pt x="731" y="148"/>
                  </a:cubicBezTo>
                  <a:cubicBezTo>
                    <a:pt x="730" y="157"/>
                    <a:pt x="721" y="165"/>
                    <a:pt x="703" y="164"/>
                  </a:cubicBezTo>
                  <a:cubicBezTo>
                    <a:pt x="665" y="157"/>
                    <a:pt x="665" y="157"/>
                    <a:pt x="665" y="157"/>
                  </a:cubicBezTo>
                  <a:cubicBezTo>
                    <a:pt x="656" y="156"/>
                    <a:pt x="647" y="164"/>
                    <a:pt x="647" y="173"/>
                  </a:cubicBezTo>
                  <a:cubicBezTo>
                    <a:pt x="640" y="203"/>
                    <a:pt x="640" y="203"/>
                    <a:pt x="640" y="203"/>
                  </a:cubicBezTo>
                  <a:cubicBezTo>
                    <a:pt x="639" y="211"/>
                    <a:pt x="643" y="216"/>
                    <a:pt x="656" y="221"/>
                  </a:cubicBezTo>
                  <a:cubicBezTo>
                    <a:pt x="690" y="232"/>
                    <a:pt x="690" y="232"/>
                    <a:pt x="690" y="232"/>
                  </a:cubicBezTo>
                  <a:cubicBezTo>
                    <a:pt x="702" y="237"/>
                    <a:pt x="710" y="246"/>
                    <a:pt x="710" y="255"/>
                  </a:cubicBezTo>
                  <a:cubicBezTo>
                    <a:pt x="710" y="255"/>
                    <a:pt x="710" y="255"/>
                    <a:pt x="710" y="255"/>
                  </a:cubicBezTo>
                  <a:cubicBezTo>
                    <a:pt x="714" y="260"/>
                    <a:pt x="713" y="268"/>
                    <a:pt x="717" y="273"/>
                  </a:cubicBezTo>
                  <a:cubicBezTo>
                    <a:pt x="712" y="277"/>
                    <a:pt x="712" y="277"/>
                    <a:pt x="712" y="277"/>
                  </a:cubicBezTo>
                  <a:cubicBezTo>
                    <a:pt x="716" y="281"/>
                    <a:pt x="716" y="290"/>
                    <a:pt x="702" y="302"/>
                  </a:cubicBezTo>
                  <a:cubicBezTo>
                    <a:pt x="674" y="326"/>
                    <a:pt x="674" y="326"/>
                    <a:pt x="674" y="326"/>
                  </a:cubicBezTo>
                  <a:cubicBezTo>
                    <a:pt x="665" y="334"/>
                    <a:pt x="664" y="343"/>
                    <a:pt x="668" y="347"/>
                  </a:cubicBezTo>
                  <a:cubicBezTo>
                    <a:pt x="687" y="379"/>
                    <a:pt x="687" y="379"/>
                    <a:pt x="687" y="379"/>
                  </a:cubicBezTo>
                  <a:cubicBezTo>
                    <a:pt x="691" y="383"/>
                    <a:pt x="700" y="384"/>
                    <a:pt x="704" y="380"/>
                  </a:cubicBezTo>
                  <a:cubicBezTo>
                    <a:pt x="745" y="361"/>
                    <a:pt x="745" y="361"/>
                    <a:pt x="745" y="361"/>
                  </a:cubicBezTo>
                  <a:cubicBezTo>
                    <a:pt x="758" y="358"/>
                    <a:pt x="767" y="358"/>
                    <a:pt x="771" y="363"/>
                  </a:cubicBezTo>
                  <a:cubicBezTo>
                    <a:pt x="771" y="363"/>
                    <a:pt x="771" y="363"/>
                    <a:pt x="771" y="363"/>
                  </a:cubicBezTo>
                  <a:cubicBezTo>
                    <a:pt x="779" y="364"/>
                    <a:pt x="787" y="373"/>
                    <a:pt x="791" y="377"/>
                  </a:cubicBezTo>
                  <a:cubicBezTo>
                    <a:pt x="791" y="377"/>
                    <a:pt x="791" y="377"/>
                    <a:pt x="791" y="377"/>
                  </a:cubicBezTo>
                  <a:cubicBezTo>
                    <a:pt x="800" y="378"/>
                    <a:pt x="804" y="383"/>
                    <a:pt x="802" y="400"/>
                  </a:cubicBezTo>
                  <a:cubicBezTo>
                    <a:pt x="799" y="443"/>
                    <a:pt x="799" y="443"/>
                    <a:pt x="799" y="443"/>
                  </a:cubicBezTo>
                  <a:cubicBezTo>
                    <a:pt x="798" y="451"/>
                    <a:pt x="802" y="456"/>
                    <a:pt x="811" y="457"/>
                  </a:cubicBezTo>
                  <a:cubicBezTo>
                    <a:pt x="845" y="468"/>
                    <a:pt x="845" y="468"/>
                    <a:pt x="845" y="468"/>
                  </a:cubicBezTo>
                  <a:cubicBezTo>
                    <a:pt x="849" y="464"/>
                    <a:pt x="858" y="464"/>
                    <a:pt x="859" y="456"/>
                  </a:cubicBezTo>
                  <a:cubicBezTo>
                    <a:pt x="871" y="413"/>
                    <a:pt x="871" y="413"/>
                    <a:pt x="871" y="413"/>
                  </a:cubicBezTo>
                  <a:cubicBezTo>
                    <a:pt x="876" y="401"/>
                    <a:pt x="889" y="397"/>
                    <a:pt x="894" y="393"/>
                  </a:cubicBezTo>
                  <a:cubicBezTo>
                    <a:pt x="894" y="393"/>
                    <a:pt x="894" y="393"/>
                    <a:pt x="894" y="393"/>
                  </a:cubicBezTo>
                  <a:cubicBezTo>
                    <a:pt x="902" y="394"/>
                    <a:pt x="911" y="395"/>
                    <a:pt x="916" y="391"/>
                  </a:cubicBezTo>
                  <a:cubicBezTo>
                    <a:pt x="916" y="391"/>
                    <a:pt x="916" y="391"/>
                    <a:pt x="916" y="391"/>
                  </a:cubicBezTo>
                  <a:cubicBezTo>
                    <a:pt x="924" y="391"/>
                    <a:pt x="933" y="392"/>
                    <a:pt x="941" y="401"/>
                  </a:cubicBezTo>
                  <a:cubicBezTo>
                    <a:pt x="969" y="433"/>
                    <a:pt x="969" y="433"/>
                    <a:pt x="969" y="433"/>
                  </a:cubicBezTo>
                  <a:cubicBezTo>
                    <a:pt x="973" y="438"/>
                    <a:pt x="985" y="443"/>
                    <a:pt x="990" y="439"/>
                  </a:cubicBezTo>
                  <a:cubicBezTo>
                    <a:pt x="1018" y="415"/>
                    <a:pt x="1018" y="415"/>
                    <a:pt x="1018" y="415"/>
                  </a:cubicBezTo>
                  <a:cubicBezTo>
                    <a:pt x="1018" y="415"/>
                    <a:pt x="1027" y="407"/>
                    <a:pt x="1019" y="398"/>
                  </a:cubicBezTo>
                  <a:close/>
                  <a:moveTo>
                    <a:pt x="803" y="279"/>
                  </a:moveTo>
                  <a:cubicBezTo>
                    <a:pt x="776" y="238"/>
                    <a:pt x="788" y="187"/>
                    <a:pt x="825" y="164"/>
                  </a:cubicBezTo>
                  <a:cubicBezTo>
                    <a:pt x="866" y="136"/>
                    <a:pt x="921" y="144"/>
                    <a:pt x="948" y="185"/>
                  </a:cubicBezTo>
                  <a:cubicBezTo>
                    <a:pt x="972" y="221"/>
                    <a:pt x="963" y="277"/>
                    <a:pt x="922" y="304"/>
                  </a:cubicBezTo>
                  <a:cubicBezTo>
                    <a:pt x="881" y="332"/>
                    <a:pt x="830" y="320"/>
                    <a:pt x="803" y="279"/>
                  </a:cubicBezTo>
                  <a:close/>
                </a:path>
              </a:pathLst>
            </a:custGeom>
            <a:solidFill>
              <a:schemeClr val="tx1"/>
            </a:solidFill>
            <a:ln>
              <a:noFill/>
            </a:ln>
          </p:spPr>
          <p:txBody>
            <a:bodyPr vert="horz" wrap="square" lIns="68574" tIns="34287" rIns="68574" bIns="34287"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17346"/>
                </a:solidFill>
                <a:effectLst/>
                <a:uLnTx/>
                <a:uFillTx/>
                <a:latin typeface="Segoe UI"/>
                <a:ea typeface="+mn-ea"/>
                <a:cs typeface="+mn-cs"/>
              </a:endParaRPr>
            </a:p>
          </p:txBody>
        </p:sp>
        <p:sp>
          <p:nvSpPr>
            <p:cNvPr id="88" name="Freeform 87"/>
            <p:cNvSpPr>
              <a:spLocks noChangeAspect="1"/>
            </p:cNvSpPr>
            <p:nvPr/>
          </p:nvSpPr>
          <p:spPr bwMode="black">
            <a:xfrm>
              <a:off x="776985" y="4213905"/>
              <a:ext cx="342871" cy="335728"/>
            </a:xfrm>
            <a:custGeom>
              <a:avLst/>
              <a:gdLst>
                <a:gd name="connsiteX0" fmla="*/ 3713863 w 4893730"/>
                <a:gd name="connsiteY0" fmla="*/ 2130808 h 4791777"/>
                <a:gd name="connsiteX1" fmla="*/ 4426142 w 4893730"/>
                <a:gd name="connsiteY1" fmla="*/ 2130808 h 4791777"/>
                <a:gd name="connsiteX2" fmla="*/ 4598071 w 4893730"/>
                <a:gd name="connsiteY2" fmla="*/ 2301547 h 4791777"/>
                <a:gd name="connsiteX3" fmla="*/ 4598071 w 4893730"/>
                <a:gd name="connsiteY3" fmla="*/ 3886978 h 4791777"/>
                <a:gd name="connsiteX4" fmla="*/ 4426142 w 4893730"/>
                <a:gd name="connsiteY4" fmla="*/ 4057717 h 4791777"/>
                <a:gd name="connsiteX5" fmla="*/ 3713863 w 4893730"/>
                <a:gd name="connsiteY5" fmla="*/ 4057717 h 4791777"/>
                <a:gd name="connsiteX6" fmla="*/ 3517372 w 4893730"/>
                <a:gd name="connsiteY6" fmla="*/ 3886978 h 4791777"/>
                <a:gd name="connsiteX7" fmla="*/ 3517372 w 4893730"/>
                <a:gd name="connsiteY7" fmla="*/ 2301547 h 4791777"/>
                <a:gd name="connsiteX8" fmla="*/ 3713863 w 4893730"/>
                <a:gd name="connsiteY8" fmla="*/ 2130808 h 4791777"/>
                <a:gd name="connsiteX9" fmla="*/ 904368 w 4893730"/>
                <a:gd name="connsiteY9" fmla="*/ 1223432 h 4791777"/>
                <a:gd name="connsiteX10" fmla="*/ 1609930 w 4893730"/>
                <a:gd name="connsiteY10" fmla="*/ 1223432 h 4791777"/>
                <a:gd name="connsiteX11" fmla="*/ 1804567 w 4893730"/>
                <a:gd name="connsiteY11" fmla="*/ 1394467 h 4791777"/>
                <a:gd name="connsiteX12" fmla="*/ 1804567 w 4893730"/>
                <a:gd name="connsiteY12" fmla="*/ 3886683 h 4791777"/>
                <a:gd name="connsiteX13" fmla="*/ 1609930 w 4893730"/>
                <a:gd name="connsiteY13" fmla="*/ 4057717 h 4791777"/>
                <a:gd name="connsiteX14" fmla="*/ 904368 w 4893730"/>
                <a:gd name="connsiteY14" fmla="*/ 4057717 h 4791777"/>
                <a:gd name="connsiteX15" fmla="*/ 734060 w 4893730"/>
                <a:gd name="connsiteY15" fmla="*/ 3886683 h 4791777"/>
                <a:gd name="connsiteX16" fmla="*/ 734060 w 4893730"/>
                <a:gd name="connsiteY16" fmla="*/ 1394467 h 4791777"/>
                <a:gd name="connsiteX17" fmla="*/ 904368 w 4893730"/>
                <a:gd name="connsiteY17" fmla="*/ 1223432 h 4791777"/>
                <a:gd name="connsiteX18" fmla="*/ 2325453 w 4893730"/>
                <a:gd name="connsiteY18" fmla="*/ 316050 h 4791777"/>
                <a:gd name="connsiteX19" fmla="*/ 3031014 w 4893730"/>
                <a:gd name="connsiteY19" fmla="*/ 316050 h 4791777"/>
                <a:gd name="connsiteX20" fmla="*/ 3201322 w 4893730"/>
                <a:gd name="connsiteY20" fmla="*/ 487238 h 4791777"/>
                <a:gd name="connsiteX21" fmla="*/ 3201322 w 4893730"/>
                <a:gd name="connsiteY21" fmla="*/ 3886530 h 4791777"/>
                <a:gd name="connsiteX22" fmla="*/ 3031014 w 4893730"/>
                <a:gd name="connsiteY22" fmla="*/ 4057717 h 4791777"/>
                <a:gd name="connsiteX23" fmla="*/ 2325453 w 4893730"/>
                <a:gd name="connsiteY23" fmla="*/ 4057717 h 4791777"/>
                <a:gd name="connsiteX24" fmla="*/ 2130815 w 4893730"/>
                <a:gd name="connsiteY24" fmla="*/ 3886530 h 4791777"/>
                <a:gd name="connsiteX25" fmla="*/ 2130815 w 4893730"/>
                <a:gd name="connsiteY25" fmla="*/ 487238 h 4791777"/>
                <a:gd name="connsiteX26" fmla="*/ 2325453 w 4893730"/>
                <a:gd name="connsiteY26" fmla="*/ 316050 h 4791777"/>
                <a:gd name="connsiteX27" fmla="*/ 269155 w 4893730"/>
                <a:gd name="connsiteY27" fmla="*/ 0 h 4791777"/>
                <a:gd name="connsiteX28" fmla="*/ 538311 w 4893730"/>
                <a:gd name="connsiteY28" fmla="*/ 268927 h 4791777"/>
                <a:gd name="connsiteX29" fmla="*/ 538311 w 4893730"/>
                <a:gd name="connsiteY29" fmla="*/ 4253925 h 4791777"/>
                <a:gd name="connsiteX30" fmla="*/ 4624575 w 4893730"/>
                <a:gd name="connsiteY30" fmla="*/ 4253925 h 4791777"/>
                <a:gd name="connsiteX31" fmla="*/ 4893730 w 4893730"/>
                <a:gd name="connsiteY31" fmla="*/ 4522851 h 4791777"/>
                <a:gd name="connsiteX32" fmla="*/ 4624575 w 4893730"/>
                <a:gd name="connsiteY32" fmla="*/ 4791777 h 4791777"/>
                <a:gd name="connsiteX33" fmla="*/ 269155 w 4893730"/>
                <a:gd name="connsiteY33" fmla="*/ 4791777 h 4791777"/>
                <a:gd name="connsiteX34" fmla="*/ 0 w 4893730"/>
                <a:gd name="connsiteY34" fmla="*/ 4522851 h 4791777"/>
                <a:gd name="connsiteX35" fmla="*/ 0 w 4893730"/>
                <a:gd name="connsiteY35" fmla="*/ 268927 h 4791777"/>
                <a:gd name="connsiteX36" fmla="*/ 269155 w 4893730"/>
                <a:gd name="connsiteY36" fmla="*/ 0 h 4791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4893730" h="4791777">
                  <a:moveTo>
                    <a:pt x="3713863" y="2130808"/>
                  </a:moveTo>
                  <a:cubicBezTo>
                    <a:pt x="3713863" y="2130808"/>
                    <a:pt x="3713863" y="2130808"/>
                    <a:pt x="4426142" y="2130808"/>
                  </a:cubicBezTo>
                  <a:cubicBezTo>
                    <a:pt x="4524387" y="2130808"/>
                    <a:pt x="4598071" y="2203982"/>
                    <a:pt x="4598071" y="2301547"/>
                  </a:cubicBezTo>
                  <a:cubicBezTo>
                    <a:pt x="4598071" y="2301547"/>
                    <a:pt x="4598071" y="2301547"/>
                    <a:pt x="4598071" y="3886978"/>
                  </a:cubicBezTo>
                  <a:cubicBezTo>
                    <a:pt x="4598071" y="3984543"/>
                    <a:pt x="4524387" y="4057717"/>
                    <a:pt x="4426142" y="4057717"/>
                  </a:cubicBezTo>
                  <a:cubicBezTo>
                    <a:pt x="4426142" y="4057717"/>
                    <a:pt x="4426142" y="4057717"/>
                    <a:pt x="3713863" y="4057717"/>
                  </a:cubicBezTo>
                  <a:cubicBezTo>
                    <a:pt x="3615618" y="4057717"/>
                    <a:pt x="3517372" y="3984543"/>
                    <a:pt x="3517372" y="3886978"/>
                  </a:cubicBezTo>
                  <a:cubicBezTo>
                    <a:pt x="3517372" y="3886978"/>
                    <a:pt x="3517372" y="3886978"/>
                    <a:pt x="3517372" y="2301547"/>
                  </a:cubicBezTo>
                  <a:cubicBezTo>
                    <a:pt x="3517372" y="2203982"/>
                    <a:pt x="3615618" y="2130808"/>
                    <a:pt x="3713863" y="2130808"/>
                  </a:cubicBezTo>
                  <a:close/>
                  <a:moveTo>
                    <a:pt x="904368" y="1223432"/>
                  </a:moveTo>
                  <a:cubicBezTo>
                    <a:pt x="904368" y="1223432"/>
                    <a:pt x="904368" y="1223432"/>
                    <a:pt x="1609930" y="1223432"/>
                  </a:cubicBezTo>
                  <a:cubicBezTo>
                    <a:pt x="1731578" y="1223432"/>
                    <a:pt x="1804567" y="1296733"/>
                    <a:pt x="1804567" y="1394467"/>
                  </a:cubicBezTo>
                  <a:cubicBezTo>
                    <a:pt x="1804567" y="1394467"/>
                    <a:pt x="1804567" y="1394467"/>
                    <a:pt x="1804567" y="3886683"/>
                  </a:cubicBezTo>
                  <a:cubicBezTo>
                    <a:pt x="1804567" y="3984417"/>
                    <a:pt x="1731578" y="4057717"/>
                    <a:pt x="1609930" y="4057717"/>
                  </a:cubicBezTo>
                  <a:cubicBezTo>
                    <a:pt x="1609930" y="4057717"/>
                    <a:pt x="1609930" y="4057717"/>
                    <a:pt x="904368" y="4057717"/>
                  </a:cubicBezTo>
                  <a:cubicBezTo>
                    <a:pt x="807049" y="4057717"/>
                    <a:pt x="734060" y="3984417"/>
                    <a:pt x="734060" y="3886683"/>
                  </a:cubicBezTo>
                  <a:cubicBezTo>
                    <a:pt x="734060" y="3886683"/>
                    <a:pt x="734060" y="3886683"/>
                    <a:pt x="734060" y="1394467"/>
                  </a:cubicBezTo>
                  <a:cubicBezTo>
                    <a:pt x="734060" y="1296733"/>
                    <a:pt x="807049" y="1223432"/>
                    <a:pt x="904368" y="1223432"/>
                  </a:cubicBezTo>
                  <a:close/>
                  <a:moveTo>
                    <a:pt x="2325453" y="316050"/>
                  </a:moveTo>
                  <a:cubicBezTo>
                    <a:pt x="2325453" y="316050"/>
                    <a:pt x="2325453" y="316050"/>
                    <a:pt x="3031014" y="316050"/>
                  </a:cubicBezTo>
                  <a:cubicBezTo>
                    <a:pt x="3128333" y="316050"/>
                    <a:pt x="3201322" y="389416"/>
                    <a:pt x="3201322" y="487238"/>
                  </a:cubicBezTo>
                  <a:cubicBezTo>
                    <a:pt x="3201322" y="487238"/>
                    <a:pt x="3201322" y="487238"/>
                    <a:pt x="3201322" y="3886530"/>
                  </a:cubicBezTo>
                  <a:cubicBezTo>
                    <a:pt x="3201322" y="3984351"/>
                    <a:pt x="3128333" y="4057717"/>
                    <a:pt x="3031014" y="4057717"/>
                  </a:cubicBezTo>
                  <a:cubicBezTo>
                    <a:pt x="3031014" y="4057717"/>
                    <a:pt x="3031014" y="4057717"/>
                    <a:pt x="2325453" y="4057717"/>
                  </a:cubicBezTo>
                  <a:cubicBezTo>
                    <a:pt x="2203804" y="4057717"/>
                    <a:pt x="2130815" y="3984351"/>
                    <a:pt x="2130815" y="3886530"/>
                  </a:cubicBezTo>
                  <a:cubicBezTo>
                    <a:pt x="2130815" y="3886530"/>
                    <a:pt x="2130815" y="3886530"/>
                    <a:pt x="2130815" y="487238"/>
                  </a:cubicBezTo>
                  <a:cubicBezTo>
                    <a:pt x="2130815" y="389416"/>
                    <a:pt x="2203804" y="316050"/>
                    <a:pt x="2325453" y="316050"/>
                  </a:cubicBezTo>
                  <a:close/>
                  <a:moveTo>
                    <a:pt x="269155" y="0"/>
                  </a:moveTo>
                  <a:cubicBezTo>
                    <a:pt x="415967" y="0"/>
                    <a:pt x="538311" y="122239"/>
                    <a:pt x="538311" y="268927"/>
                  </a:cubicBezTo>
                  <a:cubicBezTo>
                    <a:pt x="538311" y="268927"/>
                    <a:pt x="538311" y="268927"/>
                    <a:pt x="538311" y="4253925"/>
                  </a:cubicBezTo>
                  <a:cubicBezTo>
                    <a:pt x="538311" y="4253925"/>
                    <a:pt x="538311" y="4253925"/>
                    <a:pt x="4624575" y="4253925"/>
                  </a:cubicBezTo>
                  <a:cubicBezTo>
                    <a:pt x="4771387" y="4253925"/>
                    <a:pt x="4893730" y="4376164"/>
                    <a:pt x="4893730" y="4522851"/>
                  </a:cubicBezTo>
                  <a:cubicBezTo>
                    <a:pt x="4893730" y="4669538"/>
                    <a:pt x="4771387" y="4791777"/>
                    <a:pt x="4624575" y="4791777"/>
                  </a:cubicBezTo>
                  <a:cubicBezTo>
                    <a:pt x="4624575" y="4791777"/>
                    <a:pt x="4624575" y="4791777"/>
                    <a:pt x="269155" y="4791777"/>
                  </a:cubicBezTo>
                  <a:cubicBezTo>
                    <a:pt x="122344" y="4791777"/>
                    <a:pt x="0" y="4669538"/>
                    <a:pt x="0" y="4522851"/>
                  </a:cubicBezTo>
                  <a:cubicBezTo>
                    <a:pt x="0" y="4522851"/>
                    <a:pt x="0" y="4522851"/>
                    <a:pt x="0" y="268927"/>
                  </a:cubicBezTo>
                  <a:cubicBezTo>
                    <a:pt x="0" y="122239"/>
                    <a:pt x="122344" y="0"/>
                    <a:pt x="269155"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37148" tIns="109719" rIns="137148" bIns="109719"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699261"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9" name="Rectangle 88"/>
            <p:cNvSpPr/>
            <p:nvPr/>
          </p:nvSpPr>
          <p:spPr bwMode="auto">
            <a:xfrm rot="2745734">
              <a:off x="279530" y="1141266"/>
              <a:ext cx="1260714" cy="1255193"/>
            </a:xfrm>
            <a:prstGeom prst="rect">
              <a:avLst/>
            </a:prstGeom>
            <a:solidFill>
              <a:schemeClr val="tx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0" name="Rectangle 89"/>
            <p:cNvSpPr/>
            <p:nvPr/>
          </p:nvSpPr>
          <p:spPr bwMode="auto">
            <a:xfrm rot="2745734">
              <a:off x="292433" y="3819160"/>
              <a:ext cx="1610349" cy="1235003"/>
            </a:xfrm>
            <a:prstGeom prst="rect">
              <a:avLst/>
            </a:prstGeom>
            <a:solidFill>
              <a:schemeClr val="tx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2" name="Rectangle 91"/>
            <p:cNvSpPr/>
            <p:nvPr/>
          </p:nvSpPr>
          <p:spPr bwMode="auto">
            <a:xfrm rot="2745734">
              <a:off x="1315610" y="4915701"/>
              <a:ext cx="1263370" cy="1255989"/>
            </a:xfrm>
            <a:prstGeom prst="rect">
              <a:avLst/>
            </a:prstGeom>
            <a:solidFill>
              <a:schemeClr val="tx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40" name="TextBox 39"/>
          <p:cNvSpPr txBox="1"/>
          <p:nvPr/>
        </p:nvSpPr>
        <p:spPr>
          <a:xfrm>
            <a:off x="3" y="51415"/>
            <a:ext cx="2849058" cy="430887"/>
          </a:xfrm>
          <a:prstGeom prst="rect">
            <a:avLst/>
          </a:prstGeom>
        </p:spPr>
        <p:txBody>
          <a:bodyPr wrap="square">
            <a:spAutoFit/>
          </a:bodyPr>
          <a:lstStyle>
            <a:defPPr>
              <a:defRPr lang="en-US"/>
            </a:defPPr>
            <a:lvl1pPr defTabSz="914192">
              <a:defRPr sz="2800" b="1" spc="-100">
                <a:ln w="3175">
                  <a:noFill/>
                </a:ln>
                <a:solidFill>
                  <a:srgbClr val="F2C812"/>
                </a:solidFill>
                <a:latin typeface="Segoe UI" panose="020B0502040204020203" pitchFamily="34" charset="0"/>
                <a:ea typeface="ＭＳ Ｐゴシック" charset="0"/>
                <a:cs typeface="Segoe UI" panose="020B0502040204020203" pitchFamily="34" charset="0"/>
              </a:defRPr>
            </a:lvl1pPr>
          </a:lstStyle>
          <a:p>
            <a:pPr marL="0" marR="0" lvl="0" indent="0" algn="l" defTabSz="914192" rtl="0" eaLnBrk="1" fontAlgn="auto" latinLnBrk="0" hangingPunct="1">
              <a:lnSpc>
                <a:spcPct val="100000"/>
              </a:lnSpc>
              <a:spcBef>
                <a:spcPts val="0"/>
              </a:spcBef>
              <a:spcAft>
                <a:spcPts val="0"/>
              </a:spcAft>
              <a:buClrTx/>
              <a:buSzTx/>
              <a:buFontTx/>
              <a:buNone/>
              <a:tabLst/>
              <a:defRPr/>
            </a:pPr>
            <a:r>
              <a:rPr kumimoji="0" lang="en-US" sz="2200" b="1" i="0" u="none" strike="noStrike" kern="1200" cap="none" spc="-100" normalizeH="0" baseline="0" noProof="0">
                <a:ln w="3175">
                  <a:noFill/>
                </a:ln>
                <a:solidFill>
                  <a:srgbClr val="F2C812"/>
                </a:solidFill>
                <a:effectLst/>
                <a:uLnTx/>
                <a:uFillTx/>
                <a:latin typeface="Segoe UI Light"/>
                <a:ea typeface="ＭＳ Ｐゴシック" charset="0"/>
                <a:cs typeface="Segoe UI" panose="020B0502040204020203" pitchFamily="34" charset="0"/>
              </a:rPr>
              <a:t>Power BI Desktop</a:t>
            </a:r>
          </a:p>
        </p:txBody>
      </p:sp>
      <p:sp>
        <p:nvSpPr>
          <p:cNvPr id="41" name="Rectangle 40"/>
          <p:cNvSpPr/>
          <p:nvPr/>
        </p:nvSpPr>
        <p:spPr bwMode="auto">
          <a:xfrm rot="2745734">
            <a:off x="825067" y="3494250"/>
            <a:ext cx="1260714" cy="370170"/>
          </a:xfrm>
          <a:prstGeom prst="rect">
            <a:avLst/>
          </a:prstGeom>
          <a:solidFill>
            <a:schemeClr val="tx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2" name="Text Placeholder 2"/>
          <p:cNvSpPr txBox="1">
            <a:spLocks/>
          </p:cNvSpPr>
          <p:nvPr/>
        </p:nvSpPr>
        <p:spPr>
          <a:xfrm>
            <a:off x="2915396" y="1412203"/>
            <a:ext cx="9090381" cy="897374"/>
          </a:xfrm>
          <a:prstGeom prst="rect">
            <a:avLst/>
          </a:prstGeom>
        </p:spPr>
        <p:txBody>
          <a:bodyPr vert="horz" wrap="square" lIns="182880" tIns="146304" rIns="182880" bIns="146304" rtlCol="0">
            <a:noAutofit/>
          </a:bodyPr>
          <a:lstStyle>
            <a:lvl1pPr marL="182845" marR="0"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3921" kern="1200" spc="0" baseline="0">
                <a:gradFill>
                  <a:gsLst>
                    <a:gs pos="1250">
                      <a:schemeClr val="tx2"/>
                    </a:gs>
                    <a:gs pos="99000">
                      <a:schemeClr val="tx2"/>
                    </a:gs>
                  </a:gsLst>
                  <a:lin ang="5400000" scaled="0"/>
                </a:gradFill>
                <a:latin typeface="+mj-lt"/>
                <a:ea typeface="+mn-ea"/>
                <a:cs typeface="+mn-cs"/>
              </a:defRPr>
            </a:lvl1pPr>
            <a:lvl2pPr marL="365690" marR="0"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2400" kern="1200" spc="0" baseline="0">
                <a:solidFill>
                  <a:schemeClr val="tx2"/>
                </a:solidFill>
                <a:latin typeface="+mj-lt"/>
                <a:ea typeface="+mn-ea"/>
                <a:cs typeface="+mn-cs"/>
              </a:defRPr>
            </a:lvl2pPr>
            <a:lvl3pPr marL="548535" marR="0"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2000" kern="1200" spc="0" baseline="0">
                <a:solidFill>
                  <a:schemeClr val="tx2"/>
                </a:solidFill>
                <a:latin typeface="+mj-lt"/>
                <a:ea typeface="+mn-ea"/>
                <a:cs typeface="+mn-cs"/>
              </a:defRPr>
            </a:lvl3pPr>
            <a:lvl4pPr marL="733802" marR="0" indent="-28569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1765" kern="1200" spc="0" baseline="0">
                <a:solidFill>
                  <a:schemeClr val="tx2"/>
                </a:solidFill>
                <a:latin typeface="+mn-lt"/>
                <a:ea typeface="+mn-ea"/>
                <a:cs typeface="+mn-cs"/>
              </a:defRPr>
            </a:lvl4pPr>
            <a:lvl5pPr marL="957856" marR="0" indent="-28569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1765" kern="1200" spc="0" baseline="0">
                <a:solidFill>
                  <a:schemeClr val="tx2"/>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r>
              <a:rPr kumimoji="0" lang="pt-PT" sz="2000" b="1" i="0" u="none" strike="noStrike" kern="1200" cap="none" spc="0" normalizeH="0" baseline="0" noProof="0">
                <a:ln>
                  <a:noFill/>
                </a:ln>
                <a:solidFill>
                  <a:prstClr val="black"/>
                </a:solidFill>
                <a:effectLst/>
                <a:uLnTx/>
                <a:uFillTx/>
                <a:latin typeface="Segoe UI Light"/>
                <a:ea typeface="Calibri" panose="020F0502020204030204" pitchFamily="34" charset="0"/>
                <a:cs typeface="Times New Roman" panose="02020603050405020304" pitchFamily="18" charset="0"/>
              </a:rPr>
              <a:t>Use drag-and-drop and search </a:t>
            </a:r>
            <a:r>
              <a:rPr kumimoji="0" lang="pt-PT" sz="2000" b="0" i="0" u="none" strike="noStrike" kern="1200" cap="none" spc="0" normalizeH="0" baseline="0" noProof="0">
                <a:ln>
                  <a:noFill/>
                </a:ln>
                <a:solidFill>
                  <a:prstClr val="black"/>
                </a:solidFill>
                <a:effectLst/>
                <a:uLnTx/>
                <a:uFillTx/>
                <a:latin typeface="Segoe UI Light"/>
                <a:ea typeface="Calibri" panose="020F0502020204030204" pitchFamily="34" charset="0"/>
                <a:cs typeface="Times New Roman" panose="02020603050405020304" pitchFamily="18" charset="0"/>
              </a:rPr>
              <a:t>to build your analysis like a pivot table in Excel</a:t>
            </a:r>
            <a:endParaRPr kumimoji="0" lang="pt-PT" sz="2000" b="1" i="0" u="none" strike="noStrike" kern="1200" cap="none" spc="0" normalizeH="0" baseline="0" noProof="0">
              <a:ln>
                <a:noFill/>
              </a:ln>
              <a:solidFill>
                <a:prstClr val="black"/>
              </a:solidFill>
              <a:effectLst/>
              <a:uLnTx/>
              <a:uFillTx/>
              <a:latin typeface="Segoe UI Light"/>
              <a:ea typeface="Calibri" panose="020F0502020204030204" pitchFamily="34" charset="0"/>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pt-PT"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a:p>
            <a:pPr marL="182845" marR="0" lvl="1" indent="0" algn="l" defTabSz="914367" rtl="0" eaLnBrk="1" fontAlgn="auto" latinLnBrk="0" hangingPunct="1">
              <a:lnSpc>
                <a:spcPct val="90000"/>
              </a:lnSpc>
              <a:spcBef>
                <a:spcPct val="20000"/>
              </a:spcBef>
              <a:spcAft>
                <a:spcPts val="0"/>
              </a:spcAft>
              <a:buClrTx/>
              <a:buSzPct val="90000"/>
              <a:buFont typeface="Arial" panose="020B0604020202020204" pitchFamily="34" charset="0"/>
              <a:buNone/>
              <a:tabLst/>
              <a:defRPr/>
            </a:pPr>
            <a:endParaRPr kumimoji="0" lang="en-US" sz="2000" b="0" i="0" u="none" strike="noStrike" kern="1200" cap="none" spc="0" normalizeH="0" baseline="0" noProof="0">
              <a:ln>
                <a:noFill/>
              </a:ln>
              <a:solidFill>
                <a:srgbClr val="000000"/>
              </a:solidFill>
              <a:effectLst/>
              <a:uLnTx/>
              <a:uFillTx/>
              <a:latin typeface="Segoe UI Light"/>
              <a:ea typeface="+mn-ea"/>
              <a:cs typeface="+mn-cs"/>
            </a:endParaRPr>
          </a:p>
          <a:p>
            <a:pPr marL="182845" marR="0" lvl="1" indent="0" algn="l" defTabSz="914367" rtl="0" eaLnBrk="1" fontAlgn="auto" latinLnBrk="0" hangingPunct="1">
              <a:lnSpc>
                <a:spcPct val="90000"/>
              </a:lnSpc>
              <a:spcBef>
                <a:spcPct val="20000"/>
              </a:spcBef>
              <a:spcAft>
                <a:spcPts val="0"/>
              </a:spcAft>
              <a:buClrTx/>
              <a:buSzPct val="90000"/>
              <a:buFont typeface="Arial" panose="020B0604020202020204" pitchFamily="34" charset="0"/>
              <a:buNone/>
              <a:tabLst/>
              <a:defRPr/>
            </a:pPr>
            <a:endParaRPr kumimoji="0" lang="en-US" sz="2000" b="0" i="0" u="none" strike="noStrike" kern="1200" cap="none" spc="0" normalizeH="0" baseline="0" noProof="0">
              <a:ln>
                <a:noFill/>
              </a:ln>
              <a:solidFill>
                <a:srgbClr val="000000"/>
              </a:solidFill>
              <a:effectLst/>
              <a:uLnTx/>
              <a:uFillTx/>
              <a:latin typeface="Segoe UI Light"/>
              <a:ea typeface="+mn-ea"/>
              <a:cs typeface="+mn-cs"/>
            </a:endParaRPr>
          </a:p>
          <a:p>
            <a:pPr marL="182845" marR="0" lvl="1" indent="0" algn="l" defTabSz="914367" rtl="0" eaLnBrk="1" fontAlgn="auto" latinLnBrk="0" hangingPunct="1">
              <a:lnSpc>
                <a:spcPct val="90000"/>
              </a:lnSpc>
              <a:spcBef>
                <a:spcPct val="20000"/>
              </a:spcBef>
              <a:spcAft>
                <a:spcPts val="0"/>
              </a:spcAft>
              <a:buClrTx/>
              <a:buSzPct val="90000"/>
              <a:buFont typeface="Arial" panose="020B0604020202020204" pitchFamily="34" charset="0"/>
              <a:buNone/>
              <a:tabLst/>
              <a:defRPr/>
            </a:pPr>
            <a:endParaRPr kumimoji="0" lang="en-US" sz="2000" b="0" i="0" u="none" strike="noStrike" kern="1200" cap="none" spc="0" normalizeH="0" baseline="0" noProof="0">
              <a:ln>
                <a:noFill/>
              </a:ln>
              <a:solidFill>
                <a:srgbClr val="000000"/>
              </a:solidFill>
              <a:effectLst/>
              <a:uLnTx/>
              <a:uFillTx/>
              <a:latin typeface="Segoe UI Light"/>
              <a:ea typeface="+mn-ea"/>
              <a:cs typeface="+mn-cs"/>
            </a:endParaRPr>
          </a:p>
          <a:p>
            <a:pPr marL="182845" marR="0" lvl="1" indent="0" algn="l" defTabSz="914367" rtl="0" eaLnBrk="1" fontAlgn="auto" latinLnBrk="0" hangingPunct="1">
              <a:lnSpc>
                <a:spcPct val="90000"/>
              </a:lnSpc>
              <a:spcBef>
                <a:spcPct val="20000"/>
              </a:spcBef>
              <a:spcAft>
                <a:spcPts val="0"/>
              </a:spcAft>
              <a:buClrTx/>
              <a:buSzPct val="90000"/>
              <a:buFont typeface="Arial" panose="020B0604020202020204" pitchFamily="34" charset="0"/>
              <a:buNone/>
              <a:tabLst/>
              <a:defRPr/>
            </a:pPr>
            <a:endParaRPr kumimoji="0" lang="en-US" sz="2000" b="0" i="0" u="none" strike="noStrike" kern="1200" cap="none" spc="0" normalizeH="0" baseline="0" noProof="0">
              <a:ln>
                <a:noFill/>
              </a:ln>
              <a:solidFill>
                <a:srgbClr val="000000"/>
              </a:solidFill>
              <a:effectLst/>
              <a:uLnTx/>
              <a:uFillTx/>
              <a:latin typeface="Segoe UI Light"/>
              <a:ea typeface="+mn-ea"/>
              <a:cs typeface="+mn-cs"/>
            </a:endParaRPr>
          </a:p>
        </p:txBody>
      </p:sp>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909931" y="2336957"/>
            <a:ext cx="5536096" cy="4205895"/>
          </a:xfrm>
          <a:prstGeom prst="rect">
            <a:avLst/>
          </a:prstGeom>
          <a:ln>
            <a:noFill/>
          </a:ln>
          <a:effectLst>
            <a:outerShdw blurRad="190500" algn="tl" rotWithShape="0">
              <a:srgbClr val="000000">
                <a:alpha val="70000"/>
              </a:srgbClr>
            </a:outerShdw>
          </a:effectLst>
        </p:spPr>
      </p:pic>
      <p:sp>
        <p:nvSpPr>
          <p:cNvPr id="3" name="Title 2"/>
          <p:cNvSpPr>
            <a:spLocks noGrp="1"/>
          </p:cNvSpPr>
          <p:nvPr>
            <p:ph type="title"/>
          </p:nvPr>
        </p:nvSpPr>
        <p:spPr/>
        <p:txBody>
          <a:bodyPr/>
          <a:lstStyle/>
          <a:p>
            <a:r>
              <a:rPr lang="en-GB"/>
              <a:t>Report View</a:t>
            </a:r>
          </a:p>
        </p:txBody>
      </p:sp>
    </p:spTree>
    <p:extLst>
      <p:ext uri="{BB962C8B-B14F-4D97-AF65-F5344CB8AC3E}">
        <p14:creationId xmlns:p14="http://schemas.microsoft.com/office/powerpoint/2010/main" val="18291018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2" name="Group 51"/>
          <p:cNvGrpSpPr/>
          <p:nvPr/>
        </p:nvGrpSpPr>
        <p:grpSpPr>
          <a:xfrm>
            <a:off x="2" y="1"/>
            <a:ext cx="2849058" cy="6858000"/>
            <a:chOff x="2" y="1"/>
            <a:chExt cx="2849058" cy="6858000"/>
          </a:xfrm>
        </p:grpSpPr>
        <p:sp>
          <p:nvSpPr>
            <p:cNvPr id="71" name="Rectangle 70"/>
            <p:cNvSpPr/>
            <p:nvPr/>
          </p:nvSpPr>
          <p:spPr bwMode="auto">
            <a:xfrm>
              <a:off x="2" y="1"/>
              <a:ext cx="2849058"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3" name="Oval 70"/>
            <p:cNvSpPr/>
            <p:nvPr/>
          </p:nvSpPr>
          <p:spPr>
            <a:xfrm>
              <a:off x="1413521" y="4951537"/>
              <a:ext cx="1119626" cy="1119626"/>
            </a:xfrm>
            <a:prstGeom prst="ellipse">
              <a:avLst/>
            </a:prstGeom>
            <a:solidFill>
              <a:srgbClr val="F2C812"/>
            </a:solidFill>
            <a:ln w="3175" cap="flat" cmpd="sng" algn="ctr">
              <a:noFill/>
              <a:prstDash val="solid"/>
            </a:ln>
            <a:effectLst/>
          </p:spPr>
          <p:txBody>
            <a:bodyPr vert="horz" wrap="none" lIns="0" tIns="45720" rIns="0" bIns="0" rtlCol="0" anchor="t"/>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Segoe UI"/>
                  <a:ea typeface="Segoe UI" pitchFamily="34" charset="0"/>
                  <a:cs typeface="Segoe UI" pitchFamily="34" charset="0"/>
                </a:rPr>
                <a:t>Share &amp;</a:t>
              </a:r>
            </a:p>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Segoe UI"/>
                  <a:ea typeface="Segoe UI" pitchFamily="34" charset="0"/>
                  <a:cs typeface="Segoe UI" pitchFamily="34" charset="0"/>
                </a:rPr>
                <a:t>collaborate </a:t>
              </a:r>
            </a:p>
          </p:txBody>
        </p:sp>
        <p:grpSp>
          <p:nvGrpSpPr>
            <p:cNvPr id="76" name="Group 38"/>
            <p:cNvGrpSpPr>
              <a:grpSpLocks noChangeAspect="1"/>
            </p:cNvGrpSpPr>
            <p:nvPr/>
          </p:nvGrpSpPr>
          <p:grpSpPr>
            <a:xfrm>
              <a:off x="676996" y="3930692"/>
              <a:ext cx="383905" cy="351536"/>
              <a:chOff x="4363684" y="5330386"/>
              <a:chExt cx="1409956" cy="1291077"/>
            </a:xfrm>
            <a:solidFill>
              <a:srgbClr val="217346"/>
            </a:solidFill>
          </p:grpSpPr>
          <p:sp>
            <p:nvSpPr>
              <p:cNvPr id="102" name="Donut 3"/>
              <p:cNvSpPr/>
              <p:nvPr/>
            </p:nvSpPr>
            <p:spPr bwMode="auto">
              <a:xfrm>
                <a:off x="4363684" y="5330386"/>
                <a:ext cx="1409956" cy="1291077"/>
              </a:xfrm>
              <a:custGeom>
                <a:avLst/>
                <a:gdLst/>
                <a:ahLst/>
                <a:cxnLst/>
                <a:rect l="l" t="t" r="r" b="b"/>
                <a:pathLst>
                  <a:path w="1409956" h="1291077">
                    <a:moveTo>
                      <a:pt x="956401" y="78410"/>
                    </a:moveTo>
                    <a:cubicBezTo>
                      <a:pt x="747518" y="78410"/>
                      <a:pt x="578184" y="247744"/>
                      <a:pt x="578184" y="456627"/>
                    </a:cubicBezTo>
                    <a:cubicBezTo>
                      <a:pt x="578184" y="665510"/>
                      <a:pt x="747518" y="834844"/>
                      <a:pt x="956401" y="834844"/>
                    </a:cubicBezTo>
                    <a:cubicBezTo>
                      <a:pt x="1165284" y="834844"/>
                      <a:pt x="1334618" y="665510"/>
                      <a:pt x="1334618" y="456627"/>
                    </a:cubicBezTo>
                    <a:cubicBezTo>
                      <a:pt x="1334618" y="247744"/>
                      <a:pt x="1165284" y="78410"/>
                      <a:pt x="956401" y="78410"/>
                    </a:cubicBezTo>
                    <a:close/>
                    <a:moveTo>
                      <a:pt x="952756" y="0"/>
                    </a:moveTo>
                    <a:cubicBezTo>
                      <a:pt x="1205261" y="0"/>
                      <a:pt x="1409956" y="204695"/>
                      <a:pt x="1409956" y="457200"/>
                    </a:cubicBezTo>
                    <a:cubicBezTo>
                      <a:pt x="1409956" y="709705"/>
                      <a:pt x="1205261" y="914400"/>
                      <a:pt x="952756" y="914400"/>
                    </a:cubicBezTo>
                    <a:cubicBezTo>
                      <a:pt x="862133" y="914400"/>
                      <a:pt x="777669" y="888034"/>
                      <a:pt x="707132" y="841746"/>
                    </a:cubicBezTo>
                    <a:lnTo>
                      <a:pt x="136495" y="1280102"/>
                    </a:lnTo>
                    <a:cubicBezTo>
                      <a:pt x="21896" y="1327168"/>
                      <a:pt x="-44029" y="1213730"/>
                      <a:pt x="33797" y="1113182"/>
                    </a:cubicBezTo>
                    <a:lnTo>
                      <a:pt x="568587" y="703518"/>
                    </a:lnTo>
                    <a:cubicBezTo>
                      <a:pt x="522087" y="632814"/>
                      <a:pt x="495556" y="548105"/>
                      <a:pt x="495556" y="457200"/>
                    </a:cubicBezTo>
                    <a:cubicBezTo>
                      <a:pt x="495556" y="204695"/>
                      <a:pt x="700251" y="0"/>
                      <a:pt x="952756" y="0"/>
                    </a:cubicBezTo>
                    <a:close/>
                  </a:path>
                </a:pathLst>
              </a:custGeom>
              <a:grpFill/>
              <a:ln>
                <a:solidFill>
                  <a:srgbClr val="21734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sp>
            <p:nvSpPr>
              <p:cNvPr id="103" name="Rectangle 4"/>
              <p:cNvSpPr/>
              <p:nvPr/>
            </p:nvSpPr>
            <p:spPr>
              <a:xfrm>
                <a:off x="5058389" y="5528247"/>
                <a:ext cx="490885" cy="490020"/>
              </a:xfrm>
              <a:custGeom>
                <a:avLst/>
                <a:gdLst/>
                <a:ahLst/>
                <a:cxnLst/>
                <a:rect l="l" t="t" r="r" b="b"/>
                <a:pathLst>
                  <a:path w="490885" h="490020">
                    <a:moveTo>
                      <a:pt x="240752" y="0"/>
                    </a:moveTo>
                    <a:cubicBezTo>
                      <a:pt x="253961" y="11844"/>
                      <a:pt x="293310" y="49692"/>
                      <a:pt x="337332" y="92439"/>
                    </a:cubicBezTo>
                    <a:lnTo>
                      <a:pt x="328342" y="81259"/>
                    </a:lnTo>
                    <a:cubicBezTo>
                      <a:pt x="356946" y="111282"/>
                      <a:pt x="377251" y="107167"/>
                      <a:pt x="382515" y="87941"/>
                    </a:cubicBezTo>
                    <a:cubicBezTo>
                      <a:pt x="383951" y="76921"/>
                      <a:pt x="384595" y="68732"/>
                      <a:pt x="396997" y="52239"/>
                    </a:cubicBezTo>
                    <a:cubicBezTo>
                      <a:pt x="420362" y="32084"/>
                      <a:pt x="442294" y="41736"/>
                      <a:pt x="454920" y="51330"/>
                    </a:cubicBezTo>
                    <a:cubicBezTo>
                      <a:pt x="467834" y="62761"/>
                      <a:pt x="477920" y="86882"/>
                      <a:pt x="460392" y="109714"/>
                    </a:cubicBezTo>
                    <a:cubicBezTo>
                      <a:pt x="451128" y="121912"/>
                      <a:pt x="437554" y="126838"/>
                      <a:pt x="425922" y="126505"/>
                    </a:cubicBezTo>
                    <a:cubicBezTo>
                      <a:pt x="424301" y="127609"/>
                      <a:pt x="382890" y="134974"/>
                      <a:pt x="427348" y="177672"/>
                    </a:cubicBezTo>
                    <a:lnTo>
                      <a:pt x="416886" y="169735"/>
                    </a:lnTo>
                    <a:cubicBezTo>
                      <a:pt x="450207" y="202177"/>
                      <a:pt x="478424" y="229744"/>
                      <a:pt x="490885" y="241900"/>
                    </a:cubicBezTo>
                    <a:lnTo>
                      <a:pt x="417150" y="317347"/>
                    </a:lnTo>
                    <a:cubicBezTo>
                      <a:pt x="417744" y="316535"/>
                      <a:pt x="418443" y="316123"/>
                      <a:pt x="419047" y="315822"/>
                    </a:cubicBezTo>
                    <a:cubicBezTo>
                      <a:pt x="389023" y="344426"/>
                      <a:pt x="393138" y="364731"/>
                      <a:pt x="412364" y="369995"/>
                    </a:cubicBezTo>
                    <a:cubicBezTo>
                      <a:pt x="423384" y="371431"/>
                      <a:pt x="431574" y="372075"/>
                      <a:pt x="448067" y="384477"/>
                    </a:cubicBezTo>
                    <a:cubicBezTo>
                      <a:pt x="468221" y="407842"/>
                      <a:pt x="458569" y="429774"/>
                      <a:pt x="448975" y="442400"/>
                    </a:cubicBezTo>
                    <a:cubicBezTo>
                      <a:pt x="437545" y="455314"/>
                      <a:pt x="413423" y="465400"/>
                      <a:pt x="390591" y="447872"/>
                    </a:cubicBezTo>
                    <a:cubicBezTo>
                      <a:pt x="378394" y="438608"/>
                      <a:pt x="373468" y="425034"/>
                      <a:pt x="373800" y="413402"/>
                    </a:cubicBezTo>
                    <a:cubicBezTo>
                      <a:pt x="372696" y="411781"/>
                      <a:pt x="365332" y="370370"/>
                      <a:pt x="322634" y="414828"/>
                    </a:cubicBezTo>
                    <a:lnTo>
                      <a:pt x="325243" y="411388"/>
                    </a:lnTo>
                    <a:lnTo>
                      <a:pt x="248395" y="490020"/>
                    </a:lnTo>
                    <a:cubicBezTo>
                      <a:pt x="208939" y="451897"/>
                      <a:pt x="199129" y="442073"/>
                      <a:pt x="174192" y="418236"/>
                    </a:cubicBezTo>
                    <a:cubicBezTo>
                      <a:pt x="145587" y="388212"/>
                      <a:pt x="125282" y="392327"/>
                      <a:pt x="120018" y="411553"/>
                    </a:cubicBezTo>
                    <a:cubicBezTo>
                      <a:pt x="118582" y="422573"/>
                      <a:pt x="117938" y="430763"/>
                      <a:pt x="105536" y="447256"/>
                    </a:cubicBezTo>
                    <a:cubicBezTo>
                      <a:pt x="82171" y="467410"/>
                      <a:pt x="60239" y="457758"/>
                      <a:pt x="47614" y="448164"/>
                    </a:cubicBezTo>
                    <a:cubicBezTo>
                      <a:pt x="34699" y="436734"/>
                      <a:pt x="24614" y="412612"/>
                      <a:pt x="42141" y="389780"/>
                    </a:cubicBezTo>
                    <a:cubicBezTo>
                      <a:pt x="51405" y="377583"/>
                      <a:pt x="64979" y="372657"/>
                      <a:pt x="76612" y="372989"/>
                    </a:cubicBezTo>
                    <a:cubicBezTo>
                      <a:pt x="78232" y="371886"/>
                      <a:pt x="119644" y="364521"/>
                      <a:pt x="75186" y="321823"/>
                    </a:cubicBezTo>
                    <a:cubicBezTo>
                      <a:pt x="58767" y="305402"/>
                      <a:pt x="23648" y="271235"/>
                      <a:pt x="0" y="248738"/>
                    </a:cubicBezTo>
                    <a:lnTo>
                      <a:pt x="77303" y="168146"/>
                    </a:lnTo>
                    <a:cubicBezTo>
                      <a:pt x="104269" y="140313"/>
                      <a:pt x="122130" y="156409"/>
                      <a:pt x="124388" y="175543"/>
                    </a:cubicBezTo>
                    <a:cubicBezTo>
                      <a:pt x="124457" y="182466"/>
                      <a:pt x="127106" y="193106"/>
                      <a:pt x="137575" y="203052"/>
                    </a:cubicBezTo>
                    <a:cubicBezTo>
                      <a:pt x="153931" y="220277"/>
                      <a:pt x="181252" y="217451"/>
                      <a:pt x="196721" y="201951"/>
                    </a:cubicBezTo>
                    <a:cubicBezTo>
                      <a:pt x="211961" y="185740"/>
                      <a:pt x="213057" y="157882"/>
                      <a:pt x="196146" y="142797"/>
                    </a:cubicBezTo>
                    <a:cubicBezTo>
                      <a:pt x="184301" y="132637"/>
                      <a:pt x="177155" y="131453"/>
                      <a:pt x="166513" y="129894"/>
                    </a:cubicBezTo>
                    <a:cubicBezTo>
                      <a:pt x="154522" y="129013"/>
                      <a:pt x="131185" y="112953"/>
                      <a:pt x="157905" y="85228"/>
                    </a:cubicBezTo>
                    <a:close/>
                  </a:path>
                </a:pathLst>
              </a:custGeom>
              <a:grpFill/>
              <a:ln>
                <a:solidFill>
                  <a:srgbClr val="21734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grpSp>
        <p:sp>
          <p:nvSpPr>
            <p:cNvPr id="77" name="Oval 47"/>
            <p:cNvSpPr/>
            <p:nvPr/>
          </p:nvSpPr>
          <p:spPr>
            <a:xfrm>
              <a:off x="388608" y="3710471"/>
              <a:ext cx="1119626" cy="1119626"/>
            </a:xfrm>
            <a:prstGeom prst="ellipse">
              <a:avLst/>
            </a:prstGeom>
            <a:solidFill>
              <a:srgbClr val="F2C812"/>
            </a:solidFill>
            <a:ln w="3175" cap="flat" cmpd="sng" algn="ctr">
              <a:noFill/>
              <a:prstDash val="solid"/>
            </a:ln>
            <a:effectLst/>
          </p:spPr>
          <p:txBody>
            <a:bodyPr vert="horz" wrap="none" lIns="0" tIns="45720" rIns="0" bIns="0" rtlCol="0" anchor="t"/>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Segoe UI"/>
                  <a:ea typeface="Segoe UI" pitchFamily="34" charset="0"/>
                  <a:cs typeface="Segoe UI" pitchFamily="34" charset="0"/>
                </a:rPr>
                <a:t>Report</a:t>
              </a:r>
            </a:p>
          </p:txBody>
        </p:sp>
        <p:sp>
          <p:nvSpPr>
            <p:cNvPr id="78" name="Oval 950"/>
            <p:cNvSpPr/>
            <p:nvPr/>
          </p:nvSpPr>
          <p:spPr>
            <a:xfrm>
              <a:off x="388608" y="1252295"/>
              <a:ext cx="1119626" cy="1119626"/>
            </a:xfrm>
            <a:prstGeom prst="ellipse">
              <a:avLst/>
            </a:prstGeom>
            <a:solidFill>
              <a:srgbClr val="F2C812"/>
            </a:solidFill>
            <a:ln w="3175" cap="flat" cmpd="sng" algn="ctr">
              <a:noFill/>
              <a:prstDash val="solid"/>
            </a:ln>
            <a:effectLst/>
          </p:spPr>
          <p:txBody>
            <a:bodyPr vert="horz" wrap="none" lIns="0" tIns="45720" rIns="0" bIns="0" rtlCol="0" anchor="t"/>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1" i="0" u="none" strike="noStrike" kern="1200" cap="none" spc="0" normalizeH="0" baseline="0" noProof="0">
                <a:ln>
                  <a:noFill/>
                </a:ln>
                <a:solidFill>
                  <a:srgbClr val="217346"/>
                </a:solidFill>
                <a:effectLst/>
                <a:uLnTx/>
                <a:uFillTx/>
                <a:latin typeface="Segoe UI"/>
                <a:ea typeface="Segoe UI" pitchFamily="34" charset="0"/>
                <a:cs typeface="Segoe UI" pitchFamily="34" charset="0"/>
              </a:endParaRPr>
            </a:p>
          </p:txBody>
        </p:sp>
        <p:grpSp>
          <p:nvGrpSpPr>
            <p:cNvPr id="79" name="Group 78"/>
            <p:cNvGrpSpPr/>
            <p:nvPr/>
          </p:nvGrpSpPr>
          <p:grpSpPr>
            <a:xfrm>
              <a:off x="1264851" y="3482890"/>
              <a:ext cx="292254" cy="354906"/>
              <a:chOff x="1296521" y="3253388"/>
              <a:chExt cx="292254" cy="354906"/>
            </a:xfrm>
            <a:solidFill>
              <a:srgbClr val="F2C812"/>
            </a:solidFill>
          </p:grpSpPr>
          <p:sp>
            <p:nvSpPr>
              <p:cNvPr id="99" name="Isosceles Triangle 98"/>
              <p:cNvSpPr/>
              <p:nvPr/>
            </p:nvSpPr>
            <p:spPr bwMode="auto">
              <a:xfrm rot="13636515">
                <a:off x="1461362" y="328936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0" name="Isosceles Triangle 99"/>
              <p:cNvSpPr/>
              <p:nvPr/>
            </p:nvSpPr>
            <p:spPr bwMode="auto">
              <a:xfrm rot="13636515">
                <a:off x="1357669" y="338258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1" name="Isosceles Triangle 100"/>
              <p:cNvSpPr/>
              <p:nvPr/>
            </p:nvSpPr>
            <p:spPr bwMode="auto">
              <a:xfrm rot="13636515">
                <a:off x="1260548" y="3480882"/>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80" name="Group 79"/>
            <p:cNvGrpSpPr/>
            <p:nvPr/>
          </p:nvGrpSpPr>
          <p:grpSpPr>
            <a:xfrm rot="15940603">
              <a:off x="1334576" y="2204404"/>
              <a:ext cx="292254" cy="354906"/>
              <a:chOff x="1296521" y="3253388"/>
              <a:chExt cx="292254" cy="354906"/>
            </a:xfrm>
            <a:solidFill>
              <a:srgbClr val="F2C812"/>
            </a:solidFill>
          </p:grpSpPr>
          <p:sp>
            <p:nvSpPr>
              <p:cNvPr id="96" name="Isosceles Triangle 95"/>
              <p:cNvSpPr/>
              <p:nvPr/>
            </p:nvSpPr>
            <p:spPr bwMode="auto">
              <a:xfrm rot="13636515">
                <a:off x="1461362" y="328936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7" name="Isosceles Triangle 96"/>
              <p:cNvSpPr/>
              <p:nvPr/>
            </p:nvSpPr>
            <p:spPr bwMode="auto">
              <a:xfrm rot="13636515">
                <a:off x="1357669" y="338258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8" name="Isosceles Triangle 97"/>
              <p:cNvSpPr/>
              <p:nvPr/>
            </p:nvSpPr>
            <p:spPr bwMode="auto">
              <a:xfrm rot="13636515">
                <a:off x="1260548" y="3480882"/>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81" name="Group 80"/>
            <p:cNvGrpSpPr/>
            <p:nvPr/>
          </p:nvGrpSpPr>
          <p:grpSpPr>
            <a:xfrm rot="16043978">
              <a:off x="1317220" y="4717577"/>
              <a:ext cx="292254" cy="354906"/>
              <a:chOff x="1296521" y="3253388"/>
              <a:chExt cx="292254" cy="354906"/>
            </a:xfrm>
            <a:solidFill>
              <a:srgbClr val="F2C812"/>
            </a:solidFill>
          </p:grpSpPr>
          <p:sp>
            <p:nvSpPr>
              <p:cNvPr id="93" name="Isosceles Triangle 92"/>
              <p:cNvSpPr/>
              <p:nvPr/>
            </p:nvSpPr>
            <p:spPr bwMode="auto">
              <a:xfrm rot="13636515">
                <a:off x="1461362" y="328936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4" name="Isosceles Triangle 93"/>
              <p:cNvSpPr/>
              <p:nvPr/>
            </p:nvSpPr>
            <p:spPr bwMode="auto">
              <a:xfrm rot="13636515">
                <a:off x="1357669" y="338258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5" name="Isosceles Triangle 94"/>
              <p:cNvSpPr/>
              <p:nvPr/>
            </p:nvSpPr>
            <p:spPr bwMode="auto">
              <a:xfrm rot="13636515">
                <a:off x="1260548" y="3480882"/>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82" name="Oval 36"/>
            <p:cNvSpPr/>
            <p:nvPr/>
          </p:nvSpPr>
          <p:spPr>
            <a:xfrm>
              <a:off x="1413521" y="2481383"/>
              <a:ext cx="1119626" cy="1119626"/>
            </a:xfrm>
            <a:prstGeom prst="ellipse">
              <a:avLst/>
            </a:prstGeom>
            <a:solidFill>
              <a:srgbClr val="F2C812"/>
            </a:solidFill>
            <a:ln w="3175" cap="flat" cmpd="sng" algn="ctr">
              <a:noFill/>
              <a:prstDash val="solid"/>
            </a:ln>
            <a:effectLst/>
          </p:spPr>
          <p:txBody>
            <a:bodyPr vert="horz" wrap="none" lIns="0" tIns="0" rIns="0" bIns="0" rtlCol="0" anchor="t"/>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400" b="1" i="0" u="none" strike="noStrike" kern="1200" cap="none" spc="0" normalizeH="0" baseline="0" noProof="0">
                <a:ln>
                  <a:noFill/>
                </a:ln>
                <a:solidFill>
                  <a:srgbClr val="217346"/>
                </a:solidFill>
                <a:effectLst/>
                <a:uLnTx/>
                <a:uFillTx/>
                <a:latin typeface="Segoe UI"/>
                <a:ea typeface="Segoe UI" pitchFamily="34" charset="0"/>
                <a:cs typeface="Segoe UI" pitchFamily="34" charset="0"/>
              </a:endParaRPr>
            </a:p>
          </p:txBody>
        </p:sp>
        <p:sp>
          <p:nvSpPr>
            <p:cNvPr id="83" name="Donut 3"/>
            <p:cNvSpPr/>
            <p:nvPr/>
          </p:nvSpPr>
          <p:spPr bwMode="auto">
            <a:xfrm>
              <a:off x="1742065" y="3002355"/>
              <a:ext cx="383905" cy="351537"/>
            </a:xfrm>
            <a:custGeom>
              <a:avLst/>
              <a:gdLst/>
              <a:ahLst/>
              <a:cxnLst/>
              <a:rect l="l" t="t" r="r" b="b"/>
              <a:pathLst>
                <a:path w="1409956" h="1291077">
                  <a:moveTo>
                    <a:pt x="956401" y="78410"/>
                  </a:moveTo>
                  <a:cubicBezTo>
                    <a:pt x="747518" y="78410"/>
                    <a:pt x="578184" y="247744"/>
                    <a:pt x="578184" y="456627"/>
                  </a:cubicBezTo>
                  <a:cubicBezTo>
                    <a:pt x="578184" y="665510"/>
                    <a:pt x="747518" y="834844"/>
                    <a:pt x="956401" y="834844"/>
                  </a:cubicBezTo>
                  <a:cubicBezTo>
                    <a:pt x="1165284" y="834844"/>
                    <a:pt x="1334618" y="665510"/>
                    <a:pt x="1334618" y="456627"/>
                  </a:cubicBezTo>
                  <a:cubicBezTo>
                    <a:pt x="1334618" y="247744"/>
                    <a:pt x="1165284" y="78410"/>
                    <a:pt x="956401" y="78410"/>
                  </a:cubicBezTo>
                  <a:close/>
                  <a:moveTo>
                    <a:pt x="952756" y="0"/>
                  </a:moveTo>
                  <a:cubicBezTo>
                    <a:pt x="1205261" y="0"/>
                    <a:pt x="1409956" y="204695"/>
                    <a:pt x="1409956" y="457200"/>
                  </a:cubicBezTo>
                  <a:cubicBezTo>
                    <a:pt x="1409956" y="709705"/>
                    <a:pt x="1205261" y="914400"/>
                    <a:pt x="952756" y="914400"/>
                  </a:cubicBezTo>
                  <a:cubicBezTo>
                    <a:pt x="862133" y="914400"/>
                    <a:pt x="777669" y="888034"/>
                    <a:pt x="707132" y="841746"/>
                  </a:cubicBezTo>
                  <a:lnTo>
                    <a:pt x="136495" y="1280102"/>
                  </a:lnTo>
                  <a:cubicBezTo>
                    <a:pt x="21896" y="1327168"/>
                    <a:pt x="-44029" y="1213730"/>
                    <a:pt x="33797" y="1113182"/>
                  </a:cubicBezTo>
                  <a:lnTo>
                    <a:pt x="568587" y="703518"/>
                  </a:lnTo>
                  <a:cubicBezTo>
                    <a:pt x="522087" y="632814"/>
                    <a:pt x="495556" y="548105"/>
                    <a:pt x="495556" y="457200"/>
                  </a:cubicBezTo>
                  <a:cubicBezTo>
                    <a:pt x="495556" y="204695"/>
                    <a:pt x="700251" y="0"/>
                    <a:pt x="952756" y="0"/>
                  </a:cubicBezTo>
                  <a:close/>
                </a:path>
              </a:pathLst>
            </a:cu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sp>
          <p:nvSpPr>
            <p:cNvPr id="84" name="Rectangle 83"/>
            <p:cNvSpPr/>
            <p:nvPr/>
          </p:nvSpPr>
          <p:spPr>
            <a:xfrm>
              <a:off x="1600398" y="2677430"/>
              <a:ext cx="820353" cy="307777"/>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Segoe UI"/>
                  <a:ea typeface="Segoe UI" pitchFamily="34" charset="0"/>
                  <a:cs typeface="Segoe UI" pitchFamily="34" charset="0"/>
                </a:rPr>
                <a:t>Explore</a:t>
              </a:r>
              <a:endParaRPr kumimoji="0" lang="en-US" sz="1600" b="0" i="0" u="none" strike="noStrike" kern="1200" cap="none" spc="0" normalizeH="0" baseline="0" noProof="0">
                <a:ln>
                  <a:noFill/>
                </a:ln>
                <a:solidFill>
                  <a:srgbClr val="000000"/>
                </a:solidFill>
                <a:effectLst/>
                <a:uLnTx/>
                <a:uFillTx/>
                <a:latin typeface="Segoe UI"/>
                <a:ea typeface="+mn-ea"/>
                <a:cs typeface="+mn-cs"/>
              </a:endParaRPr>
            </a:p>
          </p:txBody>
        </p:sp>
        <p:sp>
          <p:nvSpPr>
            <p:cNvPr id="85" name="Rectangle 84"/>
            <p:cNvSpPr/>
            <p:nvPr/>
          </p:nvSpPr>
          <p:spPr>
            <a:xfrm>
              <a:off x="509174" y="1475232"/>
              <a:ext cx="838756" cy="307777"/>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Segoe UI"/>
                  <a:ea typeface="Segoe UI" pitchFamily="34" charset="0"/>
                  <a:cs typeface="Segoe UI" pitchFamily="34" charset="0"/>
                </a:rPr>
                <a:t>Prepare</a:t>
              </a: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86" name="Freeform 85"/>
            <p:cNvSpPr>
              <a:spLocks noChangeAspect="1"/>
            </p:cNvSpPr>
            <p:nvPr/>
          </p:nvSpPr>
          <p:spPr bwMode="black">
            <a:xfrm>
              <a:off x="1836174" y="5643069"/>
              <a:ext cx="274320" cy="284173"/>
            </a:xfrm>
            <a:custGeom>
              <a:avLst/>
              <a:gdLst>
                <a:gd name="T0" fmla="*/ 539 w 669"/>
                <a:gd name="T1" fmla="*/ 5 h 693"/>
                <a:gd name="T2" fmla="*/ 640 w 669"/>
                <a:gd name="T3" fmla="*/ 55 h 693"/>
                <a:gd name="T4" fmla="*/ 603 w 669"/>
                <a:gd name="T5" fmla="*/ 195 h 693"/>
                <a:gd name="T6" fmla="*/ 490 w 669"/>
                <a:gd name="T7" fmla="*/ 188 h 693"/>
                <a:gd name="T8" fmla="*/ 479 w 669"/>
                <a:gd name="T9" fmla="*/ 176 h 693"/>
                <a:gd name="T10" fmla="*/ 213 w 669"/>
                <a:gd name="T11" fmla="*/ 330 h 693"/>
                <a:gd name="T12" fmla="*/ 218 w 669"/>
                <a:gd name="T13" fmla="*/ 345 h 693"/>
                <a:gd name="T14" fmla="*/ 218 w 669"/>
                <a:gd name="T15" fmla="*/ 375 h 693"/>
                <a:gd name="T16" fmla="*/ 209 w 669"/>
                <a:gd name="T17" fmla="*/ 402 h 693"/>
                <a:gd name="T18" fmla="*/ 369 w 669"/>
                <a:gd name="T19" fmla="*/ 503 h 693"/>
                <a:gd name="T20" fmla="*/ 373 w 669"/>
                <a:gd name="T21" fmla="*/ 498 h 693"/>
                <a:gd name="T22" fmla="*/ 456 w 669"/>
                <a:gd name="T23" fmla="*/ 475 h 693"/>
                <a:gd name="T24" fmla="*/ 494 w 669"/>
                <a:gd name="T25" fmla="*/ 489 h 693"/>
                <a:gd name="T26" fmla="*/ 527 w 669"/>
                <a:gd name="T27" fmla="*/ 630 h 693"/>
                <a:gd name="T28" fmla="*/ 386 w 669"/>
                <a:gd name="T29" fmla="*/ 663 h 693"/>
                <a:gd name="T30" fmla="*/ 339 w 669"/>
                <a:gd name="T31" fmla="*/ 560 h 693"/>
                <a:gd name="T32" fmla="*/ 345 w 669"/>
                <a:gd name="T33" fmla="*/ 544 h 693"/>
                <a:gd name="T34" fmla="*/ 177 w 669"/>
                <a:gd name="T35" fmla="*/ 439 h 693"/>
                <a:gd name="T36" fmla="*/ 168 w 669"/>
                <a:gd name="T37" fmla="*/ 446 h 693"/>
                <a:gd name="T38" fmla="*/ 28 w 669"/>
                <a:gd name="T39" fmla="*/ 409 h 693"/>
                <a:gd name="T40" fmla="*/ 65 w 669"/>
                <a:gd name="T41" fmla="*/ 269 h 693"/>
                <a:gd name="T42" fmla="*/ 178 w 669"/>
                <a:gd name="T43" fmla="*/ 276 h 693"/>
                <a:gd name="T44" fmla="*/ 189 w 669"/>
                <a:gd name="T45" fmla="*/ 288 h 693"/>
                <a:gd name="T46" fmla="*/ 455 w 669"/>
                <a:gd name="T47" fmla="*/ 134 h 693"/>
                <a:gd name="T48" fmla="*/ 450 w 669"/>
                <a:gd name="T49" fmla="*/ 119 h 693"/>
                <a:gd name="T50" fmla="*/ 501 w 669"/>
                <a:gd name="T51" fmla="*/ 18 h 693"/>
                <a:gd name="T52" fmla="*/ 539 w 669"/>
                <a:gd name="T53" fmla="*/ 5 h 6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69" h="693">
                  <a:moveTo>
                    <a:pt x="539" y="5"/>
                  </a:moveTo>
                  <a:cubicBezTo>
                    <a:pt x="579" y="0"/>
                    <a:pt x="619" y="19"/>
                    <a:pt x="640" y="55"/>
                  </a:cubicBezTo>
                  <a:cubicBezTo>
                    <a:pt x="669" y="104"/>
                    <a:pt x="652" y="167"/>
                    <a:pt x="603" y="195"/>
                  </a:cubicBezTo>
                  <a:cubicBezTo>
                    <a:pt x="566" y="216"/>
                    <a:pt x="522" y="212"/>
                    <a:pt x="490" y="188"/>
                  </a:cubicBezTo>
                  <a:cubicBezTo>
                    <a:pt x="479" y="176"/>
                    <a:pt x="479" y="176"/>
                    <a:pt x="479" y="176"/>
                  </a:cubicBezTo>
                  <a:cubicBezTo>
                    <a:pt x="213" y="330"/>
                    <a:pt x="213" y="330"/>
                    <a:pt x="213" y="330"/>
                  </a:cubicBezTo>
                  <a:cubicBezTo>
                    <a:pt x="218" y="345"/>
                    <a:pt x="218" y="345"/>
                    <a:pt x="218" y="345"/>
                  </a:cubicBezTo>
                  <a:cubicBezTo>
                    <a:pt x="219" y="355"/>
                    <a:pt x="219" y="365"/>
                    <a:pt x="218" y="375"/>
                  </a:cubicBezTo>
                  <a:cubicBezTo>
                    <a:pt x="209" y="402"/>
                    <a:pt x="209" y="402"/>
                    <a:pt x="209" y="402"/>
                  </a:cubicBezTo>
                  <a:cubicBezTo>
                    <a:pt x="369" y="503"/>
                    <a:pt x="369" y="503"/>
                    <a:pt x="369" y="503"/>
                  </a:cubicBezTo>
                  <a:cubicBezTo>
                    <a:pt x="373" y="498"/>
                    <a:pt x="373" y="498"/>
                    <a:pt x="373" y="498"/>
                  </a:cubicBezTo>
                  <a:cubicBezTo>
                    <a:pt x="396" y="479"/>
                    <a:pt x="427" y="470"/>
                    <a:pt x="456" y="475"/>
                  </a:cubicBezTo>
                  <a:cubicBezTo>
                    <a:pt x="470" y="477"/>
                    <a:pt x="482" y="482"/>
                    <a:pt x="494" y="489"/>
                  </a:cubicBezTo>
                  <a:cubicBezTo>
                    <a:pt x="542" y="519"/>
                    <a:pt x="557" y="583"/>
                    <a:pt x="527" y="630"/>
                  </a:cubicBezTo>
                  <a:cubicBezTo>
                    <a:pt x="497" y="678"/>
                    <a:pt x="433" y="693"/>
                    <a:pt x="386" y="663"/>
                  </a:cubicBezTo>
                  <a:cubicBezTo>
                    <a:pt x="350" y="640"/>
                    <a:pt x="333" y="599"/>
                    <a:pt x="339" y="560"/>
                  </a:cubicBezTo>
                  <a:cubicBezTo>
                    <a:pt x="345" y="544"/>
                    <a:pt x="345" y="544"/>
                    <a:pt x="345" y="544"/>
                  </a:cubicBezTo>
                  <a:cubicBezTo>
                    <a:pt x="177" y="439"/>
                    <a:pt x="177" y="439"/>
                    <a:pt x="177" y="439"/>
                  </a:cubicBezTo>
                  <a:cubicBezTo>
                    <a:pt x="168" y="446"/>
                    <a:pt x="168" y="446"/>
                    <a:pt x="168" y="446"/>
                  </a:cubicBezTo>
                  <a:cubicBezTo>
                    <a:pt x="119" y="475"/>
                    <a:pt x="56" y="458"/>
                    <a:pt x="28" y="409"/>
                  </a:cubicBezTo>
                  <a:cubicBezTo>
                    <a:pt x="0" y="360"/>
                    <a:pt x="16" y="297"/>
                    <a:pt x="65" y="269"/>
                  </a:cubicBezTo>
                  <a:cubicBezTo>
                    <a:pt x="102" y="248"/>
                    <a:pt x="147" y="252"/>
                    <a:pt x="178" y="276"/>
                  </a:cubicBezTo>
                  <a:cubicBezTo>
                    <a:pt x="189" y="288"/>
                    <a:pt x="189" y="288"/>
                    <a:pt x="189" y="288"/>
                  </a:cubicBezTo>
                  <a:cubicBezTo>
                    <a:pt x="455" y="134"/>
                    <a:pt x="455" y="134"/>
                    <a:pt x="455" y="134"/>
                  </a:cubicBezTo>
                  <a:cubicBezTo>
                    <a:pt x="450" y="119"/>
                    <a:pt x="450" y="119"/>
                    <a:pt x="450" y="119"/>
                  </a:cubicBezTo>
                  <a:cubicBezTo>
                    <a:pt x="445" y="80"/>
                    <a:pt x="464" y="39"/>
                    <a:pt x="501" y="18"/>
                  </a:cubicBezTo>
                  <a:cubicBezTo>
                    <a:pt x="513" y="11"/>
                    <a:pt x="526" y="6"/>
                    <a:pt x="539" y="5"/>
                  </a:cubicBezTo>
                  <a:close/>
                </a:path>
              </a:pathLst>
            </a:custGeom>
            <a:solidFill>
              <a:schemeClr val="tx1"/>
            </a:solidFill>
            <a:ln>
              <a:noFill/>
            </a:ln>
          </p:spPr>
          <p:txBody>
            <a:bodyPr vert="horz" wrap="square" lIns="68574" tIns="34287" rIns="68574" bIns="34287"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0000"/>
                </a:solidFill>
                <a:effectLst/>
                <a:uLnTx/>
                <a:uFillTx/>
                <a:latin typeface="Segoe UI"/>
                <a:ea typeface="+mn-ea"/>
                <a:cs typeface="+mn-cs"/>
              </a:endParaRPr>
            </a:p>
          </p:txBody>
        </p:sp>
        <p:sp>
          <p:nvSpPr>
            <p:cNvPr id="87" name="Freeform 86"/>
            <p:cNvSpPr>
              <a:spLocks noChangeAspect="1" noEditPoints="1"/>
            </p:cNvSpPr>
            <p:nvPr/>
          </p:nvSpPr>
          <p:spPr bwMode="black">
            <a:xfrm>
              <a:off x="722320" y="1783009"/>
              <a:ext cx="452202" cy="366660"/>
            </a:xfrm>
            <a:custGeom>
              <a:avLst/>
              <a:gdLst>
                <a:gd name="T0" fmla="*/ 600 w 1107"/>
                <a:gd name="T1" fmla="*/ 625 h 897"/>
                <a:gd name="T2" fmla="*/ 649 w 1107"/>
                <a:gd name="T3" fmla="*/ 567 h 897"/>
                <a:gd name="T4" fmla="*/ 727 w 1107"/>
                <a:gd name="T5" fmla="*/ 482 h 897"/>
                <a:gd name="T6" fmla="*/ 601 w 1107"/>
                <a:gd name="T7" fmla="*/ 434 h 897"/>
                <a:gd name="T8" fmla="*/ 628 w 1107"/>
                <a:gd name="T9" fmla="*/ 305 h 897"/>
                <a:gd name="T10" fmla="*/ 547 w 1107"/>
                <a:gd name="T11" fmla="*/ 240 h 897"/>
                <a:gd name="T12" fmla="*/ 427 w 1107"/>
                <a:gd name="T13" fmla="*/ 287 h 897"/>
                <a:gd name="T14" fmla="*/ 368 w 1107"/>
                <a:gd name="T15" fmla="*/ 170 h 897"/>
                <a:gd name="T16" fmla="*/ 285 w 1107"/>
                <a:gd name="T17" fmla="*/ 263 h 897"/>
                <a:gd name="T18" fmla="*/ 241 w 1107"/>
                <a:gd name="T19" fmla="*/ 313 h 897"/>
                <a:gd name="T20" fmla="*/ 139 w 1107"/>
                <a:gd name="T21" fmla="*/ 281 h 897"/>
                <a:gd name="T22" fmla="*/ 79 w 1107"/>
                <a:gd name="T23" fmla="*/ 355 h 897"/>
                <a:gd name="T24" fmla="*/ 132 w 1107"/>
                <a:gd name="T25" fmla="*/ 446 h 897"/>
                <a:gd name="T26" fmla="*/ 83 w 1107"/>
                <a:gd name="T27" fmla="*/ 505 h 897"/>
                <a:gd name="T28" fmla="*/ 5 w 1107"/>
                <a:gd name="T29" fmla="*/ 590 h 897"/>
                <a:gd name="T30" fmla="*/ 132 w 1107"/>
                <a:gd name="T31" fmla="*/ 638 h 897"/>
                <a:gd name="T32" fmla="*/ 145 w 1107"/>
                <a:gd name="T33" fmla="*/ 669 h 897"/>
                <a:gd name="T34" fmla="*/ 110 w 1107"/>
                <a:gd name="T35" fmla="*/ 793 h 897"/>
                <a:gd name="T36" fmla="*/ 230 w 1107"/>
                <a:gd name="T37" fmla="*/ 781 h 897"/>
                <a:gd name="T38" fmla="*/ 306 w 1107"/>
                <a:gd name="T39" fmla="*/ 785 h 897"/>
                <a:gd name="T40" fmla="*/ 346 w 1107"/>
                <a:gd name="T41" fmla="*/ 878 h 897"/>
                <a:gd name="T42" fmla="*/ 440 w 1107"/>
                <a:gd name="T43" fmla="*/ 872 h 897"/>
                <a:gd name="T44" fmla="*/ 466 w 1107"/>
                <a:gd name="T45" fmla="*/ 764 h 897"/>
                <a:gd name="T46" fmla="*/ 539 w 1107"/>
                <a:gd name="T47" fmla="*/ 755 h 897"/>
                <a:gd name="T48" fmla="*/ 659 w 1107"/>
                <a:gd name="T49" fmla="*/ 743 h 897"/>
                <a:gd name="T50" fmla="*/ 263 w 1107"/>
                <a:gd name="T51" fmla="*/ 452 h 897"/>
                <a:gd name="T52" fmla="*/ 281 w 1107"/>
                <a:gd name="T53" fmla="*/ 633 h 897"/>
                <a:gd name="T54" fmla="*/ 1002 w 1107"/>
                <a:gd name="T55" fmla="*/ 332 h 897"/>
                <a:gd name="T56" fmla="*/ 1043 w 1107"/>
                <a:gd name="T57" fmla="*/ 304 h 897"/>
                <a:gd name="T58" fmla="*/ 1107 w 1107"/>
                <a:gd name="T59" fmla="*/ 266 h 897"/>
                <a:gd name="T60" fmla="*/ 1037 w 1107"/>
                <a:gd name="T61" fmla="*/ 213 h 897"/>
                <a:gd name="T62" fmla="*/ 1077 w 1107"/>
                <a:gd name="T63" fmla="*/ 138 h 897"/>
                <a:gd name="T64" fmla="*/ 1038 w 1107"/>
                <a:gd name="T65" fmla="*/ 83 h 897"/>
                <a:gd name="T66" fmla="*/ 956 w 1107"/>
                <a:gd name="T67" fmla="*/ 91 h 897"/>
                <a:gd name="T68" fmla="*/ 940 w 1107"/>
                <a:gd name="T69" fmla="*/ 7 h 897"/>
                <a:gd name="T70" fmla="*/ 872 w 1107"/>
                <a:gd name="T71" fmla="*/ 50 h 897"/>
                <a:gd name="T72" fmla="*/ 836 w 1107"/>
                <a:gd name="T73" fmla="*/ 74 h 897"/>
                <a:gd name="T74" fmla="*/ 778 w 1107"/>
                <a:gd name="T75" fmla="*/ 35 h 897"/>
                <a:gd name="T76" fmla="*/ 728 w 1107"/>
                <a:gd name="T77" fmla="*/ 70 h 897"/>
                <a:gd name="T78" fmla="*/ 744 w 1107"/>
                <a:gd name="T79" fmla="*/ 136 h 897"/>
                <a:gd name="T80" fmla="*/ 703 w 1107"/>
                <a:gd name="T81" fmla="*/ 164 h 897"/>
                <a:gd name="T82" fmla="*/ 640 w 1107"/>
                <a:gd name="T83" fmla="*/ 203 h 897"/>
                <a:gd name="T84" fmla="*/ 710 w 1107"/>
                <a:gd name="T85" fmla="*/ 255 h 897"/>
                <a:gd name="T86" fmla="*/ 712 w 1107"/>
                <a:gd name="T87" fmla="*/ 277 h 897"/>
                <a:gd name="T88" fmla="*/ 668 w 1107"/>
                <a:gd name="T89" fmla="*/ 347 h 897"/>
                <a:gd name="T90" fmla="*/ 745 w 1107"/>
                <a:gd name="T91" fmla="*/ 361 h 897"/>
                <a:gd name="T92" fmla="*/ 791 w 1107"/>
                <a:gd name="T93" fmla="*/ 377 h 897"/>
                <a:gd name="T94" fmla="*/ 799 w 1107"/>
                <a:gd name="T95" fmla="*/ 443 h 897"/>
                <a:gd name="T96" fmla="*/ 859 w 1107"/>
                <a:gd name="T97" fmla="*/ 456 h 897"/>
                <a:gd name="T98" fmla="*/ 894 w 1107"/>
                <a:gd name="T99" fmla="*/ 393 h 897"/>
                <a:gd name="T100" fmla="*/ 941 w 1107"/>
                <a:gd name="T101" fmla="*/ 401 h 897"/>
                <a:gd name="T102" fmla="*/ 1018 w 1107"/>
                <a:gd name="T103" fmla="*/ 415 h 897"/>
                <a:gd name="T104" fmla="*/ 825 w 1107"/>
                <a:gd name="T105" fmla="*/ 164 h 897"/>
                <a:gd name="T106" fmla="*/ 803 w 1107"/>
                <a:gd name="T107" fmla="*/ 279 h 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107" h="897">
                  <a:moveTo>
                    <a:pt x="654" y="716"/>
                  </a:moveTo>
                  <a:cubicBezTo>
                    <a:pt x="616" y="670"/>
                    <a:pt x="616" y="670"/>
                    <a:pt x="616" y="670"/>
                  </a:cubicBezTo>
                  <a:cubicBezTo>
                    <a:pt x="593" y="654"/>
                    <a:pt x="603" y="638"/>
                    <a:pt x="600" y="625"/>
                  </a:cubicBezTo>
                  <a:cubicBezTo>
                    <a:pt x="600" y="625"/>
                    <a:pt x="600" y="625"/>
                    <a:pt x="600" y="625"/>
                  </a:cubicBezTo>
                  <a:cubicBezTo>
                    <a:pt x="605" y="617"/>
                    <a:pt x="611" y="609"/>
                    <a:pt x="608" y="596"/>
                  </a:cubicBezTo>
                  <a:cubicBezTo>
                    <a:pt x="618" y="580"/>
                    <a:pt x="623" y="572"/>
                    <a:pt x="649" y="567"/>
                  </a:cubicBezTo>
                  <a:cubicBezTo>
                    <a:pt x="715" y="553"/>
                    <a:pt x="715" y="553"/>
                    <a:pt x="715" y="553"/>
                  </a:cubicBezTo>
                  <a:cubicBezTo>
                    <a:pt x="728" y="550"/>
                    <a:pt x="733" y="542"/>
                    <a:pt x="730" y="529"/>
                  </a:cubicBezTo>
                  <a:cubicBezTo>
                    <a:pt x="727" y="482"/>
                    <a:pt x="727" y="482"/>
                    <a:pt x="727" y="482"/>
                  </a:cubicBezTo>
                  <a:cubicBezTo>
                    <a:pt x="724" y="469"/>
                    <a:pt x="717" y="463"/>
                    <a:pt x="701" y="453"/>
                  </a:cubicBezTo>
                  <a:cubicBezTo>
                    <a:pt x="641" y="459"/>
                    <a:pt x="641" y="459"/>
                    <a:pt x="641" y="459"/>
                  </a:cubicBezTo>
                  <a:cubicBezTo>
                    <a:pt x="620" y="457"/>
                    <a:pt x="604" y="447"/>
                    <a:pt x="601" y="434"/>
                  </a:cubicBezTo>
                  <a:cubicBezTo>
                    <a:pt x="598" y="421"/>
                    <a:pt x="590" y="416"/>
                    <a:pt x="580" y="397"/>
                  </a:cubicBezTo>
                  <a:cubicBezTo>
                    <a:pt x="577" y="384"/>
                    <a:pt x="574" y="371"/>
                    <a:pt x="584" y="355"/>
                  </a:cubicBezTo>
                  <a:cubicBezTo>
                    <a:pt x="628" y="305"/>
                    <a:pt x="628" y="305"/>
                    <a:pt x="628" y="305"/>
                  </a:cubicBezTo>
                  <a:cubicBezTo>
                    <a:pt x="634" y="297"/>
                    <a:pt x="631" y="284"/>
                    <a:pt x="623" y="279"/>
                  </a:cubicBezTo>
                  <a:cubicBezTo>
                    <a:pt x="581" y="240"/>
                    <a:pt x="581" y="240"/>
                    <a:pt x="581" y="240"/>
                  </a:cubicBezTo>
                  <a:cubicBezTo>
                    <a:pt x="573" y="235"/>
                    <a:pt x="560" y="238"/>
                    <a:pt x="547" y="240"/>
                  </a:cubicBezTo>
                  <a:cubicBezTo>
                    <a:pt x="503" y="291"/>
                    <a:pt x="503" y="291"/>
                    <a:pt x="503" y="291"/>
                  </a:cubicBezTo>
                  <a:cubicBezTo>
                    <a:pt x="484" y="302"/>
                    <a:pt x="471" y="304"/>
                    <a:pt x="463" y="299"/>
                  </a:cubicBezTo>
                  <a:cubicBezTo>
                    <a:pt x="456" y="294"/>
                    <a:pt x="435" y="292"/>
                    <a:pt x="427" y="287"/>
                  </a:cubicBezTo>
                  <a:cubicBezTo>
                    <a:pt x="419" y="282"/>
                    <a:pt x="403" y="271"/>
                    <a:pt x="400" y="258"/>
                  </a:cubicBezTo>
                  <a:cubicBezTo>
                    <a:pt x="386" y="193"/>
                    <a:pt x="386" y="193"/>
                    <a:pt x="386" y="193"/>
                  </a:cubicBezTo>
                  <a:cubicBezTo>
                    <a:pt x="384" y="180"/>
                    <a:pt x="368" y="170"/>
                    <a:pt x="368" y="170"/>
                  </a:cubicBezTo>
                  <a:cubicBezTo>
                    <a:pt x="308" y="176"/>
                    <a:pt x="308" y="176"/>
                    <a:pt x="308" y="176"/>
                  </a:cubicBezTo>
                  <a:cubicBezTo>
                    <a:pt x="308" y="176"/>
                    <a:pt x="289" y="187"/>
                    <a:pt x="292" y="200"/>
                  </a:cubicBezTo>
                  <a:cubicBezTo>
                    <a:pt x="285" y="263"/>
                    <a:pt x="285" y="263"/>
                    <a:pt x="285" y="263"/>
                  </a:cubicBezTo>
                  <a:cubicBezTo>
                    <a:pt x="291" y="289"/>
                    <a:pt x="277" y="292"/>
                    <a:pt x="272" y="300"/>
                  </a:cubicBezTo>
                  <a:cubicBezTo>
                    <a:pt x="272" y="300"/>
                    <a:pt x="272" y="300"/>
                    <a:pt x="267" y="308"/>
                  </a:cubicBezTo>
                  <a:cubicBezTo>
                    <a:pt x="259" y="302"/>
                    <a:pt x="246" y="305"/>
                    <a:pt x="241" y="313"/>
                  </a:cubicBezTo>
                  <a:cubicBezTo>
                    <a:pt x="236" y="321"/>
                    <a:pt x="236" y="321"/>
                    <a:pt x="236" y="321"/>
                  </a:cubicBezTo>
                  <a:cubicBezTo>
                    <a:pt x="223" y="324"/>
                    <a:pt x="210" y="327"/>
                    <a:pt x="194" y="317"/>
                  </a:cubicBezTo>
                  <a:cubicBezTo>
                    <a:pt x="139" y="281"/>
                    <a:pt x="139" y="281"/>
                    <a:pt x="139" y="281"/>
                  </a:cubicBezTo>
                  <a:cubicBezTo>
                    <a:pt x="131" y="276"/>
                    <a:pt x="110" y="273"/>
                    <a:pt x="104" y="281"/>
                  </a:cubicBezTo>
                  <a:cubicBezTo>
                    <a:pt x="79" y="321"/>
                    <a:pt x="79" y="321"/>
                    <a:pt x="79" y="321"/>
                  </a:cubicBezTo>
                  <a:cubicBezTo>
                    <a:pt x="66" y="324"/>
                    <a:pt x="68" y="337"/>
                    <a:pt x="79" y="355"/>
                  </a:cubicBezTo>
                  <a:cubicBezTo>
                    <a:pt x="121" y="394"/>
                    <a:pt x="121" y="394"/>
                    <a:pt x="121" y="394"/>
                  </a:cubicBezTo>
                  <a:cubicBezTo>
                    <a:pt x="140" y="417"/>
                    <a:pt x="135" y="425"/>
                    <a:pt x="132" y="446"/>
                  </a:cubicBezTo>
                  <a:cubicBezTo>
                    <a:pt x="132" y="446"/>
                    <a:pt x="132" y="446"/>
                    <a:pt x="132" y="446"/>
                  </a:cubicBezTo>
                  <a:cubicBezTo>
                    <a:pt x="127" y="454"/>
                    <a:pt x="122" y="462"/>
                    <a:pt x="117" y="470"/>
                  </a:cubicBezTo>
                  <a:cubicBezTo>
                    <a:pt x="117" y="470"/>
                    <a:pt x="117" y="470"/>
                    <a:pt x="117" y="470"/>
                  </a:cubicBezTo>
                  <a:cubicBezTo>
                    <a:pt x="120" y="483"/>
                    <a:pt x="109" y="499"/>
                    <a:pt x="83" y="505"/>
                  </a:cubicBezTo>
                  <a:cubicBezTo>
                    <a:pt x="23" y="511"/>
                    <a:pt x="23" y="511"/>
                    <a:pt x="23" y="511"/>
                  </a:cubicBezTo>
                  <a:cubicBezTo>
                    <a:pt x="10" y="514"/>
                    <a:pt x="0" y="529"/>
                    <a:pt x="2" y="543"/>
                  </a:cubicBezTo>
                  <a:cubicBezTo>
                    <a:pt x="5" y="590"/>
                    <a:pt x="5" y="590"/>
                    <a:pt x="5" y="590"/>
                  </a:cubicBezTo>
                  <a:cubicBezTo>
                    <a:pt x="8" y="603"/>
                    <a:pt x="16" y="608"/>
                    <a:pt x="37" y="610"/>
                  </a:cubicBezTo>
                  <a:cubicBezTo>
                    <a:pt x="92" y="612"/>
                    <a:pt x="92" y="612"/>
                    <a:pt x="92" y="612"/>
                  </a:cubicBezTo>
                  <a:cubicBezTo>
                    <a:pt x="113" y="614"/>
                    <a:pt x="129" y="625"/>
                    <a:pt x="132" y="638"/>
                  </a:cubicBezTo>
                  <a:cubicBezTo>
                    <a:pt x="132" y="638"/>
                    <a:pt x="132" y="638"/>
                    <a:pt x="132" y="638"/>
                  </a:cubicBezTo>
                  <a:cubicBezTo>
                    <a:pt x="140" y="643"/>
                    <a:pt x="142" y="656"/>
                    <a:pt x="150" y="661"/>
                  </a:cubicBezTo>
                  <a:cubicBezTo>
                    <a:pt x="145" y="669"/>
                    <a:pt x="145" y="669"/>
                    <a:pt x="145" y="669"/>
                  </a:cubicBezTo>
                  <a:cubicBezTo>
                    <a:pt x="153" y="674"/>
                    <a:pt x="156" y="687"/>
                    <a:pt x="140" y="711"/>
                  </a:cubicBezTo>
                  <a:cubicBezTo>
                    <a:pt x="109" y="759"/>
                    <a:pt x="109" y="759"/>
                    <a:pt x="109" y="759"/>
                  </a:cubicBezTo>
                  <a:cubicBezTo>
                    <a:pt x="99" y="775"/>
                    <a:pt x="102" y="788"/>
                    <a:pt x="110" y="793"/>
                  </a:cubicBezTo>
                  <a:cubicBezTo>
                    <a:pt x="152" y="832"/>
                    <a:pt x="152" y="832"/>
                    <a:pt x="152" y="832"/>
                  </a:cubicBezTo>
                  <a:cubicBezTo>
                    <a:pt x="160" y="837"/>
                    <a:pt x="173" y="834"/>
                    <a:pt x="178" y="826"/>
                  </a:cubicBezTo>
                  <a:cubicBezTo>
                    <a:pt x="230" y="781"/>
                    <a:pt x="230" y="781"/>
                    <a:pt x="230" y="781"/>
                  </a:cubicBezTo>
                  <a:cubicBezTo>
                    <a:pt x="248" y="770"/>
                    <a:pt x="261" y="767"/>
                    <a:pt x="269" y="772"/>
                  </a:cubicBezTo>
                  <a:cubicBezTo>
                    <a:pt x="269" y="772"/>
                    <a:pt x="269" y="772"/>
                    <a:pt x="269" y="772"/>
                  </a:cubicBezTo>
                  <a:cubicBezTo>
                    <a:pt x="282" y="769"/>
                    <a:pt x="298" y="779"/>
                    <a:pt x="306" y="785"/>
                  </a:cubicBezTo>
                  <a:cubicBezTo>
                    <a:pt x="306" y="785"/>
                    <a:pt x="306" y="785"/>
                    <a:pt x="306" y="785"/>
                  </a:cubicBezTo>
                  <a:cubicBezTo>
                    <a:pt x="319" y="782"/>
                    <a:pt x="327" y="787"/>
                    <a:pt x="332" y="813"/>
                  </a:cubicBezTo>
                  <a:cubicBezTo>
                    <a:pt x="346" y="878"/>
                    <a:pt x="346" y="878"/>
                    <a:pt x="346" y="878"/>
                  </a:cubicBezTo>
                  <a:cubicBezTo>
                    <a:pt x="349" y="892"/>
                    <a:pt x="357" y="897"/>
                    <a:pt x="370" y="894"/>
                  </a:cubicBezTo>
                  <a:cubicBezTo>
                    <a:pt x="425" y="896"/>
                    <a:pt x="425" y="896"/>
                    <a:pt x="425" y="896"/>
                  </a:cubicBezTo>
                  <a:cubicBezTo>
                    <a:pt x="430" y="888"/>
                    <a:pt x="443" y="885"/>
                    <a:pt x="440" y="872"/>
                  </a:cubicBezTo>
                  <a:cubicBezTo>
                    <a:pt x="440" y="804"/>
                    <a:pt x="440" y="804"/>
                    <a:pt x="440" y="804"/>
                  </a:cubicBezTo>
                  <a:cubicBezTo>
                    <a:pt x="442" y="783"/>
                    <a:pt x="460" y="772"/>
                    <a:pt x="466" y="764"/>
                  </a:cubicBezTo>
                  <a:cubicBezTo>
                    <a:pt x="466" y="764"/>
                    <a:pt x="466" y="764"/>
                    <a:pt x="466" y="764"/>
                  </a:cubicBezTo>
                  <a:cubicBezTo>
                    <a:pt x="479" y="761"/>
                    <a:pt x="492" y="758"/>
                    <a:pt x="497" y="750"/>
                  </a:cubicBezTo>
                  <a:cubicBezTo>
                    <a:pt x="497" y="750"/>
                    <a:pt x="497" y="750"/>
                    <a:pt x="497" y="750"/>
                  </a:cubicBezTo>
                  <a:cubicBezTo>
                    <a:pt x="510" y="747"/>
                    <a:pt x="523" y="745"/>
                    <a:pt x="539" y="755"/>
                  </a:cubicBezTo>
                  <a:cubicBezTo>
                    <a:pt x="594" y="791"/>
                    <a:pt x="594" y="791"/>
                    <a:pt x="594" y="791"/>
                  </a:cubicBezTo>
                  <a:cubicBezTo>
                    <a:pt x="602" y="796"/>
                    <a:pt x="623" y="798"/>
                    <a:pt x="628" y="790"/>
                  </a:cubicBezTo>
                  <a:cubicBezTo>
                    <a:pt x="659" y="743"/>
                    <a:pt x="659" y="743"/>
                    <a:pt x="659" y="743"/>
                  </a:cubicBezTo>
                  <a:cubicBezTo>
                    <a:pt x="659" y="743"/>
                    <a:pt x="669" y="727"/>
                    <a:pt x="654" y="716"/>
                  </a:cubicBezTo>
                  <a:close/>
                  <a:moveTo>
                    <a:pt x="281" y="633"/>
                  </a:moveTo>
                  <a:cubicBezTo>
                    <a:pt x="223" y="584"/>
                    <a:pt x="219" y="502"/>
                    <a:pt x="263" y="452"/>
                  </a:cubicBezTo>
                  <a:cubicBezTo>
                    <a:pt x="313" y="393"/>
                    <a:pt x="399" y="382"/>
                    <a:pt x="457" y="431"/>
                  </a:cubicBezTo>
                  <a:cubicBezTo>
                    <a:pt x="507" y="475"/>
                    <a:pt x="518" y="561"/>
                    <a:pt x="469" y="619"/>
                  </a:cubicBezTo>
                  <a:cubicBezTo>
                    <a:pt x="420" y="678"/>
                    <a:pt x="339" y="682"/>
                    <a:pt x="281" y="633"/>
                  </a:cubicBezTo>
                  <a:close/>
                  <a:moveTo>
                    <a:pt x="1019" y="398"/>
                  </a:moveTo>
                  <a:cubicBezTo>
                    <a:pt x="1004" y="362"/>
                    <a:pt x="1004" y="362"/>
                    <a:pt x="1004" y="362"/>
                  </a:cubicBezTo>
                  <a:cubicBezTo>
                    <a:pt x="992" y="348"/>
                    <a:pt x="1002" y="340"/>
                    <a:pt x="1002" y="332"/>
                  </a:cubicBezTo>
                  <a:cubicBezTo>
                    <a:pt x="1002" y="332"/>
                    <a:pt x="1002" y="332"/>
                    <a:pt x="1002" y="332"/>
                  </a:cubicBezTo>
                  <a:cubicBezTo>
                    <a:pt x="1007" y="328"/>
                    <a:pt x="1011" y="324"/>
                    <a:pt x="1012" y="315"/>
                  </a:cubicBezTo>
                  <a:cubicBezTo>
                    <a:pt x="1021" y="307"/>
                    <a:pt x="1026" y="303"/>
                    <a:pt x="1043" y="304"/>
                  </a:cubicBezTo>
                  <a:cubicBezTo>
                    <a:pt x="1086" y="307"/>
                    <a:pt x="1086" y="307"/>
                    <a:pt x="1086" y="307"/>
                  </a:cubicBezTo>
                  <a:cubicBezTo>
                    <a:pt x="1095" y="308"/>
                    <a:pt x="1099" y="304"/>
                    <a:pt x="1100" y="295"/>
                  </a:cubicBezTo>
                  <a:cubicBezTo>
                    <a:pt x="1107" y="266"/>
                    <a:pt x="1107" y="266"/>
                    <a:pt x="1107" y="266"/>
                  </a:cubicBezTo>
                  <a:cubicBezTo>
                    <a:pt x="1107" y="257"/>
                    <a:pt x="1103" y="252"/>
                    <a:pt x="1095" y="243"/>
                  </a:cubicBezTo>
                  <a:cubicBezTo>
                    <a:pt x="1057" y="236"/>
                    <a:pt x="1057" y="236"/>
                    <a:pt x="1057" y="236"/>
                  </a:cubicBezTo>
                  <a:cubicBezTo>
                    <a:pt x="1044" y="231"/>
                    <a:pt x="1036" y="222"/>
                    <a:pt x="1037" y="213"/>
                  </a:cubicBezTo>
                  <a:cubicBezTo>
                    <a:pt x="1038" y="205"/>
                    <a:pt x="1034" y="200"/>
                    <a:pt x="1030" y="187"/>
                  </a:cubicBezTo>
                  <a:cubicBezTo>
                    <a:pt x="1031" y="178"/>
                    <a:pt x="1032" y="170"/>
                    <a:pt x="1041" y="162"/>
                  </a:cubicBezTo>
                  <a:cubicBezTo>
                    <a:pt x="1077" y="138"/>
                    <a:pt x="1077" y="138"/>
                    <a:pt x="1077" y="138"/>
                  </a:cubicBezTo>
                  <a:cubicBezTo>
                    <a:pt x="1082" y="134"/>
                    <a:pt x="1083" y="126"/>
                    <a:pt x="1079" y="121"/>
                  </a:cubicBezTo>
                  <a:cubicBezTo>
                    <a:pt x="1059" y="89"/>
                    <a:pt x="1059" y="89"/>
                    <a:pt x="1059" y="89"/>
                  </a:cubicBezTo>
                  <a:cubicBezTo>
                    <a:pt x="1055" y="85"/>
                    <a:pt x="1047" y="84"/>
                    <a:pt x="1038" y="83"/>
                  </a:cubicBezTo>
                  <a:cubicBezTo>
                    <a:pt x="1002" y="107"/>
                    <a:pt x="1002" y="107"/>
                    <a:pt x="1002" y="107"/>
                  </a:cubicBezTo>
                  <a:cubicBezTo>
                    <a:pt x="989" y="110"/>
                    <a:pt x="980" y="110"/>
                    <a:pt x="976" y="105"/>
                  </a:cubicBezTo>
                  <a:cubicBezTo>
                    <a:pt x="972" y="100"/>
                    <a:pt x="960" y="95"/>
                    <a:pt x="956" y="91"/>
                  </a:cubicBezTo>
                  <a:cubicBezTo>
                    <a:pt x="952" y="86"/>
                    <a:pt x="944" y="77"/>
                    <a:pt x="944" y="68"/>
                  </a:cubicBezTo>
                  <a:cubicBezTo>
                    <a:pt x="948" y="25"/>
                    <a:pt x="948" y="25"/>
                    <a:pt x="948" y="25"/>
                  </a:cubicBezTo>
                  <a:cubicBezTo>
                    <a:pt x="948" y="17"/>
                    <a:pt x="940" y="7"/>
                    <a:pt x="940" y="7"/>
                  </a:cubicBezTo>
                  <a:cubicBezTo>
                    <a:pt x="902" y="0"/>
                    <a:pt x="902" y="0"/>
                    <a:pt x="902" y="0"/>
                  </a:cubicBezTo>
                  <a:cubicBezTo>
                    <a:pt x="902" y="0"/>
                    <a:pt x="889" y="4"/>
                    <a:pt x="888" y="12"/>
                  </a:cubicBezTo>
                  <a:cubicBezTo>
                    <a:pt x="872" y="50"/>
                    <a:pt x="872" y="50"/>
                    <a:pt x="872" y="50"/>
                  </a:cubicBezTo>
                  <a:cubicBezTo>
                    <a:pt x="871" y="67"/>
                    <a:pt x="862" y="67"/>
                    <a:pt x="858" y="71"/>
                  </a:cubicBezTo>
                  <a:cubicBezTo>
                    <a:pt x="858" y="71"/>
                    <a:pt x="858" y="71"/>
                    <a:pt x="853" y="75"/>
                  </a:cubicBezTo>
                  <a:cubicBezTo>
                    <a:pt x="849" y="70"/>
                    <a:pt x="840" y="70"/>
                    <a:pt x="836" y="74"/>
                  </a:cubicBezTo>
                  <a:cubicBezTo>
                    <a:pt x="831" y="78"/>
                    <a:pt x="831" y="78"/>
                    <a:pt x="831" y="78"/>
                  </a:cubicBezTo>
                  <a:cubicBezTo>
                    <a:pt x="822" y="77"/>
                    <a:pt x="814" y="76"/>
                    <a:pt x="806" y="67"/>
                  </a:cubicBezTo>
                  <a:cubicBezTo>
                    <a:pt x="778" y="35"/>
                    <a:pt x="778" y="35"/>
                    <a:pt x="778" y="35"/>
                  </a:cubicBezTo>
                  <a:cubicBezTo>
                    <a:pt x="774" y="30"/>
                    <a:pt x="762" y="25"/>
                    <a:pt x="757" y="29"/>
                  </a:cubicBezTo>
                  <a:cubicBezTo>
                    <a:pt x="734" y="49"/>
                    <a:pt x="734" y="49"/>
                    <a:pt x="734" y="49"/>
                  </a:cubicBezTo>
                  <a:cubicBezTo>
                    <a:pt x="725" y="49"/>
                    <a:pt x="725" y="57"/>
                    <a:pt x="728" y="70"/>
                  </a:cubicBezTo>
                  <a:cubicBezTo>
                    <a:pt x="747" y="102"/>
                    <a:pt x="747" y="102"/>
                    <a:pt x="747" y="102"/>
                  </a:cubicBezTo>
                  <a:cubicBezTo>
                    <a:pt x="754" y="120"/>
                    <a:pt x="750" y="124"/>
                    <a:pt x="744" y="136"/>
                  </a:cubicBezTo>
                  <a:cubicBezTo>
                    <a:pt x="744" y="136"/>
                    <a:pt x="744" y="136"/>
                    <a:pt x="744" y="136"/>
                  </a:cubicBezTo>
                  <a:cubicBezTo>
                    <a:pt x="740" y="140"/>
                    <a:pt x="735" y="144"/>
                    <a:pt x="731" y="148"/>
                  </a:cubicBezTo>
                  <a:cubicBezTo>
                    <a:pt x="731" y="148"/>
                    <a:pt x="731" y="148"/>
                    <a:pt x="731" y="148"/>
                  </a:cubicBezTo>
                  <a:cubicBezTo>
                    <a:pt x="730" y="157"/>
                    <a:pt x="721" y="165"/>
                    <a:pt x="703" y="164"/>
                  </a:cubicBezTo>
                  <a:cubicBezTo>
                    <a:pt x="665" y="157"/>
                    <a:pt x="665" y="157"/>
                    <a:pt x="665" y="157"/>
                  </a:cubicBezTo>
                  <a:cubicBezTo>
                    <a:pt x="656" y="156"/>
                    <a:pt x="647" y="164"/>
                    <a:pt x="647" y="173"/>
                  </a:cubicBezTo>
                  <a:cubicBezTo>
                    <a:pt x="640" y="203"/>
                    <a:pt x="640" y="203"/>
                    <a:pt x="640" y="203"/>
                  </a:cubicBezTo>
                  <a:cubicBezTo>
                    <a:pt x="639" y="211"/>
                    <a:pt x="643" y="216"/>
                    <a:pt x="656" y="221"/>
                  </a:cubicBezTo>
                  <a:cubicBezTo>
                    <a:pt x="690" y="232"/>
                    <a:pt x="690" y="232"/>
                    <a:pt x="690" y="232"/>
                  </a:cubicBezTo>
                  <a:cubicBezTo>
                    <a:pt x="702" y="237"/>
                    <a:pt x="710" y="246"/>
                    <a:pt x="710" y="255"/>
                  </a:cubicBezTo>
                  <a:cubicBezTo>
                    <a:pt x="710" y="255"/>
                    <a:pt x="710" y="255"/>
                    <a:pt x="710" y="255"/>
                  </a:cubicBezTo>
                  <a:cubicBezTo>
                    <a:pt x="714" y="260"/>
                    <a:pt x="713" y="268"/>
                    <a:pt x="717" y="273"/>
                  </a:cubicBezTo>
                  <a:cubicBezTo>
                    <a:pt x="712" y="277"/>
                    <a:pt x="712" y="277"/>
                    <a:pt x="712" y="277"/>
                  </a:cubicBezTo>
                  <a:cubicBezTo>
                    <a:pt x="716" y="281"/>
                    <a:pt x="716" y="290"/>
                    <a:pt x="702" y="302"/>
                  </a:cubicBezTo>
                  <a:cubicBezTo>
                    <a:pt x="674" y="326"/>
                    <a:pt x="674" y="326"/>
                    <a:pt x="674" y="326"/>
                  </a:cubicBezTo>
                  <a:cubicBezTo>
                    <a:pt x="665" y="334"/>
                    <a:pt x="664" y="343"/>
                    <a:pt x="668" y="347"/>
                  </a:cubicBezTo>
                  <a:cubicBezTo>
                    <a:pt x="687" y="379"/>
                    <a:pt x="687" y="379"/>
                    <a:pt x="687" y="379"/>
                  </a:cubicBezTo>
                  <a:cubicBezTo>
                    <a:pt x="691" y="383"/>
                    <a:pt x="700" y="384"/>
                    <a:pt x="704" y="380"/>
                  </a:cubicBezTo>
                  <a:cubicBezTo>
                    <a:pt x="745" y="361"/>
                    <a:pt x="745" y="361"/>
                    <a:pt x="745" y="361"/>
                  </a:cubicBezTo>
                  <a:cubicBezTo>
                    <a:pt x="758" y="358"/>
                    <a:pt x="767" y="358"/>
                    <a:pt x="771" y="363"/>
                  </a:cubicBezTo>
                  <a:cubicBezTo>
                    <a:pt x="771" y="363"/>
                    <a:pt x="771" y="363"/>
                    <a:pt x="771" y="363"/>
                  </a:cubicBezTo>
                  <a:cubicBezTo>
                    <a:pt x="779" y="364"/>
                    <a:pt x="787" y="373"/>
                    <a:pt x="791" y="377"/>
                  </a:cubicBezTo>
                  <a:cubicBezTo>
                    <a:pt x="791" y="377"/>
                    <a:pt x="791" y="377"/>
                    <a:pt x="791" y="377"/>
                  </a:cubicBezTo>
                  <a:cubicBezTo>
                    <a:pt x="800" y="378"/>
                    <a:pt x="804" y="383"/>
                    <a:pt x="802" y="400"/>
                  </a:cubicBezTo>
                  <a:cubicBezTo>
                    <a:pt x="799" y="443"/>
                    <a:pt x="799" y="443"/>
                    <a:pt x="799" y="443"/>
                  </a:cubicBezTo>
                  <a:cubicBezTo>
                    <a:pt x="798" y="451"/>
                    <a:pt x="802" y="456"/>
                    <a:pt x="811" y="457"/>
                  </a:cubicBezTo>
                  <a:cubicBezTo>
                    <a:pt x="845" y="468"/>
                    <a:pt x="845" y="468"/>
                    <a:pt x="845" y="468"/>
                  </a:cubicBezTo>
                  <a:cubicBezTo>
                    <a:pt x="849" y="464"/>
                    <a:pt x="858" y="464"/>
                    <a:pt x="859" y="456"/>
                  </a:cubicBezTo>
                  <a:cubicBezTo>
                    <a:pt x="871" y="413"/>
                    <a:pt x="871" y="413"/>
                    <a:pt x="871" y="413"/>
                  </a:cubicBezTo>
                  <a:cubicBezTo>
                    <a:pt x="876" y="401"/>
                    <a:pt x="889" y="397"/>
                    <a:pt x="894" y="393"/>
                  </a:cubicBezTo>
                  <a:cubicBezTo>
                    <a:pt x="894" y="393"/>
                    <a:pt x="894" y="393"/>
                    <a:pt x="894" y="393"/>
                  </a:cubicBezTo>
                  <a:cubicBezTo>
                    <a:pt x="902" y="394"/>
                    <a:pt x="911" y="395"/>
                    <a:pt x="916" y="391"/>
                  </a:cubicBezTo>
                  <a:cubicBezTo>
                    <a:pt x="916" y="391"/>
                    <a:pt x="916" y="391"/>
                    <a:pt x="916" y="391"/>
                  </a:cubicBezTo>
                  <a:cubicBezTo>
                    <a:pt x="924" y="391"/>
                    <a:pt x="933" y="392"/>
                    <a:pt x="941" y="401"/>
                  </a:cubicBezTo>
                  <a:cubicBezTo>
                    <a:pt x="969" y="433"/>
                    <a:pt x="969" y="433"/>
                    <a:pt x="969" y="433"/>
                  </a:cubicBezTo>
                  <a:cubicBezTo>
                    <a:pt x="973" y="438"/>
                    <a:pt x="985" y="443"/>
                    <a:pt x="990" y="439"/>
                  </a:cubicBezTo>
                  <a:cubicBezTo>
                    <a:pt x="1018" y="415"/>
                    <a:pt x="1018" y="415"/>
                    <a:pt x="1018" y="415"/>
                  </a:cubicBezTo>
                  <a:cubicBezTo>
                    <a:pt x="1018" y="415"/>
                    <a:pt x="1027" y="407"/>
                    <a:pt x="1019" y="398"/>
                  </a:cubicBezTo>
                  <a:close/>
                  <a:moveTo>
                    <a:pt x="803" y="279"/>
                  </a:moveTo>
                  <a:cubicBezTo>
                    <a:pt x="776" y="238"/>
                    <a:pt x="788" y="187"/>
                    <a:pt x="825" y="164"/>
                  </a:cubicBezTo>
                  <a:cubicBezTo>
                    <a:pt x="866" y="136"/>
                    <a:pt x="921" y="144"/>
                    <a:pt x="948" y="185"/>
                  </a:cubicBezTo>
                  <a:cubicBezTo>
                    <a:pt x="972" y="221"/>
                    <a:pt x="963" y="277"/>
                    <a:pt x="922" y="304"/>
                  </a:cubicBezTo>
                  <a:cubicBezTo>
                    <a:pt x="881" y="332"/>
                    <a:pt x="830" y="320"/>
                    <a:pt x="803" y="279"/>
                  </a:cubicBezTo>
                  <a:close/>
                </a:path>
              </a:pathLst>
            </a:custGeom>
            <a:solidFill>
              <a:schemeClr val="tx1"/>
            </a:solidFill>
            <a:ln>
              <a:noFill/>
            </a:ln>
          </p:spPr>
          <p:txBody>
            <a:bodyPr vert="horz" wrap="square" lIns="68574" tIns="34287" rIns="68574" bIns="34287"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17346"/>
                </a:solidFill>
                <a:effectLst/>
                <a:uLnTx/>
                <a:uFillTx/>
                <a:latin typeface="Segoe UI"/>
                <a:ea typeface="+mn-ea"/>
                <a:cs typeface="+mn-cs"/>
              </a:endParaRPr>
            </a:p>
          </p:txBody>
        </p:sp>
        <p:sp>
          <p:nvSpPr>
            <p:cNvPr id="88" name="Freeform 87"/>
            <p:cNvSpPr>
              <a:spLocks noChangeAspect="1"/>
            </p:cNvSpPr>
            <p:nvPr/>
          </p:nvSpPr>
          <p:spPr bwMode="black">
            <a:xfrm>
              <a:off x="776985" y="4213905"/>
              <a:ext cx="342871" cy="335728"/>
            </a:xfrm>
            <a:custGeom>
              <a:avLst/>
              <a:gdLst>
                <a:gd name="connsiteX0" fmla="*/ 3713863 w 4893730"/>
                <a:gd name="connsiteY0" fmla="*/ 2130808 h 4791777"/>
                <a:gd name="connsiteX1" fmla="*/ 4426142 w 4893730"/>
                <a:gd name="connsiteY1" fmla="*/ 2130808 h 4791777"/>
                <a:gd name="connsiteX2" fmla="*/ 4598071 w 4893730"/>
                <a:gd name="connsiteY2" fmla="*/ 2301547 h 4791777"/>
                <a:gd name="connsiteX3" fmla="*/ 4598071 w 4893730"/>
                <a:gd name="connsiteY3" fmla="*/ 3886978 h 4791777"/>
                <a:gd name="connsiteX4" fmla="*/ 4426142 w 4893730"/>
                <a:gd name="connsiteY4" fmla="*/ 4057717 h 4791777"/>
                <a:gd name="connsiteX5" fmla="*/ 3713863 w 4893730"/>
                <a:gd name="connsiteY5" fmla="*/ 4057717 h 4791777"/>
                <a:gd name="connsiteX6" fmla="*/ 3517372 w 4893730"/>
                <a:gd name="connsiteY6" fmla="*/ 3886978 h 4791777"/>
                <a:gd name="connsiteX7" fmla="*/ 3517372 w 4893730"/>
                <a:gd name="connsiteY7" fmla="*/ 2301547 h 4791777"/>
                <a:gd name="connsiteX8" fmla="*/ 3713863 w 4893730"/>
                <a:gd name="connsiteY8" fmla="*/ 2130808 h 4791777"/>
                <a:gd name="connsiteX9" fmla="*/ 904368 w 4893730"/>
                <a:gd name="connsiteY9" fmla="*/ 1223432 h 4791777"/>
                <a:gd name="connsiteX10" fmla="*/ 1609930 w 4893730"/>
                <a:gd name="connsiteY10" fmla="*/ 1223432 h 4791777"/>
                <a:gd name="connsiteX11" fmla="*/ 1804567 w 4893730"/>
                <a:gd name="connsiteY11" fmla="*/ 1394467 h 4791777"/>
                <a:gd name="connsiteX12" fmla="*/ 1804567 w 4893730"/>
                <a:gd name="connsiteY12" fmla="*/ 3886683 h 4791777"/>
                <a:gd name="connsiteX13" fmla="*/ 1609930 w 4893730"/>
                <a:gd name="connsiteY13" fmla="*/ 4057717 h 4791777"/>
                <a:gd name="connsiteX14" fmla="*/ 904368 w 4893730"/>
                <a:gd name="connsiteY14" fmla="*/ 4057717 h 4791777"/>
                <a:gd name="connsiteX15" fmla="*/ 734060 w 4893730"/>
                <a:gd name="connsiteY15" fmla="*/ 3886683 h 4791777"/>
                <a:gd name="connsiteX16" fmla="*/ 734060 w 4893730"/>
                <a:gd name="connsiteY16" fmla="*/ 1394467 h 4791777"/>
                <a:gd name="connsiteX17" fmla="*/ 904368 w 4893730"/>
                <a:gd name="connsiteY17" fmla="*/ 1223432 h 4791777"/>
                <a:gd name="connsiteX18" fmla="*/ 2325453 w 4893730"/>
                <a:gd name="connsiteY18" fmla="*/ 316050 h 4791777"/>
                <a:gd name="connsiteX19" fmla="*/ 3031014 w 4893730"/>
                <a:gd name="connsiteY19" fmla="*/ 316050 h 4791777"/>
                <a:gd name="connsiteX20" fmla="*/ 3201322 w 4893730"/>
                <a:gd name="connsiteY20" fmla="*/ 487238 h 4791777"/>
                <a:gd name="connsiteX21" fmla="*/ 3201322 w 4893730"/>
                <a:gd name="connsiteY21" fmla="*/ 3886530 h 4791777"/>
                <a:gd name="connsiteX22" fmla="*/ 3031014 w 4893730"/>
                <a:gd name="connsiteY22" fmla="*/ 4057717 h 4791777"/>
                <a:gd name="connsiteX23" fmla="*/ 2325453 w 4893730"/>
                <a:gd name="connsiteY23" fmla="*/ 4057717 h 4791777"/>
                <a:gd name="connsiteX24" fmla="*/ 2130815 w 4893730"/>
                <a:gd name="connsiteY24" fmla="*/ 3886530 h 4791777"/>
                <a:gd name="connsiteX25" fmla="*/ 2130815 w 4893730"/>
                <a:gd name="connsiteY25" fmla="*/ 487238 h 4791777"/>
                <a:gd name="connsiteX26" fmla="*/ 2325453 w 4893730"/>
                <a:gd name="connsiteY26" fmla="*/ 316050 h 4791777"/>
                <a:gd name="connsiteX27" fmla="*/ 269155 w 4893730"/>
                <a:gd name="connsiteY27" fmla="*/ 0 h 4791777"/>
                <a:gd name="connsiteX28" fmla="*/ 538311 w 4893730"/>
                <a:gd name="connsiteY28" fmla="*/ 268927 h 4791777"/>
                <a:gd name="connsiteX29" fmla="*/ 538311 w 4893730"/>
                <a:gd name="connsiteY29" fmla="*/ 4253925 h 4791777"/>
                <a:gd name="connsiteX30" fmla="*/ 4624575 w 4893730"/>
                <a:gd name="connsiteY30" fmla="*/ 4253925 h 4791777"/>
                <a:gd name="connsiteX31" fmla="*/ 4893730 w 4893730"/>
                <a:gd name="connsiteY31" fmla="*/ 4522851 h 4791777"/>
                <a:gd name="connsiteX32" fmla="*/ 4624575 w 4893730"/>
                <a:gd name="connsiteY32" fmla="*/ 4791777 h 4791777"/>
                <a:gd name="connsiteX33" fmla="*/ 269155 w 4893730"/>
                <a:gd name="connsiteY33" fmla="*/ 4791777 h 4791777"/>
                <a:gd name="connsiteX34" fmla="*/ 0 w 4893730"/>
                <a:gd name="connsiteY34" fmla="*/ 4522851 h 4791777"/>
                <a:gd name="connsiteX35" fmla="*/ 0 w 4893730"/>
                <a:gd name="connsiteY35" fmla="*/ 268927 h 4791777"/>
                <a:gd name="connsiteX36" fmla="*/ 269155 w 4893730"/>
                <a:gd name="connsiteY36" fmla="*/ 0 h 4791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4893730" h="4791777">
                  <a:moveTo>
                    <a:pt x="3713863" y="2130808"/>
                  </a:moveTo>
                  <a:cubicBezTo>
                    <a:pt x="3713863" y="2130808"/>
                    <a:pt x="3713863" y="2130808"/>
                    <a:pt x="4426142" y="2130808"/>
                  </a:cubicBezTo>
                  <a:cubicBezTo>
                    <a:pt x="4524387" y="2130808"/>
                    <a:pt x="4598071" y="2203982"/>
                    <a:pt x="4598071" y="2301547"/>
                  </a:cubicBezTo>
                  <a:cubicBezTo>
                    <a:pt x="4598071" y="2301547"/>
                    <a:pt x="4598071" y="2301547"/>
                    <a:pt x="4598071" y="3886978"/>
                  </a:cubicBezTo>
                  <a:cubicBezTo>
                    <a:pt x="4598071" y="3984543"/>
                    <a:pt x="4524387" y="4057717"/>
                    <a:pt x="4426142" y="4057717"/>
                  </a:cubicBezTo>
                  <a:cubicBezTo>
                    <a:pt x="4426142" y="4057717"/>
                    <a:pt x="4426142" y="4057717"/>
                    <a:pt x="3713863" y="4057717"/>
                  </a:cubicBezTo>
                  <a:cubicBezTo>
                    <a:pt x="3615618" y="4057717"/>
                    <a:pt x="3517372" y="3984543"/>
                    <a:pt x="3517372" y="3886978"/>
                  </a:cubicBezTo>
                  <a:cubicBezTo>
                    <a:pt x="3517372" y="3886978"/>
                    <a:pt x="3517372" y="3886978"/>
                    <a:pt x="3517372" y="2301547"/>
                  </a:cubicBezTo>
                  <a:cubicBezTo>
                    <a:pt x="3517372" y="2203982"/>
                    <a:pt x="3615618" y="2130808"/>
                    <a:pt x="3713863" y="2130808"/>
                  </a:cubicBezTo>
                  <a:close/>
                  <a:moveTo>
                    <a:pt x="904368" y="1223432"/>
                  </a:moveTo>
                  <a:cubicBezTo>
                    <a:pt x="904368" y="1223432"/>
                    <a:pt x="904368" y="1223432"/>
                    <a:pt x="1609930" y="1223432"/>
                  </a:cubicBezTo>
                  <a:cubicBezTo>
                    <a:pt x="1731578" y="1223432"/>
                    <a:pt x="1804567" y="1296733"/>
                    <a:pt x="1804567" y="1394467"/>
                  </a:cubicBezTo>
                  <a:cubicBezTo>
                    <a:pt x="1804567" y="1394467"/>
                    <a:pt x="1804567" y="1394467"/>
                    <a:pt x="1804567" y="3886683"/>
                  </a:cubicBezTo>
                  <a:cubicBezTo>
                    <a:pt x="1804567" y="3984417"/>
                    <a:pt x="1731578" y="4057717"/>
                    <a:pt x="1609930" y="4057717"/>
                  </a:cubicBezTo>
                  <a:cubicBezTo>
                    <a:pt x="1609930" y="4057717"/>
                    <a:pt x="1609930" y="4057717"/>
                    <a:pt x="904368" y="4057717"/>
                  </a:cubicBezTo>
                  <a:cubicBezTo>
                    <a:pt x="807049" y="4057717"/>
                    <a:pt x="734060" y="3984417"/>
                    <a:pt x="734060" y="3886683"/>
                  </a:cubicBezTo>
                  <a:cubicBezTo>
                    <a:pt x="734060" y="3886683"/>
                    <a:pt x="734060" y="3886683"/>
                    <a:pt x="734060" y="1394467"/>
                  </a:cubicBezTo>
                  <a:cubicBezTo>
                    <a:pt x="734060" y="1296733"/>
                    <a:pt x="807049" y="1223432"/>
                    <a:pt x="904368" y="1223432"/>
                  </a:cubicBezTo>
                  <a:close/>
                  <a:moveTo>
                    <a:pt x="2325453" y="316050"/>
                  </a:moveTo>
                  <a:cubicBezTo>
                    <a:pt x="2325453" y="316050"/>
                    <a:pt x="2325453" y="316050"/>
                    <a:pt x="3031014" y="316050"/>
                  </a:cubicBezTo>
                  <a:cubicBezTo>
                    <a:pt x="3128333" y="316050"/>
                    <a:pt x="3201322" y="389416"/>
                    <a:pt x="3201322" y="487238"/>
                  </a:cubicBezTo>
                  <a:cubicBezTo>
                    <a:pt x="3201322" y="487238"/>
                    <a:pt x="3201322" y="487238"/>
                    <a:pt x="3201322" y="3886530"/>
                  </a:cubicBezTo>
                  <a:cubicBezTo>
                    <a:pt x="3201322" y="3984351"/>
                    <a:pt x="3128333" y="4057717"/>
                    <a:pt x="3031014" y="4057717"/>
                  </a:cubicBezTo>
                  <a:cubicBezTo>
                    <a:pt x="3031014" y="4057717"/>
                    <a:pt x="3031014" y="4057717"/>
                    <a:pt x="2325453" y="4057717"/>
                  </a:cubicBezTo>
                  <a:cubicBezTo>
                    <a:pt x="2203804" y="4057717"/>
                    <a:pt x="2130815" y="3984351"/>
                    <a:pt x="2130815" y="3886530"/>
                  </a:cubicBezTo>
                  <a:cubicBezTo>
                    <a:pt x="2130815" y="3886530"/>
                    <a:pt x="2130815" y="3886530"/>
                    <a:pt x="2130815" y="487238"/>
                  </a:cubicBezTo>
                  <a:cubicBezTo>
                    <a:pt x="2130815" y="389416"/>
                    <a:pt x="2203804" y="316050"/>
                    <a:pt x="2325453" y="316050"/>
                  </a:cubicBezTo>
                  <a:close/>
                  <a:moveTo>
                    <a:pt x="269155" y="0"/>
                  </a:moveTo>
                  <a:cubicBezTo>
                    <a:pt x="415967" y="0"/>
                    <a:pt x="538311" y="122239"/>
                    <a:pt x="538311" y="268927"/>
                  </a:cubicBezTo>
                  <a:cubicBezTo>
                    <a:pt x="538311" y="268927"/>
                    <a:pt x="538311" y="268927"/>
                    <a:pt x="538311" y="4253925"/>
                  </a:cubicBezTo>
                  <a:cubicBezTo>
                    <a:pt x="538311" y="4253925"/>
                    <a:pt x="538311" y="4253925"/>
                    <a:pt x="4624575" y="4253925"/>
                  </a:cubicBezTo>
                  <a:cubicBezTo>
                    <a:pt x="4771387" y="4253925"/>
                    <a:pt x="4893730" y="4376164"/>
                    <a:pt x="4893730" y="4522851"/>
                  </a:cubicBezTo>
                  <a:cubicBezTo>
                    <a:pt x="4893730" y="4669538"/>
                    <a:pt x="4771387" y="4791777"/>
                    <a:pt x="4624575" y="4791777"/>
                  </a:cubicBezTo>
                  <a:cubicBezTo>
                    <a:pt x="4624575" y="4791777"/>
                    <a:pt x="4624575" y="4791777"/>
                    <a:pt x="269155" y="4791777"/>
                  </a:cubicBezTo>
                  <a:cubicBezTo>
                    <a:pt x="122344" y="4791777"/>
                    <a:pt x="0" y="4669538"/>
                    <a:pt x="0" y="4522851"/>
                  </a:cubicBezTo>
                  <a:cubicBezTo>
                    <a:pt x="0" y="4522851"/>
                    <a:pt x="0" y="4522851"/>
                    <a:pt x="0" y="268927"/>
                  </a:cubicBezTo>
                  <a:cubicBezTo>
                    <a:pt x="0" y="122239"/>
                    <a:pt x="122344" y="0"/>
                    <a:pt x="269155"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37148" tIns="109719" rIns="137148" bIns="109719"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699261"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9" name="Rectangle 88"/>
            <p:cNvSpPr/>
            <p:nvPr/>
          </p:nvSpPr>
          <p:spPr bwMode="auto">
            <a:xfrm rot="2745734">
              <a:off x="279530" y="1141266"/>
              <a:ext cx="1260714" cy="1255193"/>
            </a:xfrm>
            <a:prstGeom prst="rect">
              <a:avLst/>
            </a:prstGeom>
            <a:solidFill>
              <a:schemeClr val="tx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0" name="Rectangle 89"/>
            <p:cNvSpPr/>
            <p:nvPr/>
          </p:nvSpPr>
          <p:spPr bwMode="auto">
            <a:xfrm rot="2745734">
              <a:off x="292433" y="3819160"/>
              <a:ext cx="1610349" cy="1235003"/>
            </a:xfrm>
            <a:prstGeom prst="rect">
              <a:avLst/>
            </a:prstGeom>
            <a:solidFill>
              <a:schemeClr val="tx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2" name="Rectangle 91"/>
            <p:cNvSpPr/>
            <p:nvPr/>
          </p:nvSpPr>
          <p:spPr bwMode="auto">
            <a:xfrm rot="2745734">
              <a:off x="1315610" y="4915701"/>
              <a:ext cx="1263370" cy="1255989"/>
            </a:xfrm>
            <a:prstGeom prst="rect">
              <a:avLst/>
            </a:prstGeom>
            <a:solidFill>
              <a:schemeClr val="tx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40" name="TextBox 39"/>
          <p:cNvSpPr txBox="1"/>
          <p:nvPr/>
        </p:nvSpPr>
        <p:spPr>
          <a:xfrm>
            <a:off x="3" y="51415"/>
            <a:ext cx="2849058" cy="430887"/>
          </a:xfrm>
          <a:prstGeom prst="rect">
            <a:avLst/>
          </a:prstGeom>
        </p:spPr>
        <p:txBody>
          <a:bodyPr wrap="square">
            <a:spAutoFit/>
          </a:bodyPr>
          <a:lstStyle>
            <a:defPPr>
              <a:defRPr lang="en-US"/>
            </a:defPPr>
            <a:lvl1pPr defTabSz="914192">
              <a:defRPr sz="2800" b="1" spc="-100">
                <a:ln w="3175">
                  <a:noFill/>
                </a:ln>
                <a:solidFill>
                  <a:srgbClr val="F2C812"/>
                </a:solidFill>
                <a:latin typeface="Segoe UI" panose="020B0502040204020203" pitchFamily="34" charset="0"/>
                <a:ea typeface="ＭＳ Ｐゴシック" charset="0"/>
                <a:cs typeface="Segoe UI" panose="020B0502040204020203" pitchFamily="34" charset="0"/>
              </a:defRPr>
            </a:lvl1pPr>
          </a:lstStyle>
          <a:p>
            <a:pPr marL="0" marR="0" lvl="0" indent="0" algn="l" defTabSz="914192" rtl="0" eaLnBrk="1" fontAlgn="auto" latinLnBrk="0" hangingPunct="1">
              <a:lnSpc>
                <a:spcPct val="100000"/>
              </a:lnSpc>
              <a:spcBef>
                <a:spcPts val="0"/>
              </a:spcBef>
              <a:spcAft>
                <a:spcPts val="0"/>
              </a:spcAft>
              <a:buClrTx/>
              <a:buSzTx/>
              <a:buFontTx/>
              <a:buNone/>
              <a:tabLst/>
              <a:defRPr/>
            </a:pPr>
            <a:r>
              <a:rPr kumimoji="0" lang="en-US" sz="2200" b="1" i="0" u="none" strike="noStrike" kern="1200" cap="none" spc="-100" normalizeH="0" baseline="0" noProof="0">
                <a:ln w="3175">
                  <a:noFill/>
                </a:ln>
                <a:solidFill>
                  <a:srgbClr val="F2C812"/>
                </a:solidFill>
                <a:effectLst/>
                <a:uLnTx/>
                <a:uFillTx/>
                <a:latin typeface="Segoe UI Light"/>
                <a:ea typeface="ＭＳ Ｐゴシック" charset="0"/>
                <a:cs typeface="Segoe UI" panose="020B0502040204020203" pitchFamily="34" charset="0"/>
              </a:rPr>
              <a:t>Power BI Desktop</a:t>
            </a:r>
          </a:p>
        </p:txBody>
      </p:sp>
      <p:sp>
        <p:nvSpPr>
          <p:cNvPr id="41" name="Rectangle 40"/>
          <p:cNvSpPr/>
          <p:nvPr/>
        </p:nvSpPr>
        <p:spPr bwMode="auto">
          <a:xfrm rot="2745734">
            <a:off x="825067" y="3494250"/>
            <a:ext cx="1260714" cy="370170"/>
          </a:xfrm>
          <a:prstGeom prst="rect">
            <a:avLst/>
          </a:prstGeom>
          <a:solidFill>
            <a:schemeClr val="tx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2" name="Text Placeholder 2"/>
          <p:cNvSpPr txBox="1">
            <a:spLocks/>
          </p:cNvSpPr>
          <p:nvPr/>
        </p:nvSpPr>
        <p:spPr>
          <a:xfrm>
            <a:off x="3035937" y="1840268"/>
            <a:ext cx="9090381" cy="897374"/>
          </a:xfrm>
          <a:prstGeom prst="rect">
            <a:avLst/>
          </a:prstGeom>
        </p:spPr>
        <p:txBody>
          <a:bodyPr vert="horz" wrap="square" lIns="182880" tIns="146304" rIns="182880" bIns="146304" rtlCol="0">
            <a:noAutofit/>
          </a:bodyPr>
          <a:lstStyle>
            <a:lvl1pPr marL="182845" marR="0"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3921" kern="1200" spc="0" baseline="0">
                <a:gradFill>
                  <a:gsLst>
                    <a:gs pos="1250">
                      <a:schemeClr val="tx2"/>
                    </a:gs>
                    <a:gs pos="99000">
                      <a:schemeClr val="tx2"/>
                    </a:gs>
                  </a:gsLst>
                  <a:lin ang="5400000" scaled="0"/>
                </a:gradFill>
                <a:latin typeface="+mj-lt"/>
                <a:ea typeface="+mn-ea"/>
                <a:cs typeface="+mn-cs"/>
              </a:defRPr>
            </a:lvl1pPr>
            <a:lvl2pPr marL="365690" marR="0"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2400" kern="1200" spc="0" baseline="0">
                <a:solidFill>
                  <a:schemeClr val="tx2"/>
                </a:solidFill>
                <a:latin typeface="+mj-lt"/>
                <a:ea typeface="+mn-ea"/>
                <a:cs typeface="+mn-cs"/>
              </a:defRPr>
            </a:lvl2pPr>
            <a:lvl3pPr marL="548535" marR="0"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2000" kern="1200" spc="0" baseline="0">
                <a:solidFill>
                  <a:schemeClr val="tx2"/>
                </a:solidFill>
                <a:latin typeface="+mj-lt"/>
                <a:ea typeface="+mn-ea"/>
                <a:cs typeface="+mn-cs"/>
              </a:defRPr>
            </a:lvl3pPr>
            <a:lvl4pPr marL="733802" marR="0" indent="-28569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1765" kern="1200" spc="0" baseline="0">
                <a:solidFill>
                  <a:schemeClr val="tx2"/>
                </a:solidFill>
                <a:latin typeface="+mn-lt"/>
                <a:ea typeface="+mn-ea"/>
                <a:cs typeface="+mn-cs"/>
              </a:defRPr>
            </a:lvl4pPr>
            <a:lvl5pPr marL="957856" marR="0" indent="-28569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1765" kern="1200" spc="0" baseline="0">
                <a:solidFill>
                  <a:schemeClr val="tx2"/>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r>
              <a:rPr kumimoji="0" lang="pt-PT" sz="2000" b="1" i="0" u="none" strike="noStrike" kern="1200" cap="none" spc="0" normalizeH="0" baseline="0" noProof="0">
                <a:ln>
                  <a:noFill/>
                </a:ln>
                <a:solidFill>
                  <a:prstClr val="black"/>
                </a:solidFill>
                <a:effectLst/>
                <a:uLnTx/>
                <a:uFillTx/>
                <a:latin typeface="Segoe UI Light"/>
                <a:ea typeface="Calibri" panose="020F0502020204030204" pitchFamily="34" charset="0"/>
                <a:cs typeface="Times New Roman" panose="02020603050405020304" pitchFamily="18" charset="0"/>
              </a:rPr>
              <a:t>Several visualizations exist</a:t>
            </a:r>
            <a:r>
              <a:rPr kumimoji="0" lang="pt-PT" sz="2000" b="0" i="0" u="none" strike="noStrike" kern="1200" cap="none" spc="0" normalizeH="0" baseline="0" noProof="0">
                <a:ln>
                  <a:noFill/>
                </a:ln>
                <a:solidFill>
                  <a:prstClr val="black"/>
                </a:solidFill>
                <a:effectLst/>
                <a:uLnTx/>
                <a:uFillTx/>
                <a:latin typeface="Segoe UI Light"/>
                <a:ea typeface="Calibri" panose="020F0502020204030204" pitchFamily="34" charset="0"/>
                <a:cs typeface="Times New Roman" panose="02020603050405020304" pitchFamily="18" charset="0"/>
              </a:rPr>
              <a:t> out-of-the box and developed by 3</a:t>
            </a:r>
            <a:r>
              <a:rPr kumimoji="0" lang="pt-PT" sz="2000" b="0" i="0" u="none" strike="noStrike" kern="1200" cap="none" spc="0" normalizeH="0" baseline="30000" noProof="0">
                <a:ln>
                  <a:noFill/>
                </a:ln>
                <a:solidFill>
                  <a:prstClr val="black"/>
                </a:solidFill>
                <a:effectLst/>
                <a:uLnTx/>
                <a:uFillTx/>
                <a:latin typeface="Segoe UI Light"/>
                <a:ea typeface="Calibri" panose="020F0502020204030204" pitchFamily="34" charset="0"/>
                <a:cs typeface="Times New Roman" panose="02020603050405020304" pitchFamily="18" charset="0"/>
              </a:rPr>
              <a:t>rd</a:t>
            </a:r>
            <a:r>
              <a:rPr kumimoji="0" lang="pt-PT" sz="2000" b="0" i="0" u="none" strike="noStrike" kern="1200" cap="none" spc="0" normalizeH="0" baseline="0" noProof="0">
                <a:ln>
                  <a:noFill/>
                </a:ln>
                <a:solidFill>
                  <a:prstClr val="black"/>
                </a:solidFill>
                <a:effectLst/>
                <a:uLnTx/>
                <a:uFillTx/>
                <a:latin typeface="Segoe UI Light"/>
                <a:ea typeface="Calibri" panose="020F0502020204030204" pitchFamily="34" charset="0"/>
                <a:cs typeface="Times New Roman" panose="02020603050405020304" pitchFamily="18" charset="0"/>
              </a:rPr>
              <a:t> party</a:t>
            </a: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pt-PT" sz="2000" b="0" i="0" u="none" strike="noStrike" kern="1200" cap="none" spc="0" normalizeH="0" baseline="0" noProof="0">
              <a:ln>
                <a:noFill/>
              </a:ln>
              <a:solidFill>
                <a:prstClr val="black"/>
              </a:solidFill>
              <a:effectLst/>
              <a:uLnTx/>
              <a:uFillTx/>
              <a:latin typeface="Segoe UI Light"/>
              <a:ea typeface="Calibri" panose="020F0502020204030204" pitchFamily="34" charset="0"/>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r>
              <a:rPr kumimoji="0" lang="pt-PT" sz="2000" b="0" i="0" u="none" strike="noStrike" kern="1200" cap="none" spc="0" normalizeH="0" baseline="0" noProof="0">
                <a:ln>
                  <a:noFill/>
                </a:ln>
                <a:solidFill>
                  <a:prstClr val="black"/>
                </a:solidFill>
                <a:effectLst/>
                <a:uLnTx/>
                <a:uFillTx/>
                <a:latin typeface="Segoe UI Light"/>
                <a:ea typeface="Calibri" panose="020F0502020204030204" pitchFamily="34" charset="0"/>
                <a:cs typeface="Times New Roman" panose="02020603050405020304" pitchFamily="18" charset="0"/>
              </a:rPr>
              <a:t>Choose the one that </a:t>
            </a:r>
            <a:r>
              <a:rPr kumimoji="0" lang="pt-PT" sz="2000" b="1" i="0" u="none" strike="noStrike" kern="1200" cap="none" spc="0" normalizeH="0" baseline="0" noProof="0">
                <a:ln>
                  <a:noFill/>
                </a:ln>
                <a:solidFill>
                  <a:prstClr val="black"/>
                </a:solidFill>
                <a:effectLst/>
                <a:uLnTx/>
                <a:uFillTx/>
                <a:latin typeface="Segoe UI Light"/>
                <a:ea typeface="Calibri" panose="020F0502020204030204" pitchFamily="34" charset="0"/>
                <a:cs typeface="Times New Roman" panose="02020603050405020304" pitchFamily="18" charset="0"/>
              </a:rPr>
              <a:t>best conveys your message</a:t>
            </a: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pt-PT" sz="2000" b="0" i="0" u="none" strike="noStrike" kern="1200" cap="none" spc="0" normalizeH="0" baseline="0" noProof="0">
              <a:ln>
                <a:noFill/>
              </a:ln>
              <a:solidFill>
                <a:prstClr val="black"/>
              </a:solidFill>
              <a:effectLst/>
              <a:uLnTx/>
              <a:uFillTx/>
              <a:latin typeface="Segoe UI Light"/>
              <a:ea typeface="Calibri" panose="020F0502020204030204" pitchFamily="34" charset="0"/>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r>
              <a:rPr kumimoji="0" lang="pt-PT" sz="2000" b="0" i="0" u="none" strike="noStrike" kern="1200" cap="none" spc="0" normalizeH="0" baseline="0" noProof="0">
                <a:ln>
                  <a:noFill/>
                </a:ln>
                <a:solidFill>
                  <a:prstClr val="black"/>
                </a:solidFill>
                <a:effectLst/>
                <a:uLnTx/>
                <a:uFillTx/>
                <a:latin typeface="Segoe UI Light"/>
                <a:ea typeface="Calibri" panose="020F0502020204030204" pitchFamily="34" charset="0"/>
                <a:cs typeface="Times New Roman" panose="02020603050405020304" pitchFamily="18" charset="0"/>
              </a:rPr>
              <a:t>New visualizations are </a:t>
            </a:r>
            <a:r>
              <a:rPr kumimoji="0" lang="pt-PT" sz="2000" b="1" i="0" u="none" strike="noStrike" kern="1200" cap="none" spc="0" normalizeH="0" baseline="0" noProof="0">
                <a:ln>
                  <a:noFill/>
                </a:ln>
                <a:solidFill>
                  <a:prstClr val="black"/>
                </a:solidFill>
                <a:effectLst/>
                <a:uLnTx/>
                <a:uFillTx/>
                <a:latin typeface="Segoe UI Light"/>
                <a:ea typeface="Calibri" panose="020F0502020204030204" pitchFamily="34" charset="0"/>
                <a:cs typeface="Times New Roman" panose="02020603050405020304" pitchFamily="18" charset="0"/>
              </a:rPr>
              <a:t>released frequently</a:t>
            </a: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pt-PT"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r>
              <a:rPr kumimoji="0" lang="en-US" sz="2000" b="1" i="0" u="none" strike="noStrike" kern="1200" cap="none" spc="0" normalizeH="0" baseline="0" noProof="0">
                <a:ln>
                  <a:noFill/>
                </a:ln>
                <a:solidFill>
                  <a:prstClr val="black"/>
                </a:solidFill>
                <a:effectLst/>
                <a:uLnTx/>
                <a:uFillTx/>
                <a:latin typeface="Segoe UI Light"/>
                <a:ea typeface="+mn-ea"/>
                <a:cs typeface="+mn-cs"/>
              </a:rPr>
              <a:t>Change easily</a:t>
            </a:r>
            <a:r>
              <a:rPr kumimoji="0" lang="en-US" sz="2000" b="0" i="0" u="none" strike="noStrike" kern="1200" cap="none" spc="0" normalizeH="0" baseline="0" noProof="0">
                <a:ln>
                  <a:noFill/>
                </a:ln>
                <a:solidFill>
                  <a:prstClr val="black"/>
                </a:solidFill>
                <a:effectLst/>
                <a:uLnTx/>
                <a:uFillTx/>
                <a:latin typeface="Segoe UI Light"/>
                <a:ea typeface="+mn-ea"/>
                <a:cs typeface="+mn-cs"/>
              </a:rPr>
              <a:t> between visualizations</a:t>
            </a: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0" i="0" u="none" strike="noStrike" kern="1200" cap="none" spc="0" normalizeH="0" baseline="0" noProof="0">
              <a:ln>
                <a:noFill/>
              </a:ln>
              <a:solidFill>
                <a:prstClr val="black"/>
              </a:solidFill>
              <a:effectLst/>
              <a:uLnTx/>
              <a:uFillTx/>
              <a:latin typeface="Segoe UI Light"/>
              <a:ea typeface="+mn-ea"/>
              <a:cs typeface="+mn-cs"/>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r>
              <a:rPr kumimoji="0" lang="en-US" sz="2000" b="0" i="0" u="none" strike="noStrike" kern="1200" cap="none" spc="0" normalizeH="0" baseline="0" noProof="0">
                <a:ln>
                  <a:noFill/>
                </a:ln>
                <a:solidFill>
                  <a:prstClr val="black"/>
                </a:solidFill>
                <a:effectLst/>
                <a:uLnTx/>
                <a:uFillTx/>
                <a:latin typeface="Segoe UI Light"/>
                <a:ea typeface="+mn-ea"/>
                <a:cs typeface="+mn-cs"/>
              </a:rPr>
              <a:t>Each visualization has its </a:t>
            </a:r>
            <a:r>
              <a:rPr kumimoji="0" lang="en-US" sz="2000" b="1" i="0" u="none" strike="noStrike" kern="1200" cap="none" spc="0" normalizeH="0" baseline="0" noProof="0">
                <a:ln>
                  <a:noFill/>
                </a:ln>
                <a:solidFill>
                  <a:prstClr val="black"/>
                </a:solidFill>
                <a:effectLst/>
                <a:uLnTx/>
                <a:uFillTx/>
                <a:latin typeface="Segoe UI Light"/>
                <a:ea typeface="+mn-ea"/>
                <a:cs typeface="+mn-cs"/>
              </a:rPr>
              <a:t>own data settings and properties</a:t>
            </a: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1" i="0" u="none" strike="noStrike" kern="1200" cap="none" spc="0" normalizeH="0" baseline="0" noProof="0">
              <a:ln>
                <a:noFill/>
              </a:ln>
              <a:solidFill>
                <a:prstClr val="black"/>
              </a:solidFill>
              <a:effectLst/>
              <a:uLnTx/>
              <a:uFillTx/>
              <a:latin typeface="Segoe UI Light"/>
              <a:ea typeface="+mn-ea"/>
              <a:cs typeface="+mn-cs"/>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r>
              <a:rPr kumimoji="0" lang="en-US" sz="2000" b="1" i="0" u="none" strike="noStrike" kern="1200" cap="none" spc="0" normalizeH="0" baseline="0" noProof="0">
                <a:ln>
                  <a:noFill/>
                </a:ln>
                <a:solidFill>
                  <a:prstClr val="black"/>
                </a:solidFill>
                <a:effectLst/>
                <a:uLnTx/>
                <a:uFillTx/>
                <a:latin typeface="Segoe UI Light"/>
                <a:ea typeface="+mn-ea"/>
                <a:cs typeface="+mn-cs"/>
              </a:rPr>
              <a:t>Fine control on display settings</a:t>
            </a:r>
            <a:endParaRPr kumimoji="0" lang="en-US" sz="2000" b="0" i="0" u="none" strike="noStrike" kern="1200" cap="none" spc="0" normalizeH="0" baseline="0" noProof="0">
              <a:ln>
                <a:noFill/>
              </a:ln>
              <a:solidFill>
                <a:srgbClr val="000000"/>
              </a:solidFill>
              <a:effectLst/>
              <a:uLnTx/>
              <a:uFillTx/>
              <a:latin typeface="Segoe UI Light"/>
              <a:ea typeface="+mn-ea"/>
              <a:cs typeface="+mn-cs"/>
            </a:endParaRPr>
          </a:p>
          <a:p>
            <a:pPr marL="182845" marR="0" lvl="1" indent="0" algn="l" defTabSz="914367" rtl="0" eaLnBrk="1" fontAlgn="auto" latinLnBrk="0" hangingPunct="1">
              <a:lnSpc>
                <a:spcPct val="90000"/>
              </a:lnSpc>
              <a:spcBef>
                <a:spcPct val="20000"/>
              </a:spcBef>
              <a:spcAft>
                <a:spcPts val="0"/>
              </a:spcAft>
              <a:buClrTx/>
              <a:buSzPct val="90000"/>
              <a:buFont typeface="Arial" panose="020B0604020202020204" pitchFamily="34" charset="0"/>
              <a:buNone/>
              <a:tabLst/>
              <a:defRPr/>
            </a:pPr>
            <a:endParaRPr kumimoji="0" lang="en-US" sz="2000" b="0" i="0" u="none" strike="noStrike" kern="1200" cap="none" spc="0" normalizeH="0" baseline="0" noProof="0">
              <a:ln>
                <a:noFill/>
              </a:ln>
              <a:solidFill>
                <a:srgbClr val="000000"/>
              </a:solidFill>
              <a:effectLst/>
              <a:uLnTx/>
              <a:uFillTx/>
              <a:latin typeface="Segoe UI Light"/>
              <a:ea typeface="+mn-ea"/>
              <a:cs typeface="+mn-cs"/>
            </a:endParaRPr>
          </a:p>
          <a:p>
            <a:pPr marL="182845" marR="0" lvl="1" indent="0" algn="l" defTabSz="914367" rtl="0" eaLnBrk="1" fontAlgn="auto" latinLnBrk="0" hangingPunct="1">
              <a:lnSpc>
                <a:spcPct val="90000"/>
              </a:lnSpc>
              <a:spcBef>
                <a:spcPct val="20000"/>
              </a:spcBef>
              <a:spcAft>
                <a:spcPts val="0"/>
              </a:spcAft>
              <a:buClrTx/>
              <a:buSzPct val="90000"/>
              <a:buFont typeface="Arial" panose="020B0604020202020204" pitchFamily="34" charset="0"/>
              <a:buNone/>
              <a:tabLst/>
              <a:defRPr/>
            </a:pPr>
            <a:endParaRPr kumimoji="0" lang="en-US" sz="2000" b="0" i="0" u="none" strike="noStrike" kern="1200" cap="none" spc="0" normalizeH="0" baseline="0" noProof="0">
              <a:ln>
                <a:noFill/>
              </a:ln>
              <a:solidFill>
                <a:srgbClr val="000000"/>
              </a:solidFill>
              <a:effectLst/>
              <a:uLnTx/>
              <a:uFillTx/>
              <a:latin typeface="Segoe UI Light"/>
              <a:ea typeface="+mn-ea"/>
              <a:cs typeface="+mn-cs"/>
            </a:endParaRPr>
          </a:p>
          <a:p>
            <a:pPr marL="182845" marR="0" lvl="1" indent="0" algn="l" defTabSz="914367" rtl="0" eaLnBrk="1" fontAlgn="auto" latinLnBrk="0" hangingPunct="1">
              <a:lnSpc>
                <a:spcPct val="90000"/>
              </a:lnSpc>
              <a:spcBef>
                <a:spcPct val="20000"/>
              </a:spcBef>
              <a:spcAft>
                <a:spcPts val="0"/>
              </a:spcAft>
              <a:buClrTx/>
              <a:buSzPct val="90000"/>
              <a:buFont typeface="Arial" panose="020B0604020202020204" pitchFamily="34" charset="0"/>
              <a:buNone/>
              <a:tabLst/>
              <a:defRPr/>
            </a:pPr>
            <a:endParaRPr kumimoji="0" lang="en-US" sz="2000" b="0" i="0" u="none" strike="noStrike" kern="1200" cap="none" spc="0" normalizeH="0" baseline="0" noProof="0">
              <a:ln>
                <a:noFill/>
              </a:ln>
              <a:solidFill>
                <a:srgbClr val="000000"/>
              </a:solidFill>
              <a:effectLst/>
              <a:uLnTx/>
              <a:uFillTx/>
              <a:latin typeface="Segoe UI Light"/>
              <a:ea typeface="+mn-ea"/>
              <a:cs typeface="+mn-cs"/>
            </a:endParaRPr>
          </a:p>
        </p:txBody>
      </p:sp>
      <p:sp>
        <p:nvSpPr>
          <p:cNvPr id="3" name="Title 2"/>
          <p:cNvSpPr>
            <a:spLocks noGrp="1"/>
          </p:cNvSpPr>
          <p:nvPr>
            <p:ph type="title"/>
          </p:nvPr>
        </p:nvSpPr>
        <p:spPr/>
        <p:txBody>
          <a:bodyPr/>
          <a:lstStyle/>
          <a:p>
            <a:r>
              <a:rPr lang="pt-PT">
                <a:solidFill>
                  <a:schemeClr val="tx1"/>
                </a:solidFill>
              </a:rPr>
              <a:t>Building a Report - Visualisations</a:t>
            </a:r>
            <a:br>
              <a:rPr lang="en-US">
                <a:solidFill>
                  <a:schemeClr val="tx1"/>
                </a:solidFill>
              </a:rPr>
            </a:br>
            <a:endParaRPr lang="en-GB"/>
          </a:p>
        </p:txBody>
      </p:sp>
    </p:spTree>
    <p:extLst>
      <p:ext uri="{BB962C8B-B14F-4D97-AF65-F5344CB8AC3E}">
        <p14:creationId xmlns:p14="http://schemas.microsoft.com/office/powerpoint/2010/main" val="30738164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solidFill>
            <a:schemeClr val="bg1"/>
          </a:solidFill>
        </p:spPr>
        <p:txBody>
          <a:bodyPr/>
          <a:lstStyle/>
          <a:p>
            <a:r>
              <a:rPr lang="pt-PT">
                <a:solidFill>
                  <a:schemeClr val="tx1"/>
                </a:solidFill>
              </a:rPr>
              <a:t>Visualisations - Clustered Bar Chart</a:t>
            </a:r>
            <a:endParaRPr lang="en-US" sz="3600">
              <a:solidFill>
                <a:schemeClr val="tx1"/>
              </a:solidFill>
            </a:endParaRPr>
          </a:p>
        </p:txBody>
      </p:sp>
      <p:grpSp>
        <p:nvGrpSpPr>
          <p:cNvPr id="52" name="Group 51"/>
          <p:cNvGrpSpPr/>
          <p:nvPr/>
        </p:nvGrpSpPr>
        <p:grpSpPr>
          <a:xfrm>
            <a:off x="2" y="1"/>
            <a:ext cx="2849058" cy="6858000"/>
            <a:chOff x="2" y="1"/>
            <a:chExt cx="2849058" cy="6858000"/>
          </a:xfrm>
        </p:grpSpPr>
        <p:sp>
          <p:nvSpPr>
            <p:cNvPr id="71" name="Rectangle 70"/>
            <p:cNvSpPr/>
            <p:nvPr/>
          </p:nvSpPr>
          <p:spPr bwMode="auto">
            <a:xfrm>
              <a:off x="2" y="1"/>
              <a:ext cx="2849058"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3" name="Oval 70"/>
            <p:cNvSpPr/>
            <p:nvPr/>
          </p:nvSpPr>
          <p:spPr>
            <a:xfrm>
              <a:off x="1413521" y="4951537"/>
              <a:ext cx="1119626" cy="1119626"/>
            </a:xfrm>
            <a:prstGeom prst="ellipse">
              <a:avLst/>
            </a:prstGeom>
            <a:solidFill>
              <a:srgbClr val="F2C812"/>
            </a:solidFill>
            <a:ln w="3175" cap="flat" cmpd="sng" algn="ctr">
              <a:noFill/>
              <a:prstDash val="solid"/>
            </a:ln>
            <a:effectLst/>
          </p:spPr>
          <p:txBody>
            <a:bodyPr vert="horz" wrap="none" lIns="0" tIns="45720" rIns="0" bIns="0" rtlCol="0" anchor="t"/>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Segoe UI"/>
                  <a:ea typeface="Segoe UI" pitchFamily="34" charset="0"/>
                  <a:cs typeface="Segoe UI" pitchFamily="34" charset="0"/>
                </a:rPr>
                <a:t>Share &amp;</a:t>
              </a:r>
            </a:p>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Segoe UI"/>
                  <a:ea typeface="Segoe UI" pitchFamily="34" charset="0"/>
                  <a:cs typeface="Segoe UI" pitchFamily="34" charset="0"/>
                </a:rPr>
                <a:t>collaborate </a:t>
              </a:r>
            </a:p>
          </p:txBody>
        </p:sp>
        <p:grpSp>
          <p:nvGrpSpPr>
            <p:cNvPr id="76" name="Group 38"/>
            <p:cNvGrpSpPr>
              <a:grpSpLocks noChangeAspect="1"/>
            </p:cNvGrpSpPr>
            <p:nvPr/>
          </p:nvGrpSpPr>
          <p:grpSpPr>
            <a:xfrm>
              <a:off x="676996" y="3930692"/>
              <a:ext cx="383905" cy="351536"/>
              <a:chOff x="4363684" y="5330386"/>
              <a:chExt cx="1409956" cy="1291077"/>
            </a:xfrm>
            <a:solidFill>
              <a:srgbClr val="217346"/>
            </a:solidFill>
          </p:grpSpPr>
          <p:sp>
            <p:nvSpPr>
              <p:cNvPr id="102" name="Donut 3"/>
              <p:cNvSpPr/>
              <p:nvPr/>
            </p:nvSpPr>
            <p:spPr bwMode="auto">
              <a:xfrm>
                <a:off x="4363684" y="5330386"/>
                <a:ext cx="1409956" cy="1291077"/>
              </a:xfrm>
              <a:custGeom>
                <a:avLst/>
                <a:gdLst/>
                <a:ahLst/>
                <a:cxnLst/>
                <a:rect l="l" t="t" r="r" b="b"/>
                <a:pathLst>
                  <a:path w="1409956" h="1291077">
                    <a:moveTo>
                      <a:pt x="956401" y="78410"/>
                    </a:moveTo>
                    <a:cubicBezTo>
                      <a:pt x="747518" y="78410"/>
                      <a:pt x="578184" y="247744"/>
                      <a:pt x="578184" y="456627"/>
                    </a:cubicBezTo>
                    <a:cubicBezTo>
                      <a:pt x="578184" y="665510"/>
                      <a:pt x="747518" y="834844"/>
                      <a:pt x="956401" y="834844"/>
                    </a:cubicBezTo>
                    <a:cubicBezTo>
                      <a:pt x="1165284" y="834844"/>
                      <a:pt x="1334618" y="665510"/>
                      <a:pt x="1334618" y="456627"/>
                    </a:cubicBezTo>
                    <a:cubicBezTo>
                      <a:pt x="1334618" y="247744"/>
                      <a:pt x="1165284" y="78410"/>
                      <a:pt x="956401" y="78410"/>
                    </a:cubicBezTo>
                    <a:close/>
                    <a:moveTo>
                      <a:pt x="952756" y="0"/>
                    </a:moveTo>
                    <a:cubicBezTo>
                      <a:pt x="1205261" y="0"/>
                      <a:pt x="1409956" y="204695"/>
                      <a:pt x="1409956" y="457200"/>
                    </a:cubicBezTo>
                    <a:cubicBezTo>
                      <a:pt x="1409956" y="709705"/>
                      <a:pt x="1205261" y="914400"/>
                      <a:pt x="952756" y="914400"/>
                    </a:cubicBezTo>
                    <a:cubicBezTo>
                      <a:pt x="862133" y="914400"/>
                      <a:pt x="777669" y="888034"/>
                      <a:pt x="707132" y="841746"/>
                    </a:cubicBezTo>
                    <a:lnTo>
                      <a:pt x="136495" y="1280102"/>
                    </a:lnTo>
                    <a:cubicBezTo>
                      <a:pt x="21896" y="1327168"/>
                      <a:pt x="-44029" y="1213730"/>
                      <a:pt x="33797" y="1113182"/>
                    </a:cubicBezTo>
                    <a:lnTo>
                      <a:pt x="568587" y="703518"/>
                    </a:lnTo>
                    <a:cubicBezTo>
                      <a:pt x="522087" y="632814"/>
                      <a:pt x="495556" y="548105"/>
                      <a:pt x="495556" y="457200"/>
                    </a:cubicBezTo>
                    <a:cubicBezTo>
                      <a:pt x="495556" y="204695"/>
                      <a:pt x="700251" y="0"/>
                      <a:pt x="952756" y="0"/>
                    </a:cubicBezTo>
                    <a:close/>
                  </a:path>
                </a:pathLst>
              </a:custGeom>
              <a:grpFill/>
              <a:ln>
                <a:solidFill>
                  <a:srgbClr val="21734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sp>
            <p:nvSpPr>
              <p:cNvPr id="103" name="Rectangle 4"/>
              <p:cNvSpPr/>
              <p:nvPr/>
            </p:nvSpPr>
            <p:spPr>
              <a:xfrm>
                <a:off x="5058389" y="5528247"/>
                <a:ext cx="490885" cy="490020"/>
              </a:xfrm>
              <a:custGeom>
                <a:avLst/>
                <a:gdLst/>
                <a:ahLst/>
                <a:cxnLst/>
                <a:rect l="l" t="t" r="r" b="b"/>
                <a:pathLst>
                  <a:path w="490885" h="490020">
                    <a:moveTo>
                      <a:pt x="240752" y="0"/>
                    </a:moveTo>
                    <a:cubicBezTo>
                      <a:pt x="253961" y="11844"/>
                      <a:pt x="293310" y="49692"/>
                      <a:pt x="337332" y="92439"/>
                    </a:cubicBezTo>
                    <a:lnTo>
                      <a:pt x="328342" y="81259"/>
                    </a:lnTo>
                    <a:cubicBezTo>
                      <a:pt x="356946" y="111282"/>
                      <a:pt x="377251" y="107167"/>
                      <a:pt x="382515" y="87941"/>
                    </a:cubicBezTo>
                    <a:cubicBezTo>
                      <a:pt x="383951" y="76921"/>
                      <a:pt x="384595" y="68732"/>
                      <a:pt x="396997" y="52239"/>
                    </a:cubicBezTo>
                    <a:cubicBezTo>
                      <a:pt x="420362" y="32084"/>
                      <a:pt x="442294" y="41736"/>
                      <a:pt x="454920" y="51330"/>
                    </a:cubicBezTo>
                    <a:cubicBezTo>
                      <a:pt x="467834" y="62761"/>
                      <a:pt x="477920" y="86882"/>
                      <a:pt x="460392" y="109714"/>
                    </a:cubicBezTo>
                    <a:cubicBezTo>
                      <a:pt x="451128" y="121912"/>
                      <a:pt x="437554" y="126838"/>
                      <a:pt x="425922" y="126505"/>
                    </a:cubicBezTo>
                    <a:cubicBezTo>
                      <a:pt x="424301" y="127609"/>
                      <a:pt x="382890" y="134974"/>
                      <a:pt x="427348" y="177672"/>
                    </a:cubicBezTo>
                    <a:lnTo>
                      <a:pt x="416886" y="169735"/>
                    </a:lnTo>
                    <a:cubicBezTo>
                      <a:pt x="450207" y="202177"/>
                      <a:pt x="478424" y="229744"/>
                      <a:pt x="490885" y="241900"/>
                    </a:cubicBezTo>
                    <a:lnTo>
                      <a:pt x="417150" y="317347"/>
                    </a:lnTo>
                    <a:cubicBezTo>
                      <a:pt x="417744" y="316535"/>
                      <a:pt x="418443" y="316123"/>
                      <a:pt x="419047" y="315822"/>
                    </a:cubicBezTo>
                    <a:cubicBezTo>
                      <a:pt x="389023" y="344426"/>
                      <a:pt x="393138" y="364731"/>
                      <a:pt x="412364" y="369995"/>
                    </a:cubicBezTo>
                    <a:cubicBezTo>
                      <a:pt x="423384" y="371431"/>
                      <a:pt x="431574" y="372075"/>
                      <a:pt x="448067" y="384477"/>
                    </a:cubicBezTo>
                    <a:cubicBezTo>
                      <a:pt x="468221" y="407842"/>
                      <a:pt x="458569" y="429774"/>
                      <a:pt x="448975" y="442400"/>
                    </a:cubicBezTo>
                    <a:cubicBezTo>
                      <a:pt x="437545" y="455314"/>
                      <a:pt x="413423" y="465400"/>
                      <a:pt x="390591" y="447872"/>
                    </a:cubicBezTo>
                    <a:cubicBezTo>
                      <a:pt x="378394" y="438608"/>
                      <a:pt x="373468" y="425034"/>
                      <a:pt x="373800" y="413402"/>
                    </a:cubicBezTo>
                    <a:cubicBezTo>
                      <a:pt x="372696" y="411781"/>
                      <a:pt x="365332" y="370370"/>
                      <a:pt x="322634" y="414828"/>
                    </a:cubicBezTo>
                    <a:lnTo>
                      <a:pt x="325243" y="411388"/>
                    </a:lnTo>
                    <a:lnTo>
                      <a:pt x="248395" y="490020"/>
                    </a:lnTo>
                    <a:cubicBezTo>
                      <a:pt x="208939" y="451897"/>
                      <a:pt x="199129" y="442073"/>
                      <a:pt x="174192" y="418236"/>
                    </a:cubicBezTo>
                    <a:cubicBezTo>
                      <a:pt x="145587" y="388212"/>
                      <a:pt x="125282" y="392327"/>
                      <a:pt x="120018" y="411553"/>
                    </a:cubicBezTo>
                    <a:cubicBezTo>
                      <a:pt x="118582" y="422573"/>
                      <a:pt x="117938" y="430763"/>
                      <a:pt x="105536" y="447256"/>
                    </a:cubicBezTo>
                    <a:cubicBezTo>
                      <a:pt x="82171" y="467410"/>
                      <a:pt x="60239" y="457758"/>
                      <a:pt x="47614" y="448164"/>
                    </a:cubicBezTo>
                    <a:cubicBezTo>
                      <a:pt x="34699" y="436734"/>
                      <a:pt x="24614" y="412612"/>
                      <a:pt x="42141" y="389780"/>
                    </a:cubicBezTo>
                    <a:cubicBezTo>
                      <a:pt x="51405" y="377583"/>
                      <a:pt x="64979" y="372657"/>
                      <a:pt x="76612" y="372989"/>
                    </a:cubicBezTo>
                    <a:cubicBezTo>
                      <a:pt x="78232" y="371886"/>
                      <a:pt x="119644" y="364521"/>
                      <a:pt x="75186" y="321823"/>
                    </a:cubicBezTo>
                    <a:cubicBezTo>
                      <a:pt x="58767" y="305402"/>
                      <a:pt x="23648" y="271235"/>
                      <a:pt x="0" y="248738"/>
                    </a:cubicBezTo>
                    <a:lnTo>
                      <a:pt x="77303" y="168146"/>
                    </a:lnTo>
                    <a:cubicBezTo>
                      <a:pt x="104269" y="140313"/>
                      <a:pt x="122130" y="156409"/>
                      <a:pt x="124388" y="175543"/>
                    </a:cubicBezTo>
                    <a:cubicBezTo>
                      <a:pt x="124457" y="182466"/>
                      <a:pt x="127106" y="193106"/>
                      <a:pt x="137575" y="203052"/>
                    </a:cubicBezTo>
                    <a:cubicBezTo>
                      <a:pt x="153931" y="220277"/>
                      <a:pt x="181252" y="217451"/>
                      <a:pt x="196721" y="201951"/>
                    </a:cubicBezTo>
                    <a:cubicBezTo>
                      <a:pt x="211961" y="185740"/>
                      <a:pt x="213057" y="157882"/>
                      <a:pt x="196146" y="142797"/>
                    </a:cubicBezTo>
                    <a:cubicBezTo>
                      <a:pt x="184301" y="132637"/>
                      <a:pt x="177155" y="131453"/>
                      <a:pt x="166513" y="129894"/>
                    </a:cubicBezTo>
                    <a:cubicBezTo>
                      <a:pt x="154522" y="129013"/>
                      <a:pt x="131185" y="112953"/>
                      <a:pt x="157905" y="85228"/>
                    </a:cubicBezTo>
                    <a:close/>
                  </a:path>
                </a:pathLst>
              </a:custGeom>
              <a:grpFill/>
              <a:ln>
                <a:solidFill>
                  <a:srgbClr val="21734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grpSp>
        <p:sp>
          <p:nvSpPr>
            <p:cNvPr id="77" name="Oval 47"/>
            <p:cNvSpPr/>
            <p:nvPr/>
          </p:nvSpPr>
          <p:spPr>
            <a:xfrm>
              <a:off x="388608" y="3710471"/>
              <a:ext cx="1119626" cy="1119626"/>
            </a:xfrm>
            <a:prstGeom prst="ellipse">
              <a:avLst/>
            </a:prstGeom>
            <a:solidFill>
              <a:srgbClr val="F2C812"/>
            </a:solidFill>
            <a:ln w="3175" cap="flat" cmpd="sng" algn="ctr">
              <a:noFill/>
              <a:prstDash val="solid"/>
            </a:ln>
            <a:effectLst/>
          </p:spPr>
          <p:txBody>
            <a:bodyPr vert="horz" wrap="none" lIns="0" tIns="45720" rIns="0" bIns="0" rtlCol="0" anchor="t"/>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Segoe UI"/>
                  <a:ea typeface="Segoe UI" pitchFamily="34" charset="0"/>
                  <a:cs typeface="Segoe UI" pitchFamily="34" charset="0"/>
                </a:rPr>
                <a:t>Report</a:t>
              </a:r>
            </a:p>
          </p:txBody>
        </p:sp>
        <p:sp>
          <p:nvSpPr>
            <p:cNvPr id="78" name="Oval 950"/>
            <p:cNvSpPr/>
            <p:nvPr/>
          </p:nvSpPr>
          <p:spPr>
            <a:xfrm>
              <a:off x="388608" y="1252295"/>
              <a:ext cx="1119626" cy="1119626"/>
            </a:xfrm>
            <a:prstGeom prst="ellipse">
              <a:avLst/>
            </a:prstGeom>
            <a:solidFill>
              <a:srgbClr val="F2C812"/>
            </a:solidFill>
            <a:ln w="3175" cap="flat" cmpd="sng" algn="ctr">
              <a:noFill/>
              <a:prstDash val="solid"/>
            </a:ln>
            <a:effectLst/>
          </p:spPr>
          <p:txBody>
            <a:bodyPr vert="horz" wrap="none" lIns="0" tIns="45720" rIns="0" bIns="0" rtlCol="0" anchor="t"/>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1" i="0" u="none" strike="noStrike" kern="1200" cap="none" spc="0" normalizeH="0" baseline="0" noProof="0">
                <a:ln>
                  <a:noFill/>
                </a:ln>
                <a:solidFill>
                  <a:srgbClr val="217346"/>
                </a:solidFill>
                <a:effectLst/>
                <a:uLnTx/>
                <a:uFillTx/>
                <a:latin typeface="Segoe UI"/>
                <a:ea typeface="Segoe UI" pitchFamily="34" charset="0"/>
                <a:cs typeface="Segoe UI" pitchFamily="34" charset="0"/>
              </a:endParaRPr>
            </a:p>
          </p:txBody>
        </p:sp>
        <p:grpSp>
          <p:nvGrpSpPr>
            <p:cNvPr id="79" name="Group 78"/>
            <p:cNvGrpSpPr/>
            <p:nvPr/>
          </p:nvGrpSpPr>
          <p:grpSpPr>
            <a:xfrm>
              <a:off x="1264851" y="3482890"/>
              <a:ext cx="292254" cy="354906"/>
              <a:chOff x="1296521" y="3253388"/>
              <a:chExt cx="292254" cy="354906"/>
            </a:xfrm>
            <a:solidFill>
              <a:srgbClr val="F2C812"/>
            </a:solidFill>
          </p:grpSpPr>
          <p:sp>
            <p:nvSpPr>
              <p:cNvPr id="99" name="Isosceles Triangle 98"/>
              <p:cNvSpPr/>
              <p:nvPr/>
            </p:nvSpPr>
            <p:spPr bwMode="auto">
              <a:xfrm rot="13636515">
                <a:off x="1461362" y="328936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0" name="Isosceles Triangle 99"/>
              <p:cNvSpPr/>
              <p:nvPr/>
            </p:nvSpPr>
            <p:spPr bwMode="auto">
              <a:xfrm rot="13636515">
                <a:off x="1357669" y="338258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1" name="Isosceles Triangle 100"/>
              <p:cNvSpPr/>
              <p:nvPr/>
            </p:nvSpPr>
            <p:spPr bwMode="auto">
              <a:xfrm rot="13636515">
                <a:off x="1260548" y="3480882"/>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80" name="Group 79"/>
            <p:cNvGrpSpPr/>
            <p:nvPr/>
          </p:nvGrpSpPr>
          <p:grpSpPr>
            <a:xfrm rot="15940603">
              <a:off x="1334576" y="2204404"/>
              <a:ext cx="292254" cy="354906"/>
              <a:chOff x="1296521" y="3253388"/>
              <a:chExt cx="292254" cy="354906"/>
            </a:xfrm>
            <a:solidFill>
              <a:srgbClr val="F2C812"/>
            </a:solidFill>
          </p:grpSpPr>
          <p:sp>
            <p:nvSpPr>
              <p:cNvPr id="96" name="Isosceles Triangle 95"/>
              <p:cNvSpPr/>
              <p:nvPr/>
            </p:nvSpPr>
            <p:spPr bwMode="auto">
              <a:xfrm rot="13636515">
                <a:off x="1461362" y="328936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7" name="Isosceles Triangle 96"/>
              <p:cNvSpPr/>
              <p:nvPr/>
            </p:nvSpPr>
            <p:spPr bwMode="auto">
              <a:xfrm rot="13636515">
                <a:off x="1357669" y="338258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8" name="Isosceles Triangle 97"/>
              <p:cNvSpPr/>
              <p:nvPr/>
            </p:nvSpPr>
            <p:spPr bwMode="auto">
              <a:xfrm rot="13636515">
                <a:off x="1260548" y="3480882"/>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81" name="Group 80"/>
            <p:cNvGrpSpPr/>
            <p:nvPr/>
          </p:nvGrpSpPr>
          <p:grpSpPr>
            <a:xfrm rot="16043978">
              <a:off x="1317220" y="4717577"/>
              <a:ext cx="292254" cy="354906"/>
              <a:chOff x="1296521" y="3253388"/>
              <a:chExt cx="292254" cy="354906"/>
            </a:xfrm>
            <a:solidFill>
              <a:srgbClr val="F2C812"/>
            </a:solidFill>
          </p:grpSpPr>
          <p:sp>
            <p:nvSpPr>
              <p:cNvPr id="93" name="Isosceles Triangle 92"/>
              <p:cNvSpPr/>
              <p:nvPr/>
            </p:nvSpPr>
            <p:spPr bwMode="auto">
              <a:xfrm rot="13636515">
                <a:off x="1461362" y="328936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4" name="Isosceles Triangle 93"/>
              <p:cNvSpPr/>
              <p:nvPr/>
            </p:nvSpPr>
            <p:spPr bwMode="auto">
              <a:xfrm rot="13636515">
                <a:off x="1357669" y="338258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5" name="Isosceles Triangle 94"/>
              <p:cNvSpPr/>
              <p:nvPr/>
            </p:nvSpPr>
            <p:spPr bwMode="auto">
              <a:xfrm rot="13636515">
                <a:off x="1260548" y="3480882"/>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82" name="Oval 36"/>
            <p:cNvSpPr/>
            <p:nvPr/>
          </p:nvSpPr>
          <p:spPr>
            <a:xfrm>
              <a:off x="1413521" y="2481383"/>
              <a:ext cx="1119626" cy="1119626"/>
            </a:xfrm>
            <a:prstGeom prst="ellipse">
              <a:avLst/>
            </a:prstGeom>
            <a:solidFill>
              <a:srgbClr val="F2C812"/>
            </a:solidFill>
            <a:ln w="3175" cap="flat" cmpd="sng" algn="ctr">
              <a:noFill/>
              <a:prstDash val="solid"/>
            </a:ln>
            <a:effectLst/>
          </p:spPr>
          <p:txBody>
            <a:bodyPr vert="horz" wrap="none" lIns="0" tIns="0" rIns="0" bIns="0" rtlCol="0" anchor="t"/>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400" b="1" i="0" u="none" strike="noStrike" kern="1200" cap="none" spc="0" normalizeH="0" baseline="0" noProof="0">
                <a:ln>
                  <a:noFill/>
                </a:ln>
                <a:solidFill>
                  <a:srgbClr val="217346"/>
                </a:solidFill>
                <a:effectLst/>
                <a:uLnTx/>
                <a:uFillTx/>
                <a:latin typeface="Segoe UI"/>
                <a:ea typeface="Segoe UI" pitchFamily="34" charset="0"/>
                <a:cs typeface="Segoe UI" pitchFamily="34" charset="0"/>
              </a:endParaRPr>
            </a:p>
          </p:txBody>
        </p:sp>
        <p:sp>
          <p:nvSpPr>
            <p:cNvPr id="83" name="Donut 3"/>
            <p:cNvSpPr/>
            <p:nvPr/>
          </p:nvSpPr>
          <p:spPr bwMode="auto">
            <a:xfrm>
              <a:off x="1742065" y="3002355"/>
              <a:ext cx="383905" cy="351537"/>
            </a:xfrm>
            <a:custGeom>
              <a:avLst/>
              <a:gdLst/>
              <a:ahLst/>
              <a:cxnLst/>
              <a:rect l="l" t="t" r="r" b="b"/>
              <a:pathLst>
                <a:path w="1409956" h="1291077">
                  <a:moveTo>
                    <a:pt x="956401" y="78410"/>
                  </a:moveTo>
                  <a:cubicBezTo>
                    <a:pt x="747518" y="78410"/>
                    <a:pt x="578184" y="247744"/>
                    <a:pt x="578184" y="456627"/>
                  </a:cubicBezTo>
                  <a:cubicBezTo>
                    <a:pt x="578184" y="665510"/>
                    <a:pt x="747518" y="834844"/>
                    <a:pt x="956401" y="834844"/>
                  </a:cubicBezTo>
                  <a:cubicBezTo>
                    <a:pt x="1165284" y="834844"/>
                    <a:pt x="1334618" y="665510"/>
                    <a:pt x="1334618" y="456627"/>
                  </a:cubicBezTo>
                  <a:cubicBezTo>
                    <a:pt x="1334618" y="247744"/>
                    <a:pt x="1165284" y="78410"/>
                    <a:pt x="956401" y="78410"/>
                  </a:cubicBezTo>
                  <a:close/>
                  <a:moveTo>
                    <a:pt x="952756" y="0"/>
                  </a:moveTo>
                  <a:cubicBezTo>
                    <a:pt x="1205261" y="0"/>
                    <a:pt x="1409956" y="204695"/>
                    <a:pt x="1409956" y="457200"/>
                  </a:cubicBezTo>
                  <a:cubicBezTo>
                    <a:pt x="1409956" y="709705"/>
                    <a:pt x="1205261" y="914400"/>
                    <a:pt x="952756" y="914400"/>
                  </a:cubicBezTo>
                  <a:cubicBezTo>
                    <a:pt x="862133" y="914400"/>
                    <a:pt x="777669" y="888034"/>
                    <a:pt x="707132" y="841746"/>
                  </a:cubicBezTo>
                  <a:lnTo>
                    <a:pt x="136495" y="1280102"/>
                  </a:lnTo>
                  <a:cubicBezTo>
                    <a:pt x="21896" y="1327168"/>
                    <a:pt x="-44029" y="1213730"/>
                    <a:pt x="33797" y="1113182"/>
                  </a:cubicBezTo>
                  <a:lnTo>
                    <a:pt x="568587" y="703518"/>
                  </a:lnTo>
                  <a:cubicBezTo>
                    <a:pt x="522087" y="632814"/>
                    <a:pt x="495556" y="548105"/>
                    <a:pt x="495556" y="457200"/>
                  </a:cubicBezTo>
                  <a:cubicBezTo>
                    <a:pt x="495556" y="204695"/>
                    <a:pt x="700251" y="0"/>
                    <a:pt x="952756" y="0"/>
                  </a:cubicBezTo>
                  <a:close/>
                </a:path>
              </a:pathLst>
            </a:cu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sp>
          <p:nvSpPr>
            <p:cNvPr id="84" name="Rectangle 83"/>
            <p:cNvSpPr/>
            <p:nvPr/>
          </p:nvSpPr>
          <p:spPr>
            <a:xfrm>
              <a:off x="1600398" y="2677430"/>
              <a:ext cx="820353" cy="307777"/>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Segoe UI"/>
                  <a:ea typeface="Segoe UI" pitchFamily="34" charset="0"/>
                  <a:cs typeface="Segoe UI" pitchFamily="34" charset="0"/>
                </a:rPr>
                <a:t>Explore</a:t>
              </a:r>
              <a:endParaRPr kumimoji="0" lang="en-US" sz="1600" b="0" i="0" u="none" strike="noStrike" kern="1200" cap="none" spc="0" normalizeH="0" baseline="0" noProof="0">
                <a:ln>
                  <a:noFill/>
                </a:ln>
                <a:solidFill>
                  <a:srgbClr val="000000"/>
                </a:solidFill>
                <a:effectLst/>
                <a:uLnTx/>
                <a:uFillTx/>
                <a:latin typeface="Segoe UI"/>
                <a:ea typeface="+mn-ea"/>
                <a:cs typeface="+mn-cs"/>
              </a:endParaRPr>
            </a:p>
          </p:txBody>
        </p:sp>
        <p:sp>
          <p:nvSpPr>
            <p:cNvPr id="85" name="Rectangle 84"/>
            <p:cNvSpPr/>
            <p:nvPr/>
          </p:nvSpPr>
          <p:spPr>
            <a:xfrm>
              <a:off x="509174" y="1475232"/>
              <a:ext cx="838756" cy="307777"/>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Segoe UI"/>
                  <a:ea typeface="Segoe UI" pitchFamily="34" charset="0"/>
                  <a:cs typeface="Segoe UI" pitchFamily="34" charset="0"/>
                </a:rPr>
                <a:t>Prepare</a:t>
              </a: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86" name="Freeform 85"/>
            <p:cNvSpPr>
              <a:spLocks noChangeAspect="1"/>
            </p:cNvSpPr>
            <p:nvPr/>
          </p:nvSpPr>
          <p:spPr bwMode="black">
            <a:xfrm>
              <a:off x="1836174" y="5643069"/>
              <a:ext cx="274320" cy="284173"/>
            </a:xfrm>
            <a:custGeom>
              <a:avLst/>
              <a:gdLst>
                <a:gd name="T0" fmla="*/ 539 w 669"/>
                <a:gd name="T1" fmla="*/ 5 h 693"/>
                <a:gd name="T2" fmla="*/ 640 w 669"/>
                <a:gd name="T3" fmla="*/ 55 h 693"/>
                <a:gd name="T4" fmla="*/ 603 w 669"/>
                <a:gd name="T5" fmla="*/ 195 h 693"/>
                <a:gd name="T6" fmla="*/ 490 w 669"/>
                <a:gd name="T7" fmla="*/ 188 h 693"/>
                <a:gd name="T8" fmla="*/ 479 w 669"/>
                <a:gd name="T9" fmla="*/ 176 h 693"/>
                <a:gd name="T10" fmla="*/ 213 w 669"/>
                <a:gd name="T11" fmla="*/ 330 h 693"/>
                <a:gd name="T12" fmla="*/ 218 w 669"/>
                <a:gd name="T13" fmla="*/ 345 h 693"/>
                <a:gd name="T14" fmla="*/ 218 w 669"/>
                <a:gd name="T15" fmla="*/ 375 h 693"/>
                <a:gd name="T16" fmla="*/ 209 w 669"/>
                <a:gd name="T17" fmla="*/ 402 h 693"/>
                <a:gd name="T18" fmla="*/ 369 w 669"/>
                <a:gd name="T19" fmla="*/ 503 h 693"/>
                <a:gd name="T20" fmla="*/ 373 w 669"/>
                <a:gd name="T21" fmla="*/ 498 h 693"/>
                <a:gd name="T22" fmla="*/ 456 w 669"/>
                <a:gd name="T23" fmla="*/ 475 h 693"/>
                <a:gd name="T24" fmla="*/ 494 w 669"/>
                <a:gd name="T25" fmla="*/ 489 h 693"/>
                <a:gd name="T26" fmla="*/ 527 w 669"/>
                <a:gd name="T27" fmla="*/ 630 h 693"/>
                <a:gd name="T28" fmla="*/ 386 w 669"/>
                <a:gd name="T29" fmla="*/ 663 h 693"/>
                <a:gd name="T30" fmla="*/ 339 w 669"/>
                <a:gd name="T31" fmla="*/ 560 h 693"/>
                <a:gd name="T32" fmla="*/ 345 w 669"/>
                <a:gd name="T33" fmla="*/ 544 h 693"/>
                <a:gd name="T34" fmla="*/ 177 w 669"/>
                <a:gd name="T35" fmla="*/ 439 h 693"/>
                <a:gd name="T36" fmla="*/ 168 w 669"/>
                <a:gd name="T37" fmla="*/ 446 h 693"/>
                <a:gd name="T38" fmla="*/ 28 w 669"/>
                <a:gd name="T39" fmla="*/ 409 h 693"/>
                <a:gd name="T40" fmla="*/ 65 w 669"/>
                <a:gd name="T41" fmla="*/ 269 h 693"/>
                <a:gd name="T42" fmla="*/ 178 w 669"/>
                <a:gd name="T43" fmla="*/ 276 h 693"/>
                <a:gd name="T44" fmla="*/ 189 w 669"/>
                <a:gd name="T45" fmla="*/ 288 h 693"/>
                <a:gd name="T46" fmla="*/ 455 w 669"/>
                <a:gd name="T47" fmla="*/ 134 h 693"/>
                <a:gd name="T48" fmla="*/ 450 w 669"/>
                <a:gd name="T49" fmla="*/ 119 h 693"/>
                <a:gd name="T50" fmla="*/ 501 w 669"/>
                <a:gd name="T51" fmla="*/ 18 h 693"/>
                <a:gd name="T52" fmla="*/ 539 w 669"/>
                <a:gd name="T53" fmla="*/ 5 h 6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69" h="693">
                  <a:moveTo>
                    <a:pt x="539" y="5"/>
                  </a:moveTo>
                  <a:cubicBezTo>
                    <a:pt x="579" y="0"/>
                    <a:pt x="619" y="19"/>
                    <a:pt x="640" y="55"/>
                  </a:cubicBezTo>
                  <a:cubicBezTo>
                    <a:pt x="669" y="104"/>
                    <a:pt x="652" y="167"/>
                    <a:pt x="603" y="195"/>
                  </a:cubicBezTo>
                  <a:cubicBezTo>
                    <a:pt x="566" y="216"/>
                    <a:pt x="522" y="212"/>
                    <a:pt x="490" y="188"/>
                  </a:cubicBezTo>
                  <a:cubicBezTo>
                    <a:pt x="479" y="176"/>
                    <a:pt x="479" y="176"/>
                    <a:pt x="479" y="176"/>
                  </a:cubicBezTo>
                  <a:cubicBezTo>
                    <a:pt x="213" y="330"/>
                    <a:pt x="213" y="330"/>
                    <a:pt x="213" y="330"/>
                  </a:cubicBezTo>
                  <a:cubicBezTo>
                    <a:pt x="218" y="345"/>
                    <a:pt x="218" y="345"/>
                    <a:pt x="218" y="345"/>
                  </a:cubicBezTo>
                  <a:cubicBezTo>
                    <a:pt x="219" y="355"/>
                    <a:pt x="219" y="365"/>
                    <a:pt x="218" y="375"/>
                  </a:cubicBezTo>
                  <a:cubicBezTo>
                    <a:pt x="209" y="402"/>
                    <a:pt x="209" y="402"/>
                    <a:pt x="209" y="402"/>
                  </a:cubicBezTo>
                  <a:cubicBezTo>
                    <a:pt x="369" y="503"/>
                    <a:pt x="369" y="503"/>
                    <a:pt x="369" y="503"/>
                  </a:cubicBezTo>
                  <a:cubicBezTo>
                    <a:pt x="373" y="498"/>
                    <a:pt x="373" y="498"/>
                    <a:pt x="373" y="498"/>
                  </a:cubicBezTo>
                  <a:cubicBezTo>
                    <a:pt x="396" y="479"/>
                    <a:pt x="427" y="470"/>
                    <a:pt x="456" y="475"/>
                  </a:cubicBezTo>
                  <a:cubicBezTo>
                    <a:pt x="470" y="477"/>
                    <a:pt x="482" y="482"/>
                    <a:pt x="494" y="489"/>
                  </a:cubicBezTo>
                  <a:cubicBezTo>
                    <a:pt x="542" y="519"/>
                    <a:pt x="557" y="583"/>
                    <a:pt x="527" y="630"/>
                  </a:cubicBezTo>
                  <a:cubicBezTo>
                    <a:pt x="497" y="678"/>
                    <a:pt x="433" y="693"/>
                    <a:pt x="386" y="663"/>
                  </a:cubicBezTo>
                  <a:cubicBezTo>
                    <a:pt x="350" y="640"/>
                    <a:pt x="333" y="599"/>
                    <a:pt x="339" y="560"/>
                  </a:cubicBezTo>
                  <a:cubicBezTo>
                    <a:pt x="345" y="544"/>
                    <a:pt x="345" y="544"/>
                    <a:pt x="345" y="544"/>
                  </a:cubicBezTo>
                  <a:cubicBezTo>
                    <a:pt x="177" y="439"/>
                    <a:pt x="177" y="439"/>
                    <a:pt x="177" y="439"/>
                  </a:cubicBezTo>
                  <a:cubicBezTo>
                    <a:pt x="168" y="446"/>
                    <a:pt x="168" y="446"/>
                    <a:pt x="168" y="446"/>
                  </a:cubicBezTo>
                  <a:cubicBezTo>
                    <a:pt x="119" y="475"/>
                    <a:pt x="56" y="458"/>
                    <a:pt x="28" y="409"/>
                  </a:cubicBezTo>
                  <a:cubicBezTo>
                    <a:pt x="0" y="360"/>
                    <a:pt x="16" y="297"/>
                    <a:pt x="65" y="269"/>
                  </a:cubicBezTo>
                  <a:cubicBezTo>
                    <a:pt x="102" y="248"/>
                    <a:pt x="147" y="252"/>
                    <a:pt x="178" y="276"/>
                  </a:cubicBezTo>
                  <a:cubicBezTo>
                    <a:pt x="189" y="288"/>
                    <a:pt x="189" y="288"/>
                    <a:pt x="189" y="288"/>
                  </a:cubicBezTo>
                  <a:cubicBezTo>
                    <a:pt x="455" y="134"/>
                    <a:pt x="455" y="134"/>
                    <a:pt x="455" y="134"/>
                  </a:cubicBezTo>
                  <a:cubicBezTo>
                    <a:pt x="450" y="119"/>
                    <a:pt x="450" y="119"/>
                    <a:pt x="450" y="119"/>
                  </a:cubicBezTo>
                  <a:cubicBezTo>
                    <a:pt x="445" y="80"/>
                    <a:pt x="464" y="39"/>
                    <a:pt x="501" y="18"/>
                  </a:cubicBezTo>
                  <a:cubicBezTo>
                    <a:pt x="513" y="11"/>
                    <a:pt x="526" y="6"/>
                    <a:pt x="539" y="5"/>
                  </a:cubicBezTo>
                  <a:close/>
                </a:path>
              </a:pathLst>
            </a:custGeom>
            <a:solidFill>
              <a:schemeClr val="tx1"/>
            </a:solidFill>
            <a:ln>
              <a:noFill/>
            </a:ln>
          </p:spPr>
          <p:txBody>
            <a:bodyPr vert="horz" wrap="square" lIns="68574" tIns="34287" rIns="68574" bIns="34287"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0000"/>
                </a:solidFill>
                <a:effectLst/>
                <a:uLnTx/>
                <a:uFillTx/>
                <a:latin typeface="Segoe UI"/>
                <a:ea typeface="+mn-ea"/>
                <a:cs typeface="+mn-cs"/>
              </a:endParaRPr>
            </a:p>
          </p:txBody>
        </p:sp>
        <p:sp>
          <p:nvSpPr>
            <p:cNvPr id="87" name="Freeform 86"/>
            <p:cNvSpPr>
              <a:spLocks noChangeAspect="1" noEditPoints="1"/>
            </p:cNvSpPr>
            <p:nvPr/>
          </p:nvSpPr>
          <p:spPr bwMode="black">
            <a:xfrm>
              <a:off x="722320" y="1783009"/>
              <a:ext cx="452202" cy="366660"/>
            </a:xfrm>
            <a:custGeom>
              <a:avLst/>
              <a:gdLst>
                <a:gd name="T0" fmla="*/ 600 w 1107"/>
                <a:gd name="T1" fmla="*/ 625 h 897"/>
                <a:gd name="T2" fmla="*/ 649 w 1107"/>
                <a:gd name="T3" fmla="*/ 567 h 897"/>
                <a:gd name="T4" fmla="*/ 727 w 1107"/>
                <a:gd name="T5" fmla="*/ 482 h 897"/>
                <a:gd name="T6" fmla="*/ 601 w 1107"/>
                <a:gd name="T7" fmla="*/ 434 h 897"/>
                <a:gd name="T8" fmla="*/ 628 w 1107"/>
                <a:gd name="T9" fmla="*/ 305 h 897"/>
                <a:gd name="T10" fmla="*/ 547 w 1107"/>
                <a:gd name="T11" fmla="*/ 240 h 897"/>
                <a:gd name="T12" fmla="*/ 427 w 1107"/>
                <a:gd name="T13" fmla="*/ 287 h 897"/>
                <a:gd name="T14" fmla="*/ 368 w 1107"/>
                <a:gd name="T15" fmla="*/ 170 h 897"/>
                <a:gd name="T16" fmla="*/ 285 w 1107"/>
                <a:gd name="T17" fmla="*/ 263 h 897"/>
                <a:gd name="T18" fmla="*/ 241 w 1107"/>
                <a:gd name="T19" fmla="*/ 313 h 897"/>
                <a:gd name="T20" fmla="*/ 139 w 1107"/>
                <a:gd name="T21" fmla="*/ 281 h 897"/>
                <a:gd name="T22" fmla="*/ 79 w 1107"/>
                <a:gd name="T23" fmla="*/ 355 h 897"/>
                <a:gd name="T24" fmla="*/ 132 w 1107"/>
                <a:gd name="T25" fmla="*/ 446 h 897"/>
                <a:gd name="T26" fmla="*/ 83 w 1107"/>
                <a:gd name="T27" fmla="*/ 505 h 897"/>
                <a:gd name="T28" fmla="*/ 5 w 1107"/>
                <a:gd name="T29" fmla="*/ 590 h 897"/>
                <a:gd name="T30" fmla="*/ 132 w 1107"/>
                <a:gd name="T31" fmla="*/ 638 h 897"/>
                <a:gd name="T32" fmla="*/ 145 w 1107"/>
                <a:gd name="T33" fmla="*/ 669 h 897"/>
                <a:gd name="T34" fmla="*/ 110 w 1107"/>
                <a:gd name="T35" fmla="*/ 793 h 897"/>
                <a:gd name="T36" fmla="*/ 230 w 1107"/>
                <a:gd name="T37" fmla="*/ 781 h 897"/>
                <a:gd name="T38" fmla="*/ 306 w 1107"/>
                <a:gd name="T39" fmla="*/ 785 h 897"/>
                <a:gd name="T40" fmla="*/ 346 w 1107"/>
                <a:gd name="T41" fmla="*/ 878 h 897"/>
                <a:gd name="T42" fmla="*/ 440 w 1107"/>
                <a:gd name="T43" fmla="*/ 872 h 897"/>
                <a:gd name="T44" fmla="*/ 466 w 1107"/>
                <a:gd name="T45" fmla="*/ 764 h 897"/>
                <a:gd name="T46" fmla="*/ 539 w 1107"/>
                <a:gd name="T47" fmla="*/ 755 h 897"/>
                <a:gd name="T48" fmla="*/ 659 w 1107"/>
                <a:gd name="T49" fmla="*/ 743 h 897"/>
                <a:gd name="T50" fmla="*/ 263 w 1107"/>
                <a:gd name="T51" fmla="*/ 452 h 897"/>
                <a:gd name="T52" fmla="*/ 281 w 1107"/>
                <a:gd name="T53" fmla="*/ 633 h 897"/>
                <a:gd name="T54" fmla="*/ 1002 w 1107"/>
                <a:gd name="T55" fmla="*/ 332 h 897"/>
                <a:gd name="T56" fmla="*/ 1043 w 1107"/>
                <a:gd name="T57" fmla="*/ 304 h 897"/>
                <a:gd name="T58" fmla="*/ 1107 w 1107"/>
                <a:gd name="T59" fmla="*/ 266 h 897"/>
                <a:gd name="T60" fmla="*/ 1037 w 1107"/>
                <a:gd name="T61" fmla="*/ 213 h 897"/>
                <a:gd name="T62" fmla="*/ 1077 w 1107"/>
                <a:gd name="T63" fmla="*/ 138 h 897"/>
                <a:gd name="T64" fmla="*/ 1038 w 1107"/>
                <a:gd name="T65" fmla="*/ 83 h 897"/>
                <a:gd name="T66" fmla="*/ 956 w 1107"/>
                <a:gd name="T67" fmla="*/ 91 h 897"/>
                <a:gd name="T68" fmla="*/ 940 w 1107"/>
                <a:gd name="T69" fmla="*/ 7 h 897"/>
                <a:gd name="T70" fmla="*/ 872 w 1107"/>
                <a:gd name="T71" fmla="*/ 50 h 897"/>
                <a:gd name="T72" fmla="*/ 836 w 1107"/>
                <a:gd name="T73" fmla="*/ 74 h 897"/>
                <a:gd name="T74" fmla="*/ 778 w 1107"/>
                <a:gd name="T75" fmla="*/ 35 h 897"/>
                <a:gd name="T76" fmla="*/ 728 w 1107"/>
                <a:gd name="T77" fmla="*/ 70 h 897"/>
                <a:gd name="T78" fmla="*/ 744 w 1107"/>
                <a:gd name="T79" fmla="*/ 136 h 897"/>
                <a:gd name="T80" fmla="*/ 703 w 1107"/>
                <a:gd name="T81" fmla="*/ 164 h 897"/>
                <a:gd name="T82" fmla="*/ 640 w 1107"/>
                <a:gd name="T83" fmla="*/ 203 h 897"/>
                <a:gd name="T84" fmla="*/ 710 w 1107"/>
                <a:gd name="T85" fmla="*/ 255 h 897"/>
                <a:gd name="T86" fmla="*/ 712 w 1107"/>
                <a:gd name="T87" fmla="*/ 277 h 897"/>
                <a:gd name="T88" fmla="*/ 668 w 1107"/>
                <a:gd name="T89" fmla="*/ 347 h 897"/>
                <a:gd name="T90" fmla="*/ 745 w 1107"/>
                <a:gd name="T91" fmla="*/ 361 h 897"/>
                <a:gd name="T92" fmla="*/ 791 w 1107"/>
                <a:gd name="T93" fmla="*/ 377 h 897"/>
                <a:gd name="T94" fmla="*/ 799 w 1107"/>
                <a:gd name="T95" fmla="*/ 443 h 897"/>
                <a:gd name="T96" fmla="*/ 859 w 1107"/>
                <a:gd name="T97" fmla="*/ 456 h 897"/>
                <a:gd name="T98" fmla="*/ 894 w 1107"/>
                <a:gd name="T99" fmla="*/ 393 h 897"/>
                <a:gd name="T100" fmla="*/ 941 w 1107"/>
                <a:gd name="T101" fmla="*/ 401 h 897"/>
                <a:gd name="T102" fmla="*/ 1018 w 1107"/>
                <a:gd name="T103" fmla="*/ 415 h 897"/>
                <a:gd name="T104" fmla="*/ 825 w 1107"/>
                <a:gd name="T105" fmla="*/ 164 h 897"/>
                <a:gd name="T106" fmla="*/ 803 w 1107"/>
                <a:gd name="T107" fmla="*/ 279 h 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107" h="897">
                  <a:moveTo>
                    <a:pt x="654" y="716"/>
                  </a:moveTo>
                  <a:cubicBezTo>
                    <a:pt x="616" y="670"/>
                    <a:pt x="616" y="670"/>
                    <a:pt x="616" y="670"/>
                  </a:cubicBezTo>
                  <a:cubicBezTo>
                    <a:pt x="593" y="654"/>
                    <a:pt x="603" y="638"/>
                    <a:pt x="600" y="625"/>
                  </a:cubicBezTo>
                  <a:cubicBezTo>
                    <a:pt x="600" y="625"/>
                    <a:pt x="600" y="625"/>
                    <a:pt x="600" y="625"/>
                  </a:cubicBezTo>
                  <a:cubicBezTo>
                    <a:pt x="605" y="617"/>
                    <a:pt x="611" y="609"/>
                    <a:pt x="608" y="596"/>
                  </a:cubicBezTo>
                  <a:cubicBezTo>
                    <a:pt x="618" y="580"/>
                    <a:pt x="623" y="572"/>
                    <a:pt x="649" y="567"/>
                  </a:cubicBezTo>
                  <a:cubicBezTo>
                    <a:pt x="715" y="553"/>
                    <a:pt x="715" y="553"/>
                    <a:pt x="715" y="553"/>
                  </a:cubicBezTo>
                  <a:cubicBezTo>
                    <a:pt x="728" y="550"/>
                    <a:pt x="733" y="542"/>
                    <a:pt x="730" y="529"/>
                  </a:cubicBezTo>
                  <a:cubicBezTo>
                    <a:pt x="727" y="482"/>
                    <a:pt x="727" y="482"/>
                    <a:pt x="727" y="482"/>
                  </a:cubicBezTo>
                  <a:cubicBezTo>
                    <a:pt x="724" y="469"/>
                    <a:pt x="717" y="463"/>
                    <a:pt x="701" y="453"/>
                  </a:cubicBezTo>
                  <a:cubicBezTo>
                    <a:pt x="641" y="459"/>
                    <a:pt x="641" y="459"/>
                    <a:pt x="641" y="459"/>
                  </a:cubicBezTo>
                  <a:cubicBezTo>
                    <a:pt x="620" y="457"/>
                    <a:pt x="604" y="447"/>
                    <a:pt x="601" y="434"/>
                  </a:cubicBezTo>
                  <a:cubicBezTo>
                    <a:pt x="598" y="421"/>
                    <a:pt x="590" y="416"/>
                    <a:pt x="580" y="397"/>
                  </a:cubicBezTo>
                  <a:cubicBezTo>
                    <a:pt x="577" y="384"/>
                    <a:pt x="574" y="371"/>
                    <a:pt x="584" y="355"/>
                  </a:cubicBezTo>
                  <a:cubicBezTo>
                    <a:pt x="628" y="305"/>
                    <a:pt x="628" y="305"/>
                    <a:pt x="628" y="305"/>
                  </a:cubicBezTo>
                  <a:cubicBezTo>
                    <a:pt x="634" y="297"/>
                    <a:pt x="631" y="284"/>
                    <a:pt x="623" y="279"/>
                  </a:cubicBezTo>
                  <a:cubicBezTo>
                    <a:pt x="581" y="240"/>
                    <a:pt x="581" y="240"/>
                    <a:pt x="581" y="240"/>
                  </a:cubicBezTo>
                  <a:cubicBezTo>
                    <a:pt x="573" y="235"/>
                    <a:pt x="560" y="238"/>
                    <a:pt x="547" y="240"/>
                  </a:cubicBezTo>
                  <a:cubicBezTo>
                    <a:pt x="503" y="291"/>
                    <a:pt x="503" y="291"/>
                    <a:pt x="503" y="291"/>
                  </a:cubicBezTo>
                  <a:cubicBezTo>
                    <a:pt x="484" y="302"/>
                    <a:pt x="471" y="304"/>
                    <a:pt x="463" y="299"/>
                  </a:cubicBezTo>
                  <a:cubicBezTo>
                    <a:pt x="456" y="294"/>
                    <a:pt x="435" y="292"/>
                    <a:pt x="427" y="287"/>
                  </a:cubicBezTo>
                  <a:cubicBezTo>
                    <a:pt x="419" y="282"/>
                    <a:pt x="403" y="271"/>
                    <a:pt x="400" y="258"/>
                  </a:cubicBezTo>
                  <a:cubicBezTo>
                    <a:pt x="386" y="193"/>
                    <a:pt x="386" y="193"/>
                    <a:pt x="386" y="193"/>
                  </a:cubicBezTo>
                  <a:cubicBezTo>
                    <a:pt x="384" y="180"/>
                    <a:pt x="368" y="170"/>
                    <a:pt x="368" y="170"/>
                  </a:cubicBezTo>
                  <a:cubicBezTo>
                    <a:pt x="308" y="176"/>
                    <a:pt x="308" y="176"/>
                    <a:pt x="308" y="176"/>
                  </a:cubicBezTo>
                  <a:cubicBezTo>
                    <a:pt x="308" y="176"/>
                    <a:pt x="289" y="187"/>
                    <a:pt x="292" y="200"/>
                  </a:cubicBezTo>
                  <a:cubicBezTo>
                    <a:pt x="285" y="263"/>
                    <a:pt x="285" y="263"/>
                    <a:pt x="285" y="263"/>
                  </a:cubicBezTo>
                  <a:cubicBezTo>
                    <a:pt x="291" y="289"/>
                    <a:pt x="277" y="292"/>
                    <a:pt x="272" y="300"/>
                  </a:cubicBezTo>
                  <a:cubicBezTo>
                    <a:pt x="272" y="300"/>
                    <a:pt x="272" y="300"/>
                    <a:pt x="267" y="308"/>
                  </a:cubicBezTo>
                  <a:cubicBezTo>
                    <a:pt x="259" y="302"/>
                    <a:pt x="246" y="305"/>
                    <a:pt x="241" y="313"/>
                  </a:cubicBezTo>
                  <a:cubicBezTo>
                    <a:pt x="236" y="321"/>
                    <a:pt x="236" y="321"/>
                    <a:pt x="236" y="321"/>
                  </a:cubicBezTo>
                  <a:cubicBezTo>
                    <a:pt x="223" y="324"/>
                    <a:pt x="210" y="327"/>
                    <a:pt x="194" y="317"/>
                  </a:cubicBezTo>
                  <a:cubicBezTo>
                    <a:pt x="139" y="281"/>
                    <a:pt x="139" y="281"/>
                    <a:pt x="139" y="281"/>
                  </a:cubicBezTo>
                  <a:cubicBezTo>
                    <a:pt x="131" y="276"/>
                    <a:pt x="110" y="273"/>
                    <a:pt x="104" y="281"/>
                  </a:cubicBezTo>
                  <a:cubicBezTo>
                    <a:pt x="79" y="321"/>
                    <a:pt x="79" y="321"/>
                    <a:pt x="79" y="321"/>
                  </a:cubicBezTo>
                  <a:cubicBezTo>
                    <a:pt x="66" y="324"/>
                    <a:pt x="68" y="337"/>
                    <a:pt x="79" y="355"/>
                  </a:cubicBezTo>
                  <a:cubicBezTo>
                    <a:pt x="121" y="394"/>
                    <a:pt x="121" y="394"/>
                    <a:pt x="121" y="394"/>
                  </a:cubicBezTo>
                  <a:cubicBezTo>
                    <a:pt x="140" y="417"/>
                    <a:pt x="135" y="425"/>
                    <a:pt x="132" y="446"/>
                  </a:cubicBezTo>
                  <a:cubicBezTo>
                    <a:pt x="132" y="446"/>
                    <a:pt x="132" y="446"/>
                    <a:pt x="132" y="446"/>
                  </a:cubicBezTo>
                  <a:cubicBezTo>
                    <a:pt x="127" y="454"/>
                    <a:pt x="122" y="462"/>
                    <a:pt x="117" y="470"/>
                  </a:cubicBezTo>
                  <a:cubicBezTo>
                    <a:pt x="117" y="470"/>
                    <a:pt x="117" y="470"/>
                    <a:pt x="117" y="470"/>
                  </a:cubicBezTo>
                  <a:cubicBezTo>
                    <a:pt x="120" y="483"/>
                    <a:pt x="109" y="499"/>
                    <a:pt x="83" y="505"/>
                  </a:cubicBezTo>
                  <a:cubicBezTo>
                    <a:pt x="23" y="511"/>
                    <a:pt x="23" y="511"/>
                    <a:pt x="23" y="511"/>
                  </a:cubicBezTo>
                  <a:cubicBezTo>
                    <a:pt x="10" y="514"/>
                    <a:pt x="0" y="529"/>
                    <a:pt x="2" y="543"/>
                  </a:cubicBezTo>
                  <a:cubicBezTo>
                    <a:pt x="5" y="590"/>
                    <a:pt x="5" y="590"/>
                    <a:pt x="5" y="590"/>
                  </a:cubicBezTo>
                  <a:cubicBezTo>
                    <a:pt x="8" y="603"/>
                    <a:pt x="16" y="608"/>
                    <a:pt x="37" y="610"/>
                  </a:cubicBezTo>
                  <a:cubicBezTo>
                    <a:pt x="92" y="612"/>
                    <a:pt x="92" y="612"/>
                    <a:pt x="92" y="612"/>
                  </a:cubicBezTo>
                  <a:cubicBezTo>
                    <a:pt x="113" y="614"/>
                    <a:pt x="129" y="625"/>
                    <a:pt x="132" y="638"/>
                  </a:cubicBezTo>
                  <a:cubicBezTo>
                    <a:pt x="132" y="638"/>
                    <a:pt x="132" y="638"/>
                    <a:pt x="132" y="638"/>
                  </a:cubicBezTo>
                  <a:cubicBezTo>
                    <a:pt x="140" y="643"/>
                    <a:pt x="142" y="656"/>
                    <a:pt x="150" y="661"/>
                  </a:cubicBezTo>
                  <a:cubicBezTo>
                    <a:pt x="145" y="669"/>
                    <a:pt x="145" y="669"/>
                    <a:pt x="145" y="669"/>
                  </a:cubicBezTo>
                  <a:cubicBezTo>
                    <a:pt x="153" y="674"/>
                    <a:pt x="156" y="687"/>
                    <a:pt x="140" y="711"/>
                  </a:cubicBezTo>
                  <a:cubicBezTo>
                    <a:pt x="109" y="759"/>
                    <a:pt x="109" y="759"/>
                    <a:pt x="109" y="759"/>
                  </a:cubicBezTo>
                  <a:cubicBezTo>
                    <a:pt x="99" y="775"/>
                    <a:pt x="102" y="788"/>
                    <a:pt x="110" y="793"/>
                  </a:cubicBezTo>
                  <a:cubicBezTo>
                    <a:pt x="152" y="832"/>
                    <a:pt x="152" y="832"/>
                    <a:pt x="152" y="832"/>
                  </a:cubicBezTo>
                  <a:cubicBezTo>
                    <a:pt x="160" y="837"/>
                    <a:pt x="173" y="834"/>
                    <a:pt x="178" y="826"/>
                  </a:cubicBezTo>
                  <a:cubicBezTo>
                    <a:pt x="230" y="781"/>
                    <a:pt x="230" y="781"/>
                    <a:pt x="230" y="781"/>
                  </a:cubicBezTo>
                  <a:cubicBezTo>
                    <a:pt x="248" y="770"/>
                    <a:pt x="261" y="767"/>
                    <a:pt x="269" y="772"/>
                  </a:cubicBezTo>
                  <a:cubicBezTo>
                    <a:pt x="269" y="772"/>
                    <a:pt x="269" y="772"/>
                    <a:pt x="269" y="772"/>
                  </a:cubicBezTo>
                  <a:cubicBezTo>
                    <a:pt x="282" y="769"/>
                    <a:pt x="298" y="779"/>
                    <a:pt x="306" y="785"/>
                  </a:cubicBezTo>
                  <a:cubicBezTo>
                    <a:pt x="306" y="785"/>
                    <a:pt x="306" y="785"/>
                    <a:pt x="306" y="785"/>
                  </a:cubicBezTo>
                  <a:cubicBezTo>
                    <a:pt x="319" y="782"/>
                    <a:pt x="327" y="787"/>
                    <a:pt x="332" y="813"/>
                  </a:cubicBezTo>
                  <a:cubicBezTo>
                    <a:pt x="346" y="878"/>
                    <a:pt x="346" y="878"/>
                    <a:pt x="346" y="878"/>
                  </a:cubicBezTo>
                  <a:cubicBezTo>
                    <a:pt x="349" y="892"/>
                    <a:pt x="357" y="897"/>
                    <a:pt x="370" y="894"/>
                  </a:cubicBezTo>
                  <a:cubicBezTo>
                    <a:pt x="425" y="896"/>
                    <a:pt x="425" y="896"/>
                    <a:pt x="425" y="896"/>
                  </a:cubicBezTo>
                  <a:cubicBezTo>
                    <a:pt x="430" y="888"/>
                    <a:pt x="443" y="885"/>
                    <a:pt x="440" y="872"/>
                  </a:cubicBezTo>
                  <a:cubicBezTo>
                    <a:pt x="440" y="804"/>
                    <a:pt x="440" y="804"/>
                    <a:pt x="440" y="804"/>
                  </a:cubicBezTo>
                  <a:cubicBezTo>
                    <a:pt x="442" y="783"/>
                    <a:pt x="460" y="772"/>
                    <a:pt x="466" y="764"/>
                  </a:cubicBezTo>
                  <a:cubicBezTo>
                    <a:pt x="466" y="764"/>
                    <a:pt x="466" y="764"/>
                    <a:pt x="466" y="764"/>
                  </a:cubicBezTo>
                  <a:cubicBezTo>
                    <a:pt x="479" y="761"/>
                    <a:pt x="492" y="758"/>
                    <a:pt x="497" y="750"/>
                  </a:cubicBezTo>
                  <a:cubicBezTo>
                    <a:pt x="497" y="750"/>
                    <a:pt x="497" y="750"/>
                    <a:pt x="497" y="750"/>
                  </a:cubicBezTo>
                  <a:cubicBezTo>
                    <a:pt x="510" y="747"/>
                    <a:pt x="523" y="745"/>
                    <a:pt x="539" y="755"/>
                  </a:cubicBezTo>
                  <a:cubicBezTo>
                    <a:pt x="594" y="791"/>
                    <a:pt x="594" y="791"/>
                    <a:pt x="594" y="791"/>
                  </a:cubicBezTo>
                  <a:cubicBezTo>
                    <a:pt x="602" y="796"/>
                    <a:pt x="623" y="798"/>
                    <a:pt x="628" y="790"/>
                  </a:cubicBezTo>
                  <a:cubicBezTo>
                    <a:pt x="659" y="743"/>
                    <a:pt x="659" y="743"/>
                    <a:pt x="659" y="743"/>
                  </a:cubicBezTo>
                  <a:cubicBezTo>
                    <a:pt x="659" y="743"/>
                    <a:pt x="669" y="727"/>
                    <a:pt x="654" y="716"/>
                  </a:cubicBezTo>
                  <a:close/>
                  <a:moveTo>
                    <a:pt x="281" y="633"/>
                  </a:moveTo>
                  <a:cubicBezTo>
                    <a:pt x="223" y="584"/>
                    <a:pt x="219" y="502"/>
                    <a:pt x="263" y="452"/>
                  </a:cubicBezTo>
                  <a:cubicBezTo>
                    <a:pt x="313" y="393"/>
                    <a:pt x="399" y="382"/>
                    <a:pt x="457" y="431"/>
                  </a:cubicBezTo>
                  <a:cubicBezTo>
                    <a:pt x="507" y="475"/>
                    <a:pt x="518" y="561"/>
                    <a:pt x="469" y="619"/>
                  </a:cubicBezTo>
                  <a:cubicBezTo>
                    <a:pt x="420" y="678"/>
                    <a:pt x="339" y="682"/>
                    <a:pt x="281" y="633"/>
                  </a:cubicBezTo>
                  <a:close/>
                  <a:moveTo>
                    <a:pt x="1019" y="398"/>
                  </a:moveTo>
                  <a:cubicBezTo>
                    <a:pt x="1004" y="362"/>
                    <a:pt x="1004" y="362"/>
                    <a:pt x="1004" y="362"/>
                  </a:cubicBezTo>
                  <a:cubicBezTo>
                    <a:pt x="992" y="348"/>
                    <a:pt x="1002" y="340"/>
                    <a:pt x="1002" y="332"/>
                  </a:cubicBezTo>
                  <a:cubicBezTo>
                    <a:pt x="1002" y="332"/>
                    <a:pt x="1002" y="332"/>
                    <a:pt x="1002" y="332"/>
                  </a:cubicBezTo>
                  <a:cubicBezTo>
                    <a:pt x="1007" y="328"/>
                    <a:pt x="1011" y="324"/>
                    <a:pt x="1012" y="315"/>
                  </a:cubicBezTo>
                  <a:cubicBezTo>
                    <a:pt x="1021" y="307"/>
                    <a:pt x="1026" y="303"/>
                    <a:pt x="1043" y="304"/>
                  </a:cubicBezTo>
                  <a:cubicBezTo>
                    <a:pt x="1086" y="307"/>
                    <a:pt x="1086" y="307"/>
                    <a:pt x="1086" y="307"/>
                  </a:cubicBezTo>
                  <a:cubicBezTo>
                    <a:pt x="1095" y="308"/>
                    <a:pt x="1099" y="304"/>
                    <a:pt x="1100" y="295"/>
                  </a:cubicBezTo>
                  <a:cubicBezTo>
                    <a:pt x="1107" y="266"/>
                    <a:pt x="1107" y="266"/>
                    <a:pt x="1107" y="266"/>
                  </a:cubicBezTo>
                  <a:cubicBezTo>
                    <a:pt x="1107" y="257"/>
                    <a:pt x="1103" y="252"/>
                    <a:pt x="1095" y="243"/>
                  </a:cubicBezTo>
                  <a:cubicBezTo>
                    <a:pt x="1057" y="236"/>
                    <a:pt x="1057" y="236"/>
                    <a:pt x="1057" y="236"/>
                  </a:cubicBezTo>
                  <a:cubicBezTo>
                    <a:pt x="1044" y="231"/>
                    <a:pt x="1036" y="222"/>
                    <a:pt x="1037" y="213"/>
                  </a:cubicBezTo>
                  <a:cubicBezTo>
                    <a:pt x="1038" y="205"/>
                    <a:pt x="1034" y="200"/>
                    <a:pt x="1030" y="187"/>
                  </a:cubicBezTo>
                  <a:cubicBezTo>
                    <a:pt x="1031" y="178"/>
                    <a:pt x="1032" y="170"/>
                    <a:pt x="1041" y="162"/>
                  </a:cubicBezTo>
                  <a:cubicBezTo>
                    <a:pt x="1077" y="138"/>
                    <a:pt x="1077" y="138"/>
                    <a:pt x="1077" y="138"/>
                  </a:cubicBezTo>
                  <a:cubicBezTo>
                    <a:pt x="1082" y="134"/>
                    <a:pt x="1083" y="126"/>
                    <a:pt x="1079" y="121"/>
                  </a:cubicBezTo>
                  <a:cubicBezTo>
                    <a:pt x="1059" y="89"/>
                    <a:pt x="1059" y="89"/>
                    <a:pt x="1059" y="89"/>
                  </a:cubicBezTo>
                  <a:cubicBezTo>
                    <a:pt x="1055" y="85"/>
                    <a:pt x="1047" y="84"/>
                    <a:pt x="1038" y="83"/>
                  </a:cubicBezTo>
                  <a:cubicBezTo>
                    <a:pt x="1002" y="107"/>
                    <a:pt x="1002" y="107"/>
                    <a:pt x="1002" y="107"/>
                  </a:cubicBezTo>
                  <a:cubicBezTo>
                    <a:pt x="989" y="110"/>
                    <a:pt x="980" y="110"/>
                    <a:pt x="976" y="105"/>
                  </a:cubicBezTo>
                  <a:cubicBezTo>
                    <a:pt x="972" y="100"/>
                    <a:pt x="960" y="95"/>
                    <a:pt x="956" y="91"/>
                  </a:cubicBezTo>
                  <a:cubicBezTo>
                    <a:pt x="952" y="86"/>
                    <a:pt x="944" y="77"/>
                    <a:pt x="944" y="68"/>
                  </a:cubicBezTo>
                  <a:cubicBezTo>
                    <a:pt x="948" y="25"/>
                    <a:pt x="948" y="25"/>
                    <a:pt x="948" y="25"/>
                  </a:cubicBezTo>
                  <a:cubicBezTo>
                    <a:pt x="948" y="17"/>
                    <a:pt x="940" y="7"/>
                    <a:pt x="940" y="7"/>
                  </a:cubicBezTo>
                  <a:cubicBezTo>
                    <a:pt x="902" y="0"/>
                    <a:pt x="902" y="0"/>
                    <a:pt x="902" y="0"/>
                  </a:cubicBezTo>
                  <a:cubicBezTo>
                    <a:pt x="902" y="0"/>
                    <a:pt x="889" y="4"/>
                    <a:pt x="888" y="12"/>
                  </a:cubicBezTo>
                  <a:cubicBezTo>
                    <a:pt x="872" y="50"/>
                    <a:pt x="872" y="50"/>
                    <a:pt x="872" y="50"/>
                  </a:cubicBezTo>
                  <a:cubicBezTo>
                    <a:pt x="871" y="67"/>
                    <a:pt x="862" y="67"/>
                    <a:pt x="858" y="71"/>
                  </a:cubicBezTo>
                  <a:cubicBezTo>
                    <a:pt x="858" y="71"/>
                    <a:pt x="858" y="71"/>
                    <a:pt x="853" y="75"/>
                  </a:cubicBezTo>
                  <a:cubicBezTo>
                    <a:pt x="849" y="70"/>
                    <a:pt x="840" y="70"/>
                    <a:pt x="836" y="74"/>
                  </a:cubicBezTo>
                  <a:cubicBezTo>
                    <a:pt x="831" y="78"/>
                    <a:pt x="831" y="78"/>
                    <a:pt x="831" y="78"/>
                  </a:cubicBezTo>
                  <a:cubicBezTo>
                    <a:pt x="822" y="77"/>
                    <a:pt x="814" y="76"/>
                    <a:pt x="806" y="67"/>
                  </a:cubicBezTo>
                  <a:cubicBezTo>
                    <a:pt x="778" y="35"/>
                    <a:pt x="778" y="35"/>
                    <a:pt x="778" y="35"/>
                  </a:cubicBezTo>
                  <a:cubicBezTo>
                    <a:pt x="774" y="30"/>
                    <a:pt x="762" y="25"/>
                    <a:pt x="757" y="29"/>
                  </a:cubicBezTo>
                  <a:cubicBezTo>
                    <a:pt x="734" y="49"/>
                    <a:pt x="734" y="49"/>
                    <a:pt x="734" y="49"/>
                  </a:cubicBezTo>
                  <a:cubicBezTo>
                    <a:pt x="725" y="49"/>
                    <a:pt x="725" y="57"/>
                    <a:pt x="728" y="70"/>
                  </a:cubicBezTo>
                  <a:cubicBezTo>
                    <a:pt x="747" y="102"/>
                    <a:pt x="747" y="102"/>
                    <a:pt x="747" y="102"/>
                  </a:cubicBezTo>
                  <a:cubicBezTo>
                    <a:pt x="754" y="120"/>
                    <a:pt x="750" y="124"/>
                    <a:pt x="744" y="136"/>
                  </a:cubicBezTo>
                  <a:cubicBezTo>
                    <a:pt x="744" y="136"/>
                    <a:pt x="744" y="136"/>
                    <a:pt x="744" y="136"/>
                  </a:cubicBezTo>
                  <a:cubicBezTo>
                    <a:pt x="740" y="140"/>
                    <a:pt x="735" y="144"/>
                    <a:pt x="731" y="148"/>
                  </a:cubicBezTo>
                  <a:cubicBezTo>
                    <a:pt x="731" y="148"/>
                    <a:pt x="731" y="148"/>
                    <a:pt x="731" y="148"/>
                  </a:cubicBezTo>
                  <a:cubicBezTo>
                    <a:pt x="730" y="157"/>
                    <a:pt x="721" y="165"/>
                    <a:pt x="703" y="164"/>
                  </a:cubicBezTo>
                  <a:cubicBezTo>
                    <a:pt x="665" y="157"/>
                    <a:pt x="665" y="157"/>
                    <a:pt x="665" y="157"/>
                  </a:cubicBezTo>
                  <a:cubicBezTo>
                    <a:pt x="656" y="156"/>
                    <a:pt x="647" y="164"/>
                    <a:pt x="647" y="173"/>
                  </a:cubicBezTo>
                  <a:cubicBezTo>
                    <a:pt x="640" y="203"/>
                    <a:pt x="640" y="203"/>
                    <a:pt x="640" y="203"/>
                  </a:cubicBezTo>
                  <a:cubicBezTo>
                    <a:pt x="639" y="211"/>
                    <a:pt x="643" y="216"/>
                    <a:pt x="656" y="221"/>
                  </a:cubicBezTo>
                  <a:cubicBezTo>
                    <a:pt x="690" y="232"/>
                    <a:pt x="690" y="232"/>
                    <a:pt x="690" y="232"/>
                  </a:cubicBezTo>
                  <a:cubicBezTo>
                    <a:pt x="702" y="237"/>
                    <a:pt x="710" y="246"/>
                    <a:pt x="710" y="255"/>
                  </a:cubicBezTo>
                  <a:cubicBezTo>
                    <a:pt x="710" y="255"/>
                    <a:pt x="710" y="255"/>
                    <a:pt x="710" y="255"/>
                  </a:cubicBezTo>
                  <a:cubicBezTo>
                    <a:pt x="714" y="260"/>
                    <a:pt x="713" y="268"/>
                    <a:pt x="717" y="273"/>
                  </a:cubicBezTo>
                  <a:cubicBezTo>
                    <a:pt x="712" y="277"/>
                    <a:pt x="712" y="277"/>
                    <a:pt x="712" y="277"/>
                  </a:cubicBezTo>
                  <a:cubicBezTo>
                    <a:pt x="716" y="281"/>
                    <a:pt x="716" y="290"/>
                    <a:pt x="702" y="302"/>
                  </a:cubicBezTo>
                  <a:cubicBezTo>
                    <a:pt x="674" y="326"/>
                    <a:pt x="674" y="326"/>
                    <a:pt x="674" y="326"/>
                  </a:cubicBezTo>
                  <a:cubicBezTo>
                    <a:pt x="665" y="334"/>
                    <a:pt x="664" y="343"/>
                    <a:pt x="668" y="347"/>
                  </a:cubicBezTo>
                  <a:cubicBezTo>
                    <a:pt x="687" y="379"/>
                    <a:pt x="687" y="379"/>
                    <a:pt x="687" y="379"/>
                  </a:cubicBezTo>
                  <a:cubicBezTo>
                    <a:pt x="691" y="383"/>
                    <a:pt x="700" y="384"/>
                    <a:pt x="704" y="380"/>
                  </a:cubicBezTo>
                  <a:cubicBezTo>
                    <a:pt x="745" y="361"/>
                    <a:pt x="745" y="361"/>
                    <a:pt x="745" y="361"/>
                  </a:cubicBezTo>
                  <a:cubicBezTo>
                    <a:pt x="758" y="358"/>
                    <a:pt x="767" y="358"/>
                    <a:pt x="771" y="363"/>
                  </a:cubicBezTo>
                  <a:cubicBezTo>
                    <a:pt x="771" y="363"/>
                    <a:pt x="771" y="363"/>
                    <a:pt x="771" y="363"/>
                  </a:cubicBezTo>
                  <a:cubicBezTo>
                    <a:pt x="779" y="364"/>
                    <a:pt x="787" y="373"/>
                    <a:pt x="791" y="377"/>
                  </a:cubicBezTo>
                  <a:cubicBezTo>
                    <a:pt x="791" y="377"/>
                    <a:pt x="791" y="377"/>
                    <a:pt x="791" y="377"/>
                  </a:cubicBezTo>
                  <a:cubicBezTo>
                    <a:pt x="800" y="378"/>
                    <a:pt x="804" y="383"/>
                    <a:pt x="802" y="400"/>
                  </a:cubicBezTo>
                  <a:cubicBezTo>
                    <a:pt x="799" y="443"/>
                    <a:pt x="799" y="443"/>
                    <a:pt x="799" y="443"/>
                  </a:cubicBezTo>
                  <a:cubicBezTo>
                    <a:pt x="798" y="451"/>
                    <a:pt x="802" y="456"/>
                    <a:pt x="811" y="457"/>
                  </a:cubicBezTo>
                  <a:cubicBezTo>
                    <a:pt x="845" y="468"/>
                    <a:pt x="845" y="468"/>
                    <a:pt x="845" y="468"/>
                  </a:cubicBezTo>
                  <a:cubicBezTo>
                    <a:pt x="849" y="464"/>
                    <a:pt x="858" y="464"/>
                    <a:pt x="859" y="456"/>
                  </a:cubicBezTo>
                  <a:cubicBezTo>
                    <a:pt x="871" y="413"/>
                    <a:pt x="871" y="413"/>
                    <a:pt x="871" y="413"/>
                  </a:cubicBezTo>
                  <a:cubicBezTo>
                    <a:pt x="876" y="401"/>
                    <a:pt x="889" y="397"/>
                    <a:pt x="894" y="393"/>
                  </a:cubicBezTo>
                  <a:cubicBezTo>
                    <a:pt x="894" y="393"/>
                    <a:pt x="894" y="393"/>
                    <a:pt x="894" y="393"/>
                  </a:cubicBezTo>
                  <a:cubicBezTo>
                    <a:pt x="902" y="394"/>
                    <a:pt x="911" y="395"/>
                    <a:pt x="916" y="391"/>
                  </a:cubicBezTo>
                  <a:cubicBezTo>
                    <a:pt x="916" y="391"/>
                    <a:pt x="916" y="391"/>
                    <a:pt x="916" y="391"/>
                  </a:cubicBezTo>
                  <a:cubicBezTo>
                    <a:pt x="924" y="391"/>
                    <a:pt x="933" y="392"/>
                    <a:pt x="941" y="401"/>
                  </a:cubicBezTo>
                  <a:cubicBezTo>
                    <a:pt x="969" y="433"/>
                    <a:pt x="969" y="433"/>
                    <a:pt x="969" y="433"/>
                  </a:cubicBezTo>
                  <a:cubicBezTo>
                    <a:pt x="973" y="438"/>
                    <a:pt x="985" y="443"/>
                    <a:pt x="990" y="439"/>
                  </a:cubicBezTo>
                  <a:cubicBezTo>
                    <a:pt x="1018" y="415"/>
                    <a:pt x="1018" y="415"/>
                    <a:pt x="1018" y="415"/>
                  </a:cubicBezTo>
                  <a:cubicBezTo>
                    <a:pt x="1018" y="415"/>
                    <a:pt x="1027" y="407"/>
                    <a:pt x="1019" y="398"/>
                  </a:cubicBezTo>
                  <a:close/>
                  <a:moveTo>
                    <a:pt x="803" y="279"/>
                  </a:moveTo>
                  <a:cubicBezTo>
                    <a:pt x="776" y="238"/>
                    <a:pt x="788" y="187"/>
                    <a:pt x="825" y="164"/>
                  </a:cubicBezTo>
                  <a:cubicBezTo>
                    <a:pt x="866" y="136"/>
                    <a:pt x="921" y="144"/>
                    <a:pt x="948" y="185"/>
                  </a:cubicBezTo>
                  <a:cubicBezTo>
                    <a:pt x="972" y="221"/>
                    <a:pt x="963" y="277"/>
                    <a:pt x="922" y="304"/>
                  </a:cubicBezTo>
                  <a:cubicBezTo>
                    <a:pt x="881" y="332"/>
                    <a:pt x="830" y="320"/>
                    <a:pt x="803" y="279"/>
                  </a:cubicBezTo>
                  <a:close/>
                </a:path>
              </a:pathLst>
            </a:custGeom>
            <a:solidFill>
              <a:schemeClr val="tx1"/>
            </a:solidFill>
            <a:ln>
              <a:noFill/>
            </a:ln>
          </p:spPr>
          <p:txBody>
            <a:bodyPr vert="horz" wrap="square" lIns="68574" tIns="34287" rIns="68574" bIns="34287"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17346"/>
                </a:solidFill>
                <a:effectLst/>
                <a:uLnTx/>
                <a:uFillTx/>
                <a:latin typeface="Segoe UI"/>
                <a:ea typeface="+mn-ea"/>
                <a:cs typeface="+mn-cs"/>
              </a:endParaRPr>
            </a:p>
          </p:txBody>
        </p:sp>
        <p:sp>
          <p:nvSpPr>
            <p:cNvPr id="88" name="Freeform 87"/>
            <p:cNvSpPr>
              <a:spLocks noChangeAspect="1"/>
            </p:cNvSpPr>
            <p:nvPr/>
          </p:nvSpPr>
          <p:spPr bwMode="black">
            <a:xfrm>
              <a:off x="776985" y="4213905"/>
              <a:ext cx="342871" cy="335728"/>
            </a:xfrm>
            <a:custGeom>
              <a:avLst/>
              <a:gdLst>
                <a:gd name="connsiteX0" fmla="*/ 3713863 w 4893730"/>
                <a:gd name="connsiteY0" fmla="*/ 2130808 h 4791777"/>
                <a:gd name="connsiteX1" fmla="*/ 4426142 w 4893730"/>
                <a:gd name="connsiteY1" fmla="*/ 2130808 h 4791777"/>
                <a:gd name="connsiteX2" fmla="*/ 4598071 w 4893730"/>
                <a:gd name="connsiteY2" fmla="*/ 2301547 h 4791777"/>
                <a:gd name="connsiteX3" fmla="*/ 4598071 w 4893730"/>
                <a:gd name="connsiteY3" fmla="*/ 3886978 h 4791777"/>
                <a:gd name="connsiteX4" fmla="*/ 4426142 w 4893730"/>
                <a:gd name="connsiteY4" fmla="*/ 4057717 h 4791777"/>
                <a:gd name="connsiteX5" fmla="*/ 3713863 w 4893730"/>
                <a:gd name="connsiteY5" fmla="*/ 4057717 h 4791777"/>
                <a:gd name="connsiteX6" fmla="*/ 3517372 w 4893730"/>
                <a:gd name="connsiteY6" fmla="*/ 3886978 h 4791777"/>
                <a:gd name="connsiteX7" fmla="*/ 3517372 w 4893730"/>
                <a:gd name="connsiteY7" fmla="*/ 2301547 h 4791777"/>
                <a:gd name="connsiteX8" fmla="*/ 3713863 w 4893730"/>
                <a:gd name="connsiteY8" fmla="*/ 2130808 h 4791777"/>
                <a:gd name="connsiteX9" fmla="*/ 904368 w 4893730"/>
                <a:gd name="connsiteY9" fmla="*/ 1223432 h 4791777"/>
                <a:gd name="connsiteX10" fmla="*/ 1609930 w 4893730"/>
                <a:gd name="connsiteY10" fmla="*/ 1223432 h 4791777"/>
                <a:gd name="connsiteX11" fmla="*/ 1804567 w 4893730"/>
                <a:gd name="connsiteY11" fmla="*/ 1394467 h 4791777"/>
                <a:gd name="connsiteX12" fmla="*/ 1804567 w 4893730"/>
                <a:gd name="connsiteY12" fmla="*/ 3886683 h 4791777"/>
                <a:gd name="connsiteX13" fmla="*/ 1609930 w 4893730"/>
                <a:gd name="connsiteY13" fmla="*/ 4057717 h 4791777"/>
                <a:gd name="connsiteX14" fmla="*/ 904368 w 4893730"/>
                <a:gd name="connsiteY14" fmla="*/ 4057717 h 4791777"/>
                <a:gd name="connsiteX15" fmla="*/ 734060 w 4893730"/>
                <a:gd name="connsiteY15" fmla="*/ 3886683 h 4791777"/>
                <a:gd name="connsiteX16" fmla="*/ 734060 w 4893730"/>
                <a:gd name="connsiteY16" fmla="*/ 1394467 h 4791777"/>
                <a:gd name="connsiteX17" fmla="*/ 904368 w 4893730"/>
                <a:gd name="connsiteY17" fmla="*/ 1223432 h 4791777"/>
                <a:gd name="connsiteX18" fmla="*/ 2325453 w 4893730"/>
                <a:gd name="connsiteY18" fmla="*/ 316050 h 4791777"/>
                <a:gd name="connsiteX19" fmla="*/ 3031014 w 4893730"/>
                <a:gd name="connsiteY19" fmla="*/ 316050 h 4791777"/>
                <a:gd name="connsiteX20" fmla="*/ 3201322 w 4893730"/>
                <a:gd name="connsiteY20" fmla="*/ 487238 h 4791777"/>
                <a:gd name="connsiteX21" fmla="*/ 3201322 w 4893730"/>
                <a:gd name="connsiteY21" fmla="*/ 3886530 h 4791777"/>
                <a:gd name="connsiteX22" fmla="*/ 3031014 w 4893730"/>
                <a:gd name="connsiteY22" fmla="*/ 4057717 h 4791777"/>
                <a:gd name="connsiteX23" fmla="*/ 2325453 w 4893730"/>
                <a:gd name="connsiteY23" fmla="*/ 4057717 h 4791777"/>
                <a:gd name="connsiteX24" fmla="*/ 2130815 w 4893730"/>
                <a:gd name="connsiteY24" fmla="*/ 3886530 h 4791777"/>
                <a:gd name="connsiteX25" fmla="*/ 2130815 w 4893730"/>
                <a:gd name="connsiteY25" fmla="*/ 487238 h 4791777"/>
                <a:gd name="connsiteX26" fmla="*/ 2325453 w 4893730"/>
                <a:gd name="connsiteY26" fmla="*/ 316050 h 4791777"/>
                <a:gd name="connsiteX27" fmla="*/ 269155 w 4893730"/>
                <a:gd name="connsiteY27" fmla="*/ 0 h 4791777"/>
                <a:gd name="connsiteX28" fmla="*/ 538311 w 4893730"/>
                <a:gd name="connsiteY28" fmla="*/ 268927 h 4791777"/>
                <a:gd name="connsiteX29" fmla="*/ 538311 w 4893730"/>
                <a:gd name="connsiteY29" fmla="*/ 4253925 h 4791777"/>
                <a:gd name="connsiteX30" fmla="*/ 4624575 w 4893730"/>
                <a:gd name="connsiteY30" fmla="*/ 4253925 h 4791777"/>
                <a:gd name="connsiteX31" fmla="*/ 4893730 w 4893730"/>
                <a:gd name="connsiteY31" fmla="*/ 4522851 h 4791777"/>
                <a:gd name="connsiteX32" fmla="*/ 4624575 w 4893730"/>
                <a:gd name="connsiteY32" fmla="*/ 4791777 h 4791777"/>
                <a:gd name="connsiteX33" fmla="*/ 269155 w 4893730"/>
                <a:gd name="connsiteY33" fmla="*/ 4791777 h 4791777"/>
                <a:gd name="connsiteX34" fmla="*/ 0 w 4893730"/>
                <a:gd name="connsiteY34" fmla="*/ 4522851 h 4791777"/>
                <a:gd name="connsiteX35" fmla="*/ 0 w 4893730"/>
                <a:gd name="connsiteY35" fmla="*/ 268927 h 4791777"/>
                <a:gd name="connsiteX36" fmla="*/ 269155 w 4893730"/>
                <a:gd name="connsiteY36" fmla="*/ 0 h 4791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4893730" h="4791777">
                  <a:moveTo>
                    <a:pt x="3713863" y="2130808"/>
                  </a:moveTo>
                  <a:cubicBezTo>
                    <a:pt x="3713863" y="2130808"/>
                    <a:pt x="3713863" y="2130808"/>
                    <a:pt x="4426142" y="2130808"/>
                  </a:cubicBezTo>
                  <a:cubicBezTo>
                    <a:pt x="4524387" y="2130808"/>
                    <a:pt x="4598071" y="2203982"/>
                    <a:pt x="4598071" y="2301547"/>
                  </a:cubicBezTo>
                  <a:cubicBezTo>
                    <a:pt x="4598071" y="2301547"/>
                    <a:pt x="4598071" y="2301547"/>
                    <a:pt x="4598071" y="3886978"/>
                  </a:cubicBezTo>
                  <a:cubicBezTo>
                    <a:pt x="4598071" y="3984543"/>
                    <a:pt x="4524387" y="4057717"/>
                    <a:pt x="4426142" y="4057717"/>
                  </a:cubicBezTo>
                  <a:cubicBezTo>
                    <a:pt x="4426142" y="4057717"/>
                    <a:pt x="4426142" y="4057717"/>
                    <a:pt x="3713863" y="4057717"/>
                  </a:cubicBezTo>
                  <a:cubicBezTo>
                    <a:pt x="3615618" y="4057717"/>
                    <a:pt x="3517372" y="3984543"/>
                    <a:pt x="3517372" y="3886978"/>
                  </a:cubicBezTo>
                  <a:cubicBezTo>
                    <a:pt x="3517372" y="3886978"/>
                    <a:pt x="3517372" y="3886978"/>
                    <a:pt x="3517372" y="2301547"/>
                  </a:cubicBezTo>
                  <a:cubicBezTo>
                    <a:pt x="3517372" y="2203982"/>
                    <a:pt x="3615618" y="2130808"/>
                    <a:pt x="3713863" y="2130808"/>
                  </a:cubicBezTo>
                  <a:close/>
                  <a:moveTo>
                    <a:pt x="904368" y="1223432"/>
                  </a:moveTo>
                  <a:cubicBezTo>
                    <a:pt x="904368" y="1223432"/>
                    <a:pt x="904368" y="1223432"/>
                    <a:pt x="1609930" y="1223432"/>
                  </a:cubicBezTo>
                  <a:cubicBezTo>
                    <a:pt x="1731578" y="1223432"/>
                    <a:pt x="1804567" y="1296733"/>
                    <a:pt x="1804567" y="1394467"/>
                  </a:cubicBezTo>
                  <a:cubicBezTo>
                    <a:pt x="1804567" y="1394467"/>
                    <a:pt x="1804567" y="1394467"/>
                    <a:pt x="1804567" y="3886683"/>
                  </a:cubicBezTo>
                  <a:cubicBezTo>
                    <a:pt x="1804567" y="3984417"/>
                    <a:pt x="1731578" y="4057717"/>
                    <a:pt x="1609930" y="4057717"/>
                  </a:cubicBezTo>
                  <a:cubicBezTo>
                    <a:pt x="1609930" y="4057717"/>
                    <a:pt x="1609930" y="4057717"/>
                    <a:pt x="904368" y="4057717"/>
                  </a:cubicBezTo>
                  <a:cubicBezTo>
                    <a:pt x="807049" y="4057717"/>
                    <a:pt x="734060" y="3984417"/>
                    <a:pt x="734060" y="3886683"/>
                  </a:cubicBezTo>
                  <a:cubicBezTo>
                    <a:pt x="734060" y="3886683"/>
                    <a:pt x="734060" y="3886683"/>
                    <a:pt x="734060" y="1394467"/>
                  </a:cubicBezTo>
                  <a:cubicBezTo>
                    <a:pt x="734060" y="1296733"/>
                    <a:pt x="807049" y="1223432"/>
                    <a:pt x="904368" y="1223432"/>
                  </a:cubicBezTo>
                  <a:close/>
                  <a:moveTo>
                    <a:pt x="2325453" y="316050"/>
                  </a:moveTo>
                  <a:cubicBezTo>
                    <a:pt x="2325453" y="316050"/>
                    <a:pt x="2325453" y="316050"/>
                    <a:pt x="3031014" y="316050"/>
                  </a:cubicBezTo>
                  <a:cubicBezTo>
                    <a:pt x="3128333" y="316050"/>
                    <a:pt x="3201322" y="389416"/>
                    <a:pt x="3201322" y="487238"/>
                  </a:cubicBezTo>
                  <a:cubicBezTo>
                    <a:pt x="3201322" y="487238"/>
                    <a:pt x="3201322" y="487238"/>
                    <a:pt x="3201322" y="3886530"/>
                  </a:cubicBezTo>
                  <a:cubicBezTo>
                    <a:pt x="3201322" y="3984351"/>
                    <a:pt x="3128333" y="4057717"/>
                    <a:pt x="3031014" y="4057717"/>
                  </a:cubicBezTo>
                  <a:cubicBezTo>
                    <a:pt x="3031014" y="4057717"/>
                    <a:pt x="3031014" y="4057717"/>
                    <a:pt x="2325453" y="4057717"/>
                  </a:cubicBezTo>
                  <a:cubicBezTo>
                    <a:pt x="2203804" y="4057717"/>
                    <a:pt x="2130815" y="3984351"/>
                    <a:pt x="2130815" y="3886530"/>
                  </a:cubicBezTo>
                  <a:cubicBezTo>
                    <a:pt x="2130815" y="3886530"/>
                    <a:pt x="2130815" y="3886530"/>
                    <a:pt x="2130815" y="487238"/>
                  </a:cubicBezTo>
                  <a:cubicBezTo>
                    <a:pt x="2130815" y="389416"/>
                    <a:pt x="2203804" y="316050"/>
                    <a:pt x="2325453" y="316050"/>
                  </a:cubicBezTo>
                  <a:close/>
                  <a:moveTo>
                    <a:pt x="269155" y="0"/>
                  </a:moveTo>
                  <a:cubicBezTo>
                    <a:pt x="415967" y="0"/>
                    <a:pt x="538311" y="122239"/>
                    <a:pt x="538311" y="268927"/>
                  </a:cubicBezTo>
                  <a:cubicBezTo>
                    <a:pt x="538311" y="268927"/>
                    <a:pt x="538311" y="268927"/>
                    <a:pt x="538311" y="4253925"/>
                  </a:cubicBezTo>
                  <a:cubicBezTo>
                    <a:pt x="538311" y="4253925"/>
                    <a:pt x="538311" y="4253925"/>
                    <a:pt x="4624575" y="4253925"/>
                  </a:cubicBezTo>
                  <a:cubicBezTo>
                    <a:pt x="4771387" y="4253925"/>
                    <a:pt x="4893730" y="4376164"/>
                    <a:pt x="4893730" y="4522851"/>
                  </a:cubicBezTo>
                  <a:cubicBezTo>
                    <a:pt x="4893730" y="4669538"/>
                    <a:pt x="4771387" y="4791777"/>
                    <a:pt x="4624575" y="4791777"/>
                  </a:cubicBezTo>
                  <a:cubicBezTo>
                    <a:pt x="4624575" y="4791777"/>
                    <a:pt x="4624575" y="4791777"/>
                    <a:pt x="269155" y="4791777"/>
                  </a:cubicBezTo>
                  <a:cubicBezTo>
                    <a:pt x="122344" y="4791777"/>
                    <a:pt x="0" y="4669538"/>
                    <a:pt x="0" y="4522851"/>
                  </a:cubicBezTo>
                  <a:cubicBezTo>
                    <a:pt x="0" y="4522851"/>
                    <a:pt x="0" y="4522851"/>
                    <a:pt x="0" y="268927"/>
                  </a:cubicBezTo>
                  <a:cubicBezTo>
                    <a:pt x="0" y="122239"/>
                    <a:pt x="122344" y="0"/>
                    <a:pt x="269155"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37148" tIns="109719" rIns="137148" bIns="109719"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699261"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9" name="Rectangle 88"/>
            <p:cNvSpPr/>
            <p:nvPr/>
          </p:nvSpPr>
          <p:spPr bwMode="auto">
            <a:xfrm rot="2745734">
              <a:off x="279530" y="1141266"/>
              <a:ext cx="1260714" cy="1255193"/>
            </a:xfrm>
            <a:prstGeom prst="rect">
              <a:avLst/>
            </a:prstGeom>
            <a:solidFill>
              <a:schemeClr val="tx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0" name="Rectangle 89"/>
            <p:cNvSpPr/>
            <p:nvPr/>
          </p:nvSpPr>
          <p:spPr bwMode="auto">
            <a:xfrm rot="2745734">
              <a:off x="292433" y="3819160"/>
              <a:ext cx="1610349" cy="1235003"/>
            </a:xfrm>
            <a:prstGeom prst="rect">
              <a:avLst/>
            </a:prstGeom>
            <a:solidFill>
              <a:schemeClr val="tx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2" name="Rectangle 91"/>
            <p:cNvSpPr/>
            <p:nvPr/>
          </p:nvSpPr>
          <p:spPr bwMode="auto">
            <a:xfrm rot="2745734">
              <a:off x="1315610" y="4915701"/>
              <a:ext cx="1263370" cy="1255989"/>
            </a:xfrm>
            <a:prstGeom prst="rect">
              <a:avLst/>
            </a:prstGeom>
            <a:solidFill>
              <a:schemeClr val="tx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40" name="TextBox 39"/>
          <p:cNvSpPr txBox="1"/>
          <p:nvPr/>
        </p:nvSpPr>
        <p:spPr>
          <a:xfrm>
            <a:off x="3" y="51415"/>
            <a:ext cx="2849058" cy="430887"/>
          </a:xfrm>
          <a:prstGeom prst="rect">
            <a:avLst/>
          </a:prstGeom>
        </p:spPr>
        <p:txBody>
          <a:bodyPr wrap="square">
            <a:spAutoFit/>
          </a:bodyPr>
          <a:lstStyle>
            <a:defPPr>
              <a:defRPr lang="en-US"/>
            </a:defPPr>
            <a:lvl1pPr defTabSz="914192">
              <a:defRPr sz="2800" b="1" spc="-100">
                <a:ln w="3175">
                  <a:noFill/>
                </a:ln>
                <a:solidFill>
                  <a:srgbClr val="F2C812"/>
                </a:solidFill>
                <a:latin typeface="Segoe UI" panose="020B0502040204020203" pitchFamily="34" charset="0"/>
                <a:ea typeface="ＭＳ Ｐゴシック" charset="0"/>
                <a:cs typeface="Segoe UI" panose="020B0502040204020203" pitchFamily="34" charset="0"/>
              </a:defRPr>
            </a:lvl1pPr>
          </a:lstStyle>
          <a:p>
            <a:pPr marL="0" marR="0" lvl="0" indent="0" algn="l" defTabSz="914192" rtl="0" eaLnBrk="1" fontAlgn="auto" latinLnBrk="0" hangingPunct="1">
              <a:lnSpc>
                <a:spcPct val="100000"/>
              </a:lnSpc>
              <a:spcBef>
                <a:spcPts val="0"/>
              </a:spcBef>
              <a:spcAft>
                <a:spcPts val="0"/>
              </a:spcAft>
              <a:buClrTx/>
              <a:buSzTx/>
              <a:buFontTx/>
              <a:buNone/>
              <a:tabLst/>
              <a:defRPr/>
            </a:pPr>
            <a:r>
              <a:rPr kumimoji="0" lang="en-US" sz="2200" b="1" i="0" u="none" strike="noStrike" kern="1200" cap="none" spc="-100" normalizeH="0" baseline="0" noProof="0">
                <a:ln w="3175">
                  <a:noFill/>
                </a:ln>
                <a:solidFill>
                  <a:srgbClr val="F2C812"/>
                </a:solidFill>
                <a:effectLst/>
                <a:uLnTx/>
                <a:uFillTx/>
                <a:latin typeface="Segoe UI Light"/>
                <a:ea typeface="ＭＳ Ｐゴシック" charset="0"/>
                <a:cs typeface="Segoe UI" panose="020B0502040204020203" pitchFamily="34" charset="0"/>
              </a:rPr>
              <a:t>Power BI Desktop</a:t>
            </a:r>
          </a:p>
        </p:txBody>
      </p:sp>
      <p:sp>
        <p:nvSpPr>
          <p:cNvPr id="41" name="Rectangle 40"/>
          <p:cNvSpPr/>
          <p:nvPr/>
        </p:nvSpPr>
        <p:spPr bwMode="auto">
          <a:xfrm rot="2745734">
            <a:off x="825067" y="3494250"/>
            <a:ext cx="1260714" cy="370170"/>
          </a:xfrm>
          <a:prstGeom prst="rect">
            <a:avLst/>
          </a:prstGeom>
          <a:solidFill>
            <a:schemeClr val="tx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3" name="Picture 2"/>
          <p:cNvPicPr>
            <a:picLocks noChangeAspect="1"/>
          </p:cNvPicPr>
          <p:nvPr/>
        </p:nvPicPr>
        <p:blipFill>
          <a:blip r:embed="rId3"/>
          <a:stretch>
            <a:fillRect/>
          </a:stretch>
        </p:blipFill>
        <p:spPr>
          <a:xfrm>
            <a:off x="3271713" y="1433019"/>
            <a:ext cx="5114925" cy="4210050"/>
          </a:xfrm>
          <a:prstGeom prst="rect">
            <a:avLst/>
          </a:prstGeom>
          <a:ln>
            <a:noFill/>
          </a:ln>
          <a:effectLst>
            <a:outerShdw blurRad="190500" algn="tl" rotWithShape="0">
              <a:srgbClr val="000000">
                <a:alpha val="70000"/>
              </a:srgbClr>
            </a:outerShdw>
          </a:effectLst>
        </p:spPr>
      </p:pic>
      <p:pic>
        <p:nvPicPr>
          <p:cNvPr id="4" name="Picture 3"/>
          <p:cNvPicPr>
            <a:picLocks noChangeAspect="1"/>
          </p:cNvPicPr>
          <p:nvPr/>
        </p:nvPicPr>
        <p:blipFill>
          <a:blip r:embed="rId4"/>
          <a:stretch>
            <a:fillRect/>
          </a:stretch>
        </p:blipFill>
        <p:spPr>
          <a:xfrm>
            <a:off x="6682531" y="3365617"/>
            <a:ext cx="1704107" cy="2277452"/>
          </a:xfrm>
          <a:prstGeom prst="rect">
            <a:avLst/>
          </a:prstGeom>
          <a:ln>
            <a:noFill/>
          </a:ln>
          <a:effectLst>
            <a:outerShdw blurRad="190500" algn="tl" rotWithShape="0">
              <a:srgbClr val="000000">
                <a:alpha val="70000"/>
              </a:srgbClr>
            </a:outerShdw>
          </a:effectLst>
        </p:spPr>
      </p:pic>
      <p:sp>
        <p:nvSpPr>
          <p:cNvPr id="39" name="Text Placeholder 2"/>
          <p:cNvSpPr txBox="1">
            <a:spLocks/>
          </p:cNvSpPr>
          <p:nvPr/>
        </p:nvSpPr>
        <p:spPr>
          <a:xfrm>
            <a:off x="8572500" y="1412203"/>
            <a:ext cx="3433277" cy="897374"/>
          </a:xfrm>
          <a:prstGeom prst="rect">
            <a:avLst/>
          </a:prstGeom>
        </p:spPr>
        <p:txBody>
          <a:bodyPr vert="horz" wrap="square" lIns="182880" tIns="146304" rIns="182880" bIns="146304" rtlCol="0">
            <a:noAutofit/>
          </a:bodyPr>
          <a:lstStyle>
            <a:lvl1pPr marL="182845" marR="0"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3921" kern="1200" spc="0" baseline="0">
                <a:gradFill>
                  <a:gsLst>
                    <a:gs pos="1250">
                      <a:schemeClr val="tx2"/>
                    </a:gs>
                    <a:gs pos="99000">
                      <a:schemeClr val="tx2"/>
                    </a:gs>
                  </a:gsLst>
                  <a:lin ang="5400000" scaled="0"/>
                </a:gradFill>
                <a:latin typeface="+mj-lt"/>
                <a:ea typeface="+mn-ea"/>
                <a:cs typeface="+mn-cs"/>
              </a:defRPr>
            </a:lvl1pPr>
            <a:lvl2pPr marL="365690" marR="0"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2400" kern="1200" spc="0" baseline="0">
                <a:solidFill>
                  <a:schemeClr val="tx2"/>
                </a:solidFill>
                <a:latin typeface="+mj-lt"/>
                <a:ea typeface="+mn-ea"/>
                <a:cs typeface="+mn-cs"/>
              </a:defRPr>
            </a:lvl2pPr>
            <a:lvl3pPr marL="548535" marR="0"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2000" kern="1200" spc="0" baseline="0">
                <a:solidFill>
                  <a:schemeClr val="tx2"/>
                </a:solidFill>
                <a:latin typeface="+mj-lt"/>
                <a:ea typeface="+mn-ea"/>
                <a:cs typeface="+mn-cs"/>
              </a:defRPr>
            </a:lvl3pPr>
            <a:lvl4pPr marL="733802" marR="0" indent="-28569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1765" kern="1200" spc="0" baseline="0">
                <a:solidFill>
                  <a:schemeClr val="tx2"/>
                </a:solidFill>
                <a:latin typeface="+mn-lt"/>
                <a:ea typeface="+mn-ea"/>
                <a:cs typeface="+mn-cs"/>
              </a:defRPr>
            </a:lvl4pPr>
            <a:lvl5pPr marL="957856" marR="0" indent="-28569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1765" kern="1200" spc="0" baseline="0">
                <a:solidFill>
                  <a:schemeClr val="tx2"/>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r>
              <a:rPr kumimoji="0" lang="en-US" sz="2000" b="0" i="0" u="none" strike="noStrike" kern="1200" cap="none" spc="0" normalizeH="0" baseline="0" noProof="0">
                <a:ln>
                  <a:noFill/>
                </a:ln>
                <a:solidFill>
                  <a:srgbClr val="000000"/>
                </a:solidFill>
                <a:effectLst/>
                <a:uLnTx/>
                <a:uFillTx/>
                <a:latin typeface="Segoe UI Light"/>
                <a:ea typeface="+mn-ea"/>
                <a:cs typeface="+mn-cs"/>
              </a:rPr>
              <a:t>Allows several items on Axis to enable drill</a:t>
            </a: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0" i="0" u="none" strike="noStrike" kern="1200" cap="none" spc="0" normalizeH="0" baseline="0" noProof="0">
              <a:ln>
                <a:noFill/>
              </a:ln>
              <a:solidFill>
                <a:srgbClr val="000000"/>
              </a:solidFill>
              <a:effectLst/>
              <a:uLnTx/>
              <a:uFillTx/>
              <a:latin typeface="Segoe UI Light"/>
              <a:ea typeface="+mn-ea"/>
              <a:cs typeface="+mn-cs"/>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r>
              <a:rPr kumimoji="0" lang="en-US" sz="2000" b="0" i="0" u="none" strike="noStrike" kern="1200" cap="none" spc="0" normalizeH="0" baseline="0" noProof="0">
                <a:ln>
                  <a:noFill/>
                </a:ln>
                <a:solidFill>
                  <a:srgbClr val="000000"/>
                </a:solidFill>
                <a:effectLst/>
                <a:uLnTx/>
                <a:uFillTx/>
                <a:latin typeface="Segoe UI Light"/>
                <a:ea typeface="+mn-ea"/>
                <a:cs typeface="+mn-cs"/>
              </a:rPr>
              <a:t>Legend will cluster many values per Axis item</a:t>
            </a: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0" i="0" u="none" strike="noStrike" kern="1200" cap="none" spc="0" normalizeH="0" baseline="0" noProof="0">
              <a:ln>
                <a:noFill/>
              </a:ln>
              <a:solidFill>
                <a:srgbClr val="000000"/>
              </a:solidFill>
              <a:effectLst/>
              <a:uLnTx/>
              <a:uFillTx/>
              <a:latin typeface="Segoe UI Light"/>
              <a:ea typeface="+mn-ea"/>
              <a:cs typeface="+mn-cs"/>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r>
              <a:rPr kumimoji="0" lang="en-US" sz="2000" b="0" i="0" u="none" strike="noStrike" kern="1200" cap="none" spc="0" normalizeH="0" baseline="0" noProof="0">
                <a:ln>
                  <a:noFill/>
                </a:ln>
                <a:solidFill>
                  <a:srgbClr val="000000"/>
                </a:solidFill>
                <a:effectLst/>
                <a:uLnTx/>
                <a:uFillTx/>
                <a:latin typeface="Segoe UI Light"/>
                <a:ea typeface="+mn-ea"/>
                <a:cs typeface="+mn-cs"/>
              </a:rPr>
              <a:t>Value will provide the size of the bar</a:t>
            </a: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0" i="0" u="none" strike="noStrike" kern="1200" cap="none" spc="0" normalizeH="0" baseline="0" noProof="0">
              <a:ln>
                <a:noFill/>
              </a:ln>
              <a:solidFill>
                <a:srgbClr val="000000"/>
              </a:solidFill>
              <a:effectLst/>
              <a:uLnTx/>
              <a:uFillTx/>
              <a:latin typeface="Segoe UI Light"/>
              <a:ea typeface="+mn-ea"/>
              <a:cs typeface="+mn-cs"/>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r>
              <a:rPr kumimoji="0" lang="en-US" sz="2000" b="0" i="0" u="none" strike="noStrike" kern="1200" cap="none" spc="0" normalizeH="0" baseline="0" noProof="0">
                <a:ln>
                  <a:noFill/>
                </a:ln>
                <a:solidFill>
                  <a:srgbClr val="000000"/>
                </a:solidFill>
                <a:effectLst/>
                <a:uLnTx/>
                <a:uFillTx/>
                <a:latin typeface="Segoe UI Light"/>
                <a:ea typeface="+mn-ea"/>
                <a:cs typeface="+mn-cs"/>
              </a:rPr>
              <a:t>Color Saturation allows a third dimension on the data</a:t>
            </a: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0" i="0" u="none" strike="noStrike" kern="1200" cap="none" spc="0" normalizeH="0" baseline="0" noProof="0">
              <a:ln>
                <a:noFill/>
              </a:ln>
              <a:solidFill>
                <a:srgbClr val="000000"/>
              </a:solidFill>
              <a:effectLst/>
              <a:uLnTx/>
              <a:uFillTx/>
              <a:latin typeface="Segoe UI Light"/>
              <a:ea typeface="+mn-ea"/>
              <a:cs typeface="+mn-cs"/>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0" i="0" u="none" strike="noStrike" kern="1200" cap="none" spc="0" normalizeH="0" baseline="0" noProof="0">
              <a:ln>
                <a:noFill/>
              </a:ln>
              <a:solidFill>
                <a:srgbClr val="000000"/>
              </a:solidFill>
              <a:effectLst/>
              <a:uLnTx/>
              <a:uFillTx/>
              <a:latin typeface="Segoe UI Light"/>
              <a:ea typeface="+mn-ea"/>
              <a:cs typeface="+mn-cs"/>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0" i="0" u="none" strike="noStrike" kern="1200" cap="none" spc="0" normalizeH="0" baseline="0" noProof="0">
              <a:ln>
                <a:noFill/>
              </a:ln>
              <a:solidFill>
                <a:srgbClr val="000000"/>
              </a:solidFill>
              <a:effectLst/>
              <a:uLnTx/>
              <a:uFillTx/>
              <a:latin typeface="Segoe UI Light"/>
              <a:ea typeface="+mn-ea"/>
              <a:cs typeface="+mn-cs"/>
            </a:endParaRPr>
          </a:p>
        </p:txBody>
      </p:sp>
    </p:spTree>
    <p:extLst>
      <p:ext uri="{BB962C8B-B14F-4D97-AF65-F5344CB8AC3E}">
        <p14:creationId xmlns:p14="http://schemas.microsoft.com/office/powerpoint/2010/main" val="16624061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solidFill>
            <a:schemeClr val="bg1"/>
          </a:solidFill>
        </p:spPr>
        <p:txBody>
          <a:bodyPr/>
          <a:lstStyle/>
          <a:p>
            <a:r>
              <a:rPr lang="pt-PT">
                <a:solidFill>
                  <a:schemeClr val="tx1"/>
                </a:solidFill>
              </a:rPr>
              <a:t>Visualisations - </a:t>
            </a:r>
            <a:r>
              <a:rPr lang="en-US" sz="3600">
                <a:solidFill>
                  <a:schemeClr val="tx1"/>
                </a:solidFill>
              </a:rPr>
              <a:t>Properties</a:t>
            </a:r>
          </a:p>
        </p:txBody>
      </p:sp>
      <p:grpSp>
        <p:nvGrpSpPr>
          <p:cNvPr id="52" name="Group 51"/>
          <p:cNvGrpSpPr/>
          <p:nvPr/>
        </p:nvGrpSpPr>
        <p:grpSpPr>
          <a:xfrm>
            <a:off x="2" y="1"/>
            <a:ext cx="2849058" cy="6858000"/>
            <a:chOff x="2" y="1"/>
            <a:chExt cx="2849058" cy="6858000"/>
          </a:xfrm>
        </p:grpSpPr>
        <p:sp>
          <p:nvSpPr>
            <p:cNvPr id="71" name="Rectangle 70"/>
            <p:cNvSpPr/>
            <p:nvPr/>
          </p:nvSpPr>
          <p:spPr bwMode="auto">
            <a:xfrm>
              <a:off x="2" y="1"/>
              <a:ext cx="2849058"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3" name="Oval 70"/>
            <p:cNvSpPr/>
            <p:nvPr/>
          </p:nvSpPr>
          <p:spPr>
            <a:xfrm>
              <a:off x="1413521" y="4951537"/>
              <a:ext cx="1119626" cy="1119626"/>
            </a:xfrm>
            <a:prstGeom prst="ellipse">
              <a:avLst/>
            </a:prstGeom>
            <a:solidFill>
              <a:srgbClr val="F2C812"/>
            </a:solidFill>
            <a:ln w="3175" cap="flat" cmpd="sng" algn="ctr">
              <a:noFill/>
              <a:prstDash val="solid"/>
            </a:ln>
            <a:effectLst/>
          </p:spPr>
          <p:txBody>
            <a:bodyPr vert="horz" wrap="none" lIns="0" tIns="45720" rIns="0" bIns="0" rtlCol="0" anchor="t"/>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Segoe UI"/>
                  <a:ea typeface="Segoe UI" pitchFamily="34" charset="0"/>
                  <a:cs typeface="Segoe UI" pitchFamily="34" charset="0"/>
                </a:rPr>
                <a:t>Share &amp;</a:t>
              </a:r>
            </a:p>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Segoe UI"/>
                  <a:ea typeface="Segoe UI" pitchFamily="34" charset="0"/>
                  <a:cs typeface="Segoe UI" pitchFamily="34" charset="0"/>
                </a:rPr>
                <a:t>collaborate </a:t>
              </a:r>
            </a:p>
          </p:txBody>
        </p:sp>
        <p:grpSp>
          <p:nvGrpSpPr>
            <p:cNvPr id="76" name="Group 38"/>
            <p:cNvGrpSpPr>
              <a:grpSpLocks noChangeAspect="1"/>
            </p:cNvGrpSpPr>
            <p:nvPr/>
          </p:nvGrpSpPr>
          <p:grpSpPr>
            <a:xfrm>
              <a:off x="676996" y="3930692"/>
              <a:ext cx="383905" cy="351536"/>
              <a:chOff x="4363684" y="5330386"/>
              <a:chExt cx="1409956" cy="1291077"/>
            </a:xfrm>
            <a:solidFill>
              <a:srgbClr val="217346"/>
            </a:solidFill>
          </p:grpSpPr>
          <p:sp>
            <p:nvSpPr>
              <p:cNvPr id="102" name="Donut 3"/>
              <p:cNvSpPr/>
              <p:nvPr/>
            </p:nvSpPr>
            <p:spPr bwMode="auto">
              <a:xfrm>
                <a:off x="4363684" y="5330386"/>
                <a:ext cx="1409956" cy="1291077"/>
              </a:xfrm>
              <a:custGeom>
                <a:avLst/>
                <a:gdLst/>
                <a:ahLst/>
                <a:cxnLst/>
                <a:rect l="l" t="t" r="r" b="b"/>
                <a:pathLst>
                  <a:path w="1409956" h="1291077">
                    <a:moveTo>
                      <a:pt x="956401" y="78410"/>
                    </a:moveTo>
                    <a:cubicBezTo>
                      <a:pt x="747518" y="78410"/>
                      <a:pt x="578184" y="247744"/>
                      <a:pt x="578184" y="456627"/>
                    </a:cubicBezTo>
                    <a:cubicBezTo>
                      <a:pt x="578184" y="665510"/>
                      <a:pt x="747518" y="834844"/>
                      <a:pt x="956401" y="834844"/>
                    </a:cubicBezTo>
                    <a:cubicBezTo>
                      <a:pt x="1165284" y="834844"/>
                      <a:pt x="1334618" y="665510"/>
                      <a:pt x="1334618" y="456627"/>
                    </a:cubicBezTo>
                    <a:cubicBezTo>
                      <a:pt x="1334618" y="247744"/>
                      <a:pt x="1165284" y="78410"/>
                      <a:pt x="956401" y="78410"/>
                    </a:cubicBezTo>
                    <a:close/>
                    <a:moveTo>
                      <a:pt x="952756" y="0"/>
                    </a:moveTo>
                    <a:cubicBezTo>
                      <a:pt x="1205261" y="0"/>
                      <a:pt x="1409956" y="204695"/>
                      <a:pt x="1409956" y="457200"/>
                    </a:cubicBezTo>
                    <a:cubicBezTo>
                      <a:pt x="1409956" y="709705"/>
                      <a:pt x="1205261" y="914400"/>
                      <a:pt x="952756" y="914400"/>
                    </a:cubicBezTo>
                    <a:cubicBezTo>
                      <a:pt x="862133" y="914400"/>
                      <a:pt x="777669" y="888034"/>
                      <a:pt x="707132" y="841746"/>
                    </a:cubicBezTo>
                    <a:lnTo>
                      <a:pt x="136495" y="1280102"/>
                    </a:lnTo>
                    <a:cubicBezTo>
                      <a:pt x="21896" y="1327168"/>
                      <a:pt x="-44029" y="1213730"/>
                      <a:pt x="33797" y="1113182"/>
                    </a:cubicBezTo>
                    <a:lnTo>
                      <a:pt x="568587" y="703518"/>
                    </a:lnTo>
                    <a:cubicBezTo>
                      <a:pt x="522087" y="632814"/>
                      <a:pt x="495556" y="548105"/>
                      <a:pt x="495556" y="457200"/>
                    </a:cubicBezTo>
                    <a:cubicBezTo>
                      <a:pt x="495556" y="204695"/>
                      <a:pt x="700251" y="0"/>
                      <a:pt x="952756" y="0"/>
                    </a:cubicBezTo>
                    <a:close/>
                  </a:path>
                </a:pathLst>
              </a:custGeom>
              <a:grpFill/>
              <a:ln>
                <a:solidFill>
                  <a:srgbClr val="21734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sp>
            <p:nvSpPr>
              <p:cNvPr id="103" name="Rectangle 4"/>
              <p:cNvSpPr/>
              <p:nvPr/>
            </p:nvSpPr>
            <p:spPr>
              <a:xfrm>
                <a:off x="5058389" y="5528247"/>
                <a:ext cx="490885" cy="490020"/>
              </a:xfrm>
              <a:custGeom>
                <a:avLst/>
                <a:gdLst/>
                <a:ahLst/>
                <a:cxnLst/>
                <a:rect l="l" t="t" r="r" b="b"/>
                <a:pathLst>
                  <a:path w="490885" h="490020">
                    <a:moveTo>
                      <a:pt x="240752" y="0"/>
                    </a:moveTo>
                    <a:cubicBezTo>
                      <a:pt x="253961" y="11844"/>
                      <a:pt x="293310" y="49692"/>
                      <a:pt x="337332" y="92439"/>
                    </a:cubicBezTo>
                    <a:lnTo>
                      <a:pt x="328342" y="81259"/>
                    </a:lnTo>
                    <a:cubicBezTo>
                      <a:pt x="356946" y="111282"/>
                      <a:pt x="377251" y="107167"/>
                      <a:pt x="382515" y="87941"/>
                    </a:cubicBezTo>
                    <a:cubicBezTo>
                      <a:pt x="383951" y="76921"/>
                      <a:pt x="384595" y="68732"/>
                      <a:pt x="396997" y="52239"/>
                    </a:cubicBezTo>
                    <a:cubicBezTo>
                      <a:pt x="420362" y="32084"/>
                      <a:pt x="442294" y="41736"/>
                      <a:pt x="454920" y="51330"/>
                    </a:cubicBezTo>
                    <a:cubicBezTo>
                      <a:pt x="467834" y="62761"/>
                      <a:pt x="477920" y="86882"/>
                      <a:pt x="460392" y="109714"/>
                    </a:cubicBezTo>
                    <a:cubicBezTo>
                      <a:pt x="451128" y="121912"/>
                      <a:pt x="437554" y="126838"/>
                      <a:pt x="425922" y="126505"/>
                    </a:cubicBezTo>
                    <a:cubicBezTo>
                      <a:pt x="424301" y="127609"/>
                      <a:pt x="382890" y="134974"/>
                      <a:pt x="427348" y="177672"/>
                    </a:cubicBezTo>
                    <a:lnTo>
                      <a:pt x="416886" y="169735"/>
                    </a:lnTo>
                    <a:cubicBezTo>
                      <a:pt x="450207" y="202177"/>
                      <a:pt x="478424" y="229744"/>
                      <a:pt x="490885" y="241900"/>
                    </a:cubicBezTo>
                    <a:lnTo>
                      <a:pt x="417150" y="317347"/>
                    </a:lnTo>
                    <a:cubicBezTo>
                      <a:pt x="417744" y="316535"/>
                      <a:pt x="418443" y="316123"/>
                      <a:pt x="419047" y="315822"/>
                    </a:cubicBezTo>
                    <a:cubicBezTo>
                      <a:pt x="389023" y="344426"/>
                      <a:pt x="393138" y="364731"/>
                      <a:pt x="412364" y="369995"/>
                    </a:cubicBezTo>
                    <a:cubicBezTo>
                      <a:pt x="423384" y="371431"/>
                      <a:pt x="431574" y="372075"/>
                      <a:pt x="448067" y="384477"/>
                    </a:cubicBezTo>
                    <a:cubicBezTo>
                      <a:pt x="468221" y="407842"/>
                      <a:pt x="458569" y="429774"/>
                      <a:pt x="448975" y="442400"/>
                    </a:cubicBezTo>
                    <a:cubicBezTo>
                      <a:pt x="437545" y="455314"/>
                      <a:pt x="413423" y="465400"/>
                      <a:pt x="390591" y="447872"/>
                    </a:cubicBezTo>
                    <a:cubicBezTo>
                      <a:pt x="378394" y="438608"/>
                      <a:pt x="373468" y="425034"/>
                      <a:pt x="373800" y="413402"/>
                    </a:cubicBezTo>
                    <a:cubicBezTo>
                      <a:pt x="372696" y="411781"/>
                      <a:pt x="365332" y="370370"/>
                      <a:pt x="322634" y="414828"/>
                    </a:cubicBezTo>
                    <a:lnTo>
                      <a:pt x="325243" y="411388"/>
                    </a:lnTo>
                    <a:lnTo>
                      <a:pt x="248395" y="490020"/>
                    </a:lnTo>
                    <a:cubicBezTo>
                      <a:pt x="208939" y="451897"/>
                      <a:pt x="199129" y="442073"/>
                      <a:pt x="174192" y="418236"/>
                    </a:cubicBezTo>
                    <a:cubicBezTo>
                      <a:pt x="145587" y="388212"/>
                      <a:pt x="125282" y="392327"/>
                      <a:pt x="120018" y="411553"/>
                    </a:cubicBezTo>
                    <a:cubicBezTo>
                      <a:pt x="118582" y="422573"/>
                      <a:pt x="117938" y="430763"/>
                      <a:pt x="105536" y="447256"/>
                    </a:cubicBezTo>
                    <a:cubicBezTo>
                      <a:pt x="82171" y="467410"/>
                      <a:pt x="60239" y="457758"/>
                      <a:pt x="47614" y="448164"/>
                    </a:cubicBezTo>
                    <a:cubicBezTo>
                      <a:pt x="34699" y="436734"/>
                      <a:pt x="24614" y="412612"/>
                      <a:pt x="42141" y="389780"/>
                    </a:cubicBezTo>
                    <a:cubicBezTo>
                      <a:pt x="51405" y="377583"/>
                      <a:pt x="64979" y="372657"/>
                      <a:pt x="76612" y="372989"/>
                    </a:cubicBezTo>
                    <a:cubicBezTo>
                      <a:pt x="78232" y="371886"/>
                      <a:pt x="119644" y="364521"/>
                      <a:pt x="75186" y="321823"/>
                    </a:cubicBezTo>
                    <a:cubicBezTo>
                      <a:pt x="58767" y="305402"/>
                      <a:pt x="23648" y="271235"/>
                      <a:pt x="0" y="248738"/>
                    </a:cubicBezTo>
                    <a:lnTo>
                      <a:pt x="77303" y="168146"/>
                    </a:lnTo>
                    <a:cubicBezTo>
                      <a:pt x="104269" y="140313"/>
                      <a:pt x="122130" y="156409"/>
                      <a:pt x="124388" y="175543"/>
                    </a:cubicBezTo>
                    <a:cubicBezTo>
                      <a:pt x="124457" y="182466"/>
                      <a:pt x="127106" y="193106"/>
                      <a:pt x="137575" y="203052"/>
                    </a:cubicBezTo>
                    <a:cubicBezTo>
                      <a:pt x="153931" y="220277"/>
                      <a:pt x="181252" y="217451"/>
                      <a:pt x="196721" y="201951"/>
                    </a:cubicBezTo>
                    <a:cubicBezTo>
                      <a:pt x="211961" y="185740"/>
                      <a:pt x="213057" y="157882"/>
                      <a:pt x="196146" y="142797"/>
                    </a:cubicBezTo>
                    <a:cubicBezTo>
                      <a:pt x="184301" y="132637"/>
                      <a:pt x="177155" y="131453"/>
                      <a:pt x="166513" y="129894"/>
                    </a:cubicBezTo>
                    <a:cubicBezTo>
                      <a:pt x="154522" y="129013"/>
                      <a:pt x="131185" y="112953"/>
                      <a:pt x="157905" y="85228"/>
                    </a:cubicBezTo>
                    <a:close/>
                  </a:path>
                </a:pathLst>
              </a:custGeom>
              <a:grpFill/>
              <a:ln>
                <a:solidFill>
                  <a:srgbClr val="21734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grpSp>
        <p:sp>
          <p:nvSpPr>
            <p:cNvPr id="77" name="Oval 47"/>
            <p:cNvSpPr/>
            <p:nvPr/>
          </p:nvSpPr>
          <p:spPr>
            <a:xfrm>
              <a:off x="388608" y="3710471"/>
              <a:ext cx="1119626" cy="1119626"/>
            </a:xfrm>
            <a:prstGeom prst="ellipse">
              <a:avLst/>
            </a:prstGeom>
            <a:solidFill>
              <a:srgbClr val="F2C812"/>
            </a:solidFill>
            <a:ln w="3175" cap="flat" cmpd="sng" algn="ctr">
              <a:noFill/>
              <a:prstDash val="solid"/>
            </a:ln>
            <a:effectLst/>
          </p:spPr>
          <p:txBody>
            <a:bodyPr vert="horz" wrap="none" lIns="0" tIns="45720" rIns="0" bIns="0" rtlCol="0" anchor="t"/>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Segoe UI"/>
                  <a:ea typeface="Segoe UI" pitchFamily="34" charset="0"/>
                  <a:cs typeface="Segoe UI" pitchFamily="34" charset="0"/>
                </a:rPr>
                <a:t>Report</a:t>
              </a:r>
            </a:p>
          </p:txBody>
        </p:sp>
        <p:sp>
          <p:nvSpPr>
            <p:cNvPr id="78" name="Oval 950"/>
            <p:cNvSpPr/>
            <p:nvPr/>
          </p:nvSpPr>
          <p:spPr>
            <a:xfrm>
              <a:off x="388608" y="1252295"/>
              <a:ext cx="1119626" cy="1119626"/>
            </a:xfrm>
            <a:prstGeom prst="ellipse">
              <a:avLst/>
            </a:prstGeom>
            <a:solidFill>
              <a:srgbClr val="F2C812"/>
            </a:solidFill>
            <a:ln w="3175" cap="flat" cmpd="sng" algn="ctr">
              <a:noFill/>
              <a:prstDash val="solid"/>
            </a:ln>
            <a:effectLst/>
          </p:spPr>
          <p:txBody>
            <a:bodyPr vert="horz" wrap="none" lIns="0" tIns="45720" rIns="0" bIns="0" rtlCol="0" anchor="t"/>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1" i="0" u="none" strike="noStrike" kern="1200" cap="none" spc="0" normalizeH="0" baseline="0" noProof="0">
                <a:ln>
                  <a:noFill/>
                </a:ln>
                <a:solidFill>
                  <a:srgbClr val="217346"/>
                </a:solidFill>
                <a:effectLst/>
                <a:uLnTx/>
                <a:uFillTx/>
                <a:latin typeface="Segoe UI"/>
                <a:ea typeface="Segoe UI" pitchFamily="34" charset="0"/>
                <a:cs typeface="Segoe UI" pitchFamily="34" charset="0"/>
              </a:endParaRPr>
            </a:p>
          </p:txBody>
        </p:sp>
        <p:grpSp>
          <p:nvGrpSpPr>
            <p:cNvPr id="79" name="Group 78"/>
            <p:cNvGrpSpPr/>
            <p:nvPr/>
          </p:nvGrpSpPr>
          <p:grpSpPr>
            <a:xfrm>
              <a:off x="1264851" y="3482890"/>
              <a:ext cx="292254" cy="354906"/>
              <a:chOff x="1296521" y="3253388"/>
              <a:chExt cx="292254" cy="354906"/>
            </a:xfrm>
            <a:solidFill>
              <a:srgbClr val="F2C812"/>
            </a:solidFill>
          </p:grpSpPr>
          <p:sp>
            <p:nvSpPr>
              <p:cNvPr id="99" name="Isosceles Triangle 98"/>
              <p:cNvSpPr/>
              <p:nvPr/>
            </p:nvSpPr>
            <p:spPr bwMode="auto">
              <a:xfrm rot="13636515">
                <a:off x="1461362" y="328936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0" name="Isosceles Triangle 99"/>
              <p:cNvSpPr/>
              <p:nvPr/>
            </p:nvSpPr>
            <p:spPr bwMode="auto">
              <a:xfrm rot="13636515">
                <a:off x="1357669" y="338258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1" name="Isosceles Triangle 100"/>
              <p:cNvSpPr/>
              <p:nvPr/>
            </p:nvSpPr>
            <p:spPr bwMode="auto">
              <a:xfrm rot="13636515">
                <a:off x="1260548" y="3480882"/>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80" name="Group 79"/>
            <p:cNvGrpSpPr/>
            <p:nvPr/>
          </p:nvGrpSpPr>
          <p:grpSpPr>
            <a:xfrm rot="15940603">
              <a:off x="1334576" y="2204404"/>
              <a:ext cx="292254" cy="354906"/>
              <a:chOff x="1296521" y="3253388"/>
              <a:chExt cx="292254" cy="354906"/>
            </a:xfrm>
            <a:solidFill>
              <a:srgbClr val="F2C812"/>
            </a:solidFill>
          </p:grpSpPr>
          <p:sp>
            <p:nvSpPr>
              <p:cNvPr id="96" name="Isosceles Triangle 95"/>
              <p:cNvSpPr/>
              <p:nvPr/>
            </p:nvSpPr>
            <p:spPr bwMode="auto">
              <a:xfrm rot="13636515">
                <a:off x="1461362" y="328936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7" name="Isosceles Triangle 96"/>
              <p:cNvSpPr/>
              <p:nvPr/>
            </p:nvSpPr>
            <p:spPr bwMode="auto">
              <a:xfrm rot="13636515">
                <a:off x="1357669" y="338258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8" name="Isosceles Triangle 97"/>
              <p:cNvSpPr/>
              <p:nvPr/>
            </p:nvSpPr>
            <p:spPr bwMode="auto">
              <a:xfrm rot="13636515">
                <a:off x="1260548" y="3480882"/>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81" name="Group 80"/>
            <p:cNvGrpSpPr/>
            <p:nvPr/>
          </p:nvGrpSpPr>
          <p:grpSpPr>
            <a:xfrm rot="16043978">
              <a:off x="1317220" y="4717577"/>
              <a:ext cx="292254" cy="354906"/>
              <a:chOff x="1296521" y="3253388"/>
              <a:chExt cx="292254" cy="354906"/>
            </a:xfrm>
            <a:solidFill>
              <a:srgbClr val="F2C812"/>
            </a:solidFill>
          </p:grpSpPr>
          <p:sp>
            <p:nvSpPr>
              <p:cNvPr id="93" name="Isosceles Triangle 92"/>
              <p:cNvSpPr/>
              <p:nvPr/>
            </p:nvSpPr>
            <p:spPr bwMode="auto">
              <a:xfrm rot="13636515">
                <a:off x="1461362" y="328936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4" name="Isosceles Triangle 93"/>
              <p:cNvSpPr/>
              <p:nvPr/>
            </p:nvSpPr>
            <p:spPr bwMode="auto">
              <a:xfrm rot="13636515">
                <a:off x="1357669" y="338258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5" name="Isosceles Triangle 94"/>
              <p:cNvSpPr/>
              <p:nvPr/>
            </p:nvSpPr>
            <p:spPr bwMode="auto">
              <a:xfrm rot="13636515">
                <a:off x="1260548" y="3480882"/>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82" name="Oval 36"/>
            <p:cNvSpPr/>
            <p:nvPr/>
          </p:nvSpPr>
          <p:spPr>
            <a:xfrm>
              <a:off x="1413521" y="2481383"/>
              <a:ext cx="1119626" cy="1119626"/>
            </a:xfrm>
            <a:prstGeom prst="ellipse">
              <a:avLst/>
            </a:prstGeom>
            <a:solidFill>
              <a:srgbClr val="F2C812"/>
            </a:solidFill>
            <a:ln w="3175" cap="flat" cmpd="sng" algn="ctr">
              <a:noFill/>
              <a:prstDash val="solid"/>
            </a:ln>
            <a:effectLst/>
          </p:spPr>
          <p:txBody>
            <a:bodyPr vert="horz" wrap="none" lIns="0" tIns="0" rIns="0" bIns="0" rtlCol="0" anchor="t"/>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400" b="1" i="0" u="none" strike="noStrike" kern="1200" cap="none" spc="0" normalizeH="0" baseline="0" noProof="0">
                <a:ln>
                  <a:noFill/>
                </a:ln>
                <a:solidFill>
                  <a:srgbClr val="217346"/>
                </a:solidFill>
                <a:effectLst/>
                <a:uLnTx/>
                <a:uFillTx/>
                <a:latin typeface="Segoe UI"/>
                <a:ea typeface="Segoe UI" pitchFamily="34" charset="0"/>
                <a:cs typeface="Segoe UI" pitchFamily="34" charset="0"/>
              </a:endParaRPr>
            </a:p>
          </p:txBody>
        </p:sp>
        <p:sp>
          <p:nvSpPr>
            <p:cNvPr id="83" name="Donut 3"/>
            <p:cNvSpPr/>
            <p:nvPr/>
          </p:nvSpPr>
          <p:spPr bwMode="auto">
            <a:xfrm>
              <a:off x="1742065" y="3002355"/>
              <a:ext cx="383905" cy="351537"/>
            </a:xfrm>
            <a:custGeom>
              <a:avLst/>
              <a:gdLst/>
              <a:ahLst/>
              <a:cxnLst/>
              <a:rect l="l" t="t" r="r" b="b"/>
              <a:pathLst>
                <a:path w="1409956" h="1291077">
                  <a:moveTo>
                    <a:pt x="956401" y="78410"/>
                  </a:moveTo>
                  <a:cubicBezTo>
                    <a:pt x="747518" y="78410"/>
                    <a:pt x="578184" y="247744"/>
                    <a:pt x="578184" y="456627"/>
                  </a:cubicBezTo>
                  <a:cubicBezTo>
                    <a:pt x="578184" y="665510"/>
                    <a:pt x="747518" y="834844"/>
                    <a:pt x="956401" y="834844"/>
                  </a:cubicBezTo>
                  <a:cubicBezTo>
                    <a:pt x="1165284" y="834844"/>
                    <a:pt x="1334618" y="665510"/>
                    <a:pt x="1334618" y="456627"/>
                  </a:cubicBezTo>
                  <a:cubicBezTo>
                    <a:pt x="1334618" y="247744"/>
                    <a:pt x="1165284" y="78410"/>
                    <a:pt x="956401" y="78410"/>
                  </a:cubicBezTo>
                  <a:close/>
                  <a:moveTo>
                    <a:pt x="952756" y="0"/>
                  </a:moveTo>
                  <a:cubicBezTo>
                    <a:pt x="1205261" y="0"/>
                    <a:pt x="1409956" y="204695"/>
                    <a:pt x="1409956" y="457200"/>
                  </a:cubicBezTo>
                  <a:cubicBezTo>
                    <a:pt x="1409956" y="709705"/>
                    <a:pt x="1205261" y="914400"/>
                    <a:pt x="952756" y="914400"/>
                  </a:cubicBezTo>
                  <a:cubicBezTo>
                    <a:pt x="862133" y="914400"/>
                    <a:pt x="777669" y="888034"/>
                    <a:pt x="707132" y="841746"/>
                  </a:cubicBezTo>
                  <a:lnTo>
                    <a:pt x="136495" y="1280102"/>
                  </a:lnTo>
                  <a:cubicBezTo>
                    <a:pt x="21896" y="1327168"/>
                    <a:pt x="-44029" y="1213730"/>
                    <a:pt x="33797" y="1113182"/>
                  </a:cubicBezTo>
                  <a:lnTo>
                    <a:pt x="568587" y="703518"/>
                  </a:lnTo>
                  <a:cubicBezTo>
                    <a:pt x="522087" y="632814"/>
                    <a:pt x="495556" y="548105"/>
                    <a:pt x="495556" y="457200"/>
                  </a:cubicBezTo>
                  <a:cubicBezTo>
                    <a:pt x="495556" y="204695"/>
                    <a:pt x="700251" y="0"/>
                    <a:pt x="952756" y="0"/>
                  </a:cubicBezTo>
                  <a:close/>
                </a:path>
              </a:pathLst>
            </a:cu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sp>
          <p:nvSpPr>
            <p:cNvPr id="84" name="Rectangle 83"/>
            <p:cNvSpPr/>
            <p:nvPr/>
          </p:nvSpPr>
          <p:spPr>
            <a:xfrm>
              <a:off x="1600398" y="2677430"/>
              <a:ext cx="820353" cy="307777"/>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Segoe UI"/>
                  <a:ea typeface="Segoe UI" pitchFamily="34" charset="0"/>
                  <a:cs typeface="Segoe UI" pitchFamily="34" charset="0"/>
                </a:rPr>
                <a:t>Explore</a:t>
              </a:r>
              <a:endParaRPr kumimoji="0" lang="en-US" sz="1600" b="0" i="0" u="none" strike="noStrike" kern="1200" cap="none" spc="0" normalizeH="0" baseline="0" noProof="0">
                <a:ln>
                  <a:noFill/>
                </a:ln>
                <a:solidFill>
                  <a:srgbClr val="000000"/>
                </a:solidFill>
                <a:effectLst/>
                <a:uLnTx/>
                <a:uFillTx/>
                <a:latin typeface="Segoe UI"/>
                <a:ea typeface="+mn-ea"/>
                <a:cs typeface="+mn-cs"/>
              </a:endParaRPr>
            </a:p>
          </p:txBody>
        </p:sp>
        <p:sp>
          <p:nvSpPr>
            <p:cNvPr id="85" name="Rectangle 84"/>
            <p:cNvSpPr/>
            <p:nvPr/>
          </p:nvSpPr>
          <p:spPr>
            <a:xfrm>
              <a:off x="509174" y="1475232"/>
              <a:ext cx="838756" cy="307777"/>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Segoe UI"/>
                  <a:ea typeface="Segoe UI" pitchFamily="34" charset="0"/>
                  <a:cs typeface="Segoe UI" pitchFamily="34" charset="0"/>
                </a:rPr>
                <a:t>Prepare</a:t>
              </a: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86" name="Freeform 85"/>
            <p:cNvSpPr>
              <a:spLocks noChangeAspect="1"/>
            </p:cNvSpPr>
            <p:nvPr/>
          </p:nvSpPr>
          <p:spPr bwMode="black">
            <a:xfrm>
              <a:off x="1836174" y="5643069"/>
              <a:ext cx="274320" cy="284173"/>
            </a:xfrm>
            <a:custGeom>
              <a:avLst/>
              <a:gdLst>
                <a:gd name="T0" fmla="*/ 539 w 669"/>
                <a:gd name="T1" fmla="*/ 5 h 693"/>
                <a:gd name="T2" fmla="*/ 640 w 669"/>
                <a:gd name="T3" fmla="*/ 55 h 693"/>
                <a:gd name="T4" fmla="*/ 603 w 669"/>
                <a:gd name="T5" fmla="*/ 195 h 693"/>
                <a:gd name="T6" fmla="*/ 490 w 669"/>
                <a:gd name="T7" fmla="*/ 188 h 693"/>
                <a:gd name="T8" fmla="*/ 479 w 669"/>
                <a:gd name="T9" fmla="*/ 176 h 693"/>
                <a:gd name="T10" fmla="*/ 213 w 669"/>
                <a:gd name="T11" fmla="*/ 330 h 693"/>
                <a:gd name="T12" fmla="*/ 218 w 669"/>
                <a:gd name="T13" fmla="*/ 345 h 693"/>
                <a:gd name="T14" fmla="*/ 218 w 669"/>
                <a:gd name="T15" fmla="*/ 375 h 693"/>
                <a:gd name="T16" fmla="*/ 209 w 669"/>
                <a:gd name="T17" fmla="*/ 402 h 693"/>
                <a:gd name="T18" fmla="*/ 369 w 669"/>
                <a:gd name="T19" fmla="*/ 503 h 693"/>
                <a:gd name="T20" fmla="*/ 373 w 669"/>
                <a:gd name="T21" fmla="*/ 498 h 693"/>
                <a:gd name="T22" fmla="*/ 456 w 669"/>
                <a:gd name="T23" fmla="*/ 475 h 693"/>
                <a:gd name="T24" fmla="*/ 494 w 669"/>
                <a:gd name="T25" fmla="*/ 489 h 693"/>
                <a:gd name="T26" fmla="*/ 527 w 669"/>
                <a:gd name="T27" fmla="*/ 630 h 693"/>
                <a:gd name="T28" fmla="*/ 386 w 669"/>
                <a:gd name="T29" fmla="*/ 663 h 693"/>
                <a:gd name="T30" fmla="*/ 339 w 669"/>
                <a:gd name="T31" fmla="*/ 560 h 693"/>
                <a:gd name="T32" fmla="*/ 345 w 669"/>
                <a:gd name="T33" fmla="*/ 544 h 693"/>
                <a:gd name="T34" fmla="*/ 177 w 669"/>
                <a:gd name="T35" fmla="*/ 439 h 693"/>
                <a:gd name="T36" fmla="*/ 168 w 669"/>
                <a:gd name="T37" fmla="*/ 446 h 693"/>
                <a:gd name="T38" fmla="*/ 28 w 669"/>
                <a:gd name="T39" fmla="*/ 409 h 693"/>
                <a:gd name="T40" fmla="*/ 65 w 669"/>
                <a:gd name="T41" fmla="*/ 269 h 693"/>
                <a:gd name="T42" fmla="*/ 178 w 669"/>
                <a:gd name="T43" fmla="*/ 276 h 693"/>
                <a:gd name="T44" fmla="*/ 189 w 669"/>
                <a:gd name="T45" fmla="*/ 288 h 693"/>
                <a:gd name="T46" fmla="*/ 455 w 669"/>
                <a:gd name="T47" fmla="*/ 134 h 693"/>
                <a:gd name="T48" fmla="*/ 450 w 669"/>
                <a:gd name="T49" fmla="*/ 119 h 693"/>
                <a:gd name="T50" fmla="*/ 501 w 669"/>
                <a:gd name="T51" fmla="*/ 18 h 693"/>
                <a:gd name="T52" fmla="*/ 539 w 669"/>
                <a:gd name="T53" fmla="*/ 5 h 6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69" h="693">
                  <a:moveTo>
                    <a:pt x="539" y="5"/>
                  </a:moveTo>
                  <a:cubicBezTo>
                    <a:pt x="579" y="0"/>
                    <a:pt x="619" y="19"/>
                    <a:pt x="640" y="55"/>
                  </a:cubicBezTo>
                  <a:cubicBezTo>
                    <a:pt x="669" y="104"/>
                    <a:pt x="652" y="167"/>
                    <a:pt x="603" y="195"/>
                  </a:cubicBezTo>
                  <a:cubicBezTo>
                    <a:pt x="566" y="216"/>
                    <a:pt x="522" y="212"/>
                    <a:pt x="490" y="188"/>
                  </a:cubicBezTo>
                  <a:cubicBezTo>
                    <a:pt x="479" y="176"/>
                    <a:pt x="479" y="176"/>
                    <a:pt x="479" y="176"/>
                  </a:cubicBezTo>
                  <a:cubicBezTo>
                    <a:pt x="213" y="330"/>
                    <a:pt x="213" y="330"/>
                    <a:pt x="213" y="330"/>
                  </a:cubicBezTo>
                  <a:cubicBezTo>
                    <a:pt x="218" y="345"/>
                    <a:pt x="218" y="345"/>
                    <a:pt x="218" y="345"/>
                  </a:cubicBezTo>
                  <a:cubicBezTo>
                    <a:pt x="219" y="355"/>
                    <a:pt x="219" y="365"/>
                    <a:pt x="218" y="375"/>
                  </a:cubicBezTo>
                  <a:cubicBezTo>
                    <a:pt x="209" y="402"/>
                    <a:pt x="209" y="402"/>
                    <a:pt x="209" y="402"/>
                  </a:cubicBezTo>
                  <a:cubicBezTo>
                    <a:pt x="369" y="503"/>
                    <a:pt x="369" y="503"/>
                    <a:pt x="369" y="503"/>
                  </a:cubicBezTo>
                  <a:cubicBezTo>
                    <a:pt x="373" y="498"/>
                    <a:pt x="373" y="498"/>
                    <a:pt x="373" y="498"/>
                  </a:cubicBezTo>
                  <a:cubicBezTo>
                    <a:pt x="396" y="479"/>
                    <a:pt x="427" y="470"/>
                    <a:pt x="456" y="475"/>
                  </a:cubicBezTo>
                  <a:cubicBezTo>
                    <a:pt x="470" y="477"/>
                    <a:pt x="482" y="482"/>
                    <a:pt x="494" y="489"/>
                  </a:cubicBezTo>
                  <a:cubicBezTo>
                    <a:pt x="542" y="519"/>
                    <a:pt x="557" y="583"/>
                    <a:pt x="527" y="630"/>
                  </a:cubicBezTo>
                  <a:cubicBezTo>
                    <a:pt x="497" y="678"/>
                    <a:pt x="433" y="693"/>
                    <a:pt x="386" y="663"/>
                  </a:cubicBezTo>
                  <a:cubicBezTo>
                    <a:pt x="350" y="640"/>
                    <a:pt x="333" y="599"/>
                    <a:pt x="339" y="560"/>
                  </a:cubicBezTo>
                  <a:cubicBezTo>
                    <a:pt x="345" y="544"/>
                    <a:pt x="345" y="544"/>
                    <a:pt x="345" y="544"/>
                  </a:cubicBezTo>
                  <a:cubicBezTo>
                    <a:pt x="177" y="439"/>
                    <a:pt x="177" y="439"/>
                    <a:pt x="177" y="439"/>
                  </a:cubicBezTo>
                  <a:cubicBezTo>
                    <a:pt x="168" y="446"/>
                    <a:pt x="168" y="446"/>
                    <a:pt x="168" y="446"/>
                  </a:cubicBezTo>
                  <a:cubicBezTo>
                    <a:pt x="119" y="475"/>
                    <a:pt x="56" y="458"/>
                    <a:pt x="28" y="409"/>
                  </a:cubicBezTo>
                  <a:cubicBezTo>
                    <a:pt x="0" y="360"/>
                    <a:pt x="16" y="297"/>
                    <a:pt x="65" y="269"/>
                  </a:cubicBezTo>
                  <a:cubicBezTo>
                    <a:pt x="102" y="248"/>
                    <a:pt x="147" y="252"/>
                    <a:pt x="178" y="276"/>
                  </a:cubicBezTo>
                  <a:cubicBezTo>
                    <a:pt x="189" y="288"/>
                    <a:pt x="189" y="288"/>
                    <a:pt x="189" y="288"/>
                  </a:cubicBezTo>
                  <a:cubicBezTo>
                    <a:pt x="455" y="134"/>
                    <a:pt x="455" y="134"/>
                    <a:pt x="455" y="134"/>
                  </a:cubicBezTo>
                  <a:cubicBezTo>
                    <a:pt x="450" y="119"/>
                    <a:pt x="450" y="119"/>
                    <a:pt x="450" y="119"/>
                  </a:cubicBezTo>
                  <a:cubicBezTo>
                    <a:pt x="445" y="80"/>
                    <a:pt x="464" y="39"/>
                    <a:pt x="501" y="18"/>
                  </a:cubicBezTo>
                  <a:cubicBezTo>
                    <a:pt x="513" y="11"/>
                    <a:pt x="526" y="6"/>
                    <a:pt x="539" y="5"/>
                  </a:cubicBezTo>
                  <a:close/>
                </a:path>
              </a:pathLst>
            </a:custGeom>
            <a:solidFill>
              <a:schemeClr val="tx1"/>
            </a:solidFill>
            <a:ln>
              <a:noFill/>
            </a:ln>
          </p:spPr>
          <p:txBody>
            <a:bodyPr vert="horz" wrap="square" lIns="68574" tIns="34287" rIns="68574" bIns="34287"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0000"/>
                </a:solidFill>
                <a:effectLst/>
                <a:uLnTx/>
                <a:uFillTx/>
                <a:latin typeface="Segoe UI"/>
                <a:ea typeface="+mn-ea"/>
                <a:cs typeface="+mn-cs"/>
              </a:endParaRPr>
            </a:p>
          </p:txBody>
        </p:sp>
        <p:sp>
          <p:nvSpPr>
            <p:cNvPr id="87" name="Freeform 86"/>
            <p:cNvSpPr>
              <a:spLocks noChangeAspect="1" noEditPoints="1"/>
            </p:cNvSpPr>
            <p:nvPr/>
          </p:nvSpPr>
          <p:spPr bwMode="black">
            <a:xfrm>
              <a:off x="722320" y="1783009"/>
              <a:ext cx="452202" cy="366660"/>
            </a:xfrm>
            <a:custGeom>
              <a:avLst/>
              <a:gdLst>
                <a:gd name="T0" fmla="*/ 600 w 1107"/>
                <a:gd name="T1" fmla="*/ 625 h 897"/>
                <a:gd name="T2" fmla="*/ 649 w 1107"/>
                <a:gd name="T3" fmla="*/ 567 h 897"/>
                <a:gd name="T4" fmla="*/ 727 w 1107"/>
                <a:gd name="T5" fmla="*/ 482 h 897"/>
                <a:gd name="T6" fmla="*/ 601 w 1107"/>
                <a:gd name="T7" fmla="*/ 434 h 897"/>
                <a:gd name="T8" fmla="*/ 628 w 1107"/>
                <a:gd name="T9" fmla="*/ 305 h 897"/>
                <a:gd name="T10" fmla="*/ 547 w 1107"/>
                <a:gd name="T11" fmla="*/ 240 h 897"/>
                <a:gd name="T12" fmla="*/ 427 w 1107"/>
                <a:gd name="T13" fmla="*/ 287 h 897"/>
                <a:gd name="T14" fmla="*/ 368 w 1107"/>
                <a:gd name="T15" fmla="*/ 170 h 897"/>
                <a:gd name="T16" fmla="*/ 285 w 1107"/>
                <a:gd name="T17" fmla="*/ 263 h 897"/>
                <a:gd name="T18" fmla="*/ 241 w 1107"/>
                <a:gd name="T19" fmla="*/ 313 h 897"/>
                <a:gd name="T20" fmla="*/ 139 w 1107"/>
                <a:gd name="T21" fmla="*/ 281 h 897"/>
                <a:gd name="T22" fmla="*/ 79 w 1107"/>
                <a:gd name="T23" fmla="*/ 355 h 897"/>
                <a:gd name="T24" fmla="*/ 132 w 1107"/>
                <a:gd name="T25" fmla="*/ 446 h 897"/>
                <a:gd name="T26" fmla="*/ 83 w 1107"/>
                <a:gd name="T27" fmla="*/ 505 h 897"/>
                <a:gd name="T28" fmla="*/ 5 w 1107"/>
                <a:gd name="T29" fmla="*/ 590 h 897"/>
                <a:gd name="T30" fmla="*/ 132 w 1107"/>
                <a:gd name="T31" fmla="*/ 638 h 897"/>
                <a:gd name="T32" fmla="*/ 145 w 1107"/>
                <a:gd name="T33" fmla="*/ 669 h 897"/>
                <a:gd name="T34" fmla="*/ 110 w 1107"/>
                <a:gd name="T35" fmla="*/ 793 h 897"/>
                <a:gd name="T36" fmla="*/ 230 w 1107"/>
                <a:gd name="T37" fmla="*/ 781 h 897"/>
                <a:gd name="T38" fmla="*/ 306 w 1107"/>
                <a:gd name="T39" fmla="*/ 785 h 897"/>
                <a:gd name="T40" fmla="*/ 346 w 1107"/>
                <a:gd name="T41" fmla="*/ 878 h 897"/>
                <a:gd name="T42" fmla="*/ 440 w 1107"/>
                <a:gd name="T43" fmla="*/ 872 h 897"/>
                <a:gd name="T44" fmla="*/ 466 w 1107"/>
                <a:gd name="T45" fmla="*/ 764 h 897"/>
                <a:gd name="T46" fmla="*/ 539 w 1107"/>
                <a:gd name="T47" fmla="*/ 755 h 897"/>
                <a:gd name="T48" fmla="*/ 659 w 1107"/>
                <a:gd name="T49" fmla="*/ 743 h 897"/>
                <a:gd name="T50" fmla="*/ 263 w 1107"/>
                <a:gd name="T51" fmla="*/ 452 h 897"/>
                <a:gd name="T52" fmla="*/ 281 w 1107"/>
                <a:gd name="T53" fmla="*/ 633 h 897"/>
                <a:gd name="T54" fmla="*/ 1002 w 1107"/>
                <a:gd name="T55" fmla="*/ 332 h 897"/>
                <a:gd name="T56" fmla="*/ 1043 w 1107"/>
                <a:gd name="T57" fmla="*/ 304 h 897"/>
                <a:gd name="T58" fmla="*/ 1107 w 1107"/>
                <a:gd name="T59" fmla="*/ 266 h 897"/>
                <a:gd name="T60" fmla="*/ 1037 w 1107"/>
                <a:gd name="T61" fmla="*/ 213 h 897"/>
                <a:gd name="T62" fmla="*/ 1077 w 1107"/>
                <a:gd name="T63" fmla="*/ 138 h 897"/>
                <a:gd name="T64" fmla="*/ 1038 w 1107"/>
                <a:gd name="T65" fmla="*/ 83 h 897"/>
                <a:gd name="T66" fmla="*/ 956 w 1107"/>
                <a:gd name="T67" fmla="*/ 91 h 897"/>
                <a:gd name="T68" fmla="*/ 940 w 1107"/>
                <a:gd name="T69" fmla="*/ 7 h 897"/>
                <a:gd name="T70" fmla="*/ 872 w 1107"/>
                <a:gd name="T71" fmla="*/ 50 h 897"/>
                <a:gd name="T72" fmla="*/ 836 w 1107"/>
                <a:gd name="T73" fmla="*/ 74 h 897"/>
                <a:gd name="T74" fmla="*/ 778 w 1107"/>
                <a:gd name="T75" fmla="*/ 35 h 897"/>
                <a:gd name="T76" fmla="*/ 728 w 1107"/>
                <a:gd name="T77" fmla="*/ 70 h 897"/>
                <a:gd name="T78" fmla="*/ 744 w 1107"/>
                <a:gd name="T79" fmla="*/ 136 h 897"/>
                <a:gd name="T80" fmla="*/ 703 w 1107"/>
                <a:gd name="T81" fmla="*/ 164 h 897"/>
                <a:gd name="T82" fmla="*/ 640 w 1107"/>
                <a:gd name="T83" fmla="*/ 203 h 897"/>
                <a:gd name="T84" fmla="*/ 710 w 1107"/>
                <a:gd name="T85" fmla="*/ 255 h 897"/>
                <a:gd name="T86" fmla="*/ 712 w 1107"/>
                <a:gd name="T87" fmla="*/ 277 h 897"/>
                <a:gd name="T88" fmla="*/ 668 w 1107"/>
                <a:gd name="T89" fmla="*/ 347 h 897"/>
                <a:gd name="T90" fmla="*/ 745 w 1107"/>
                <a:gd name="T91" fmla="*/ 361 h 897"/>
                <a:gd name="T92" fmla="*/ 791 w 1107"/>
                <a:gd name="T93" fmla="*/ 377 h 897"/>
                <a:gd name="T94" fmla="*/ 799 w 1107"/>
                <a:gd name="T95" fmla="*/ 443 h 897"/>
                <a:gd name="T96" fmla="*/ 859 w 1107"/>
                <a:gd name="T97" fmla="*/ 456 h 897"/>
                <a:gd name="T98" fmla="*/ 894 w 1107"/>
                <a:gd name="T99" fmla="*/ 393 h 897"/>
                <a:gd name="T100" fmla="*/ 941 w 1107"/>
                <a:gd name="T101" fmla="*/ 401 h 897"/>
                <a:gd name="T102" fmla="*/ 1018 w 1107"/>
                <a:gd name="T103" fmla="*/ 415 h 897"/>
                <a:gd name="T104" fmla="*/ 825 w 1107"/>
                <a:gd name="T105" fmla="*/ 164 h 897"/>
                <a:gd name="T106" fmla="*/ 803 w 1107"/>
                <a:gd name="T107" fmla="*/ 279 h 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107" h="897">
                  <a:moveTo>
                    <a:pt x="654" y="716"/>
                  </a:moveTo>
                  <a:cubicBezTo>
                    <a:pt x="616" y="670"/>
                    <a:pt x="616" y="670"/>
                    <a:pt x="616" y="670"/>
                  </a:cubicBezTo>
                  <a:cubicBezTo>
                    <a:pt x="593" y="654"/>
                    <a:pt x="603" y="638"/>
                    <a:pt x="600" y="625"/>
                  </a:cubicBezTo>
                  <a:cubicBezTo>
                    <a:pt x="600" y="625"/>
                    <a:pt x="600" y="625"/>
                    <a:pt x="600" y="625"/>
                  </a:cubicBezTo>
                  <a:cubicBezTo>
                    <a:pt x="605" y="617"/>
                    <a:pt x="611" y="609"/>
                    <a:pt x="608" y="596"/>
                  </a:cubicBezTo>
                  <a:cubicBezTo>
                    <a:pt x="618" y="580"/>
                    <a:pt x="623" y="572"/>
                    <a:pt x="649" y="567"/>
                  </a:cubicBezTo>
                  <a:cubicBezTo>
                    <a:pt x="715" y="553"/>
                    <a:pt x="715" y="553"/>
                    <a:pt x="715" y="553"/>
                  </a:cubicBezTo>
                  <a:cubicBezTo>
                    <a:pt x="728" y="550"/>
                    <a:pt x="733" y="542"/>
                    <a:pt x="730" y="529"/>
                  </a:cubicBezTo>
                  <a:cubicBezTo>
                    <a:pt x="727" y="482"/>
                    <a:pt x="727" y="482"/>
                    <a:pt x="727" y="482"/>
                  </a:cubicBezTo>
                  <a:cubicBezTo>
                    <a:pt x="724" y="469"/>
                    <a:pt x="717" y="463"/>
                    <a:pt x="701" y="453"/>
                  </a:cubicBezTo>
                  <a:cubicBezTo>
                    <a:pt x="641" y="459"/>
                    <a:pt x="641" y="459"/>
                    <a:pt x="641" y="459"/>
                  </a:cubicBezTo>
                  <a:cubicBezTo>
                    <a:pt x="620" y="457"/>
                    <a:pt x="604" y="447"/>
                    <a:pt x="601" y="434"/>
                  </a:cubicBezTo>
                  <a:cubicBezTo>
                    <a:pt x="598" y="421"/>
                    <a:pt x="590" y="416"/>
                    <a:pt x="580" y="397"/>
                  </a:cubicBezTo>
                  <a:cubicBezTo>
                    <a:pt x="577" y="384"/>
                    <a:pt x="574" y="371"/>
                    <a:pt x="584" y="355"/>
                  </a:cubicBezTo>
                  <a:cubicBezTo>
                    <a:pt x="628" y="305"/>
                    <a:pt x="628" y="305"/>
                    <a:pt x="628" y="305"/>
                  </a:cubicBezTo>
                  <a:cubicBezTo>
                    <a:pt x="634" y="297"/>
                    <a:pt x="631" y="284"/>
                    <a:pt x="623" y="279"/>
                  </a:cubicBezTo>
                  <a:cubicBezTo>
                    <a:pt x="581" y="240"/>
                    <a:pt x="581" y="240"/>
                    <a:pt x="581" y="240"/>
                  </a:cubicBezTo>
                  <a:cubicBezTo>
                    <a:pt x="573" y="235"/>
                    <a:pt x="560" y="238"/>
                    <a:pt x="547" y="240"/>
                  </a:cubicBezTo>
                  <a:cubicBezTo>
                    <a:pt x="503" y="291"/>
                    <a:pt x="503" y="291"/>
                    <a:pt x="503" y="291"/>
                  </a:cubicBezTo>
                  <a:cubicBezTo>
                    <a:pt x="484" y="302"/>
                    <a:pt x="471" y="304"/>
                    <a:pt x="463" y="299"/>
                  </a:cubicBezTo>
                  <a:cubicBezTo>
                    <a:pt x="456" y="294"/>
                    <a:pt x="435" y="292"/>
                    <a:pt x="427" y="287"/>
                  </a:cubicBezTo>
                  <a:cubicBezTo>
                    <a:pt x="419" y="282"/>
                    <a:pt x="403" y="271"/>
                    <a:pt x="400" y="258"/>
                  </a:cubicBezTo>
                  <a:cubicBezTo>
                    <a:pt x="386" y="193"/>
                    <a:pt x="386" y="193"/>
                    <a:pt x="386" y="193"/>
                  </a:cubicBezTo>
                  <a:cubicBezTo>
                    <a:pt x="384" y="180"/>
                    <a:pt x="368" y="170"/>
                    <a:pt x="368" y="170"/>
                  </a:cubicBezTo>
                  <a:cubicBezTo>
                    <a:pt x="308" y="176"/>
                    <a:pt x="308" y="176"/>
                    <a:pt x="308" y="176"/>
                  </a:cubicBezTo>
                  <a:cubicBezTo>
                    <a:pt x="308" y="176"/>
                    <a:pt x="289" y="187"/>
                    <a:pt x="292" y="200"/>
                  </a:cubicBezTo>
                  <a:cubicBezTo>
                    <a:pt x="285" y="263"/>
                    <a:pt x="285" y="263"/>
                    <a:pt x="285" y="263"/>
                  </a:cubicBezTo>
                  <a:cubicBezTo>
                    <a:pt x="291" y="289"/>
                    <a:pt x="277" y="292"/>
                    <a:pt x="272" y="300"/>
                  </a:cubicBezTo>
                  <a:cubicBezTo>
                    <a:pt x="272" y="300"/>
                    <a:pt x="272" y="300"/>
                    <a:pt x="267" y="308"/>
                  </a:cubicBezTo>
                  <a:cubicBezTo>
                    <a:pt x="259" y="302"/>
                    <a:pt x="246" y="305"/>
                    <a:pt x="241" y="313"/>
                  </a:cubicBezTo>
                  <a:cubicBezTo>
                    <a:pt x="236" y="321"/>
                    <a:pt x="236" y="321"/>
                    <a:pt x="236" y="321"/>
                  </a:cubicBezTo>
                  <a:cubicBezTo>
                    <a:pt x="223" y="324"/>
                    <a:pt x="210" y="327"/>
                    <a:pt x="194" y="317"/>
                  </a:cubicBezTo>
                  <a:cubicBezTo>
                    <a:pt x="139" y="281"/>
                    <a:pt x="139" y="281"/>
                    <a:pt x="139" y="281"/>
                  </a:cubicBezTo>
                  <a:cubicBezTo>
                    <a:pt x="131" y="276"/>
                    <a:pt x="110" y="273"/>
                    <a:pt x="104" y="281"/>
                  </a:cubicBezTo>
                  <a:cubicBezTo>
                    <a:pt x="79" y="321"/>
                    <a:pt x="79" y="321"/>
                    <a:pt x="79" y="321"/>
                  </a:cubicBezTo>
                  <a:cubicBezTo>
                    <a:pt x="66" y="324"/>
                    <a:pt x="68" y="337"/>
                    <a:pt x="79" y="355"/>
                  </a:cubicBezTo>
                  <a:cubicBezTo>
                    <a:pt x="121" y="394"/>
                    <a:pt x="121" y="394"/>
                    <a:pt x="121" y="394"/>
                  </a:cubicBezTo>
                  <a:cubicBezTo>
                    <a:pt x="140" y="417"/>
                    <a:pt x="135" y="425"/>
                    <a:pt x="132" y="446"/>
                  </a:cubicBezTo>
                  <a:cubicBezTo>
                    <a:pt x="132" y="446"/>
                    <a:pt x="132" y="446"/>
                    <a:pt x="132" y="446"/>
                  </a:cubicBezTo>
                  <a:cubicBezTo>
                    <a:pt x="127" y="454"/>
                    <a:pt x="122" y="462"/>
                    <a:pt x="117" y="470"/>
                  </a:cubicBezTo>
                  <a:cubicBezTo>
                    <a:pt x="117" y="470"/>
                    <a:pt x="117" y="470"/>
                    <a:pt x="117" y="470"/>
                  </a:cubicBezTo>
                  <a:cubicBezTo>
                    <a:pt x="120" y="483"/>
                    <a:pt x="109" y="499"/>
                    <a:pt x="83" y="505"/>
                  </a:cubicBezTo>
                  <a:cubicBezTo>
                    <a:pt x="23" y="511"/>
                    <a:pt x="23" y="511"/>
                    <a:pt x="23" y="511"/>
                  </a:cubicBezTo>
                  <a:cubicBezTo>
                    <a:pt x="10" y="514"/>
                    <a:pt x="0" y="529"/>
                    <a:pt x="2" y="543"/>
                  </a:cubicBezTo>
                  <a:cubicBezTo>
                    <a:pt x="5" y="590"/>
                    <a:pt x="5" y="590"/>
                    <a:pt x="5" y="590"/>
                  </a:cubicBezTo>
                  <a:cubicBezTo>
                    <a:pt x="8" y="603"/>
                    <a:pt x="16" y="608"/>
                    <a:pt x="37" y="610"/>
                  </a:cubicBezTo>
                  <a:cubicBezTo>
                    <a:pt x="92" y="612"/>
                    <a:pt x="92" y="612"/>
                    <a:pt x="92" y="612"/>
                  </a:cubicBezTo>
                  <a:cubicBezTo>
                    <a:pt x="113" y="614"/>
                    <a:pt x="129" y="625"/>
                    <a:pt x="132" y="638"/>
                  </a:cubicBezTo>
                  <a:cubicBezTo>
                    <a:pt x="132" y="638"/>
                    <a:pt x="132" y="638"/>
                    <a:pt x="132" y="638"/>
                  </a:cubicBezTo>
                  <a:cubicBezTo>
                    <a:pt x="140" y="643"/>
                    <a:pt x="142" y="656"/>
                    <a:pt x="150" y="661"/>
                  </a:cubicBezTo>
                  <a:cubicBezTo>
                    <a:pt x="145" y="669"/>
                    <a:pt x="145" y="669"/>
                    <a:pt x="145" y="669"/>
                  </a:cubicBezTo>
                  <a:cubicBezTo>
                    <a:pt x="153" y="674"/>
                    <a:pt x="156" y="687"/>
                    <a:pt x="140" y="711"/>
                  </a:cubicBezTo>
                  <a:cubicBezTo>
                    <a:pt x="109" y="759"/>
                    <a:pt x="109" y="759"/>
                    <a:pt x="109" y="759"/>
                  </a:cubicBezTo>
                  <a:cubicBezTo>
                    <a:pt x="99" y="775"/>
                    <a:pt x="102" y="788"/>
                    <a:pt x="110" y="793"/>
                  </a:cubicBezTo>
                  <a:cubicBezTo>
                    <a:pt x="152" y="832"/>
                    <a:pt x="152" y="832"/>
                    <a:pt x="152" y="832"/>
                  </a:cubicBezTo>
                  <a:cubicBezTo>
                    <a:pt x="160" y="837"/>
                    <a:pt x="173" y="834"/>
                    <a:pt x="178" y="826"/>
                  </a:cubicBezTo>
                  <a:cubicBezTo>
                    <a:pt x="230" y="781"/>
                    <a:pt x="230" y="781"/>
                    <a:pt x="230" y="781"/>
                  </a:cubicBezTo>
                  <a:cubicBezTo>
                    <a:pt x="248" y="770"/>
                    <a:pt x="261" y="767"/>
                    <a:pt x="269" y="772"/>
                  </a:cubicBezTo>
                  <a:cubicBezTo>
                    <a:pt x="269" y="772"/>
                    <a:pt x="269" y="772"/>
                    <a:pt x="269" y="772"/>
                  </a:cubicBezTo>
                  <a:cubicBezTo>
                    <a:pt x="282" y="769"/>
                    <a:pt x="298" y="779"/>
                    <a:pt x="306" y="785"/>
                  </a:cubicBezTo>
                  <a:cubicBezTo>
                    <a:pt x="306" y="785"/>
                    <a:pt x="306" y="785"/>
                    <a:pt x="306" y="785"/>
                  </a:cubicBezTo>
                  <a:cubicBezTo>
                    <a:pt x="319" y="782"/>
                    <a:pt x="327" y="787"/>
                    <a:pt x="332" y="813"/>
                  </a:cubicBezTo>
                  <a:cubicBezTo>
                    <a:pt x="346" y="878"/>
                    <a:pt x="346" y="878"/>
                    <a:pt x="346" y="878"/>
                  </a:cubicBezTo>
                  <a:cubicBezTo>
                    <a:pt x="349" y="892"/>
                    <a:pt x="357" y="897"/>
                    <a:pt x="370" y="894"/>
                  </a:cubicBezTo>
                  <a:cubicBezTo>
                    <a:pt x="425" y="896"/>
                    <a:pt x="425" y="896"/>
                    <a:pt x="425" y="896"/>
                  </a:cubicBezTo>
                  <a:cubicBezTo>
                    <a:pt x="430" y="888"/>
                    <a:pt x="443" y="885"/>
                    <a:pt x="440" y="872"/>
                  </a:cubicBezTo>
                  <a:cubicBezTo>
                    <a:pt x="440" y="804"/>
                    <a:pt x="440" y="804"/>
                    <a:pt x="440" y="804"/>
                  </a:cubicBezTo>
                  <a:cubicBezTo>
                    <a:pt x="442" y="783"/>
                    <a:pt x="460" y="772"/>
                    <a:pt x="466" y="764"/>
                  </a:cubicBezTo>
                  <a:cubicBezTo>
                    <a:pt x="466" y="764"/>
                    <a:pt x="466" y="764"/>
                    <a:pt x="466" y="764"/>
                  </a:cubicBezTo>
                  <a:cubicBezTo>
                    <a:pt x="479" y="761"/>
                    <a:pt x="492" y="758"/>
                    <a:pt x="497" y="750"/>
                  </a:cubicBezTo>
                  <a:cubicBezTo>
                    <a:pt x="497" y="750"/>
                    <a:pt x="497" y="750"/>
                    <a:pt x="497" y="750"/>
                  </a:cubicBezTo>
                  <a:cubicBezTo>
                    <a:pt x="510" y="747"/>
                    <a:pt x="523" y="745"/>
                    <a:pt x="539" y="755"/>
                  </a:cubicBezTo>
                  <a:cubicBezTo>
                    <a:pt x="594" y="791"/>
                    <a:pt x="594" y="791"/>
                    <a:pt x="594" y="791"/>
                  </a:cubicBezTo>
                  <a:cubicBezTo>
                    <a:pt x="602" y="796"/>
                    <a:pt x="623" y="798"/>
                    <a:pt x="628" y="790"/>
                  </a:cubicBezTo>
                  <a:cubicBezTo>
                    <a:pt x="659" y="743"/>
                    <a:pt x="659" y="743"/>
                    <a:pt x="659" y="743"/>
                  </a:cubicBezTo>
                  <a:cubicBezTo>
                    <a:pt x="659" y="743"/>
                    <a:pt x="669" y="727"/>
                    <a:pt x="654" y="716"/>
                  </a:cubicBezTo>
                  <a:close/>
                  <a:moveTo>
                    <a:pt x="281" y="633"/>
                  </a:moveTo>
                  <a:cubicBezTo>
                    <a:pt x="223" y="584"/>
                    <a:pt x="219" y="502"/>
                    <a:pt x="263" y="452"/>
                  </a:cubicBezTo>
                  <a:cubicBezTo>
                    <a:pt x="313" y="393"/>
                    <a:pt x="399" y="382"/>
                    <a:pt x="457" y="431"/>
                  </a:cubicBezTo>
                  <a:cubicBezTo>
                    <a:pt x="507" y="475"/>
                    <a:pt x="518" y="561"/>
                    <a:pt x="469" y="619"/>
                  </a:cubicBezTo>
                  <a:cubicBezTo>
                    <a:pt x="420" y="678"/>
                    <a:pt x="339" y="682"/>
                    <a:pt x="281" y="633"/>
                  </a:cubicBezTo>
                  <a:close/>
                  <a:moveTo>
                    <a:pt x="1019" y="398"/>
                  </a:moveTo>
                  <a:cubicBezTo>
                    <a:pt x="1004" y="362"/>
                    <a:pt x="1004" y="362"/>
                    <a:pt x="1004" y="362"/>
                  </a:cubicBezTo>
                  <a:cubicBezTo>
                    <a:pt x="992" y="348"/>
                    <a:pt x="1002" y="340"/>
                    <a:pt x="1002" y="332"/>
                  </a:cubicBezTo>
                  <a:cubicBezTo>
                    <a:pt x="1002" y="332"/>
                    <a:pt x="1002" y="332"/>
                    <a:pt x="1002" y="332"/>
                  </a:cubicBezTo>
                  <a:cubicBezTo>
                    <a:pt x="1007" y="328"/>
                    <a:pt x="1011" y="324"/>
                    <a:pt x="1012" y="315"/>
                  </a:cubicBezTo>
                  <a:cubicBezTo>
                    <a:pt x="1021" y="307"/>
                    <a:pt x="1026" y="303"/>
                    <a:pt x="1043" y="304"/>
                  </a:cubicBezTo>
                  <a:cubicBezTo>
                    <a:pt x="1086" y="307"/>
                    <a:pt x="1086" y="307"/>
                    <a:pt x="1086" y="307"/>
                  </a:cubicBezTo>
                  <a:cubicBezTo>
                    <a:pt x="1095" y="308"/>
                    <a:pt x="1099" y="304"/>
                    <a:pt x="1100" y="295"/>
                  </a:cubicBezTo>
                  <a:cubicBezTo>
                    <a:pt x="1107" y="266"/>
                    <a:pt x="1107" y="266"/>
                    <a:pt x="1107" y="266"/>
                  </a:cubicBezTo>
                  <a:cubicBezTo>
                    <a:pt x="1107" y="257"/>
                    <a:pt x="1103" y="252"/>
                    <a:pt x="1095" y="243"/>
                  </a:cubicBezTo>
                  <a:cubicBezTo>
                    <a:pt x="1057" y="236"/>
                    <a:pt x="1057" y="236"/>
                    <a:pt x="1057" y="236"/>
                  </a:cubicBezTo>
                  <a:cubicBezTo>
                    <a:pt x="1044" y="231"/>
                    <a:pt x="1036" y="222"/>
                    <a:pt x="1037" y="213"/>
                  </a:cubicBezTo>
                  <a:cubicBezTo>
                    <a:pt x="1038" y="205"/>
                    <a:pt x="1034" y="200"/>
                    <a:pt x="1030" y="187"/>
                  </a:cubicBezTo>
                  <a:cubicBezTo>
                    <a:pt x="1031" y="178"/>
                    <a:pt x="1032" y="170"/>
                    <a:pt x="1041" y="162"/>
                  </a:cubicBezTo>
                  <a:cubicBezTo>
                    <a:pt x="1077" y="138"/>
                    <a:pt x="1077" y="138"/>
                    <a:pt x="1077" y="138"/>
                  </a:cubicBezTo>
                  <a:cubicBezTo>
                    <a:pt x="1082" y="134"/>
                    <a:pt x="1083" y="126"/>
                    <a:pt x="1079" y="121"/>
                  </a:cubicBezTo>
                  <a:cubicBezTo>
                    <a:pt x="1059" y="89"/>
                    <a:pt x="1059" y="89"/>
                    <a:pt x="1059" y="89"/>
                  </a:cubicBezTo>
                  <a:cubicBezTo>
                    <a:pt x="1055" y="85"/>
                    <a:pt x="1047" y="84"/>
                    <a:pt x="1038" y="83"/>
                  </a:cubicBezTo>
                  <a:cubicBezTo>
                    <a:pt x="1002" y="107"/>
                    <a:pt x="1002" y="107"/>
                    <a:pt x="1002" y="107"/>
                  </a:cubicBezTo>
                  <a:cubicBezTo>
                    <a:pt x="989" y="110"/>
                    <a:pt x="980" y="110"/>
                    <a:pt x="976" y="105"/>
                  </a:cubicBezTo>
                  <a:cubicBezTo>
                    <a:pt x="972" y="100"/>
                    <a:pt x="960" y="95"/>
                    <a:pt x="956" y="91"/>
                  </a:cubicBezTo>
                  <a:cubicBezTo>
                    <a:pt x="952" y="86"/>
                    <a:pt x="944" y="77"/>
                    <a:pt x="944" y="68"/>
                  </a:cubicBezTo>
                  <a:cubicBezTo>
                    <a:pt x="948" y="25"/>
                    <a:pt x="948" y="25"/>
                    <a:pt x="948" y="25"/>
                  </a:cubicBezTo>
                  <a:cubicBezTo>
                    <a:pt x="948" y="17"/>
                    <a:pt x="940" y="7"/>
                    <a:pt x="940" y="7"/>
                  </a:cubicBezTo>
                  <a:cubicBezTo>
                    <a:pt x="902" y="0"/>
                    <a:pt x="902" y="0"/>
                    <a:pt x="902" y="0"/>
                  </a:cubicBezTo>
                  <a:cubicBezTo>
                    <a:pt x="902" y="0"/>
                    <a:pt x="889" y="4"/>
                    <a:pt x="888" y="12"/>
                  </a:cubicBezTo>
                  <a:cubicBezTo>
                    <a:pt x="872" y="50"/>
                    <a:pt x="872" y="50"/>
                    <a:pt x="872" y="50"/>
                  </a:cubicBezTo>
                  <a:cubicBezTo>
                    <a:pt x="871" y="67"/>
                    <a:pt x="862" y="67"/>
                    <a:pt x="858" y="71"/>
                  </a:cubicBezTo>
                  <a:cubicBezTo>
                    <a:pt x="858" y="71"/>
                    <a:pt x="858" y="71"/>
                    <a:pt x="853" y="75"/>
                  </a:cubicBezTo>
                  <a:cubicBezTo>
                    <a:pt x="849" y="70"/>
                    <a:pt x="840" y="70"/>
                    <a:pt x="836" y="74"/>
                  </a:cubicBezTo>
                  <a:cubicBezTo>
                    <a:pt x="831" y="78"/>
                    <a:pt x="831" y="78"/>
                    <a:pt x="831" y="78"/>
                  </a:cubicBezTo>
                  <a:cubicBezTo>
                    <a:pt x="822" y="77"/>
                    <a:pt x="814" y="76"/>
                    <a:pt x="806" y="67"/>
                  </a:cubicBezTo>
                  <a:cubicBezTo>
                    <a:pt x="778" y="35"/>
                    <a:pt x="778" y="35"/>
                    <a:pt x="778" y="35"/>
                  </a:cubicBezTo>
                  <a:cubicBezTo>
                    <a:pt x="774" y="30"/>
                    <a:pt x="762" y="25"/>
                    <a:pt x="757" y="29"/>
                  </a:cubicBezTo>
                  <a:cubicBezTo>
                    <a:pt x="734" y="49"/>
                    <a:pt x="734" y="49"/>
                    <a:pt x="734" y="49"/>
                  </a:cubicBezTo>
                  <a:cubicBezTo>
                    <a:pt x="725" y="49"/>
                    <a:pt x="725" y="57"/>
                    <a:pt x="728" y="70"/>
                  </a:cubicBezTo>
                  <a:cubicBezTo>
                    <a:pt x="747" y="102"/>
                    <a:pt x="747" y="102"/>
                    <a:pt x="747" y="102"/>
                  </a:cubicBezTo>
                  <a:cubicBezTo>
                    <a:pt x="754" y="120"/>
                    <a:pt x="750" y="124"/>
                    <a:pt x="744" y="136"/>
                  </a:cubicBezTo>
                  <a:cubicBezTo>
                    <a:pt x="744" y="136"/>
                    <a:pt x="744" y="136"/>
                    <a:pt x="744" y="136"/>
                  </a:cubicBezTo>
                  <a:cubicBezTo>
                    <a:pt x="740" y="140"/>
                    <a:pt x="735" y="144"/>
                    <a:pt x="731" y="148"/>
                  </a:cubicBezTo>
                  <a:cubicBezTo>
                    <a:pt x="731" y="148"/>
                    <a:pt x="731" y="148"/>
                    <a:pt x="731" y="148"/>
                  </a:cubicBezTo>
                  <a:cubicBezTo>
                    <a:pt x="730" y="157"/>
                    <a:pt x="721" y="165"/>
                    <a:pt x="703" y="164"/>
                  </a:cubicBezTo>
                  <a:cubicBezTo>
                    <a:pt x="665" y="157"/>
                    <a:pt x="665" y="157"/>
                    <a:pt x="665" y="157"/>
                  </a:cubicBezTo>
                  <a:cubicBezTo>
                    <a:pt x="656" y="156"/>
                    <a:pt x="647" y="164"/>
                    <a:pt x="647" y="173"/>
                  </a:cubicBezTo>
                  <a:cubicBezTo>
                    <a:pt x="640" y="203"/>
                    <a:pt x="640" y="203"/>
                    <a:pt x="640" y="203"/>
                  </a:cubicBezTo>
                  <a:cubicBezTo>
                    <a:pt x="639" y="211"/>
                    <a:pt x="643" y="216"/>
                    <a:pt x="656" y="221"/>
                  </a:cubicBezTo>
                  <a:cubicBezTo>
                    <a:pt x="690" y="232"/>
                    <a:pt x="690" y="232"/>
                    <a:pt x="690" y="232"/>
                  </a:cubicBezTo>
                  <a:cubicBezTo>
                    <a:pt x="702" y="237"/>
                    <a:pt x="710" y="246"/>
                    <a:pt x="710" y="255"/>
                  </a:cubicBezTo>
                  <a:cubicBezTo>
                    <a:pt x="710" y="255"/>
                    <a:pt x="710" y="255"/>
                    <a:pt x="710" y="255"/>
                  </a:cubicBezTo>
                  <a:cubicBezTo>
                    <a:pt x="714" y="260"/>
                    <a:pt x="713" y="268"/>
                    <a:pt x="717" y="273"/>
                  </a:cubicBezTo>
                  <a:cubicBezTo>
                    <a:pt x="712" y="277"/>
                    <a:pt x="712" y="277"/>
                    <a:pt x="712" y="277"/>
                  </a:cubicBezTo>
                  <a:cubicBezTo>
                    <a:pt x="716" y="281"/>
                    <a:pt x="716" y="290"/>
                    <a:pt x="702" y="302"/>
                  </a:cubicBezTo>
                  <a:cubicBezTo>
                    <a:pt x="674" y="326"/>
                    <a:pt x="674" y="326"/>
                    <a:pt x="674" y="326"/>
                  </a:cubicBezTo>
                  <a:cubicBezTo>
                    <a:pt x="665" y="334"/>
                    <a:pt x="664" y="343"/>
                    <a:pt x="668" y="347"/>
                  </a:cubicBezTo>
                  <a:cubicBezTo>
                    <a:pt x="687" y="379"/>
                    <a:pt x="687" y="379"/>
                    <a:pt x="687" y="379"/>
                  </a:cubicBezTo>
                  <a:cubicBezTo>
                    <a:pt x="691" y="383"/>
                    <a:pt x="700" y="384"/>
                    <a:pt x="704" y="380"/>
                  </a:cubicBezTo>
                  <a:cubicBezTo>
                    <a:pt x="745" y="361"/>
                    <a:pt x="745" y="361"/>
                    <a:pt x="745" y="361"/>
                  </a:cubicBezTo>
                  <a:cubicBezTo>
                    <a:pt x="758" y="358"/>
                    <a:pt x="767" y="358"/>
                    <a:pt x="771" y="363"/>
                  </a:cubicBezTo>
                  <a:cubicBezTo>
                    <a:pt x="771" y="363"/>
                    <a:pt x="771" y="363"/>
                    <a:pt x="771" y="363"/>
                  </a:cubicBezTo>
                  <a:cubicBezTo>
                    <a:pt x="779" y="364"/>
                    <a:pt x="787" y="373"/>
                    <a:pt x="791" y="377"/>
                  </a:cubicBezTo>
                  <a:cubicBezTo>
                    <a:pt x="791" y="377"/>
                    <a:pt x="791" y="377"/>
                    <a:pt x="791" y="377"/>
                  </a:cubicBezTo>
                  <a:cubicBezTo>
                    <a:pt x="800" y="378"/>
                    <a:pt x="804" y="383"/>
                    <a:pt x="802" y="400"/>
                  </a:cubicBezTo>
                  <a:cubicBezTo>
                    <a:pt x="799" y="443"/>
                    <a:pt x="799" y="443"/>
                    <a:pt x="799" y="443"/>
                  </a:cubicBezTo>
                  <a:cubicBezTo>
                    <a:pt x="798" y="451"/>
                    <a:pt x="802" y="456"/>
                    <a:pt x="811" y="457"/>
                  </a:cubicBezTo>
                  <a:cubicBezTo>
                    <a:pt x="845" y="468"/>
                    <a:pt x="845" y="468"/>
                    <a:pt x="845" y="468"/>
                  </a:cubicBezTo>
                  <a:cubicBezTo>
                    <a:pt x="849" y="464"/>
                    <a:pt x="858" y="464"/>
                    <a:pt x="859" y="456"/>
                  </a:cubicBezTo>
                  <a:cubicBezTo>
                    <a:pt x="871" y="413"/>
                    <a:pt x="871" y="413"/>
                    <a:pt x="871" y="413"/>
                  </a:cubicBezTo>
                  <a:cubicBezTo>
                    <a:pt x="876" y="401"/>
                    <a:pt x="889" y="397"/>
                    <a:pt x="894" y="393"/>
                  </a:cubicBezTo>
                  <a:cubicBezTo>
                    <a:pt x="894" y="393"/>
                    <a:pt x="894" y="393"/>
                    <a:pt x="894" y="393"/>
                  </a:cubicBezTo>
                  <a:cubicBezTo>
                    <a:pt x="902" y="394"/>
                    <a:pt x="911" y="395"/>
                    <a:pt x="916" y="391"/>
                  </a:cubicBezTo>
                  <a:cubicBezTo>
                    <a:pt x="916" y="391"/>
                    <a:pt x="916" y="391"/>
                    <a:pt x="916" y="391"/>
                  </a:cubicBezTo>
                  <a:cubicBezTo>
                    <a:pt x="924" y="391"/>
                    <a:pt x="933" y="392"/>
                    <a:pt x="941" y="401"/>
                  </a:cubicBezTo>
                  <a:cubicBezTo>
                    <a:pt x="969" y="433"/>
                    <a:pt x="969" y="433"/>
                    <a:pt x="969" y="433"/>
                  </a:cubicBezTo>
                  <a:cubicBezTo>
                    <a:pt x="973" y="438"/>
                    <a:pt x="985" y="443"/>
                    <a:pt x="990" y="439"/>
                  </a:cubicBezTo>
                  <a:cubicBezTo>
                    <a:pt x="1018" y="415"/>
                    <a:pt x="1018" y="415"/>
                    <a:pt x="1018" y="415"/>
                  </a:cubicBezTo>
                  <a:cubicBezTo>
                    <a:pt x="1018" y="415"/>
                    <a:pt x="1027" y="407"/>
                    <a:pt x="1019" y="398"/>
                  </a:cubicBezTo>
                  <a:close/>
                  <a:moveTo>
                    <a:pt x="803" y="279"/>
                  </a:moveTo>
                  <a:cubicBezTo>
                    <a:pt x="776" y="238"/>
                    <a:pt x="788" y="187"/>
                    <a:pt x="825" y="164"/>
                  </a:cubicBezTo>
                  <a:cubicBezTo>
                    <a:pt x="866" y="136"/>
                    <a:pt x="921" y="144"/>
                    <a:pt x="948" y="185"/>
                  </a:cubicBezTo>
                  <a:cubicBezTo>
                    <a:pt x="972" y="221"/>
                    <a:pt x="963" y="277"/>
                    <a:pt x="922" y="304"/>
                  </a:cubicBezTo>
                  <a:cubicBezTo>
                    <a:pt x="881" y="332"/>
                    <a:pt x="830" y="320"/>
                    <a:pt x="803" y="279"/>
                  </a:cubicBezTo>
                  <a:close/>
                </a:path>
              </a:pathLst>
            </a:custGeom>
            <a:solidFill>
              <a:schemeClr val="tx1"/>
            </a:solidFill>
            <a:ln>
              <a:noFill/>
            </a:ln>
          </p:spPr>
          <p:txBody>
            <a:bodyPr vert="horz" wrap="square" lIns="68574" tIns="34287" rIns="68574" bIns="34287"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17346"/>
                </a:solidFill>
                <a:effectLst/>
                <a:uLnTx/>
                <a:uFillTx/>
                <a:latin typeface="Segoe UI"/>
                <a:ea typeface="+mn-ea"/>
                <a:cs typeface="+mn-cs"/>
              </a:endParaRPr>
            </a:p>
          </p:txBody>
        </p:sp>
        <p:sp>
          <p:nvSpPr>
            <p:cNvPr id="88" name="Freeform 87"/>
            <p:cNvSpPr>
              <a:spLocks noChangeAspect="1"/>
            </p:cNvSpPr>
            <p:nvPr/>
          </p:nvSpPr>
          <p:spPr bwMode="black">
            <a:xfrm>
              <a:off x="776985" y="4213905"/>
              <a:ext cx="342871" cy="335728"/>
            </a:xfrm>
            <a:custGeom>
              <a:avLst/>
              <a:gdLst>
                <a:gd name="connsiteX0" fmla="*/ 3713863 w 4893730"/>
                <a:gd name="connsiteY0" fmla="*/ 2130808 h 4791777"/>
                <a:gd name="connsiteX1" fmla="*/ 4426142 w 4893730"/>
                <a:gd name="connsiteY1" fmla="*/ 2130808 h 4791777"/>
                <a:gd name="connsiteX2" fmla="*/ 4598071 w 4893730"/>
                <a:gd name="connsiteY2" fmla="*/ 2301547 h 4791777"/>
                <a:gd name="connsiteX3" fmla="*/ 4598071 w 4893730"/>
                <a:gd name="connsiteY3" fmla="*/ 3886978 h 4791777"/>
                <a:gd name="connsiteX4" fmla="*/ 4426142 w 4893730"/>
                <a:gd name="connsiteY4" fmla="*/ 4057717 h 4791777"/>
                <a:gd name="connsiteX5" fmla="*/ 3713863 w 4893730"/>
                <a:gd name="connsiteY5" fmla="*/ 4057717 h 4791777"/>
                <a:gd name="connsiteX6" fmla="*/ 3517372 w 4893730"/>
                <a:gd name="connsiteY6" fmla="*/ 3886978 h 4791777"/>
                <a:gd name="connsiteX7" fmla="*/ 3517372 w 4893730"/>
                <a:gd name="connsiteY7" fmla="*/ 2301547 h 4791777"/>
                <a:gd name="connsiteX8" fmla="*/ 3713863 w 4893730"/>
                <a:gd name="connsiteY8" fmla="*/ 2130808 h 4791777"/>
                <a:gd name="connsiteX9" fmla="*/ 904368 w 4893730"/>
                <a:gd name="connsiteY9" fmla="*/ 1223432 h 4791777"/>
                <a:gd name="connsiteX10" fmla="*/ 1609930 w 4893730"/>
                <a:gd name="connsiteY10" fmla="*/ 1223432 h 4791777"/>
                <a:gd name="connsiteX11" fmla="*/ 1804567 w 4893730"/>
                <a:gd name="connsiteY11" fmla="*/ 1394467 h 4791777"/>
                <a:gd name="connsiteX12" fmla="*/ 1804567 w 4893730"/>
                <a:gd name="connsiteY12" fmla="*/ 3886683 h 4791777"/>
                <a:gd name="connsiteX13" fmla="*/ 1609930 w 4893730"/>
                <a:gd name="connsiteY13" fmla="*/ 4057717 h 4791777"/>
                <a:gd name="connsiteX14" fmla="*/ 904368 w 4893730"/>
                <a:gd name="connsiteY14" fmla="*/ 4057717 h 4791777"/>
                <a:gd name="connsiteX15" fmla="*/ 734060 w 4893730"/>
                <a:gd name="connsiteY15" fmla="*/ 3886683 h 4791777"/>
                <a:gd name="connsiteX16" fmla="*/ 734060 w 4893730"/>
                <a:gd name="connsiteY16" fmla="*/ 1394467 h 4791777"/>
                <a:gd name="connsiteX17" fmla="*/ 904368 w 4893730"/>
                <a:gd name="connsiteY17" fmla="*/ 1223432 h 4791777"/>
                <a:gd name="connsiteX18" fmla="*/ 2325453 w 4893730"/>
                <a:gd name="connsiteY18" fmla="*/ 316050 h 4791777"/>
                <a:gd name="connsiteX19" fmla="*/ 3031014 w 4893730"/>
                <a:gd name="connsiteY19" fmla="*/ 316050 h 4791777"/>
                <a:gd name="connsiteX20" fmla="*/ 3201322 w 4893730"/>
                <a:gd name="connsiteY20" fmla="*/ 487238 h 4791777"/>
                <a:gd name="connsiteX21" fmla="*/ 3201322 w 4893730"/>
                <a:gd name="connsiteY21" fmla="*/ 3886530 h 4791777"/>
                <a:gd name="connsiteX22" fmla="*/ 3031014 w 4893730"/>
                <a:gd name="connsiteY22" fmla="*/ 4057717 h 4791777"/>
                <a:gd name="connsiteX23" fmla="*/ 2325453 w 4893730"/>
                <a:gd name="connsiteY23" fmla="*/ 4057717 h 4791777"/>
                <a:gd name="connsiteX24" fmla="*/ 2130815 w 4893730"/>
                <a:gd name="connsiteY24" fmla="*/ 3886530 h 4791777"/>
                <a:gd name="connsiteX25" fmla="*/ 2130815 w 4893730"/>
                <a:gd name="connsiteY25" fmla="*/ 487238 h 4791777"/>
                <a:gd name="connsiteX26" fmla="*/ 2325453 w 4893730"/>
                <a:gd name="connsiteY26" fmla="*/ 316050 h 4791777"/>
                <a:gd name="connsiteX27" fmla="*/ 269155 w 4893730"/>
                <a:gd name="connsiteY27" fmla="*/ 0 h 4791777"/>
                <a:gd name="connsiteX28" fmla="*/ 538311 w 4893730"/>
                <a:gd name="connsiteY28" fmla="*/ 268927 h 4791777"/>
                <a:gd name="connsiteX29" fmla="*/ 538311 w 4893730"/>
                <a:gd name="connsiteY29" fmla="*/ 4253925 h 4791777"/>
                <a:gd name="connsiteX30" fmla="*/ 4624575 w 4893730"/>
                <a:gd name="connsiteY30" fmla="*/ 4253925 h 4791777"/>
                <a:gd name="connsiteX31" fmla="*/ 4893730 w 4893730"/>
                <a:gd name="connsiteY31" fmla="*/ 4522851 h 4791777"/>
                <a:gd name="connsiteX32" fmla="*/ 4624575 w 4893730"/>
                <a:gd name="connsiteY32" fmla="*/ 4791777 h 4791777"/>
                <a:gd name="connsiteX33" fmla="*/ 269155 w 4893730"/>
                <a:gd name="connsiteY33" fmla="*/ 4791777 h 4791777"/>
                <a:gd name="connsiteX34" fmla="*/ 0 w 4893730"/>
                <a:gd name="connsiteY34" fmla="*/ 4522851 h 4791777"/>
                <a:gd name="connsiteX35" fmla="*/ 0 w 4893730"/>
                <a:gd name="connsiteY35" fmla="*/ 268927 h 4791777"/>
                <a:gd name="connsiteX36" fmla="*/ 269155 w 4893730"/>
                <a:gd name="connsiteY36" fmla="*/ 0 h 4791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4893730" h="4791777">
                  <a:moveTo>
                    <a:pt x="3713863" y="2130808"/>
                  </a:moveTo>
                  <a:cubicBezTo>
                    <a:pt x="3713863" y="2130808"/>
                    <a:pt x="3713863" y="2130808"/>
                    <a:pt x="4426142" y="2130808"/>
                  </a:cubicBezTo>
                  <a:cubicBezTo>
                    <a:pt x="4524387" y="2130808"/>
                    <a:pt x="4598071" y="2203982"/>
                    <a:pt x="4598071" y="2301547"/>
                  </a:cubicBezTo>
                  <a:cubicBezTo>
                    <a:pt x="4598071" y="2301547"/>
                    <a:pt x="4598071" y="2301547"/>
                    <a:pt x="4598071" y="3886978"/>
                  </a:cubicBezTo>
                  <a:cubicBezTo>
                    <a:pt x="4598071" y="3984543"/>
                    <a:pt x="4524387" y="4057717"/>
                    <a:pt x="4426142" y="4057717"/>
                  </a:cubicBezTo>
                  <a:cubicBezTo>
                    <a:pt x="4426142" y="4057717"/>
                    <a:pt x="4426142" y="4057717"/>
                    <a:pt x="3713863" y="4057717"/>
                  </a:cubicBezTo>
                  <a:cubicBezTo>
                    <a:pt x="3615618" y="4057717"/>
                    <a:pt x="3517372" y="3984543"/>
                    <a:pt x="3517372" y="3886978"/>
                  </a:cubicBezTo>
                  <a:cubicBezTo>
                    <a:pt x="3517372" y="3886978"/>
                    <a:pt x="3517372" y="3886978"/>
                    <a:pt x="3517372" y="2301547"/>
                  </a:cubicBezTo>
                  <a:cubicBezTo>
                    <a:pt x="3517372" y="2203982"/>
                    <a:pt x="3615618" y="2130808"/>
                    <a:pt x="3713863" y="2130808"/>
                  </a:cubicBezTo>
                  <a:close/>
                  <a:moveTo>
                    <a:pt x="904368" y="1223432"/>
                  </a:moveTo>
                  <a:cubicBezTo>
                    <a:pt x="904368" y="1223432"/>
                    <a:pt x="904368" y="1223432"/>
                    <a:pt x="1609930" y="1223432"/>
                  </a:cubicBezTo>
                  <a:cubicBezTo>
                    <a:pt x="1731578" y="1223432"/>
                    <a:pt x="1804567" y="1296733"/>
                    <a:pt x="1804567" y="1394467"/>
                  </a:cubicBezTo>
                  <a:cubicBezTo>
                    <a:pt x="1804567" y="1394467"/>
                    <a:pt x="1804567" y="1394467"/>
                    <a:pt x="1804567" y="3886683"/>
                  </a:cubicBezTo>
                  <a:cubicBezTo>
                    <a:pt x="1804567" y="3984417"/>
                    <a:pt x="1731578" y="4057717"/>
                    <a:pt x="1609930" y="4057717"/>
                  </a:cubicBezTo>
                  <a:cubicBezTo>
                    <a:pt x="1609930" y="4057717"/>
                    <a:pt x="1609930" y="4057717"/>
                    <a:pt x="904368" y="4057717"/>
                  </a:cubicBezTo>
                  <a:cubicBezTo>
                    <a:pt x="807049" y="4057717"/>
                    <a:pt x="734060" y="3984417"/>
                    <a:pt x="734060" y="3886683"/>
                  </a:cubicBezTo>
                  <a:cubicBezTo>
                    <a:pt x="734060" y="3886683"/>
                    <a:pt x="734060" y="3886683"/>
                    <a:pt x="734060" y="1394467"/>
                  </a:cubicBezTo>
                  <a:cubicBezTo>
                    <a:pt x="734060" y="1296733"/>
                    <a:pt x="807049" y="1223432"/>
                    <a:pt x="904368" y="1223432"/>
                  </a:cubicBezTo>
                  <a:close/>
                  <a:moveTo>
                    <a:pt x="2325453" y="316050"/>
                  </a:moveTo>
                  <a:cubicBezTo>
                    <a:pt x="2325453" y="316050"/>
                    <a:pt x="2325453" y="316050"/>
                    <a:pt x="3031014" y="316050"/>
                  </a:cubicBezTo>
                  <a:cubicBezTo>
                    <a:pt x="3128333" y="316050"/>
                    <a:pt x="3201322" y="389416"/>
                    <a:pt x="3201322" y="487238"/>
                  </a:cubicBezTo>
                  <a:cubicBezTo>
                    <a:pt x="3201322" y="487238"/>
                    <a:pt x="3201322" y="487238"/>
                    <a:pt x="3201322" y="3886530"/>
                  </a:cubicBezTo>
                  <a:cubicBezTo>
                    <a:pt x="3201322" y="3984351"/>
                    <a:pt x="3128333" y="4057717"/>
                    <a:pt x="3031014" y="4057717"/>
                  </a:cubicBezTo>
                  <a:cubicBezTo>
                    <a:pt x="3031014" y="4057717"/>
                    <a:pt x="3031014" y="4057717"/>
                    <a:pt x="2325453" y="4057717"/>
                  </a:cubicBezTo>
                  <a:cubicBezTo>
                    <a:pt x="2203804" y="4057717"/>
                    <a:pt x="2130815" y="3984351"/>
                    <a:pt x="2130815" y="3886530"/>
                  </a:cubicBezTo>
                  <a:cubicBezTo>
                    <a:pt x="2130815" y="3886530"/>
                    <a:pt x="2130815" y="3886530"/>
                    <a:pt x="2130815" y="487238"/>
                  </a:cubicBezTo>
                  <a:cubicBezTo>
                    <a:pt x="2130815" y="389416"/>
                    <a:pt x="2203804" y="316050"/>
                    <a:pt x="2325453" y="316050"/>
                  </a:cubicBezTo>
                  <a:close/>
                  <a:moveTo>
                    <a:pt x="269155" y="0"/>
                  </a:moveTo>
                  <a:cubicBezTo>
                    <a:pt x="415967" y="0"/>
                    <a:pt x="538311" y="122239"/>
                    <a:pt x="538311" y="268927"/>
                  </a:cubicBezTo>
                  <a:cubicBezTo>
                    <a:pt x="538311" y="268927"/>
                    <a:pt x="538311" y="268927"/>
                    <a:pt x="538311" y="4253925"/>
                  </a:cubicBezTo>
                  <a:cubicBezTo>
                    <a:pt x="538311" y="4253925"/>
                    <a:pt x="538311" y="4253925"/>
                    <a:pt x="4624575" y="4253925"/>
                  </a:cubicBezTo>
                  <a:cubicBezTo>
                    <a:pt x="4771387" y="4253925"/>
                    <a:pt x="4893730" y="4376164"/>
                    <a:pt x="4893730" y="4522851"/>
                  </a:cubicBezTo>
                  <a:cubicBezTo>
                    <a:pt x="4893730" y="4669538"/>
                    <a:pt x="4771387" y="4791777"/>
                    <a:pt x="4624575" y="4791777"/>
                  </a:cubicBezTo>
                  <a:cubicBezTo>
                    <a:pt x="4624575" y="4791777"/>
                    <a:pt x="4624575" y="4791777"/>
                    <a:pt x="269155" y="4791777"/>
                  </a:cubicBezTo>
                  <a:cubicBezTo>
                    <a:pt x="122344" y="4791777"/>
                    <a:pt x="0" y="4669538"/>
                    <a:pt x="0" y="4522851"/>
                  </a:cubicBezTo>
                  <a:cubicBezTo>
                    <a:pt x="0" y="4522851"/>
                    <a:pt x="0" y="4522851"/>
                    <a:pt x="0" y="268927"/>
                  </a:cubicBezTo>
                  <a:cubicBezTo>
                    <a:pt x="0" y="122239"/>
                    <a:pt x="122344" y="0"/>
                    <a:pt x="269155"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37148" tIns="109719" rIns="137148" bIns="109719"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699261"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9" name="Rectangle 88"/>
            <p:cNvSpPr/>
            <p:nvPr/>
          </p:nvSpPr>
          <p:spPr bwMode="auto">
            <a:xfrm rot="2745734">
              <a:off x="279530" y="1141266"/>
              <a:ext cx="1260714" cy="1255193"/>
            </a:xfrm>
            <a:prstGeom prst="rect">
              <a:avLst/>
            </a:prstGeom>
            <a:solidFill>
              <a:schemeClr val="tx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0" name="Rectangle 89"/>
            <p:cNvSpPr/>
            <p:nvPr/>
          </p:nvSpPr>
          <p:spPr bwMode="auto">
            <a:xfrm rot="2745734">
              <a:off x="292433" y="3819160"/>
              <a:ext cx="1610349" cy="1235003"/>
            </a:xfrm>
            <a:prstGeom prst="rect">
              <a:avLst/>
            </a:prstGeom>
            <a:solidFill>
              <a:schemeClr val="tx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2" name="Rectangle 91"/>
            <p:cNvSpPr/>
            <p:nvPr/>
          </p:nvSpPr>
          <p:spPr bwMode="auto">
            <a:xfrm rot="2745734">
              <a:off x="1315610" y="4915701"/>
              <a:ext cx="1263370" cy="1255989"/>
            </a:xfrm>
            <a:prstGeom prst="rect">
              <a:avLst/>
            </a:prstGeom>
            <a:solidFill>
              <a:schemeClr val="tx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40" name="TextBox 39"/>
          <p:cNvSpPr txBox="1"/>
          <p:nvPr/>
        </p:nvSpPr>
        <p:spPr>
          <a:xfrm>
            <a:off x="3" y="51415"/>
            <a:ext cx="2849058" cy="430887"/>
          </a:xfrm>
          <a:prstGeom prst="rect">
            <a:avLst/>
          </a:prstGeom>
        </p:spPr>
        <p:txBody>
          <a:bodyPr wrap="square">
            <a:spAutoFit/>
          </a:bodyPr>
          <a:lstStyle>
            <a:defPPr>
              <a:defRPr lang="en-US"/>
            </a:defPPr>
            <a:lvl1pPr defTabSz="914192">
              <a:defRPr sz="2800" b="1" spc="-100">
                <a:ln w="3175">
                  <a:noFill/>
                </a:ln>
                <a:solidFill>
                  <a:srgbClr val="F2C812"/>
                </a:solidFill>
                <a:latin typeface="Segoe UI" panose="020B0502040204020203" pitchFamily="34" charset="0"/>
                <a:ea typeface="ＭＳ Ｐゴシック" charset="0"/>
                <a:cs typeface="Segoe UI" panose="020B0502040204020203" pitchFamily="34" charset="0"/>
              </a:defRPr>
            </a:lvl1pPr>
          </a:lstStyle>
          <a:p>
            <a:pPr marL="0" marR="0" lvl="0" indent="0" algn="l" defTabSz="914192" rtl="0" eaLnBrk="1" fontAlgn="auto" latinLnBrk="0" hangingPunct="1">
              <a:lnSpc>
                <a:spcPct val="100000"/>
              </a:lnSpc>
              <a:spcBef>
                <a:spcPts val="0"/>
              </a:spcBef>
              <a:spcAft>
                <a:spcPts val="0"/>
              </a:spcAft>
              <a:buClrTx/>
              <a:buSzTx/>
              <a:buFontTx/>
              <a:buNone/>
              <a:tabLst/>
              <a:defRPr/>
            </a:pPr>
            <a:r>
              <a:rPr kumimoji="0" lang="en-US" sz="2200" b="1" i="0" u="none" strike="noStrike" kern="1200" cap="none" spc="-100" normalizeH="0" baseline="0" noProof="0">
                <a:ln w="3175">
                  <a:noFill/>
                </a:ln>
                <a:solidFill>
                  <a:srgbClr val="F2C812"/>
                </a:solidFill>
                <a:effectLst/>
                <a:uLnTx/>
                <a:uFillTx/>
                <a:latin typeface="Segoe UI Light"/>
                <a:ea typeface="ＭＳ Ｐゴシック" charset="0"/>
                <a:cs typeface="Segoe UI" panose="020B0502040204020203" pitchFamily="34" charset="0"/>
              </a:rPr>
              <a:t>Power BI Desktop</a:t>
            </a:r>
          </a:p>
        </p:txBody>
      </p:sp>
      <p:sp>
        <p:nvSpPr>
          <p:cNvPr id="41" name="Rectangle 40"/>
          <p:cNvSpPr/>
          <p:nvPr/>
        </p:nvSpPr>
        <p:spPr bwMode="auto">
          <a:xfrm rot="2745734">
            <a:off x="825067" y="3494250"/>
            <a:ext cx="1260714" cy="370170"/>
          </a:xfrm>
          <a:prstGeom prst="rect">
            <a:avLst/>
          </a:prstGeom>
          <a:solidFill>
            <a:schemeClr val="tx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4" name="Text Placeholder 2"/>
          <p:cNvSpPr txBox="1">
            <a:spLocks/>
          </p:cNvSpPr>
          <p:nvPr/>
        </p:nvSpPr>
        <p:spPr>
          <a:xfrm>
            <a:off x="2849060" y="6077504"/>
            <a:ext cx="9090381" cy="897374"/>
          </a:xfrm>
          <a:prstGeom prst="rect">
            <a:avLst/>
          </a:prstGeom>
        </p:spPr>
        <p:txBody>
          <a:bodyPr vert="horz" wrap="square" lIns="182880" tIns="146304" rIns="182880" bIns="146304" rtlCol="0">
            <a:noAutofit/>
          </a:bodyPr>
          <a:lstStyle>
            <a:lvl1pPr marL="182845" marR="0"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3921" kern="1200" spc="0" baseline="0">
                <a:gradFill>
                  <a:gsLst>
                    <a:gs pos="1250">
                      <a:schemeClr val="tx2"/>
                    </a:gs>
                    <a:gs pos="99000">
                      <a:schemeClr val="tx2"/>
                    </a:gs>
                  </a:gsLst>
                  <a:lin ang="5400000" scaled="0"/>
                </a:gradFill>
                <a:latin typeface="+mj-lt"/>
                <a:ea typeface="+mn-ea"/>
                <a:cs typeface="+mn-cs"/>
              </a:defRPr>
            </a:lvl1pPr>
            <a:lvl2pPr marL="365690" marR="0"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2400" kern="1200" spc="0" baseline="0">
                <a:solidFill>
                  <a:schemeClr val="tx2"/>
                </a:solidFill>
                <a:latin typeface="+mj-lt"/>
                <a:ea typeface="+mn-ea"/>
                <a:cs typeface="+mn-cs"/>
              </a:defRPr>
            </a:lvl2pPr>
            <a:lvl3pPr marL="548535" marR="0"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2000" kern="1200" spc="0" baseline="0">
                <a:solidFill>
                  <a:schemeClr val="tx2"/>
                </a:solidFill>
                <a:latin typeface="+mj-lt"/>
                <a:ea typeface="+mn-ea"/>
                <a:cs typeface="+mn-cs"/>
              </a:defRPr>
            </a:lvl3pPr>
            <a:lvl4pPr marL="733802" marR="0" indent="-28569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1765" kern="1200" spc="0" baseline="0">
                <a:solidFill>
                  <a:schemeClr val="tx2"/>
                </a:solidFill>
                <a:latin typeface="+mn-lt"/>
                <a:ea typeface="+mn-ea"/>
                <a:cs typeface="+mn-cs"/>
              </a:defRPr>
            </a:lvl4pPr>
            <a:lvl5pPr marL="957856" marR="0" indent="-28569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1765" kern="1200" spc="0" baseline="0">
                <a:solidFill>
                  <a:schemeClr val="tx2"/>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182845" marR="0" lvl="1" indent="0" algn="l" defTabSz="914367" rtl="0" eaLnBrk="1" fontAlgn="auto" latinLnBrk="0" hangingPunct="1">
              <a:lnSpc>
                <a:spcPct val="90000"/>
              </a:lnSpc>
              <a:spcBef>
                <a:spcPct val="20000"/>
              </a:spcBef>
              <a:spcAft>
                <a:spcPts val="0"/>
              </a:spcAft>
              <a:buClrTx/>
              <a:buSzPct val="90000"/>
              <a:buFont typeface="Arial" panose="020B0604020202020204" pitchFamily="34" charset="0"/>
              <a:buNone/>
              <a:tabLst/>
              <a:defRPr/>
            </a:pPr>
            <a:r>
              <a:rPr kumimoji="0" lang="en-US" sz="1800" b="0" i="0" u="none" strike="noStrike" kern="1200" cap="none" spc="0" normalizeH="0" baseline="0" noProof="0">
                <a:ln>
                  <a:noFill/>
                </a:ln>
                <a:solidFill>
                  <a:prstClr val="black"/>
                </a:solidFill>
                <a:effectLst/>
                <a:uLnTx/>
                <a:uFillTx/>
                <a:latin typeface="Segoe UI Light"/>
                <a:ea typeface="Calibri" panose="020F0502020204030204" pitchFamily="34" charset="0"/>
                <a:cs typeface="Times New Roman" panose="02020603050405020304" pitchFamily="18" charset="0"/>
              </a:rPr>
              <a:t>* Properties might vary, depending on visualization.</a:t>
            </a:r>
            <a:endParaRPr kumimoji="0" lang="en-US" sz="1800" b="0" i="0" u="none" strike="noStrike" kern="1200" cap="none" spc="0" normalizeH="0" baseline="0" noProof="0">
              <a:ln>
                <a:noFill/>
              </a:ln>
              <a:solidFill>
                <a:srgbClr val="000000"/>
              </a:solidFill>
              <a:effectLst/>
              <a:uLnTx/>
              <a:uFillTx/>
              <a:latin typeface="Segoe UI Light"/>
              <a:ea typeface="+mn-ea"/>
              <a:cs typeface="+mn-cs"/>
            </a:endParaRPr>
          </a:p>
        </p:txBody>
      </p:sp>
      <p:sp>
        <p:nvSpPr>
          <p:cNvPr id="45" name="TextBox 44"/>
          <p:cNvSpPr txBox="1"/>
          <p:nvPr/>
        </p:nvSpPr>
        <p:spPr>
          <a:xfrm>
            <a:off x="5174231" y="2098555"/>
            <a:ext cx="7583948" cy="517065"/>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Light"/>
                <a:ea typeface="Calibri" panose="020F0502020204030204" pitchFamily="34" charset="0"/>
                <a:cs typeface="Times New Roman" panose="02020603050405020304" pitchFamily="18" charset="0"/>
              </a:rPr>
              <a:t>Enables the X/Y-Axis, control alignment, title and color and scale (Y - linear/log)</a:t>
            </a:r>
            <a:endParaRPr kumimoji="0" lang="en-US" sz="1600" b="1" i="0" u="none" strike="noStrike" kern="1200" cap="none" spc="0" normalizeH="0" baseline="0" noProof="0">
              <a:ln>
                <a:noFill/>
              </a:ln>
              <a:solidFill>
                <a:prstClr val="black"/>
              </a:solidFill>
              <a:effectLst/>
              <a:uLnTx/>
              <a:uFillTx/>
              <a:latin typeface="Segoe UI Light"/>
              <a:ea typeface="Calibri" panose="020F0502020204030204" pitchFamily="34" charset="0"/>
              <a:cs typeface="Times New Roman" panose="02020603050405020304" pitchFamily="18" charset="0"/>
            </a:endParaRPr>
          </a:p>
        </p:txBody>
      </p:sp>
      <p:sp>
        <p:nvSpPr>
          <p:cNvPr id="47" name="TextBox 46"/>
          <p:cNvSpPr txBox="1"/>
          <p:nvPr/>
        </p:nvSpPr>
        <p:spPr>
          <a:xfrm>
            <a:off x="5174231" y="2488497"/>
            <a:ext cx="7583948" cy="517065"/>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Light"/>
                <a:ea typeface="Calibri" panose="020F0502020204030204" pitchFamily="34" charset="0"/>
                <a:cs typeface="Times New Roman" panose="02020603050405020304" pitchFamily="18" charset="0"/>
              </a:rPr>
              <a:t>Enables a reference line for a particular value and with formatting options</a:t>
            </a:r>
            <a:endParaRPr kumimoji="0" lang="en-US" sz="1600" b="1" i="0" u="none" strike="noStrike" kern="1200" cap="none" spc="0" normalizeH="0" baseline="0" noProof="0">
              <a:ln>
                <a:noFill/>
              </a:ln>
              <a:solidFill>
                <a:prstClr val="black"/>
              </a:solidFill>
              <a:effectLst/>
              <a:uLnTx/>
              <a:uFillTx/>
              <a:latin typeface="Segoe UI Light"/>
              <a:ea typeface="Calibri" panose="020F0502020204030204" pitchFamily="34" charset="0"/>
              <a:cs typeface="Times New Roman" panose="02020603050405020304" pitchFamily="18" charset="0"/>
            </a:endParaRPr>
          </a:p>
        </p:txBody>
      </p:sp>
      <p:sp>
        <p:nvSpPr>
          <p:cNvPr id="48" name="TextBox 47"/>
          <p:cNvSpPr txBox="1"/>
          <p:nvPr/>
        </p:nvSpPr>
        <p:spPr>
          <a:xfrm>
            <a:off x="5174231" y="2821465"/>
            <a:ext cx="7583948" cy="517065"/>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Light"/>
                <a:ea typeface="Calibri" panose="020F0502020204030204" pitchFamily="34" charset="0"/>
                <a:cs typeface="Times New Roman" panose="02020603050405020304" pitchFamily="18" charset="0"/>
              </a:rPr>
              <a:t>Granular control on the color of each axis occurrence</a:t>
            </a:r>
            <a:endParaRPr kumimoji="0" lang="en-US" sz="1600" b="1" i="0" u="none" strike="noStrike" kern="1200" cap="none" spc="0" normalizeH="0" baseline="0" noProof="0">
              <a:ln>
                <a:noFill/>
              </a:ln>
              <a:solidFill>
                <a:prstClr val="black"/>
              </a:solidFill>
              <a:effectLst/>
              <a:uLnTx/>
              <a:uFillTx/>
              <a:latin typeface="Segoe UI Light"/>
              <a:ea typeface="Calibri" panose="020F0502020204030204" pitchFamily="34" charset="0"/>
              <a:cs typeface="Times New Roman" panose="02020603050405020304" pitchFamily="18" charset="0"/>
            </a:endParaRPr>
          </a:p>
        </p:txBody>
      </p:sp>
      <p:sp>
        <p:nvSpPr>
          <p:cNvPr id="49" name="Right Arrow 48"/>
          <p:cNvSpPr/>
          <p:nvPr/>
        </p:nvSpPr>
        <p:spPr bwMode="auto">
          <a:xfrm flipV="1">
            <a:off x="5039661" y="2273849"/>
            <a:ext cx="240750" cy="140327"/>
          </a:xfrm>
          <a:prstGeom prst="rightArrow">
            <a:avLst/>
          </a:prstGeom>
          <a:solidFill>
            <a:srgbClr val="FF00FF"/>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pt-PT"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0" name="Right Arrow 49"/>
          <p:cNvSpPr/>
          <p:nvPr/>
        </p:nvSpPr>
        <p:spPr bwMode="auto">
          <a:xfrm flipV="1">
            <a:off x="5039661" y="2689941"/>
            <a:ext cx="240750" cy="140327"/>
          </a:xfrm>
          <a:prstGeom prst="rightArrow">
            <a:avLst/>
          </a:prstGeom>
          <a:solidFill>
            <a:srgbClr val="FF00FF"/>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pt-PT"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1" name="Right Arrow 50"/>
          <p:cNvSpPr/>
          <p:nvPr/>
        </p:nvSpPr>
        <p:spPr bwMode="auto">
          <a:xfrm flipV="1">
            <a:off x="5039661" y="3005370"/>
            <a:ext cx="240750" cy="140327"/>
          </a:xfrm>
          <a:prstGeom prst="rightArrow">
            <a:avLst/>
          </a:prstGeom>
          <a:solidFill>
            <a:srgbClr val="FF00FF"/>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pt-PT"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3" name="Right Arrow 52"/>
          <p:cNvSpPr/>
          <p:nvPr/>
        </p:nvSpPr>
        <p:spPr bwMode="auto">
          <a:xfrm flipV="1">
            <a:off x="5039661" y="3285213"/>
            <a:ext cx="240750" cy="140327"/>
          </a:xfrm>
          <a:prstGeom prst="rightArrow">
            <a:avLst/>
          </a:prstGeom>
          <a:solidFill>
            <a:srgbClr val="FF00FF"/>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pt-PT"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4" name="TextBox 53"/>
          <p:cNvSpPr txBox="1"/>
          <p:nvPr/>
        </p:nvSpPr>
        <p:spPr>
          <a:xfrm>
            <a:off x="5174231" y="3108465"/>
            <a:ext cx="7583948" cy="517065"/>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Light"/>
                <a:ea typeface="Calibri" panose="020F0502020204030204" pitchFamily="34" charset="0"/>
                <a:cs typeface="Times New Roman" panose="02020603050405020304" pitchFamily="18" charset="0"/>
              </a:rPr>
              <a:t>Display the values associated to a series. Control the unit, color and font</a:t>
            </a:r>
            <a:endParaRPr kumimoji="0" lang="en-US" sz="1600" b="1" i="0" u="none" strike="noStrike" kern="1200" cap="none" spc="0" normalizeH="0" baseline="0" noProof="0">
              <a:ln>
                <a:noFill/>
              </a:ln>
              <a:solidFill>
                <a:prstClr val="black"/>
              </a:solidFill>
              <a:effectLst/>
              <a:uLnTx/>
              <a:uFillTx/>
              <a:latin typeface="Segoe UI Light"/>
              <a:ea typeface="Calibri" panose="020F0502020204030204" pitchFamily="34" charset="0"/>
              <a:cs typeface="Times New Roman" panose="02020603050405020304" pitchFamily="18" charset="0"/>
            </a:endParaRPr>
          </a:p>
        </p:txBody>
      </p:sp>
      <p:sp>
        <p:nvSpPr>
          <p:cNvPr id="55" name="Right Arrow 54"/>
          <p:cNvSpPr/>
          <p:nvPr/>
        </p:nvSpPr>
        <p:spPr bwMode="auto">
          <a:xfrm flipV="1">
            <a:off x="5039661" y="3590013"/>
            <a:ext cx="240750" cy="140327"/>
          </a:xfrm>
          <a:prstGeom prst="rightArrow">
            <a:avLst/>
          </a:prstGeom>
          <a:solidFill>
            <a:srgbClr val="FF00FF"/>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pt-PT"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6" name="TextBox 55"/>
          <p:cNvSpPr txBox="1"/>
          <p:nvPr/>
        </p:nvSpPr>
        <p:spPr>
          <a:xfrm>
            <a:off x="5174231" y="3404222"/>
            <a:ext cx="7583948" cy="517065"/>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Light"/>
                <a:ea typeface="Calibri" panose="020F0502020204030204" pitchFamily="34" charset="0"/>
                <a:cs typeface="Times New Roman" panose="02020603050405020304" pitchFamily="18" charset="0"/>
              </a:rPr>
              <a:t>Plot area formatting, namely define an image as background</a:t>
            </a:r>
            <a:endParaRPr kumimoji="0" lang="en-US" sz="1600" b="1" i="0" u="none" strike="noStrike" kern="1200" cap="none" spc="0" normalizeH="0" baseline="0" noProof="0">
              <a:ln>
                <a:noFill/>
              </a:ln>
              <a:solidFill>
                <a:prstClr val="black"/>
              </a:solidFill>
              <a:effectLst/>
              <a:uLnTx/>
              <a:uFillTx/>
              <a:latin typeface="Segoe UI Light"/>
              <a:ea typeface="Calibri" panose="020F0502020204030204" pitchFamily="34" charset="0"/>
              <a:cs typeface="Times New Roman" panose="02020603050405020304" pitchFamily="18" charset="0"/>
            </a:endParaRPr>
          </a:p>
        </p:txBody>
      </p:sp>
      <p:sp>
        <p:nvSpPr>
          <p:cNvPr id="57" name="Right Arrow 56"/>
          <p:cNvSpPr/>
          <p:nvPr/>
        </p:nvSpPr>
        <p:spPr bwMode="auto">
          <a:xfrm flipV="1">
            <a:off x="5039661" y="3849093"/>
            <a:ext cx="240750" cy="140327"/>
          </a:xfrm>
          <a:prstGeom prst="rightArrow">
            <a:avLst/>
          </a:prstGeom>
          <a:solidFill>
            <a:srgbClr val="FF00FF"/>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pt-PT"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8" name="TextBox 57"/>
          <p:cNvSpPr txBox="1"/>
          <p:nvPr/>
        </p:nvSpPr>
        <p:spPr>
          <a:xfrm>
            <a:off x="5174231" y="3675007"/>
            <a:ext cx="7583948" cy="517065"/>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Light"/>
                <a:ea typeface="Calibri" panose="020F0502020204030204" pitchFamily="34" charset="0"/>
                <a:cs typeface="Times New Roman" panose="02020603050405020304" pitchFamily="18" charset="0"/>
              </a:rPr>
              <a:t>Enable the title and format it</a:t>
            </a:r>
            <a:endParaRPr kumimoji="0" lang="en-US" sz="1600" b="1" i="0" u="none" strike="noStrike" kern="1200" cap="none" spc="0" normalizeH="0" baseline="0" noProof="0">
              <a:ln>
                <a:noFill/>
              </a:ln>
              <a:solidFill>
                <a:prstClr val="black"/>
              </a:solidFill>
              <a:effectLst/>
              <a:uLnTx/>
              <a:uFillTx/>
              <a:latin typeface="Segoe UI Light"/>
              <a:ea typeface="Calibri" panose="020F0502020204030204" pitchFamily="34" charset="0"/>
              <a:cs typeface="Times New Roman" panose="02020603050405020304" pitchFamily="18" charset="0"/>
            </a:endParaRPr>
          </a:p>
        </p:txBody>
      </p:sp>
      <p:sp>
        <p:nvSpPr>
          <p:cNvPr id="59" name="TextBox 58"/>
          <p:cNvSpPr txBox="1"/>
          <p:nvPr/>
        </p:nvSpPr>
        <p:spPr>
          <a:xfrm>
            <a:off x="5174231" y="3957403"/>
            <a:ext cx="7583948" cy="517065"/>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Light"/>
                <a:ea typeface="Calibri" panose="020F0502020204030204" pitchFamily="34" charset="0"/>
                <a:cs typeface="Times New Roman" panose="02020603050405020304" pitchFamily="18" charset="0"/>
              </a:rPr>
              <a:t>Enable a background color and define transparency</a:t>
            </a:r>
            <a:endParaRPr kumimoji="0" lang="en-US" sz="1600" b="1" i="0" u="none" strike="noStrike" kern="1200" cap="none" spc="0" normalizeH="0" baseline="0" noProof="0">
              <a:ln>
                <a:noFill/>
              </a:ln>
              <a:solidFill>
                <a:prstClr val="black"/>
              </a:solidFill>
              <a:effectLst/>
              <a:uLnTx/>
              <a:uFillTx/>
              <a:latin typeface="Segoe UI Light"/>
              <a:ea typeface="Calibri" panose="020F0502020204030204" pitchFamily="34" charset="0"/>
              <a:cs typeface="Times New Roman" panose="02020603050405020304" pitchFamily="18" charset="0"/>
            </a:endParaRPr>
          </a:p>
        </p:txBody>
      </p:sp>
      <p:sp>
        <p:nvSpPr>
          <p:cNvPr id="60" name="Right Arrow 59"/>
          <p:cNvSpPr/>
          <p:nvPr/>
        </p:nvSpPr>
        <p:spPr bwMode="auto">
          <a:xfrm flipV="1">
            <a:off x="5047281" y="4146273"/>
            <a:ext cx="240750" cy="140327"/>
          </a:xfrm>
          <a:prstGeom prst="rightArrow">
            <a:avLst/>
          </a:prstGeom>
          <a:solidFill>
            <a:srgbClr val="FF00FF"/>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pt-PT"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1" name="Right Arrow 60"/>
          <p:cNvSpPr/>
          <p:nvPr/>
        </p:nvSpPr>
        <p:spPr bwMode="auto">
          <a:xfrm flipV="1">
            <a:off x="5039661" y="4428074"/>
            <a:ext cx="240750" cy="140327"/>
          </a:xfrm>
          <a:prstGeom prst="rightArrow">
            <a:avLst/>
          </a:prstGeom>
          <a:solidFill>
            <a:srgbClr val="FF00FF"/>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pt-PT"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2" name="TextBox 61"/>
          <p:cNvSpPr txBox="1"/>
          <p:nvPr/>
        </p:nvSpPr>
        <p:spPr>
          <a:xfrm>
            <a:off x="5174231" y="4237545"/>
            <a:ext cx="7583948" cy="517065"/>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Light"/>
                <a:ea typeface="Calibri" panose="020F0502020204030204" pitchFamily="34" charset="0"/>
                <a:cs typeface="Times New Roman" panose="02020603050405020304" pitchFamily="18" charset="0"/>
              </a:rPr>
              <a:t>Lock the current aspect</a:t>
            </a:r>
            <a:endParaRPr kumimoji="0" lang="en-US" sz="1600" b="1" i="0" u="none" strike="noStrike" kern="1200" cap="none" spc="0" normalizeH="0" baseline="0" noProof="0">
              <a:ln>
                <a:noFill/>
              </a:ln>
              <a:solidFill>
                <a:srgbClr val="FF0000"/>
              </a:solidFill>
              <a:effectLst/>
              <a:uLnTx/>
              <a:uFillTx/>
              <a:latin typeface="Segoe UI Light"/>
              <a:ea typeface="Calibri" panose="020F0502020204030204" pitchFamily="34" charset="0"/>
              <a:cs typeface="Times New Roman" panose="02020603050405020304" pitchFamily="18" charset="0"/>
            </a:endParaRPr>
          </a:p>
        </p:txBody>
      </p:sp>
      <p:sp>
        <p:nvSpPr>
          <p:cNvPr id="64" name="Right Arrow 63"/>
          <p:cNvSpPr/>
          <p:nvPr/>
        </p:nvSpPr>
        <p:spPr bwMode="auto">
          <a:xfrm flipV="1">
            <a:off x="5039661" y="4709875"/>
            <a:ext cx="240750" cy="140327"/>
          </a:xfrm>
          <a:prstGeom prst="rightArrow">
            <a:avLst/>
          </a:prstGeom>
          <a:solidFill>
            <a:srgbClr val="FF00FF"/>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pt-PT"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5" name="TextBox 64"/>
          <p:cNvSpPr txBox="1"/>
          <p:nvPr/>
        </p:nvSpPr>
        <p:spPr>
          <a:xfrm>
            <a:off x="5160036" y="4528078"/>
            <a:ext cx="7583948" cy="517065"/>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Light"/>
                <a:ea typeface="Calibri" panose="020F0502020204030204" pitchFamily="34" charset="0"/>
                <a:cs typeface="Times New Roman" panose="02020603050405020304" pitchFamily="18" charset="0"/>
              </a:rPr>
              <a:t>Pixel level control of placement and size</a:t>
            </a:r>
            <a:endParaRPr kumimoji="0" lang="en-US" sz="1600" b="1" i="0" u="none" strike="noStrike" kern="1200" cap="none" spc="0" normalizeH="0" baseline="0" noProof="0">
              <a:ln>
                <a:noFill/>
              </a:ln>
              <a:solidFill>
                <a:prstClr val="black"/>
              </a:solidFill>
              <a:effectLst/>
              <a:uLnTx/>
              <a:uFillTx/>
              <a:latin typeface="Segoe UI Light"/>
              <a:ea typeface="Calibri" panose="020F0502020204030204" pitchFamily="34" charset="0"/>
              <a:cs typeface="Times New Roman" panose="02020603050405020304" pitchFamily="18" charset="0"/>
            </a:endParaRPr>
          </a:p>
        </p:txBody>
      </p:sp>
      <p:sp>
        <p:nvSpPr>
          <p:cNvPr id="66" name="TextBox 65"/>
          <p:cNvSpPr txBox="1"/>
          <p:nvPr/>
        </p:nvSpPr>
        <p:spPr>
          <a:xfrm>
            <a:off x="5160036" y="4802588"/>
            <a:ext cx="7583948" cy="517065"/>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Light"/>
                <a:ea typeface="Calibri" panose="020F0502020204030204" pitchFamily="34" charset="0"/>
                <a:cs typeface="Times New Roman" panose="02020603050405020304" pitchFamily="18" charset="0"/>
              </a:rPr>
              <a:t>Enable a border and control its color</a:t>
            </a:r>
            <a:endParaRPr kumimoji="0" lang="en-US" sz="1600" b="1" i="0" u="none" strike="noStrike" kern="1200" cap="none" spc="0" normalizeH="0" baseline="0" noProof="0">
              <a:ln>
                <a:noFill/>
              </a:ln>
              <a:solidFill>
                <a:prstClr val="black"/>
              </a:solidFill>
              <a:effectLst/>
              <a:uLnTx/>
              <a:uFillTx/>
              <a:latin typeface="Segoe UI Light"/>
              <a:ea typeface="Calibri" panose="020F0502020204030204" pitchFamily="34" charset="0"/>
              <a:cs typeface="Times New Roman" panose="02020603050405020304" pitchFamily="18" charset="0"/>
            </a:endParaRPr>
          </a:p>
        </p:txBody>
      </p:sp>
      <p:sp>
        <p:nvSpPr>
          <p:cNvPr id="67" name="Right Arrow 66"/>
          <p:cNvSpPr/>
          <p:nvPr/>
        </p:nvSpPr>
        <p:spPr bwMode="auto">
          <a:xfrm flipV="1">
            <a:off x="5047281" y="4989186"/>
            <a:ext cx="240750" cy="140327"/>
          </a:xfrm>
          <a:prstGeom prst="rightArrow">
            <a:avLst/>
          </a:prstGeom>
          <a:solidFill>
            <a:srgbClr val="FF00FF"/>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pt-PT"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5" name="Picture 4"/>
          <p:cNvPicPr>
            <a:picLocks noChangeAspect="1"/>
          </p:cNvPicPr>
          <p:nvPr/>
        </p:nvPicPr>
        <p:blipFill>
          <a:blip r:embed="rId3"/>
          <a:stretch>
            <a:fillRect/>
          </a:stretch>
        </p:blipFill>
        <p:spPr>
          <a:xfrm>
            <a:off x="3367543" y="1768862"/>
            <a:ext cx="1692388" cy="3456622"/>
          </a:xfrm>
          <a:prstGeom prst="rect">
            <a:avLst/>
          </a:prstGeom>
          <a:ln>
            <a:noFill/>
          </a:ln>
          <a:effectLst>
            <a:outerShdw blurRad="190500" algn="tl" rotWithShape="0">
              <a:srgbClr val="000000">
                <a:alpha val="70000"/>
              </a:srgbClr>
            </a:outerShdw>
          </a:effectLst>
        </p:spPr>
      </p:pic>
      <p:pic>
        <p:nvPicPr>
          <p:cNvPr id="6" name="Picture 5"/>
          <p:cNvPicPr>
            <a:picLocks noChangeAspect="1"/>
          </p:cNvPicPr>
          <p:nvPr/>
        </p:nvPicPr>
        <p:blipFill>
          <a:blip r:embed="rId4"/>
          <a:stretch>
            <a:fillRect/>
          </a:stretch>
        </p:blipFill>
        <p:spPr>
          <a:xfrm>
            <a:off x="3362511" y="5230643"/>
            <a:ext cx="1692000" cy="278901"/>
          </a:xfrm>
          <a:prstGeom prst="rect">
            <a:avLst/>
          </a:prstGeom>
          <a:ln>
            <a:noFill/>
          </a:ln>
          <a:effectLst>
            <a:outerShdw blurRad="190500" algn="tl" rotWithShape="0">
              <a:srgbClr val="000000">
                <a:alpha val="70000"/>
              </a:srgbClr>
            </a:outerShdw>
          </a:effectLst>
        </p:spPr>
      </p:pic>
      <p:sp>
        <p:nvSpPr>
          <p:cNvPr id="63" name="Right Arrow 62"/>
          <p:cNvSpPr/>
          <p:nvPr/>
        </p:nvSpPr>
        <p:spPr bwMode="auto">
          <a:xfrm flipV="1">
            <a:off x="5031517" y="5288731"/>
            <a:ext cx="240750" cy="140327"/>
          </a:xfrm>
          <a:prstGeom prst="rightArrow">
            <a:avLst/>
          </a:prstGeom>
          <a:solidFill>
            <a:srgbClr val="FF00FF"/>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pt-PT"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8" name="TextBox 67"/>
          <p:cNvSpPr txBox="1"/>
          <p:nvPr/>
        </p:nvSpPr>
        <p:spPr>
          <a:xfrm>
            <a:off x="5151892" y="5100361"/>
            <a:ext cx="7583948" cy="517065"/>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Light"/>
                <a:ea typeface="Calibri" panose="020F0502020204030204" pitchFamily="34" charset="0"/>
                <a:cs typeface="Times New Roman" panose="02020603050405020304" pitchFamily="18" charset="0"/>
              </a:rPr>
              <a:t>Enable a trend line</a:t>
            </a:r>
            <a:endParaRPr kumimoji="0" lang="en-US" sz="1600" b="1" i="0" u="none" strike="noStrike" kern="1200" cap="none" spc="0" normalizeH="0" baseline="0" noProof="0">
              <a:ln>
                <a:noFill/>
              </a:ln>
              <a:solidFill>
                <a:prstClr val="black"/>
              </a:solidFill>
              <a:effectLst/>
              <a:uLnTx/>
              <a:uFillTx/>
              <a:latin typeface="Segoe UI Light"/>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34311828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solidFill>
            <a:schemeClr val="bg1"/>
          </a:solidFill>
        </p:spPr>
        <p:txBody>
          <a:bodyPr/>
          <a:lstStyle/>
          <a:p>
            <a:r>
              <a:rPr lang="pt-PT">
                <a:solidFill>
                  <a:schemeClr val="tx1"/>
                </a:solidFill>
              </a:rPr>
              <a:t>Visualisations - </a:t>
            </a:r>
            <a:r>
              <a:rPr lang="en-US" sz="3600">
                <a:solidFill>
                  <a:schemeClr val="tx1"/>
                </a:solidFill>
              </a:rPr>
              <a:t>Stacked Bar Chart</a:t>
            </a:r>
          </a:p>
        </p:txBody>
      </p:sp>
      <p:grpSp>
        <p:nvGrpSpPr>
          <p:cNvPr id="52" name="Group 51"/>
          <p:cNvGrpSpPr/>
          <p:nvPr/>
        </p:nvGrpSpPr>
        <p:grpSpPr>
          <a:xfrm>
            <a:off x="2" y="1"/>
            <a:ext cx="2849058" cy="6858000"/>
            <a:chOff x="2" y="1"/>
            <a:chExt cx="2849058" cy="6858000"/>
          </a:xfrm>
        </p:grpSpPr>
        <p:sp>
          <p:nvSpPr>
            <p:cNvPr id="71" name="Rectangle 70"/>
            <p:cNvSpPr/>
            <p:nvPr/>
          </p:nvSpPr>
          <p:spPr bwMode="auto">
            <a:xfrm>
              <a:off x="2" y="1"/>
              <a:ext cx="2849058"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3" name="Oval 70"/>
            <p:cNvSpPr/>
            <p:nvPr/>
          </p:nvSpPr>
          <p:spPr>
            <a:xfrm>
              <a:off x="1413521" y="4951537"/>
              <a:ext cx="1119626" cy="1119626"/>
            </a:xfrm>
            <a:prstGeom prst="ellipse">
              <a:avLst/>
            </a:prstGeom>
            <a:solidFill>
              <a:srgbClr val="F2C812"/>
            </a:solidFill>
            <a:ln w="3175" cap="flat" cmpd="sng" algn="ctr">
              <a:noFill/>
              <a:prstDash val="solid"/>
            </a:ln>
            <a:effectLst/>
          </p:spPr>
          <p:txBody>
            <a:bodyPr vert="horz" wrap="none" lIns="0" tIns="45720" rIns="0" bIns="0" rtlCol="0" anchor="t"/>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Segoe UI"/>
                  <a:ea typeface="Segoe UI" pitchFamily="34" charset="0"/>
                  <a:cs typeface="Segoe UI" pitchFamily="34" charset="0"/>
                </a:rPr>
                <a:t>Share &amp;</a:t>
              </a:r>
            </a:p>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Segoe UI"/>
                  <a:ea typeface="Segoe UI" pitchFamily="34" charset="0"/>
                  <a:cs typeface="Segoe UI" pitchFamily="34" charset="0"/>
                </a:rPr>
                <a:t>collaborate </a:t>
              </a:r>
            </a:p>
          </p:txBody>
        </p:sp>
        <p:grpSp>
          <p:nvGrpSpPr>
            <p:cNvPr id="76" name="Group 38"/>
            <p:cNvGrpSpPr>
              <a:grpSpLocks noChangeAspect="1"/>
            </p:cNvGrpSpPr>
            <p:nvPr/>
          </p:nvGrpSpPr>
          <p:grpSpPr>
            <a:xfrm>
              <a:off x="676996" y="3930692"/>
              <a:ext cx="383905" cy="351536"/>
              <a:chOff x="4363684" y="5330386"/>
              <a:chExt cx="1409956" cy="1291077"/>
            </a:xfrm>
            <a:solidFill>
              <a:srgbClr val="217346"/>
            </a:solidFill>
          </p:grpSpPr>
          <p:sp>
            <p:nvSpPr>
              <p:cNvPr id="102" name="Donut 3"/>
              <p:cNvSpPr/>
              <p:nvPr/>
            </p:nvSpPr>
            <p:spPr bwMode="auto">
              <a:xfrm>
                <a:off x="4363684" y="5330386"/>
                <a:ext cx="1409956" cy="1291077"/>
              </a:xfrm>
              <a:custGeom>
                <a:avLst/>
                <a:gdLst/>
                <a:ahLst/>
                <a:cxnLst/>
                <a:rect l="l" t="t" r="r" b="b"/>
                <a:pathLst>
                  <a:path w="1409956" h="1291077">
                    <a:moveTo>
                      <a:pt x="956401" y="78410"/>
                    </a:moveTo>
                    <a:cubicBezTo>
                      <a:pt x="747518" y="78410"/>
                      <a:pt x="578184" y="247744"/>
                      <a:pt x="578184" y="456627"/>
                    </a:cubicBezTo>
                    <a:cubicBezTo>
                      <a:pt x="578184" y="665510"/>
                      <a:pt x="747518" y="834844"/>
                      <a:pt x="956401" y="834844"/>
                    </a:cubicBezTo>
                    <a:cubicBezTo>
                      <a:pt x="1165284" y="834844"/>
                      <a:pt x="1334618" y="665510"/>
                      <a:pt x="1334618" y="456627"/>
                    </a:cubicBezTo>
                    <a:cubicBezTo>
                      <a:pt x="1334618" y="247744"/>
                      <a:pt x="1165284" y="78410"/>
                      <a:pt x="956401" y="78410"/>
                    </a:cubicBezTo>
                    <a:close/>
                    <a:moveTo>
                      <a:pt x="952756" y="0"/>
                    </a:moveTo>
                    <a:cubicBezTo>
                      <a:pt x="1205261" y="0"/>
                      <a:pt x="1409956" y="204695"/>
                      <a:pt x="1409956" y="457200"/>
                    </a:cubicBezTo>
                    <a:cubicBezTo>
                      <a:pt x="1409956" y="709705"/>
                      <a:pt x="1205261" y="914400"/>
                      <a:pt x="952756" y="914400"/>
                    </a:cubicBezTo>
                    <a:cubicBezTo>
                      <a:pt x="862133" y="914400"/>
                      <a:pt x="777669" y="888034"/>
                      <a:pt x="707132" y="841746"/>
                    </a:cubicBezTo>
                    <a:lnTo>
                      <a:pt x="136495" y="1280102"/>
                    </a:lnTo>
                    <a:cubicBezTo>
                      <a:pt x="21896" y="1327168"/>
                      <a:pt x="-44029" y="1213730"/>
                      <a:pt x="33797" y="1113182"/>
                    </a:cubicBezTo>
                    <a:lnTo>
                      <a:pt x="568587" y="703518"/>
                    </a:lnTo>
                    <a:cubicBezTo>
                      <a:pt x="522087" y="632814"/>
                      <a:pt x="495556" y="548105"/>
                      <a:pt x="495556" y="457200"/>
                    </a:cubicBezTo>
                    <a:cubicBezTo>
                      <a:pt x="495556" y="204695"/>
                      <a:pt x="700251" y="0"/>
                      <a:pt x="952756" y="0"/>
                    </a:cubicBezTo>
                    <a:close/>
                  </a:path>
                </a:pathLst>
              </a:custGeom>
              <a:grpFill/>
              <a:ln>
                <a:solidFill>
                  <a:srgbClr val="21734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sp>
            <p:nvSpPr>
              <p:cNvPr id="103" name="Rectangle 4"/>
              <p:cNvSpPr/>
              <p:nvPr/>
            </p:nvSpPr>
            <p:spPr>
              <a:xfrm>
                <a:off x="5058389" y="5528247"/>
                <a:ext cx="490885" cy="490020"/>
              </a:xfrm>
              <a:custGeom>
                <a:avLst/>
                <a:gdLst/>
                <a:ahLst/>
                <a:cxnLst/>
                <a:rect l="l" t="t" r="r" b="b"/>
                <a:pathLst>
                  <a:path w="490885" h="490020">
                    <a:moveTo>
                      <a:pt x="240752" y="0"/>
                    </a:moveTo>
                    <a:cubicBezTo>
                      <a:pt x="253961" y="11844"/>
                      <a:pt x="293310" y="49692"/>
                      <a:pt x="337332" y="92439"/>
                    </a:cubicBezTo>
                    <a:lnTo>
                      <a:pt x="328342" y="81259"/>
                    </a:lnTo>
                    <a:cubicBezTo>
                      <a:pt x="356946" y="111282"/>
                      <a:pt x="377251" y="107167"/>
                      <a:pt x="382515" y="87941"/>
                    </a:cubicBezTo>
                    <a:cubicBezTo>
                      <a:pt x="383951" y="76921"/>
                      <a:pt x="384595" y="68732"/>
                      <a:pt x="396997" y="52239"/>
                    </a:cubicBezTo>
                    <a:cubicBezTo>
                      <a:pt x="420362" y="32084"/>
                      <a:pt x="442294" y="41736"/>
                      <a:pt x="454920" y="51330"/>
                    </a:cubicBezTo>
                    <a:cubicBezTo>
                      <a:pt x="467834" y="62761"/>
                      <a:pt x="477920" y="86882"/>
                      <a:pt x="460392" y="109714"/>
                    </a:cubicBezTo>
                    <a:cubicBezTo>
                      <a:pt x="451128" y="121912"/>
                      <a:pt x="437554" y="126838"/>
                      <a:pt x="425922" y="126505"/>
                    </a:cubicBezTo>
                    <a:cubicBezTo>
                      <a:pt x="424301" y="127609"/>
                      <a:pt x="382890" y="134974"/>
                      <a:pt x="427348" y="177672"/>
                    </a:cubicBezTo>
                    <a:lnTo>
                      <a:pt x="416886" y="169735"/>
                    </a:lnTo>
                    <a:cubicBezTo>
                      <a:pt x="450207" y="202177"/>
                      <a:pt x="478424" y="229744"/>
                      <a:pt x="490885" y="241900"/>
                    </a:cubicBezTo>
                    <a:lnTo>
                      <a:pt x="417150" y="317347"/>
                    </a:lnTo>
                    <a:cubicBezTo>
                      <a:pt x="417744" y="316535"/>
                      <a:pt x="418443" y="316123"/>
                      <a:pt x="419047" y="315822"/>
                    </a:cubicBezTo>
                    <a:cubicBezTo>
                      <a:pt x="389023" y="344426"/>
                      <a:pt x="393138" y="364731"/>
                      <a:pt x="412364" y="369995"/>
                    </a:cubicBezTo>
                    <a:cubicBezTo>
                      <a:pt x="423384" y="371431"/>
                      <a:pt x="431574" y="372075"/>
                      <a:pt x="448067" y="384477"/>
                    </a:cubicBezTo>
                    <a:cubicBezTo>
                      <a:pt x="468221" y="407842"/>
                      <a:pt x="458569" y="429774"/>
                      <a:pt x="448975" y="442400"/>
                    </a:cubicBezTo>
                    <a:cubicBezTo>
                      <a:pt x="437545" y="455314"/>
                      <a:pt x="413423" y="465400"/>
                      <a:pt x="390591" y="447872"/>
                    </a:cubicBezTo>
                    <a:cubicBezTo>
                      <a:pt x="378394" y="438608"/>
                      <a:pt x="373468" y="425034"/>
                      <a:pt x="373800" y="413402"/>
                    </a:cubicBezTo>
                    <a:cubicBezTo>
                      <a:pt x="372696" y="411781"/>
                      <a:pt x="365332" y="370370"/>
                      <a:pt x="322634" y="414828"/>
                    </a:cubicBezTo>
                    <a:lnTo>
                      <a:pt x="325243" y="411388"/>
                    </a:lnTo>
                    <a:lnTo>
                      <a:pt x="248395" y="490020"/>
                    </a:lnTo>
                    <a:cubicBezTo>
                      <a:pt x="208939" y="451897"/>
                      <a:pt x="199129" y="442073"/>
                      <a:pt x="174192" y="418236"/>
                    </a:cubicBezTo>
                    <a:cubicBezTo>
                      <a:pt x="145587" y="388212"/>
                      <a:pt x="125282" y="392327"/>
                      <a:pt x="120018" y="411553"/>
                    </a:cubicBezTo>
                    <a:cubicBezTo>
                      <a:pt x="118582" y="422573"/>
                      <a:pt x="117938" y="430763"/>
                      <a:pt x="105536" y="447256"/>
                    </a:cubicBezTo>
                    <a:cubicBezTo>
                      <a:pt x="82171" y="467410"/>
                      <a:pt x="60239" y="457758"/>
                      <a:pt x="47614" y="448164"/>
                    </a:cubicBezTo>
                    <a:cubicBezTo>
                      <a:pt x="34699" y="436734"/>
                      <a:pt x="24614" y="412612"/>
                      <a:pt x="42141" y="389780"/>
                    </a:cubicBezTo>
                    <a:cubicBezTo>
                      <a:pt x="51405" y="377583"/>
                      <a:pt x="64979" y="372657"/>
                      <a:pt x="76612" y="372989"/>
                    </a:cubicBezTo>
                    <a:cubicBezTo>
                      <a:pt x="78232" y="371886"/>
                      <a:pt x="119644" y="364521"/>
                      <a:pt x="75186" y="321823"/>
                    </a:cubicBezTo>
                    <a:cubicBezTo>
                      <a:pt x="58767" y="305402"/>
                      <a:pt x="23648" y="271235"/>
                      <a:pt x="0" y="248738"/>
                    </a:cubicBezTo>
                    <a:lnTo>
                      <a:pt x="77303" y="168146"/>
                    </a:lnTo>
                    <a:cubicBezTo>
                      <a:pt x="104269" y="140313"/>
                      <a:pt x="122130" y="156409"/>
                      <a:pt x="124388" y="175543"/>
                    </a:cubicBezTo>
                    <a:cubicBezTo>
                      <a:pt x="124457" y="182466"/>
                      <a:pt x="127106" y="193106"/>
                      <a:pt x="137575" y="203052"/>
                    </a:cubicBezTo>
                    <a:cubicBezTo>
                      <a:pt x="153931" y="220277"/>
                      <a:pt x="181252" y="217451"/>
                      <a:pt x="196721" y="201951"/>
                    </a:cubicBezTo>
                    <a:cubicBezTo>
                      <a:pt x="211961" y="185740"/>
                      <a:pt x="213057" y="157882"/>
                      <a:pt x="196146" y="142797"/>
                    </a:cubicBezTo>
                    <a:cubicBezTo>
                      <a:pt x="184301" y="132637"/>
                      <a:pt x="177155" y="131453"/>
                      <a:pt x="166513" y="129894"/>
                    </a:cubicBezTo>
                    <a:cubicBezTo>
                      <a:pt x="154522" y="129013"/>
                      <a:pt x="131185" y="112953"/>
                      <a:pt x="157905" y="85228"/>
                    </a:cubicBezTo>
                    <a:close/>
                  </a:path>
                </a:pathLst>
              </a:custGeom>
              <a:grpFill/>
              <a:ln>
                <a:solidFill>
                  <a:srgbClr val="21734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grpSp>
        <p:sp>
          <p:nvSpPr>
            <p:cNvPr id="77" name="Oval 47"/>
            <p:cNvSpPr/>
            <p:nvPr/>
          </p:nvSpPr>
          <p:spPr>
            <a:xfrm>
              <a:off x="388608" y="3710471"/>
              <a:ext cx="1119626" cy="1119626"/>
            </a:xfrm>
            <a:prstGeom prst="ellipse">
              <a:avLst/>
            </a:prstGeom>
            <a:solidFill>
              <a:srgbClr val="F2C812"/>
            </a:solidFill>
            <a:ln w="3175" cap="flat" cmpd="sng" algn="ctr">
              <a:noFill/>
              <a:prstDash val="solid"/>
            </a:ln>
            <a:effectLst/>
          </p:spPr>
          <p:txBody>
            <a:bodyPr vert="horz" wrap="none" lIns="0" tIns="45720" rIns="0" bIns="0" rtlCol="0" anchor="t"/>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Segoe UI"/>
                  <a:ea typeface="Segoe UI" pitchFamily="34" charset="0"/>
                  <a:cs typeface="Segoe UI" pitchFamily="34" charset="0"/>
                </a:rPr>
                <a:t>Report</a:t>
              </a:r>
            </a:p>
          </p:txBody>
        </p:sp>
        <p:sp>
          <p:nvSpPr>
            <p:cNvPr id="78" name="Oval 950"/>
            <p:cNvSpPr/>
            <p:nvPr/>
          </p:nvSpPr>
          <p:spPr>
            <a:xfrm>
              <a:off x="388608" y="1252295"/>
              <a:ext cx="1119626" cy="1119626"/>
            </a:xfrm>
            <a:prstGeom prst="ellipse">
              <a:avLst/>
            </a:prstGeom>
            <a:solidFill>
              <a:srgbClr val="F2C812"/>
            </a:solidFill>
            <a:ln w="3175" cap="flat" cmpd="sng" algn="ctr">
              <a:noFill/>
              <a:prstDash val="solid"/>
            </a:ln>
            <a:effectLst/>
          </p:spPr>
          <p:txBody>
            <a:bodyPr vert="horz" wrap="none" lIns="0" tIns="45720" rIns="0" bIns="0" rtlCol="0" anchor="t"/>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1" i="0" u="none" strike="noStrike" kern="1200" cap="none" spc="0" normalizeH="0" baseline="0" noProof="0">
                <a:ln>
                  <a:noFill/>
                </a:ln>
                <a:solidFill>
                  <a:srgbClr val="217346"/>
                </a:solidFill>
                <a:effectLst/>
                <a:uLnTx/>
                <a:uFillTx/>
                <a:latin typeface="Segoe UI"/>
                <a:ea typeface="Segoe UI" pitchFamily="34" charset="0"/>
                <a:cs typeface="Segoe UI" pitchFamily="34" charset="0"/>
              </a:endParaRPr>
            </a:p>
          </p:txBody>
        </p:sp>
        <p:grpSp>
          <p:nvGrpSpPr>
            <p:cNvPr id="79" name="Group 78"/>
            <p:cNvGrpSpPr/>
            <p:nvPr/>
          </p:nvGrpSpPr>
          <p:grpSpPr>
            <a:xfrm>
              <a:off x="1264851" y="3482890"/>
              <a:ext cx="292254" cy="354906"/>
              <a:chOff x="1296521" y="3253388"/>
              <a:chExt cx="292254" cy="354906"/>
            </a:xfrm>
            <a:solidFill>
              <a:srgbClr val="F2C812"/>
            </a:solidFill>
          </p:grpSpPr>
          <p:sp>
            <p:nvSpPr>
              <p:cNvPr id="99" name="Isosceles Triangle 98"/>
              <p:cNvSpPr/>
              <p:nvPr/>
            </p:nvSpPr>
            <p:spPr bwMode="auto">
              <a:xfrm rot="13636515">
                <a:off x="1461362" y="328936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0" name="Isosceles Triangle 99"/>
              <p:cNvSpPr/>
              <p:nvPr/>
            </p:nvSpPr>
            <p:spPr bwMode="auto">
              <a:xfrm rot="13636515">
                <a:off x="1357669" y="338258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1" name="Isosceles Triangle 100"/>
              <p:cNvSpPr/>
              <p:nvPr/>
            </p:nvSpPr>
            <p:spPr bwMode="auto">
              <a:xfrm rot="13636515">
                <a:off x="1260548" y="3480882"/>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80" name="Group 79"/>
            <p:cNvGrpSpPr/>
            <p:nvPr/>
          </p:nvGrpSpPr>
          <p:grpSpPr>
            <a:xfrm rot="15940603">
              <a:off x="1334576" y="2204404"/>
              <a:ext cx="292254" cy="354906"/>
              <a:chOff x="1296521" y="3253388"/>
              <a:chExt cx="292254" cy="354906"/>
            </a:xfrm>
            <a:solidFill>
              <a:srgbClr val="F2C812"/>
            </a:solidFill>
          </p:grpSpPr>
          <p:sp>
            <p:nvSpPr>
              <p:cNvPr id="96" name="Isosceles Triangle 95"/>
              <p:cNvSpPr/>
              <p:nvPr/>
            </p:nvSpPr>
            <p:spPr bwMode="auto">
              <a:xfrm rot="13636515">
                <a:off x="1461362" y="328936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7" name="Isosceles Triangle 96"/>
              <p:cNvSpPr/>
              <p:nvPr/>
            </p:nvSpPr>
            <p:spPr bwMode="auto">
              <a:xfrm rot="13636515">
                <a:off x="1357669" y="338258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8" name="Isosceles Triangle 97"/>
              <p:cNvSpPr/>
              <p:nvPr/>
            </p:nvSpPr>
            <p:spPr bwMode="auto">
              <a:xfrm rot="13636515">
                <a:off x="1260548" y="3480882"/>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81" name="Group 80"/>
            <p:cNvGrpSpPr/>
            <p:nvPr/>
          </p:nvGrpSpPr>
          <p:grpSpPr>
            <a:xfrm rot="16043978">
              <a:off x="1317220" y="4717577"/>
              <a:ext cx="292254" cy="354906"/>
              <a:chOff x="1296521" y="3253388"/>
              <a:chExt cx="292254" cy="354906"/>
            </a:xfrm>
            <a:solidFill>
              <a:srgbClr val="F2C812"/>
            </a:solidFill>
          </p:grpSpPr>
          <p:sp>
            <p:nvSpPr>
              <p:cNvPr id="93" name="Isosceles Triangle 92"/>
              <p:cNvSpPr/>
              <p:nvPr/>
            </p:nvSpPr>
            <p:spPr bwMode="auto">
              <a:xfrm rot="13636515">
                <a:off x="1461362" y="328936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4" name="Isosceles Triangle 93"/>
              <p:cNvSpPr/>
              <p:nvPr/>
            </p:nvSpPr>
            <p:spPr bwMode="auto">
              <a:xfrm rot="13636515">
                <a:off x="1357669" y="338258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5" name="Isosceles Triangle 94"/>
              <p:cNvSpPr/>
              <p:nvPr/>
            </p:nvSpPr>
            <p:spPr bwMode="auto">
              <a:xfrm rot="13636515">
                <a:off x="1260548" y="3480882"/>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82" name="Oval 36"/>
            <p:cNvSpPr/>
            <p:nvPr/>
          </p:nvSpPr>
          <p:spPr>
            <a:xfrm>
              <a:off x="1413521" y="2481383"/>
              <a:ext cx="1119626" cy="1119626"/>
            </a:xfrm>
            <a:prstGeom prst="ellipse">
              <a:avLst/>
            </a:prstGeom>
            <a:solidFill>
              <a:srgbClr val="F2C812"/>
            </a:solidFill>
            <a:ln w="3175" cap="flat" cmpd="sng" algn="ctr">
              <a:noFill/>
              <a:prstDash val="solid"/>
            </a:ln>
            <a:effectLst/>
          </p:spPr>
          <p:txBody>
            <a:bodyPr vert="horz" wrap="none" lIns="0" tIns="0" rIns="0" bIns="0" rtlCol="0" anchor="t"/>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400" b="1" i="0" u="none" strike="noStrike" kern="1200" cap="none" spc="0" normalizeH="0" baseline="0" noProof="0">
                <a:ln>
                  <a:noFill/>
                </a:ln>
                <a:solidFill>
                  <a:srgbClr val="217346"/>
                </a:solidFill>
                <a:effectLst/>
                <a:uLnTx/>
                <a:uFillTx/>
                <a:latin typeface="Segoe UI"/>
                <a:ea typeface="Segoe UI" pitchFamily="34" charset="0"/>
                <a:cs typeface="Segoe UI" pitchFamily="34" charset="0"/>
              </a:endParaRPr>
            </a:p>
          </p:txBody>
        </p:sp>
        <p:sp>
          <p:nvSpPr>
            <p:cNvPr id="83" name="Donut 3"/>
            <p:cNvSpPr/>
            <p:nvPr/>
          </p:nvSpPr>
          <p:spPr bwMode="auto">
            <a:xfrm>
              <a:off x="1742065" y="3002355"/>
              <a:ext cx="383905" cy="351537"/>
            </a:xfrm>
            <a:custGeom>
              <a:avLst/>
              <a:gdLst/>
              <a:ahLst/>
              <a:cxnLst/>
              <a:rect l="l" t="t" r="r" b="b"/>
              <a:pathLst>
                <a:path w="1409956" h="1291077">
                  <a:moveTo>
                    <a:pt x="956401" y="78410"/>
                  </a:moveTo>
                  <a:cubicBezTo>
                    <a:pt x="747518" y="78410"/>
                    <a:pt x="578184" y="247744"/>
                    <a:pt x="578184" y="456627"/>
                  </a:cubicBezTo>
                  <a:cubicBezTo>
                    <a:pt x="578184" y="665510"/>
                    <a:pt x="747518" y="834844"/>
                    <a:pt x="956401" y="834844"/>
                  </a:cubicBezTo>
                  <a:cubicBezTo>
                    <a:pt x="1165284" y="834844"/>
                    <a:pt x="1334618" y="665510"/>
                    <a:pt x="1334618" y="456627"/>
                  </a:cubicBezTo>
                  <a:cubicBezTo>
                    <a:pt x="1334618" y="247744"/>
                    <a:pt x="1165284" y="78410"/>
                    <a:pt x="956401" y="78410"/>
                  </a:cubicBezTo>
                  <a:close/>
                  <a:moveTo>
                    <a:pt x="952756" y="0"/>
                  </a:moveTo>
                  <a:cubicBezTo>
                    <a:pt x="1205261" y="0"/>
                    <a:pt x="1409956" y="204695"/>
                    <a:pt x="1409956" y="457200"/>
                  </a:cubicBezTo>
                  <a:cubicBezTo>
                    <a:pt x="1409956" y="709705"/>
                    <a:pt x="1205261" y="914400"/>
                    <a:pt x="952756" y="914400"/>
                  </a:cubicBezTo>
                  <a:cubicBezTo>
                    <a:pt x="862133" y="914400"/>
                    <a:pt x="777669" y="888034"/>
                    <a:pt x="707132" y="841746"/>
                  </a:cubicBezTo>
                  <a:lnTo>
                    <a:pt x="136495" y="1280102"/>
                  </a:lnTo>
                  <a:cubicBezTo>
                    <a:pt x="21896" y="1327168"/>
                    <a:pt x="-44029" y="1213730"/>
                    <a:pt x="33797" y="1113182"/>
                  </a:cubicBezTo>
                  <a:lnTo>
                    <a:pt x="568587" y="703518"/>
                  </a:lnTo>
                  <a:cubicBezTo>
                    <a:pt x="522087" y="632814"/>
                    <a:pt x="495556" y="548105"/>
                    <a:pt x="495556" y="457200"/>
                  </a:cubicBezTo>
                  <a:cubicBezTo>
                    <a:pt x="495556" y="204695"/>
                    <a:pt x="700251" y="0"/>
                    <a:pt x="952756" y="0"/>
                  </a:cubicBezTo>
                  <a:close/>
                </a:path>
              </a:pathLst>
            </a:cu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sp>
          <p:nvSpPr>
            <p:cNvPr id="84" name="Rectangle 83"/>
            <p:cNvSpPr/>
            <p:nvPr/>
          </p:nvSpPr>
          <p:spPr>
            <a:xfrm>
              <a:off x="1600398" y="2677430"/>
              <a:ext cx="820353" cy="307777"/>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Segoe UI"/>
                  <a:ea typeface="Segoe UI" pitchFamily="34" charset="0"/>
                  <a:cs typeface="Segoe UI" pitchFamily="34" charset="0"/>
                </a:rPr>
                <a:t>Explore</a:t>
              </a:r>
              <a:endParaRPr kumimoji="0" lang="en-US" sz="1600" b="0" i="0" u="none" strike="noStrike" kern="1200" cap="none" spc="0" normalizeH="0" baseline="0" noProof="0">
                <a:ln>
                  <a:noFill/>
                </a:ln>
                <a:solidFill>
                  <a:srgbClr val="000000"/>
                </a:solidFill>
                <a:effectLst/>
                <a:uLnTx/>
                <a:uFillTx/>
                <a:latin typeface="Segoe UI"/>
                <a:ea typeface="+mn-ea"/>
                <a:cs typeface="+mn-cs"/>
              </a:endParaRPr>
            </a:p>
          </p:txBody>
        </p:sp>
        <p:sp>
          <p:nvSpPr>
            <p:cNvPr id="85" name="Rectangle 84"/>
            <p:cNvSpPr/>
            <p:nvPr/>
          </p:nvSpPr>
          <p:spPr>
            <a:xfrm>
              <a:off x="509174" y="1475232"/>
              <a:ext cx="838756" cy="307777"/>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Segoe UI"/>
                  <a:ea typeface="Segoe UI" pitchFamily="34" charset="0"/>
                  <a:cs typeface="Segoe UI" pitchFamily="34" charset="0"/>
                </a:rPr>
                <a:t>Prepare</a:t>
              </a: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86" name="Freeform 85"/>
            <p:cNvSpPr>
              <a:spLocks noChangeAspect="1"/>
            </p:cNvSpPr>
            <p:nvPr/>
          </p:nvSpPr>
          <p:spPr bwMode="black">
            <a:xfrm>
              <a:off x="1836174" y="5643069"/>
              <a:ext cx="274320" cy="284173"/>
            </a:xfrm>
            <a:custGeom>
              <a:avLst/>
              <a:gdLst>
                <a:gd name="T0" fmla="*/ 539 w 669"/>
                <a:gd name="T1" fmla="*/ 5 h 693"/>
                <a:gd name="T2" fmla="*/ 640 w 669"/>
                <a:gd name="T3" fmla="*/ 55 h 693"/>
                <a:gd name="T4" fmla="*/ 603 w 669"/>
                <a:gd name="T5" fmla="*/ 195 h 693"/>
                <a:gd name="T6" fmla="*/ 490 w 669"/>
                <a:gd name="T7" fmla="*/ 188 h 693"/>
                <a:gd name="T8" fmla="*/ 479 w 669"/>
                <a:gd name="T9" fmla="*/ 176 h 693"/>
                <a:gd name="T10" fmla="*/ 213 w 669"/>
                <a:gd name="T11" fmla="*/ 330 h 693"/>
                <a:gd name="T12" fmla="*/ 218 w 669"/>
                <a:gd name="T13" fmla="*/ 345 h 693"/>
                <a:gd name="T14" fmla="*/ 218 w 669"/>
                <a:gd name="T15" fmla="*/ 375 h 693"/>
                <a:gd name="T16" fmla="*/ 209 w 669"/>
                <a:gd name="T17" fmla="*/ 402 h 693"/>
                <a:gd name="T18" fmla="*/ 369 w 669"/>
                <a:gd name="T19" fmla="*/ 503 h 693"/>
                <a:gd name="T20" fmla="*/ 373 w 669"/>
                <a:gd name="T21" fmla="*/ 498 h 693"/>
                <a:gd name="T22" fmla="*/ 456 w 669"/>
                <a:gd name="T23" fmla="*/ 475 h 693"/>
                <a:gd name="T24" fmla="*/ 494 w 669"/>
                <a:gd name="T25" fmla="*/ 489 h 693"/>
                <a:gd name="T26" fmla="*/ 527 w 669"/>
                <a:gd name="T27" fmla="*/ 630 h 693"/>
                <a:gd name="T28" fmla="*/ 386 w 669"/>
                <a:gd name="T29" fmla="*/ 663 h 693"/>
                <a:gd name="T30" fmla="*/ 339 w 669"/>
                <a:gd name="T31" fmla="*/ 560 h 693"/>
                <a:gd name="T32" fmla="*/ 345 w 669"/>
                <a:gd name="T33" fmla="*/ 544 h 693"/>
                <a:gd name="T34" fmla="*/ 177 w 669"/>
                <a:gd name="T35" fmla="*/ 439 h 693"/>
                <a:gd name="T36" fmla="*/ 168 w 669"/>
                <a:gd name="T37" fmla="*/ 446 h 693"/>
                <a:gd name="T38" fmla="*/ 28 w 669"/>
                <a:gd name="T39" fmla="*/ 409 h 693"/>
                <a:gd name="T40" fmla="*/ 65 w 669"/>
                <a:gd name="T41" fmla="*/ 269 h 693"/>
                <a:gd name="T42" fmla="*/ 178 w 669"/>
                <a:gd name="T43" fmla="*/ 276 h 693"/>
                <a:gd name="T44" fmla="*/ 189 w 669"/>
                <a:gd name="T45" fmla="*/ 288 h 693"/>
                <a:gd name="T46" fmla="*/ 455 w 669"/>
                <a:gd name="T47" fmla="*/ 134 h 693"/>
                <a:gd name="T48" fmla="*/ 450 w 669"/>
                <a:gd name="T49" fmla="*/ 119 h 693"/>
                <a:gd name="T50" fmla="*/ 501 w 669"/>
                <a:gd name="T51" fmla="*/ 18 h 693"/>
                <a:gd name="T52" fmla="*/ 539 w 669"/>
                <a:gd name="T53" fmla="*/ 5 h 6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69" h="693">
                  <a:moveTo>
                    <a:pt x="539" y="5"/>
                  </a:moveTo>
                  <a:cubicBezTo>
                    <a:pt x="579" y="0"/>
                    <a:pt x="619" y="19"/>
                    <a:pt x="640" y="55"/>
                  </a:cubicBezTo>
                  <a:cubicBezTo>
                    <a:pt x="669" y="104"/>
                    <a:pt x="652" y="167"/>
                    <a:pt x="603" y="195"/>
                  </a:cubicBezTo>
                  <a:cubicBezTo>
                    <a:pt x="566" y="216"/>
                    <a:pt x="522" y="212"/>
                    <a:pt x="490" y="188"/>
                  </a:cubicBezTo>
                  <a:cubicBezTo>
                    <a:pt x="479" y="176"/>
                    <a:pt x="479" y="176"/>
                    <a:pt x="479" y="176"/>
                  </a:cubicBezTo>
                  <a:cubicBezTo>
                    <a:pt x="213" y="330"/>
                    <a:pt x="213" y="330"/>
                    <a:pt x="213" y="330"/>
                  </a:cubicBezTo>
                  <a:cubicBezTo>
                    <a:pt x="218" y="345"/>
                    <a:pt x="218" y="345"/>
                    <a:pt x="218" y="345"/>
                  </a:cubicBezTo>
                  <a:cubicBezTo>
                    <a:pt x="219" y="355"/>
                    <a:pt x="219" y="365"/>
                    <a:pt x="218" y="375"/>
                  </a:cubicBezTo>
                  <a:cubicBezTo>
                    <a:pt x="209" y="402"/>
                    <a:pt x="209" y="402"/>
                    <a:pt x="209" y="402"/>
                  </a:cubicBezTo>
                  <a:cubicBezTo>
                    <a:pt x="369" y="503"/>
                    <a:pt x="369" y="503"/>
                    <a:pt x="369" y="503"/>
                  </a:cubicBezTo>
                  <a:cubicBezTo>
                    <a:pt x="373" y="498"/>
                    <a:pt x="373" y="498"/>
                    <a:pt x="373" y="498"/>
                  </a:cubicBezTo>
                  <a:cubicBezTo>
                    <a:pt x="396" y="479"/>
                    <a:pt x="427" y="470"/>
                    <a:pt x="456" y="475"/>
                  </a:cubicBezTo>
                  <a:cubicBezTo>
                    <a:pt x="470" y="477"/>
                    <a:pt x="482" y="482"/>
                    <a:pt x="494" y="489"/>
                  </a:cubicBezTo>
                  <a:cubicBezTo>
                    <a:pt x="542" y="519"/>
                    <a:pt x="557" y="583"/>
                    <a:pt x="527" y="630"/>
                  </a:cubicBezTo>
                  <a:cubicBezTo>
                    <a:pt x="497" y="678"/>
                    <a:pt x="433" y="693"/>
                    <a:pt x="386" y="663"/>
                  </a:cubicBezTo>
                  <a:cubicBezTo>
                    <a:pt x="350" y="640"/>
                    <a:pt x="333" y="599"/>
                    <a:pt x="339" y="560"/>
                  </a:cubicBezTo>
                  <a:cubicBezTo>
                    <a:pt x="345" y="544"/>
                    <a:pt x="345" y="544"/>
                    <a:pt x="345" y="544"/>
                  </a:cubicBezTo>
                  <a:cubicBezTo>
                    <a:pt x="177" y="439"/>
                    <a:pt x="177" y="439"/>
                    <a:pt x="177" y="439"/>
                  </a:cubicBezTo>
                  <a:cubicBezTo>
                    <a:pt x="168" y="446"/>
                    <a:pt x="168" y="446"/>
                    <a:pt x="168" y="446"/>
                  </a:cubicBezTo>
                  <a:cubicBezTo>
                    <a:pt x="119" y="475"/>
                    <a:pt x="56" y="458"/>
                    <a:pt x="28" y="409"/>
                  </a:cubicBezTo>
                  <a:cubicBezTo>
                    <a:pt x="0" y="360"/>
                    <a:pt x="16" y="297"/>
                    <a:pt x="65" y="269"/>
                  </a:cubicBezTo>
                  <a:cubicBezTo>
                    <a:pt x="102" y="248"/>
                    <a:pt x="147" y="252"/>
                    <a:pt x="178" y="276"/>
                  </a:cubicBezTo>
                  <a:cubicBezTo>
                    <a:pt x="189" y="288"/>
                    <a:pt x="189" y="288"/>
                    <a:pt x="189" y="288"/>
                  </a:cubicBezTo>
                  <a:cubicBezTo>
                    <a:pt x="455" y="134"/>
                    <a:pt x="455" y="134"/>
                    <a:pt x="455" y="134"/>
                  </a:cubicBezTo>
                  <a:cubicBezTo>
                    <a:pt x="450" y="119"/>
                    <a:pt x="450" y="119"/>
                    <a:pt x="450" y="119"/>
                  </a:cubicBezTo>
                  <a:cubicBezTo>
                    <a:pt x="445" y="80"/>
                    <a:pt x="464" y="39"/>
                    <a:pt x="501" y="18"/>
                  </a:cubicBezTo>
                  <a:cubicBezTo>
                    <a:pt x="513" y="11"/>
                    <a:pt x="526" y="6"/>
                    <a:pt x="539" y="5"/>
                  </a:cubicBezTo>
                  <a:close/>
                </a:path>
              </a:pathLst>
            </a:custGeom>
            <a:solidFill>
              <a:schemeClr val="tx1"/>
            </a:solidFill>
            <a:ln>
              <a:noFill/>
            </a:ln>
          </p:spPr>
          <p:txBody>
            <a:bodyPr vert="horz" wrap="square" lIns="68574" tIns="34287" rIns="68574" bIns="34287"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0000"/>
                </a:solidFill>
                <a:effectLst/>
                <a:uLnTx/>
                <a:uFillTx/>
                <a:latin typeface="Segoe UI"/>
                <a:ea typeface="+mn-ea"/>
                <a:cs typeface="+mn-cs"/>
              </a:endParaRPr>
            </a:p>
          </p:txBody>
        </p:sp>
        <p:sp>
          <p:nvSpPr>
            <p:cNvPr id="87" name="Freeform 86"/>
            <p:cNvSpPr>
              <a:spLocks noChangeAspect="1" noEditPoints="1"/>
            </p:cNvSpPr>
            <p:nvPr/>
          </p:nvSpPr>
          <p:spPr bwMode="black">
            <a:xfrm>
              <a:off x="722320" y="1783009"/>
              <a:ext cx="452202" cy="366660"/>
            </a:xfrm>
            <a:custGeom>
              <a:avLst/>
              <a:gdLst>
                <a:gd name="T0" fmla="*/ 600 w 1107"/>
                <a:gd name="T1" fmla="*/ 625 h 897"/>
                <a:gd name="T2" fmla="*/ 649 w 1107"/>
                <a:gd name="T3" fmla="*/ 567 h 897"/>
                <a:gd name="T4" fmla="*/ 727 w 1107"/>
                <a:gd name="T5" fmla="*/ 482 h 897"/>
                <a:gd name="T6" fmla="*/ 601 w 1107"/>
                <a:gd name="T7" fmla="*/ 434 h 897"/>
                <a:gd name="T8" fmla="*/ 628 w 1107"/>
                <a:gd name="T9" fmla="*/ 305 h 897"/>
                <a:gd name="T10" fmla="*/ 547 w 1107"/>
                <a:gd name="T11" fmla="*/ 240 h 897"/>
                <a:gd name="T12" fmla="*/ 427 w 1107"/>
                <a:gd name="T13" fmla="*/ 287 h 897"/>
                <a:gd name="T14" fmla="*/ 368 w 1107"/>
                <a:gd name="T15" fmla="*/ 170 h 897"/>
                <a:gd name="T16" fmla="*/ 285 w 1107"/>
                <a:gd name="T17" fmla="*/ 263 h 897"/>
                <a:gd name="T18" fmla="*/ 241 w 1107"/>
                <a:gd name="T19" fmla="*/ 313 h 897"/>
                <a:gd name="T20" fmla="*/ 139 w 1107"/>
                <a:gd name="T21" fmla="*/ 281 h 897"/>
                <a:gd name="T22" fmla="*/ 79 w 1107"/>
                <a:gd name="T23" fmla="*/ 355 h 897"/>
                <a:gd name="T24" fmla="*/ 132 w 1107"/>
                <a:gd name="T25" fmla="*/ 446 h 897"/>
                <a:gd name="T26" fmla="*/ 83 w 1107"/>
                <a:gd name="T27" fmla="*/ 505 h 897"/>
                <a:gd name="T28" fmla="*/ 5 w 1107"/>
                <a:gd name="T29" fmla="*/ 590 h 897"/>
                <a:gd name="T30" fmla="*/ 132 w 1107"/>
                <a:gd name="T31" fmla="*/ 638 h 897"/>
                <a:gd name="T32" fmla="*/ 145 w 1107"/>
                <a:gd name="T33" fmla="*/ 669 h 897"/>
                <a:gd name="T34" fmla="*/ 110 w 1107"/>
                <a:gd name="T35" fmla="*/ 793 h 897"/>
                <a:gd name="T36" fmla="*/ 230 w 1107"/>
                <a:gd name="T37" fmla="*/ 781 h 897"/>
                <a:gd name="T38" fmla="*/ 306 w 1107"/>
                <a:gd name="T39" fmla="*/ 785 h 897"/>
                <a:gd name="T40" fmla="*/ 346 w 1107"/>
                <a:gd name="T41" fmla="*/ 878 h 897"/>
                <a:gd name="T42" fmla="*/ 440 w 1107"/>
                <a:gd name="T43" fmla="*/ 872 h 897"/>
                <a:gd name="T44" fmla="*/ 466 w 1107"/>
                <a:gd name="T45" fmla="*/ 764 h 897"/>
                <a:gd name="T46" fmla="*/ 539 w 1107"/>
                <a:gd name="T47" fmla="*/ 755 h 897"/>
                <a:gd name="T48" fmla="*/ 659 w 1107"/>
                <a:gd name="T49" fmla="*/ 743 h 897"/>
                <a:gd name="T50" fmla="*/ 263 w 1107"/>
                <a:gd name="T51" fmla="*/ 452 h 897"/>
                <a:gd name="T52" fmla="*/ 281 w 1107"/>
                <a:gd name="T53" fmla="*/ 633 h 897"/>
                <a:gd name="T54" fmla="*/ 1002 w 1107"/>
                <a:gd name="T55" fmla="*/ 332 h 897"/>
                <a:gd name="T56" fmla="*/ 1043 w 1107"/>
                <a:gd name="T57" fmla="*/ 304 h 897"/>
                <a:gd name="T58" fmla="*/ 1107 w 1107"/>
                <a:gd name="T59" fmla="*/ 266 h 897"/>
                <a:gd name="T60" fmla="*/ 1037 w 1107"/>
                <a:gd name="T61" fmla="*/ 213 h 897"/>
                <a:gd name="T62" fmla="*/ 1077 w 1107"/>
                <a:gd name="T63" fmla="*/ 138 h 897"/>
                <a:gd name="T64" fmla="*/ 1038 w 1107"/>
                <a:gd name="T65" fmla="*/ 83 h 897"/>
                <a:gd name="T66" fmla="*/ 956 w 1107"/>
                <a:gd name="T67" fmla="*/ 91 h 897"/>
                <a:gd name="T68" fmla="*/ 940 w 1107"/>
                <a:gd name="T69" fmla="*/ 7 h 897"/>
                <a:gd name="T70" fmla="*/ 872 w 1107"/>
                <a:gd name="T71" fmla="*/ 50 h 897"/>
                <a:gd name="T72" fmla="*/ 836 w 1107"/>
                <a:gd name="T73" fmla="*/ 74 h 897"/>
                <a:gd name="T74" fmla="*/ 778 w 1107"/>
                <a:gd name="T75" fmla="*/ 35 h 897"/>
                <a:gd name="T76" fmla="*/ 728 w 1107"/>
                <a:gd name="T77" fmla="*/ 70 h 897"/>
                <a:gd name="T78" fmla="*/ 744 w 1107"/>
                <a:gd name="T79" fmla="*/ 136 h 897"/>
                <a:gd name="T80" fmla="*/ 703 w 1107"/>
                <a:gd name="T81" fmla="*/ 164 h 897"/>
                <a:gd name="T82" fmla="*/ 640 w 1107"/>
                <a:gd name="T83" fmla="*/ 203 h 897"/>
                <a:gd name="T84" fmla="*/ 710 w 1107"/>
                <a:gd name="T85" fmla="*/ 255 h 897"/>
                <a:gd name="T86" fmla="*/ 712 w 1107"/>
                <a:gd name="T87" fmla="*/ 277 h 897"/>
                <a:gd name="T88" fmla="*/ 668 w 1107"/>
                <a:gd name="T89" fmla="*/ 347 h 897"/>
                <a:gd name="T90" fmla="*/ 745 w 1107"/>
                <a:gd name="T91" fmla="*/ 361 h 897"/>
                <a:gd name="T92" fmla="*/ 791 w 1107"/>
                <a:gd name="T93" fmla="*/ 377 h 897"/>
                <a:gd name="T94" fmla="*/ 799 w 1107"/>
                <a:gd name="T95" fmla="*/ 443 h 897"/>
                <a:gd name="T96" fmla="*/ 859 w 1107"/>
                <a:gd name="T97" fmla="*/ 456 h 897"/>
                <a:gd name="T98" fmla="*/ 894 w 1107"/>
                <a:gd name="T99" fmla="*/ 393 h 897"/>
                <a:gd name="T100" fmla="*/ 941 w 1107"/>
                <a:gd name="T101" fmla="*/ 401 h 897"/>
                <a:gd name="T102" fmla="*/ 1018 w 1107"/>
                <a:gd name="T103" fmla="*/ 415 h 897"/>
                <a:gd name="T104" fmla="*/ 825 w 1107"/>
                <a:gd name="T105" fmla="*/ 164 h 897"/>
                <a:gd name="T106" fmla="*/ 803 w 1107"/>
                <a:gd name="T107" fmla="*/ 279 h 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107" h="897">
                  <a:moveTo>
                    <a:pt x="654" y="716"/>
                  </a:moveTo>
                  <a:cubicBezTo>
                    <a:pt x="616" y="670"/>
                    <a:pt x="616" y="670"/>
                    <a:pt x="616" y="670"/>
                  </a:cubicBezTo>
                  <a:cubicBezTo>
                    <a:pt x="593" y="654"/>
                    <a:pt x="603" y="638"/>
                    <a:pt x="600" y="625"/>
                  </a:cubicBezTo>
                  <a:cubicBezTo>
                    <a:pt x="600" y="625"/>
                    <a:pt x="600" y="625"/>
                    <a:pt x="600" y="625"/>
                  </a:cubicBezTo>
                  <a:cubicBezTo>
                    <a:pt x="605" y="617"/>
                    <a:pt x="611" y="609"/>
                    <a:pt x="608" y="596"/>
                  </a:cubicBezTo>
                  <a:cubicBezTo>
                    <a:pt x="618" y="580"/>
                    <a:pt x="623" y="572"/>
                    <a:pt x="649" y="567"/>
                  </a:cubicBezTo>
                  <a:cubicBezTo>
                    <a:pt x="715" y="553"/>
                    <a:pt x="715" y="553"/>
                    <a:pt x="715" y="553"/>
                  </a:cubicBezTo>
                  <a:cubicBezTo>
                    <a:pt x="728" y="550"/>
                    <a:pt x="733" y="542"/>
                    <a:pt x="730" y="529"/>
                  </a:cubicBezTo>
                  <a:cubicBezTo>
                    <a:pt x="727" y="482"/>
                    <a:pt x="727" y="482"/>
                    <a:pt x="727" y="482"/>
                  </a:cubicBezTo>
                  <a:cubicBezTo>
                    <a:pt x="724" y="469"/>
                    <a:pt x="717" y="463"/>
                    <a:pt x="701" y="453"/>
                  </a:cubicBezTo>
                  <a:cubicBezTo>
                    <a:pt x="641" y="459"/>
                    <a:pt x="641" y="459"/>
                    <a:pt x="641" y="459"/>
                  </a:cubicBezTo>
                  <a:cubicBezTo>
                    <a:pt x="620" y="457"/>
                    <a:pt x="604" y="447"/>
                    <a:pt x="601" y="434"/>
                  </a:cubicBezTo>
                  <a:cubicBezTo>
                    <a:pt x="598" y="421"/>
                    <a:pt x="590" y="416"/>
                    <a:pt x="580" y="397"/>
                  </a:cubicBezTo>
                  <a:cubicBezTo>
                    <a:pt x="577" y="384"/>
                    <a:pt x="574" y="371"/>
                    <a:pt x="584" y="355"/>
                  </a:cubicBezTo>
                  <a:cubicBezTo>
                    <a:pt x="628" y="305"/>
                    <a:pt x="628" y="305"/>
                    <a:pt x="628" y="305"/>
                  </a:cubicBezTo>
                  <a:cubicBezTo>
                    <a:pt x="634" y="297"/>
                    <a:pt x="631" y="284"/>
                    <a:pt x="623" y="279"/>
                  </a:cubicBezTo>
                  <a:cubicBezTo>
                    <a:pt x="581" y="240"/>
                    <a:pt x="581" y="240"/>
                    <a:pt x="581" y="240"/>
                  </a:cubicBezTo>
                  <a:cubicBezTo>
                    <a:pt x="573" y="235"/>
                    <a:pt x="560" y="238"/>
                    <a:pt x="547" y="240"/>
                  </a:cubicBezTo>
                  <a:cubicBezTo>
                    <a:pt x="503" y="291"/>
                    <a:pt x="503" y="291"/>
                    <a:pt x="503" y="291"/>
                  </a:cubicBezTo>
                  <a:cubicBezTo>
                    <a:pt x="484" y="302"/>
                    <a:pt x="471" y="304"/>
                    <a:pt x="463" y="299"/>
                  </a:cubicBezTo>
                  <a:cubicBezTo>
                    <a:pt x="456" y="294"/>
                    <a:pt x="435" y="292"/>
                    <a:pt x="427" y="287"/>
                  </a:cubicBezTo>
                  <a:cubicBezTo>
                    <a:pt x="419" y="282"/>
                    <a:pt x="403" y="271"/>
                    <a:pt x="400" y="258"/>
                  </a:cubicBezTo>
                  <a:cubicBezTo>
                    <a:pt x="386" y="193"/>
                    <a:pt x="386" y="193"/>
                    <a:pt x="386" y="193"/>
                  </a:cubicBezTo>
                  <a:cubicBezTo>
                    <a:pt x="384" y="180"/>
                    <a:pt x="368" y="170"/>
                    <a:pt x="368" y="170"/>
                  </a:cubicBezTo>
                  <a:cubicBezTo>
                    <a:pt x="308" y="176"/>
                    <a:pt x="308" y="176"/>
                    <a:pt x="308" y="176"/>
                  </a:cubicBezTo>
                  <a:cubicBezTo>
                    <a:pt x="308" y="176"/>
                    <a:pt x="289" y="187"/>
                    <a:pt x="292" y="200"/>
                  </a:cubicBezTo>
                  <a:cubicBezTo>
                    <a:pt x="285" y="263"/>
                    <a:pt x="285" y="263"/>
                    <a:pt x="285" y="263"/>
                  </a:cubicBezTo>
                  <a:cubicBezTo>
                    <a:pt x="291" y="289"/>
                    <a:pt x="277" y="292"/>
                    <a:pt x="272" y="300"/>
                  </a:cubicBezTo>
                  <a:cubicBezTo>
                    <a:pt x="272" y="300"/>
                    <a:pt x="272" y="300"/>
                    <a:pt x="267" y="308"/>
                  </a:cubicBezTo>
                  <a:cubicBezTo>
                    <a:pt x="259" y="302"/>
                    <a:pt x="246" y="305"/>
                    <a:pt x="241" y="313"/>
                  </a:cubicBezTo>
                  <a:cubicBezTo>
                    <a:pt x="236" y="321"/>
                    <a:pt x="236" y="321"/>
                    <a:pt x="236" y="321"/>
                  </a:cubicBezTo>
                  <a:cubicBezTo>
                    <a:pt x="223" y="324"/>
                    <a:pt x="210" y="327"/>
                    <a:pt x="194" y="317"/>
                  </a:cubicBezTo>
                  <a:cubicBezTo>
                    <a:pt x="139" y="281"/>
                    <a:pt x="139" y="281"/>
                    <a:pt x="139" y="281"/>
                  </a:cubicBezTo>
                  <a:cubicBezTo>
                    <a:pt x="131" y="276"/>
                    <a:pt x="110" y="273"/>
                    <a:pt x="104" y="281"/>
                  </a:cubicBezTo>
                  <a:cubicBezTo>
                    <a:pt x="79" y="321"/>
                    <a:pt x="79" y="321"/>
                    <a:pt x="79" y="321"/>
                  </a:cubicBezTo>
                  <a:cubicBezTo>
                    <a:pt x="66" y="324"/>
                    <a:pt x="68" y="337"/>
                    <a:pt x="79" y="355"/>
                  </a:cubicBezTo>
                  <a:cubicBezTo>
                    <a:pt x="121" y="394"/>
                    <a:pt x="121" y="394"/>
                    <a:pt x="121" y="394"/>
                  </a:cubicBezTo>
                  <a:cubicBezTo>
                    <a:pt x="140" y="417"/>
                    <a:pt x="135" y="425"/>
                    <a:pt x="132" y="446"/>
                  </a:cubicBezTo>
                  <a:cubicBezTo>
                    <a:pt x="132" y="446"/>
                    <a:pt x="132" y="446"/>
                    <a:pt x="132" y="446"/>
                  </a:cubicBezTo>
                  <a:cubicBezTo>
                    <a:pt x="127" y="454"/>
                    <a:pt x="122" y="462"/>
                    <a:pt x="117" y="470"/>
                  </a:cubicBezTo>
                  <a:cubicBezTo>
                    <a:pt x="117" y="470"/>
                    <a:pt x="117" y="470"/>
                    <a:pt x="117" y="470"/>
                  </a:cubicBezTo>
                  <a:cubicBezTo>
                    <a:pt x="120" y="483"/>
                    <a:pt x="109" y="499"/>
                    <a:pt x="83" y="505"/>
                  </a:cubicBezTo>
                  <a:cubicBezTo>
                    <a:pt x="23" y="511"/>
                    <a:pt x="23" y="511"/>
                    <a:pt x="23" y="511"/>
                  </a:cubicBezTo>
                  <a:cubicBezTo>
                    <a:pt x="10" y="514"/>
                    <a:pt x="0" y="529"/>
                    <a:pt x="2" y="543"/>
                  </a:cubicBezTo>
                  <a:cubicBezTo>
                    <a:pt x="5" y="590"/>
                    <a:pt x="5" y="590"/>
                    <a:pt x="5" y="590"/>
                  </a:cubicBezTo>
                  <a:cubicBezTo>
                    <a:pt x="8" y="603"/>
                    <a:pt x="16" y="608"/>
                    <a:pt x="37" y="610"/>
                  </a:cubicBezTo>
                  <a:cubicBezTo>
                    <a:pt x="92" y="612"/>
                    <a:pt x="92" y="612"/>
                    <a:pt x="92" y="612"/>
                  </a:cubicBezTo>
                  <a:cubicBezTo>
                    <a:pt x="113" y="614"/>
                    <a:pt x="129" y="625"/>
                    <a:pt x="132" y="638"/>
                  </a:cubicBezTo>
                  <a:cubicBezTo>
                    <a:pt x="132" y="638"/>
                    <a:pt x="132" y="638"/>
                    <a:pt x="132" y="638"/>
                  </a:cubicBezTo>
                  <a:cubicBezTo>
                    <a:pt x="140" y="643"/>
                    <a:pt x="142" y="656"/>
                    <a:pt x="150" y="661"/>
                  </a:cubicBezTo>
                  <a:cubicBezTo>
                    <a:pt x="145" y="669"/>
                    <a:pt x="145" y="669"/>
                    <a:pt x="145" y="669"/>
                  </a:cubicBezTo>
                  <a:cubicBezTo>
                    <a:pt x="153" y="674"/>
                    <a:pt x="156" y="687"/>
                    <a:pt x="140" y="711"/>
                  </a:cubicBezTo>
                  <a:cubicBezTo>
                    <a:pt x="109" y="759"/>
                    <a:pt x="109" y="759"/>
                    <a:pt x="109" y="759"/>
                  </a:cubicBezTo>
                  <a:cubicBezTo>
                    <a:pt x="99" y="775"/>
                    <a:pt x="102" y="788"/>
                    <a:pt x="110" y="793"/>
                  </a:cubicBezTo>
                  <a:cubicBezTo>
                    <a:pt x="152" y="832"/>
                    <a:pt x="152" y="832"/>
                    <a:pt x="152" y="832"/>
                  </a:cubicBezTo>
                  <a:cubicBezTo>
                    <a:pt x="160" y="837"/>
                    <a:pt x="173" y="834"/>
                    <a:pt x="178" y="826"/>
                  </a:cubicBezTo>
                  <a:cubicBezTo>
                    <a:pt x="230" y="781"/>
                    <a:pt x="230" y="781"/>
                    <a:pt x="230" y="781"/>
                  </a:cubicBezTo>
                  <a:cubicBezTo>
                    <a:pt x="248" y="770"/>
                    <a:pt x="261" y="767"/>
                    <a:pt x="269" y="772"/>
                  </a:cubicBezTo>
                  <a:cubicBezTo>
                    <a:pt x="269" y="772"/>
                    <a:pt x="269" y="772"/>
                    <a:pt x="269" y="772"/>
                  </a:cubicBezTo>
                  <a:cubicBezTo>
                    <a:pt x="282" y="769"/>
                    <a:pt x="298" y="779"/>
                    <a:pt x="306" y="785"/>
                  </a:cubicBezTo>
                  <a:cubicBezTo>
                    <a:pt x="306" y="785"/>
                    <a:pt x="306" y="785"/>
                    <a:pt x="306" y="785"/>
                  </a:cubicBezTo>
                  <a:cubicBezTo>
                    <a:pt x="319" y="782"/>
                    <a:pt x="327" y="787"/>
                    <a:pt x="332" y="813"/>
                  </a:cubicBezTo>
                  <a:cubicBezTo>
                    <a:pt x="346" y="878"/>
                    <a:pt x="346" y="878"/>
                    <a:pt x="346" y="878"/>
                  </a:cubicBezTo>
                  <a:cubicBezTo>
                    <a:pt x="349" y="892"/>
                    <a:pt x="357" y="897"/>
                    <a:pt x="370" y="894"/>
                  </a:cubicBezTo>
                  <a:cubicBezTo>
                    <a:pt x="425" y="896"/>
                    <a:pt x="425" y="896"/>
                    <a:pt x="425" y="896"/>
                  </a:cubicBezTo>
                  <a:cubicBezTo>
                    <a:pt x="430" y="888"/>
                    <a:pt x="443" y="885"/>
                    <a:pt x="440" y="872"/>
                  </a:cubicBezTo>
                  <a:cubicBezTo>
                    <a:pt x="440" y="804"/>
                    <a:pt x="440" y="804"/>
                    <a:pt x="440" y="804"/>
                  </a:cubicBezTo>
                  <a:cubicBezTo>
                    <a:pt x="442" y="783"/>
                    <a:pt x="460" y="772"/>
                    <a:pt x="466" y="764"/>
                  </a:cubicBezTo>
                  <a:cubicBezTo>
                    <a:pt x="466" y="764"/>
                    <a:pt x="466" y="764"/>
                    <a:pt x="466" y="764"/>
                  </a:cubicBezTo>
                  <a:cubicBezTo>
                    <a:pt x="479" y="761"/>
                    <a:pt x="492" y="758"/>
                    <a:pt x="497" y="750"/>
                  </a:cubicBezTo>
                  <a:cubicBezTo>
                    <a:pt x="497" y="750"/>
                    <a:pt x="497" y="750"/>
                    <a:pt x="497" y="750"/>
                  </a:cubicBezTo>
                  <a:cubicBezTo>
                    <a:pt x="510" y="747"/>
                    <a:pt x="523" y="745"/>
                    <a:pt x="539" y="755"/>
                  </a:cubicBezTo>
                  <a:cubicBezTo>
                    <a:pt x="594" y="791"/>
                    <a:pt x="594" y="791"/>
                    <a:pt x="594" y="791"/>
                  </a:cubicBezTo>
                  <a:cubicBezTo>
                    <a:pt x="602" y="796"/>
                    <a:pt x="623" y="798"/>
                    <a:pt x="628" y="790"/>
                  </a:cubicBezTo>
                  <a:cubicBezTo>
                    <a:pt x="659" y="743"/>
                    <a:pt x="659" y="743"/>
                    <a:pt x="659" y="743"/>
                  </a:cubicBezTo>
                  <a:cubicBezTo>
                    <a:pt x="659" y="743"/>
                    <a:pt x="669" y="727"/>
                    <a:pt x="654" y="716"/>
                  </a:cubicBezTo>
                  <a:close/>
                  <a:moveTo>
                    <a:pt x="281" y="633"/>
                  </a:moveTo>
                  <a:cubicBezTo>
                    <a:pt x="223" y="584"/>
                    <a:pt x="219" y="502"/>
                    <a:pt x="263" y="452"/>
                  </a:cubicBezTo>
                  <a:cubicBezTo>
                    <a:pt x="313" y="393"/>
                    <a:pt x="399" y="382"/>
                    <a:pt x="457" y="431"/>
                  </a:cubicBezTo>
                  <a:cubicBezTo>
                    <a:pt x="507" y="475"/>
                    <a:pt x="518" y="561"/>
                    <a:pt x="469" y="619"/>
                  </a:cubicBezTo>
                  <a:cubicBezTo>
                    <a:pt x="420" y="678"/>
                    <a:pt x="339" y="682"/>
                    <a:pt x="281" y="633"/>
                  </a:cubicBezTo>
                  <a:close/>
                  <a:moveTo>
                    <a:pt x="1019" y="398"/>
                  </a:moveTo>
                  <a:cubicBezTo>
                    <a:pt x="1004" y="362"/>
                    <a:pt x="1004" y="362"/>
                    <a:pt x="1004" y="362"/>
                  </a:cubicBezTo>
                  <a:cubicBezTo>
                    <a:pt x="992" y="348"/>
                    <a:pt x="1002" y="340"/>
                    <a:pt x="1002" y="332"/>
                  </a:cubicBezTo>
                  <a:cubicBezTo>
                    <a:pt x="1002" y="332"/>
                    <a:pt x="1002" y="332"/>
                    <a:pt x="1002" y="332"/>
                  </a:cubicBezTo>
                  <a:cubicBezTo>
                    <a:pt x="1007" y="328"/>
                    <a:pt x="1011" y="324"/>
                    <a:pt x="1012" y="315"/>
                  </a:cubicBezTo>
                  <a:cubicBezTo>
                    <a:pt x="1021" y="307"/>
                    <a:pt x="1026" y="303"/>
                    <a:pt x="1043" y="304"/>
                  </a:cubicBezTo>
                  <a:cubicBezTo>
                    <a:pt x="1086" y="307"/>
                    <a:pt x="1086" y="307"/>
                    <a:pt x="1086" y="307"/>
                  </a:cubicBezTo>
                  <a:cubicBezTo>
                    <a:pt x="1095" y="308"/>
                    <a:pt x="1099" y="304"/>
                    <a:pt x="1100" y="295"/>
                  </a:cubicBezTo>
                  <a:cubicBezTo>
                    <a:pt x="1107" y="266"/>
                    <a:pt x="1107" y="266"/>
                    <a:pt x="1107" y="266"/>
                  </a:cubicBezTo>
                  <a:cubicBezTo>
                    <a:pt x="1107" y="257"/>
                    <a:pt x="1103" y="252"/>
                    <a:pt x="1095" y="243"/>
                  </a:cubicBezTo>
                  <a:cubicBezTo>
                    <a:pt x="1057" y="236"/>
                    <a:pt x="1057" y="236"/>
                    <a:pt x="1057" y="236"/>
                  </a:cubicBezTo>
                  <a:cubicBezTo>
                    <a:pt x="1044" y="231"/>
                    <a:pt x="1036" y="222"/>
                    <a:pt x="1037" y="213"/>
                  </a:cubicBezTo>
                  <a:cubicBezTo>
                    <a:pt x="1038" y="205"/>
                    <a:pt x="1034" y="200"/>
                    <a:pt x="1030" y="187"/>
                  </a:cubicBezTo>
                  <a:cubicBezTo>
                    <a:pt x="1031" y="178"/>
                    <a:pt x="1032" y="170"/>
                    <a:pt x="1041" y="162"/>
                  </a:cubicBezTo>
                  <a:cubicBezTo>
                    <a:pt x="1077" y="138"/>
                    <a:pt x="1077" y="138"/>
                    <a:pt x="1077" y="138"/>
                  </a:cubicBezTo>
                  <a:cubicBezTo>
                    <a:pt x="1082" y="134"/>
                    <a:pt x="1083" y="126"/>
                    <a:pt x="1079" y="121"/>
                  </a:cubicBezTo>
                  <a:cubicBezTo>
                    <a:pt x="1059" y="89"/>
                    <a:pt x="1059" y="89"/>
                    <a:pt x="1059" y="89"/>
                  </a:cubicBezTo>
                  <a:cubicBezTo>
                    <a:pt x="1055" y="85"/>
                    <a:pt x="1047" y="84"/>
                    <a:pt x="1038" y="83"/>
                  </a:cubicBezTo>
                  <a:cubicBezTo>
                    <a:pt x="1002" y="107"/>
                    <a:pt x="1002" y="107"/>
                    <a:pt x="1002" y="107"/>
                  </a:cubicBezTo>
                  <a:cubicBezTo>
                    <a:pt x="989" y="110"/>
                    <a:pt x="980" y="110"/>
                    <a:pt x="976" y="105"/>
                  </a:cubicBezTo>
                  <a:cubicBezTo>
                    <a:pt x="972" y="100"/>
                    <a:pt x="960" y="95"/>
                    <a:pt x="956" y="91"/>
                  </a:cubicBezTo>
                  <a:cubicBezTo>
                    <a:pt x="952" y="86"/>
                    <a:pt x="944" y="77"/>
                    <a:pt x="944" y="68"/>
                  </a:cubicBezTo>
                  <a:cubicBezTo>
                    <a:pt x="948" y="25"/>
                    <a:pt x="948" y="25"/>
                    <a:pt x="948" y="25"/>
                  </a:cubicBezTo>
                  <a:cubicBezTo>
                    <a:pt x="948" y="17"/>
                    <a:pt x="940" y="7"/>
                    <a:pt x="940" y="7"/>
                  </a:cubicBezTo>
                  <a:cubicBezTo>
                    <a:pt x="902" y="0"/>
                    <a:pt x="902" y="0"/>
                    <a:pt x="902" y="0"/>
                  </a:cubicBezTo>
                  <a:cubicBezTo>
                    <a:pt x="902" y="0"/>
                    <a:pt x="889" y="4"/>
                    <a:pt x="888" y="12"/>
                  </a:cubicBezTo>
                  <a:cubicBezTo>
                    <a:pt x="872" y="50"/>
                    <a:pt x="872" y="50"/>
                    <a:pt x="872" y="50"/>
                  </a:cubicBezTo>
                  <a:cubicBezTo>
                    <a:pt x="871" y="67"/>
                    <a:pt x="862" y="67"/>
                    <a:pt x="858" y="71"/>
                  </a:cubicBezTo>
                  <a:cubicBezTo>
                    <a:pt x="858" y="71"/>
                    <a:pt x="858" y="71"/>
                    <a:pt x="853" y="75"/>
                  </a:cubicBezTo>
                  <a:cubicBezTo>
                    <a:pt x="849" y="70"/>
                    <a:pt x="840" y="70"/>
                    <a:pt x="836" y="74"/>
                  </a:cubicBezTo>
                  <a:cubicBezTo>
                    <a:pt x="831" y="78"/>
                    <a:pt x="831" y="78"/>
                    <a:pt x="831" y="78"/>
                  </a:cubicBezTo>
                  <a:cubicBezTo>
                    <a:pt x="822" y="77"/>
                    <a:pt x="814" y="76"/>
                    <a:pt x="806" y="67"/>
                  </a:cubicBezTo>
                  <a:cubicBezTo>
                    <a:pt x="778" y="35"/>
                    <a:pt x="778" y="35"/>
                    <a:pt x="778" y="35"/>
                  </a:cubicBezTo>
                  <a:cubicBezTo>
                    <a:pt x="774" y="30"/>
                    <a:pt x="762" y="25"/>
                    <a:pt x="757" y="29"/>
                  </a:cubicBezTo>
                  <a:cubicBezTo>
                    <a:pt x="734" y="49"/>
                    <a:pt x="734" y="49"/>
                    <a:pt x="734" y="49"/>
                  </a:cubicBezTo>
                  <a:cubicBezTo>
                    <a:pt x="725" y="49"/>
                    <a:pt x="725" y="57"/>
                    <a:pt x="728" y="70"/>
                  </a:cubicBezTo>
                  <a:cubicBezTo>
                    <a:pt x="747" y="102"/>
                    <a:pt x="747" y="102"/>
                    <a:pt x="747" y="102"/>
                  </a:cubicBezTo>
                  <a:cubicBezTo>
                    <a:pt x="754" y="120"/>
                    <a:pt x="750" y="124"/>
                    <a:pt x="744" y="136"/>
                  </a:cubicBezTo>
                  <a:cubicBezTo>
                    <a:pt x="744" y="136"/>
                    <a:pt x="744" y="136"/>
                    <a:pt x="744" y="136"/>
                  </a:cubicBezTo>
                  <a:cubicBezTo>
                    <a:pt x="740" y="140"/>
                    <a:pt x="735" y="144"/>
                    <a:pt x="731" y="148"/>
                  </a:cubicBezTo>
                  <a:cubicBezTo>
                    <a:pt x="731" y="148"/>
                    <a:pt x="731" y="148"/>
                    <a:pt x="731" y="148"/>
                  </a:cubicBezTo>
                  <a:cubicBezTo>
                    <a:pt x="730" y="157"/>
                    <a:pt x="721" y="165"/>
                    <a:pt x="703" y="164"/>
                  </a:cubicBezTo>
                  <a:cubicBezTo>
                    <a:pt x="665" y="157"/>
                    <a:pt x="665" y="157"/>
                    <a:pt x="665" y="157"/>
                  </a:cubicBezTo>
                  <a:cubicBezTo>
                    <a:pt x="656" y="156"/>
                    <a:pt x="647" y="164"/>
                    <a:pt x="647" y="173"/>
                  </a:cubicBezTo>
                  <a:cubicBezTo>
                    <a:pt x="640" y="203"/>
                    <a:pt x="640" y="203"/>
                    <a:pt x="640" y="203"/>
                  </a:cubicBezTo>
                  <a:cubicBezTo>
                    <a:pt x="639" y="211"/>
                    <a:pt x="643" y="216"/>
                    <a:pt x="656" y="221"/>
                  </a:cubicBezTo>
                  <a:cubicBezTo>
                    <a:pt x="690" y="232"/>
                    <a:pt x="690" y="232"/>
                    <a:pt x="690" y="232"/>
                  </a:cubicBezTo>
                  <a:cubicBezTo>
                    <a:pt x="702" y="237"/>
                    <a:pt x="710" y="246"/>
                    <a:pt x="710" y="255"/>
                  </a:cubicBezTo>
                  <a:cubicBezTo>
                    <a:pt x="710" y="255"/>
                    <a:pt x="710" y="255"/>
                    <a:pt x="710" y="255"/>
                  </a:cubicBezTo>
                  <a:cubicBezTo>
                    <a:pt x="714" y="260"/>
                    <a:pt x="713" y="268"/>
                    <a:pt x="717" y="273"/>
                  </a:cubicBezTo>
                  <a:cubicBezTo>
                    <a:pt x="712" y="277"/>
                    <a:pt x="712" y="277"/>
                    <a:pt x="712" y="277"/>
                  </a:cubicBezTo>
                  <a:cubicBezTo>
                    <a:pt x="716" y="281"/>
                    <a:pt x="716" y="290"/>
                    <a:pt x="702" y="302"/>
                  </a:cubicBezTo>
                  <a:cubicBezTo>
                    <a:pt x="674" y="326"/>
                    <a:pt x="674" y="326"/>
                    <a:pt x="674" y="326"/>
                  </a:cubicBezTo>
                  <a:cubicBezTo>
                    <a:pt x="665" y="334"/>
                    <a:pt x="664" y="343"/>
                    <a:pt x="668" y="347"/>
                  </a:cubicBezTo>
                  <a:cubicBezTo>
                    <a:pt x="687" y="379"/>
                    <a:pt x="687" y="379"/>
                    <a:pt x="687" y="379"/>
                  </a:cubicBezTo>
                  <a:cubicBezTo>
                    <a:pt x="691" y="383"/>
                    <a:pt x="700" y="384"/>
                    <a:pt x="704" y="380"/>
                  </a:cubicBezTo>
                  <a:cubicBezTo>
                    <a:pt x="745" y="361"/>
                    <a:pt x="745" y="361"/>
                    <a:pt x="745" y="361"/>
                  </a:cubicBezTo>
                  <a:cubicBezTo>
                    <a:pt x="758" y="358"/>
                    <a:pt x="767" y="358"/>
                    <a:pt x="771" y="363"/>
                  </a:cubicBezTo>
                  <a:cubicBezTo>
                    <a:pt x="771" y="363"/>
                    <a:pt x="771" y="363"/>
                    <a:pt x="771" y="363"/>
                  </a:cubicBezTo>
                  <a:cubicBezTo>
                    <a:pt x="779" y="364"/>
                    <a:pt x="787" y="373"/>
                    <a:pt x="791" y="377"/>
                  </a:cubicBezTo>
                  <a:cubicBezTo>
                    <a:pt x="791" y="377"/>
                    <a:pt x="791" y="377"/>
                    <a:pt x="791" y="377"/>
                  </a:cubicBezTo>
                  <a:cubicBezTo>
                    <a:pt x="800" y="378"/>
                    <a:pt x="804" y="383"/>
                    <a:pt x="802" y="400"/>
                  </a:cubicBezTo>
                  <a:cubicBezTo>
                    <a:pt x="799" y="443"/>
                    <a:pt x="799" y="443"/>
                    <a:pt x="799" y="443"/>
                  </a:cubicBezTo>
                  <a:cubicBezTo>
                    <a:pt x="798" y="451"/>
                    <a:pt x="802" y="456"/>
                    <a:pt x="811" y="457"/>
                  </a:cubicBezTo>
                  <a:cubicBezTo>
                    <a:pt x="845" y="468"/>
                    <a:pt x="845" y="468"/>
                    <a:pt x="845" y="468"/>
                  </a:cubicBezTo>
                  <a:cubicBezTo>
                    <a:pt x="849" y="464"/>
                    <a:pt x="858" y="464"/>
                    <a:pt x="859" y="456"/>
                  </a:cubicBezTo>
                  <a:cubicBezTo>
                    <a:pt x="871" y="413"/>
                    <a:pt x="871" y="413"/>
                    <a:pt x="871" y="413"/>
                  </a:cubicBezTo>
                  <a:cubicBezTo>
                    <a:pt x="876" y="401"/>
                    <a:pt x="889" y="397"/>
                    <a:pt x="894" y="393"/>
                  </a:cubicBezTo>
                  <a:cubicBezTo>
                    <a:pt x="894" y="393"/>
                    <a:pt x="894" y="393"/>
                    <a:pt x="894" y="393"/>
                  </a:cubicBezTo>
                  <a:cubicBezTo>
                    <a:pt x="902" y="394"/>
                    <a:pt x="911" y="395"/>
                    <a:pt x="916" y="391"/>
                  </a:cubicBezTo>
                  <a:cubicBezTo>
                    <a:pt x="916" y="391"/>
                    <a:pt x="916" y="391"/>
                    <a:pt x="916" y="391"/>
                  </a:cubicBezTo>
                  <a:cubicBezTo>
                    <a:pt x="924" y="391"/>
                    <a:pt x="933" y="392"/>
                    <a:pt x="941" y="401"/>
                  </a:cubicBezTo>
                  <a:cubicBezTo>
                    <a:pt x="969" y="433"/>
                    <a:pt x="969" y="433"/>
                    <a:pt x="969" y="433"/>
                  </a:cubicBezTo>
                  <a:cubicBezTo>
                    <a:pt x="973" y="438"/>
                    <a:pt x="985" y="443"/>
                    <a:pt x="990" y="439"/>
                  </a:cubicBezTo>
                  <a:cubicBezTo>
                    <a:pt x="1018" y="415"/>
                    <a:pt x="1018" y="415"/>
                    <a:pt x="1018" y="415"/>
                  </a:cubicBezTo>
                  <a:cubicBezTo>
                    <a:pt x="1018" y="415"/>
                    <a:pt x="1027" y="407"/>
                    <a:pt x="1019" y="398"/>
                  </a:cubicBezTo>
                  <a:close/>
                  <a:moveTo>
                    <a:pt x="803" y="279"/>
                  </a:moveTo>
                  <a:cubicBezTo>
                    <a:pt x="776" y="238"/>
                    <a:pt x="788" y="187"/>
                    <a:pt x="825" y="164"/>
                  </a:cubicBezTo>
                  <a:cubicBezTo>
                    <a:pt x="866" y="136"/>
                    <a:pt x="921" y="144"/>
                    <a:pt x="948" y="185"/>
                  </a:cubicBezTo>
                  <a:cubicBezTo>
                    <a:pt x="972" y="221"/>
                    <a:pt x="963" y="277"/>
                    <a:pt x="922" y="304"/>
                  </a:cubicBezTo>
                  <a:cubicBezTo>
                    <a:pt x="881" y="332"/>
                    <a:pt x="830" y="320"/>
                    <a:pt x="803" y="279"/>
                  </a:cubicBezTo>
                  <a:close/>
                </a:path>
              </a:pathLst>
            </a:custGeom>
            <a:solidFill>
              <a:schemeClr val="tx1"/>
            </a:solidFill>
            <a:ln>
              <a:noFill/>
            </a:ln>
          </p:spPr>
          <p:txBody>
            <a:bodyPr vert="horz" wrap="square" lIns="68574" tIns="34287" rIns="68574" bIns="34287"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17346"/>
                </a:solidFill>
                <a:effectLst/>
                <a:uLnTx/>
                <a:uFillTx/>
                <a:latin typeface="Segoe UI"/>
                <a:ea typeface="+mn-ea"/>
                <a:cs typeface="+mn-cs"/>
              </a:endParaRPr>
            </a:p>
          </p:txBody>
        </p:sp>
        <p:sp>
          <p:nvSpPr>
            <p:cNvPr id="88" name="Freeform 87"/>
            <p:cNvSpPr>
              <a:spLocks noChangeAspect="1"/>
            </p:cNvSpPr>
            <p:nvPr/>
          </p:nvSpPr>
          <p:spPr bwMode="black">
            <a:xfrm>
              <a:off x="776985" y="4213905"/>
              <a:ext cx="342871" cy="335728"/>
            </a:xfrm>
            <a:custGeom>
              <a:avLst/>
              <a:gdLst>
                <a:gd name="connsiteX0" fmla="*/ 3713863 w 4893730"/>
                <a:gd name="connsiteY0" fmla="*/ 2130808 h 4791777"/>
                <a:gd name="connsiteX1" fmla="*/ 4426142 w 4893730"/>
                <a:gd name="connsiteY1" fmla="*/ 2130808 h 4791777"/>
                <a:gd name="connsiteX2" fmla="*/ 4598071 w 4893730"/>
                <a:gd name="connsiteY2" fmla="*/ 2301547 h 4791777"/>
                <a:gd name="connsiteX3" fmla="*/ 4598071 w 4893730"/>
                <a:gd name="connsiteY3" fmla="*/ 3886978 h 4791777"/>
                <a:gd name="connsiteX4" fmla="*/ 4426142 w 4893730"/>
                <a:gd name="connsiteY4" fmla="*/ 4057717 h 4791777"/>
                <a:gd name="connsiteX5" fmla="*/ 3713863 w 4893730"/>
                <a:gd name="connsiteY5" fmla="*/ 4057717 h 4791777"/>
                <a:gd name="connsiteX6" fmla="*/ 3517372 w 4893730"/>
                <a:gd name="connsiteY6" fmla="*/ 3886978 h 4791777"/>
                <a:gd name="connsiteX7" fmla="*/ 3517372 w 4893730"/>
                <a:gd name="connsiteY7" fmla="*/ 2301547 h 4791777"/>
                <a:gd name="connsiteX8" fmla="*/ 3713863 w 4893730"/>
                <a:gd name="connsiteY8" fmla="*/ 2130808 h 4791777"/>
                <a:gd name="connsiteX9" fmla="*/ 904368 w 4893730"/>
                <a:gd name="connsiteY9" fmla="*/ 1223432 h 4791777"/>
                <a:gd name="connsiteX10" fmla="*/ 1609930 w 4893730"/>
                <a:gd name="connsiteY10" fmla="*/ 1223432 h 4791777"/>
                <a:gd name="connsiteX11" fmla="*/ 1804567 w 4893730"/>
                <a:gd name="connsiteY11" fmla="*/ 1394467 h 4791777"/>
                <a:gd name="connsiteX12" fmla="*/ 1804567 w 4893730"/>
                <a:gd name="connsiteY12" fmla="*/ 3886683 h 4791777"/>
                <a:gd name="connsiteX13" fmla="*/ 1609930 w 4893730"/>
                <a:gd name="connsiteY13" fmla="*/ 4057717 h 4791777"/>
                <a:gd name="connsiteX14" fmla="*/ 904368 w 4893730"/>
                <a:gd name="connsiteY14" fmla="*/ 4057717 h 4791777"/>
                <a:gd name="connsiteX15" fmla="*/ 734060 w 4893730"/>
                <a:gd name="connsiteY15" fmla="*/ 3886683 h 4791777"/>
                <a:gd name="connsiteX16" fmla="*/ 734060 w 4893730"/>
                <a:gd name="connsiteY16" fmla="*/ 1394467 h 4791777"/>
                <a:gd name="connsiteX17" fmla="*/ 904368 w 4893730"/>
                <a:gd name="connsiteY17" fmla="*/ 1223432 h 4791777"/>
                <a:gd name="connsiteX18" fmla="*/ 2325453 w 4893730"/>
                <a:gd name="connsiteY18" fmla="*/ 316050 h 4791777"/>
                <a:gd name="connsiteX19" fmla="*/ 3031014 w 4893730"/>
                <a:gd name="connsiteY19" fmla="*/ 316050 h 4791777"/>
                <a:gd name="connsiteX20" fmla="*/ 3201322 w 4893730"/>
                <a:gd name="connsiteY20" fmla="*/ 487238 h 4791777"/>
                <a:gd name="connsiteX21" fmla="*/ 3201322 w 4893730"/>
                <a:gd name="connsiteY21" fmla="*/ 3886530 h 4791777"/>
                <a:gd name="connsiteX22" fmla="*/ 3031014 w 4893730"/>
                <a:gd name="connsiteY22" fmla="*/ 4057717 h 4791777"/>
                <a:gd name="connsiteX23" fmla="*/ 2325453 w 4893730"/>
                <a:gd name="connsiteY23" fmla="*/ 4057717 h 4791777"/>
                <a:gd name="connsiteX24" fmla="*/ 2130815 w 4893730"/>
                <a:gd name="connsiteY24" fmla="*/ 3886530 h 4791777"/>
                <a:gd name="connsiteX25" fmla="*/ 2130815 w 4893730"/>
                <a:gd name="connsiteY25" fmla="*/ 487238 h 4791777"/>
                <a:gd name="connsiteX26" fmla="*/ 2325453 w 4893730"/>
                <a:gd name="connsiteY26" fmla="*/ 316050 h 4791777"/>
                <a:gd name="connsiteX27" fmla="*/ 269155 w 4893730"/>
                <a:gd name="connsiteY27" fmla="*/ 0 h 4791777"/>
                <a:gd name="connsiteX28" fmla="*/ 538311 w 4893730"/>
                <a:gd name="connsiteY28" fmla="*/ 268927 h 4791777"/>
                <a:gd name="connsiteX29" fmla="*/ 538311 w 4893730"/>
                <a:gd name="connsiteY29" fmla="*/ 4253925 h 4791777"/>
                <a:gd name="connsiteX30" fmla="*/ 4624575 w 4893730"/>
                <a:gd name="connsiteY30" fmla="*/ 4253925 h 4791777"/>
                <a:gd name="connsiteX31" fmla="*/ 4893730 w 4893730"/>
                <a:gd name="connsiteY31" fmla="*/ 4522851 h 4791777"/>
                <a:gd name="connsiteX32" fmla="*/ 4624575 w 4893730"/>
                <a:gd name="connsiteY32" fmla="*/ 4791777 h 4791777"/>
                <a:gd name="connsiteX33" fmla="*/ 269155 w 4893730"/>
                <a:gd name="connsiteY33" fmla="*/ 4791777 h 4791777"/>
                <a:gd name="connsiteX34" fmla="*/ 0 w 4893730"/>
                <a:gd name="connsiteY34" fmla="*/ 4522851 h 4791777"/>
                <a:gd name="connsiteX35" fmla="*/ 0 w 4893730"/>
                <a:gd name="connsiteY35" fmla="*/ 268927 h 4791777"/>
                <a:gd name="connsiteX36" fmla="*/ 269155 w 4893730"/>
                <a:gd name="connsiteY36" fmla="*/ 0 h 4791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4893730" h="4791777">
                  <a:moveTo>
                    <a:pt x="3713863" y="2130808"/>
                  </a:moveTo>
                  <a:cubicBezTo>
                    <a:pt x="3713863" y="2130808"/>
                    <a:pt x="3713863" y="2130808"/>
                    <a:pt x="4426142" y="2130808"/>
                  </a:cubicBezTo>
                  <a:cubicBezTo>
                    <a:pt x="4524387" y="2130808"/>
                    <a:pt x="4598071" y="2203982"/>
                    <a:pt x="4598071" y="2301547"/>
                  </a:cubicBezTo>
                  <a:cubicBezTo>
                    <a:pt x="4598071" y="2301547"/>
                    <a:pt x="4598071" y="2301547"/>
                    <a:pt x="4598071" y="3886978"/>
                  </a:cubicBezTo>
                  <a:cubicBezTo>
                    <a:pt x="4598071" y="3984543"/>
                    <a:pt x="4524387" y="4057717"/>
                    <a:pt x="4426142" y="4057717"/>
                  </a:cubicBezTo>
                  <a:cubicBezTo>
                    <a:pt x="4426142" y="4057717"/>
                    <a:pt x="4426142" y="4057717"/>
                    <a:pt x="3713863" y="4057717"/>
                  </a:cubicBezTo>
                  <a:cubicBezTo>
                    <a:pt x="3615618" y="4057717"/>
                    <a:pt x="3517372" y="3984543"/>
                    <a:pt x="3517372" y="3886978"/>
                  </a:cubicBezTo>
                  <a:cubicBezTo>
                    <a:pt x="3517372" y="3886978"/>
                    <a:pt x="3517372" y="3886978"/>
                    <a:pt x="3517372" y="2301547"/>
                  </a:cubicBezTo>
                  <a:cubicBezTo>
                    <a:pt x="3517372" y="2203982"/>
                    <a:pt x="3615618" y="2130808"/>
                    <a:pt x="3713863" y="2130808"/>
                  </a:cubicBezTo>
                  <a:close/>
                  <a:moveTo>
                    <a:pt x="904368" y="1223432"/>
                  </a:moveTo>
                  <a:cubicBezTo>
                    <a:pt x="904368" y="1223432"/>
                    <a:pt x="904368" y="1223432"/>
                    <a:pt x="1609930" y="1223432"/>
                  </a:cubicBezTo>
                  <a:cubicBezTo>
                    <a:pt x="1731578" y="1223432"/>
                    <a:pt x="1804567" y="1296733"/>
                    <a:pt x="1804567" y="1394467"/>
                  </a:cubicBezTo>
                  <a:cubicBezTo>
                    <a:pt x="1804567" y="1394467"/>
                    <a:pt x="1804567" y="1394467"/>
                    <a:pt x="1804567" y="3886683"/>
                  </a:cubicBezTo>
                  <a:cubicBezTo>
                    <a:pt x="1804567" y="3984417"/>
                    <a:pt x="1731578" y="4057717"/>
                    <a:pt x="1609930" y="4057717"/>
                  </a:cubicBezTo>
                  <a:cubicBezTo>
                    <a:pt x="1609930" y="4057717"/>
                    <a:pt x="1609930" y="4057717"/>
                    <a:pt x="904368" y="4057717"/>
                  </a:cubicBezTo>
                  <a:cubicBezTo>
                    <a:pt x="807049" y="4057717"/>
                    <a:pt x="734060" y="3984417"/>
                    <a:pt x="734060" y="3886683"/>
                  </a:cubicBezTo>
                  <a:cubicBezTo>
                    <a:pt x="734060" y="3886683"/>
                    <a:pt x="734060" y="3886683"/>
                    <a:pt x="734060" y="1394467"/>
                  </a:cubicBezTo>
                  <a:cubicBezTo>
                    <a:pt x="734060" y="1296733"/>
                    <a:pt x="807049" y="1223432"/>
                    <a:pt x="904368" y="1223432"/>
                  </a:cubicBezTo>
                  <a:close/>
                  <a:moveTo>
                    <a:pt x="2325453" y="316050"/>
                  </a:moveTo>
                  <a:cubicBezTo>
                    <a:pt x="2325453" y="316050"/>
                    <a:pt x="2325453" y="316050"/>
                    <a:pt x="3031014" y="316050"/>
                  </a:cubicBezTo>
                  <a:cubicBezTo>
                    <a:pt x="3128333" y="316050"/>
                    <a:pt x="3201322" y="389416"/>
                    <a:pt x="3201322" y="487238"/>
                  </a:cubicBezTo>
                  <a:cubicBezTo>
                    <a:pt x="3201322" y="487238"/>
                    <a:pt x="3201322" y="487238"/>
                    <a:pt x="3201322" y="3886530"/>
                  </a:cubicBezTo>
                  <a:cubicBezTo>
                    <a:pt x="3201322" y="3984351"/>
                    <a:pt x="3128333" y="4057717"/>
                    <a:pt x="3031014" y="4057717"/>
                  </a:cubicBezTo>
                  <a:cubicBezTo>
                    <a:pt x="3031014" y="4057717"/>
                    <a:pt x="3031014" y="4057717"/>
                    <a:pt x="2325453" y="4057717"/>
                  </a:cubicBezTo>
                  <a:cubicBezTo>
                    <a:pt x="2203804" y="4057717"/>
                    <a:pt x="2130815" y="3984351"/>
                    <a:pt x="2130815" y="3886530"/>
                  </a:cubicBezTo>
                  <a:cubicBezTo>
                    <a:pt x="2130815" y="3886530"/>
                    <a:pt x="2130815" y="3886530"/>
                    <a:pt x="2130815" y="487238"/>
                  </a:cubicBezTo>
                  <a:cubicBezTo>
                    <a:pt x="2130815" y="389416"/>
                    <a:pt x="2203804" y="316050"/>
                    <a:pt x="2325453" y="316050"/>
                  </a:cubicBezTo>
                  <a:close/>
                  <a:moveTo>
                    <a:pt x="269155" y="0"/>
                  </a:moveTo>
                  <a:cubicBezTo>
                    <a:pt x="415967" y="0"/>
                    <a:pt x="538311" y="122239"/>
                    <a:pt x="538311" y="268927"/>
                  </a:cubicBezTo>
                  <a:cubicBezTo>
                    <a:pt x="538311" y="268927"/>
                    <a:pt x="538311" y="268927"/>
                    <a:pt x="538311" y="4253925"/>
                  </a:cubicBezTo>
                  <a:cubicBezTo>
                    <a:pt x="538311" y="4253925"/>
                    <a:pt x="538311" y="4253925"/>
                    <a:pt x="4624575" y="4253925"/>
                  </a:cubicBezTo>
                  <a:cubicBezTo>
                    <a:pt x="4771387" y="4253925"/>
                    <a:pt x="4893730" y="4376164"/>
                    <a:pt x="4893730" y="4522851"/>
                  </a:cubicBezTo>
                  <a:cubicBezTo>
                    <a:pt x="4893730" y="4669538"/>
                    <a:pt x="4771387" y="4791777"/>
                    <a:pt x="4624575" y="4791777"/>
                  </a:cubicBezTo>
                  <a:cubicBezTo>
                    <a:pt x="4624575" y="4791777"/>
                    <a:pt x="4624575" y="4791777"/>
                    <a:pt x="269155" y="4791777"/>
                  </a:cubicBezTo>
                  <a:cubicBezTo>
                    <a:pt x="122344" y="4791777"/>
                    <a:pt x="0" y="4669538"/>
                    <a:pt x="0" y="4522851"/>
                  </a:cubicBezTo>
                  <a:cubicBezTo>
                    <a:pt x="0" y="4522851"/>
                    <a:pt x="0" y="4522851"/>
                    <a:pt x="0" y="268927"/>
                  </a:cubicBezTo>
                  <a:cubicBezTo>
                    <a:pt x="0" y="122239"/>
                    <a:pt x="122344" y="0"/>
                    <a:pt x="269155"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37148" tIns="109719" rIns="137148" bIns="109719"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699261"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9" name="Rectangle 88"/>
            <p:cNvSpPr/>
            <p:nvPr/>
          </p:nvSpPr>
          <p:spPr bwMode="auto">
            <a:xfrm rot="2745734">
              <a:off x="279530" y="1141266"/>
              <a:ext cx="1260714" cy="1255193"/>
            </a:xfrm>
            <a:prstGeom prst="rect">
              <a:avLst/>
            </a:prstGeom>
            <a:solidFill>
              <a:schemeClr val="tx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0" name="Rectangle 89"/>
            <p:cNvSpPr/>
            <p:nvPr/>
          </p:nvSpPr>
          <p:spPr bwMode="auto">
            <a:xfrm rot="2745734">
              <a:off x="292433" y="3819160"/>
              <a:ext cx="1610349" cy="1235003"/>
            </a:xfrm>
            <a:prstGeom prst="rect">
              <a:avLst/>
            </a:prstGeom>
            <a:solidFill>
              <a:schemeClr val="tx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2" name="Rectangle 91"/>
            <p:cNvSpPr/>
            <p:nvPr/>
          </p:nvSpPr>
          <p:spPr bwMode="auto">
            <a:xfrm rot="2745734">
              <a:off x="1315610" y="4915701"/>
              <a:ext cx="1263370" cy="1255989"/>
            </a:xfrm>
            <a:prstGeom prst="rect">
              <a:avLst/>
            </a:prstGeom>
            <a:solidFill>
              <a:schemeClr val="tx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40" name="TextBox 39"/>
          <p:cNvSpPr txBox="1"/>
          <p:nvPr/>
        </p:nvSpPr>
        <p:spPr>
          <a:xfrm>
            <a:off x="3" y="51415"/>
            <a:ext cx="2849058" cy="430887"/>
          </a:xfrm>
          <a:prstGeom prst="rect">
            <a:avLst/>
          </a:prstGeom>
        </p:spPr>
        <p:txBody>
          <a:bodyPr wrap="square">
            <a:spAutoFit/>
          </a:bodyPr>
          <a:lstStyle>
            <a:defPPr>
              <a:defRPr lang="en-US"/>
            </a:defPPr>
            <a:lvl1pPr defTabSz="914192">
              <a:defRPr sz="2800" b="1" spc="-100">
                <a:ln w="3175">
                  <a:noFill/>
                </a:ln>
                <a:solidFill>
                  <a:srgbClr val="F2C812"/>
                </a:solidFill>
                <a:latin typeface="Segoe UI" panose="020B0502040204020203" pitchFamily="34" charset="0"/>
                <a:ea typeface="ＭＳ Ｐゴシック" charset="0"/>
                <a:cs typeface="Segoe UI" panose="020B0502040204020203" pitchFamily="34" charset="0"/>
              </a:defRPr>
            </a:lvl1pPr>
          </a:lstStyle>
          <a:p>
            <a:pPr marL="0" marR="0" lvl="0" indent="0" algn="l" defTabSz="914192" rtl="0" eaLnBrk="1" fontAlgn="auto" latinLnBrk="0" hangingPunct="1">
              <a:lnSpc>
                <a:spcPct val="100000"/>
              </a:lnSpc>
              <a:spcBef>
                <a:spcPts val="0"/>
              </a:spcBef>
              <a:spcAft>
                <a:spcPts val="0"/>
              </a:spcAft>
              <a:buClrTx/>
              <a:buSzTx/>
              <a:buFontTx/>
              <a:buNone/>
              <a:tabLst/>
              <a:defRPr/>
            </a:pPr>
            <a:r>
              <a:rPr kumimoji="0" lang="en-US" sz="2200" b="1" i="0" u="none" strike="noStrike" kern="1200" cap="none" spc="-100" normalizeH="0" baseline="0" noProof="0">
                <a:ln w="3175">
                  <a:noFill/>
                </a:ln>
                <a:solidFill>
                  <a:srgbClr val="F2C812"/>
                </a:solidFill>
                <a:effectLst/>
                <a:uLnTx/>
                <a:uFillTx/>
                <a:latin typeface="Segoe UI Light"/>
                <a:ea typeface="ＭＳ Ｐゴシック" charset="0"/>
                <a:cs typeface="Segoe UI" panose="020B0502040204020203" pitchFamily="34" charset="0"/>
              </a:rPr>
              <a:t>Power BI Desktop</a:t>
            </a:r>
          </a:p>
        </p:txBody>
      </p:sp>
      <p:sp>
        <p:nvSpPr>
          <p:cNvPr id="41" name="Rectangle 40"/>
          <p:cNvSpPr/>
          <p:nvPr/>
        </p:nvSpPr>
        <p:spPr bwMode="auto">
          <a:xfrm rot="2745734">
            <a:off x="825067" y="3494250"/>
            <a:ext cx="1260714" cy="370170"/>
          </a:xfrm>
          <a:prstGeom prst="rect">
            <a:avLst/>
          </a:prstGeom>
          <a:solidFill>
            <a:schemeClr val="tx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5" name="Picture 4"/>
          <p:cNvPicPr>
            <a:picLocks noChangeAspect="1"/>
          </p:cNvPicPr>
          <p:nvPr/>
        </p:nvPicPr>
        <p:blipFill>
          <a:blip r:embed="rId3"/>
          <a:stretch>
            <a:fillRect/>
          </a:stretch>
        </p:blipFill>
        <p:spPr>
          <a:xfrm>
            <a:off x="4238540" y="1471769"/>
            <a:ext cx="6523200" cy="4820636"/>
          </a:xfrm>
          <a:prstGeom prst="rect">
            <a:avLst/>
          </a:prstGeom>
          <a:ln>
            <a:noFill/>
          </a:ln>
          <a:effectLst>
            <a:outerShdw blurRad="190500" algn="tl" rotWithShape="0">
              <a:srgbClr val="000000">
                <a:alpha val="70000"/>
              </a:srgbClr>
            </a:outerShdw>
          </a:effectLst>
        </p:spPr>
      </p:pic>
      <p:sp>
        <p:nvSpPr>
          <p:cNvPr id="3" name="TextBox 2"/>
          <p:cNvSpPr txBox="1"/>
          <p:nvPr/>
        </p:nvSpPr>
        <p:spPr>
          <a:xfrm>
            <a:off x="8601550" y="4436224"/>
            <a:ext cx="1508848" cy="2116800"/>
          </a:xfrm>
          <a:prstGeom prst="rect">
            <a:avLst/>
          </a:prstGeom>
          <a:solidFill>
            <a:schemeClr val="tx1">
              <a:lumMod val="65000"/>
              <a:lumOff val="35000"/>
            </a:schemeClr>
          </a:solid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600" b="1"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rPr>
              <a:t>BAR</a:t>
            </a:r>
          </a:p>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1"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rPr>
              <a:t>- Regular</a:t>
            </a:r>
          </a:p>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1"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rPr>
              <a:t>- Clustered</a:t>
            </a:r>
          </a:p>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1"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rPr>
              <a:t>- Stacked</a:t>
            </a:r>
          </a:p>
          <a:p>
            <a:pPr marL="0" marR="0" lvl="0" indent="0" algn="l" defTabSz="914400" rtl="0" eaLnBrk="1" fontAlgn="auto" latinLnBrk="0" hangingPunct="1">
              <a:lnSpc>
                <a:spcPct val="90000"/>
              </a:lnSpc>
              <a:spcBef>
                <a:spcPts val="0"/>
              </a:spcBef>
              <a:spcAft>
                <a:spcPts val="600"/>
              </a:spcAft>
              <a:buClrTx/>
              <a:buSzTx/>
              <a:buFontTx/>
              <a:buNone/>
              <a:tabLst/>
              <a:defRPr/>
            </a:pPr>
            <a:endParaRPr kumimoji="0" lang="en-US" sz="1200" b="1"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endParaRPr>
          </a:p>
          <a:p>
            <a:pPr marL="0" marR="0" lvl="0" indent="0" algn="l" defTabSz="914400" rtl="0" eaLnBrk="1" fontAlgn="auto" latinLnBrk="0" hangingPunct="1">
              <a:lnSpc>
                <a:spcPct val="90000"/>
              </a:lnSpc>
              <a:spcBef>
                <a:spcPts val="0"/>
              </a:spcBef>
              <a:spcAft>
                <a:spcPts val="600"/>
              </a:spcAft>
              <a:buClrTx/>
              <a:buSzTx/>
              <a:buFontTx/>
              <a:buNone/>
              <a:tabLst/>
              <a:defRPr/>
            </a:pPr>
            <a:endParaRPr kumimoji="0" lang="en-US" sz="1200" b="1"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endParaRPr>
          </a:p>
          <a:p>
            <a:pPr marL="0" marR="0" lvl="0" indent="0" algn="l" defTabSz="914400" rtl="0" eaLnBrk="1" fontAlgn="auto" latinLnBrk="0" hangingPunct="1">
              <a:lnSpc>
                <a:spcPct val="90000"/>
              </a:lnSpc>
              <a:spcBef>
                <a:spcPts val="0"/>
              </a:spcBef>
              <a:spcAft>
                <a:spcPts val="600"/>
              </a:spcAft>
              <a:buClrTx/>
              <a:buSzTx/>
              <a:buFontTx/>
              <a:buNone/>
              <a:tabLst/>
              <a:defRPr/>
            </a:pPr>
            <a:endParaRPr kumimoji="0" lang="en-US" sz="1400" b="1"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endParaRPr>
          </a:p>
        </p:txBody>
      </p:sp>
      <p:pic>
        <p:nvPicPr>
          <p:cNvPr id="42" name="Picture 41"/>
          <p:cNvPicPr>
            <a:picLocks noChangeAspect="1"/>
          </p:cNvPicPr>
          <p:nvPr/>
        </p:nvPicPr>
        <p:blipFill>
          <a:blip r:embed="rId3">
            <a:duotone>
              <a:prstClr val="black"/>
              <a:schemeClr val="tx2">
                <a:tint val="45000"/>
                <a:satMod val="400000"/>
              </a:schemeClr>
            </a:duotone>
          </a:blip>
          <a:stretch>
            <a:fillRect/>
          </a:stretch>
        </p:blipFill>
        <p:spPr>
          <a:xfrm>
            <a:off x="8913288" y="5617590"/>
            <a:ext cx="974031" cy="763483"/>
          </a:xfrm>
          <a:prstGeom prst="rect">
            <a:avLst/>
          </a:prstGeom>
          <a:ln>
            <a:noFill/>
          </a:ln>
          <a:effectLst>
            <a:outerShdw blurRad="190500" algn="tl" rotWithShape="0">
              <a:srgbClr val="000000">
                <a:alpha val="70000"/>
              </a:srgbClr>
            </a:outerShdw>
          </a:effectLst>
        </p:spPr>
      </p:pic>
      <p:sp>
        <p:nvSpPr>
          <p:cNvPr id="45" name="TextBox 44"/>
          <p:cNvSpPr txBox="1"/>
          <p:nvPr/>
        </p:nvSpPr>
        <p:spPr>
          <a:xfrm>
            <a:off x="10012119" y="4436224"/>
            <a:ext cx="1956852" cy="2125197"/>
          </a:xfrm>
          <a:prstGeom prst="rect">
            <a:avLst/>
          </a:prstGeom>
          <a:solidFill>
            <a:schemeClr val="tx1">
              <a:lumMod val="65000"/>
              <a:lumOff val="35000"/>
            </a:schemeClr>
          </a:solidFill>
        </p:spPr>
        <p:txBody>
          <a:bodyPr wrap="square" lIns="182880" tIns="146304" rIns="182880" bIns="146304" rtlCol="0">
            <a:spAutoFit/>
          </a:bodyPr>
          <a:lstStyle/>
          <a:p>
            <a:pPr marL="0" marR="0" lvl="0" indent="0" algn="just" defTabSz="914400" rtl="0" eaLnBrk="1" fontAlgn="auto" latinLnBrk="0" hangingPunct="1">
              <a:lnSpc>
                <a:spcPct val="90000"/>
              </a:lnSpc>
              <a:spcBef>
                <a:spcPts val="0"/>
              </a:spcBef>
              <a:spcAft>
                <a:spcPts val="600"/>
              </a:spcAft>
              <a:buClrTx/>
              <a:buSzTx/>
              <a:buFontTx/>
              <a:buNone/>
              <a:tabLst/>
              <a:defRPr/>
            </a:pPr>
            <a:r>
              <a:rPr kumimoji="0" lang="en-US" sz="1100" b="0"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rPr>
              <a:t>- Use a bar chart to show the values of several items at a single point in time</a:t>
            </a:r>
          </a:p>
          <a:p>
            <a:pPr marL="0" marR="0" lvl="0" indent="0" algn="just" defTabSz="914400" rtl="0" eaLnBrk="1" fontAlgn="auto" latinLnBrk="0" hangingPunct="1">
              <a:lnSpc>
                <a:spcPct val="90000"/>
              </a:lnSpc>
              <a:spcBef>
                <a:spcPts val="0"/>
              </a:spcBef>
              <a:spcAft>
                <a:spcPts val="600"/>
              </a:spcAft>
              <a:buClrTx/>
              <a:buSzTx/>
              <a:buFontTx/>
              <a:buNone/>
              <a:tabLst/>
              <a:defRPr/>
            </a:pPr>
            <a:r>
              <a:rPr kumimoji="0" lang="en-US" sz="1100" b="0"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rPr>
              <a:t>- The horizontal format makes it easier to compare the values than a column chart</a:t>
            </a:r>
          </a:p>
          <a:p>
            <a:pPr marL="0" marR="0" lvl="0" indent="0" algn="just" defTabSz="914400" rtl="0" eaLnBrk="1" fontAlgn="auto" latinLnBrk="0" hangingPunct="1">
              <a:lnSpc>
                <a:spcPct val="90000"/>
              </a:lnSpc>
              <a:spcBef>
                <a:spcPts val="0"/>
              </a:spcBef>
              <a:spcAft>
                <a:spcPts val="600"/>
              </a:spcAft>
              <a:buClrTx/>
              <a:buSzTx/>
              <a:buFontTx/>
              <a:buNone/>
              <a:tabLst/>
              <a:defRPr/>
            </a:pPr>
            <a:r>
              <a:rPr kumimoji="0" lang="en-US" sz="1100" b="0"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rPr>
              <a:t>- Bar charts are good when you have a long series of labels</a:t>
            </a:r>
            <a:endParaRPr kumimoji="0" lang="en-US" sz="1400" b="1"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endParaRPr>
          </a:p>
        </p:txBody>
      </p:sp>
    </p:spTree>
    <p:extLst>
      <p:ext uri="{BB962C8B-B14F-4D97-AF65-F5344CB8AC3E}">
        <p14:creationId xmlns:p14="http://schemas.microsoft.com/office/powerpoint/2010/main" val="29104228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solidFill>
            <a:schemeClr val="bg1"/>
          </a:solidFill>
        </p:spPr>
        <p:txBody>
          <a:bodyPr/>
          <a:lstStyle/>
          <a:p>
            <a:r>
              <a:rPr lang="pt-PT">
                <a:solidFill>
                  <a:schemeClr val="tx1"/>
                </a:solidFill>
              </a:rPr>
              <a:t>Visualisations - </a:t>
            </a:r>
            <a:r>
              <a:rPr lang="en-US" sz="3600">
                <a:solidFill>
                  <a:schemeClr val="tx1"/>
                </a:solidFill>
              </a:rPr>
              <a:t>Clustered Column Chart</a:t>
            </a:r>
          </a:p>
        </p:txBody>
      </p:sp>
      <p:grpSp>
        <p:nvGrpSpPr>
          <p:cNvPr id="52" name="Group 51"/>
          <p:cNvGrpSpPr/>
          <p:nvPr/>
        </p:nvGrpSpPr>
        <p:grpSpPr>
          <a:xfrm>
            <a:off x="2" y="1"/>
            <a:ext cx="2849058" cy="6858000"/>
            <a:chOff x="2" y="1"/>
            <a:chExt cx="2849058" cy="6858000"/>
          </a:xfrm>
        </p:grpSpPr>
        <p:sp>
          <p:nvSpPr>
            <p:cNvPr id="71" name="Rectangle 70"/>
            <p:cNvSpPr/>
            <p:nvPr/>
          </p:nvSpPr>
          <p:spPr bwMode="auto">
            <a:xfrm>
              <a:off x="2" y="1"/>
              <a:ext cx="2849058"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3" name="Oval 70"/>
            <p:cNvSpPr/>
            <p:nvPr/>
          </p:nvSpPr>
          <p:spPr>
            <a:xfrm>
              <a:off x="1413521" y="4951537"/>
              <a:ext cx="1119626" cy="1119626"/>
            </a:xfrm>
            <a:prstGeom prst="ellipse">
              <a:avLst/>
            </a:prstGeom>
            <a:solidFill>
              <a:srgbClr val="F2C812"/>
            </a:solidFill>
            <a:ln w="3175" cap="flat" cmpd="sng" algn="ctr">
              <a:noFill/>
              <a:prstDash val="solid"/>
            </a:ln>
            <a:effectLst/>
          </p:spPr>
          <p:txBody>
            <a:bodyPr vert="horz" wrap="none" lIns="0" tIns="45720" rIns="0" bIns="0" rtlCol="0" anchor="t"/>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Segoe UI"/>
                  <a:ea typeface="Segoe UI" pitchFamily="34" charset="0"/>
                  <a:cs typeface="Segoe UI" pitchFamily="34" charset="0"/>
                </a:rPr>
                <a:t>Share &amp;</a:t>
              </a:r>
            </a:p>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Segoe UI"/>
                  <a:ea typeface="Segoe UI" pitchFamily="34" charset="0"/>
                  <a:cs typeface="Segoe UI" pitchFamily="34" charset="0"/>
                </a:rPr>
                <a:t>collaborate </a:t>
              </a:r>
            </a:p>
          </p:txBody>
        </p:sp>
        <p:grpSp>
          <p:nvGrpSpPr>
            <p:cNvPr id="76" name="Group 38"/>
            <p:cNvGrpSpPr>
              <a:grpSpLocks noChangeAspect="1"/>
            </p:cNvGrpSpPr>
            <p:nvPr/>
          </p:nvGrpSpPr>
          <p:grpSpPr>
            <a:xfrm>
              <a:off x="676996" y="3930692"/>
              <a:ext cx="383905" cy="351536"/>
              <a:chOff x="4363684" y="5330386"/>
              <a:chExt cx="1409956" cy="1291077"/>
            </a:xfrm>
            <a:solidFill>
              <a:srgbClr val="217346"/>
            </a:solidFill>
          </p:grpSpPr>
          <p:sp>
            <p:nvSpPr>
              <p:cNvPr id="102" name="Donut 3"/>
              <p:cNvSpPr/>
              <p:nvPr/>
            </p:nvSpPr>
            <p:spPr bwMode="auto">
              <a:xfrm>
                <a:off x="4363684" y="5330386"/>
                <a:ext cx="1409956" cy="1291077"/>
              </a:xfrm>
              <a:custGeom>
                <a:avLst/>
                <a:gdLst/>
                <a:ahLst/>
                <a:cxnLst/>
                <a:rect l="l" t="t" r="r" b="b"/>
                <a:pathLst>
                  <a:path w="1409956" h="1291077">
                    <a:moveTo>
                      <a:pt x="956401" y="78410"/>
                    </a:moveTo>
                    <a:cubicBezTo>
                      <a:pt x="747518" y="78410"/>
                      <a:pt x="578184" y="247744"/>
                      <a:pt x="578184" y="456627"/>
                    </a:cubicBezTo>
                    <a:cubicBezTo>
                      <a:pt x="578184" y="665510"/>
                      <a:pt x="747518" y="834844"/>
                      <a:pt x="956401" y="834844"/>
                    </a:cubicBezTo>
                    <a:cubicBezTo>
                      <a:pt x="1165284" y="834844"/>
                      <a:pt x="1334618" y="665510"/>
                      <a:pt x="1334618" y="456627"/>
                    </a:cubicBezTo>
                    <a:cubicBezTo>
                      <a:pt x="1334618" y="247744"/>
                      <a:pt x="1165284" y="78410"/>
                      <a:pt x="956401" y="78410"/>
                    </a:cubicBezTo>
                    <a:close/>
                    <a:moveTo>
                      <a:pt x="952756" y="0"/>
                    </a:moveTo>
                    <a:cubicBezTo>
                      <a:pt x="1205261" y="0"/>
                      <a:pt x="1409956" y="204695"/>
                      <a:pt x="1409956" y="457200"/>
                    </a:cubicBezTo>
                    <a:cubicBezTo>
                      <a:pt x="1409956" y="709705"/>
                      <a:pt x="1205261" y="914400"/>
                      <a:pt x="952756" y="914400"/>
                    </a:cubicBezTo>
                    <a:cubicBezTo>
                      <a:pt x="862133" y="914400"/>
                      <a:pt x="777669" y="888034"/>
                      <a:pt x="707132" y="841746"/>
                    </a:cubicBezTo>
                    <a:lnTo>
                      <a:pt x="136495" y="1280102"/>
                    </a:lnTo>
                    <a:cubicBezTo>
                      <a:pt x="21896" y="1327168"/>
                      <a:pt x="-44029" y="1213730"/>
                      <a:pt x="33797" y="1113182"/>
                    </a:cubicBezTo>
                    <a:lnTo>
                      <a:pt x="568587" y="703518"/>
                    </a:lnTo>
                    <a:cubicBezTo>
                      <a:pt x="522087" y="632814"/>
                      <a:pt x="495556" y="548105"/>
                      <a:pt x="495556" y="457200"/>
                    </a:cubicBezTo>
                    <a:cubicBezTo>
                      <a:pt x="495556" y="204695"/>
                      <a:pt x="700251" y="0"/>
                      <a:pt x="952756" y="0"/>
                    </a:cubicBezTo>
                    <a:close/>
                  </a:path>
                </a:pathLst>
              </a:custGeom>
              <a:grpFill/>
              <a:ln>
                <a:solidFill>
                  <a:srgbClr val="21734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sp>
            <p:nvSpPr>
              <p:cNvPr id="103" name="Rectangle 4"/>
              <p:cNvSpPr/>
              <p:nvPr/>
            </p:nvSpPr>
            <p:spPr>
              <a:xfrm>
                <a:off x="5058389" y="5528247"/>
                <a:ext cx="490885" cy="490020"/>
              </a:xfrm>
              <a:custGeom>
                <a:avLst/>
                <a:gdLst/>
                <a:ahLst/>
                <a:cxnLst/>
                <a:rect l="l" t="t" r="r" b="b"/>
                <a:pathLst>
                  <a:path w="490885" h="490020">
                    <a:moveTo>
                      <a:pt x="240752" y="0"/>
                    </a:moveTo>
                    <a:cubicBezTo>
                      <a:pt x="253961" y="11844"/>
                      <a:pt x="293310" y="49692"/>
                      <a:pt x="337332" y="92439"/>
                    </a:cubicBezTo>
                    <a:lnTo>
                      <a:pt x="328342" y="81259"/>
                    </a:lnTo>
                    <a:cubicBezTo>
                      <a:pt x="356946" y="111282"/>
                      <a:pt x="377251" y="107167"/>
                      <a:pt x="382515" y="87941"/>
                    </a:cubicBezTo>
                    <a:cubicBezTo>
                      <a:pt x="383951" y="76921"/>
                      <a:pt x="384595" y="68732"/>
                      <a:pt x="396997" y="52239"/>
                    </a:cubicBezTo>
                    <a:cubicBezTo>
                      <a:pt x="420362" y="32084"/>
                      <a:pt x="442294" y="41736"/>
                      <a:pt x="454920" y="51330"/>
                    </a:cubicBezTo>
                    <a:cubicBezTo>
                      <a:pt x="467834" y="62761"/>
                      <a:pt x="477920" y="86882"/>
                      <a:pt x="460392" y="109714"/>
                    </a:cubicBezTo>
                    <a:cubicBezTo>
                      <a:pt x="451128" y="121912"/>
                      <a:pt x="437554" y="126838"/>
                      <a:pt x="425922" y="126505"/>
                    </a:cubicBezTo>
                    <a:cubicBezTo>
                      <a:pt x="424301" y="127609"/>
                      <a:pt x="382890" y="134974"/>
                      <a:pt x="427348" y="177672"/>
                    </a:cubicBezTo>
                    <a:lnTo>
                      <a:pt x="416886" y="169735"/>
                    </a:lnTo>
                    <a:cubicBezTo>
                      <a:pt x="450207" y="202177"/>
                      <a:pt x="478424" y="229744"/>
                      <a:pt x="490885" y="241900"/>
                    </a:cubicBezTo>
                    <a:lnTo>
                      <a:pt x="417150" y="317347"/>
                    </a:lnTo>
                    <a:cubicBezTo>
                      <a:pt x="417744" y="316535"/>
                      <a:pt x="418443" y="316123"/>
                      <a:pt x="419047" y="315822"/>
                    </a:cubicBezTo>
                    <a:cubicBezTo>
                      <a:pt x="389023" y="344426"/>
                      <a:pt x="393138" y="364731"/>
                      <a:pt x="412364" y="369995"/>
                    </a:cubicBezTo>
                    <a:cubicBezTo>
                      <a:pt x="423384" y="371431"/>
                      <a:pt x="431574" y="372075"/>
                      <a:pt x="448067" y="384477"/>
                    </a:cubicBezTo>
                    <a:cubicBezTo>
                      <a:pt x="468221" y="407842"/>
                      <a:pt x="458569" y="429774"/>
                      <a:pt x="448975" y="442400"/>
                    </a:cubicBezTo>
                    <a:cubicBezTo>
                      <a:pt x="437545" y="455314"/>
                      <a:pt x="413423" y="465400"/>
                      <a:pt x="390591" y="447872"/>
                    </a:cubicBezTo>
                    <a:cubicBezTo>
                      <a:pt x="378394" y="438608"/>
                      <a:pt x="373468" y="425034"/>
                      <a:pt x="373800" y="413402"/>
                    </a:cubicBezTo>
                    <a:cubicBezTo>
                      <a:pt x="372696" y="411781"/>
                      <a:pt x="365332" y="370370"/>
                      <a:pt x="322634" y="414828"/>
                    </a:cubicBezTo>
                    <a:lnTo>
                      <a:pt x="325243" y="411388"/>
                    </a:lnTo>
                    <a:lnTo>
                      <a:pt x="248395" y="490020"/>
                    </a:lnTo>
                    <a:cubicBezTo>
                      <a:pt x="208939" y="451897"/>
                      <a:pt x="199129" y="442073"/>
                      <a:pt x="174192" y="418236"/>
                    </a:cubicBezTo>
                    <a:cubicBezTo>
                      <a:pt x="145587" y="388212"/>
                      <a:pt x="125282" y="392327"/>
                      <a:pt x="120018" y="411553"/>
                    </a:cubicBezTo>
                    <a:cubicBezTo>
                      <a:pt x="118582" y="422573"/>
                      <a:pt x="117938" y="430763"/>
                      <a:pt x="105536" y="447256"/>
                    </a:cubicBezTo>
                    <a:cubicBezTo>
                      <a:pt x="82171" y="467410"/>
                      <a:pt x="60239" y="457758"/>
                      <a:pt x="47614" y="448164"/>
                    </a:cubicBezTo>
                    <a:cubicBezTo>
                      <a:pt x="34699" y="436734"/>
                      <a:pt x="24614" y="412612"/>
                      <a:pt x="42141" y="389780"/>
                    </a:cubicBezTo>
                    <a:cubicBezTo>
                      <a:pt x="51405" y="377583"/>
                      <a:pt x="64979" y="372657"/>
                      <a:pt x="76612" y="372989"/>
                    </a:cubicBezTo>
                    <a:cubicBezTo>
                      <a:pt x="78232" y="371886"/>
                      <a:pt x="119644" y="364521"/>
                      <a:pt x="75186" y="321823"/>
                    </a:cubicBezTo>
                    <a:cubicBezTo>
                      <a:pt x="58767" y="305402"/>
                      <a:pt x="23648" y="271235"/>
                      <a:pt x="0" y="248738"/>
                    </a:cubicBezTo>
                    <a:lnTo>
                      <a:pt x="77303" y="168146"/>
                    </a:lnTo>
                    <a:cubicBezTo>
                      <a:pt x="104269" y="140313"/>
                      <a:pt x="122130" y="156409"/>
                      <a:pt x="124388" y="175543"/>
                    </a:cubicBezTo>
                    <a:cubicBezTo>
                      <a:pt x="124457" y="182466"/>
                      <a:pt x="127106" y="193106"/>
                      <a:pt x="137575" y="203052"/>
                    </a:cubicBezTo>
                    <a:cubicBezTo>
                      <a:pt x="153931" y="220277"/>
                      <a:pt x="181252" y="217451"/>
                      <a:pt x="196721" y="201951"/>
                    </a:cubicBezTo>
                    <a:cubicBezTo>
                      <a:pt x="211961" y="185740"/>
                      <a:pt x="213057" y="157882"/>
                      <a:pt x="196146" y="142797"/>
                    </a:cubicBezTo>
                    <a:cubicBezTo>
                      <a:pt x="184301" y="132637"/>
                      <a:pt x="177155" y="131453"/>
                      <a:pt x="166513" y="129894"/>
                    </a:cubicBezTo>
                    <a:cubicBezTo>
                      <a:pt x="154522" y="129013"/>
                      <a:pt x="131185" y="112953"/>
                      <a:pt x="157905" y="85228"/>
                    </a:cubicBezTo>
                    <a:close/>
                  </a:path>
                </a:pathLst>
              </a:custGeom>
              <a:grpFill/>
              <a:ln>
                <a:solidFill>
                  <a:srgbClr val="21734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grpSp>
        <p:sp>
          <p:nvSpPr>
            <p:cNvPr id="77" name="Oval 47"/>
            <p:cNvSpPr/>
            <p:nvPr/>
          </p:nvSpPr>
          <p:spPr>
            <a:xfrm>
              <a:off x="388608" y="3710471"/>
              <a:ext cx="1119626" cy="1119626"/>
            </a:xfrm>
            <a:prstGeom prst="ellipse">
              <a:avLst/>
            </a:prstGeom>
            <a:solidFill>
              <a:srgbClr val="F2C812"/>
            </a:solidFill>
            <a:ln w="3175" cap="flat" cmpd="sng" algn="ctr">
              <a:noFill/>
              <a:prstDash val="solid"/>
            </a:ln>
            <a:effectLst/>
          </p:spPr>
          <p:txBody>
            <a:bodyPr vert="horz" wrap="none" lIns="0" tIns="45720" rIns="0" bIns="0" rtlCol="0" anchor="t"/>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Segoe UI"/>
                  <a:ea typeface="Segoe UI" pitchFamily="34" charset="0"/>
                  <a:cs typeface="Segoe UI" pitchFamily="34" charset="0"/>
                </a:rPr>
                <a:t>Report</a:t>
              </a:r>
            </a:p>
          </p:txBody>
        </p:sp>
        <p:sp>
          <p:nvSpPr>
            <p:cNvPr id="78" name="Oval 950"/>
            <p:cNvSpPr/>
            <p:nvPr/>
          </p:nvSpPr>
          <p:spPr>
            <a:xfrm>
              <a:off x="388608" y="1252295"/>
              <a:ext cx="1119626" cy="1119626"/>
            </a:xfrm>
            <a:prstGeom prst="ellipse">
              <a:avLst/>
            </a:prstGeom>
            <a:solidFill>
              <a:srgbClr val="F2C812"/>
            </a:solidFill>
            <a:ln w="3175" cap="flat" cmpd="sng" algn="ctr">
              <a:noFill/>
              <a:prstDash val="solid"/>
            </a:ln>
            <a:effectLst/>
          </p:spPr>
          <p:txBody>
            <a:bodyPr vert="horz" wrap="none" lIns="0" tIns="45720" rIns="0" bIns="0" rtlCol="0" anchor="t"/>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1" i="0" u="none" strike="noStrike" kern="1200" cap="none" spc="0" normalizeH="0" baseline="0" noProof="0">
                <a:ln>
                  <a:noFill/>
                </a:ln>
                <a:solidFill>
                  <a:srgbClr val="217346"/>
                </a:solidFill>
                <a:effectLst/>
                <a:uLnTx/>
                <a:uFillTx/>
                <a:latin typeface="Segoe UI"/>
                <a:ea typeface="Segoe UI" pitchFamily="34" charset="0"/>
                <a:cs typeface="Segoe UI" pitchFamily="34" charset="0"/>
              </a:endParaRPr>
            </a:p>
          </p:txBody>
        </p:sp>
        <p:grpSp>
          <p:nvGrpSpPr>
            <p:cNvPr id="79" name="Group 78"/>
            <p:cNvGrpSpPr/>
            <p:nvPr/>
          </p:nvGrpSpPr>
          <p:grpSpPr>
            <a:xfrm>
              <a:off x="1264851" y="3482890"/>
              <a:ext cx="292254" cy="354906"/>
              <a:chOff x="1296521" y="3253388"/>
              <a:chExt cx="292254" cy="354906"/>
            </a:xfrm>
            <a:solidFill>
              <a:srgbClr val="F2C812"/>
            </a:solidFill>
          </p:grpSpPr>
          <p:sp>
            <p:nvSpPr>
              <p:cNvPr id="99" name="Isosceles Triangle 98"/>
              <p:cNvSpPr/>
              <p:nvPr/>
            </p:nvSpPr>
            <p:spPr bwMode="auto">
              <a:xfrm rot="13636515">
                <a:off x="1461362" y="328936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0" name="Isosceles Triangle 99"/>
              <p:cNvSpPr/>
              <p:nvPr/>
            </p:nvSpPr>
            <p:spPr bwMode="auto">
              <a:xfrm rot="13636515">
                <a:off x="1357669" y="338258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1" name="Isosceles Triangle 100"/>
              <p:cNvSpPr/>
              <p:nvPr/>
            </p:nvSpPr>
            <p:spPr bwMode="auto">
              <a:xfrm rot="13636515">
                <a:off x="1260548" y="3480882"/>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80" name="Group 79"/>
            <p:cNvGrpSpPr/>
            <p:nvPr/>
          </p:nvGrpSpPr>
          <p:grpSpPr>
            <a:xfrm rot="15940603">
              <a:off x="1334576" y="2204404"/>
              <a:ext cx="292254" cy="354906"/>
              <a:chOff x="1296521" y="3253388"/>
              <a:chExt cx="292254" cy="354906"/>
            </a:xfrm>
            <a:solidFill>
              <a:srgbClr val="F2C812"/>
            </a:solidFill>
          </p:grpSpPr>
          <p:sp>
            <p:nvSpPr>
              <p:cNvPr id="96" name="Isosceles Triangle 95"/>
              <p:cNvSpPr/>
              <p:nvPr/>
            </p:nvSpPr>
            <p:spPr bwMode="auto">
              <a:xfrm rot="13636515">
                <a:off x="1461362" y="328936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7" name="Isosceles Triangle 96"/>
              <p:cNvSpPr/>
              <p:nvPr/>
            </p:nvSpPr>
            <p:spPr bwMode="auto">
              <a:xfrm rot="13636515">
                <a:off x="1357669" y="338258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8" name="Isosceles Triangle 97"/>
              <p:cNvSpPr/>
              <p:nvPr/>
            </p:nvSpPr>
            <p:spPr bwMode="auto">
              <a:xfrm rot="13636515">
                <a:off x="1260548" y="3480882"/>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81" name="Group 80"/>
            <p:cNvGrpSpPr/>
            <p:nvPr/>
          </p:nvGrpSpPr>
          <p:grpSpPr>
            <a:xfrm rot="16043978">
              <a:off x="1317220" y="4717577"/>
              <a:ext cx="292254" cy="354906"/>
              <a:chOff x="1296521" y="3253388"/>
              <a:chExt cx="292254" cy="354906"/>
            </a:xfrm>
            <a:solidFill>
              <a:srgbClr val="F2C812"/>
            </a:solidFill>
          </p:grpSpPr>
          <p:sp>
            <p:nvSpPr>
              <p:cNvPr id="93" name="Isosceles Triangle 92"/>
              <p:cNvSpPr/>
              <p:nvPr/>
            </p:nvSpPr>
            <p:spPr bwMode="auto">
              <a:xfrm rot="13636515">
                <a:off x="1461362" y="328936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4" name="Isosceles Triangle 93"/>
              <p:cNvSpPr/>
              <p:nvPr/>
            </p:nvSpPr>
            <p:spPr bwMode="auto">
              <a:xfrm rot="13636515">
                <a:off x="1357669" y="338258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5" name="Isosceles Triangle 94"/>
              <p:cNvSpPr/>
              <p:nvPr/>
            </p:nvSpPr>
            <p:spPr bwMode="auto">
              <a:xfrm rot="13636515">
                <a:off x="1260548" y="3480882"/>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82" name="Oval 36"/>
            <p:cNvSpPr/>
            <p:nvPr/>
          </p:nvSpPr>
          <p:spPr>
            <a:xfrm>
              <a:off x="1413521" y="2481383"/>
              <a:ext cx="1119626" cy="1119626"/>
            </a:xfrm>
            <a:prstGeom prst="ellipse">
              <a:avLst/>
            </a:prstGeom>
            <a:solidFill>
              <a:srgbClr val="F2C812"/>
            </a:solidFill>
            <a:ln w="3175" cap="flat" cmpd="sng" algn="ctr">
              <a:noFill/>
              <a:prstDash val="solid"/>
            </a:ln>
            <a:effectLst/>
          </p:spPr>
          <p:txBody>
            <a:bodyPr vert="horz" wrap="none" lIns="0" tIns="0" rIns="0" bIns="0" rtlCol="0" anchor="t"/>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400" b="1" i="0" u="none" strike="noStrike" kern="1200" cap="none" spc="0" normalizeH="0" baseline="0" noProof="0">
                <a:ln>
                  <a:noFill/>
                </a:ln>
                <a:solidFill>
                  <a:srgbClr val="217346"/>
                </a:solidFill>
                <a:effectLst/>
                <a:uLnTx/>
                <a:uFillTx/>
                <a:latin typeface="Segoe UI"/>
                <a:ea typeface="Segoe UI" pitchFamily="34" charset="0"/>
                <a:cs typeface="Segoe UI" pitchFamily="34" charset="0"/>
              </a:endParaRPr>
            </a:p>
          </p:txBody>
        </p:sp>
        <p:sp>
          <p:nvSpPr>
            <p:cNvPr id="83" name="Donut 3"/>
            <p:cNvSpPr/>
            <p:nvPr/>
          </p:nvSpPr>
          <p:spPr bwMode="auto">
            <a:xfrm>
              <a:off x="1742065" y="3002355"/>
              <a:ext cx="383905" cy="351537"/>
            </a:xfrm>
            <a:custGeom>
              <a:avLst/>
              <a:gdLst/>
              <a:ahLst/>
              <a:cxnLst/>
              <a:rect l="l" t="t" r="r" b="b"/>
              <a:pathLst>
                <a:path w="1409956" h="1291077">
                  <a:moveTo>
                    <a:pt x="956401" y="78410"/>
                  </a:moveTo>
                  <a:cubicBezTo>
                    <a:pt x="747518" y="78410"/>
                    <a:pt x="578184" y="247744"/>
                    <a:pt x="578184" y="456627"/>
                  </a:cubicBezTo>
                  <a:cubicBezTo>
                    <a:pt x="578184" y="665510"/>
                    <a:pt x="747518" y="834844"/>
                    <a:pt x="956401" y="834844"/>
                  </a:cubicBezTo>
                  <a:cubicBezTo>
                    <a:pt x="1165284" y="834844"/>
                    <a:pt x="1334618" y="665510"/>
                    <a:pt x="1334618" y="456627"/>
                  </a:cubicBezTo>
                  <a:cubicBezTo>
                    <a:pt x="1334618" y="247744"/>
                    <a:pt x="1165284" y="78410"/>
                    <a:pt x="956401" y="78410"/>
                  </a:cubicBezTo>
                  <a:close/>
                  <a:moveTo>
                    <a:pt x="952756" y="0"/>
                  </a:moveTo>
                  <a:cubicBezTo>
                    <a:pt x="1205261" y="0"/>
                    <a:pt x="1409956" y="204695"/>
                    <a:pt x="1409956" y="457200"/>
                  </a:cubicBezTo>
                  <a:cubicBezTo>
                    <a:pt x="1409956" y="709705"/>
                    <a:pt x="1205261" y="914400"/>
                    <a:pt x="952756" y="914400"/>
                  </a:cubicBezTo>
                  <a:cubicBezTo>
                    <a:pt x="862133" y="914400"/>
                    <a:pt x="777669" y="888034"/>
                    <a:pt x="707132" y="841746"/>
                  </a:cubicBezTo>
                  <a:lnTo>
                    <a:pt x="136495" y="1280102"/>
                  </a:lnTo>
                  <a:cubicBezTo>
                    <a:pt x="21896" y="1327168"/>
                    <a:pt x="-44029" y="1213730"/>
                    <a:pt x="33797" y="1113182"/>
                  </a:cubicBezTo>
                  <a:lnTo>
                    <a:pt x="568587" y="703518"/>
                  </a:lnTo>
                  <a:cubicBezTo>
                    <a:pt x="522087" y="632814"/>
                    <a:pt x="495556" y="548105"/>
                    <a:pt x="495556" y="457200"/>
                  </a:cubicBezTo>
                  <a:cubicBezTo>
                    <a:pt x="495556" y="204695"/>
                    <a:pt x="700251" y="0"/>
                    <a:pt x="952756" y="0"/>
                  </a:cubicBezTo>
                  <a:close/>
                </a:path>
              </a:pathLst>
            </a:cu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sp>
          <p:nvSpPr>
            <p:cNvPr id="84" name="Rectangle 83"/>
            <p:cNvSpPr/>
            <p:nvPr/>
          </p:nvSpPr>
          <p:spPr>
            <a:xfrm>
              <a:off x="1600398" y="2677430"/>
              <a:ext cx="820353" cy="307777"/>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Segoe UI"/>
                  <a:ea typeface="Segoe UI" pitchFamily="34" charset="0"/>
                  <a:cs typeface="Segoe UI" pitchFamily="34" charset="0"/>
                </a:rPr>
                <a:t>Explore</a:t>
              </a:r>
              <a:endParaRPr kumimoji="0" lang="en-US" sz="1600" b="0" i="0" u="none" strike="noStrike" kern="1200" cap="none" spc="0" normalizeH="0" baseline="0" noProof="0">
                <a:ln>
                  <a:noFill/>
                </a:ln>
                <a:solidFill>
                  <a:srgbClr val="000000"/>
                </a:solidFill>
                <a:effectLst/>
                <a:uLnTx/>
                <a:uFillTx/>
                <a:latin typeface="Segoe UI"/>
                <a:ea typeface="+mn-ea"/>
                <a:cs typeface="+mn-cs"/>
              </a:endParaRPr>
            </a:p>
          </p:txBody>
        </p:sp>
        <p:sp>
          <p:nvSpPr>
            <p:cNvPr id="85" name="Rectangle 84"/>
            <p:cNvSpPr/>
            <p:nvPr/>
          </p:nvSpPr>
          <p:spPr>
            <a:xfrm>
              <a:off x="509174" y="1475232"/>
              <a:ext cx="838756" cy="307777"/>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Segoe UI"/>
                  <a:ea typeface="Segoe UI" pitchFamily="34" charset="0"/>
                  <a:cs typeface="Segoe UI" pitchFamily="34" charset="0"/>
                </a:rPr>
                <a:t>Prepare</a:t>
              </a: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86" name="Freeform 85"/>
            <p:cNvSpPr>
              <a:spLocks noChangeAspect="1"/>
            </p:cNvSpPr>
            <p:nvPr/>
          </p:nvSpPr>
          <p:spPr bwMode="black">
            <a:xfrm>
              <a:off x="1836174" y="5643069"/>
              <a:ext cx="274320" cy="284173"/>
            </a:xfrm>
            <a:custGeom>
              <a:avLst/>
              <a:gdLst>
                <a:gd name="T0" fmla="*/ 539 w 669"/>
                <a:gd name="T1" fmla="*/ 5 h 693"/>
                <a:gd name="T2" fmla="*/ 640 w 669"/>
                <a:gd name="T3" fmla="*/ 55 h 693"/>
                <a:gd name="T4" fmla="*/ 603 w 669"/>
                <a:gd name="T5" fmla="*/ 195 h 693"/>
                <a:gd name="T6" fmla="*/ 490 w 669"/>
                <a:gd name="T7" fmla="*/ 188 h 693"/>
                <a:gd name="T8" fmla="*/ 479 w 669"/>
                <a:gd name="T9" fmla="*/ 176 h 693"/>
                <a:gd name="T10" fmla="*/ 213 w 669"/>
                <a:gd name="T11" fmla="*/ 330 h 693"/>
                <a:gd name="T12" fmla="*/ 218 w 669"/>
                <a:gd name="T13" fmla="*/ 345 h 693"/>
                <a:gd name="T14" fmla="*/ 218 w 669"/>
                <a:gd name="T15" fmla="*/ 375 h 693"/>
                <a:gd name="T16" fmla="*/ 209 w 669"/>
                <a:gd name="T17" fmla="*/ 402 h 693"/>
                <a:gd name="T18" fmla="*/ 369 w 669"/>
                <a:gd name="T19" fmla="*/ 503 h 693"/>
                <a:gd name="T20" fmla="*/ 373 w 669"/>
                <a:gd name="T21" fmla="*/ 498 h 693"/>
                <a:gd name="T22" fmla="*/ 456 w 669"/>
                <a:gd name="T23" fmla="*/ 475 h 693"/>
                <a:gd name="T24" fmla="*/ 494 w 669"/>
                <a:gd name="T25" fmla="*/ 489 h 693"/>
                <a:gd name="T26" fmla="*/ 527 w 669"/>
                <a:gd name="T27" fmla="*/ 630 h 693"/>
                <a:gd name="T28" fmla="*/ 386 w 669"/>
                <a:gd name="T29" fmla="*/ 663 h 693"/>
                <a:gd name="T30" fmla="*/ 339 w 669"/>
                <a:gd name="T31" fmla="*/ 560 h 693"/>
                <a:gd name="T32" fmla="*/ 345 w 669"/>
                <a:gd name="T33" fmla="*/ 544 h 693"/>
                <a:gd name="T34" fmla="*/ 177 w 669"/>
                <a:gd name="T35" fmla="*/ 439 h 693"/>
                <a:gd name="T36" fmla="*/ 168 w 669"/>
                <a:gd name="T37" fmla="*/ 446 h 693"/>
                <a:gd name="T38" fmla="*/ 28 w 669"/>
                <a:gd name="T39" fmla="*/ 409 h 693"/>
                <a:gd name="T40" fmla="*/ 65 w 669"/>
                <a:gd name="T41" fmla="*/ 269 h 693"/>
                <a:gd name="T42" fmla="*/ 178 w 669"/>
                <a:gd name="T43" fmla="*/ 276 h 693"/>
                <a:gd name="T44" fmla="*/ 189 w 669"/>
                <a:gd name="T45" fmla="*/ 288 h 693"/>
                <a:gd name="T46" fmla="*/ 455 w 669"/>
                <a:gd name="T47" fmla="*/ 134 h 693"/>
                <a:gd name="T48" fmla="*/ 450 w 669"/>
                <a:gd name="T49" fmla="*/ 119 h 693"/>
                <a:gd name="T50" fmla="*/ 501 w 669"/>
                <a:gd name="T51" fmla="*/ 18 h 693"/>
                <a:gd name="T52" fmla="*/ 539 w 669"/>
                <a:gd name="T53" fmla="*/ 5 h 6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69" h="693">
                  <a:moveTo>
                    <a:pt x="539" y="5"/>
                  </a:moveTo>
                  <a:cubicBezTo>
                    <a:pt x="579" y="0"/>
                    <a:pt x="619" y="19"/>
                    <a:pt x="640" y="55"/>
                  </a:cubicBezTo>
                  <a:cubicBezTo>
                    <a:pt x="669" y="104"/>
                    <a:pt x="652" y="167"/>
                    <a:pt x="603" y="195"/>
                  </a:cubicBezTo>
                  <a:cubicBezTo>
                    <a:pt x="566" y="216"/>
                    <a:pt x="522" y="212"/>
                    <a:pt x="490" y="188"/>
                  </a:cubicBezTo>
                  <a:cubicBezTo>
                    <a:pt x="479" y="176"/>
                    <a:pt x="479" y="176"/>
                    <a:pt x="479" y="176"/>
                  </a:cubicBezTo>
                  <a:cubicBezTo>
                    <a:pt x="213" y="330"/>
                    <a:pt x="213" y="330"/>
                    <a:pt x="213" y="330"/>
                  </a:cubicBezTo>
                  <a:cubicBezTo>
                    <a:pt x="218" y="345"/>
                    <a:pt x="218" y="345"/>
                    <a:pt x="218" y="345"/>
                  </a:cubicBezTo>
                  <a:cubicBezTo>
                    <a:pt x="219" y="355"/>
                    <a:pt x="219" y="365"/>
                    <a:pt x="218" y="375"/>
                  </a:cubicBezTo>
                  <a:cubicBezTo>
                    <a:pt x="209" y="402"/>
                    <a:pt x="209" y="402"/>
                    <a:pt x="209" y="402"/>
                  </a:cubicBezTo>
                  <a:cubicBezTo>
                    <a:pt x="369" y="503"/>
                    <a:pt x="369" y="503"/>
                    <a:pt x="369" y="503"/>
                  </a:cubicBezTo>
                  <a:cubicBezTo>
                    <a:pt x="373" y="498"/>
                    <a:pt x="373" y="498"/>
                    <a:pt x="373" y="498"/>
                  </a:cubicBezTo>
                  <a:cubicBezTo>
                    <a:pt x="396" y="479"/>
                    <a:pt x="427" y="470"/>
                    <a:pt x="456" y="475"/>
                  </a:cubicBezTo>
                  <a:cubicBezTo>
                    <a:pt x="470" y="477"/>
                    <a:pt x="482" y="482"/>
                    <a:pt x="494" y="489"/>
                  </a:cubicBezTo>
                  <a:cubicBezTo>
                    <a:pt x="542" y="519"/>
                    <a:pt x="557" y="583"/>
                    <a:pt x="527" y="630"/>
                  </a:cubicBezTo>
                  <a:cubicBezTo>
                    <a:pt x="497" y="678"/>
                    <a:pt x="433" y="693"/>
                    <a:pt x="386" y="663"/>
                  </a:cubicBezTo>
                  <a:cubicBezTo>
                    <a:pt x="350" y="640"/>
                    <a:pt x="333" y="599"/>
                    <a:pt x="339" y="560"/>
                  </a:cubicBezTo>
                  <a:cubicBezTo>
                    <a:pt x="345" y="544"/>
                    <a:pt x="345" y="544"/>
                    <a:pt x="345" y="544"/>
                  </a:cubicBezTo>
                  <a:cubicBezTo>
                    <a:pt x="177" y="439"/>
                    <a:pt x="177" y="439"/>
                    <a:pt x="177" y="439"/>
                  </a:cubicBezTo>
                  <a:cubicBezTo>
                    <a:pt x="168" y="446"/>
                    <a:pt x="168" y="446"/>
                    <a:pt x="168" y="446"/>
                  </a:cubicBezTo>
                  <a:cubicBezTo>
                    <a:pt x="119" y="475"/>
                    <a:pt x="56" y="458"/>
                    <a:pt x="28" y="409"/>
                  </a:cubicBezTo>
                  <a:cubicBezTo>
                    <a:pt x="0" y="360"/>
                    <a:pt x="16" y="297"/>
                    <a:pt x="65" y="269"/>
                  </a:cubicBezTo>
                  <a:cubicBezTo>
                    <a:pt x="102" y="248"/>
                    <a:pt x="147" y="252"/>
                    <a:pt x="178" y="276"/>
                  </a:cubicBezTo>
                  <a:cubicBezTo>
                    <a:pt x="189" y="288"/>
                    <a:pt x="189" y="288"/>
                    <a:pt x="189" y="288"/>
                  </a:cubicBezTo>
                  <a:cubicBezTo>
                    <a:pt x="455" y="134"/>
                    <a:pt x="455" y="134"/>
                    <a:pt x="455" y="134"/>
                  </a:cubicBezTo>
                  <a:cubicBezTo>
                    <a:pt x="450" y="119"/>
                    <a:pt x="450" y="119"/>
                    <a:pt x="450" y="119"/>
                  </a:cubicBezTo>
                  <a:cubicBezTo>
                    <a:pt x="445" y="80"/>
                    <a:pt x="464" y="39"/>
                    <a:pt x="501" y="18"/>
                  </a:cubicBezTo>
                  <a:cubicBezTo>
                    <a:pt x="513" y="11"/>
                    <a:pt x="526" y="6"/>
                    <a:pt x="539" y="5"/>
                  </a:cubicBezTo>
                  <a:close/>
                </a:path>
              </a:pathLst>
            </a:custGeom>
            <a:solidFill>
              <a:schemeClr val="tx1"/>
            </a:solidFill>
            <a:ln>
              <a:noFill/>
            </a:ln>
          </p:spPr>
          <p:txBody>
            <a:bodyPr vert="horz" wrap="square" lIns="68574" tIns="34287" rIns="68574" bIns="34287"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0000"/>
                </a:solidFill>
                <a:effectLst/>
                <a:uLnTx/>
                <a:uFillTx/>
                <a:latin typeface="Segoe UI"/>
                <a:ea typeface="+mn-ea"/>
                <a:cs typeface="+mn-cs"/>
              </a:endParaRPr>
            </a:p>
          </p:txBody>
        </p:sp>
        <p:sp>
          <p:nvSpPr>
            <p:cNvPr id="87" name="Freeform 86"/>
            <p:cNvSpPr>
              <a:spLocks noChangeAspect="1" noEditPoints="1"/>
            </p:cNvSpPr>
            <p:nvPr/>
          </p:nvSpPr>
          <p:spPr bwMode="black">
            <a:xfrm>
              <a:off x="722320" y="1783009"/>
              <a:ext cx="452202" cy="366660"/>
            </a:xfrm>
            <a:custGeom>
              <a:avLst/>
              <a:gdLst>
                <a:gd name="T0" fmla="*/ 600 w 1107"/>
                <a:gd name="T1" fmla="*/ 625 h 897"/>
                <a:gd name="T2" fmla="*/ 649 w 1107"/>
                <a:gd name="T3" fmla="*/ 567 h 897"/>
                <a:gd name="T4" fmla="*/ 727 w 1107"/>
                <a:gd name="T5" fmla="*/ 482 h 897"/>
                <a:gd name="T6" fmla="*/ 601 w 1107"/>
                <a:gd name="T7" fmla="*/ 434 h 897"/>
                <a:gd name="T8" fmla="*/ 628 w 1107"/>
                <a:gd name="T9" fmla="*/ 305 h 897"/>
                <a:gd name="T10" fmla="*/ 547 w 1107"/>
                <a:gd name="T11" fmla="*/ 240 h 897"/>
                <a:gd name="T12" fmla="*/ 427 w 1107"/>
                <a:gd name="T13" fmla="*/ 287 h 897"/>
                <a:gd name="T14" fmla="*/ 368 w 1107"/>
                <a:gd name="T15" fmla="*/ 170 h 897"/>
                <a:gd name="T16" fmla="*/ 285 w 1107"/>
                <a:gd name="T17" fmla="*/ 263 h 897"/>
                <a:gd name="T18" fmla="*/ 241 w 1107"/>
                <a:gd name="T19" fmla="*/ 313 h 897"/>
                <a:gd name="T20" fmla="*/ 139 w 1107"/>
                <a:gd name="T21" fmla="*/ 281 h 897"/>
                <a:gd name="T22" fmla="*/ 79 w 1107"/>
                <a:gd name="T23" fmla="*/ 355 h 897"/>
                <a:gd name="T24" fmla="*/ 132 w 1107"/>
                <a:gd name="T25" fmla="*/ 446 h 897"/>
                <a:gd name="T26" fmla="*/ 83 w 1107"/>
                <a:gd name="T27" fmla="*/ 505 h 897"/>
                <a:gd name="T28" fmla="*/ 5 w 1107"/>
                <a:gd name="T29" fmla="*/ 590 h 897"/>
                <a:gd name="T30" fmla="*/ 132 w 1107"/>
                <a:gd name="T31" fmla="*/ 638 h 897"/>
                <a:gd name="T32" fmla="*/ 145 w 1107"/>
                <a:gd name="T33" fmla="*/ 669 h 897"/>
                <a:gd name="T34" fmla="*/ 110 w 1107"/>
                <a:gd name="T35" fmla="*/ 793 h 897"/>
                <a:gd name="T36" fmla="*/ 230 w 1107"/>
                <a:gd name="T37" fmla="*/ 781 h 897"/>
                <a:gd name="T38" fmla="*/ 306 w 1107"/>
                <a:gd name="T39" fmla="*/ 785 h 897"/>
                <a:gd name="T40" fmla="*/ 346 w 1107"/>
                <a:gd name="T41" fmla="*/ 878 h 897"/>
                <a:gd name="T42" fmla="*/ 440 w 1107"/>
                <a:gd name="T43" fmla="*/ 872 h 897"/>
                <a:gd name="T44" fmla="*/ 466 w 1107"/>
                <a:gd name="T45" fmla="*/ 764 h 897"/>
                <a:gd name="T46" fmla="*/ 539 w 1107"/>
                <a:gd name="T47" fmla="*/ 755 h 897"/>
                <a:gd name="T48" fmla="*/ 659 w 1107"/>
                <a:gd name="T49" fmla="*/ 743 h 897"/>
                <a:gd name="T50" fmla="*/ 263 w 1107"/>
                <a:gd name="T51" fmla="*/ 452 h 897"/>
                <a:gd name="T52" fmla="*/ 281 w 1107"/>
                <a:gd name="T53" fmla="*/ 633 h 897"/>
                <a:gd name="T54" fmla="*/ 1002 w 1107"/>
                <a:gd name="T55" fmla="*/ 332 h 897"/>
                <a:gd name="T56" fmla="*/ 1043 w 1107"/>
                <a:gd name="T57" fmla="*/ 304 h 897"/>
                <a:gd name="T58" fmla="*/ 1107 w 1107"/>
                <a:gd name="T59" fmla="*/ 266 h 897"/>
                <a:gd name="T60" fmla="*/ 1037 w 1107"/>
                <a:gd name="T61" fmla="*/ 213 h 897"/>
                <a:gd name="T62" fmla="*/ 1077 w 1107"/>
                <a:gd name="T63" fmla="*/ 138 h 897"/>
                <a:gd name="T64" fmla="*/ 1038 w 1107"/>
                <a:gd name="T65" fmla="*/ 83 h 897"/>
                <a:gd name="T66" fmla="*/ 956 w 1107"/>
                <a:gd name="T67" fmla="*/ 91 h 897"/>
                <a:gd name="T68" fmla="*/ 940 w 1107"/>
                <a:gd name="T69" fmla="*/ 7 h 897"/>
                <a:gd name="T70" fmla="*/ 872 w 1107"/>
                <a:gd name="T71" fmla="*/ 50 h 897"/>
                <a:gd name="T72" fmla="*/ 836 w 1107"/>
                <a:gd name="T73" fmla="*/ 74 h 897"/>
                <a:gd name="T74" fmla="*/ 778 w 1107"/>
                <a:gd name="T75" fmla="*/ 35 h 897"/>
                <a:gd name="T76" fmla="*/ 728 w 1107"/>
                <a:gd name="T77" fmla="*/ 70 h 897"/>
                <a:gd name="T78" fmla="*/ 744 w 1107"/>
                <a:gd name="T79" fmla="*/ 136 h 897"/>
                <a:gd name="T80" fmla="*/ 703 w 1107"/>
                <a:gd name="T81" fmla="*/ 164 h 897"/>
                <a:gd name="T82" fmla="*/ 640 w 1107"/>
                <a:gd name="T83" fmla="*/ 203 h 897"/>
                <a:gd name="T84" fmla="*/ 710 w 1107"/>
                <a:gd name="T85" fmla="*/ 255 h 897"/>
                <a:gd name="T86" fmla="*/ 712 w 1107"/>
                <a:gd name="T87" fmla="*/ 277 h 897"/>
                <a:gd name="T88" fmla="*/ 668 w 1107"/>
                <a:gd name="T89" fmla="*/ 347 h 897"/>
                <a:gd name="T90" fmla="*/ 745 w 1107"/>
                <a:gd name="T91" fmla="*/ 361 h 897"/>
                <a:gd name="T92" fmla="*/ 791 w 1107"/>
                <a:gd name="T93" fmla="*/ 377 h 897"/>
                <a:gd name="T94" fmla="*/ 799 w 1107"/>
                <a:gd name="T95" fmla="*/ 443 h 897"/>
                <a:gd name="T96" fmla="*/ 859 w 1107"/>
                <a:gd name="T97" fmla="*/ 456 h 897"/>
                <a:gd name="T98" fmla="*/ 894 w 1107"/>
                <a:gd name="T99" fmla="*/ 393 h 897"/>
                <a:gd name="T100" fmla="*/ 941 w 1107"/>
                <a:gd name="T101" fmla="*/ 401 h 897"/>
                <a:gd name="T102" fmla="*/ 1018 w 1107"/>
                <a:gd name="T103" fmla="*/ 415 h 897"/>
                <a:gd name="T104" fmla="*/ 825 w 1107"/>
                <a:gd name="T105" fmla="*/ 164 h 897"/>
                <a:gd name="T106" fmla="*/ 803 w 1107"/>
                <a:gd name="T107" fmla="*/ 279 h 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107" h="897">
                  <a:moveTo>
                    <a:pt x="654" y="716"/>
                  </a:moveTo>
                  <a:cubicBezTo>
                    <a:pt x="616" y="670"/>
                    <a:pt x="616" y="670"/>
                    <a:pt x="616" y="670"/>
                  </a:cubicBezTo>
                  <a:cubicBezTo>
                    <a:pt x="593" y="654"/>
                    <a:pt x="603" y="638"/>
                    <a:pt x="600" y="625"/>
                  </a:cubicBezTo>
                  <a:cubicBezTo>
                    <a:pt x="600" y="625"/>
                    <a:pt x="600" y="625"/>
                    <a:pt x="600" y="625"/>
                  </a:cubicBezTo>
                  <a:cubicBezTo>
                    <a:pt x="605" y="617"/>
                    <a:pt x="611" y="609"/>
                    <a:pt x="608" y="596"/>
                  </a:cubicBezTo>
                  <a:cubicBezTo>
                    <a:pt x="618" y="580"/>
                    <a:pt x="623" y="572"/>
                    <a:pt x="649" y="567"/>
                  </a:cubicBezTo>
                  <a:cubicBezTo>
                    <a:pt x="715" y="553"/>
                    <a:pt x="715" y="553"/>
                    <a:pt x="715" y="553"/>
                  </a:cubicBezTo>
                  <a:cubicBezTo>
                    <a:pt x="728" y="550"/>
                    <a:pt x="733" y="542"/>
                    <a:pt x="730" y="529"/>
                  </a:cubicBezTo>
                  <a:cubicBezTo>
                    <a:pt x="727" y="482"/>
                    <a:pt x="727" y="482"/>
                    <a:pt x="727" y="482"/>
                  </a:cubicBezTo>
                  <a:cubicBezTo>
                    <a:pt x="724" y="469"/>
                    <a:pt x="717" y="463"/>
                    <a:pt x="701" y="453"/>
                  </a:cubicBezTo>
                  <a:cubicBezTo>
                    <a:pt x="641" y="459"/>
                    <a:pt x="641" y="459"/>
                    <a:pt x="641" y="459"/>
                  </a:cubicBezTo>
                  <a:cubicBezTo>
                    <a:pt x="620" y="457"/>
                    <a:pt x="604" y="447"/>
                    <a:pt x="601" y="434"/>
                  </a:cubicBezTo>
                  <a:cubicBezTo>
                    <a:pt x="598" y="421"/>
                    <a:pt x="590" y="416"/>
                    <a:pt x="580" y="397"/>
                  </a:cubicBezTo>
                  <a:cubicBezTo>
                    <a:pt x="577" y="384"/>
                    <a:pt x="574" y="371"/>
                    <a:pt x="584" y="355"/>
                  </a:cubicBezTo>
                  <a:cubicBezTo>
                    <a:pt x="628" y="305"/>
                    <a:pt x="628" y="305"/>
                    <a:pt x="628" y="305"/>
                  </a:cubicBezTo>
                  <a:cubicBezTo>
                    <a:pt x="634" y="297"/>
                    <a:pt x="631" y="284"/>
                    <a:pt x="623" y="279"/>
                  </a:cubicBezTo>
                  <a:cubicBezTo>
                    <a:pt x="581" y="240"/>
                    <a:pt x="581" y="240"/>
                    <a:pt x="581" y="240"/>
                  </a:cubicBezTo>
                  <a:cubicBezTo>
                    <a:pt x="573" y="235"/>
                    <a:pt x="560" y="238"/>
                    <a:pt x="547" y="240"/>
                  </a:cubicBezTo>
                  <a:cubicBezTo>
                    <a:pt x="503" y="291"/>
                    <a:pt x="503" y="291"/>
                    <a:pt x="503" y="291"/>
                  </a:cubicBezTo>
                  <a:cubicBezTo>
                    <a:pt x="484" y="302"/>
                    <a:pt x="471" y="304"/>
                    <a:pt x="463" y="299"/>
                  </a:cubicBezTo>
                  <a:cubicBezTo>
                    <a:pt x="456" y="294"/>
                    <a:pt x="435" y="292"/>
                    <a:pt x="427" y="287"/>
                  </a:cubicBezTo>
                  <a:cubicBezTo>
                    <a:pt x="419" y="282"/>
                    <a:pt x="403" y="271"/>
                    <a:pt x="400" y="258"/>
                  </a:cubicBezTo>
                  <a:cubicBezTo>
                    <a:pt x="386" y="193"/>
                    <a:pt x="386" y="193"/>
                    <a:pt x="386" y="193"/>
                  </a:cubicBezTo>
                  <a:cubicBezTo>
                    <a:pt x="384" y="180"/>
                    <a:pt x="368" y="170"/>
                    <a:pt x="368" y="170"/>
                  </a:cubicBezTo>
                  <a:cubicBezTo>
                    <a:pt x="308" y="176"/>
                    <a:pt x="308" y="176"/>
                    <a:pt x="308" y="176"/>
                  </a:cubicBezTo>
                  <a:cubicBezTo>
                    <a:pt x="308" y="176"/>
                    <a:pt x="289" y="187"/>
                    <a:pt x="292" y="200"/>
                  </a:cubicBezTo>
                  <a:cubicBezTo>
                    <a:pt x="285" y="263"/>
                    <a:pt x="285" y="263"/>
                    <a:pt x="285" y="263"/>
                  </a:cubicBezTo>
                  <a:cubicBezTo>
                    <a:pt x="291" y="289"/>
                    <a:pt x="277" y="292"/>
                    <a:pt x="272" y="300"/>
                  </a:cubicBezTo>
                  <a:cubicBezTo>
                    <a:pt x="272" y="300"/>
                    <a:pt x="272" y="300"/>
                    <a:pt x="267" y="308"/>
                  </a:cubicBezTo>
                  <a:cubicBezTo>
                    <a:pt x="259" y="302"/>
                    <a:pt x="246" y="305"/>
                    <a:pt x="241" y="313"/>
                  </a:cubicBezTo>
                  <a:cubicBezTo>
                    <a:pt x="236" y="321"/>
                    <a:pt x="236" y="321"/>
                    <a:pt x="236" y="321"/>
                  </a:cubicBezTo>
                  <a:cubicBezTo>
                    <a:pt x="223" y="324"/>
                    <a:pt x="210" y="327"/>
                    <a:pt x="194" y="317"/>
                  </a:cubicBezTo>
                  <a:cubicBezTo>
                    <a:pt x="139" y="281"/>
                    <a:pt x="139" y="281"/>
                    <a:pt x="139" y="281"/>
                  </a:cubicBezTo>
                  <a:cubicBezTo>
                    <a:pt x="131" y="276"/>
                    <a:pt x="110" y="273"/>
                    <a:pt x="104" y="281"/>
                  </a:cubicBezTo>
                  <a:cubicBezTo>
                    <a:pt x="79" y="321"/>
                    <a:pt x="79" y="321"/>
                    <a:pt x="79" y="321"/>
                  </a:cubicBezTo>
                  <a:cubicBezTo>
                    <a:pt x="66" y="324"/>
                    <a:pt x="68" y="337"/>
                    <a:pt x="79" y="355"/>
                  </a:cubicBezTo>
                  <a:cubicBezTo>
                    <a:pt x="121" y="394"/>
                    <a:pt x="121" y="394"/>
                    <a:pt x="121" y="394"/>
                  </a:cubicBezTo>
                  <a:cubicBezTo>
                    <a:pt x="140" y="417"/>
                    <a:pt x="135" y="425"/>
                    <a:pt x="132" y="446"/>
                  </a:cubicBezTo>
                  <a:cubicBezTo>
                    <a:pt x="132" y="446"/>
                    <a:pt x="132" y="446"/>
                    <a:pt x="132" y="446"/>
                  </a:cubicBezTo>
                  <a:cubicBezTo>
                    <a:pt x="127" y="454"/>
                    <a:pt x="122" y="462"/>
                    <a:pt x="117" y="470"/>
                  </a:cubicBezTo>
                  <a:cubicBezTo>
                    <a:pt x="117" y="470"/>
                    <a:pt x="117" y="470"/>
                    <a:pt x="117" y="470"/>
                  </a:cubicBezTo>
                  <a:cubicBezTo>
                    <a:pt x="120" y="483"/>
                    <a:pt x="109" y="499"/>
                    <a:pt x="83" y="505"/>
                  </a:cubicBezTo>
                  <a:cubicBezTo>
                    <a:pt x="23" y="511"/>
                    <a:pt x="23" y="511"/>
                    <a:pt x="23" y="511"/>
                  </a:cubicBezTo>
                  <a:cubicBezTo>
                    <a:pt x="10" y="514"/>
                    <a:pt x="0" y="529"/>
                    <a:pt x="2" y="543"/>
                  </a:cubicBezTo>
                  <a:cubicBezTo>
                    <a:pt x="5" y="590"/>
                    <a:pt x="5" y="590"/>
                    <a:pt x="5" y="590"/>
                  </a:cubicBezTo>
                  <a:cubicBezTo>
                    <a:pt x="8" y="603"/>
                    <a:pt x="16" y="608"/>
                    <a:pt x="37" y="610"/>
                  </a:cubicBezTo>
                  <a:cubicBezTo>
                    <a:pt x="92" y="612"/>
                    <a:pt x="92" y="612"/>
                    <a:pt x="92" y="612"/>
                  </a:cubicBezTo>
                  <a:cubicBezTo>
                    <a:pt x="113" y="614"/>
                    <a:pt x="129" y="625"/>
                    <a:pt x="132" y="638"/>
                  </a:cubicBezTo>
                  <a:cubicBezTo>
                    <a:pt x="132" y="638"/>
                    <a:pt x="132" y="638"/>
                    <a:pt x="132" y="638"/>
                  </a:cubicBezTo>
                  <a:cubicBezTo>
                    <a:pt x="140" y="643"/>
                    <a:pt x="142" y="656"/>
                    <a:pt x="150" y="661"/>
                  </a:cubicBezTo>
                  <a:cubicBezTo>
                    <a:pt x="145" y="669"/>
                    <a:pt x="145" y="669"/>
                    <a:pt x="145" y="669"/>
                  </a:cubicBezTo>
                  <a:cubicBezTo>
                    <a:pt x="153" y="674"/>
                    <a:pt x="156" y="687"/>
                    <a:pt x="140" y="711"/>
                  </a:cubicBezTo>
                  <a:cubicBezTo>
                    <a:pt x="109" y="759"/>
                    <a:pt x="109" y="759"/>
                    <a:pt x="109" y="759"/>
                  </a:cubicBezTo>
                  <a:cubicBezTo>
                    <a:pt x="99" y="775"/>
                    <a:pt x="102" y="788"/>
                    <a:pt x="110" y="793"/>
                  </a:cubicBezTo>
                  <a:cubicBezTo>
                    <a:pt x="152" y="832"/>
                    <a:pt x="152" y="832"/>
                    <a:pt x="152" y="832"/>
                  </a:cubicBezTo>
                  <a:cubicBezTo>
                    <a:pt x="160" y="837"/>
                    <a:pt x="173" y="834"/>
                    <a:pt x="178" y="826"/>
                  </a:cubicBezTo>
                  <a:cubicBezTo>
                    <a:pt x="230" y="781"/>
                    <a:pt x="230" y="781"/>
                    <a:pt x="230" y="781"/>
                  </a:cubicBezTo>
                  <a:cubicBezTo>
                    <a:pt x="248" y="770"/>
                    <a:pt x="261" y="767"/>
                    <a:pt x="269" y="772"/>
                  </a:cubicBezTo>
                  <a:cubicBezTo>
                    <a:pt x="269" y="772"/>
                    <a:pt x="269" y="772"/>
                    <a:pt x="269" y="772"/>
                  </a:cubicBezTo>
                  <a:cubicBezTo>
                    <a:pt x="282" y="769"/>
                    <a:pt x="298" y="779"/>
                    <a:pt x="306" y="785"/>
                  </a:cubicBezTo>
                  <a:cubicBezTo>
                    <a:pt x="306" y="785"/>
                    <a:pt x="306" y="785"/>
                    <a:pt x="306" y="785"/>
                  </a:cubicBezTo>
                  <a:cubicBezTo>
                    <a:pt x="319" y="782"/>
                    <a:pt x="327" y="787"/>
                    <a:pt x="332" y="813"/>
                  </a:cubicBezTo>
                  <a:cubicBezTo>
                    <a:pt x="346" y="878"/>
                    <a:pt x="346" y="878"/>
                    <a:pt x="346" y="878"/>
                  </a:cubicBezTo>
                  <a:cubicBezTo>
                    <a:pt x="349" y="892"/>
                    <a:pt x="357" y="897"/>
                    <a:pt x="370" y="894"/>
                  </a:cubicBezTo>
                  <a:cubicBezTo>
                    <a:pt x="425" y="896"/>
                    <a:pt x="425" y="896"/>
                    <a:pt x="425" y="896"/>
                  </a:cubicBezTo>
                  <a:cubicBezTo>
                    <a:pt x="430" y="888"/>
                    <a:pt x="443" y="885"/>
                    <a:pt x="440" y="872"/>
                  </a:cubicBezTo>
                  <a:cubicBezTo>
                    <a:pt x="440" y="804"/>
                    <a:pt x="440" y="804"/>
                    <a:pt x="440" y="804"/>
                  </a:cubicBezTo>
                  <a:cubicBezTo>
                    <a:pt x="442" y="783"/>
                    <a:pt x="460" y="772"/>
                    <a:pt x="466" y="764"/>
                  </a:cubicBezTo>
                  <a:cubicBezTo>
                    <a:pt x="466" y="764"/>
                    <a:pt x="466" y="764"/>
                    <a:pt x="466" y="764"/>
                  </a:cubicBezTo>
                  <a:cubicBezTo>
                    <a:pt x="479" y="761"/>
                    <a:pt x="492" y="758"/>
                    <a:pt x="497" y="750"/>
                  </a:cubicBezTo>
                  <a:cubicBezTo>
                    <a:pt x="497" y="750"/>
                    <a:pt x="497" y="750"/>
                    <a:pt x="497" y="750"/>
                  </a:cubicBezTo>
                  <a:cubicBezTo>
                    <a:pt x="510" y="747"/>
                    <a:pt x="523" y="745"/>
                    <a:pt x="539" y="755"/>
                  </a:cubicBezTo>
                  <a:cubicBezTo>
                    <a:pt x="594" y="791"/>
                    <a:pt x="594" y="791"/>
                    <a:pt x="594" y="791"/>
                  </a:cubicBezTo>
                  <a:cubicBezTo>
                    <a:pt x="602" y="796"/>
                    <a:pt x="623" y="798"/>
                    <a:pt x="628" y="790"/>
                  </a:cubicBezTo>
                  <a:cubicBezTo>
                    <a:pt x="659" y="743"/>
                    <a:pt x="659" y="743"/>
                    <a:pt x="659" y="743"/>
                  </a:cubicBezTo>
                  <a:cubicBezTo>
                    <a:pt x="659" y="743"/>
                    <a:pt x="669" y="727"/>
                    <a:pt x="654" y="716"/>
                  </a:cubicBezTo>
                  <a:close/>
                  <a:moveTo>
                    <a:pt x="281" y="633"/>
                  </a:moveTo>
                  <a:cubicBezTo>
                    <a:pt x="223" y="584"/>
                    <a:pt x="219" y="502"/>
                    <a:pt x="263" y="452"/>
                  </a:cubicBezTo>
                  <a:cubicBezTo>
                    <a:pt x="313" y="393"/>
                    <a:pt x="399" y="382"/>
                    <a:pt x="457" y="431"/>
                  </a:cubicBezTo>
                  <a:cubicBezTo>
                    <a:pt x="507" y="475"/>
                    <a:pt x="518" y="561"/>
                    <a:pt x="469" y="619"/>
                  </a:cubicBezTo>
                  <a:cubicBezTo>
                    <a:pt x="420" y="678"/>
                    <a:pt x="339" y="682"/>
                    <a:pt x="281" y="633"/>
                  </a:cubicBezTo>
                  <a:close/>
                  <a:moveTo>
                    <a:pt x="1019" y="398"/>
                  </a:moveTo>
                  <a:cubicBezTo>
                    <a:pt x="1004" y="362"/>
                    <a:pt x="1004" y="362"/>
                    <a:pt x="1004" y="362"/>
                  </a:cubicBezTo>
                  <a:cubicBezTo>
                    <a:pt x="992" y="348"/>
                    <a:pt x="1002" y="340"/>
                    <a:pt x="1002" y="332"/>
                  </a:cubicBezTo>
                  <a:cubicBezTo>
                    <a:pt x="1002" y="332"/>
                    <a:pt x="1002" y="332"/>
                    <a:pt x="1002" y="332"/>
                  </a:cubicBezTo>
                  <a:cubicBezTo>
                    <a:pt x="1007" y="328"/>
                    <a:pt x="1011" y="324"/>
                    <a:pt x="1012" y="315"/>
                  </a:cubicBezTo>
                  <a:cubicBezTo>
                    <a:pt x="1021" y="307"/>
                    <a:pt x="1026" y="303"/>
                    <a:pt x="1043" y="304"/>
                  </a:cubicBezTo>
                  <a:cubicBezTo>
                    <a:pt x="1086" y="307"/>
                    <a:pt x="1086" y="307"/>
                    <a:pt x="1086" y="307"/>
                  </a:cubicBezTo>
                  <a:cubicBezTo>
                    <a:pt x="1095" y="308"/>
                    <a:pt x="1099" y="304"/>
                    <a:pt x="1100" y="295"/>
                  </a:cubicBezTo>
                  <a:cubicBezTo>
                    <a:pt x="1107" y="266"/>
                    <a:pt x="1107" y="266"/>
                    <a:pt x="1107" y="266"/>
                  </a:cubicBezTo>
                  <a:cubicBezTo>
                    <a:pt x="1107" y="257"/>
                    <a:pt x="1103" y="252"/>
                    <a:pt x="1095" y="243"/>
                  </a:cubicBezTo>
                  <a:cubicBezTo>
                    <a:pt x="1057" y="236"/>
                    <a:pt x="1057" y="236"/>
                    <a:pt x="1057" y="236"/>
                  </a:cubicBezTo>
                  <a:cubicBezTo>
                    <a:pt x="1044" y="231"/>
                    <a:pt x="1036" y="222"/>
                    <a:pt x="1037" y="213"/>
                  </a:cubicBezTo>
                  <a:cubicBezTo>
                    <a:pt x="1038" y="205"/>
                    <a:pt x="1034" y="200"/>
                    <a:pt x="1030" y="187"/>
                  </a:cubicBezTo>
                  <a:cubicBezTo>
                    <a:pt x="1031" y="178"/>
                    <a:pt x="1032" y="170"/>
                    <a:pt x="1041" y="162"/>
                  </a:cubicBezTo>
                  <a:cubicBezTo>
                    <a:pt x="1077" y="138"/>
                    <a:pt x="1077" y="138"/>
                    <a:pt x="1077" y="138"/>
                  </a:cubicBezTo>
                  <a:cubicBezTo>
                    <a:pt x="1082" y="134"/>
                    <a:pt x="1083" y="126"/>
                    <a:pt x="1079" y="121"/>
                  </a:cubicBezTo>
                  <a:cubicBezTo>
                    <a:pt x="1059" y="89"/>
                    <a:pt x="1059" y="89"/>
                    <a:pt x="1059" y="89"/>
                  </a:cubicBezTo>
                  <a:cubicBezTo>
                    <a:pt x="1055" y="85"/>
                    <a:pt x="1047" y="84"/>
                    <a:pt x="1038" y="83"/>
                  </a:cubicBezTo>
                  <a:cubicBezTo>
                    <a:pt x="1002" y="107"/>
                    <a:pt x="1002" y="107"/>
                    <a:pt x="1002" y="107"/>
                  </a:cubicBezTo>
                  <a:cubicBezTo>
                    <a:pt x="989" y="110"/>
                    <a:pt x="980" y="110"/>
                    <a:pt x="976" y="105"/>
                  </a:cubicBezTo>
                  <a:cubicBezTo>
                    <a:pt x="972" y="100"/>
                    <a:pt x="960" y="95"/>
                    <a:pt x="956" y="91"/>
                  </a:cubicBezTo>
                  <a:cubicBezTo>
                    <a:pt x="952" y="86"/>
                    <a:pt x="944" y="77"/>
                    <a:pt x="944" y="68"/>
                  </a:cubicBezTo>
                  <a:cubicBezTo>
                    <a:pt x="948" y="25"/>
                    <a:pt x="948" y="25"/>
                    <a:pt x="948" y="25"/>
                  </a:cubicBezTo>
                  <a:cubicBezTo>
                    <a:pt x="948" y="17"/>
                    <a:pt x="940" y="7"/>
                    <a:pt x="940" y="7"/>
                  </a:cubicBezTo>
                  <a:cubicBezTo>
                    <a:pt x="902" y="0"/>
                    <a:pt x="902" y="0"/>
                    <a:pt x="902" y="0"/>
                  </a:cubicBezTo>
                  <a:cubicBezTo>
                    <a:pt x="902" y="0"/>
                    <a:pt x="889" y="4"/>
                    <a:pt x="888" y="12"/>
                  </a:cubicBezTo>
                  <a:cubicBezTo>
                    <a:pt x="872" y="50"/>
                    <a:pt x="872" y="50"/>
                    <a:pt x="872" y="50"/>
                  </a:cubicBezTo>
                  <a:cubicBezTo>
                    <a:pt x="871" y="67"/>
                    <a:pt x="862" y="67"/>
                    <a:pt x="858" y="71"/>
                  </a:cubicBezTo>
                  <a:cubicBezTo>
                    <a:pt x="858" y="71"/>
                    <a:pt x="858" y="71"/>
                    <a:pt x="853" y="75"/>
                  </a:cubicBezTo>
                  <a:cubicBezTo>
                    <a:pt x="849" y="70"/>
                    <a:pt x="840" y="70"/>
                    <a:pt x="836" y="74"/>
                  </a:cubicBezTo>
                  <a:cubicBezTo>
                    <a:pt x="831" y="78"/>
                    <a:pt x="831" y="78"/>
                    <a:pt x="831" y="78"/>
                  </a:cubicBezTo>
                  <a:cubicBezTo>
                    <a:pt x="822" y="77"/>
                    <a:pt x="814" y="76"/>
                    <a:pt x="806" y="67"/>
                  </a:cubicBezTo>
                  <a:cubicBezTo>
                    <a:pt x="778" y="35"/>
                    <a:pt x="778" y="35"/>
                    <a:pt x="778" y="35"/>
                  </a:cubicBezTo>
                  <a:cubicBezTo>
                    <a:pt x="774" y="30"/>
                    <a:pt x="762" y="25"/>
                    <a:pt x="757" y="29"/>
                  </a:cubicBezTo>
                  <a:cubicBezTo>
                    <a:pt x="734" y="49"/>
                    <a:pt x="734" y="49"/>
                    <a:pt x="734" y="49"/>
                  </a:cubicBezTo>
                  <a:cubicBezTo>
                    <a:pt x="725" y="49"/>
                    <a:pt x="725" y="57"/>
                    <a:pt x="728" y="70"/>
                  </a:cubicBezTo>
                  <a:cubicBezTo>
                    <a:pt x="747" y="102"/>
                    <a:pt x="747" y="102"/>
                    <a:pt x="747" y="102"/>
                  </a:cubicBezTo>
                  <a:cubicBezTo>
                    <a:pt x="754" y="120"/>
                    <a:pt x="750" y="124"/>
                    <a:pt x="744" y="136"/>
                  </a:cubicBezTo>
                  <a:cubicBezTo>
                    <a:pt x="744" y="136"/>
                    <a:pt x="744" y="136"/>
                    <a:pt x="744" y="136"/>
                  </a:cubicBezTo>
                  <a:cubicBezTo>
                    <a:pt x="740" y="140"/>
                    <a:pt x="735" y="144"/>
                    <a:pt x="731" y="148"/>
                  </a:cubicBezTo>
                  <a:cubicBezTo>
                    <a:pt x="731" y="148"/>
                    <a:pt x="731" y="148"/>
                    <a:pt x="731" y="148"/>
                  </a:cubicBezTo>
                  <a:cubicBezTo>
                    <a:pt x="730" y="157"/>
                    <a:pt x="721" y="165"/>
                    <a:pt x="703" y="164"/>
                  </a:cubicBezTo>
                  <a:cubicBezTo>
                    <a:pt x="665" y="157"/>
                    <a:pt x="665" y="157"/>
                    <a:pt x="665" y="157"/>
                  </a:cubicBezTo>
                  <a:cubicBezTo>
                    <a:pt x="656" y="156"/>
                    <a:pt x="647" y="164"/>
                    <a:pt x="647" y="173"/>
                  </a:cubicBezTo>
                  <a:cubicBezTo>
                    <a:pt x="640" y="203"/>
                    <a:pt x="640" y="203"/>
                    <a:pt x="640" y="203"/>
                  </a:cubicBezTo>
                  <a:cubicBezTo>
                    <a:pt x="639" y="211"/>
                    <a:pt x="643" y="216"/>
                    <a:pt x="656" y="221"/>
                  </a:cubicBezTo>
                  <a:cubicBezTo>
                    <a:pt x="690" y="232"/>
                    <a:pt x="690" y="232"/>
                    <a:pt x="690" y="232"/>
                  </a:cubicBezTo>
                  <a:cubicBezTo>
                    <a:pt x="702" y="237"/>
                    <a:pt x="710" y="246"/>
                    <a:pt x="710" y="255"/>
                  </a:cubicBezTo>
                  <a:cubicBezTo>
                    <a:pt x="710" y="255"/>
                    <a:pt x="710" y="255"/>
                    <a:pt x="710" y="255"/>
                  </a:cubicBezTo>
                  <a:cubicBezTo>
                    <a:pt x="714" y="260"/>
                    <a:pt x="713" y="268"/>
                    <a:pt x="717" y="273"/>
                  </a:cubicBezTo>
                  <a:cubicBezTo>
                    <a:pt x="712" y="277"/>
                    <a:pt x="712" y="277"/>
                    <a:pt x="712" y="277"/>
                  </a:cubicBezTo>
                  <a:cubicBezTo>
                    <a:pt x="716" y="281"/>
                    <a:pt x="716" y="290"/>
                    <a:pt x="702" y="302"/>
                  </a:cubicBezTo>
                  <a:cubicBezTo>
                    <a:pt x="674" y="326"/>
                    <a:pt x="674" y="326"/>
                    <a:pt x="674" y="326"/>
                  </a:cubicBezTo>
                  <a:cubicBezTo>
                    <a:pt x="665" y="334"/>
                    <a:pt x="664" y="343"/>
                    <a:pt x="668" y="347"/>
                  </a:cubicBezTo>
                  <a:cubicBezTo>
                    <a:pt x="687" y="379"/>
                    <a:pt x="687" y="379"/>
                    <a:pt x="687" y="379"/>
                  </a:cubicBezTo>
                  <a:cubicBezTo>
                    <a:pt x="691" y="383"/>
                    <a:pt x="700" y="384"/>
                    <a:pt x="704" y="380"/>
                  </a:cubicBezTo>
                  <a:cubicBezTo>
                    <a:pt x="745" y="361"/>
                    <a:pt x="745" y="361"/>
                    <a:pt x="745" y="361"/>
                  </a:cubicBezTo>
                  <a:cubicBezTo>
                    <a:pt x="758" y="358"/>
                    <a:pt x="767" y="358"/>
                    <a:pt x="771" y="363"/>
                  </a:cubicBezTo>
                  <a:cubicBezTo>
                    <a:pt x="771" y="363"/>
                    <a:pt x="771" y="363"/>
                    <a:pt x="771" y="363"/>
                  </a:cubicBezTo>
                  <a:cubicBezTo>
                    <a:pt x="779" y="364"/>
                    <a:pt x="787" y="373"/>
                    <a:pt x="791" y="377"/>
                  </a:cubicBezTo>
                  <a:cubicBezTo>
                    <a:pt x="791" y="377"/>
                    <a:pt x="791" y="377"/>
                    <a:pt x="791" y="377"/>
                  </a:cubicBezTo>
                  <a:cubicBezTo>
                    <a:pt x="800" y="378"/>
                    <a:pt x="804" y="383"/>
                    <a:pt x="802" y="400"/>
                  </a:cubicBezTo>
                  <a:cubicBezTo>
                    <a:pt x="799" y="443"/>
                    <a:pt x="799" y="443"/>
                    <a:pt x="799" y="443"/>
                  </a:cubicBezTo>
                  <a:cubicBezTo>
                    <a:pt x="798" y="451"/>
                    <a:pt x="802" y="456"/>
                    <a:pt x="811" y="457"/>
                  </a:cubicBezTo>
                  <a:cubicBezTo>
                    <a:pt x="845" y="468"/>
                    <a:pt x="845" y="468"/>
                    <a:pt x="845" y="468"/>
                  </a:cubicBezTo>
                  <a:cubicBezTo>
                    <a:pt x="849" y="464"/>
                    <a:pt x="858" y="464"/>
                    <a:pt x="859" y="456"/>
                  </a:cubicBezTo>
                  <a:cubicBezTo>
                    <a:pt x="871" y="413"/>
                    <a:pt x="871" y="413"/>
                    <a:pt x="871" y="413"/>
                  </a:cubicBezTo>
                  <a:cubicBezTo>
                    <a:pt x="876" y="401"/>
                    <a:pt x="889" y="397"/>
                    <a:pt x="894" y="393"/>
                  </a:cubicBezTo>
                  <a:cubicBezTo>
                    <a:pt x="894" y="393"/>
                    <a:pt x="894" y="393"/>
                    <a:pt x="894" y="393"/>
                  </a:cubicBezTo>
                  <a:cubicBezTo>
                    <a:pt x="902" y="394"/>
                    <a:pt x="911" y="395"/>
                    <a:pt x="916" y="391"/>
                  </a:cubicBezTo>
                  <a:cubicBezTo>
                    <a:pt x="916" y="391"/>
                    <a:pt x="916" y="391"/>
                    <a:pt x="916" y="391"/>
                  </a:cubicBezTo>
                  <a:cubicBezTo>
                    <a:pt x="924" y="391"/>
                    <a:pt x="933" y="392"/>
                    <a:pt x="941" y="401"/>
                  </a:cubicBezTo>
                  <a:cubicBezTo>
                    <a:pt x="969" y="433"/>
                    <a:pt x="969" y="433"/>
                    <a:pt x="969" y="433"/>
                  </a:cubicBezTo>
                  <a:cubicBezTo>
                    <a:pt x="973" y="438"/>
                    <a:pt x="985" y="443"/>
                    <a:pt x="990" y="439"/>
                  </a:cubicBezTo>
                  <a:cubicBezTo>
                    <a:pt x="1018" y="415"/>
                    <a:pt x="1018" y="415"/>
                    <a:pt x="1018" y="415"/>
                  </a:cubicBezTo>
                  <a:cubicBezTo>
                    <a:pt x="1018" y="415"/>
                    <a:pt x="1027" y="407"/>
                    <a:pt x="1019" y="398"/>
                  </a:cubicBezTo>
                  <a:close/>
                  <a:moveTo>
                    <a:pt x="803" y="279"/>
                  </a:moveTo>
                  <a:cubicBezTo>
                    <a:pt x="776" y="238"/>
                    <a:pt x="788" y="187"/>
                    <a:pt x="825" y="164"/>
                  </a:cubicBezTo>
                  <a:cubicBezTo>
                    <a:pt x="866" y="136"/>
                    <a:pt x="921" y="144"/>
                    <a:pt x="948" y="185"/>
                  </a:cubicBezTo>
                  <a:cubicBezTo>
                    <a:pt x="972" y="221"/>
                    <a:pt x="963" y="277"/>
                    <a:pt x="922" y="304"/>
                  </a:cubicBezTo>
                  <a:cubicBezTo>
                    <a:pt x="881" y="332"/>
                    <a:pt x="830" y="320"/>
                    <a:pt x="803" y="279"/>
                  </a:cubicBezTo>
                  <a:close/>
                </a:path>
              </a:pathLst>
            </a:custGeom>
            <a:solidFill>
              <a:schemeClr val="tx1"/>
            </a:solidFill>
            <a:ln>
              <a:noFill/>
            </a:ln>
          </p:spPr>
          <p:txBody>
            <a:bodyPr vert="horz" wrap="square" lIns="68574" tIns="34287" rIns="68574" bIns="34287"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17346"/>
                </a:solidFill>
                <a:effectLst/>
                <a:uLnTx/>
                <a:uFillTx/>
                <a:latin typeface="Segoe UI"/>
                <a:ea typeface="+mn-ea"/>
                <a:cs typeface="+mn-cs"/>
              </a:endParaRPr>
            </a:p>
          </p:txBody>
        </p:sp>
        <p:sp>
          <p:nvSpPr>
            <p:cNvPr id="88" name="Freeform 87"/>
            <p:cNvSpPr>
              <a:spLocks noChangeAspect="1"/>
            </p:cNvSpPr>
            <p:nvPr/>
          </p:nvSpPr>
          <p:spPr bwMode="black">
            <a:xfrm>
              <a:off x="776985" y="4213905"/>
              <a:ext cx="342871" cy="335728"/>
            </a:xfrm>
            <a:custGeom>
              <a:avLst/>
              <a:gdLst>
                <a:gd name="connsiteX0" fmla="*/ 3713863 w 4893730"/>
                <a:gd name="connsiteY0" fmla="*/ 2130808 h 4791777"/>
                <a:gd name="connsiteX1" fmla="*/ 4426142 w 4893730"/>
                <a:gd name="connsiteY1" fmla="*/ 2130808 h 4791777"/>
                <a:gd name="connsiteX2" fmla="*/ 4598071 w 4893730"/>
                <a:gd name="connsiteY2" fmla="*/ 2301547 h 4791777"/>
                <a:gd name="connsiteX3" fmla="*/ 4598071 w 4893730"/>
                <a:gd name="connsiteY3" fmla="*/ 3886978 h 4791777"/>
                <a:gd name="connsiteX4" fmla="*/ 4426142 w 4893730"/>
                <a:gd name="connsiteY4" fmla="*/ 4057717 h 4791777"/>
                <a:gd name="connsiteX5" fmla="*/ 3713863 w 4893730"/>
                <a:gd name="connsiteY5" fmla="*/ 4057717 h 4791777"/>
                <a:gd name="connsiteX6" fmla="*/ 3517372 w 4893730"/>
                <a:gd name="connsiteY6" fmla="*/ 3886978 h 4791777"/>
                <a:gd name="connsiteX7" fmla="*/ 3517372 w 4893730"/>
                <a:gd name="connsiteY7" fmla="*/ 2301547 h 4791777"/>
                <a:gd name="connsiteX8" fmla="*/ 3713863 w 4893730"/>
                <a:gd name="connsiteY8" fmla="*/ 2130808 h 4791777"/>
                <a:gd name="connsiteX9" fmla="*/ 904368 w 4893730"/>
                <a:gd name="connsiteY9" fmla="*/ 1223432 h 4791777"/>
                <a:gd name="connsiteX10" fmla="*/ 1609930 w 4893730"/>
                <a:gd name="connsiteY10" fmla="*/ 1223432 h 4791777"/>
                <a:gd name="connsiteX11" fmla="*/ 1804567 w 4893730"/>
                <a:gd name="connsiteY11" fmla="*/ 1394467 h 4791777"/>
                <a:gd name="connsiteX12" fmla="*/ 1804567 w 4893730"/>
                <a:gd name="connsiteY12" fmla="*/ 3886683 h 4791777"/>
                <a:gd name="connsiteX13" fmla="*/ 1609930 w 4893730"/>
                <a:gd name="connsiteY13" fmla="*/ 4057717 h 4791777"/>
                <a:gd name="connsiteX14" fmla="*/ 904368 w 4893730"/>
                <a:gd name="connsiteY14" fmla="*/ 4057717 h 4791777"/>
                <a:gd name="connsiteX15" fmla="*/ 734060 w 4893730"/>
                <a:gd name="connsiteY15" fmla="*/ 3886683 h 4791777"/>
                <a:gd name="connsiteX16" fmla="*/ 734060 w 4893730"/>
                <a:gd name="connsiteY16" fmla="*/ 1394467 h 4791777"/>
                <a:gd name="connsiteX17" fmla="*/ 904368 w 4893730"/>
                <a:gd name="connsiteY17" fmla="*/ 1223432 h 4791777"/>
                <a:gd name="connsiteX18" fmla="*/ 2325453 w 4893730"/>
                <a:gd name="connsiteY18" fmla="*/ 316050 h 4791777"/>
                <a:gd name="connsiteX19" fmla="*/ 3031014 w 4893730"/>
                <a:gd name="connsiteY19" fmla="*/ 316050 h 4791777"/>
                <a:gd name="connsiteX20" fmla="*/ 3201322 w 4893730"/>
                <a:gd name="connsiteY20" fmla="*/ 487238 h 4791777"/>
                <a:gd name="connsiteX21" fmla="*/ 3201322 w 4893730"/>
                <a:gd name="connsiteY21" fmla="*/ 3886530 h 4791777"/>
                <a:gd name="connsiteX22" fmla="*/ 3031014 w 4893730"/>
                <a:gd name="connsiteY22" fmla="*/ 4057717 h 4791777"/>
                <a:gd name="connsiteX23" fmla="*/ 2325453 w 4893730"/>
                <a:gd name="connsiteY23" fmla="*/ 4057717 h 4791777"/>
                <a:gd name="connsiteX24" fmla="*/ 2130815 w 4893730"/>
                <a:gd name="connsiteY24" fmla="*/ 3886530 h 4791777"/>
                <a:gd name="connsiteX25" fmla="*/ 2130815 w 4893730"/>
                <a:gd name="connsiteY25" fmla="*/ 487238 h 4791777"/>
                <a:gd name="connsiteX26" fmla="*/ 2325453 w 4893730"/>
                <a:gd name="connsiteY26" fmla="*/ 316050 h 4791777"/>
                <a:gd name="connsiteX27" fmla="*/ 269155 w 4893730"/>
                <a:gd name="connsiteY27" fmla="*/ 0 h 4791777"/>
                <a:gd name="connsiteX28" fmla="*/ 538311 w 4893730"/>
                <a:gd name="connsiteY28" fmla="*/ 268927 h 4791777"/>
                <a:gd name="connsiteX29" fmla="*/ 538311 w 4893730"/>
                <a:gd name="connsiteY29" fmla="*/ 4253925 h 4791777"/>
                <a:gd name="connsiteX30" fmla="*/ 4624575 w 4893730"/>
                <a:gd name="connsiteY30" fmla="*/ 4253925 h 4791777"/>
                <a:gd name="connsiteX31" fmla="*/ 4893730 w 4893730"/>
                <a:gd name="connsiteY31" fmla="*/ 4522851 h 4791777"/>
                <a:gd name="connsiteX32" fmla="*/ 4624575 w 4893730"/>
                <a:gd name="connsiteY32" fmla="*/ 4791777 h 4791777"/>
                <a:gd name="connsiteX33" fmla="*/ 269155 w 4893730"/>
                <a:gd name="connsiteY33" fmla="*/ 4791777 h 4791777"/>
                <a:gd name="connsiteX34" fmla="*/ 0 w 4893730"/>
                <a:gd name="connsiteY34" fmla="*/ 4522851 h 4791777"/>
                <a:gd name="connsiteX35" fmla="*/ 0 w 4893730"/>
                <a:gd name="connsiteY35" fmla="*/ 268927 h 4791777"/>
                <a:gd name="connsiteX36" fmla="*/ 269155 w 4893730"/>
                <a:gd name="connsiteY36" fmla="*/ 0 h 4791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4893730" h="4791777">
                  <a:moveTo>
                    <a:pt x="3713863" y="2130808"/>
                  </a:moveTo>
                  <a:cubicBezTo>
                    <a:pt x="3713863" y="2130808"/>
                    <a:pt x="3713863" y="2130808"/>
                    <a:pt x="4426142" y="2130808"/>
                  </a:cubicBezTo>
                  <a:cubicBezTo>
                    <a:pt x="4524387" y="2130808"/>
                    <a:pt x="4598071" y="2203982"/>
                    <a:pt x="4598071" y="2301547"/>
                  </a:cubicBezTo>
                  <a:cubicBezTo>
                    <a:pt x="4598071" y="2301547"/>
                    <a:pt x="4598071" y="2301547"/>
                    <a:pt x="4598071" y="3886978"/>
                  </a:cubicBezTo>
                  <a:cubicBezTo>
                    <a:pt x="4598071" y="3984543"/>
                    <a:pt x="4524387" y="4057717"/>
                    <a:pt x="4426142" y="4057717"/>
                  </a:cubicBezTo>
                  <a:cubicBezTo>
                    <a:pt x="4426142" y="4057717"/>
                    <a:pt x="4426142" y="4057717"/>
                    <a:pt x="3713863" y="4057717"/>
                  </a:cubicBezTo>
                  <a:cubicBezTo>
                    <a:pt x="3615618" y="4057717"/>
                    <a:pt x="3517372" y="3984543"/>
                    <a:pt x="3517372" y="3886978"/>
                  </a:cubicBezTo>
                  <a:cubicBezTo>
                    <a:pt x="3517372" y="3886978"/>
                    <a:pt x="3517372" y="3886978"/>
                    <a:pt x="3517372" y="2301547"/>
                  </a:cubicBezTo>
                  <a:cubicBezTo>
                    <a:pt x="3517372" y="2203982"/>
                    <a:pt x="3615618" y="2130808"/>
                    <a:pt x="3713863" y="2130808"/>
                  </a:cubicBezTo>
                  <a:close/>
                  <a:moveTo>
                    <a:pt x="904368" y="1223432"/>
                  </a:moveTo>
                  <a:cubicBezTo>
                    <a:pt x="904368" y="1223432"/>
                    <a:pt x="904368" y="1223432"/>
                    <a:pt x="1609930" y="1223432"/>
                  </a:cubicBezTo>
                  <a:cubicBezTo>
                    <a:pt x="1731578" y="1223432"/>
                    <a:pt x="1804567" y="1296733"/>
                    <a:pt x="1804567" y="1394467"/>
                  </a:cubicBezTo>
                  <a:cubicBezTo>
                    <a:pt x="1804567" y="1394467"/>
                    <a:pt x="1804567" y="1394467"/>
                    <a:pt x="1804567" y="3886683"/>
                  </a:cubicBezTo>
                  <a:cubicBezTo>
                    <a:pt x="1804567" y="3984417"/>
                    <a:pt x="1731578" y="4057717"/>
                    <a:pt x="1609930" y="4057717"/>
                  </a:cubicBezTo>
                  <a:cubicBezTo>
                    <a:pt x="1609930" y="4057717"/>
                    <a:pt x="1609930" y="4057717"/>
                    <a:pt x="904368" y="4057717"/>
                  </a:cubicBezTo>
                  <a:cubicBezTo>
                    <a:pt x="807049" y="4057717"/>
                    <a:pt x="734060" y="3984417"/>
                    <a:pt x="734060" y="3886683"/>
                  </a:cubicBezTo>
                  <a:cubicBezTo>
                    <a:pt x="734060" y="3886683"/>
                    <a:pt x="734060" y="3886683"/>
                    <a:pt x="734060" y="1394467"/>
                  </a:cubicBezTo>
                  <a:cubicBezTo>
                    <a:pt x="734060" y="1296733"/>
                    <a:pt x="807049" y="1223432"/>
                    <a:pt x="904368" y="1223432"/>
                  </a:cubicBezTo>
                  <a:close/>
                  <a:moveTo>
                    <a:pt x="2325453" y="316050"/>
                  </a:moveTo>
                  <a:cubicBezTo>
                    <a:pt x="2325453" y="316050"/>
                    <a:pt x="2325453" y="316050"/>
                    <a:pt x="3031014" y="316050"/>
                  </a:cubicBezTo>
                  <a:cubicBezTo>
                    <a:pt x="3128333" y="316050"/>
                    <a:pt x="3201322" y="389416"/>
                    <a:pt x="3201322" y="487238"/>
                  </a:cubicBezTo>
                  <a:cubicBezTo>
                    <a:pt x="3201322" y="487238"/>
                    <a:pt x="3201322" y="487238"/>
                    <a:pt x="3201322" y="3886530"/>
                  </a:cubicBezTo>
                  <a:cubicBezTo>
                    <a:pt x="3201322" y="3984351"/>
                    <a:pt x="3128333" y="4057717"/>
                    <a:pt x="3031014" y="4057717"/>
                  </a:cubicBezTo>
                  <a:cubicBezTo>
                    <a:pt x="3031014" y="4057717"/>
                    <a:pt x="3031014" y="4057717"/>
                    <a:pt x="2325453" y="4057717"/>
                  </a:cubicBezTo>
                  <a:cubicBezTo>
                    <a:pt x="2203804" y="4057717"/>
                    <a:pt x="2130815" y="3984351"/>
                    <a:pt x="2130815" y="3886530"/>
                  </a:cubicBezTo>
                  <a:cubicBezTo>
                    <a:pt x="2130815" y="3886530"/>
                    <a:pt x="2130815" y="3886530"/>
                    <a:pt x="2130815" y="487238"/>
                  </a:cubicBezTo>
                  <a:cubicBezTo>
                    <a:pt x="2130815" y="389416"/>
                    <a:pt x="2203804" y="316050"/>
                    <a:pt x="2325453" y="316050"/>
                  </a:cubicBezTo>
                  <a:close/>
                  <a:moveTo>
                    <a:pt x="269155" y="0"/>
                  </a:moveTo>
                  <a:cubicBezTo>
                    <a:pt x="415967" y="0"/>
                    <a:pt x="538311" y="122239"/>
                    <a:pt x="538311" y="268927"/>
                  </a:cubicBezTo>
                  <a:cubicBezTo>
                    <a:pt x="538311" y="268927"/>
                    <a:pt x="538311" y="268927"/>
                    <a:pt x="538311" y="4253925"/>
                  </a:cubicBezTo>
                  <a:cubicBezTo>
                    <a:pt x="538311" y="4253925"/>
                    <a:pt x="538311" y="4253925"/>
                    <a:pt x="4624575" y="4253925"/>
                  </a:cubicBezTo>
                  <a:cubicBezTo>
                    <a:pt x="4771387" y="4253925"/>
                    <a:pt x="4893730" y="4376164"/>
                    <a:pt x="4893730" y="4522851"/>
                  </a:cubicBezTo>
                  <a:cubicBezTo>
                    <a:pt x="4893730" y="4669538"/>
                    <a:pt x="4771387" y="4791777"/>
                    <a:pt x="4624575" y="4791777"/>
                  </a:cubicBezTo>
                  <a:cubicBezTo>
                    <a:pt x="4624575" y="4791777"/>
                    <a:pt x="4624575" y="4791777"/>
                    <a:pt x="269155" y="4791777"/>
                  </a:cubicBezTo>
                  <a:cubicBezTo>
                    <a:pt x="122344" y="4791777"/>
                    <a:pt x="0" y="4669538"/>
                    <a:pt x="0" y="4522851"/>
                  </a:cubicBezTo>
                  <a:cubicBezTo>
                    <a:pt x="0" y="4522851"/>
                    <a:pt x="0" y="4522851"/>
                    <a:pt x="0" y="268927"/>
                  </a:cubicBezTo>
                  <a:cubicBezTo>
                    <a:pt x="0" y="122239"/>
                    <a:pt x="122344" y="0"/>
                    <a:pt x="269155"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37148" tIns="109719" rIns="137148" bIns="109719"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699261"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9" name="Rectangle 88"/>
            <p:cNvSpPr/>
            <p:nvPr/>
          </p:nvSpPr>
          <p:spPr bwMode="auto">
            <a:xfrm rot="2745734">
              <a:off x="279530" y="1141266"/>
              <a:ext cx="1260714" cy="1255193"/>
            </a:xfrm>
            <a:prstGeom prst="rect">
              <a:avLst/>
            </a:prstGeom>
            <a:solidFill>
              <a:schemeClr val="tx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0" name="Rectangle 89"/>
            <p:cNvSpPr/>
            <p:nvPr/>
          </p:nvSpPr>
          <p:spPr bwMode="auto">
            <a:xfrm rot="2745734">
              <a:off x="292433" y="3819160"/>
              <a:ext cx="1610349" cy="1235003"/>
            </a:xfrm>
            <a:prstGeom prst="rect">
              <a:avLst/>
            </a:prstGeom>
            <a:solidFill>
              <a:schemeClr val="tx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2" name="Rectangle 91"/>
            <p:cNvSpPr/>
            <p:nvPr/>
          </p:nvSpPr>
          <p:spPr bwMode="auto">
            <a:xfrm rot="2745734">
              <a:off x="1315610" y="4915701"/>
              <a:ext cx="1263370" cy="1255989"/>
            </a:xfrm>
            <a:prstGeom prst="rect">
              <a:avLst/>
            </a:prstGeom>
            <a:solidFill>
              <a:schemeClr val="tx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40" name="TextBox 39"/>
          <p:cNvSpPr txBox="1"/>
          <p:nvPr/>
        </p:nvSpPr>
        <p:spPr>
          <a:xfrm>
            <a:off x="3" y="51415"/>
            <a:ext cx="2849058" cy="430887"/>
          </a:xfrm>
          <a:prstGeom prst="rect">
            <a:avLst/>
          </a:prstGeom>
        </p:spPr>
        <p:txBody>
          <a:bodyPr wrap="square">
            <a:spAutoFit/>
          </a:bodyPr>
          <a:lstStyle>
            <a:defPPr>
              <a:defRPr lang="en-US"/>
            </a:defPPr>
            <a:lvl1pPr defTabSz="914192">
              <a:defRPr sz="2800" b="1" spc="-100">
                <a:ln w="3175">
                  <a:noFill/>
                </a:ln>
                <a:solidFill>
                  <a:srgbClr val="F2C812"/>
                </a:solidFill>
                <a:latin typeface="Segoe UI" panose="020B0502040204020203" pitchFamily="34" charset="0"/>
                <a:ea typeface="ＭＳ Ｐゴシック" charset="0"/>
                <a:cs typeface="Segoe UI" panose="020B0502040204020203" pitchFamily="34" charset="0"/>
              </a:defRPr>
            </a:lvl1pPr>
          </a:lstStyle>
          <a:p>
            <a:pPr marL="0" marR="0" lvl="0" indent="0" algn="l" defTabSz="914192" rtl="0" eaLnBrk="1" fontAlgn="auto" latinLnBrk="0" hangingPunct="1">
              <a:lnSpc>
                <a:spcPct val="100000"/>
              </a:lnSpc>
              <a:spcBef>
                <a:spcPts val="0"/>
              </a:spcBef>
              <a:spcAft>
                <a:spcPts val="0"/>
              </a:spcAft>
              <a:buClrTx/>
              <a:buSzTx/>
              <a:buFontTx/>
              <a:buNone/>
              <a:tabLst/>
              <a:defRPr/>
            </a:pPr>
            <a:r>
              <a:rPr kumimoji="0" lang="en-US" sz="2200" b="1" i="0" u="none" strike="noStrike" kern="1200" cap="none" spc="-100" normalizeH="0" baseline="0" noProof="0">
                <a:ln w="3175">
                  <a:noFill/>
                </a:ln>
                <a:solidFill>
                  <a:srgbClr val="F2C812"/>
                </a:solidFill>
                <a:effectLst/>
                <a:uLnTx/>
                <a:uFillTx/>
                <a:latin typeface="Segoe UI Light"/>
                <a:ea typeface="ＭＳ Ｐゴシック" charset="0"/>
                <a:cs typeface="Segoe UI" panose="020B0502040204020203" pitchFamily="34" charset="0"/>
              </a:rPr>
              <a:t>Power BI Desktop</a:t>
            </a:r>
          </a:p>
        </p:txBody>
      </p:sp>
      <p:sp>
        <p:nvSpPr>
          <p:cNvPr id="41" name="Rectangle 40"/>
          <p:cNvSpPr/>
          <p:nvPr/>
        </p:nvSpPr>
        <p:spPr bwMode="auto">
          <a:xfrm rot="2745734">
            <a:off x="825067" y="3494250"/>
            <a:ext cx="1260714" cy="370170"/>
          </a:xfrm>
          <a:prstGeom prst="rect">
            <a:avLst/>
          </a:prstGeom>
          <a:solidFill>
            <a:schemeClr val="tx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3" name="Picture 2"/>
          <p:cNvPicPr>
            <a:picLocks noChangeAspect="1"/>
          </p:cNvPicPr>
          <p:nvPr/>
        </p:nvPicPr>
        <p:blipFill>
          <a:blip r:embed="rId3"/>
          <a:stretch>
            <a:fillRect/>
          </a:stretch>
        </p:blipFill>
        <p:spPr>
          <a:xfrm>
            <a:off x="4206715" y="1573254"/>
            <a:ext cx="6524625" cy="4714875"/>
          </a:xfrm>
          <a:prstGeom prst="rect">
            <a:avLst/>
          </a:prstGeom>
          <a:ln>
            <a:noFill/>
          </a:ln>
          <a:effectLst>
            <a:outerShdw blurRad="190500" algn="tl" rotWithShape="0">
              <a:srgbClr val="000000">
                <a:alpha val="70000"/>
              </a:srgbClr>
            </a:outerShdw>
          </a:effectLst>
        </p:spPr>
      </p:pic>
      <p:pic>
        <p:nvPicPr>
          <p:cNvPr id="37" name="Picture 36"/>
          <p:cNvPicPr>
            <a:picLocks noChangeAspect="1"/>
          </p:cNvPicPr>
          <p:nvPr/>
        </p:nvPicPr>
        <p:blipFill>
          <a:blip r:embed="rId4">
            <a:extLst>
              <a:ext uri="{BEBA8EAE-BF5A-486C-A8C5-ECC9F3942E4B}">
                <a14:imgProps xmlns:a14="http://schemas.microsoft.com/office/drawing/2010/main">
                  <a14:imgLayer r:embed="rId5">
                    <a14:imgEffect>
                      <a14:saturation sat="0"/>
                    </a14:imgEffect>
                  </a14:imgLayer>
                </a14:imgProps>
              </a:ext>
            </a:extLst>
          </a:blip>
          <a:stretch>
            <a:fillRect/>
          </a:stretch>
        </p:blipFill>
        <p:spPr>
          <a:xfrm>
            <a:off x="9295986" y="4764922"/>
            <a:ext cx="2724150" cy="1924050"/>
          </a:xfrm>
          <a:prstGeom prst="rect">
            <a:avLst/>
          </a:prstGeom>
        </p:spPr>
      </p:pic>
    </p:spTree>
    <p:extLst>
      <p:ext uri="{BB962C8B-B14F-4D97-AF65-F5344CB8AC3E}">
        <p14:creationId xmlns:p14="http://schemas.microsoft.com/office/powerpoint/2010/main" val="4801801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solidFill>
            <a:schemeClr val="bg1"/>
          </a:solidFill>
        </p:spPr>
        <p:txBody>
          <a:bodyPr/>
          <a:lstStyle/>
          <a:p>
            <a:r>
              <a:rPr lang="pt-PT">
                <a:solidFill>
                  <a:schemeClr val="tx1"/>
                </a:solidFill>
              </a:rPr>
              <a:t>Visualisations - </a:t>
            </a:r>
            <a:r>
              <a:rPr lang="en-US" sz="3600">
                <a:solidFill>
                  <a:schemeClr val="tx1"/>
                </a:solidFill>
              </a:rPr>
              <a:t>Stacked Column Chart</a:t>
            </a:r>
          </a:p>
        </p:txBody>
      </p:sp>
      <p:grpSp>
        <p:nvGrpSpPr>
          <p:cNvPr id="52" name="Group 51"/>
          <p:cNvGrpSpPr/>
          <p:nvPr/>
        </p:nvGrpSpPr>
        <p:grpSpPr>
          <a:xfrm>
            <a:off x="2" y="1"/>
            <a:ext cx="2849058" cy="6858000"/>
            <a:chOff x="2" y="1"/>
            <a:chExt cx="2849058" cy="6858000"/>
          </a:xfrm>
        </p:grpSpPr>
        <p:sp>
          <p:nvSpPr>
            <p:cNvPr id="71" name="Rectangle 70"/>
            <p:cNvSpPr/>
            <p:nvPr/>
          </p:nvSpPr>
          <p:spPr bwMode="auto">
            <a:xfrm>
              <a:off x="2" y="1"/>
              <a:ext cx="2849058"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3" name="Oval 70"/>
            <p:cNvSpPr/>
            <p:nvPr/>
          </p:nvSpPr>
          <p:spPr>
            <a:xfrm>
              <a:off x="1413521" y="4951537"/>
              <a:ext cx="1119626" cy="1119626"/>
            </a:xfrm>
            <a:prstGeom prst="ellipse">
              <a:avLst/>
            </a:prstGeom>
            <a:solidFill>
              <a:srgbClr val="F2C812"/>
            </a:solidFill>
            <a:ln w="3175" cap="flat" cmpd="sng" algn="ctr">
              <a:noFill/>
              <a:prstDash val="solid"/>
            </a:ln>
            <a:effectLst/>
          </p:spPr>
          <p:txBody>
            <a:bodyPr vert="horz" wrap="none" lIns="0" tIns="45720" rIns="0" bIns="0" rtlCol="0" anchor="t"/>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Segoe UI"/>
                  <a:ea typeface="Segoe UI" pitchFamily="34" charset="0"/>
                  <a:cs typeface="Segoe UI" pitchFamily="34" charset="0"/>
                </a:rPr>
                <a:t>Share &amp;</a:t>
              </a:r>
            </a:p>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Segoe UI"/>
                  <a:ea typeface="Segoe UI" pitchFamily="34" charset="0"/>
                  <a:cs typeface="Segoe UI" pitchFamily="34" charset="0"/>
                </a:rPr>
                <a:t>collaborate </a:t>
              </a:r>
            </a:p>
          </p:txBody>
        </p:sp>
        <p:grpSp>
          <p:nvGrpSpPr>
            <p:cNvPr id="76" name="Group 38"/>
            <p:cNvGrpSpPr>
              <a:grpSpLocks noChangeAspect="1"/>
            </p:cNvGrpSpPr>
            <p:nvPr/>
          </p:nvGrpSpPr>
          <p:grpSpPr>
            <a:xfrm>
              <a:off x="676996" y="3930692"/>
              <a:ext cx="383905" cy="351536"/>
              <a:chOff x="4363684" y="5330386"/>
              <a:chExt cx="1409956" cy="1291077"/>
            </a:xfrm>
            <a:solidFill>
              <a:srgbClr val="217346"/>
            </a:solidFill>
          </p:grpSpPr>
          <p:sp>
            <p:nvSpPr>
              <p:cNvPr id="102" name="Donut 3"/>
              <p:cNvSpPr/>
              <p:nvPr/>
            </p:nvSpPr>
            <p:spPr bwMode="auto">
              <a:xfrm>
                <a:off x="4363684" y="5330386"/>
                <a:ext cx="1409956" cy="1291077"/>
              </a:xfrm>
              <a:custGeom>
                <a:avLst/>
                <a:gdLst/>
                <a:ahLst/>
                <a:cxnLst/>
                <a:rect l="l" t="t" r="r" b="b"/>
                <a:pathLst>
                  <a:path w="1409956" h="1291077">
                    <a:moveTo>
                      <a:pt x="956401" y="78410"/>
                    </a:moveTo>
                    <a:cubicBezTo>
                      <a:pt x="747518" y="78410"/>
                      <a:pt x="578184" y="247744"/>
                      <a:pt x="578184" y="456627"/>
                    </a:cubicBezTo>
                    <a:cubicBezTo>
                      <a:pt x="578184" y="665510"/>
                      <a:pt x="747518" y="834844"/>
                      <a:pt x="956401" y="834844"/>
                    </a:cubicBezTo>
                    <a:cubicBezTo>
                      <a:pt x="1165284" y="834844"/>
                      <a:pt x="1334618" y="665510"/>
                      <a:pt x="1334618" y="456627"/>
                    </a:cubicBezTo>
                    <a:cubicBezTo>
                      <a:pt x="1334618" y="247744"/>
                      <a:pt x="1165284" y="78410"/>
                      <a:pt x="956401" y="78410"/>
                    </a:cubicBezTo>
                    <a:close/>
                    <a:moveTo>
                      <a:pt x="952756" y="0"/>
                    </a:moveTo>
                    <a:cubicBezTo>
                      <a:pt x="1205261" y="0"/>
                      <a:pt x="1409956" y="204695"/>
                      <a:pt x="1409956" y="457200"/>
                    </a:cubicBezTo>
                    <a:cubicBezTo>
                      <a:pt x="1409956" y="709705"/>
                      <a:pt x="1205261" y="914400"/>
                      <a:pt x="952756" y="914400"/>
                    </a:cubicBezTo>
                    <a:cubicBezTo>
                      <a:pt x="862133" y="914400"/>
                      <a:pt x="777669" y="888034"/>
                      <a:pt x="707132" y="841746"/>
                    </a:cubicBezTo>
                    <a:lnTo>
                      <a:pt x="136495" y="1280102"/>
                    </a:lnTo>
                    <a:cubicBezTo>
                      <a:pt x="21896" y="1327168"/>
                      <a:pt x="-44029" y="1213730"/>
                      <a:pt x="33797" y="1113182"/>
                    </a:cubicBezTo>
                    <a:lnTo>
                      <a:pt x="568587" y="703518"/>
                    </a:lnTo>
                    <a:cubicBezTo>
                      <a:pt x="522087" y="632814"/>
                      <a:pt x="495556" y="548105"/>
                      <a:pt x="495556" y="457200"/>
                    </a:cubicBezTo>
                    <a:cubicBezTo>
                      <a:pt x="495556" y="204695"/>
                      <a:pt x="700251" y="0"/>
                      <a:pt x="952756" y="0"/>
                    </a:cubicBezTo>
                    <a:close/>
                  </a:path>
                </a:pathLst>
              </a:custGeom>
              <a:grpFill/>
              <a:ln>
                <a:solidFill>
                  <a:srgbClr val="21734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sp>
            <p:nvSpPr>
              <p:cNvPr id="103" name="Rectangle 4"/>
              <p:cNvSpPr/>
              <p:nvPr/>
            </p:nvSpPr>
            <p:spPr>
              <a:xfrm>
                <a:off x="5058389" y="5528247"/>
                <a:ext cx="490885" cy="490020"/>
              </a:xfrm>
              <a:custGeom>
                <a:avLst/>
                <a:gdLst/>
                <a:ahLst/>
                <a:cxnLst/>
                <a:rect l="l" t="t" r="r" b="b"/>
                <a:pathLst>
                  <a:path w="490885" h="490020">
                    <a:moveTo>
                      <a:pt x="240752" y="0"/>
                    </a:moveTo>
                    <a:cubicBezTo>
                      <a:pt x="253961" y="11844"/>
                      <a:pt x="293310" y="49692"/>
                      <a:pt x="337332" y="92439"/>
                    </a:cubicBezTo>
                    <a:lnTo>
                      <a:pt x="328342" y="81259"/>
                    </a:lnTo>
                    <a:cubicBezTo>
                      <a:pt x="356946" y="111282"/>
                      <a:pt x="377251" y="107167"/>
                      <a:pt x="382515" y="87941"/>
                    </a:cubicBezTo>
                    <a:cubicBezTo>
                      <a:pt x="383951" y="76921"/>
                      <a:pt x="384595" y="68732"/>
                      <a:pt x="396997" y="52239"/>
                    </a:cubicBezTo>
                    <a:cubicBezTo>
                      <a:pt x="420362" y="32084"/>
                      <a:pt x="442294" y="41736"/>
                      <a:pt x="454920" y="51330"/>
                    </a:cubicBezTo>
                    <a:cubicBezTo>
                      <a:pt x="467834" y="62761"/>
                      <a:pt x="477920" y="86882"/>
                      <a:pt x="460392" y="109714"/>
                    </a:cubicBezTo>
                    <a:cubicBezTo>
                      <a:pt x="451128" y="121912"/>
                      <a:pt x="437554" y="126838"/>
                      <a:pt x="425922" y="126505"/>
                    </a:cubicBezTo>
                    <a:cubicBezTo>
                      <a:pt x="424301" y="127609"/>
                      <a:pt x="382890" y="134974"/>
                      <a:pt x="427348" y="177672"/>
                    </a:cubicBezTo>
                    <a:lnTo>
                      <a:pt x="416886" y="169735"/>
                    </a:lnTo>
                    <a:cubicBezTo>
                      <a:pt x="450207" y="202177"/>
                      <a:pt x="478424" y="229744"/>
                      <a:pt x="490885" y="241900"/>
                    </a:cubicBezTo>
                    <a:lnTo>
                      <a:pt x="417150" y="317347"/>
                    </a:lnTo>
                    <a:cubicBezTo>
                      <a:pt x="417744" y="316535"/>
                      <a:pt x="418443" y="316123"/>
                      <a:pt x="419047" y="315822"/>
                    </a:cubicBezTo>
                    <a:cubicBezTo>
                      <a:pt x="389023" y="344426"/>
                      <a:pt x="393138" y="364731"/>
                      <a:pt x="412364" y="369995"/>
                    </a:cubicBezTo>
                    <a:cubicBezTo>
                      <a:pt x="423384" y="371431"/>
                      <a:pt x="431574" y="372075"/>
                      <a:pt x="448067" y="384477"/>
                    </a:cubicBezTo>
                    <a:cubicBezTo>
                      <a:pt x="468221" y="407842"/>
                      <a:pt x="458569" y="429774"/>
                      <a:pt x="448975" y="442400"/>
                    </a:cubicBezTo>
                    <a:cubicBezTo>
                      <a:pt x="437545" y="455314"/>
                      <a:pt x="413423" y="465400"/>
                      <a:pt x="390591" y="447872"/>
                    </a:cubicBezTo>
                    <a:cubicBezTo>
                      <a:pt x="378394" y="438608"/>
                      <a:pt x="373468" y="425034"/>
                      <a:pt x="373800" y="413402"/>
                    </a:cubicBezTo>
                    <a:cubicBezTo>
                      <a:pt x="372696" y="411781"/>
                      <a:pt x="365332" y="370370"/>
                      <a:pt x="322634" y="414828"/>
                    </a:cubicBezTo>
                    <a:lnTo>
                      <a:pt x="325243" y="411388"/>
                    </a:lnTo>
                    <a:lnTo>
                      <a:pt x="248395" y="490020"/>
                    </a:lnTo>
                    <a:cubicBezTo>
                      <a:pt x="208939" y="451897"/>
                      <a:pt x="199129" y="442073"/>
                      <a:pt x="174192" y="418236"/>
                    </a:cubicBezTo>
                    <a:cubicBezTo>
                      <a:pt x="145587" y="388212"/>
                      <a:pt x="125282" y="392327"/>
                      <a:pt x="120018" y="411553"/>
                    </a:cubicBezTo>
                    <a:cubicBezTo>
                      <a:pt x="118582" y="422573"/>
                      <a:pt x="117938" y="430763"/>
                      <a:pt x="105536" y="447256"/>
                    </a:cubicBezTo>
                    <a:cubicBezTo>
                      <a:pt x="82171" y="467410"/>
                      <a:pt x="60239" y="457758"/>
                      <a:pt x="47614" y="448164"/>
                    </a:cubicBezTo>
                    <a:cubicBezTo>
                      <a:pt x="34699" y="436734"/>
                      <a:pt x="24614" y="412612"/>
                      <a:pt x="42141" y="389780"/>
                    </a:cubicBezTo>
                    <a:cubicBezTo>
                      <a:pt x="51405" y="377583"/>
                      <a:pt x="64979" y="372657"/>
                      <a:pt x="76612" y="372989"/>
                    </a:cubicBezTo>
                    <a:cubicBezTo>
                      <a:pt x="78232" y="371886"/>
                      <a:pt x="119644" y="364521"/>
                      <a:pt x="75186" y="321823"/>
                    </a:cubicBezTo>
                    <a:cubicBezTo>
                      <a:pt x="58767" y="305402"/>
                      <a:pt x="23648" y="271235"/>
                      <a:pt x="0" y="248738"/>
                    </a:cubicBezTo>
                    <a:lnTo>
                      <a:pt x="77303" y="168146"/>
                    </a:lnTo>
                    <a:cubicBezTo>
                      <a:pt x="104269" y="140313"/>
                      <a:pt x="122130" y="156409"/>
                      <a:pt x="124388" y="175543"/>
                    </a:cubicBezTo>
                    <a:cubicBezTo>
                      <a:pt x="124457" y="182466"/>
                      <a:pt x="127106" y="193106"/>
                      <a:pt x="137575" y="203052"/>
                    </a:cubicBezTo>
                    <a:cubicBezTo>
                      <a:pt x="153931" y="220277"/>
                      <a:pt x="181252" y="217451"/>
                      <a:pt x="196721" y="201951"/>
                    </a:cubicBezTo>
                    <a:cubicBezTo>
                      <a:pt x="211961" y="185740"/>
                      <a:pt x="213057" y="157882"/>
                      <a:pt x="196146" y="142797"/>
                    </a:cubicBezTo>
                    <a:cubicBezTo>
                      <a:pt x="184301" y="132637"/>
                      <a:pt x="177155" y="131453"/>
                      <a:pt x="166513" y="129894"/>
                    </a:cubicBezTo>
                    <a:cubicBezTo>
                      <a:pt x="154522" y="129013"/>
                      <a:pt x="131185" y="112953"/>
                      <a:pt x="157905" y="85228"/>
                    </a:cubicBezTo>
                    <a:close/>
                  </a:path>
                </a:pathLst>
              </a:custGeom>
              <a:grpFill/>
              <a:ln>
                <a:solidFill>
                  <a:srgbClr val="21734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grpSp>
        <p:sp>
          <p:nvSpPr>
            <p:cNvPr id="77" name="Oval 47"/>
            <p:cNvSpPr/>
            <p:nvPr/>
          </p:nvSpPr>
          <p:spPr>
            <a:xfrm>
              <a:off x="388608" y="3710471"/>
              <a:ext cx="1119626" cy="1119626"/>
            </a:xfrm>
            <a:prstGeom prst="ellipse">
              <a:avLst/>
            </a:prstGeom>
            <a:solidFill>
              <a:srgbClr val="F2C812"/>
            </a:solidFill>
            <a:ln w="3175" cap="flat" cmpd="sng" algn="ctr">
              <a:noFill/>
              <a:prstDash val="solid"/>
            </a:ln>
            <a:effectLst/>
          </p:spPr>
          <p:txBody>
            <a:bodyPr vert="horz" wrap="none" lIns="0" tIns="45720" rIns="0" bIns="0" rtlCol="0" anchor="t"/>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Segoe UI"/>
                  <a:ea typeface="Segoe UI" pitchFamily="34" charset="0"/>
                  <a:cs typeface="Segoe UI" pitchFamily="34" charset="0"/>
                </a:rPr>
                <a:t>Report</a:t>
              </a:r>
            </a:p>
          </p:txBody>
        </p:sp>
        <p:sp>
          <p:nvSpPr>
            <p:cNvPr id="78" name="Oval 950"/>
            <p:cNvSpPr/>
            <p:nvPr/>
          </p:nvSpPr>
          <p:spPr>
            <a:xfrm>
              <a:off x="388608" y="1252295"/>
              <a:ext cx="1119626" cy="1119626"/>
            </a:xfrm>
            <a:prstGeom prst="ellipse">
              <a:avLst/>
            </a:prstGeom>
            <a:solidFill>
              <a:srgbClr val="F2C812"/>
            </a:solidFill>
            <a:ln w="3175" cap="flat" cmpd="sng" algn="ctr">
              <a:noFill/>
              <a:prstDash val="solid"/>
            </a:ln>
            <a:effectLst/>
          </p:spPr>
          <p:txBody>
            <a:bodyPr vert="horz" wrap="none" lIns="0" tIns="45720" rIns="0" bIns="0" rtlCol="0" anchor="t"/>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1" i="0" u="none" strike="noStrike" kern="1200" cap="none" spc="0" normalizeH="0" baseline="0" noProof="0">
                <a:ln>
                  <a:noFill/>
                </a:ln>
                <a:solidFill>
                  <a:srgbClr val="217346"/>
                </a:solidFill>
                <a:effectLst/>
                <a:uLnTx/>
                <a:uFillTx/>
                <a:latin typeface="Segoe UI"/>
                <a:ea typeface="Segoe UI" pitchFamily="34" charset="0"/>
                <a:cs typeface="Segoe UI" pitchFamily="34" charset="0"/>
              </a:endParaRPr>
            </a:p>
          </p:txBody>
        </p:sp>
        <p:grpSp>
          <p:nvGrpSpPr>
            <p:cNvPr id="79" name="Group 78"/>
            <p:cNvGrpSpPr/>
            <p:nvPr/>
          </p:nvGrpSpPr>
          <p:grpSpPr>
            <a:xfrm>
              <a:off x="1264851" y="3482890"/>
              <a:ext cx="292254" cy="354906"/>
              <a:chOff x="1296521" y="3253388"/>
              <a:chExt cx="292254" cy="354906"/>
            </a:xfrm>
            <a:solidFill>
              <a:srgbClr val="F2C812"/>
            </a:solidFill>
          </p:grpSpPr>
          <p:sp>
            <p:nvSpPr>
              <p:cNvPr id="99" name="Isosceles Triangle 98"/>
              <p:cNvSpPr/>
              <p:nvPr/>
            </p:nvSpPr>
            <p:spPr bwMode="auto">
              <a:xfrm rot="13636515">
                <a:off x="1461362" y="328936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0" name="Isosceles Triangle 99"/>
              <p:cNvSpPr/>
              <p:nvPr/>
            </p:nvSpPr>
            <p:spPr bwMode="auto">
              <a:xfrm rot="13636515">
                <a:off x="1357669" y="338258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1" name="Isosceles Triangle 100"/>
              <p:cNvSpPr/>
              <p:nvPr/>
            </p:nvSpPr>
            <p:spPr bwMode="auto">
              <a:xfrm rot="13636515">
                <a:off x="1260548" y="3480882"/>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80" name="Group 79"/>
            <p:cNvGrpSpPr/>
            <p:nvPr/>
          </p:nvGrpSpPr>
          <p:grpSpPr>
            <a:xfrm rot="15940603">
              <a:off x="1334576" y="2204404"/>
              <a:ext cx="292254" cy="354906"/>
              <a:chOff x="1296521" y="3253388"/>
              <a:chExt cx="292254" cy="354906"/>
            </a:xfrm>
            <a:solidFill>
              <a:srgbClr val="F2C812"/>
            </a:solidFill>
          </p:grpSpPr>
          <p:sp>
            <p:nvSpPr>
              <p:cNvPr id="96" name="Isosceles Triangle 95"/>
              <p:cNvSpPr/>
              <p:nvPr/>
            </p:nvSpPr>
            <p:spPr bwMode="auto">
              <a:xfrm rot="13636515">
                <a:off x="1461362" y="328936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7" name="Isosceles Triangle 96"/>
              <p:cNvSpPr/>
              <p:nvPr/>
            </p:nvSpPr>
            <p:spPr bwMode="auto">
              <a:xfrm rot="13636515">
                <a:off x="1357669" y="338258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8" name="Isosceles Triangle 97"/>
              <p:cNvSpPr/>
              <p:nvPr/>
            </p:nvSpPr>
            <p:spPr bwMode="auto">
              <a:xfrm rot="13636515">
                <a:off x="1260548" y="3480882"/>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81" name="Group 80"/>
            <p:cNvGrpSpPr/>
            <p:nvPr/>
          </p:nvGrpSpPr>
          <p:grpSpPr>
            <a:xfrm rot="16043978">
              <a:off x="1317220" y="4717577"/>
              <a:ext cx="292254" cy="354906"/>
              <a:chOff x="1296521" y="3253388"/>
              <a:chExt cx="292254" cy="354906"/>
            </a:xfrm>
            <a:solidFill>
              <a:srgbClr val="F2C812"/>
            </a:solidFill>
          </p:grpSpPr>
          <p:sp>
            <p:nvSpPr>
              <p:cNvPr id="93" name="Isosceles Triangle 92"/>
              <p:cNvSpPr/>
              <p:nvPr/>
            </p:nvSpPr>
            <p:spPr bwMode="auto">
              <a:xfrm rot="13636515">
                <a:off x="1461362" y="328936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4" name="Isosceles Triangle 93"/>
              <p:cNvSpPr/>
              <p:nvPr/>
            </p:nvSpPr>
            <p:spPr bwMode="auto">
              <a:xfrm rot="13636515">
                <a:off x="1357669" y="338258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5" name="Isosceles Triangle 94"/>
              <p:cNvSpPr/>
              <p:nvPr/>
            </p:nvSpPr>
            <p:spPr bwMode="auto">
              <a:xfrm rot="13636515">
                <a:off x="1260548" y="3480882"/>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82" name="Oval 36"/>
            <p:cNvSpPr/>
            <p:nvPr/>
          </p:nvSpPr>
          <p:spPr>
            <a:xfrm>
              <a:off x="1413521" y="2481383"/>
              <a:ext cx="1119626" cy="1119626"/>
            </a:xfrm>
            <a:prstGeom prst="ellipse">
              <a:avLst/>
            </a:prstGeom>
            <a:solidFill>
              <a:srgbClr val="F2C812"/>
            </a:solidFill>
            <a:ln w="3175" cap="flat" cmpd="sng" algn="ctr">
              <a:noFill/>
              <a:prstDash val="solid"/>
            </a:ln>
            <a:effectLst/>
          </p:spPr>
          <p:txBody>
            <a:bodyPr vert="horz" wrap="none" lIns="0" tIns="0" rIns="0" bIns="0" rtlCol="0" anchor="t"/>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400" b="1" i="0" u="none" strike="noStrike" kern="1200" cap="none" spc="0" normalizeH="0" baseline="0" noProof="0">
                <a:ln>
                  <a:noFill/>
                </a:ln>
                <a:solidFill>
                  <a:srgbClr val="217346"/>
                </a:solidFill>
                <a:effectLst/>
                <a:uLnTx/>
                <a:uFillTx/>
                <a:latin typeface="Segoe UI"/>
                <a:ea typeface="Segoe UI" pitchFamily="34" charset="0"/>
                <a:cs typeface="Segoe UI" pitchFamily="34" charset="0"/>
              </a:endParaRPr>
            </a:p>
          </p:txBody>
        </p:sp>
        <p:sp>
          <p:nvSpPr>
            <p:cNvPr id="83" name="Donut 3"/>
            <p:cNvSpPr/>
            <p:nvPr/>
          </p:nvSpPr>
          <p:spPr bwMode="auto">
            <a:xfrm>
              <a:off x="1742065" y="3002355"/>
              <a:ext cx="383905" cy="351537"/>
            </a:xfrm>
            <a:custGeom>
              <a:avLst/>
              <a:gdLst/>
              <a:ahLst/>
              <a:cxnLst/>
              <a:rect l="l" t="t" r="r" b="b"/>
              <a:pathLst>
                <a:path w="1409956" h="1291077">
                  <a:moveTo>
                    <a:pt x="956401" y="78410"/>
                  </a:moveTo>
                  <a:cubicBezTo>
                    <a:pt x="747518" y="78410"/>
                    <a:pt x="578184" y="247744"/>
                    <a:pt x="578184" y="456627"/>
                  </a:cubicBezTo>
                  <a:cubicBezTo>
                    <a:pt x="578184" y="665510"/>
                    <a:pt x="747518" y="834844"/>
                    <a:pt x="956401" y="834844"/>
                  </a:cubicBezTo>
                  <a:cubicBezTo>
                    <a:pt x="1165284" y="834844"/>
                    <a:pt x="1334618" y="665510"/>
                    <a:pt x="1334618" y="456627"/>
                  </a:cubicBezTo>
                  <a:cubicBezTo>
                    <a:pt x="1334618" y="247744"/>
                    <a:pt x="1165284" y="78410"/>
                    <a:pt x="956401" y="78410"/>
                  </a:cubicBezTo>
                  <a:close/>
                  <a:moveTo>
                    <a:pt x="952756" y="0"/>
                  </a:moveTo>
                  <a:cubicBezTo>
                    <a:pt x="1205261" y="0"/>
                    <a:pt x="1409956" y="204695"/>
                    <a:pt x="1409956" y="457200"/>
                  </a:cubicBezTo>
                  <a:cubicBezTo>
                    <a:pt x="1409956" y="709705"/>
                    <a:pt x="1205261" y="914400"/>
                    <a:pt x="952756" y="914400"/>
                  </a:cubicBezTo>
                  <a:cubicBezTo>
                    <a:pt x="862133" y="914400"/>
                    <a:pt x="777669" y="888034"/>
                    <a:pt x="707132" y="841746"/>
                  </a:cubicBezTo>
                  <a:lnTo>
                    <a:pt x="136495" y="1280102"/>
                  </a:lnTo>
                  <a:cubicBezTo>
                    <a:pt x="21896" y="1327168"/>
                    <a:pt x="-44029" y="1213730"/>
                    <a:pt x="33797" y="1113182"/>
                  </a:cubicBezTo>
                  <a:lnTo>
                    <a:pt x="568587" y="703518"/>
                  </a:lnTo>
                  <a:cubicBezTo>
                    <a:pt x="522087" y="632814"/>
                    <a:pt x="495556" y="548105"/>
                    <a:pt x="495556" y="457200"/>
                  </a:cubicBezTo>
                  <a:cubicBezTo>
                    <a:pt x="495556" y="204695"/>
                    <a:pt x="700251" y="0"/>
                    <a:pt x="952756" y="0"/>
                  </a:cubicBezTo>
                  <a:close/>
                </a:path>
              </a:pathLst>
            </a:cu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sp>
          <p:nvSpPr>
            <p:cNvPr id="84" name="Rectangle 83"/>
            <p:cNvSpPr/>
            <p:nvPr/>
          </p:nvSpPr>
          <p:spPr>
            <a:xfrm>
              <a:off x="1600398" y="2677430"/>
              <a:ext cx="820353" cy="307777"/>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Segoe UI"/>
                  <a:ea typeface="Segoe UI" pitchFamily="34" charset="0"/>
                  <a:cs typeface="Segoe UI" pitchFamily="34" charset="0"/>
                </a:rPr>
                <a:t>Explore</a:t>
              </a:r>
              <a:endParaRPr kumimoji="0" lang="en-US" sz="1600" b="0" i="0" u="none" strike="noStrike" kern="1200" cap="none" spc="0" normalizeH="0" baseline="0" noProof="0">
                <a:ln>
                  <a:noFill/>
                </a:ln>
                <a:solidFill>
                  <a:srgbClr val="000000"/>
                </a:solidFill>
                <a:effectLst/>
                <a:uLnTx/>
                <a:uFillTx/>
                <a:latin typeface="Segoe UI"/>
                <a:ea typeface="+mn-ea"/>
                <a:cs typeface="+mn-cs"/>
              </a:endParaRPr>
            </a:p>
          </p:txBody>
        </p:sp>
        <p:sp>
          <p:nvSpPr>
            <p:cNvPr id="85" name="Rectangle 84"/>
            <p:cNvSpPr/>
            <p:nvPr/>
          </p:nvSpPr>
          <p:spPr>
            <a:xfrm>
              <a:off x="509174" y="1475232"/>
              <a:ext cx="838756" cy="307777"/>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Segoe UI"/>
                  <a:ea typeface="Segoe UI" pitchFamily="34" charset="0"/>
                  <a:cs typeface="Segoe UI" pitchFamily="34" charset="0"/>
                </a:rPr>
                <a:t>Prepare</a:t>
              </a: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86" name="Freeform 85"/>
            <p:cNvSpPr>
              <a:spLocks noChangeAspect="1"/>
            </p:cNvSpPr>
            <p:nvPr/>
          </p:nvSpPr>
          <p:spPr bwMode="black">
            <a:xfrm>
              <a:off x="1836174" y="5643069"/>
              <a:ext cx="274320" cy="284173"/>
            </a:xfrm>
            <a:custGeom>
              <a:avLst/>
              <a:gdLst>
                <a:gd name="T0" fmla="*/ 539 w 669"/>
                <a:gd name="T1" fmla="*/ 5 h 693"/>
                <a:gd name="T2" fmla="*/ 640 w 669"/>
                <a:gd name="T3" fmla="*/ 55 h 693"/>
                <a:gd name="T4" fmla="*/ 603 w 669"/>
                <a:gd name="T5" fmla="*/ 195 h 693"/>
                <a:gd name="T6" fmla="*/ 490 w 669"/>
                <a:gd name="T7" fmla="*/ 188 h 693"/>
                <a:gd name="T8" fmla="*/ 479 w 669"/>
                <a:gd name="T9" fmla="*/ 176 h 693"/>
                <a:gd name="T10" fmla="*/ 213 w 669"/>
                <a:gd name="T11" fmla="*/ 330 h 693"/>
                <a:gd name="T12" fmla="*/ 218 w 669"/>
                <a:gd name="T13" fmla="*/ 345 h 693"/>
                <a:gd name="T14" fmla="*/ 218 w 669"/>
                <a:gd name="T15" fmla="*/ 375 h 693"/>
                <a:gd name="T16" fmla="*/ 209 w 669"/>
                <a:gd name="T17" fmla="*/ 402 h 693"/>
                <a:gd name="T18" fmla="*/ 369 w 669"/>
                <a:gd name="T19" fmla="*/ 503 h 693"/>
                <a:gd name="T20" fmla="*/ 373 w 669"/>
                <a:gd name="T21" fmla="*/ 498 h 693"/>
                <a:gd name="T22" fmla="*/ 456 w 669"/>
                <a:gd name="T23" fmla="*/ 475 h 693"/>
                <a:gd name="T24" fmla="*/ 494 w 669"/>
                <a:gd name="T25" fmla="*/ 489 h 693"/>
                <a:gd name="T26" fmla="*/ 527 w 669"/>
                <a:gd name="T27" fmla="*/ 630 h 693"/>
                <a:gd name="T28" fmla="*/ 386 w 669"/>
                <a:gd name="T29" fmla="*/ 663 h 693"/>
                <a:gd name="T30" fmla="*/ 339 w 669"/>
                <a:gd name="T31" fmla="*/ 560 h 693"/>
                <a:gd name="T32" fmla="*/ 345 w 669"/>
                <a:gd name="T33" fmla="*/ 544 h 693"/>
                <a:gd name="T34" fmla="*/ 177 w 669"/>
                <a:gd name="T35" fmla="*/ 439 h 693"/>
                <a:gd name="T36" fmla="*/ 168 w 669"/>
                <a:gd name="T37" fmla="*/ 446 h 693"/>
                <a:gd name="T38" fmla="*/ 28 w 669"/>
                <a:gd name="T39" fmla="*/ 409 h 693"/>
                <a:gd name="T40" fmla="*/ 65 w 669"/>
                <a:gd name="T41" fmla="*/ 269 h 693"/>
                <a:gd name="T42" fmla="*/ 178 w 669"/>
                <a:gd name="T43" fmla="*/ 276 h 693"/>
                <a:gd name="T44" fmla="*/ 189 w 669"/>
                <a:gd name="T45" fmla="*/ 288 h 693"/>
                <a:gd name="T46" fmla="*/ 455 w 669"/>
                <a:gd name="T47" fmla="*/ 134 h 693"/>
                <a:gd name="T48" fmla="*/ 450 w 669"/>
                <a:gd name="T49" fmla="*/ 119 h 693"/>
                <a:gd name="T50" fmla="*/ 501 w 669"/>
                <a:gd name="T51" fmla="*/ 18 h 693"/>
                <a:gd name="T52" fmla="*/ 539 w 669"/>
                <a:gd name="T53" fmla="*/ 5 h 6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69" h="693">
                  <a:moveTo>
                    <a:pt x="539" y="5"/>
                  </a:moveTo>
                  <a:cubicBezTo>
                    <a:pt x="579" y="0"/>
                    <a:pt x="619" y="19"/>
                    <a:pt x="640" y="55"/>
                  </a:cubicBezTo>
                  <a:cubicBezTo>
                    <a:pt x="669" y="104"/>
                    <a:pt x="652" y="167"/>
                    <a:pt x="603" y="195"/>
                  </a:cubicBezTo>
                  <a:cubicBezTo>
                    <a:pt x="566" y="216"/>
                    <a:pt x="522" y="212"/>
                    <a:pt x="490" y="188"/>
                  </a:cubicBezTo>
                  <a:cubicBezTo>
                    <a:pt x="479" y="176"/>
                    <a:pt x="479" y="176"/>
                    <a:pt x="479" y="176"/>
                  </a:cubicBezTo>
                  <a:cubicBezTo>
                    <a:pt x="213" y="330"/>
                    <a:pt x="213" y="330"/>
                    <a:pt x="213" y="330"/>
                  </a:cubicBezTo>
                  <a:cubicBezTo>
                    <a:pt x="218" y="345"/>
                    <a:pt x="218" y="345"/>
                    <a:pt x="218" y="345"/>
                  </a:cubicBezTo>
                  <a:cubicBezTo>
                    <a:pt x="219" y="355"/>
                    <a:pt x="219" y="365"/>
                    <a:pt x="218" y="375"/>
                  </a:cubicBezTo>
                  <a:cubicBezTo>
                    <a:pt x="209" y="402"/>
                    <a:pt x="209" y="402"/>
                    <a:pt x="209" y="402"/>
                  </a:cubicBezTo>
                  <a:cubicBezTo>
                    <a:pt x="369" y="503"/>
                    <a:pt x="369" y="503"/>
                    <a:pt x="369" y="503"/>
                  </a:cubicBezTo>
                  <a:cubicBezTo>
                    <a:pt x="373" y="498"/>
                    <a:pt x="373" y="498"/>
                    <a:pt x="373" y="498"/>
                  </a:cubicBezTo>
                  <a:cubicBezTo>
                    <a:pt x="396" y="479"/>
                    <a:pt x="427" y="470"/>
                    <a:pt x="456" y="475"/>
                  </a:cubicBezTo>
                  <a:cubicBezTo>
                    <a:pt x="470" y="477"/>
                    <a:pt x="482" y="482"/>
                    <a:pt x="494" y="489"/>
                  </a:cubicBezTo>
                  <a:cubicBezTo>
                    <a:pt x="542" y="519"/>
                    <a:pt x="557" y="583"/>
                    <a:pt x="527" y="630"/>
                  </a:cubicBezTo>
                  <a:cubicBezTo>
                    <a:pt x="497" y="678"/>
                    <a:pt x="433" y="693"/>
                    <a:pt x="386" y="663"/>
                  </a:cubicBezTo>
                  <a:cubicBezTo>
                    <a:pt x="350" y="640"/>
                    <a:pt x="333" y="599"/>
                    <a:pt x="339" y="560"/>
                  </a:cubicBezTo>
                  <a:cubicBezTo>
                    <a:pt x="345" y="544"/>
                    <a:pt x="345" y="544"/>
                    <a:pt x="345" y="544"/>
                  </a:cubicBezTo>
                  <a:cubicBezTo>
                    <a:pt x="177" y="439"/>
                    <a:pt x="177" y="439"/>
                    <a:pt x="177" y="439"/>
                  </a:cubicBezTo>
                  <a:cubicBezTo>
                    <a:pt x="168" y="446"/>
                    <a:pt x="168" y="446"/>
                    <a:pt x="168" y="446"/>
                  </a:cubicBezTo>
                  <a:cubicBezTo>
                    <a:pt x="119" y="475"/>
                    <a:pt x="56" y="458"/>
                    <a:pt x="28" y="409"/>
                  </a:cubicBezTo>
                  <a:cubicBezTo>
                    <a:pt x="0" y="360"/>
                    <a:pt x="16" y="297"/>
                    <a:pt x="65" y="269"/>
                  </a:cubicBezTo>
                  <a:cubicBezTo>
                    <a:pt x="102" y="248"/>
                    <a:pt x="147" y="252"/>
                    <a:pt x="178" y="276"/>
                  </a:cubicBezTo>
                  <a:cubicBezTo>
                    <a:pt x="189" y="288"/>
                    <a:pt x="189" y="288"/>
                    <a:pt x="189" y="288"/>
                  </a:cubicBezTo>
                  <a:cubicBezTo>
                    <a:pt x="455" y="134"/>
                    <a:pt x="455" y="134"/>
                    <a:pt x="455" y="134"/>
                  </a:cubicBezTo>
                  <a:cubicBezTo>
                    <a:pt x="450" y="119"/>
                    <a:pt x="450" y="119"/>
                    <a:pt x="450" y="119"/>
                  </a:cubicBezTo>
                  <a:cubicBezTo>
                    <a:pt x="445" y="80"/>
                    <a:pt x="464" y="39"/>
                    <a:pt x="501" y="18"/>
                  </a:cubicBezTo>
                  <a:cubicBezTo>
                    <a:pt x="513" y="11"/>
                    <a:pt x="526" y="6"/>
                    <a:pt x="539" y="5"/>
                  </a:cubicBezTo>
                  <a:close/>
                </a:path>
              </a:pathLst>
            </a:custGeom>
            <a:solidFill>
              <a:schemeClr val="tx1"/>
            </a:solidFill>
            <a:ln>
              <a:noFill/>
            </a:ln>
          </p:spPr>
          <p:txBody>
            <a:bodyPr vert="horz" wrap="square" lIns="68574" tIns="34287" rIns="68574" bIns="34287"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0000"/>
                </a:solidFill>
                <a:effectLst/>
                <a:uLnTx/>
                <a:uFillTx/>
                <a:latin typeface="Segoe UI"/>
                <a:ea typeface="+mn-ea"/>
                <a:cs typeface="+mn-cs"/>
              </a:endParaRPr>
            </a:p>
          </p:txBody>
        </p:sp>
        <p:sp>
          <p:nvSpPr>
            <p:cNvPr id="87" name="Freeform 86"/>
            <p:cNvSpPr>
              <a:spLocks noChangeAspect="1" noEditPoints="1"/>
            </p:cNvSpPr>
            <p:nvPr/>
          </p:nvSpPr>
          <p:spPr bwMode="black">
            <a:xfrm>
              <a:off x="722320" y="1783009"/>
              <a:ext cx="452202" cy="366660"/>
            </a:xfrm>
            <a:custGeom>
              <a:avLst/>
              <a:gdLst>
                <a:gd name="T0" fmla="*/ 600 w 1107"/>
                <a:gd name="T1" fmla="*/ 625 h 897"/>
                <a:gd name="T2" fmla="*/ 649 w 1107"/>
                <a:gd name="T3" fmla="*/ 567 h 897"/>
                <a:gd name="T4" fmla="*/ 727 w 1107"/>
                <a:gd name="T5" fmla="*/ 482 h 897"/>
                <a:gd name="T6" fmla="*/ 601 w 1107"/>
                <a:gd name="T7" fmla="*/ 434 h 897"/>
                <a:gd name="T8" fmla="*/ 628 w 1107"/>
                <a:gd name="T9" fmla="*/ 305 h 897"/>
                <a:gd name="T10" fmla="*/ 547 w 1107"/>
                <a:gd name="T11" fmla="*/ 240 h 897"/>
                <a:gd name="T12" fmla="*/ 427 w 1107"/>
                <a:gd name="T13" fmla="*/ 287 h 897"/>
                <a:gd name="T14" fmla="*/ 368 w 1107"/>
                <a:gd name="T15" fmla="*/ 170 h 897"/>
                <a:gd name="T16" fmla="*/ 285 w 1107"/>
                <a:gd name="T17" fmla="*/ 263 h 897"/>
                <a:gd name="T18" fmla="*/ 241 w 1107"/>
                <a:gd name="T19" fmla="*/ 313 h 897"/>
                <a:gd name="T20" fmla="*/ 139 w 1107"/>
                <a:gd name="T21" fmla="*/ 281 h 897"/>
                <a:gd name="T22" fmla="*/ 79 w 1107"/>
                <a:gd name="T23" fmla="*/ 355 h 897"/>
                <a:gd name="T24" fmla="*/ 132 w 1107"/>
                <a:gd name="T25" fmla="*/ 446 h 897"/>
                <a:gd name="T26" fmla="*/ 83 w 1107"/>
                <a:gd name="T27" fmla="*/ 505 h 897"/>
                <a:gd name="T28" fmla="*/ 5 w 1107"/>
                <a:gd name="T29" fmla="*/ 590 h 897"/>
                <a:gd name="T30" fmla="*/ 132 w 1107"/>
                <a:gd name="T31" fmla="*/ 638 h 897"/>
                <a:gd name="T32" fmla="*/ 145 w 1107"/>
                <a:gd name="T33" fmla="*/ 669 h 897"/>
                <a:gd name="T34" fmla="*/ 110 w 1107"/>
                <a:gd name="T35" fmla="*/ 793 h 897"/>
                <a:gd name="T36" fmla="*/ 230 w 1107"/>
                <a:gd name="T37" fmla="*/ 781 h 897"/>
                <a:gd name="T38" fmla="*/ 306 w 1107"/>
                <a:gd name="T39" fmla="*/ 785 h 897"/>
                <a:gd name="T40" fmla="*/ 346 w 1107"/>
                <a:gd name="T41" fmla="*/ 878 h 897"/>
                <a:gd name="T42" fmla="*/ 440 w 1107"/>
                <a:gd name="T43" fmla="*/ 872 h 897"/>
                <a:gd name="T44" fmla="*/ 466 w 1107"/>
                <a:gd name="T45" fmla="*/ 764 h 897"/>
                <a:gd name="T46" fmla="*/ 539 w 1107"/>
                <a:gd name="T47" fmla="*/ 755 h 897"/>
                <a:gd name="T48" fmla="*/ 659 w 1107"/>
                <a:gd name="T49" fmla="*/ 743 h 897"/>
                <a:gd name="T50" fmla="*/ 263 w 1107"/>
                <a:gd name="T51" fmla="*/ 452 h 897"/>
                <a:gd name="T52" fmla="*/ 281 w 1107"/>
                <a:gd name="T53" fmla="*/ 633 h 897"/>
                <a:gd name="T54" fmla="*/ 1002 w 1107"/>
                <a:gd name="T55" fmla="*/ 332 h 897"/>
                <a:gd name="T56" fmla="*/ 1043 w 1107"/>
                <a:gd name="T57" fmla="*/ 304 h 897"/>
                <a:gd name="T58" fmla="*/ 1107 w 1107"/>
                <a:gd name="T59" fmla="*/ 266 h 897"/>
                <a:gd name="T60" fmla="*/ 1037 w 1107"/>
                <a:gd name="T61" fmla="*/ 213 h 897"/>
                <a:gd name="T62" fmla="*/ 1077 w 1107"/>
                <a:gd name="T63" fmla="*/ 138 h 897"/>
                <a:gd name="T64" fmla="*/ 1038 w 1107"/>
                <a:gd name="T65" fmla="*/ 83 h 897"/>
                <a:gd name="T66" fmla="*/ 956 w 1107"/>
                <a:gd name="T67" fmla="*/ 91 h 897"/>
                <a:gd name="T68" fmla="*/ 940 w 1107"/>
                <a:gd name="T69" fmla="*/ 7 h 897"/>
                <a:gd name="T70" fmla="*/ 872 w 1107"/>
                <a:gd name="T71" fmla="*/ 50 h 897"/>
                <a:gd name="T72" fmla="*/ 836 w 1107"/>
                <a:gd name="T73" fmla="*/ 74 h 897"/>
                <a:gd name="T74" fmla="*/ 778 w 1107"/>
                <a:gd name="T75" fmla="*/ 35 h 897"/>
                <a:gd name="T76" fmla="*/ 728 w 1107"/>
                <a:gd name="T77" fmla="*/ 70 h 897"/>
                <a:gd name="T78" fmla="*/ 744 w 1107"/>
                <a:gd name="T79" fmla="*/ 136 h 897"/>
                <a:gd name="T80" fmla="*/ 703 w 1107"/>
                <a:gd name="T81" fmla="*/ 164 h 897"/>
                <a:gd name="T82" fmla="*/ 640 w 1107"/>
                <a:gd name="T83" fmla="*/ 203 h 897"/>
                <a:gd name="T84" fmla="*/ 710 w 1107"/>
                <a:gd name="T85" fmla="*/ 255 h 897"/>
                <a:gd name="T86" fmla="*/ 712 w 1107"/>
                <a:gd name="T87" fmla="*/ 277 h 897"/>
                <a:gd name="T88" fmla="*/ 668 w 1107"/>
                <a:gd name="T89" fmla="*/ 347 h 897"/>
                <a:gd name="T90" fmla="*/ 745 w 1107"/>
                <a:gd name="T91" fmla="*/ 361 h 897"/>
                <a:gd name="T92" fmla="*/ 791 w 1107"/>
                <a:gd name="T93" fmla="*/ 377 h 897"/>
                <a:gd name="T94" fmla="*/ 799 w 1107"/>
                <a:gd name="T95" fmla="*/ 443 h 897"/>
                <a:gd name="T96" fmla="*/ 859 w 1107"/>
                <a:gd name="T97" fmla="*/ 456 h 897"/>
                <a:gd name="T98" fmla="*/ 894 w 1107"/>
                <a:gd name="T99" fmla="*/ 393 h 897"/>
                <a:gd name="T100" fmla="*/ 941 w 1107"/>
                <a:gd name="T101" fmla="*/ 401 h 897"/>
                <a:gd name="T102" fmla="*/ 1018 w 1107"/>
                <a:gd name="T103" fmla="*/ 415 h 897"/>
                <a:gd name="T104" fmla="*/ 825 w 1107"/>
                <a:gd name="T105" fmla="*/ 164 h 897"/>
                <a:gd name="T106" fmla="*/ 803 w 1107"/>
                <a:gd name="T107" fmla="*/ 279 h 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107" h="897">
                  <a:moveTo>
                    <a:pt x="654" y="716"/>
                  </a:moveTo>
                  <a:cubicBezTo>
                    <a:pt x="616" y="670"/>
                    <a:pt x="616" y="670"/>
                    <a:pt x="616" y="670"/>
                  </a:cubicBezTo>
                  <a:cubicBezTo>
                    <a:pt x="593" y="654"/>
                    <a:pt x="603" y="638"/>
                    <a:pt x="600" y="625"/>
                  </a:cubicBezTo>
                  <a:cubicBezTo>
                    <a:pt x="600" y="625"/>
                    <a:pt x="600" y="625"/>
                    <a:pt x="600" y="625"/>
                  </a:cubicBezTo>
                  <a:cubicBezTo>
                    <a:pt x="605" y="617"/>
                    <a:pt x="611" y="609"/>
                    <a:pt x="608" y="596"/>
                  </a:cubicBezTo>
                  <a:cubicBezTo>
                    <a:pt x="618" y="580"/>
                    <a:pt x="623" y="572"/>
                    <a:pt x="649" y="567"/>
                  </a:cubicBezTo>
                  <a:cubicBezTo>
                    <a:pt x="715" y="553"/>
                    <a:pt x="715" y="553"/>
                    <a:pt x="715" y="553"/>
                  </a:cubicBezTo>
                  <a:cubicBezTo>
                    <a:pt x="728" y="550"/>
                    <a:pt x="733" y="542"/>
                    <a:pt x="730" y="529"/>
                  </a:cubicBezTo>
                  <a:cubicBezTo>
                    <a:pt x="727" y="482"/>
                    <a:pt x="727" y="482"/>
                    <a:pt x="727" y="482"/>
                  </a:cubicBezTo>
                  <a:cubicBezTo>
                    <a:pt x="724" y="469"/>
                    <a:pt x="717" y="463"/>
                    <a:pt x="701" y="453"/>
                  </a:cubicBezTo>
                  <a:cubicBezTo>
                    <a:pt x="641" y="459"/>
                    <a:pt x="641" y="459"/>
                    <a:pt x="641" y="459"/>
                  </a:cubicBezTo>
                  <a:cubicBezTo>
                    <a:pt x="620" y="457"/>
                    <a:pt x="604" y="447"/>
                    <a:pt x="601" y="434"/>
                  </a:cubicBezTo>
                  <a:cubicBezTo>
                    <a:pt x="598" y="421"/>
                    <a:pt x="590" y="416"/>
                    <a:pt x="580" y="397"/>
                  </a:cubicBezTo>
                  <a:cubicBezTo>
                    <a:pt x="577" y="384"/>
                    <a:pt x="574" y="371"/>
                    <a:pt x="584" y="355"/>
                  </a:cubicBezTo>
                  <a:cubicBezTo>
                    <a:pt x="628" y="305"/>
                    <a:pt x="628" y="305"/>
                    <a:pt x="628" y="305"/>
                  </a:cubicBezTo>
                  <a:cubicBezTo>
                    <a:pt x="634" y="297"/>
                    <a:pt x="631" y="284"/>
                    <a:pt x="623" y="279"/>
                  </a:cubicBezTo>
                  <a:cubicBezTo>
                    <a:pt x="581" y="240"/>
                    <a:pt x="581" y="240"/>
                    <a:pt x="581" y="240"/>
                  </a:cubicBezTo>
                  <a:cubicBezTo>
                    <a:pt x="573" y="235"/>
                    <a:pt x="560" y="238"/>
                    <a:pt x="547" y="240"/>
                  </a:cubicBezTo>
                  <a:cubicBezTo>
                    <a:pt x="503" y="291"/>
                    <a:pt x="503" y="291"/>
                    <a:pt x="503" y="291"/>
                  </a:cubicBezTo>
                  <a:cubicBezTo>
                    <a:pt x="484" y="302"/>
                    <a:pt x="471" y="304"/>
                    <a:pt x="463" y="299"/>
                  </a:cubicBezTo>
                  <a:cubicBezTo>
                    <a:pt x="456" y="294"/>
                    <a:pt x="435" y="292"/>
                    <a:pt x="427" y="287"/>
                  </a:cubicBezTo>
                  <a:cubicBezTo>
                    <a:pt x="419" y="282"/>
                    <a:pt x="403" y="271"/>
                    <a:pt x="400" y="258"/>
                  </a:cubicBezTo>
                  <a:cubicBezTo>
                    <a:pt x="386" y="193"/>
                    <a:pt x="386" y="193"/>
                    <a:pt x="386" y="193"/>
                  </a:cubicBezTo>
                  <a:cubicBezTo>
                    <a:pt x="384" y="180"/>
                    <a:pt x="368" y="170"/>
                    <a:pt x="368" y="170"/>
                  </a:cubicBezTo>
                  <a:cubicBezTo>
                    <a:pt x="308" y="176"/>
                    <a:pt x="308" y="176"/>
                    <a:pt x="308" y="176"/>
                  </a:cubicBezTo>
                  <a:cubicBezTo>
                    <a:pt x="308" y="176"/>
                    <a:pt x="289" y="187"/>
                    <a:pt x="292" y="200"/>
                  </a:cubicBezTo>
                  <a:cubicBezTo>
                    <a:pt x="285" y="263"/>
                    <a:pt x="285" y="263"/>
                    <a:pt x="285" y="263"/>
                  </a:cubicBezTo>
                  <a:cubicBezTo>
                    <a:pt x="291" y="289"/>
                    <a:pt x="277" y="292"/>
                    <a:pt x="272" y="300"/>
                  </a:cubicBezTo>
                  <a:cubicBezTo>
                    <a:pt x="272" y="300"/>
                    <a:pt x="272" y="300"/>
                    <a:pt x="267" y="308"/>
                  </a:cubicBezTo>
                  <a:cubicBezTo>
                    <a:pt x="259" y="302"/>
                    <a:pt x="246" y="305"/>
                    <a:pt x="241" y="313"/>
                  </a:cubicBezTo>
                  <a:cubicBezTo>
                    <a:pt x="236" y="321"/>
                    <a:pt x="236" y="321"/>
                    <a:pt x="236" y="321"/>
                  </a:cubicBezTo>
                  <a:cubicBezTo>
                    <a:pt x="223" y="324"/>
                    <a:pt x="210" y="327"/>
                    <a:pt x="194" y="317"/>
                  </a:cubicBezTo>
                  <a:cubicBezTo>
                    <a:pt x="139" y="281"/>
                    <a:pt x="139" y="281"/>
                    <a:pt x="139" y="281"/>
                  </a:cubicBezTo>
                  <a:cubicBezTo>
                    <a:pt x="131" y="276"/>
                    <a:pt x="110" y="273"/>
                    <a:pt x="104" y="281"/>
                  </a:cubicBezTo>
                  <a:cubicBezTo>
                    <a:pt x="79" y="321"/>
                    <a:pt x="79" y="321"/>
                    <a:pt x="79" y="321"/>
                  </a:cubicBezTo>
                  <a:cubicBezTo>
                    <a:pt x="66" y="324"/>
                    <a:pt x="68" y="337"/>
                    <a:pt x="79" y="355"/>
                  </a:cubicBezTo>
                  <a:cubicBezTo>
                    <a:pt x="121" y="394"/>
                    <a:pt x="121" y="394"/>
                    <a:pt x="121" y="394"/>
                  </a:cubicBezTo>
                  <a:cubicBezTo>
                    <a:pt x="140" y="417"/>
                    <a:pt x="135" y="425"/>
                    <a:pt x="132" y="446"/>
                  </a:cubicBezTo>
                  <a:cubicBezTo>
                    <a:pt x="132" y="446"/>
                    <a:pt x="132" y="446"/>
                    <a:pt x="132" y="446"/>
                  </a:cubicBezTo>
                  <a:cubicBezTo>
                    <a:pt x="127" y="454"/>
                    <a:pt x="122" y="462"/>
                    <a:pt x="117" y="470"/>
                  </a:cubicBezTo>
                  <a:cubicBezTo>
                    <a:pt x="117" y="470"/>
                    <a:pt x="117" y="470"/>
                    <a:pt x="117" y="470"/>
                  </a:cubicBezTo>
                  <a:cubicBezTo>
                    <a:pt x="120" y="483"/>
                    <a:pt x="109" y="499"/>
                    <a:pt x="83" y="505"/>
                  </a:cubicBezTo>
                  <a:cubicBezTo>
                    <a:pt x="23" y="511"/>
                    <a:pt x="23" y="511"/>
                    <a:pt x="23" y="511"/>
                  </a:cubicBezTo>
                  <a:cubicBezTo>
                    <a:pt x="10" y="514"/>
                    <a:pt x="0" y="529"/>
                    <a:pt x="2" y="543"/>
                  </a:cubicBezTo>
                  <a:cubicBezTo>
                    <a:pt x="5" y="590"/>
                    <a:pt x="5" y="590"/>
                    <a:pt x="5" y="590"/>
                  </a:cubicBezTo>
                  <a:cubicBezTo>
                    <a:pt x="8" y="603"/>
                    <a:pt x="16" y="608"/>
                    <a:pt x="37" y="610"/>
                  </a:cubicBezTo>
                  <a:cubicBezTo>
                    <a:pt x="92" y="612"/>
                    <a:pt x="92" y="612"/>
                    <a:pt x="92" y="612"/>
                  </a:cubicBezTo>
                  <a:cubicBezTo>
                    <a:pt x="113" y="614"/>
                    <a:pt x="129" y="625"/>
                    <a:pt x="132" y="638"/>
                  </a:cubicBezTo>
                  <a:cubicBezTo>
                    <a:pt x="132" y="638"/>
                    <a:pt x="132" y="638"/>
                    <a:pt x="132" y="638"/>
                  </a:cubicBezTo>
                  <a:cubicBezTo>
                    <a:pt x="140" y="643"/>
                    <a:pt x="142" y="656"/>
                    <a:pt x="150" y="661"/>
                  </a:cubicBezTo>
                  <a:cubicBezTo>
                    <a:pt x="145" y="669"/>
                    <a:pt x="145" y="669"/>
                    <a:pt x="145" y="669"/>
                  </a:cubicBezTo>
                  <a:cubicBezTo>
                    <a:pt x="153" y="674"/>
                    <a:pt x="156" y="687"/>
                    <a:pt x="140" y="711"/>
                  </a:cubicBezTo>
                  <a:cubicBezTo>
                    <a:pt x="109" y="759"/>
                    <a:pt x="109" y="759"/>
                    <a:pt x="109" y="759"/>
                  </a:cubicBezTo>
                  <a:cubicBezTo>
                    <a:pt x="99" y="775"/>
                    <a:pt x="102" y="788"/>
                    <a:pt x="110" y="793"/>
                  </a:cubicBezTo>
                  <a:cubicBezTo>
                    <a:pt x="152" y="832"/>
                    <a:pt x="152" y="832"/>
                    <a:pt x="152" y="832"/>
                  </a:cubicBezTo>
                  <a:cubicBezTo>
                    <a:pt x="160" y="837"/>
                    <a:pt x="173" y="834"/>
                    <a:pt x="178" y="826"/>
                  </a:cubicBezTo>
                  <a:cubicBezTo>
                    <a:pt x="230" y="781"/>
                    <a:pt x="230" y="781"/>
                    <a:pt x="230" y="781"/>
                  </a:cubicBezTo>
                  <a:cubicBezTo>
                    <a:pt x="248" y="770"/>
                    <a:pt x="261" y="767"/>
                    <a:pt x="269" y="772"/>
                  </a:cubicBezTo>
                  <a:cubicBezTo>
                    <a:pt x="269" y="772"/>
                    <a:pt x="269" y="772"/>
                    <a:pt x="269" y="772"/>
                  </a:cubicBezTo>
                  <a:cubicBezTo>
                    <a:pt x="282" y="769"/>
                    <a:pt x="298" y="779"/>
                    <a:pt x="306" y="785"/>
                  </a:cubicBezTo>
                  <a:cubicBezTo>
                    <a:pt x="306" y="785"/>
                    <a:pt x="306" y="785"/>
                    <a:pt x="306" y="785"/>
                  </a:cubicBezTo>
                  <a:cubicBezTo>
                    <a:pt x="319" y="782"/>
                    <a:pt x="327" y="787"/>
                    <a:pt x="332" y="813"/>
                  </a:cubicBezTo>
                  <a:cubicBezTo>
                    <a:pt x="346" y="878"/>
                    <a:pt x="346" y="878"/>
                    <a:pt x="346" y="878"/>
                  </a:cubicBezTo>
                  <a:cubicBezTo>
                    <a:pt x="349" y="892"/>
                    <a:pt x="357" y="897"/>
                    <a:pt x="370" y="894"/>
                  </a:cubicBezTo>
                  <a:cubicBezTo>
                    <a:pt x="425" y="896"/>
                    <a:pt x="425" y="896"/>
                    <a:pt x="425" y="896"/>
                  </a:cubicBezTo>
                  <a:cubicBezTo>
                    <a:pt x="430" y="888"/>
                    <a:pt x="443" y="885"/>
                    <a:pt x="440" y="872"/>
                  </a:cubicBezTo>
                  <a:cubicBezTo>
                    <a:pt x="440" y="804"/>
                    <a:pt x="440" y="804"/>
                    <a:pt x="440" y="804"/>
                  </a:cubicBezTo>
                  <a:cubicBezTo>
                    <a:pt x="442" y="783"/>
                    <a:pt x="460" y="772"/>
                    <a:pt x="466" y="764"/>
                  </a:cubicBezTo>
                  <a:cubicBezTo>
                    <a:pt x="466" y="764"/>
                    <a:pt x="466" y="764"/>
                    <a:pt x="466" y="764"/>
                  </a:cubicBezTo>
                  <a:cubicBezTo>
                    <a:pt x="479" y="761"/>
                    <a:pt x="492" y="758"/>
                    <a:pt x="497" y="750"/>
                  </a:cubicBezTo>
                  <a:cubicBezTo>
                    <a:pt x="497" y="750"/>
                    <a:pt x="497" y="750"/>
                    <a:pt x="497" y="750"/>
                  </a:cubicBezTo>
                  <a:cubicBezTo>
                    <a:pt x="510" y="747"/>
                    <a:pt x="523" y="745"/>
                    <a:pt x="539" y="755"/>
                  </a:cubicBezTo>
                  <a:cubicBezTo>
                    <a:pt x="594" y="791"/>
                    <a:pt x="594" y="791"/>
                    <a:pt x="594" y="791"/>
                  </a:cubicBezTo>
                  <a:cubicBezTo>
                    <a:pt x="602" y="796"/>
                    <a:pt x="623" y="798"/>
                    <a:pt x="628" y="790"/>
                  </a:cubicBezTo>
                  <a:cubicBezTo>
                    <a:pt x="659" y="743"/>
                    <a:pt x="659" y="743"/>
                    <a:pt x="659" y="743"/>
                  </a:cubicBezTo>
                  <a:cubicBezTo>
                    <a:pt x="659" y="743"/>
                    <a:pt x="669" y="727"/>
                    <a:pt x="654" y="716"/>
                  </a:cubicBezTo>
                  <a:close/>
                  <a:moveTo>
                    <a:pt x="281" y="633"/>
                  </a:moveTo>
                  <a:cubicBezTo>
                    <a:pt x="223" y="584"/>
                    <a:pt x="219" y="502"/>
                    <a:pt x="263" y="452"/>
                  </a:cubicBezTo>
                  <a:cubicBezTo>
                    <a:pt x="313" y="393"/>
                    <a:pt x="399" y="382"/>
                    <a:pt x="457" y="431"/>
                  </a:cubicBezTo>
                  <a:cubicBezTo>
                    <a:pt x="507" y="475"/>
                    <a:pt x="518" y="561"/>
                    <a:pt x="469" y="619"/>
                  </a:cubicBezTo>
                  <a:cubicBezTo>
                    <a:pt x="420" y="678"/>
                    <a:pt x="339" y="682"/>
                    <a:pt x="281" y="633"/>
                  </a:cubicBezTo>
                  <a:close/>
                  <a:moveTo>
                    <a:pt x="1019" y="398"/>
                  </a:moveTo>
                  <a:cubicBezTo>
                    <a:pt x="1004" y="362"/>
                    <a:pt x="1004" y="362"/>
                    <a:pt x="1004" y="362"/>
                  </a:cubicBezTo>
                  <a:cubicBezTo>
                    <a:pt x="992" y="348"/>
                    <a:pt x="1002" y="340"/>
                    <a:pt x="1002" y="332"/>
                  </a:cubicBezTo>
                  <a:cubicBezTo>
                    <a:pt x="1002" y="332"/>
                    <a:pt x="1002" y="332"/>
                    <a:pt x="1002" y="332"/>
                  </a:cubicBezTo>
                  <a:cubicBezTo>
                    <a:pt x="1007" y="328"/>
                    <a:pt x="1011" y="324"/>
                    <a:pt x="1012" y="315"/>
                  </a:cubicBezTo>
                  <a:cubicBezTo>
                    <a:pt x="1021" y="307"/>
                    <a:pt x="1026" y="303"/>
                    <a:pt x="1043" y="304"/>
                  </a:cubicBezTo>
                  <a:cubicBezTo>
                    <a:pt x="1086" y="307"/>
                    <a:pt x="1086" y="307"/>
                    <a:pt x="1086" y="307"/>
                  </a:cubicBezTo>
                  <a:cubicBezTo>
                    <a:pt x="1095" y="308"/>
                    <a:pt x="1099" y="304"/>
                    <a:pt x="1100" y="295"/>
                  </a:cubicBezTo>
                  <a:cubicBezTo>
                    <a:pt x="1107" y="266"/>
                    <a:pt x="1107" y="266"/>
                    <a:pt x="1107" y="266"/>
                  </a:cubicBezTo>
                  <a:cubicBezTo>
                    <a:pt x="1107" y="257"/>
                    <a:pt x="1103" y="252"/>
                    <a:pt x="1095" y="243"/>
                  </a:cubicBezTo>
                  <a:cubicBezTo>
                    <a:pt x="1057" y="236"/>
                    <a:pt x="1057" y="236"/>
                    <a:pt x="1057" y="236"/>
                  </a:cubicBezTo>
                  <a:cubicBezTo>
                    <a:pt x="1044" y="231"/>
                    <a:pt x="1036" y="222"/>
                    <a:pt x="1037" y="213"/>
                  </a:cubicBezTo>
                  <a:cubicBezTo>
                    <a:pt x="1038" y="205"/>
                    <a:pt x="1034" y="200"/>
                    <a:pt x="1030" y="187"/>
                  </a:cubicBezTo>
                  <a:cubicBezTo>
                    <a:pt x="1031" y="178"/>
                    <a:pt x="1032" y="170"/>
                    <a:pt x="1041" y="162"/>
                  </a:cubicBezTo>
                  <a:cubicBezTo>
                    <a:pt x="1077" y="138"/>
                    <a:pt x="1077" y="138"/>
                    <a:pt x="1077" y="138"/>
                  </a:cubicBezTo>
                  <a:cubicBezTo>
                    <a:pt x="1082" y="134"/>
                    <a:pt x="1083" y="126"/>
                    <a:pt x="1079" y="121"/>
                  </a:cubicBezTo>
                  <a:cubicBezTo>
                    <a:pt x="1059" y="89"/>
                    <a:pt x="1059" y="89"/>
                    <a:pt x="1059" y="89"/>
                  </a:cubicBezTo>
                  <a:cubicBezTo>
                    <a:pt x="1055" y="85"/>
                    <a:pt x="1047" y="84"/>
                    <a:pt x="1038" y="83"/>
                  </a:cubicBezTo>
                  <a:cubicBezTo>
                    <a:pt x="1002" y="107"/>
                    <a:pt x="1002" y="107"/>
                    <a:pt x="1002" y="107"/>
                  </a:cubicBezTo>
                  <a:cubicBezTo>
                    <a:pt x="989" y="110"/>
                    <a:pt x="980" y="110"/>
                    <a:pt x="976" y="105"/>
                  </a:cubicBezTo>
                  <a:cubicBezTo>
                    <a:pt x="972" y="100"/>
                    <a:pt x="960" y="95"/>
                    <a:pt x="956" y="91"/>
                  </a:cubicBezTo>
                  <a:cubicBezTo>
                    <a:pt x="952" y="86"/>
                    <a:pt x="944" y="77"/>
                    <a:pt x="944" y="68"/>
                  </a:cubicBezTo>
                  <a:cubicBezTo>
                    <a:pt x="948" y="25"/>
                    <a:pt x="948" y="25"/>
                    <a:pt x="948" y="25"/>
                  </a:cubicBezTo>
                  <a:cubicBezTo>
                    <a:pt x="948" y="17"/>
                    <a:pt x="940" y="7"/>
                    <a:pt x="940" y="7"/>
                  </a:cubicBezTo>
                  <a:cubicBezTo>
                    <a:pt x="902" y="0"/>
                    <a:pt x="902" y="0"/>
                    <a:pt x="902" y="0"/>
                  </a:cubicBezTo>
                  <a:cubicBezTo>
                    <a:pt x="902" y="0"/>
                    <a:pt x="889" y="4"/>
                    <a:pt x="888" y="12"/>
                  </a:cubicBezTo>
                  <a:cubicBezTo>
                    <a:pt x="872" y="50"/>
                    <a:pt x="872" y="50"/>
                    <a:pt x="872" y="50"/>
                  </a:cubicBezTo>
                  <a:cubicBezTo>
                    <a:pt x="871" y="67"/>
                    <a:pt x="862" y="67"/>
                    <a:pt x="858" y="71"/>
                  </a:cubicBezTo>
                  <a:cubicBezTo>
                    <a:pt x="858" y="71"/>
                    <a:pt x="858" y="71"/>
                    <a:pt x="853" y="75"/>
                  </a:cubicBezTo>
                  <a:cubicBezTo>
                    <a:pt x="849" y="70"/>
                    <a:pt x="840" y="70"/>
                    <a:pt x="836" y="74"/>
                  </a:cubicBezTo>
                  <a:cubicBezTo>
                    <a:pt x="831" y="78"/>
                    <a:pt x="831" y="78"/>
                    <a:pt x="831" y="78"/>
                  </a:cubicBezTo>
                  <a:cubicBezTo>
                    <a:pt x="822" y="77"/>
                    <a:pt x="814" y="76"/>
                    <a:pt x="806" y="67"/>
                  </a:cubicBezTo>
                  <a:cubicBezTo>
                    <a:pt x="778" y="35"/>
                    <a:pt x="778" y="35"/>
                    <a:pt x="778" y="35"/>
                  </a:cubicBezTo>
                  <a:cubicBezTo>
                    <a:pt x="774" y="30"/>
                    <a:pt x="762" y="25"/>
                    <a:pt x="757" y="29"/>
                  </a:cubicBezTo>
                  <a:cubicBezTo>
                    <a:pt x="734" y="49"/>
                    <a:pt x="734" y="49"/>
                    <a:pt x="734" y="49"/>
                  </a:cubicBezTo>
                  <a:cubicBezTo>
                    <a:pt x="725" y="49"/>
                    <a:pt x="725" y="57"/>
                    <a:pt x="728" y="70"/>
                  </a:cubicBezTo>
                  <a:cubicBezTo>
                    <a:pt x="747" y="102"/>
                    <a:pt x="747" y="102"/>
                    <a:pt x="747" y="102"/>
                  </a:cubicBezTo>
                  <a:cubicBezTo>
                    <a:pt x="754" y="120"/>
                    <a:pt x="750" y="124"/>
                    <a:pt x="744" y="136"/>
                  </a:cubicBezTo>
                  <a:cubicBezTo>
                    <a:pt x="744" y="136"/>
                    <a:pt x="744" y="136"/>
                    <a:pt x="744" y="136"/>
                  </a:cubicBezTo>
                  <a:cubicBezTo>
                    <a:pt x="740" y="140"/>
                    <a:pt x="735" y="144"/>
                    <a:pt x="731" y="148"/>
                  </a:cubicBezTo>
                  <a:cubicBezTo>
                    <a:pt x="731" y="148"/>
                    <a:pt x="731" y="148"/>
                    <a:pt x="731" y="148"/>
                  </a:cubicBezTo>
                  <a:cubicBezTo>
                    <a:pt x="730" y="157"/>
                    <a:pt x="721" y="165"/>
                    <a:pt x="703" y="164"/>
                  </a:cubicBezTo>
                  <a:cubicBezTo>
                    <a:pt x="665" y="157"/>
                    <a:pt x="665" y="157"/>
                    <a:pt x="665" y="157"/>
                  </a:cubicBezTo>
                  <a:cubicBezTo>
                    <a:pt x="656" y="156"/>
                    <a:pt x="647" y="164"/>
                    <a:pt x="647" y="173"/>
                  </a:cubicBezTo>
                  <a:cubicBezTo>
                    <a:pt x="640" y="203"/>
                    <a:pt x="640" y="203"/>
                    <a:pt x="640" y="203"/>
                  </a:cubicBezTo>
                  <a:cubicBezTo>
                    <a:pt x="639" y="211"/>
                    <a:pt x="643" y="216"/>
                    <a:pt x="656" y="221"/>
                  </a:cubicBezTo>
                  <a:cubicBezTo>
                    <a:pt x="690" y="232"/>
                    <a:pt x="690" y="232"/>
                    <a:pt x="690" y="232"/>
                  </a:cubicBezTo>
                  <a:cubicBezTo>
                    <a:pt x="702" y="237"/>
                    <a:pt x="710" y="246"/>
                    <a:pt x="710" y="255"/>
                  </a:cubicBezTo>
                  <a:cubicBezTo>
                    <a:pt x="710" y="255"/>
                    <a:pt x="710" y="255"/>
                    <a:pt x="710" y="255"/>
                  </a:cubicBezTo>
                  <a:cubicBezTo>
                    <a:pt x="714" y="260"/>
                    <a:pt x="713" y="268"/>
                    <a:pt x="717" y="273"/>
                  </a:cubicBezTo>
                  <a:cubicBezTo>
                    <a:pt x="712" y="277"/>
                    <a:pt x="712" y="277"/>
                    <a:pt x="712" y="277"/>
                  </a:cubicBezTo>
                  <a:cubicBezTo>
                    <a:pt x="716" y="281"/>
                    <a:pt x="716" y="290"/>
                    <a:pt x="702" y="302"/>
                  </a:cubicBezTo>
                  <a:cubicBezTo>
                    <a:pt x="674" y="326"/>
                    <a:pt x="674" y="326"/>
                    <a:pt x="674" y="326"/>
                  </a:cubicBezTo>
                  <a:cubicBezTo>
                    <a:pt x="665" y="334"/>
                    <a:pt x="664" y="343"/>
                    <a:pt x="668" y="347"/>
                  </a:cubicBezTo>
                  <a:cubicBezTo>
                    <a:pt x="687" y="379"/>
                    <a:pt x="687" y="379"/>
                    <a:pt x="687" y="379"/>
                  </a:cubicBezTo>
                  <a:cubicBezTo>
                    <a:pt x="691" y="383"/>
                    <a:pt x="700" y="384"/>
                    <a:pt x="704" y="380"/>
                  </a:cubicBezTo>
                  <a:cubicBezTo>
                    <a:pt x="745" y="361"/>
                    <a:pt x="745" y="361"/>
                    <a:pt x="745" y="361"/>
                  </a:cubicBezTo>
                  <a:cubicBezTo>
                    <a:pt x="758" y="358"/>
                    <a:pt x="767" y="358"/>
                    <a:pt x="771" y="363"/>
                  </a:cubicBezTo>
                  <a:cubicBezTo>
                    <a:pt x="771" y="363"/>
                    <a:pt x="771" y="363"/>
                    <a:pt x="771" y="363"/>
                  </a:cubicBezTo>
                  <a:cubicBezTo>
                    <a:pt x="779" y="364"/>
                    <a:pt x="787" y="373"/>
                    <a:pt x="791" y="377"/>
                  </a:cubicBezTo>
                  <a:cubicBezTo>
                    <a:pt x="791" y="377"/>
                    <a:pt x="791" y="377"/>
                    <a:pt x="791" y="377"/>
                  </a:cubicBezTo>
                  <a:cubicBezTo>
                    <a:pt x="800" y="378"/>
                    <a:pt x="804" y="383"/>
                    <a:pt x="802" y="400"/>
                  </a:cubicBezTo>
                  <a:cubicBezTo>
                    <a:pt x="799" y="443"/>
                    <a:pt x="799" y="443"/>
                    <a:pt x="799" y="443"/>
                  </a:cubicBezTo>
                  <a:cubicBezTo>
                    <a:pt x="798" y="451"/>
                    <a:pt x="802" y="456"/>
                    <a:pt x="811" y="457"/>
                  </a:cubicBezTo>
                  <a:cubicBezTo>
                    <a:pt x="845" y="468"/>
                    <a:pt x="845" y="468"/>
                    <a:pt x="845" y="468"/>
                  </a:cubicBezTo>
                  <a:cubicBezTo>
                    <a:pt x="849" y="464"/>
                    <a:pt x="858" y="464"/>
                    <a:pt x="859" y="456"/>
                  </a:cubicBezTo>
                  <a:cubicBezTo>
                    <a:pt x="871" y="413"/>
                    <a:pt x="871" y="413"/>
                    <a:pt x="871" y="413"/>
                  </a:cubicBezTo>
                  <a:cubicBezTo>
                    <a:pt x="876" y="401"/>
                    <a:pt x="889" y="397"/>
                    <a:pt x="894" y="393"/>
                  </a:cubicBezTo>
                  <a:cubicBezTo>
                    <a:pt x="894" y="393"/>
                    <a:pt x="894" y="393"/>
                    <a:pt x="894" y="393"/>
                  </a:cubicBezTo>
                  <a:cubicBezTo>
                    <a:pt x="902" y="394"/>
                    <a:pt x="911" y="395"/>
                    <a:pt x="916" y="391"/>
                  </a:cubicBezTo>
                  <a:cubicBezTo>
                    <a:pt x="916" y="391"/>
                    <a:pt x="916" y="391"/>
                    <a:pt x="916" y="391"/>
                  </a:cubicBezTo>
                  <a:cubicBezTo>
                    <a:pt x="924" y="391"/>
                    <a:pt x="933" y="392"/>
                    <a:pt x="941" y="401"/>
                  </a:cubicBezTo>
                  <a:cubicBezTo>
                    <a:pt x="969" y="433"/>
                    <a:pt x="969" y="433"/>
                    <a:pt x="969" y="433"/>
                  </a:cubicBezTo>
                  <a:cubicBezTo>
                    <a:pt x="973" y="438"/>
                    <a:pt x="985" y="443"/>
                    <a:pt x="990" y="439"/>
                  </a:cubicBezTo>
                  <a:cubicBezTo>
                    <a:pt x="1018" y="415"/>
                    <a:pt x="1018" y="415"/>
                    <a:pt x="1018" y="415"/>
                  </a:cubicBezTo>
                  <a:cubicBezTo>
                    <a:pt x="1018" y="415"/>
                    <a:pt x="1027" y="407"/>
                    <a:pt x="1019" y="398"/>
                  </a:cubicBezTo>
                  <a:close/>
                  <a:moveTo>
                    <a:pt x="803" y="279"/>
                  </a:moveTo>
                  <a:cubicBezTo>
                    <a:pt x="776" y="238"/>
                    <a:pt x="788" y="187"/>
                    <a:pt x="825" y="164"/>
                  </a:cubicBezTo>
                  <a:cubicBezTo>
                    <a:pt x="866" y="136"/>
                    <a:pt x="921" y="144"/>
                    <a:pt x="948" y="185"/>
                  </a:cubicBezTo>
                  <a:cubicBezTo>
                    <a:pt x="972" y="221"/>
                    <a:pt x="963" y="277"/>
                    <a:pt x="922" y="304"/>
                  </a:cubicBezTo>
                  <a:cubicBezTo>
                    <a:pt x="881" y="332"/>
                    <a:pt x="830" y="320"/>
                    <a:pt x="803" y="279"/>
                  </a:cubicBezTo>
                  <a:close/>
                </a:path>
              </a:pathLst>
            </a:custGeom>
            <a:solidFill>
              <a:schemeClr val="tx1"/>
            </a:solidFill>
            <a:ln>
              <a:noFill/>
            </a:ln>
          </p:spPr>
          <p:txBody>
            <a:bodyPr vert="horz" wrap="square" lIns="68574" tIns="34287" rIns="68574" bIns="34287"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17346"/>
                </a:solidFill>
                <a:effectLst/>
                <a:uLnTx/>
                <a:uFillTx/>
                <a:latin typeface="Segoe UI"/>
                <a:ea typeface="+mn-ea"/>
                <a:cs typeface="+mn-cs"/>
              </a:endParaRPr>
            </a:p>
          </p:txBody>
        </p:sp>
        <p:sp>
          <p:nvSpPr>
            <p:cNvPr id="88" name="Freeform 87"/>
            <p:cNvSpPr>
              <a:spLocks noChangeAspect="1"/>
            </p:cNvSpPr>
            <p:nvPr/>
          </p:nvSpPr>
          <p:spPr bwMode="black">
            <a:xfrm>
              <a:off x="776985" y="4213905"/>
              <a:ext cx="342871" cy="335728"/>
            </a:xfrm>
            <a:custGeom>
              <a:avLst/>
              <a:gdLst>
                <a:gd name="connsiteX0" fmla="*/ 3713863 w 4893730"/>
                <a:gd name="connsiteY0" fmla="*/ 2130808 h 4791777"/>
                <a:gd name="connsiteX1" fmla="*/ 4426142 w 4893730"/>
                <a:gd name="connsiteY1" fmla="*/ 2130808 h 4791777"/>
                <a:gd name="connsiteX2" fmla="*/ 4598071 w 4893730"/>
                <a:gd name="connsiteY2" fmla="*/ 2301547 h 4791777"/>
                <a:gd name="connsiteX3" fmla="*/ 4598071 w 4893730"/>
                <a:gd name="connsiteY3" fmla="*/ 3886978 h 4791777"/>
                <a:gd name="connsiteX4" fmla="*/ 4426142 w 4893730"/>
                <a:gd name="connsiteY4" fmla="*/ 4057717 h 4791777"/>
                <a:gd name="connsiteX5" fmla="*/ 3713863 w 4893730"/>
                <a:gd name="connsiteY5" fmla="*/ 4057717 h 4791777"/>
                <a:gd name="connsiteX6" fmla="*/ 3517372 w 4893730"/>
                <a:gd name="connsiteY6" fmla="*/ 3886978 h 4791777"/>
                <a:gd name="connsiteX7" fmla="*/ 3517372 w 4893730"/>
                <a:gd name="connsiteY7" fmla="*/ 2301547 h 4791777"/>
                <a:gd name="connsiteX8" fmla="*/ 3713863 w 4893730"/>
                <a:gd name="connsiteY8" fmla="*/ 2130808 h 4791777"/>
                <a:gd name="connsiteX9" fmla="*/ 904368 w 4893730"/>
                <a:gd name="connsiteY9" fmla="*/ 1223432 h 4791777"/>
                <a:gd name="connsiteX10" fmla="*/ 1609930 w 4893730"/>
                <a:gd name="connsiteY10" fmla="*/ 1223432 h 4791777"/>
                <a:gd name="connsiteX11" fmla="*/ 1804567 w 4893730"/>
                <a:gd name="connsiteY11" fmla="*/ 1394467 h 4791777"/>
                <a:gd name="connsiteX12" fmla="*/ 1804567 w 4893730"/>
                <a:gd name="connsiteY12" fmla="*/ 3886683 h 4791777"/>
                <a:gd name="connsiteX13" fmla="*/ 1609930 w 4893730"/>
                <a:gd name="connsiteY13" fmla="*/ 4057717 h 4791777"/>
                <a:gd name="connsiteX14" fmla="*/ 904368 w 4893730"/>
                <a:gd name="connsiteY14" fmla="*/ 4057717 h 4791777"/>
                <a:gd name="connsiteX15" fmla="*/ 734060 w 4893730"/>
                <a:gd name="connsiteY15" fmla="*/ 3886683 h 4791777"/>
                <a:gd name="connsiteX16" fmla="*/ 734060 w 4893730"/>
                <a:gd name="connsiteY16" fmla="*/ 1394467 h 4791777"/>
                <a:gd name="connsiteX17" fmla="*/ 904368 w 4893730"/>
                <a:gd name="connsiteY17" fmla="*/ 1223432 h 4791777"/>
                <a:gd name="connsiteX18" fmla="*/ 2325453 w 4893730"/>
                <a:gd name="connsiteY18" fmla="*/ 316050 h 4791777"/>
                <a:gd name="connsiteX19" fmla="*/ 3031014 w 4893730"/>
                <a:gd name="connsiteY19" fmla="*/ 316050 h 4791777"/>
                <a:gd name="connsiteX20" fmla="*/ 3201322 w 4893730"/>
                <a:gd name="connsiteY20" fmla="*/ 487238 h 4791777"/>
                <a:gd name="connsiteX21" fmla="*/ 3201322 w 4893730"/>
                <a:gd name="connsiteY21" fmla="*/ 3886530 h 4791777"/>
                <a:gd name="connsiteX22" fmla="*/ 3031014 w 4893730"/>
                <a:gd name="connsiteY22" fmla="*/ 4057717 h 4791777"/>
                <a:gd name="connsiteX23" fmla="*/ 2325453 w 4893730"/>
                <a:gd name="connsiteY23" fmla="*/ 4057717 h 4791777"/>
                <a:gd name="connsiteX24" fmla="*/ 2130815 w 4893730"/>
                <a:gd name="connsiteY24" fmla="*/ 3886530 h 4791777"/>
                <a:gd name="connsiteX25" fmla="*/ 2130815 w 4893730"/>
                <a:gd name="connsiteY25" fmla="*/ 487238 h 4791777"/>
                <a:gd name="connsiteX26" fmla="*/ 2325453 w 4893730"/>
                <a:gd name="connsiteY26" fmla="*/ 316050 h 4791777"/>
                <a:gd name="connsiteX27" fmla="*/ 269155 w 4893730"/>
                <a:gd name="connsiteY27" fmla="*/ 0 h 4791777"/>
                <a:gd name="connsiteX28" fmla="*/ 538311 w 4893730"/>
                <a:gd name="connsiteY28" fmla="*/ 268927 h 4791777"/>
                <a:gd name="connsiteX29" fmla="*/ 538311 w 4893730"/>
                <a:gd name="connsiteY29" fmla="*/ 4253925 h 4791777"/>
                <a:gd name="connsiteX30" fmla="*/ 4624575 w 4893730"/>
                <a:gd name="connsiteY30" fmla="*/ 4253925 h 4791777"/>
                <a:gd name="connsiteX31" fmla="*/ 4893730 w 4893730"/>
                <a:gd name="connsiteY31" fmla="*/ 4522851 h 4791777"/>
                <a:gd name="connsiteX32" fmla="*/ 4624575 w 4893730"/>
                <a:gd name="connsiteY32" fmla="*/ 4791777 h 4791777"/>
                <a:gd name="connsiteX33" fmla="*/ 269155 w 4893730"/>
                <a:gd name="connsiteY33" fmla="*/ 4791777 h 4791777"/>
                <a:gd name="connsiteX34" fmla="*/ 0 w 4893730"/>
                <a:gd name="connsiteY34" fmla="*/ 4522851 h 4791777"/>
                <a:gd name="connsiteX35" fmla="*/ 0 w 4893730"/>
                <a:gd name="connsiteY35" fmla="*/ 268927 h 4791777"/>
                <a:gd name="connsiteX36" fmla="*/ 269155 w 4893730"/>
                <a:gd name="connsiteY36" fmla="*/ 0 h 4791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4893730" h="4791777">
                  <a:moveTo>
                    <a:pt x="3713863" y="2130808"/>
                  </a:moveTo>
                  <a:cubicBezTo>
                    <a:pt x="3713863" y="2130808"/>
                    <a:pt x="3713863" y="2130808"/>
                    <a:pt x="4426142" y="2130808"/>
                  </a:cubicBezTo>
                  <a:cubicBezTo>
                    <a:pt x="4524387" y="2130808"/>
                    <a:pt x="4598071" y="2203982"/>
                    <a:pt x="4598071" y="2301547"/>
                  </a:cubicBezTo>
                  <a:cubicBezTo>
                    <a:pt x="4598071" y="2301547"/>
                    <a:pt x="4598071" y="2301547"/>
                    <a:pt x="4598071" y="3886978"/>
                  </a:cubicBezTo>
                  <a:cubicBezTo>
                    <a:pt x="4598071" y="3984543"/>
                    <a:pt x="4524387" y="4057717"/>
                    <a:pt x="4426142" y="4057717"/>
                  </a:cubicBezTo>
                  <a:cubicBezTo>
                    <a:pt x="4426142" y="4057717"/>
                    <a:pt x="4426142" y="4057717"/>
                    <a:pt x="3713863" y="4057717"/>
                  </a:cubicBezTo>
                  <a:cubicBezTo>
                    <a:pt x="3615618" y="4057717"/>
                    <a:pt x="3517372" y="3984543"/>
                    <a:pt x="3517372" y="3886978"/>
                  </a:cubicBezTo>
                  <a:cubicBezTo>
                    <a:pt x="3517372" y="3886978"/>
                    <a:pt x="3517372" y="3886978"/>
                    <a:pt x="3517372" y="2301547"/>
                  </a:cubicBezTo>
                  <a:cubicBezTo>
                    <a:pt x="3517372" y="2203982"/>
                    <a:pt x="3615618" y="2130808"/>
                    <a:pt x="3713863" y="2130808"/>
                  </a:cubicBezTo>
                  <a:close/>
                  <a:moveTo>
                    <a:pt x="904368" y="1223432"/>
                  </a:moveTo>
                  <a:cubicBezTo>
                    <a:pt x="904368" y="1223432"/>
                    <a:pt x="904368" y="1223432"/>
                    <a:pt x="1609930" y="1223432"/>
                  </a:cubicBezTo>
                  <a:cubicBezTo>
                    <a:pt x="1731578" y="1223432"/>
                    <a:pt x="1804567" y="1296733"/>
                    <a:pt x="1804567" y="1394467"/>
                  </a:cubicBezTo>
                  <a:cubicBezTo>
                    <a:pt x="1804567" y="1394467"/>
                    <a:pt x="1804567" y="1394467"/>
                    <a:pt x="1804567" y="3886683"/>
                  </a:cubicBezTo>
                  <a:cubicBezTo>
                    <a:pt x="1804567" y="3984417"/>
                    <a:pt x="1731578" y="4057717"/>
                    <a:pt x="1609930" y="4057717"/>
                  </a:cubicBezTo>
                  <a:cubicBezTo>
                    <a:pt x="1609930" y="4057717"/>
                    <a:pt x="1609930" y="4057717"/>
                    <a:pt x="904368" y="4057717"/>
                  </a:cubicBezTo>
                  <a:cubicBezTo>
                    <a:pt x="807049" y="4057717"/>
                    <a:pt x="734060" y="3984417"/>
                    <a:pt x="734060" y="3886683"/>
                  </a:cubicBezTo>
                  <a:cubicBezTo>
                    <a:pt x="734060" y="3886683"/>
                    <a:pt x="734060" y="3886683"/>
                    <a:pt x="734060" y="1394467"/>
                  </a:cubicBezTo>
                  <a:cubicBezTo>
                    <a:pt x="734060" y="1296733"/>
                    <a:pt x="807049" y="1223432"/>
                    <a:pt x="904368" y="1223432"/>
                  </a:cubicBezTo>
                  <a:close/>
                  <a:moveTo>
                    <a:pt x="2325453" y="316050"/>
                  </a:moveTo>
                  <a:cubicBezTo>
                    <a:pt x="2325453" y="316050"/>
                    <a:pt x="2325453" y="316050"/>
                    <a:pt x="3031014" y="316050"/>
                  </a:cubicBezTo>
                  <a:cubicBezTo>
                    <a:pt x="3128333" y="316050"/>
                    <a:pt x="3201322" y="389416"/>
                    <a:pt x="3201322" y="487238"/>
                  </a:cubicBezTo>
                  <a:cubicBezTo>
                    <a:pt x="3201322" y="487238"/>
                    <a:pt x="3201322" y="487238"/>
                    <a:pt x="3201322" y="3886530"/>
                  </a:cubicBezTo>
                  <a:cubicBezTo>
                    <a:pt x="3201322" y="3984351"/>
                    <a:pt x="3128333" y="4057717"/>
                    <a:pt x="3031014" y="4057717"/>
                  </a:cubicBezTo>
                  <a:cubicBezTo>
                    <a:pt x="3031014" y="4057717"/>
                    <a:pt x="3031014" y="4057717"/>
                    <a:pt x="2325453" y="4057717"/>
                  </a:cubicBezTo>
                  <a:cubicBezTo>
                    <a:pt x="2203804" y="4057717"/>
                    <a:pt x="2130815" y="3984351"/>
                    <a:pt x="2130815" y="3886530"/>
                  </a:cubicBezTo>
                  <a:cubicBezTo>
                    <a:pt x="2130815" y="3886530"/>
                    <a:pt x="2130815" y="3886530"/>
                    <a:pt x="2130815" y="487238"/>
                  </a:cubicBezTo>
                  <a:cubicBezTo>
                    <a:pt x="2130815" y="389416"/>
                    <a:pt x="2203804" y="316050"/>
                    <a:pt x="2325453" y="316050"/>
                  </a:cubicBezTo>
                  <a:close/>
                  <a:moveTo>
                    <a:pt x="269155" y="0"/>
                  </a:moveTo>
                  <a:cubicBezTo>
                    <a:pt x="415967" y="0"/>
                    <a:pt x="538311" y="122239"/>
                    <a:pt x="538311" y="268927"/>
                  </a:cubicBezTo>
                  <a:cubicBezTo>
                    <a:pt x="538311" y="268927"/>
                    <a:pt x="538311" y="268927"/>
                    <a:pt x="538311" y="4253925"/>
                  </a:cubicBezTo>
                  <a:cubicBezTo>
                    <a:pt x="538311" y="4253925"/>
                    <a:pt x="538311" y="4253925"/>
                    <a:pt x="4624575" y="4253925"/>
                  </a:cubicBezTo>
                  <a:cubicBezTo>
                    <a:pt x="4771387" y="4253925"/>
                    <a:pt x="4893730" y="4376164"/>
                    <a:pt x="4893730" y="4522851"/>
                  </a:cubicBezTo>
                  <a:cubicBezTo>
                    <a:pt x="4893730" y="4669538"/>
                    <a:pt x="4771387" y="4791777"/>
                    <a:pt x="4624575" y="4791777"/>
                  </a:cubicBezTo>
                  <a:cubicBezTo>
                    <a:pt x="4624575" y="4791777"/>
                    <a:pt x="4624575" y="4791777"/>
                    <a:pt x="269155" y="4791777"/>
                  </a:cubicBezTo>
                  <a:cubicBezTo>
                    <a:pt x="122344" y="4791777"/>
                    <a:pt x="0" y="4669538"/>
                    <a:pt x="0" y="4522851"/>
                  </a:cubicBezTo>
                  <a:cubicBezTo>
                    <a:pt x="0" y="4522851"/>
                    <a:pt x="0" y="4522851"/>
                    <a:pt x="0" y="268927"/>
                  </a:cubicBezTo>
                  <a:cubicBezTo>
                    <a:pt x="0" y="122239"/>
                    <a:pt x="122344" y="0"/>
                    <a:pt x="269155"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37148" tIns="109719" rIns="137148" bIns="109719"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699261"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9" name="Rectangle 88"/>
            <p:cNvSpPr/>
            <p:nvPr/>
          </p:nvSpPr>
          <p:spPr bwMode="auto">
            <a:xfrm rot="2745734">
              <a:off x="279530" y="1141266"/>
              <a:ext cx="1260714" cy="1255193"/>
            </a:xfrm>
            <a:prstGeom prst="rect">
              <a:avLst/>
            </a:prstGeom>
            <a:solidFill>
              <a:schemeClr val="tx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0" name="Rectangle 89"/>
            <p:cNvSpPr/>
            <p:nvPr/>
          </p:nvSpPr>
          <p:spPr bwMode="auto">
            <a:xfrm rot="2745734">
              <a:off x="292433" y="3819160"/>
              <a:ext cx="1610349" cy="1235003"/>
            </a:xfrm>
            <a:prstGeom prst="rect">
              <a:avLst/>
            </a:prstGeom>
            <a:solidFill>
              <a:schemeClr val="tx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2" name="Rectangle 91"/>
            <p:cNvSpPr/>
            <p:nvPr/>
          </p:nvSpPr>
          <p:spPr bwMode="auto">
            <a:xfrm rot="2745734">
              <a:off x="1315610" y="4915701"/>
              <a:ext cx="1263370" cy="1255989"/>
            </a:xfrm>
            <a:prstGeom prst="rect">
              <a:avLst/>
            </a:prstGeom>
            <a:solidFill>
              <a:schemeClr val="tx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40" name="TextBox 39"/>
          <p:cNvSpPr txBox="1"/>
          <p:nvPr/>
        </p:nvSpPr>
        <p:spPr>
          <a:xfrm>
            <a:off x="3" y="51415"/>
            <a:ext cx="2849058" cy="430887"/>
          </a:xfrm>
          <a:prstGeom prst="rect">
            <a:avLst/>
          </a:prstGeom>
        </p:spPr>
        <p:txBody>
          <a:bodyPr wrap="square">
            <a:spAutoFit/>
          </a:bodyPr>
          <a:lstStyle>
            <a:defPPr>
              <a:defRPr lang="en-US"/>
            </a:defPPr>
            <a:lvl1pPr defTabSz="914192">
              <a:defRPr sz="2800" b="1" spc="-100">
                <a:ln w="3175">
                  <a:noFill/>
                </a:ln>
                <a:solidFill>
                  <a:srgbClr val="F2C812"/>
                </a:solidFill>
                <a:latin typeface="Segoe UI" panose="020B0502040204020203" pitchFamily="34" charset="0"/>
                <a:ea typeface="ＭＳ Ｐゴシック" charset="0"/>
                <a:cs typeface="Segoe UI" panose="020B0502040204020203" pitchFamily="34" charset="0"/>
              </a:defRPr>
            </a:lvl1pPr>
          </a:lstStyle>
          <a:p>
            <a:pPr marL="0" marR="0" lvl="0" indent="0" algn="l" defTabSz="914192" rtl="0" eaLnBrk="1" fontAlgn="auto" latinLnBrk="0" hangingPunct="1">
              <a:lnSpc>
                <a:spcPct val="100000"/>
              </a:lnSpc>
              <a:spcBef>
                <a:spcPts val="0"/>
              </a:spcBef>
              <a:spcAft>
                <a:spcPts val="0"/>
              </a:spcAft>
              <a:buClrTx/>
              <a:buSzTx/>
              <a:buFontTx/>
              <a:buNone/>
              <a:tabLst/>
              <a:defRPr/>
            </a:pPr>
            <a:r>
              <a:rPr kumimoji="0" lang="en-US" sz="2200" b="1" i="0" u="none" strike="noStrike" kern="1200" cap="none" spc="-100" normalizeH="0" baseline="0" noProof="0">
                <a:ln w="3175">
                  <a:noFill/>
                </a:ln>
                <a:solidFill>
                  <a:srgbClr val="F2C812"/>
                </a:solidFill>
                <a:effectLst/>
                <a:uLnTx/>
                <a:uFillTx/>
                <a:latin typeface="Segoe UI Light"/>
                <a:ea typeface="ＭＳ Ｐゴシック" charset="0"/>
                <a:cs typeface="Segoe UI" panose="020B0502040204020203" pitchFamily="34" charset="0"/>
              </a:rPr>
              <a:t>Power BI Desktop</a:t>
            </a:r>
          </a:p>
        </p:txBody>
      </p:sp>
      <p:sp>
        <p:nvSpPr>
          <p:cNvPr id="41" name="Rectangle 40"/>
          <p:cNvSpPr/>
          <p:nvPr/>
        </p:nvSpPr>
        <p:spPr bwMode="auto">
          <a:xfrm rot="2745734">
            <a:off x="825067" y="3494250"/>
            <a:ext cx="1260714" cy="370170"/>
          </a:xfrm>
          <a:prstGeom prst="rect">
            <a:avLst/>
          </a:prstGeom>
          <a:solidFill>
            <a:schemeClr val="tx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4" name="Picture 3"/>
          <p:cNvPicPr>
            <a:picLocks noChangeAspect="1"/>
          </p:cNvPicPr>
          <p:nvPr/>
        </p:nvPicPr>
        <p:blipFill>
          <a:blip r:embed="rId3"/>
          <a:stretch>
            <a:fillRect/>
          </a:stretch>
        </p:blipFill>
        <p:spPr>
          <a:xfrm>
            <a:off x="4230947" y="1622366"/>
            <a:ext cx="6600825" cy="4724400"/>
          </a:xfrm>
          <a:prstGeom prst="rect">
            <a:avLst/>
          </a:prstGeom>
          <a:ln>
            <a:noFill/>
          </a:ln>
          <a:effectLst>
            <a:outerShdw blurRad="190500" algn="tl" rotWithShape="0">
              <a:srgbClr val="000000">
                <a:alpha val="70000"/>
              </a:srgbClr>
            </a:outerShdw>
          </a:effectLst>
        </p:spPr>
      </p:pic>
      <p:pic>
        <p:nvPicPr>
          <p:cNvPr id="37" name="Picture 36"/>
          <p:cNvPicPr>
            <a:picLocks noChangeAspect="1"/>
          </p:cNvPicPr>
          <p:nvPr/>
        </p:nvPicPr>
        <p:blipFill>
          <a:blip r:embed="rId4">
            <a:extLst>
              <a:ext uri="{BEBA8EAE-BF5A-486C-A8C5-ECC9F3942E4B}">
                <a14:imgProps xmlns:a14="http://schemas.microsoft.com/office/drawing/2010/main">
                  <a14:imgLayer r:embed="rId5">
                    <a14:imgEffect>
                      <a14:saturation sat="0"/>
                    </a14:imgEffect>
                  </a14:imgLayer>
                </a14:imgProps>
              </a:ext>
            </a:extLst>
          </a:blip>
          <a:stretch>
            <a:fillRect/>
          </a:stretch>
        </p:blipFill>
        <p:spPr>
          <a:xfrm>
            <a:off x="9295986" y="4764922"/>
            <a:ext cx="2724150" cy="1924050"/>
          </a:xfrm>
          <a:prstGeom prst="rect">
            <a:avLst/>
          </a:prstGeom>
        </p:spPr>
      </p:pic>
    </p:spTree>
    <p:extLst>
      <p:ext uri="{BB962C8B-B14F-4D97-AF65-F5344CB8AC3E}">
        <p14:creationId xmlns:p14="http://schemas.microsoft.com/office/powerpoint/2010/main" val="12692795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bg>
      <p:bgPr>
        <a:solidFill>
          <a:srgbClr val="F2C812"/>
        </a:solidFill>
        <a:effectLst/>
      </p:bgPr>
    </p:bg>
    <p:spTree>
      <p:nvGrpSpPr>
        <p:cNvPr id="1" name=""/>
        <p:cNvGrpSpPr/>
        <p:nvPr/>
      </p:nvGrpSpPr>
      <p:grpSpPr>
        <a:xfrm>
          <a:off x="0" y="0"/>
          <a:ext cx="0" cy="0"/>
          <a:chOff x="0" y="0"/>
          <a:chExt cx="0" cy="0"/>
        </a:xfrm>
      </p:grpSpPr>
      <p:sp>
        <p:nvSpPr>
          <p:cNvPr id="4" name="Rectangle 3"/>
          <p:cNvSpPr/>
          <p:nvPr/>
        </p:nvSpPr>
        <p:spPr>
          <a:xfrm>
            <a:off x="1459940" y="2717186"/>
            <a:ext cx="9951270" cy="707886"/>
          </a:xfrm>
          <a:prstGeom prst="rect">
            <a:avLst/>
          </a:prstGeom>
        </p:spPr>
        <p:txBody>
          <a:bodyPr wrap="square">
            <a:spAutoFit/>
          </a:bodyPr>
          <a:lstStyle/>
          <a:p>
            <a:pPr marL="114300" defTabSz="914367">
              <a:spcAft>
                <a:spcPts val="600"/>
              </a:spcAft>
            </a:pPr>
            <a:r>
              <a:rPr lang="en-US" sz="4000">
                <a:solidFill>
                  <a:srgbClr val="000000"/>
                </a:solidFill>
                <a:latin typeface="Segoe UI Light"/>
              </a:rPr>
              <a:t>Why Power BI ?</a:t>
            </a:r>
          </a:p>
        </p:txBody>
      </p:sp>
    </p:spTree>
    <p:extLst>
      <p:ext uri="{BB962C8B-B14F-4D97-AF65-F5344CB8AC3E}">
        <p14:creationId xmlns:p14="http://schemas.microsoft.com/office/powerpoint/2010/main" val="1818940399"/>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solidFill>
            <a:schemeClr val="bg1"/>
          </a:solidFill>
        </p:spPr>
        <p:txBody>
          <a:bodyPr/>
          <a:lstStyle/>
          <a:p>
            <a:r>
              <a:rPr lang="pt-PT" sz="3200">
                <a:solidFill>
                  <a:schemeClr val="tx1"/>
                </a:solidFill>
              </a:rPr>
              <a:t>Visualisations</a:t>
            </a:r>
            <a:r>
              <a:rPr lang="pt-PT" sz="3400">
                <a:solidFill>
                  <a:schemeClr val="tx1"/>
                </a:solidFill>
              </a:rPr>
              <a:t> - </a:t>
            </a:r>
            <a:r>
              <a:rPr lang="en-US" sz="3400">
                <a:solidFill>
                  <a:schemeClr val="tx1"/>
                </a:solidFill>
              </a:rPr>
              <a:t>100% Stacked Bar and Column Chart</a:t>
            </a:r>
          </a:p>
        </p:txBody>
      </p:sp>
      <p:grpSp>
        <p:nvGrpSpPr>
          <p:cNvPr id="52" name="Group 51"/>
          <p:cNvGrpSpPr/>
          <p:nvPr/>
        </p:nvGrpSpPr>
        <p:grpSpPr>
          <a:xfrm>
            <a:off x="2" y="1"/>
            <a:ext cx="2849058" cy="6858000"/>
            <a:chOff x="2" y="1"/>
            <a:chExt cx="2849058" cy="6858000"/>
          </a:xfrm>
        </p:grpSpPr>
        <p:sp>
          <p:nvSpPr>
            <p:cNvPr id="71" name="Rectangle 70"/>
            <p:cNvSpPr/>
            <p:nvPr/>
          </p:nvSpPr>
          <p:spPr bwMode="auto">
            <a:xfrm>
              <a:off x="2" y="1"/>
              <a:ext cx="2849058"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3" name="Oval 70"/>
            <p:cNvSpPr/>
            <p:nvPr/>
          </p:nvSpPr>
          <p:spPr>
            <a:xfrm>
              <a:off x="1413521" y="4951537"/>
              <a:ext cx="1119626" cy="1119626"/>
            </a:xfrm>
            <a:prstGeom prst="ellipse">
              <a:avLst/>
            </a:prstGeom>
            <a:solidFill>
              <a:srgbClr val="F2C812"/>
            </a:solidFill>
            <a:ln w="3175" cap="flat" cmpd="sng" algn="ctr">
              <a:noFill/>
              <a:prstDash val="solid"/>
            </a:ln>
            <a:effectLst/>
          </p:spPr>
          <p:txBody>
            <a:bodyPr vert="horz" wrap="none" lIns="0" tIns="45720" rIns="0" bIns="0" rtlCol="0" anchor="t"/>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Segoe UI"/>
                  <a:ea typeface="Segoe UI" pitchFamily="34" charset="0"/>
                  <a:cs typeface="Segoe UI" pitchFamily="34" charset="0"/>
                </a:rPr>
                <a:t>Share &amp;</a:t>
              </a:r>
            </a:p>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Segoe UI"/>
                  <a:ea typeface="Segoe UI" pitchFamily="34" charset="0"/>
                  <a:cs typeface="Segoe UI" pitchFamily="34" charset="0"/>
                </a:rPr>
                <a:t>collaborate </a:t>
              </a:r>
            </a:p>
          </p:txBody>
        </p:sp>
        <p:grpSp>
          <p:nvGrpSpPr>
            <p:cNvPr id="76" name="Group 38"/>
            <p:cNvGrpSpPr>
              <a:grpSpLocks noChangeAspect="1"/>
            </p:cNvGrpSpPr>
            <p:nvPr/>
          </p:nvGrpSpPr>
          <p:grpSpPr>
            <a:xfrm>
              <a:off x="676996" y="3930692"/>
              <a:ext cx="383905" cy="351536"/>
              <a:chOff x="4363684" y="5330386"/>
              <a:chExt cx="1409956" cy="1291077"/>
            </a:xfrm>
            <a:solidFill>
              <a:srgbClr val="217346"/>
            </a:solidFill>
          </p:grpSpPr>
          <p:sp>
            <p:nvSpPr>
              <p:cNvPr id="102" name="Donut 3"/>
              <p:cNvSpPr/>
              <p:nvPr/>
            </p:nvSpPr>
            <p:spPr bwMode="auto">
              <a:xfrm>
                <a:off x="4363684" y="5330386"/>
                <a:ext cx="1409956" cy="1291077"/>
              </a:xfrm>
              <a:custGeom>
                <a:avLst/>
                <a:gdLst/>
                <a:ahLst/>
                <a:cxnLst/>
                <a:rect l="l" t="t" r="r" b="b"/>
                <a:pathLst>
                  <a:path w="1409956" h="1291077">
                    <a:moveTo>
                      <a:pt x="956401" y="78410"/>
                    </a:moveTo>
                    <a:cubicBezTo>
                      <a:pt x="747518" y="78410"/>
                      <a:pt x="578184" y="247744"/>
                      <a:pt x="578184" y="456627"/>
                    </a:cubicBezTo>
                    <a:cubicBezTo>
                      <a:pt x="578184" y="665510"/>
                      <a:pt x="747518" y="834844"/>
                      <a:pt x="956401" y="834844"/>
                    </a:cubicBezTo>
                    <a:cubicBezTo>
                      <a:pt x="1165284" y="834844"/>
                      <a:pt x="1334618" y="665510"/>
                      <a:pt x="1334618" y="456627"/>
                    </a:cubicBezTo>
                    <a:cubicBezTo>
                      <a:pt x="1334618" y="247744"/>
                      <a:pt x="1165284" y="78410"/>
                      <a:pt x="956401" y="78410"/>
                    </a:cubicBezTo>
                    <a:close/>
                    <a:moveTo>
                      <a:pt x="952756" y="0"/>
                    </a:moveTo>
                    <a:cubicBezTo>
                      <a:pt x="1205261" y="0"/>
                      <a:pt x="1409956" y="204695"/>
                      <a:pt x="1409956" y="457200"/>
                    </a:cubicBezTo>
                    <a:cubicBezTo>
                      <a:pt x="1409956" y="709705"/>
                      <a:pt x="1205261" y="914400"/>
                      <a:pt x="952756" y="914400"/>
                    </a:cubicBezTo>
                    <a:cubicBezTo>
                      <a:pt x="862133" y="914400"/>
                      <a:pt x="777669" y="888034"/>
                      <a:pt x="707132" y="841746"/>
                    </a:cubicBezTo>
                    <a:lnTo>
                      <a:pt x="136495" y="1280102"/>
                    </a:lnTo>
                    <a:cubicBezTo>
                      <a:pt x="21896" y="1327168"/>
                      <a:pt x="-44029" y="1213730"/>
                      <a:pt x="33797" y="1113182"/>
                    </a:cubicBezTo>
                    <a:lnTo>
                      <a:pt x="568587" y="703518"/>
                    </a:lnTo>
                    <a:cubicBezTo>
                      <a:pt x="522087" y="632814"/>
                      <a:pt x="495556" y="548105"/>
                      <a:pt x="495556" y="457200"/>
                    </a:cubicBezTo>
                    <a:cubicBezTo>
                      <a:pt x="495556" y="204695"/>
                      <a:pt x="700251" y="0"/>
                      <a:pt x="952756" y="0"/>
                    </a:cubicBezTo>
                    <a:close/>
                  </a:path>
                </a:pathLst>
              </a:custGeom>
              <a:grpFill/>
              <a:ln>
                <a:solidFill>
                  <a:srgbClr val="21734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sp>
            <p:nvSpPr>
              <p:cNvPr id="103" name="Rectangle 4"/>
              <p:cNvSpPr/>
              <p:nvPr/>
            </p:nvSpPr>
            <p:spPr>
              <a:xfrm>
                <a:off x="5058389" y="5528247"/>
                <a:ext cx="490885" cy="490020"/>
              </a:xfrm>
              <a:custGeom>
                <a:avLst/>
                <a:gdLst/>
                <a:ahLst/>
                <a:cxnLst/>
                <a:rect l="l" t="t" r="r" b="b"/>
                <a:pathLst>
                  <a:path w="490885" h="490020">
                    <a:moveTo>
                      <a:pt x="240752" y="0"/>
                    </a:moveTo>
                    <a:cubicBezTo>
                      <a:pt x="253961" y="11844"/>
                      <a:pt x="293310" y="49692"/>
                      <a:pt x="337332" y="92439"/>
                    </a:cubicBezTo>
                    <a:lnTo>
                      <a:pt x="328342" y="81259"/>
                    </a:lnTo>
                    <a:cubicBezTo>
                      <a:pt x="356946" y="111282"/>
                      <a:pt x="377251" y="107167"/>
                      <a:pt x="382515" y="87941"/>
                    </a:cubicBezTo>
                    <a:cubicBezTo>
                      <a:pt x="383951" y="76921"/>
                      <a:pt x="384595" y="68732"/>
                      <a:pt x="396997" y="52239"/>
                    </a:cubicBezTo>
                    <a:cubicBezTo>
                      <a:pt x="420362" y="32084"/>
                      <a:pt x="442294" y="41736"/>
                      <a:pt x="454920" y="51330"/>
                    </a:cubicBezTo>
                    <a:cubicBezTo>
                      <a:pt x="467834" y="62761"/>
                      <a:pt x="477920" y="86882"/>
                      <a:pt x="460392" y="109714"/>
                    </a:cubicBezTo>
                    <a:cubicBezTo>
                      <a:pt x="451128" y="121912"/>
                      <a:pt x="437554" y="126838"/>
                      <a:pt x="425922" y="126505"/>
                    </a:cubicBezTo>
                    <a:cubicBezTo>
                      <a:pt x="424301" y="127609"/>
                      <a:pt x="382890" y="134974"/>
                      <a:pt x="427348" y="177672"/>
                    </a:cubicBezTo>
                    <a:lnTo>
                      <a:pt x="416886" y="169735"/>
                    </a:lnTo>
                    <a:cubicBezTo>
                      <a:pt x="450207" y="202177"/>
                      <a:pt x="478424" y="229744"/>
                      <a:pt x="490885" y="241900"/>
                    </a:cubicBezTo>
                    <a:lnTo>
                      <a:pt x="417150" y="317347"/>
                    </a:lnTo>
                    <a:cubicBezTo>
                      <a:pt x="417744" y="316535"/>
                      <a:pt x="418443" y="316123"/>
                      <a:pt x="419047" y="315822"/>
                    </a:cubicBezTo>
                    <a:cubicBezTo>
                      <a:pt x="389023" y="344426"/>
                      <a:pt x="393138" y="364731"/>
                      <a:pt x="412364" y="369995"/>
                    </a:cubicBezTo>
                    <a:cubicBezTo>
                      <a:pt x="423384" y="371431"/>
                      <a:pt x="431574" y="372075"/>
                      <a:pt x="448067" y="384477"/>
                    </a:cubicBezTo>
                    <a:cubicBezTo>
                      <a:pt x="468221" y="407842"/>
                      <a:pt x="458569" y="429774"/>
                      <a:pt x="448975" y="442400"/>
                    </a:cubicBezTo>
                    <a:cubicBezTo>
                      <a:pt x="437545" y="455314"/>
                      <a:pt x="413423" y="465400"/>
                      <a:pt x="390591" y="447872"/>
                    </a:cubicBezTo>
                    <a:cubicBezTo>
                      <a:pt x="378394" y="438608"/>
                      <a:pt x="373468" y="425034"/>
                      <a:pt x="373800" y="413402"/>
                    </a:cubicBezTo>
                    <a:cubicBezTo>
                      <a:pt x="372696" y="411781"/>
                      <a:pt x="365332" y="370370"/>
                      <a:pt x="322634" y="414828"/>
                    </a:cubicBezTo>
                    <a:lnTo>
                      <a:pt x="325243" y="411388"/>
                    </a:lnTo>
                    <a:lnTo>
                      <a:pt x="248395" y="490020"/>
                    </a:lnTo>
                    <a:cubicBezTo>
                      <a:pt x="208939" y="451897"/>
                      <a:pt x="199129" y="442073"/>
                      <a:pt x="174192" y="418236"/>
                    </a:cubicBezTo>
                    <a:cubicBezTo>
                      <a:pt x="145587" y="388212"/>
                      <a:pt x="125282" y="392327"/>
                      <a:pt x="120018" y="411553"/>
                    </a:cubicBezTo>
                    <a:cubicBezTo>
                      <a:pt x="118582" y="422573"/>
                      <a:pt x="117938" y="430763"/>
                      <a:pt x="105536" y="447256"/>
                    </a:cubicBezTo>
                    <a:cubicBezTo>
                      <a:pt x="82171" y="467410"/>
                      <a:pt x="60239" y="457758"/>
                      <a:pt x="47614" y="448164"/>
                    </a:cubicBezTo>
                    <a:cubicBezTo>
                      <a:pt x="34699" y="436734"/>
                      <a:pt x="24614" y="412612"/>
                      <a:pt x="42141" y="389780"/>
                    </a:cubicBezTo>
                    <a:cubicBezTo>
                      <a:pt x="51405" y="377583"/>
                      <a:pt x="64979" y="372657"/>
                      <a:pt x="76612" y="372989"/>
                    </a:cubicBezTo>
                    <a:cubicBezTo>
                      <a:pt x="78232" y="371886"/>
                      <a:pt x="119644" y="364521"/>
                      <a:pt x="75186" y="321823"/>
                    </a:cubicBezTo>
                    <a:cubicBezTo>
                      <a:pt x="58767" y="305402"/>
                      <a:pt x="23648" y="271235"/>
                      <a:pt x="0" y="248738"/>
                    </a:cubicBezTo>
                    <a:lnTo>
                      <a:pt x="77303" y="168146"/>
                    </a:lnTo>
                    <a:cubicBezTo>
                      <a:pt x="104269" y="140313"/>
                      <a:pt x="122130" y="156409"/>
                      <a:pt x="124388" y="175543"/>
                    </a:cubicBezTo>
                    <a:cubicBezTo>
                      <a:pt x="124457" y="182466"/>
                      <a:pt x="127106" y="193106"/>
                      <a:pt x="137575" y="203052"/>
                    </a:cubicBezTo>
                    <a:cubicBezTo>
                      <a:pt x="153931" y="220277"/>
                      <a:pt x="181252" y="217451"/>
                      <a:pt x="196721" y="201951"/>
                    </a:cubicBezTo>
                    <a:cubicBezTo>
                      <a:pt x="211961" y="185740"/>
                      <a:pt x="213057" y="157882"/>
                      <a:pt x="196146" y="142797"/>
                    </a:cubicBezTo>
                    <a:cubicBezTo>
                      <a:pt x="184301" y="132637"/>
                      <a:pt x="177155" y="131453"/>
                      <a:pt x="166513" y="129894"/>
                    </a:cubicBezTo>
                    <a:cubicBezTo>
                      <a:pt x="154522" y="129013"/>
                      <a:pt x="131185" y="112953"/>
                      <a:pt x="157905" y="85228"/>
                    </a:cubicBezTo>
                    <a:close/>
                  </a:path>
                </a:pathLst>
              </a:custGeom>
              <a:grpFill/>
              <a:ln>
                <a:solidFill>
                  <a:srgbClr val="21734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grpSp>
        <p:sp>
          <p:nvSpPr>
            <p:cNvPr id="77" name="Oval 47"/>
            <p:cNvSpPr/>
            <p:nvPr/>
          </p:nvSpPr>
          <p:spPr>
            <a:xfrm>
              <a:off x="388608" y="3710471"/>
              <a:ext cx="1119626" cy="1119626"/>
            </a:xfrm>
            <a:prstGeom prst="ellipse">
              <a:avLst/>
            </a:prstGeom>
            <a:solidFill>
              <a:srgbClr val="F2C812"/>
            </a:solidFill>
            <a:ln w="3175" cap="flat" cmpd="sng" algn="ctr">
              <a:noFill/>
              <a:prstDash val="solid"/>
            </a:ln>
            <a:effectLst/>
          </p:spPr>
          <p:txBody>
            <a:bodyPr vert="horz" wrap="none" lIns="0" tIns="45720" rIns="0" bIns="0" rtlCol="0" anchor="t"/>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Segoe UI"/>
                  <a:ea typeface="Segoe UI" pitchFamily="34" charset="0"/>
                  <a:cs typeface="Segoe UI" pitchFamily="34" charset="0"/>
                </a:rPr>
                <a:t>Report</a:t>
              </a:r>
            </a:p>
          </p:txBody>
        </p:sp>
        <p:sp>
          <p:nvSpPr>
            <p:cNvPr id="78" name="Oval 950"/>
            <p:cNvSpPr/>
            <p:nvPr/>
          </p:nvSpPr>
          <p:spPr>
            <a:xfrm>
              <a:off x="388608" y="1252295"/>
              <a:ext cx="1119626" cy="1119626"/>
            </a:xfrm>
            <a:prstGeom prst="ellipse">
              <a:avLst/>
            </a:prstGeom>
            <a:solidFill>
              <a:srgbClr val="F2C812"/>
            </a:solidFill>
            <a:ln w="3175" cap="flat" cmpd="sng" algn="ctr">
              <a:noFill/>
              <a:prstDash val="solid"/>
            </a:ln>
            <a:effectLst/>
          </p:spPr>
          <p:txBody>
            <a:bodyPr vert="horz" wrap="none" lIns="0" tIns="45720" rIns="0" bIns="0" rtlCol="0" anchor="t"/>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1" i="0" u="none" strike="noStrike" kern="1200" cap="none" spc="0" normalizeH="0" baseline="0" noProof="0">
                <a:ln>
                  <a:noFill/>
                </a:ln>
                <a:solidFill>
                  <a:srgbClr val="217346"/>
                </a:solidFill>
                <a:effectLst/>
                <a:uLnTx/>
                <a:uFillTx/>
                <a:latin typeface="Segoe UI"/>
                <a:ea typeface="Segoe UI" pitchFamily="34" charset="0"/>
                <a:cs typeface="Segoe UI" pitchFamily="34" charset="0"/>
              </a:endParaRPr>
            </a:p>
          </p:txBody>
        </p:sp>
        <p:grpSp>
          <p:nvGrpSpPr>
            <p:cNvPr id="79" name="Group 78"/>
            <p:cNvGrpSpPr/>
            <p:nvPr/>
          </p:nvGrpSpPr>
          <p:grpSpPr>
            <a:xfrm>
              <a:off x="1264851" y="3482890"/>
              <a:ext cx="292254" cy="354906"/>
              <a:chOff x="1296521" y="3253388"/>
              <a:chExt cx="292254" cy="354906"/>
            </a:xfrm>
            <a:solidFill>
              <a:srgbClr val="F2C812"/>
            </a:solidFill>
          </p:grpSpPr>
          <p:sp>
            <p:nvSpPr>
              <p:cNvPr id="99" name="Isosceles Triangle 98"/>
              <p:cNvSpPr/>
              <p:nvPr/>
            </p:nvSpPr>
            <p:spPr bwMode="auto">
              <a:xfrm rot="13636515">
                <a:off x="1461362" y="328936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0" name="Isosceles Triangle 99"/>
              <p:cNvSpPr/>
              <p:nvPr/>
            </p:nvSpPr>
            <p:spPr bwMode="auto">
              <a:xfrm rot="13636515">
                <a:off x="1357669" y="338258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1" name="Isosceles Triangle 100"/>
              <p:cNvSpPr/>
              <p:nvPr/>
            </p:nvSpPr>
            <p:spPr bwMode="auto">
              <a:xfrm rot="13636515">
                <a:off x="1260548" y="3480882"/>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80" name="Group 79"/>
            <p:cNvGrpSpPr/>
            <p:nvPr/>
          </p:nvGrpSpPr>
          <p:grpSpPr>
            <a:xfrm rot="15940603">
              <a:off x="1334576" y="2204404"/>
              <a:ext cx="292254" cy="354906"/>
              <a:chOff x="1296521" y="3253388"/>
              <a:chExt cx="292254" cy="354906"/>
            </a:xfrm>
            <a:solidFill>
              <a:srgbClr val="F2C812"/>
            </a:solidFill>
          </p:grpSpPr>
          <p:sp>
            <p:nvSpPr>
              <p:cNvPr id="96" name="Isosceles Triangle 95"/>
              <p:cNvSpPr/>
              <p:nvPr/>
            </p:nvSpPr>
            <p:spPr bwMode="auto">
              <a:xfrm rot="13636515">
                <a:off x="1461362" y="328936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7" name="Isosceles Triangle 96"/>
              <p:cNvSpPr/>
              <p:nvPr/>
            </p:nvSpPr>
            <p:spPr bwMode="auto">
              <a:xfrm rot="13636515">
                <a:off x="1357669" y="338258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8" name="Isosceles Triangle 97"/>
              <p:cNvSpPr/>
              <p:nvPr/>
            </p:nvSpPr>
            <p:spPr bwMode="auto">
              <a:xfrm rot="13636515">
                <a:off x="1260548" y="3480882"/>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81" name="Group 80"/>
            <p:cNvGrpSpPr/>
            <p:nvPr/>
          </p:nvGrpSpPr>
          <p:grpSpPr>
            <a:xfrm rot="16043978">
              <a:off x="1317220" y="4717577"/>
              <a:ext cx="292254" cy="354906"/>
              <a:chOff x="1296521" y="3253388"/>
              <a:chExt cx="292254" cy="354906"/>
            </a:xfrm>
            <a:solidFill>
              <a:srgbClr val="F2C812"/>
            </a:solidFill>
          </p:grpSpPr>
          <p:sp>
            <p:nvSpPr>
              <p:cNvPr id="93" name="Isosceles Triangle 92"/>
              <p:cNvSpPr/>
              <p:nvPr/>
            </p:nvSpPr>
            <p:spPr bwMode="auto">
              <a:xfrm rot="13636515">
                <a:off x="1461362" y="328936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4" name="Isosceles Triangle 93"/>
              <p:cNvSpPr/>
              <p:nvPr/>
            </p:nvSpPr>
            <p:spPr bwMode="auto">
              <a:xfrm rot="13636515">
                <a:off x="1357669" y="338258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5" name="Isosceles Triangle 94"/>
              <p:cNvSpPr/>
              <p:nvPr/>
            </p:nvSpPr>
            <p:spPr bwMode="auto">
              <a:xfrm rot="13636515">
                <a:off x="1260548" y="3480882"/>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82" name="Oval 36"/>
            <p:cNvSpPr/>
            <p:nvPr/>
          </p:nvSpPr>
          <p:spPr>
            <a:xfrm>
              <a:off x="1413521" y="2481383"/>
              <a:ext cx="1119626" cy="1119626"/>
            </a:xfrm>
            <a:prstGeom prst="ellipse">
              <a:avLst/>
            </a:prstGeom>
            <a:solidFill>
              <a:srgbClr val="F2C812"/>
            </a:solidFill>
            <a:ln w="3175" cap="flat" cmpd="sng" algn="ctr">
              <a:noFill/>
              <a:prstDash val="solid"/>
            </a:ln>
            <a:effectLst/>
          </p:spPr>
          <p:txBody>
            <a:bodyPr vert="horz" wrap="none" lIns="0" tIns="0" rIns="0" bIns="0" rtlCol="0" anchor="t"/>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400" b="1" i="0" u="none" strike="noStrike" kern="1200" cap="none" spc="0" normalizeH="0" baseline="0" noProof="0">
                <a:ln>
                  <a:noFill/>
                </a:ln>
                <a:solidFill>
                  <a:srgbClr val="217346"/>
                </a:solidFill>
                <a:effectLst/>
                <a:uLnTx/>
                <a:uFillTx/>
                <a:latin typeface="Segoe UI"/>
                <a:ea typeface="Segoe UI" pitchFamily="34" charset="0"/>
                <a:cs typeface="Segoe UI" pitchFamily="34" charset="0"/>
              </a:endParaRPr>
            </a:p>
          </p:txBody>
        </p:sp>
        <p:sp>
          <p:nvSpPr>
            <p:cNvPr id="83" name="Donut 3"/>
            <p:cNvSpPr/>
            <p:nvPr/>
          </p:nvSpPr>
          <p:spPr bwMode="auto">
            <a:xfrm>
              <a:off x="1742065" y="3002355"/>
              <a:ext cx="383905" cy="351537"/>
            </a:xfrm>
            <a:custGeom>
              <a:avLst/>
              <a:gdLst/>
              <a:ahLst/>
              <a:cxnLst/>
              <a:rect l="l" t="t" r="r" b="b"/>
              <a:pathLst>
                <a:path w="1409956" h="1291077">
                  <a:moveTo>
                    <a:pt x="956401" y="78410"/>
                  </a:moveTo>
                  <a:cubicBezTo>
                    <a:pt x="747518" y="78410"/>
                    <a:pt x="578184" y="247744"/>
                    <a:pt x="578184" y="456627"/>
                  </a:cubicBezTo>
                  <a:cubicBezTo>
                    <a:pt x="578184" y="665510"/>
                    <a:pt x="747518" y="834844"/>
                    <a:pt x="956401" y="834844"/>
                  </a:cubicBezTo>
                  <a:cubicBezTo>
                    <a:pt x="1165284" y="834844"/>
                    <a:pt x="1334618" y="665510"/>
                    <a:pt x="1334618" y="456627"/>
                  </a:cubicBezTo>
                  <a:cubicBezTo>
                    <a:pt x="1334618" y="247744"/>
                    <a:pt x="1165284" y="78410"/>
                    <a:pt x="956401" y="78410"/>
                  </a:cubicBezTo>
                  <a:close/>
                  <a:moveTo>
                    <a:pt x="952756" y="0"/>
                  </a:moveTo>
                  <a:cubicBezTo>
                    <a:pt x="1205261" y="0"/>
                    <a:pt x="1409956" y="204695"/>
                    <a:pt x="1409956" y="457200"/>
                  </a:cubicBezTo>
                  <a:cubicBezTo>
                    <a:pt x="1409956" y="709705"/>
                    <a:pt x="1205261" y="914400"/>
                    <a:pt x="952756" y="914400"/>
                  </a:cubicBezTo>
                  <a:cubicBezTo>
                    <a:pt x="862133" y="914400"/>
                    <a:pt x="777669" y="888034"/>
                    <a:pt x="707132" y="841746"/>
                  </a:cubicBezTo>
                  <a:lnTo>
                    <a:pt x="136495" y="1280102"/>
                  </a:lnTo>
                  <a:cubicBezTo>
                    <a:pt x="21896" y="1327168"/>
                    <a:pt x="-44029" y="1213730"/>
                    <a:pt x="33797" y="1113182"/>
                  </a:cubicBezTo>
                  <a:lnTo>
                    <a:pt x="568587" y="703518"/>
                  </a:lnTo>
                  <a:cubicBezTo>
                    <a:pt x="522087" y="632814"/>
                    <a:pt x="495556" y="548105"/>
                    <a:pt x="495556" y="457200"/>
                  </a:cubicBezTo>
                  <a:cubicBezTo>
                    <a:pt x="495556" y="204695"/>
                    <a:pt x="700251" y="0"/>
                    <a:pt x="952756" y="0"/>
                  </a:cubicBezTo>
                  <a:close/>
                </a:path>
              </a:pathLst>
            </a:cu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sp>
          <p:nvSpPr>
            <p:cNvPr id="84" name="Rectangle 83"/>
            <p:cNvSpPr/>
            <p:nvPr/>
          </p:nvSpPr>
          <p:spPr>
            <a:xfrm>
              <a:off x="1600398" y="2677430"/>
              <a:ext cx="820353" cy="307777"/>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Segoe UI"/>
                  <a:ea typeface="Segoe UI" pitchFamily="34" charset="0"/>
                  <a:cs typeface="Segoe UI" pitchFamily="34" charset="0"/>
                </a:rPr>
                <a:t>Explore</a:t>
              </a:r>
              <a:endParaRPr kumimoji="0" lang="en-US" sz="1600" b="0" i="0" u="none" strike="noStrike" kern="1200" cap="none" spc="0" normalizeH="0" baseline="0" noProof="0">
                <a:ln>
                  <a:noFill/>
                </a:ln>
                <a:solidFill>
                  <a:srgbClr val="000000"/>
                </a:solidFill>
                <a:effectLst/>
                <a:uLnTx/>
                <a:uFillTx/>
                <a:latin typeface="Segoe UI"/>
                <a:ea typeface="+mn-ea"/>
                <a:cs typeface="+mn-cs"/>
              </a:endParaRPr>
            </a:p>
          </p:txBody>
        </p:sp>
        <p:sp>
          <p:nvSpPr>
            <p:cNvPr id="85" name="Rectangle 84"/>
            <p:cNvSpPr/>
            <p:nvPr/>
          </p:nvSpPr>
          <p:spPr>
            <a:xfrm>
              <a:off x="509174" y="1475232"/>
              <a:ext cx="838756" cy="307777"/>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Segoe UI"/>
                  <a:ea typeface="Segoe UI" pitchFamily="34" charset="0"/>
                  <a:cs typeface="Segoe UI" pitchFamily="34" charset="0"/>
                </a:rPr>
                <a:t>Prepare</a:t>
              </a: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86" name="Freeform 85"/>
            <p:cNvSpPr>
              <a:spLocks noChangeAspect="1"/>
            </p:cNvSpPr>
            <p:nvPr/>
          </p:nvSpPr>
          <p:spPr bwMode="black">
            <a:xfrm>
              <a:off x="1836174" y="5643069"/>
              <a:ext cx="274320" cy="284173"/>
            </a:xfrm>
            <a:custGeom>
              <a:avLst/>
              <a:gdLst>
                <a:gd name="T0" fmla="*/ 539 w 669"/>
                <a:gd name="T1" fmla="*/ 5 h 693"/>
                <a:gd name="T2" fmla="*/ 640 w 669"/>
                <a:gd name="T3" fmla="*/ 55 h 693"/>
                <a:gd name="T4" fmla="*/ 603 w 669"/>
                <a:gd name="T5" fmla="*/ 195 h 693"/>
                <a:gd name="T6" fmla="*/ 490 w 669"/>
                <a:gd name="T7" fmla="*/ 188 h 693"/>
                <a:gd name="T8" fmla="*/ 479 w 669"/>
                <a:gd name="T9" fmla="*/ 176 h 693"/>
                <a:gd name="T10" fmla="*/ 213 w 669"/>
                <a:gd name="T11" fmla="*/ 330 h 693"/>
                <a:gd name="T12" fmla="*/ 218 w 669"/>
                <a:gd name="T13" fmla="*/ 345 h 693"/>
                <a:gd name="T14" fmla="*/ 218 w 669"/>
                <a:gd name="T15" fmla="*/ 375 h 693"/>
                <a:gd name="T16" fmla="*/ 209 w 669"/>
                <a:gd name="T17" fmla="*/ 402 h 693"/>
                <a:gd name="T18" fmla="*/ 369 w 669"/>
                <a:gd name="T19" fmla="*/ 503 h 693"/>
                <a:gd name="T20" fmla="*/ 373 w 669"/>
                <a:gd name="T21" fmla="*/ 498 h 693"/>
                <a:gd name="T22" fmla="*/ 456 w 669"/>
                <a:gd name="T23" fmla="*/ 475 h 693"/>
                <a:gd name="T24" fmla="*/ 494 w 669"/>
                <a:gd name="T25" fmla="*/ 489 h 693"/>
                <a:gd name="T26" fmla="*/ 527 w 669"/>
                <a:gd name="T27" fmla="*/ 630 h 693"/>
                <a:gd name="T28" fmla="*/ 386 w 669"/>
                <a:gd name="T29" fmla="*/ 663 h 693"/>
                <a:gd name="T30" fmla="*/ 339 w 669"/>
                <a:gd name="T31" fmla="*/ 560 h 693"/>
                <a:gd name="T32" fmla="*/ 345 w 669"/>
                <a:gd name="T33" fmla="*/ 544 h 693"/>
                <a:gd name="T34" fmla="*/ 177 w 669"/>
                <a:gd name="T35" fmla="*/ 439 h 693"/>
                <a:gd name="T36" fmla="*/ 168 w 669"/>
                <a:gd name="T37" fmla="*/ 446 h 693"/>
                <a:gd name="T38" fmla="*/ 28 w 669"/>
                <a:gd name="T39" fmla="*/ 409 h 693"/>
                <a:gd name="T40" fmla="*/ 65 w 669"/>
                <a:gd name="T41" fmla="*/ 269 h 693"/>
                <a:gd name="T42" fmla="*/ 178 w 669"/>
                <a:gd name="T43" fmla="*/ 276 h 693"/>
                <a:gd name="T44" fmla="*/ 189 w 669"/>
                <a:gd name="T45" fmla="*/ 288 h 693"/>
                <a:gd name="T46" fmla="*/ 455 w 669"/>
                <a:gd name="T47" fmla="*/ 134 h 693"/>
                <a:gd name="T48" fmla="*/ 450 w 669"/>
                <a:gd name="T49" fmla="*/ 119 h 693"/>
                <a:gd name="T50" fmla="*/ 501 w 669"/>
                <a:gd name="T51" fmla="*/ 18 h 693"/>
                <a:gd name="T52" fmla="*/ 539 w 669"/>
                <a:gd name="T53" fmla="*/ 5 h 6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69" h="693">
                  <a:moveTo>
                    <a:pt x="539" y="5"/>
                  </a:moveTo>
                  <a:cubicBezTo>
                    <a:pt x="579" y="0"/>
                    <a:pt x="619" y="19"/>
                    <a:pt x="640" y="55"/>
                  </a:cubicBezTo>
                  <a:cubicBezTo>
                    <a:pt x="669" y="104"/>
                    <a:pt x="652" y="167"/>
                    <a:pt x="603" y="195"/>
                  </a:cubicBezTo>
                  <a:cubicBezTo>
                    <a:pt x="566" y="216"/>
                    <a:pt x="522" y="212"/>
                    <a:pt x="490" y="188"/>
                  </a:cubicBezTo>
                  <a:cubicBezTo>
                    <a:pt x="479" y="176"/>
                    <a:pt x="479" y="176"/>
                    <a:pt x="479" y="176"/>
                  </a:cubicBezTo>
                  <a:cubicBezTo>
                    <a:pt x="213" y="330"/>
                    <a:pt x="213" y="330"/>
                    <a:pt x="213" y="330"/>
                  </a:cubicBezTo>
                  <a:cubicBezTo>
                    <a:pt x="218" y="345"/>
                    <a:pt x="218" y="345"/>
                    <a:pt x="218" y="345"/>
                  </a:cubicBezTo>
                  <a:cubicBezTo>
                    <a:pt x="219" y="355"/>
                    <a:pt x="219" y="365"/>
                    <a:pt x="218" y="375"/>
                  </a:cubicBezTo>
                  <a:cubicBezTo>
                    <a:pt x="209" y="402"/>
                    <a:pt x="209" y="402"/>
                    <a:pt x="209" y="402"/>
                  </a:cubicBezTo>
                  <a:cubicBezTo>
                    <a:pt x="369" y="503"/>
                    <a:pt x="369" y="503"/>
                    <a:pt x="369" y="503"/>
                  </a:cubicBezTo>
                  <a:cubicBezTo>
                    <a:pt x="373" y="498"/>
                    <a:pt x="373" y="498"/>
                    <a:pt x="373" y="498"/>
                  </a:cubicBezTo>
                  <a:cubicBezTo>
                    <a:pt x="396" y="479"/>
                    <a:pt x="427" y="470"/>
                    <a:pt x="456" y="475"/>
                  </a:cubicBezTo>
                  <a:cubicBezTo>
                    <a:pt x="470" y="477"/>
                    <a:pt x="482" y="482"/>
                    <a:pt x="494" y="489"/>
                  </a:cubicBezTo>
                  <a:cubicBezTo>
                    <a:pt x="542" y="519"/>
                    <a:pt x="557" y="583"/>
                    <a:pt x="527" y="630"/>
                  </a:cubicBezTo>
                  <a:cubicBezTo>
                    <a:pt x="497" y="678"/>
                    <a:pt x="433" y="693"/>
                    <a:pt x="386" y="663"/>
                  </a:cubicBezTo>
                  <a:cubicBezTo>
                    <a:pt x="350" y="640"/>
                    <a:pt x="333" y="599"/>
                    <a:pt x="339" y="560"/>
                  </a:cubicBezTo>
                  <a:cubicBezTo>
                    <a:pt x="345" y="544"/>
                    <a:pt x="345" y="544"/>
                    <a:pt x="345" y="544"/>
                  </a:cubicBezTo>
                  <a:cubicBezTo>
                    <a:pt x="177" y="439"/>
                    <a:pt x="177" y="439"/>
                    <a:pt x="177" y="439"/>
                  </a:cubicBezTo>
                  <a:cubicBezTo>
                    <a:pt x="168" y="446"/>
                    <a:pt x="168" y="446"/>
                    <a:pt x="168" y="446"/>
                  </a:cubicBezTo>
                  <a:cubicBezTo>
                    <a:pt x="119" y="475"/>
                    <a:pt x="56" y="458"/>
                    <a:pt x="28" y="409"/>
                  </a:cubicBezTo>
                  <a:cubicBezTo>
                    <a:pt x="0" y="360"/>
                    <a:pt x="16" y="297"/>
                    <a:pt x="65" y="269"/>
                  </a:cubicBezTo>
                  <a:cubicBezTo>
                    <a:pt x="102" y="248"/>
                    <a:pt x="147" y="252"/>
                    <a:pt x="178" y="276"/>
                  </a:cubicBezTo>
                  <a:cubicBezTo>
                    <a:pt x="189" y="288"/>
                    <a:pt x="189" y="288"/>
                    <a:pt x="189" y="288"/>
                  </a:cubicBezTo>
                  <a:cubicBezTo>
                    <a:pt x="455" y="134"/>
                    <a:pt x="455" y="134"/>
                    <a:pt x="455" y="134"/>
                  </a:cubicBezTo>
                  <a:cubicBezTo>
                    <a:pt x="450" y="119"/>
                    <a:pt x="450" y="119"/>
                    <a:pt x="450" y="119"/>
                  </a:cubicBezTo>
                  <a:cubicBezTo>
                    <a:pt x="445" y="80"/>
                    <a:pt x="464" y="39"/>
                    <a:pt x="501" y="18"/>
                  </a:cubicBezTo>
                  <a:cubicBezTo>
                    <a:pt x="513" y="11"/>
                    <a:pt x="526" y="6"/>
                    <a:pt x="539" y="5"/>
                  </a:cubicBezTo>
                  <a:close/>
                </a:path>
              </a:pathLst>
            </a:custGeom>
            <a:solidFill>
              <a:schemeClr val="tx1"/>
            </a:solidFill>
            <a:ln>
              <a:noFill/>
            </a:ln>
          </p:spPr>
          <p:txBody>
            <a:bodyPr vert="horz" wrap="square" lIns="68574" tIns="34287" rIns="68574" bIns="34287"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0000"/>
                </a:solidFill>
                <a:effectLst/>
                <a:uLnTx/>
                <a:uFillTx/>
                <a:latin typeface="Segoe UI"/>
                <a:ea typeface="+mn-ea"/>
                <a:cs typeface="+mn-cs"/>
              </a:endParaRPr>
            </a:p>
          </p:txBody>
        </p:sp>
        <p:sp>
          <p:nvSpPr>
            <p:cNvPr id="87" name="Freeform 86"/>
            <p:cNvSpPr>
              <a:spLocks noChangeAspect="1" noEditPoints="1"/>
            </p:cNvSpPr>
            <p:nvPr/>
          </p:nvSpPr>
          <p:spPr bwMode="black">
            <a:xfrm>
              <a:off x="722320" y="1783009"/>
              <a:ext cx="452202" cy="366660"/>
            </a:xfrm>
            <a:custGeom>
              <a:avLst/>
              <a:gdLst>
                <a:gd name="T0" fmla="*/ 600 w 1107"/>
                <a:gd name="T1" fmla="*/ 625 h 897"/>
                <a:gd name="T2" fmla="*/ 649 w 1107"/>
                <a:gd name="T3" fmla="*/ 567 h 897"/>
                <a:gd name="T4" fmla="*/ 727 w 1107"/>
                <a:gd name="T5" fmla="*/ 482 h 897"/>
                <a:gd name="T6" fmla="*/ 601 w 1107"/>
                <a:gd name="T7" fmla="*/ 434 h 897"/>
                <a:gd name="T8" fmla="*/ 628 w 1107"/>
                <a:gd name="T9" fmla="*/ 305 h 897"/>
                <a:gd name="T10" fmla="*/ 547 w 1107"/>
                <a:gd name="T11" fmla="*/ 240 h 897"/>
                <a:gd name="T12" fmla="*/ 427 w 1107"/>
                <a:gd name="T13" fmla="*/ 287 h 897"/>
                <a:gd name="T14" fmla="*/ 368 w 1107"/>
                <a:gd name="T15" fmla="*/ 170 h 897"/>
                <a:gd name="T16" fmla="*/ 285 w 1107"/>
                <a:gd name="T17" fmla="*/ 263 h 897"/>
                <a:gd name="T18" fmla="*/ 241 w 1107"/>
                <a:gd name="T19" fmla="*/ 313 h 897"/>
                <a:gd name="T20" fmla="*/ 139 w 1107"/>
                <a:gd name="T21" fmla="*/ 281 h 897"/>
                <a:gd name="T22" fmla="*/ 79 w 1107"/>
                <a:gd name="T23" fmla="*/ 355 h 897"/>
                <a:gd name="T24" fmla="*/ 132 w 1107"/>
                <a:gd name="T25" fmla="*/ 446 h 897"/>
                <a:gd name="T26" fmla="*/ 83 w 1107"/>
                <a:gd name="T27" fmla="*/ 505 h 897"/>
                <a:gd name="T28" fmla="*/ 5 w 1107"/>
                <a:gd name="T29" fmla="*/ 590 h 897"/>
                <a:gd name="T30" fmla="*/ 132 w 1107"/>
                <a:gd name="T31" fmla="*/ 638 h 897"/>
                <a:gd name="T32" fmla="*/ 145 w 1107"/>
                <a:gd name="T33" fmla="*/ 669 h 897"/>
                <a:gd name="T34" fmla="*/ 110 w 1107"/>
                <a:gd name="T35" fmla="*/ 793 h 897"/>
                <a:gd name="T36" fmla="*/ 230 w 1107"/>
                <a:gd name="T37" fmla="*/ 781 h 897"/>
                <a:gd name="T38" fmla="*/ 306 w 1107"/>
                <a:gd name="T39" fmla="*/ 785 h 897"/>
                <a:gd name="T40" fmla="*/ 346 w 1107"/>
                <a:gd name="T41" fmla="*/ 878 h 897"/>
                <a:gd name="T42" fmla="*/ 440 w 1107"/>
                <a:gd name="T43" fmla="*/ 872 h 897"/>
                <a:gd name="T44" fmla="*/ 466 w 1107"/>
                <a:gd name="T45" fmla="*/ 764 h 897"/>
                <a:gd name="T46" fmla="*/ 539 w 1107"/>
                <a:gd name="T47" fmla="*/ 755 h 897"/>
                <a:gd name="T48" fmla="*/ 659 w 1107"/>
                <a:gd name="T49" fmla="*/ 743 h 897"/>
                <a:gd name="T50" fmla="*/ 263 w 1107"/>
                <a:gd name="T51" fmla="*/ 452 h 897"/>
                <a:gd name="T52" fmla="*/ 281 w 1107"/>
                <a:gd name="T53" fmla="*/ 633 h 897"/>
                <a:gd name="T54" fmla="*/ 1002 w 1107"/>
                <a:gd name="T55" fmla="*/ 332 h 897"/>
                <a:gd name="T56" fmla="*/ 1043 w 1107"/>
                <a:gd name="T57" fmla="*/ 304 h 897"/>
                <a:gd name="T58" fmla="*/ 1107 w 1107"/>
                <a:gd name="T59" fmla="*/ 266 h 897"/>
                <a:gd name="T60" fmla="*/ 1037 w 1107"/>
                <a:gd name="T61" fmla="*/ 213 h 897"/>
                <a:gd name="T62" fmla="*/ 1077 w 1107"/>
                <a:gd name="T63" fmla="*/ 138 h 897"/>
                <a:gd name="T64" fmla="*/ 1038 w 1107"/>
                <a:gd name="T65" fmla="*/ 83 h 897"/>
                <a:gd name="T66" fmla="*/ 956 w 1107"/>
                <a:gd name="T67" fmla="*/ 91 h 897"/>
                <a:gd name="T68" fmla="*/ 940 w 1107"/>
                <a:gd name="T69" fmla="*/ 7 h 897"/>
                <a:gd name="T70" fmla="*/ 872 w 1107"/>
                <a:gd name="T71" fmla="*/ 50 h 897"/>
                <a:gd name="T72" fmla="*/ 836 w 1107"/>
                <a:gd name="T73" fmla="*/ 74 h 897"/>
                <a:gd name="T74" fmla="*/ 778 w 1107"/>
                <a:gd name="T75" fmla="*/ 35 h 897"/>
                <a:gd name="T76" fmla="*/ 728 w 1107"/>
                <a:gd name="T77" fmla="*/ 70 h 897"/>
                <a:gd name="T78" fmla="*/ 744 w 1107"/>
                <a:gd name="T79" fmla="*/ 136 h 897"/>
                <a:gd name="T80" fmla="*/ 703 w 1107"/>
                <a:gd name="T81" fmla="*/ 164 h 897"/>
                <a:gd name="T82" fmla="*/ 640 w 1107"/>
                <a:gd name="T83" fmla="*/ 203 h 897"/>
                <a:gd name="T84" fmla="*/ 710 w 1107"/>
                <a:gd name="T85" fmla="*/ 255 h 897"/>
                <a:gd name="T86" fmla="*/ 712 w 1107"/>
                <a:gd name="T87" fmla="*/ 277 h 897"/>
                <a:gd name="T88" fmla="*/ 668 w 1107"/>
                <a:gd name="T89" fmla="*/ 347 h 897"/>
                <a:gd name="T90" fmla="*/ 745 w 1107"/>
                <a:gd name="T91" fmla="*/ 361 h 897"/>
                <a:gd name="T92" fmla="*/ 791 w 1107"/>
                <a:gd name="T93" fmla="*/ 377 h 897"/>
                <a:gd name="T94" fmla="*/ 799 w 1107"/>
                <a:gd name="T95" fmla="*/ 443 h 897"/>
                <a:gd name="T96" fmla="*/ 859 w 1107"/>
                <a:gd name="T97" fmla="*/ 456 h 897"/>
                <a:gd name="T98" fmla="*/ 894 w 1107"/>
                <a:gd name="T99" fmla="*/ 393 h 897"/>
                <a:gd name="T100" fmla="*/ 941 w 1107"/>
                <a:gd name="T101" fmla="*/ 401 h 897"/>
                <a:gd name="T102" fmla="*/ 1018 w 1107"/>
                <a:gd name="T103" fmla="*/ 415 h 897"/>
                <a:gd name="T104" fmla="*/ 825 w 1107"/>
                <a:gd name="T105" fmla="*/ 164 h 897"/>
                <a:gd name="T106" fmla="*/ 803 w 1107"/>
                <a:gd name="T107" fmla="*/ 279 h 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107" h="897">
                  <a:moveTo>
                    <a:pt x="654" y="716"/>
                  </a:moveTo>
                  <a:cubicBezTo>
                    <a:pt x="616" y="670"/>
                    <a:pt x="616" y="670"/>
                    <a:pt x="616" y="670"/>
                  </a:cubicBezTo>
                  <a:cubicBezTo>
                    <a:pt x="593" y="654"/>
                    <a:pt x="603" y="638"/>
                    <a:pt x="600" y="625"/>
                  </a:cubicBezTo>
                  <a:cubicBezTo>
                    <a:pt x="600" y="625"/>
                    <a:pt x="600" y="625"/>
                    <a:pt x="600" y="625"/>
                  </a:cubicBezTo>
                  <a:cubicBezTo>
                    <a:pt x="605" y="617"/>
                    <a:pt x="611" y="609"/>
                    <a:pt x="608" y="596"/>
                  </a:cubicBezTo>
                  <a:cubicBezTo>
                    <a:pt x="618" y="580"/>
                    <a:pt x="623" y="572"/>
                    <a:pt x="649" y="567"/>
                  </a:cubicBezTo>
                  <a:cubicBezTo>
                    <a:pt x="715" y="553"/>
                    <a:pt x="715" y="553"/>
                    <a:pt x="715" y="553"/>
                  </a:cubicBezTo>
                  <a:cubicBezTo>
                    <a:pt x="728" y="550"/>
                    <a:pt x="733" y="542"/>
                    <a:pt x="730" y="529"/>
                  </a:cubicBezTo>
                  <a:cubicBezTo>
                    <a:pt x="727" y="482"/>
                    <a:pt x="727" y="482"/>
                    <a:pt x="727" y="482"/>
                  </a:cubicBezTo>
                  <a:cubicBezTo>
                    <a:pt x="724" y="469"/>
                    <a:pt x="717" y="463"/>
                    <a:pt x="701" y="453"/>
                  </a:cubicBezTo>
                  <a:cubicBezTo>
                    <a:pt x="641" y="459"/>
                    <a:pt x="641" y="459"/>
                    <a:pt x="641" y="459"/>
                  </a:cubicBezTo>
                  <a:cubicBezTo>
                    <a:pt x="620" y="457"/>
                    <a:pt x="604" y="447"/>
                    <a:pt x="601" y="434"/>
                  </a:cubicBezTo>
                  <a:cubicBezTo>
                    <a:pt x="598" y="421"/>
                    <a:pt x="590" y="416"/>
                    <a:pt x="580" y="397"/>
                  </a:cubicBezTo>
                  <a:cubicBezTo>
                    <a:pt x="577" y="384"/>
                    <a:pt x="574" y="371"/>
                    <a:pt x="584" y="355"/>
                  </a:cubicBezTo>
                  <a:cubicBezTo>
                    <a:pt x="628" y="305"/>
                    <a:pt x="628" y="305"/>
                    <a:pt x="628" y="305"/>
                  </a:cubicBezTo>
                  <a:cubicBezTo>
                    <a:pt x="634" y="297"/>
                    <a:pt x="631" y="284"/>
                    <a:pt x="623" y="279"/>
                  </a:cubicBezTo>
                  <a:cubicBezTo>
                    <a:pt x="581" y="240"/>
                    <a:pt x="581" y="240"/>
                    <a:pt x="581" y="240"/>
                  </a:cubicBezTo>
                  <a:cubicBezTo>
                    <a:pt x="573" y="235"/>
                    <a:pt x="560" y="238"/>
                    <a:pt x="547" y="240"/>
                  </a:cubicBezTo>
                  <a:cubicBezTo>
                    <a:pt x="503" y="291"/>
                    <a:pt x="503" y="291"/>
                    <a:pt x="503" y="291"/>
                  </a:cubicBezTo>
                  <a:cubicBezTo>
                    <a:pt x="484" y="302"/>
                    <a:pt x="471" y="304"/>
                    <a:pt x="463" y="299"/>
                  </a:cubicBezTo>
                  <a:cubicBezTo>
                    <a:pt x="456" y="294"/>
                    <a:pt x="435" y="292"/>
                    <a:pt x="427" y="287"/>
                  </a:cubicBezTo>
                  <a:cubicBezTo>
                    <a:pt x="419" y="282"/>
                    <a:pt x="403" y="271"/>
                    <a:pt x="400" y="258"/>
                  </a:cubicBezTo>
                  <a:cubicBezTo>
                    <a:pt x="386" y="193"/>
                    <a:pt x="386" y="193"/>
                    <a:pt x="386" y="193"/>
                  </a:cubicBezTo>
                  <a:cubicBezTo>
                    <a:pt x="384" y="180"/>
                    <a:pt x="368" y="170"/>
                    <a:pt x="368" y="170"/>
                  </a:cubicBezTo>
                  <a:cubicBezTo>
                    <a:pt x="308" y="176"/>
                    <a:pt x="308" y="176"/>
                    <a:pt x="308" y="176"/>
                  </a:cubicBezTo>
                  <a:cubicBezTo>
                    <a:pt x="308" y="176"/>
                    <a:pt x="289" y="187"/>
                    <a:pt x="292" y="200"/>
                  </a:cubicBezTo>
                  <a:cubicBezTo>
                    <a:pt x="285" y="263"/>
                    <a:pt x="285" y="263"/>
                    <a:pt x="285" y="263"/>
                  </a:cubicBezTo>
                  <a:cubicBezTo>
                    <a:pt x="291" y="289"/>
                    <a:pt x="277" y="292"/>
                    <a:pt x="272" y="300"/>
                  </a:cubicBezTo>
                  <a:cubicBezTo>
                    <a:pt x="272" y="300"/>
                    <a:pt x="272" y="300"/>
                    <a:pt x="267" y="308"/>
                  </a:cubicBezTo>
                  <a:cubicBezTo>
                    <a:pt x="259" y="302"/>
                    <a:pt x="246" y="305"/>
                    <a:pt x="241" y="313"/>
                  </a:cubicBezTo>
                  <a:cubicBezTo>
                    <a:pt x="236" y="321"/>
                    <a:pt x="236" y="321"/>
                    <a:pt x="236" y="321"/>
                  </a:cubicBezTo>
                  <a:cubicBezTo>
                    <a:pt x="223" y="324"/>
                    <a:pt x="210" y="327"/>
                    <a:pt x="194" y="317"/>
                  </a:cubicBezTo>
                  <a:cubicBezTo>
                    <a:pt x="139" y="281"/>
                    <a:pt x="139" y="281"/>
                    <a:pt x="139" y="281"/>
                  </a:cubicBezTo>
                  <a:cubicBezTo>
                    <a:pt x="131" y="276"/>
                    <a:pt x="110" y="273"/>
                    <a:pt x="104" y="281"/>
                  </a:cubicBezTo>
                  <a:cubicBezTo>
                    <a:pt x="79" y="321"/>
                    <a:pt x="79" y="321"/>
                    <a:pt x="79" y="321"/>
                  </a:cubicBezTo>
                  <a:cubicBezTo>
                    <a:pt x="66" y="324"/>
                    <a:pt x="68" y="337"/>
                    <a:pt x="79" y="355"/>
                  </a:cubicBezTo>
                  <a:cubicBezTo>
                    <a:pt x="121" y="394"/>
                    <a:pt x="121" y="394"/>
                    <a:pt x="121" y="394"/>
                  </a:cubicBezTo>
                  <a:cubicBezTo>
                    <a:pt x="140" y="417"/>
                    <a:pt x="135" y="425"/>
                    <a:pt x="132" y="446"/>
                  </a:cubicBezTo>
                  <a:cubicBezTo>
                    <a:pt x="132" y="446"/>
                    <a:pt x="132" y="446"/>
                    <a:pt x="132" y="446"/>
                  </a:cubicBezTo>
                  <a:cubicBezTo>
                    <a:pt x="127" y="454"/>
                    <a:pt x="122" y="462"/>
                    <a:pt x="117" y="470"/>
                  </a:cubicBezTo>
                  <a:cubicBezTo>
                    <a:pt x="117" y="470"/>
                    <a:pt x="117" y="470"/>
                    <a:pt x="117" y="470"/>
                  </a:cubicBezTo>
                  <a:cubicBezTo>
                    <a:pt x="120" y="483"/>
                    <a:pt x="109" y="499"/>
                    <a:pt x="83" y="505"/>
                  </a:cubicBezTo>
                  <a:cubicBezTo>
                    <a:pt x="23" y="511"/>
                    <a:pt x="23" y="511"/>
                    <a:pt x="23" y="511"/>
                  </a:cubicBezTo>
                  <a:cubicBezTo>
                    <a:pt x="10" y="514"/>
                    <a:pt x="0" y="529"/>
                    <a:pt x="2" y="543"/>
                  </a:cubicBezTo>
                  <a:cubicBezTo>
                    <a:pt x="5" y="590"/>
                    <a:pt x="5" y="590"/>
                    <a:pt x="5" y="590"/>
                  </a:cubicBezTo>
                  <a:cubicBezTo>
                    <a:pt x="8" y="603"/>
                    <a:pt x="16" y="608"/>
                    <a:pt x="37" y="610"/>
                  </a:cubicBezTo>
                  <a:cubicBezTo>
                    <a:pt x="92" y="612"/>
                    <a:pt x="92" y="612"/>
                    <a:pt x="92" y="612"/>
                  </a:cubicBezTo>
                  <a:cubicBezTo>
                    <a:pt x="113" y="614"/>
                    <a:pt x="129" y="625"/>
                    <a:pt x="132" y="638"/>
                  </a:cubicBezTo>
                  <a:cubicBezTo>
                    <a:pt x="132" y="638"/>
                    <a:pt x="132" y="638"/>
                    <a:pt x="132" y="638"/>
                  </a:cubicBezTo>
                  <a:cubicBezTo>
                    <a:pt x="140" y="643"/>
                    <a:pt x="142" y="656"/>
                    <a:pt x="150" y="661"/>
                  </a:cubicBezTo>
                  <a:cubicBezTo>
                    <a:pt x="145" y="669"/>
                    <a:pt x="145" y="669"/>
                    <a:pt x="145" y="669"/>
                  </a:cubicBezTo>
                  <a:cubicBezTo>
                    <a:pt x="153" y="674"/>
                    <a:pt x="156" y="687"/>
                    <a:pt x="140" y="711"/>
                  </a:cubicBezTo>
                  <a:cubicBezTo>
                    <a:pt x="109" y="759"/>
                    <a:pt x="109" y="759"/>
                    <a:pt x="109" y="759"/>
                  </a:cubicBezTo>
                  <a:cubicBezTo>
                    <a:pt x="99" y="775"/>
                    <a:pt x="102" y="788"/>
                    <a:pt x="110" y="793"/>
                  </a:cubicBezTo>
                  <a:cubicBezTo>
                    <a:pt x="152" y="832"/>
                    <a:pt x="152" y="832"/>
                    <a:pt x="152" y="832"/>
                  </a:cubicBezTo>
                  <a:cubicBezTo>
                    <a:pt x="160" y="837"/>
                    <a:pt x="173" y="834"/>
                    <a:pt x="178" y="826"/>
                  </a:cubicBezTo>
                  <a:cubicBezTo>
                    <a:pt x="230" y="781"/>
                    <a:pt x="230" y="781"/>
                    <a:pt x="230" y="781"/>
                  </a:cubicBezTo>
                  <a:cubicBezTo>
                    <a:pt x="248" y="770"/>
                    <a:pt x="261" y="767"/>
                    <a:pt x="269" y="772"/>
                  </a:cubicBezTo>
                  <a:cubicBezTo>
                    <a:pt x="269" y="772"/>
                    <a:pt x="269" y="772"/>
                    <a:pt x="269" y="772"/>
                  </a:cubicBezTo>
                  <a:cubicBezTo>
                    <a:pt x="282" y="769"/>
                    <a:pt x="298" y="779"/>
                    <a:pt x="306" y="785"/>
                  </a:cubicBezTo>
                  <a:cubicBezTo>
                    <a:pt x="306" y="785"/>
                    <a:pt x="306" y="785"/>
                    <a:pt x="306" y="785"/>
                  </a:cubicBezTo>
                  <a:cubicBezTo>
                    <a:pt x="319" y="782"/>
                    <a:pt x="327" y="787"/>
                    <a:pt x="332" y="813"/>
                  </a:cubicBezTo>
                  <a:cubicBezTo>
                    <a:pt x="346" y="878"/>
                    <a:pt x="346" y="878"/>
                    <a:pt x="346" y="878"/>
                  </a:cubicBezTo>
                  <a:cubicBezTo>
                    <a:pt x="349" y="892"/>
                    <a:pt x="357" y="897"/>
                    <a:pt x="370" y="894"/>
                  </a:cubicBezTo>
                  <a:cubicBezTo>
                    <a:pt x="425" y="896"/>
                    <a:pt x="425" y="896"/>
                    <a:pt x="425" y="896"/>
                  </a:cubicBezTo>
                  <a:cubicBezTo>
                    <a:pt x="430" y="888"/>
                    <a:pt x="443" y="885"/>
                    <a:pt x="440" y="872"/>
                  </a:cubicBezTo>
                  <a:cubicBezTo>
                    <a:pt x="440" y="804"/>
                    <a:pt x="440" y="804"/>
                    <a:pt x="440" y="804"/>
                  </a:cubicBezTo>
                  <a:cubicBezTo>
                    <a:pt x="442" y="783"/>
                    <a:pt x="460" y="772"/>
                    <a:pt x="466" y="764"/>
                  </a:cubicBezTo>
                  <a:cubicBezTo>
                    <a:pt x="466" y="764"/>
                    <a:pt x="466" y="764"/>
                    <a:pt x="466" y="764"/>
                  </a:cubicBezTo>
                  <a:cubicBezTo>
                    <a:pt x="479" y="761"/>
                    <a:pt x="492" y="758"/>
                    <a:pt x="497" y="750"/>
                  </a:cubicBezTo>
                  <a:cubicBezTo>
                    <a:pt x="497" y="750"/>
                    <a:pt x="497" y="750"/>
                    <a:pt x="497" y="750"/>
                  </a:cubicBezTo>
                  <a:cubicBezTo>
                    <a:pt x="510" y="747"/>
                    <a:pt x="523" y="745"/>
                    <a:pt x="539" y="755"/>
                  </a:cubicBezTo>
                  <a:cubicBezTo>
                    <a:pt x="594" y="791"/>
                    <a:pt x="594" y="791"/>
                    <a:pt x="594" y="791"/>
                  </a:cubicBezTo>
                  <a:cubicBezTo>
                    <a:pt x="602" y="796"/>
                    <a:pt x="623" y="798"/>
                    <a:pt x="628" y="790"/>
                  </a:cubicBezTo>
                  <a:cubicBezTo>
                    <a:pt x="659" y="743"/>
                    <a:pt x="659" y="743"/>
                    <a:pt x="659" y="743"/>
                  </a:cubicBezTo>
                  <a:cubicBezTo>
                    <a:pt x="659" y="743"/>
                    <a:pt x="669" y="727"/>
                    <a:pt x="654" y="716"/>
                  </a:cubicBezTo>
                  <a:close/>
                  <a:moveTo>
                    <a:pt x="281" y="633"/>
                  </a:moveTo>
                  <a:cubicBezTo>
                    <a:pt x="223" y="584"/>
                    <a:pt x="219" y="502"/>
                    <a:pt x="263" y="452"/>
                  </a:cubicBezTo>
                  <a:cubicBezTo>
                    <a:pt x="313" y="393"/>
                    <a:pt x="399" y="382"/>
                    <a:pt x="457" y="431"/>
                  </a:cubicBezTo>
                  <a:cubicBezTo>
                    <a:pt x="507" y="475"/>
                    <a:pt x="518" y="561"/>
                    <a:pt x="469" y="619"/>
                  </a:cubicBezTo>
                  <a:cubicBezTo>
                    <a:pt x="420" y="678"/>
                    <a:pt x="339" y="682"/>
                    <a:pt x="281" y="633"/>
                  </a:cubicBezTo>
                  <a:close/>
                  <a:moveTo>
                    <a:pt x="1019" y="398"/>
                  </a:moveTo>
                  <a:cubicBezTo>
                    <a:pt x="1004" y="362"/>
                    <a:pt x="1004" y="362"/>
                    <a:pt x="1004" y="362"/>
                  </a:cubicBezTo>
                  <a:cubicBezTo>
                    <a:pt x="992" y="348"/>
                    <a:pt x="1002" y="340"/>
                    <a:pt x="1002" y="332"/>
                  </a:cubicBezTo>
                  <a:cubicBezTo>
                    <a:pt x="1002" y="332"/>
                    <a:pt x="1002" y="332"/>
                    <a:pt x="1002" y="332"/>
                  </a:cubicBezTo>
                  <a:cubicBezTo>
                    <a:pt x="1007" y="328"/>
                    <a:pt x="1011" y="324"/>
                    <a:pt x="1012" y="315"/>
                  </a:cubicBezTo>
                  <a:cubicBezTo>
                    <a:pt x="1021" y="307"/>
                    <a:pt x="1026" y="303"/>
                    <a:pt x="1043" y="304"/>
                  </a:cubicBezTo>
                  <a:cubicBezTo>
                    <a:pt x="1086" y="307"/>
                    <a:pt x="1086" y="307"/>
                    <a:pt x="1086" y="307"/>
                  </a:cubicBezTo>
                  <a:cubicBezTo>
                    <a:pt x="1095" y="308"/>
                    <a:pt x="1099" y="304"/>
                    <a:pt x="1100" y="295"/>
                  </a:cubicBezTo>
                  <a:cubicBezTo>
                    <a:pt x="1107" y="266"/>
                    <a:pt x="1107" y="266"/>
                    <a:pt x="1107" y="266"/>
                  </a:cubicBezTo>
                  <a:cubicBezTo>
                    <a:pt x="1107" y="257"/>
                    <a:pt x="1103" y="252"/>
                    <a:pt x="1095" y="243"/>
                  </a:cubicBezTo>
                  <a:cubicBezTo>
                    <a:pt x="1057" y="236"/>
                    <a:pt x="1057" y="236"/>
                    <a:pt x="1057" y="236"/>
                  </a:cubicBezTo>
                  <a:cubicBezTo>
                    <a:pt x="1044" y="231"/>
                    <a:pt x="1036" y="222"/>
                    <a:pt x="1037" y="213"/>
                  </a:cubicBezTo>
                  <a:cubicBezTo>
                    <a:pt x="1038" y="205"/>
                    <a:pt x="1034" y="200"/>
                    <a:pt x="1030" y="187"/>
                  </a:cubicBezTo>
                  <a:cubicBezTo>
                    <a:pt x="1031" y="178"/>
                    <a:pt x="1032" y="170"/>
                    <a:pt x="1041" y="162"/>
                  </a:cubicBezTo>
                  <a:cubicBezTo>
                    <a:pt x="1077" y="138"/>
                    <a:pt x="1077" y="138"/>
                    <a:pt x="1077" y="138"/>
                  </a:cubicBezTo>
                  <a:cubicBezTo>
                    <a:pt x="1082" y="134"/>
                    <a:pt x="1083" y="126"/>
                    <a:pt x="1079" y="121"/>
                  </a:cubicBezTo>
                  <a:cubicBezTo>
                    <a:pt x="1059" y="89"/>
                    <a:pt x="1059" y="89"/>
                    <a:pt x="1059" y="89"/>
                  </a:cubicBezTo>
                  <a:cubicBezTo>
                    <a:pt x="1055" y="85"/>
                    <a:pt x="1047" y="84"/>
                    <a:pt x="1038" y="83"/>
                  </a:cubicBezTo>
                  <a:cubicBezTo>
                    <a:pt x="1002" y="107"/>
                    <a:pt x="1002" y="107"/>
                    <a:pt x="1002" y="107"/>
                  </a:cubicBezTo>
                  <a:cubicBezTo>
                    <a:pt x="989" y="110"/>
                    <a:pt x="980" y="110"/>
                    <a:pt x="976" y="105"/>
                  </a:cubicBezTo>
                  <a:cubicBezTo>
                    <a:pt x="972" y="100"/>
                    <a:pt x="960" y="95"/>
                    <a:pt x="956" y="91"/>
                  </a:cubicBezTo>
                  <a:cubicBezTo>
                    <a:pt x="952" y="86"/>
                    <a:pt x="944" y="77"/>
                    <a:pt x="944" y="68"/>
                  </a:cubicBezTo>
                  <a:cubicBezTo>
                    <a:pt x="948" y="25"/>
                    <a:pt x="948" y="25"/>
                    <a:pt x="948" y="25"/>
                  </a:cubicBezTo>
                  <a:cubicBezTo>
                    <a:pt x="948" y="17"/>
                    <a:pt x="940" y="7"/>
                    <a:pt x="940" y="7"/>
                  </a:cubicBezTo>
                  <a:cubicBezTo>
                    <a:pt x="902" y="0"/>
                    <a:pt x="902" y="0"/>
                    <a:pt x="902" y="0"/>
                  </a:cubicBezTo>
                  <a:cubicBezTo>
                    <a:pt x="902" y="0"/>
                    <a:pt x="889" y="4"/>
                    <a:pt x="888" y="12"/>
                  </a:cubicBezTo>
                  <a:cubicBezTo>
                    <a:pt x="872" y="50"/>
                    <a:pt x="872" y="50"/>
                    <a:pt x="872" y="50"/>
                  </a:cubicBezTo>
                  <a:cubicBezTo>
                    <a:pt x="871" y="67"/>
                    <a:pt x="862" y="67"/>
                    <a:pt x="858" y="71"/>
                  </a:cubicBezTo>
                  <a:cubicBezTo>
                    <a:pt x="858" y="71"/>
                    <a:pt x="858" y="71"/>
                    <a:pt x="853" y="75"/>
                  </a:cubicBezTo>
                  <a:cubicBezTo>
                    <a:pt x="849" y="70"/>
                    <a:pt x="840" y="70"/>
                    <a:pt x="836" y="74"/>
                  </a:cubicBezTo>
                  <a:cubicBezTo>
                    <a:pt x="831" y="78"/>
                    <a:pt x="831" y="78"/>
                    <a:pt x="831" y="78"/>
                  </a:cubicBezTo>
                  <a:cubicBezTo>
                    <a:pt x="822" y="77"/>
                    <a:pt x="814" y="76"/>
                    <a:pt x="806" y="67"/>
                  </a:cubicBezTo>
                  <a:cubicBezTo>
                    <a:pt x="778" y="35"/>
                    <a:pt x="778" y="35"/>
                    <a:pt x="778" y="35"/>
                  </a:cubicBezTo>
                  <a:cubicBezTo>
                    <a:pt x="774" y="30"/>
                    <a:pt x="762" y="25"/>
                    <a:pt x="757" y="29"/>
                  </a:cubicBezTo>
                  <a:cubicBezTo>
                    <a:pt x="734" y="49"/>
                    <a:pt x="734" y="49"/>
                    <a:pt x="734" y="49"/>
                  </a:cubicBezTo>
                  <a:cubicBezTo>
                    <a:pt x="725" y="49"/>
                    <a:pt x="725" y="57"/>
                    <a:pt x="728" y="70"/>
                  </a:cubicBezTo>
                  <a:cubicBezTo>
                    <a:pt x="747" y="102"/>
                    <a:pt x="747" y="102"/>
                    <a:pt x="747" y="102"/>
                  </a:cubicBezTo>
                  <a:cubicBezTo>
                    <a:pt x="754" y="120"/>
                    <a:pt x="750" y="124"/>
                    <a:pt x="744" y="136"/>
                  </a:cubicBezTo>
                  <a:cubicBezTo>
                    <a:pt x="744" y="136"/>
                    <a:pt x="744" y="136"/>
                    <a:pt x="744" y="136"/>
                  </a:cubicBezTo>
                  <a:cubicBezTo>
                    <a:pt x="740" y="140"/>
                    <a:pt x="735" y="144"/>
                    <a:pt x="731" y="148"/>
                  </a:cubicBezTo>
                  <a:cubicBezTo>
                    <a:pt x="731" y="148"/>
                    <a:pt x="731" y="148"/>
                    <a:pt x="731" y="148"/>
                  </a:cubicBezTo>
                  <a:cubicBezTo>
                    <a:pt x="730" y="157"/>
                    <a:pt x="721" y="165"/>
                    <a:pt x="703" y="164"/>
                  </a:cubicBezTo>
                  <a:cubicBezTo>
                    <a:pt x="665" y="157"/>
                    <a:pt x="665" y="157"/>
                    <a:pt x="665" y="157"/>
                  </a:cubicBezTo>
                  <a:cubicBezTo>
                    <a:pt x="656" y="156"/>
                    <a:pt x="647" y="164"/>
                    <a:pt x="647" y="173"/>
                  </a:cubicBezTo>
                  <a:cubicBezTo>
                    <a:pt x="640" y="203"/>
                    <a:pt x="640" y="203"/>
                    <a:pt x="640" y="203"/>
                  </a:cubicBezTo>
                  <a:cubicBezTo>
                    <a:pt x="639" y="211"/>
                    <a:pt x="643" y="216"/>
                    <a:pt x="656" y="221"/>
                  </a:cubicBezTo>
                  <a:cubicBezTo>
                    <a:pt x="690" y="232"/>
                    <a:pt x="690" y="232"/>
                    <a:pt x="690" y="232"/>
                  </a:cubicBezTo>
                  <a:cubicBezTo>
                    <a:pt x="702" y="237"/>
                    <a:pt x="710" y="246"/>
                    <a:pt x="710" y="255"/>
                  </a:cubicBezTo>
                  <a:cubicBezTo>
                    <a:pt x="710" y="255"/>
                    <a:pt x="710" y="255"/>
                    <a:pt x="710" y="255"/>
                  </a:cubicBezTo>
                  <a:cubicBezTo>
                    <a:pt x="714" y="260"/>
                    <a:pt x="713" y="268"/>
                    <a:pt x="717" y="273"/>
                  </a:cubicBezTo>
                  <a:cubicBezTo>
                    <a:pt x="712" y="277"/>
                    <a:pt x="712" y="277"/>
                    <a:pt x="712" y="277"/>
                  </a:cubicBezTo>
                  <a:cubicBezTo>
                    <a:pt x="716" y="281"/>
                    <a:pt x="716" y="290"/>
                    <a:pt x="702" y="302"/>
                  </a:cubicBezTo>
                  <a:cubicBezTo>
                    <a:pt x="674" y="326"/>
                    <a:pt x="674" y="326"/>
                    <a:pt x="674" y="326"/>
                  </a:cubicBezTo>
                  <a:cubicBezTo>
                    <a:pt x="665" y="334"/>
                    <a:pt x="664" y="343"/>
                    <a:pt x="668" y="347"/>
                  </a:cubicBezTo>
                  <a:cubicBezTo>
                    <a:pt x="687" y="379"/>
                    <a:pt x="687" y="379"/>
                    <a:pt x="687" y="379"/>
                  </a:cubicBezTo>
                  <a:cubicBezTo>
                    <a:pt x="691" y="383"/>
                    <a:pt x="700" y="384"/>
                    <a:pt x="704" y="380"/>
                  </a:cubicBezTo>
                  <a:cubicBezTo>
                    <a:pt x="745" y="361"/>
                    <a:pt x="745" y="361"/>
                    <a:pt x="745" y="361"/>
                  </a:cubicBezTo>
                  <a:cubicBezTo>
                    <a:pt x="758" y="358"/>
                    <a:pt x="767" y="358"/>
                    <a:pt x="771" y="363"/>
                  </a:cubicBezTo>
                  <a:cubicBezTo>
                    <a:pt x="771" y="363"/>
                    <a:pt x="771" y="363"/>
                    <a:pt x="771" y="363"/>
                  </a:cubicBezTo>
                  <a:cubicBezTo>
                    <a:pt x="779" y="364"/>
                    <a:pt x="787" y="373"/>
                    <a:pt x="791" y="377"/>
                  </a:cubicBezTo>
                  <a:cubicBezTo>
                    <a:pt x="791" y="377"/>
                    <a:pt x="791" y="377"/>
                    <a:pt x="791" y="377"/>
                  </a:cubicBezTo>
                  <a:cubicBezTo>
                    <a:pt x="800" y="378"/>
                    <a:pt x="804" y="383"/>
                    <a:pt x="802" y="400"/>
                  </a:cubicBezTo>
                  <a:cubicBezTo>
                    <a:pt x="799" y="443"/>
                    <a:pt x="799" y="443"/>
                    <a:pt x="799" y="443"/>
                  </a:cubicBezTo>
                  <a:cubicBezTo>
                    <a:pt x="798" y="451"/>
                    <a:pt x="802" y="456"/>
                    <a:pt x="811" y="457"/>
                  </a:cubicBezTo>
                  <a:cubicBezTo>
                    <a:pt x="845" y="468"/>
                    <a:pt x="845" y="468"/>
                    <a:pt x="845" y="468"/>
                  </a:cubicBezTo>
                  <a:cubicBezTo>
                    <a:pt x="849" y="464"/>
                    <a:pt x="858" y="464"/>
                    <a:pt x="859" y="456"/>
                  </a:cubicBezTo>
                  <a:cubicBezTo>
                    <a:pt x="871" y="413"/>
                    <a:pt x="871" y="413"/>
                    <a:pt x="871" y="413"/>
                  </a:cubicBezTo>
                  <a:cubicBezTo>
                    <a:pt x="876" y="401"/>
                    <a:pt x="889" y="397"/>
                    <a:pt x="894" y="393"/>
                  </a:cubicBezTo>
                  <a:cubicBezTo>
                    <a:pt x="894" y="393"/>
                    <a:pt x="894" y="393"/>
                    <a:pt x="894" y="393"/>
                  </a:cubicBezTo>
                  <a:cubicBezTo>
                    <a:pt x="902" y="394"/>
                    <a:pt x="911" y="395"/>
                    <a:pt x="916" y="391"/>
                  </a:cubicBezTo>
                  <a:cubicBezTo>
                    <a:pt x="916" y="391"/>
                    <a:pt x="916" y="391"/>
                    <a:pt x="916" y="391"/>
                  </a:cubicBezTo>
                  <a:cubicBezTo>
                    <a:pt x="924" y="391"/>
                    <a:pt x="933" y="392"/>
                    <a:pt x="941" y="401"/>
                  </a:cubicBezTo>
                  <a:cubicBezTo>
                    <a:pt x="969" y="433"/>
                    <a:pt x="969" y="433"/>
                    <a:pt x="969" y="433"/>
                  </a:cubicBezTo>
                  <a:cubicBezTo>
                    <a:pt x="973" y="438"/>
                    <a:pt x="985" y="443"/>
                    <a:pt x="990" y="439"/>
                  </a:cubicBezTo>
                  <a:cubicBezTo>
                    <a:pt x="1018" y="415"/>
                    <a:pt x="1018" y="415"/>
                    <a:pt x="1018" y="415"/>
                  </a:cubicBezTo>
                  <a:cubicBezTo>
                    <a:pt x="1018" y="415"/>
                    <a:pt x="1027" y="407"/>
                    <a:pt x="1019" y="398"/>
                  </a:cubicBezTo>
                  <a:close/>
                  <a:moveTo>
                    <a:pt x="803" y="279"/>
                  </a:moveTo>
                  <a:cubicBezTo>
                    <a:pt x="776" y="238"/>
                    <a:pt x="788" y="187"/>
                    <a:pt x="825" y="164"/>
                  </a:cubicBezTo>
                  <a:cubicBezTo>
                    <a:pt x="866" y="136"/>
                    <a:pt x="921" y="144"/>
                    <a:pt x="948" y="185"/>
                  </a:cubicBezTo>
                  <a:cubicBezTo>
                    <a:pt x="972" y="221"/>
                    <a:pt x="963" y="277"/>
                    <a:pt x="922" y="304"/>
                  </a:cubicBezTo>
                  <a:cubicBezTo>
                    <a:pt x="881" y="332"/>
                    <a:pt x="830" y="320"/>
                    <a:pt x="803" y="279"/>
                  </a:cubicBezTo>
                  <a:close/>
                </a:path>
              </a:pathLst>
            </a:custGeom>
            <a:solidFill>
              <a:schemeClr val="tx1"/>
            </a:solidFill>
            <a:ln>
              <a:noFill/>
            </a:ln>
          </p:spPr>
          <p:txBody>
            <a:bodyPr vert="horz" wrap="square" lIns="68574" tIns="34287" rIns="68574" bIns="34287"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17346"/>
                </a:solidFill>
                <a:effectLst/>
                <a:uLnTx/>
                <a:uFillTx/>
                <a:latin typeface="Segoe UI"/>
                <a:ea typeface="+mn-ea"/>
                <a:cs typeface="+mn-cs"/>
              </a:endParaRPr>
            </a:p>
          </p:txBody>
        </p:sp>
        <p:sp>
          <p:nvSpPr>
            <p:cNvPr id="88" name="Freeform 87"/>
            <p:cNvSpPr>
              <a:spLocks noChangeAspect="1"/>
            </p:cNvSpPr>
            <p:nvPr/>
          </p:nvSpPr>
          <p:spPr bwMode="black">
            <a:xfrm>
              <a:off x="776985" y="4213905"/>
              <a:ext cx="342871" cy="335728"/>
            </a:xfrm>
            <a:custGeom>
              <a:avLst/>
              <a:gdLst>
                <a:gd name="connsiteX0" fmla="*/ 3713863 w 4893730"/>
                <a:gd name="connsiteY0" fmla="*/ 2130808 h 4791777"/>
                <a:gd name="connsiteX1" fmla="*/ 4426142 w 4893730"/>
                <a:gd name="connsiteY1" fmla="*/ 2130808 h 4791777"/>
                <a:gd name="connsiteX2" fmla="*/ 4598071 w 4893730"/>
                <a:gd name="connsiteY2" fmla="*/ 2301547 h 4791777"/>
                <a:gd name="connsiteX3" fmla="*/ 4598071 w 4893730"/>
                <a:gd name="connsiteY3" fmla="*/ 3886978 h 4791777"/>
                <a:gd name="connsiteX4" fmla="*/ 4426142 w 4893730"/>
                <a:gd name="connsiteY4" fmla="*/ 4057717 h 4791777"/>
                <a:gd name="connsiteX5" fmla="*/ 3713863 w 4893730"/>
                <a:gd name="connsiteY5" fmla="*/ 4057717 h 4791777"/>
                <a:gd name="connsiteX6" fmla="*/ 3517372 w 4893730"/>
                <a:gd name="connsiteY6" fmla="*/ 3886978 h 4791777"/>
                <a:gd name="connsiteX7" fmla="*/ 3517372 w 4893730"/>
                <a:gd name="connsiteY7" fmla="*/ 2301547 h 4791777"/>
                <a:gd name="connsiteX8" fmla="*/ 3713863 w 4893730"/>
                <a:gd name="connsiteY8" fmla="*/ 2130808 h 4791777"/>
                <a:gd name="connsiteX9" fmla="*/ 904368 w 4893730"/>
                <a:gd name="connsiteY9" fmla="*/ 1223432 h 4791777"/>
                <a:gd name="connsiteX10" fmla="*/ 1609930 w 4893730"/>
                <a:gd name="connsiteY10" fmla="*/ 1223432 h 4791777"/>
                <a:gd name="connsiteX11" fmla="*/ 1804567 w 4893730"/>
                <a:gd name="connsiteY11" fmla="*/ 1394467 h 4791777"/>
                <a:gd name="connsiteX12" fmla="*/ 1804567 w 4893730"/>
                <a:gd name="connsiteY12" fmla="*/ 3886683 h 4791777"/>
                <a:gd name="connsiteX13" fmla="*/ 1609930 w 4893730"/>
                <a:gd name="connsiteY13" fmla="*/ 4057717 h 4791777"/>
                <a:gd name="connsiteX14" fmla="*/ 904368 w 4893730"/>
                <a:gd name="connsiteY14" fmla="*/ 4057717 h 4791777"/>
                <a:gd name="connsiteX15" fmla="*/ 734060 w 4893730"/>
                <a:gd name="connsiteY15" fmla="*/ 3886683 h 4791777"/>
                <a:gd name="connsiteX16" fmla="*/ 734060 w 4893730"/>
                <a:gd name="connsiteY16" fmla="*/ 1394467 h 4791777"/>
                <a:gd name="connsiteX17" fmla="*/ 904368 w 4893730"/>
                <a:gd name="connsiteY17" fmla="*/ 1223432 h 4791777"/>
                <a:gd name="connsiteX18" fmla="*/ 2325453 w 4893730"/>
                <a:gd name="connsiteY18" fmla="*/ 316050 h 4791777"/>
                <a:gd name="connsiteX19" fmla="*/ 3031014 w 4893730"/>
                <a:gd name="connsiteY19" fmla="*/ 316050 h 4791777"/>
                <a:gd name="connsiteX20" fmla="*/ 3201322 w 4893730"/>
                <a:gd name="connsiteY20" fmla="*/ 487238 h 4791777"/>
                <a:gd name="connsiteX21" fmla="*/ 3201322 w 4893730"/>
                <a:gd name="connsiteY21" fmla="*/ 3886530 h 4791777"/>
                <a:gd name="connsiteX22" fmla="*/ 3031014 w 4893730"/>
                <a:gd name="connsiteY22" fmla="*/ 4057717 h 4791777"/>
                <a:gd name="connsiteX23" fmla="*/ 2325453 w 4893730"/>
                <a:gd name="connsiteY23" fmla="*/ 4057717 h 4791777"/>
                <a:gd name="connsiteX24" fmla="*/ 2130815 w 4893730"/>
                <a:gd name="connsiteY24" fmla="*/ 3886530 h 4791777"/>
                <a:gd name="connsiteX25" fmla="*/ 2130815 w 4893730"/>
                <a:gd name="connsiteY25" fmla="*/ 487238 h 4791777"/>
                <a:gd name="connsiteX26" fmla="*/ 2325453 w 4893730"/>
                <a:gd name="connsiteY26" fmla="*/ 316050 h 4791777"/>
                <a:gd name="connsiteX27" fmla="*/ 269155 w 4893730"/>
                <a:gd name="connsiteY27" fmla="*/ 0 h 4791777"/>
                <a:gd name="connsiteX28" fmla="*/ 538311 w 4893730"/>
                <a:gd name="connsiteY28" fmla="*/ 268927 h 4791777"/>
                <a:gd name="connsiteX29" fmla="*/ 538311 w 4893730"/>
                <a:gd name="connsiteY29" fmla="*/ 4253925 h 4791777"/>
                <a:gd name="connsiteX30" fmla="*/ 4624575 w 4893730"/>
                <a:gd name="connsiteY30" fmla="*/ 4253925 h 4791777"/>
                <a:gd name="connsiteX31" fmla="*/ 4893730 w 4893730"/>
                <a:gd name="connsiteY31" fmla="*/ 4522851 h 4791777"/>
                <a:gd name="connsiteX32" fmla="*/ 4624575 w 4893730"/>
                <a:gd name="connsiteY32" fmla="*/ 4791777 h 4791777"/>
                <a:gd name="connsiteX33" fmla="*/ 269155 w 4893730"/>
                <a:gd name="connsiteY33" fmla="*/ 4791777 h 4791777"/>
                <a:gd name="connsiteX34" fmla="*/ 0 w 4893730"/>
                <a:gd name="connsiteY34" fmla="*/ 4522851 h 4791777"/>
                <a:gd name="connsiteX35" fmla="*/ 0 w 4893730"/>
                <a:gd name="connsiteY35" fmla="*/ 268927 h 4791777"/>
                <a:gd name="connsiteX36" fmla="*/ 269155 w 4893730"/>
                <a:gd name="connsiteY36" fmla="*/ 0 h 4791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4893730" h="4791777">
                  <a:moveTo>
                    <a:pt x="3713863" y="2130808"/>
                  </a:moveTo>
                  <a:cubicBezTo>
                    <a:pt x="3713863" y="2130808"/>
                    <a:pt x="3713863" y="2130808"/>
                    <a:pt x="4426142" y="2130808"/>
                  </a:cubicBezTo>
                  <a:cubicBezTo>
                    <a:pt x="4524387" y="2130808"/>
                    <a:pt x="4598071" y="2203982"/>
                    <a:pt x="4598071" y="2301547"/>
                  </a:cubicBezTo>
                  <a:cubicBezTo>
                    <a:pt x="4598071" y="2301547"/>
                    <a:pt x="4598071" y="2301547"/>
                    <a:pt x="4598071" y="3886978"/>
                  </a:cubicBezTo>
                  <a:cubicBezTo>
                    <a:pt x="4598071" y="3984543"/>
                    <a:pt x="4524387" y="4057717"/>
                    <a:pt x="4426142" y="4057717"/>
                  </a:cubicBezTo>
                  <a:cubicBezTo>
                    <a:pt x="4426142" y="4057717"/>
                    <a:pt x="4426142" y="4057717"/>
                    <a:pt x="3713863" y="4057717"/>
                  </a:cubicBezTo>
                  <a:cubicBezTo>
                    <a:pt x="3615618" y="4057717"/>
                    <a:pt x="3517372" y="3984543"/>
                    <a:pt x="3517372" y="3886978"/>
                  </a:cubicBezTo>
                  <a:cubicBezTo>
                    <a:pt x="3517372" y="3886978"/>
                    <a:pt x="3517372" y="3886978"/>
                    <a:pt x="3517372" y="2301547"/>
                  </a:cubicBezTo>
                  <a:cubicBezTo>
                    <a:pt x="3517372" y="2203982"/>
                    <a:pt x="3615618" y="2130808"/>
                    <a:pt x="3713863" y="2130808"/>
                  </a:cubicBezTo>
                  <a:close/>
                  <a:moveTo>
                    <a:pt x="904368" y="1223432"/>
                  </a:moveTo>
                  <a:cubicBezTo>
                    <a:pt x="904368" y="1223432"/>
                    <a:pt x="904368" y="1223432"/>
                    <a:pt x="1609930" y="1223432"/>
                  </a:cubicBezTo>
                  <a:cubicBezTo>
                    <a:pt x="1731578" y="1223432"/>
                    <a:pt x="1804567" y="1296733"/>
                    <a:pt x="1804567" y="1394467"/>
                  </a:cubicBezTo>
                  <a:cubicBezTo>
                    <a:pt x="1804567" y="1394467"/>
                    <a:pt x="1804567" y="1394467"/>
                    <a:pt x="1804567" y="3886683"/>
                  </a:cubicBezTo>
                  <a:cubicBezTo>
                    <a:pt x="1804567" y="3984417"/>
                    <a:pt x="1731578" y="4057717"/>
                    <a:pt x="1609930" y="4057717"/>
                  </a:cubicBezTo>
                  <a:cubicBezTo>
                    <a:pt x="1609930" y="4057717"/>
                    <a:pt x="1609930" y="4057717"/>
                    <a:pt x="904368" y="4057717"/>
                  </a:cubicBezTo>
                  <a:cubicBezTo>
                    <a:pt x="807049" y="4057717"/>
                    <a:pt x="734060" y="3984417"/>
                    <a:pt x="734060" y="3886683"/>
                  </a:cubicBezTo>
                  <a:cubicBezTo>
                    <a:pt x="734060" y="3886683"/>
                    <a:pt x="734060" y="3886683"/>
                    <a:pt x="734060" y="1394467"/>
                  </a:cubicBezTo>
                  <a:cubicBezTo>
                    <a:pt x="734060" y="1296733"/>
                    <a:pt x="807049" y="1223432"/>
                    <a:pt x="904368" y="1223432"/>
                  </a:cubicBezTo>
                  <a:close/>
                  <a:moveTo>
                    <a:pt x="2325453" y="316050"/>
                  </a:moveTo>
                  <a:cubicBezTo>
                    <a:pt x="2325453" y="316050"/>
                    <a:pt x="2325453" y="316050"/>
                    <a:pt x="3031014" y="316050"/>
                  </a:cubicBezTo>
                  <a:cubicBezTo>
                    <a:pt x="3128333" y="316050"/>
                    <a:pt x="3201322" y="389416"/>
                    <a:pt x="3201322" y="487238"/>
                  </a:cubicBezTo>
                  <a:cubicBezTo>
                    <a:pt x="3201322" y="487238"/>
                    <a:pt x="3201322" y="487238"/>
                    <a:pt x="3201322" y="3886530"/>
                  </a:cubicBezTo>
                  <a:cubicBezTo>
                    <a:pt x="3201322" y="3984351"/>
                    <a:pt x="3128333" y="4057717"/>
                    <a:pt x="3031014" y="4057717"/>
                  </a:cubicBezTo>
                  <a:cubicBezTo>
                    <a:pt x="3031014" y="4057717"/>
                    <a:pt x="3031014" y="4057717"/>
                    <a:pt x="2325453" y="4057717"/>
                  </a:cubicBezTo>
                  <a:cubicBezTo>
                    <a:pt x="2203804" y="4057717"/>
                    <a:pt x="2130815" y="3984351"/>
                    <a:pt x="2130815" y="3886530"/>
                  </a:cubicBezTo>
                  <a:cubicBezTo>
                    <a:pt x="2130815" y="3886530"/>
                    <a:pt x="2130815" y="3886530"/>
                    <a:pt x="2130815" y="487238"/>
                  </a:cubicBezTo>
                  <a:cubicBezTo>
                    <a:pt x="2130815" y="389416"/>
                    <a:pt x="2203804" y="316050"/>
                    <a:pt x="2325453" y="316050"/>
                  </a:cubicBezTo>
                  <a:close/>
                  <a:moveTo>
                    <a:pt x="269155" y="0"/>
                  </a:moveTo>
                  <a:cubicBezTo>
                    <a:pt x="415967" y="0"/>
                    <a:pt x="538311" y="122239"/>
                    <a:pt x="538311" y="268927"/>
                  </a:cubicBezTo>
                  <a:cubicBezTo>
                    <a:pt x="538311" y="268927"/>
                    <a:pt x="538311" y="268927"/>
                    <a:pt x="538311" y="4253925"/>
                  </a:cubicBezTo>
                  <a:cubicBezTo>
                    <a:pt x="538311" y="4253925"/>
                    <a:pt x="538311" y="4253925"/>
                    <a:pt x="4624575" y="4253925"/>
                  </a:cubicBezTo>
                  <a:cubicBezTo>
                    <a:pt x="4771387" y="4253925"/>
                    <a:pt x="4893730" y="4376164"/>
                    <a:pt x="4893730" y="4522851"/>
                  </a:cubicBezTo>
                  <a:cubicBezTo>
                    <a:pt x="4893730" y="4669538"/>
                    <a:pt x="4771387" y="4791777"/>
                    <a:pt x="4624575" y="4791777"/>
                  </a:cubicBezTo>
                  <a:cubicBezTo>
                    <a:pt x="4624575" y="4791777"/>
                    <a:pt x="4624575" y="4791777"/>
                    <a:pt x="269155" y="4791777"/>
                  </a:cubicBezTo>
                  <a:cubicBezTo>
                    <a:pt x="122344" y="4791777"/>
                    <a:pt x="0" y="4669538"/>
                    <a:pt x="0" y="4522851"/>
                  </a:cubicBezTo>
                  <a:cubicBezTo>
                    <a:pt x="0" y="4522851"/>
                    <a:pt x="0" y="4522851"/>
                    <a:pt x="0" y="268927"/>
                  </a:cubicBezTo>
                  <a:cubicBezTo>
                    <a:pt x="0" y="122239"/>
                    <a:pt x="122344" y="0"/>
                    <a:pt x="269155"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37148" tIns="109719" rIns="137148" bIns="109719"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699261"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9" name="Rectangle 88"/>
            <p:cNvSpPr/>
            <p:nvPr/>
          </p:nvSpPr>
          <p:spPr bwMode="auto">
            <a:xfrm rot="2745734">
              <a:off x="279530" y="1141266"/>
              <a:ext cx="1260714" cy="1255193"/>
            </a:xfrm>
            <a:prstGeom prst="rect">
              <a:avLst/>
            </a:prstGeom>
            <a:solidFill>
              <a:schemeClr val="tx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0" name="Rectangle 89"/>
            <p:cNvSpPr/>
            <p:nvPr/>
          </p:nvSpPr>
          <p:spPr bwMode="auto">
            <a:xfrm rot="2745734">
              <a:off x="292433" y="3819160"/>
              <a:ext cx="1610349" cy="1235003"/>
            </a:xfrm>
            <a:prstGeom prst="rect">
              <a:avLst/>
            </a:prstGeom>
            <a:solidFill>
              <a:schemeClr val="tx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2" name="Rectangle 91"/>
            <p:cNvSpPr/>
            <p:nvPr/>
          </p:nvSpPr>
          <p:spPr bwMode="auto">
            <a:xfrm rot="2745734">
              <a:off x="1315610" y="4915701"/>
              <a:ext cx="1263370" cy="1255989"/>
            </a:xfrm>
            <a:prstGeom prst="rect">
              <a:avLst/>
            </a:prstGeom>
            <a:solidFill>
              <a:schemeClr val="tx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40" name="TextBox 39"/>
          <p:cNvSpPr txBox="1"/>
          <p:nvPr/>
        </p:nvSpPr>
        <p:spPr>
          <a:xfrm>
            <a:off x="3" y="51415"/>
            <a:ext cx="2849058" cy="430887"/>
          </a:xfrm>
          <a:prstGeom prst="rect">
            <a:avLst/>
          </a:prstGeom>
        </p:spPr>
        <p:txBody>
          <a:bodyPr wrap="square">
            <a:spAutoFit/>
          </a:bodyPr>
          <a:lstStyle>
            <a:defPPr>
              <a:defRPr lang="en-US"/>
            </a:defPPr>
            <a:lvl1pPr defTabSz="914192">
              <a:defRPr sz="2800" b="1" spc="-100">
                <a:ln w="3175">
                  <a:noFill/>
                </a:ln>
                <a:solidFill>
                  <a:srgbClr val="F2C812"/>
                </a:solidFill>
                <a:latin typeface="Segoe UI" panose="020B0502040204020203" pitchFamily="34" charset="0"/>
                <a:ea typeface="ＭＳ Ｐゴシック" charset="0"/>
                <a:cs typeface="Segoe UI" panose="020B0502040204020203" pitchFamily="34" charset="0"/>
              </a:defRPr>
            </a:lvl1pPr>
          </a:lstStyle>
          <a:p>
            <a:pPr marL="0" marR="0" lvl="0" indent="0" algn="l" defTabSz="914192" rtl="0" eaLnBrk="1" fontAlgn="auto" latinLnBrk="0" hangingPunct="1">
              <a:lnSpc>
                <a:spcPct val="100000"/>
              </a:lnSpc>
              <a:spcBef>
                <a:spcPts val="0"/>
              </a:spcBef>
              <a:spcAft>
                <a:spcPts val="0"/>
              </a:spcAft>
              <a:buClrTx/>
              <a:buSzTx/>
              <a:buFontTx/>
              <a:buNone/>
              <a:tabLst/>
              <a:defRPr/>
            </a:pPr>
            <a:r>
              <a:rPr kumimoji="0" lang="en-US" sz="2200" b="1" i="0" u="none" strike="noStrike" kern="1200" cap="none" spc="-100" normalizeH="0" baseline="0" noProof="0">
                <a:ln w="3175">
                  <a:noFill/>
                </a:ln>
                <a:solidFill>
                  <a:srgbClr val="F2C812"/>
                </a:solidFill>
                <a:effectLst/>
                <a:uLnTx/>
                <a:uFillTx/>
                <a:latin typeface="Segoe UI Light"/>
                <a:ea typeface="ＭＳ Ｐゴシック" charset="0"/>
                <a:cs typeface="Segoe UI" panose="020B0502040204020203" pitchFamily="34" charset="0"/>
              </a:rPr>
              <a:t>Power BI Desktop</a:t>
            </a:r>
          </a:p>
        </p:txBody>
      </p:sp>
      <p:sp>
        <p:nvSpPr>
          <p:cNvPr id="41" name="Rectangle 40"/>
          <p:cNvSpPr/>
          <p:nvPr/>
        </p:nvSpPr>
        <p:spPr bwMode="auto">
          <a:xfrm rot="2745734">
            <a:off x="825067" y="3494250"/>
            <a:ext cx="1260714" cy="370170"/>
          </a:xfrm>
          <a:prstGeom prst="rect">
            <a:avLst/>
          </a:prstGeom>
          <a:solidFill>
            <a:schemeClr val="tx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3" name="Picture 2"/>
          <p:cNvPicPr>
            <a:picLocks noChangeAspect="1"/>
          </p:cNvPicPr>
          <p:nvPr/>
        </p:nvPicPr>
        <p:blipFill>
          <a:blip r:embed="rId3"/>
          <a:stretch>
            <a:fillRect/>
          </a:stretch>
        </p:blipFill>
        <p:spPr>
          <a:xfrm>
            <a:off x="3044298" y="2084682"/>
            <a:ext cx="4320000" cy="3089304"/>
          </a:xfrm>
          <a:prstGeom prst="rect">
            <a:avLst/>
          </a:prstGeom>
          <a:ln>
            <a:noFill/>
          </a:ln>
          <a:effectLst>
            <a:outerShdw blurRad="190500" algn="tl" rotWithShape="0">
              <a:srgbClr val="000000">
                <a:alpha val="70000"/>
              </a:srgbClr>
            </a:outerShdw>
          </a:effectLst>
        </p:spPr>
      </p:pic>
      <p:pic>
        <p:nvPicPr>
          <p:cNvPr id="5" name="Picture 4"/>
          <p:cNvPicPr>
            <a:picLocks noChangeAspect="1"/>
          </p:cNvPicPr>
          <p:nvPr/>
        </p:nvPicPr>
        <p:blipFill>
          <a:blip r:embed="rId4"/>
          <a:stretch>
            <a:fillRect/>
          </a:stretch>
        </p:blipFill>
        <p:spPr>
          <a:xfrm>
            <a:off x="7686232" y="2083272"/>
            <a:ext cx="4320000" cy="3124569"/>
          </a:xfrm>
          <a:prstGeom prst="rect">
            <a:avLst/>
          </a:prstGeom>
          <a:ln>
            <a:noFill/>
          </a:ln>
          <a:effectLst>
            <a:outerShdw blurRad="190500" algn="tl" rotWithShape="0">
              <a:srgbClr val="000000">
                <a:alpha val="70000"/>
              </a:srgbClr>
            </a:outerShdw>
          </a:effectLst>
        </p:spPr>
      </p:pic>
    </p:spTree>
    <p:extLst>
      <p:ext uri="{BB962C8B-B14F-4D97-AF65-F5344CB8AC3E}">
        <p14:creationId xmlns:p14="http://schemas.microsoft.com/office/powerpoint/2010/main" val="17481675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solidFill>
            <a:schemeClr val="bg1"/>
          </a:solidFill>
        </p:spPr>
        <p:txBody>
          <a:bodyPr/>
          <a:lstStyle/>
          <a:p>
            <a:r>
              <a:rPr lang="pt-PT">
                <a:solidFill>
                  <a:schemeClr val="tx1"/>
                </a:solidFill>
              </a:rPr>
              <a:t>Visualisations - </a:t>
            </a:r>
            <a:r>
              <a:rPr lang="en-US">
                <a:solidFill>
                  <a:schemeClr val="tx1"/>
                </a:solidFill>
              </a:rPr>
              <a:t>Line Chart</a:t>
            </a:r>
            <a:endParaRPr lang="en-US" sz="3600">
              <a:solidFill>
                <a:schemeClr val="tx1"/>
              </a:solidFill>
            </a:endParaRPr>
          </a:p>
        </p:txBody>
      </p:sp>
      <p:grpSp>
        <p:nvGrpSpPr>
          <p:cNvPr id="52" name="Group 51"/>
          <p:cNvGrpSpPr/>
          <p:nvPr/>
        </p:nvGrpSpPr>
        <p:grpSpPr>
          <a:xfrm>
            <a:off x="2" y="1"/>
            <a:ext cx="2849058" cy="6858000"/>
            <a:chOff x="2" y="1"/>
            <a:chExt cx="2849058" cy="6858000"/>
          </a:xfrm>
        </p:grpSpPr>
        <p:sp>
          <p:nvSpPr>
            <p:cNvPr id="71" name="Rectangle 70"/>
            <p:cNvSpPr/>
            <p:nvPr/>
          </p:nvSpPr>
          <p:spPr bwMode="auto">
            <a:xfrm>
              <a:off x="2" y="1"/>
              <a:ext cx="2849058"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3" name="Oval 70"/>
            <p:cNvSpPr/>
            <p:nvPr/>
          </p:nvSpPr>
          <p:spPr>
            <a:xfrm>
              <a:off x="1413521" y="4951537"/>
              <a:ext cx="1119626" cy="1119626"/>
            </a:xfrm>
            <a:prstGeom prst="ellipse">
              <a:avLst/>
            </a:prstGeom>
            <a:solidFill>
              <a:srgbClr val="F2C812"/>
            </a:solidFill>
            <a:ln w="3175" cap="flat" cmpd="sng" algn="ctr">
              <a:noFill/>
              <a:prstDash val="solid"/>
            </a:ln>
            <a:effectLst/>
          </p:spPr>
          <p:txBody>
            <a:bodyPr vert="horz" wrap="none" lIns="0" tIns="45720" rIns="0" bIns="0" rtlCol="0" anchor="t"/>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Segoe UI"/>
                  <a:ea typeface="Segoe UI" pitchFamily="34" charset="0"/>
                  <a:cs typeface="Segoe UI" pitchFamily="34" charset="0"/>
                </a:rPr>
                <a:t>Share &amp;</a:t>
              </a:r>
            </a:p>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Segoe UI"/>
                  <a:ea typeface="Segoe UI" pitchFamily="34" charset="0"/>
                  <a:cs typeface="Segoe UI" pitchFamily="34" charset="0"/>
                </a:rPr>
                <a:t>collaborate </a:t>
              </a:r>
            </a:p>
          </p:txBody>
        </p:sp>
        <p:grpSp>
          <p:nvGrpSpPr>
            <p:cNvPr id="76" name="Group 38"/>
            <p:cNvGrpSpPr>
              <a:grpSpLocks noChangeAspect="1"/>
            </p:cNvGrpSpPr>
            <p:nvPr/>
          </p:nvGrpSpPr>
          <p:grpSpPr>
            <a:xfrm>
              <a:off x="676996" y="3930692"/>
              <a:ext cx="383905" cy="351536"/>
              <a:chOff x="4363684" y="5330386"/>
              <a:chExt cx="1409956" cy="1291077"/>
            </a:xfrm>
            <a:solidFill>
              <a:srgbClr val="217346"/>
            </a:solidFill>
          </p:grpSpPr>
          <p:sp>
            <p:nvSpPr>
              <p:cNvPr id="102" name="Donut 3"/>
              <p:cNvSpPr/>
              <p:nvPr/>
            </p:nvSpPr>
            <p:spPr bwMode="auto">
              <a:xfrm>
                <a:off x="4363684" y="5330386"/>
                <a:ext cx="1409956" cy="1291077"/>
              </a:xfrm>
              <a:custGeom>
                <a:avLst/>
                <a:gdLst/>
                <a:ahLst/>
                <a:cxnLst/>
                <a:rect l="l" t="t" r="r" b="b"/>
                <a:pathLst>
                  <a:path w="1409956" h="1291077">
                    <a:moveTo>
                      <a:pt x="956401" y="78410"/>
                    </a:moveTo>
                    <a:cubicBezTo>
                      <a:pt x="747518" y="78410"/>
                      <a:pt x="578184" y="247744"/>
                      <a:pt x="578184" y="456627"/>
                    </a:cubicBezTo>
                    <a:cubicBezTo>
                      <a:pt x="578184" y="665510"/>
                      <a:pt x="747518" y="834844"/>
                      <a:pt x="956401" y="834844"/>
                    </a:cubicBezTo>
                    <a:cubicBezTo>
                      <a:pt x="1165284" y="834844"/>
                      <a:pt x="1334618" y="665510"/>
                      <a:pt x="1334618" y="456627"/>
                    </a:cubicBezTo>
                    <a:cubicBezTo>
                      <a:pt x="1334618" y="247744"/>
                      <a:pt x="1165284" y="78410"/>
                      <a:pt x="956401" y="78410"/>
                    </a:cubicBezTo>
                    <a:close/>
                    <a:moveTo>
                      <a:pt x="952756" y="0"/>
                    </a:moveTo>
                    <a:cubicBezTo>
                      <a:pt x="1205261" y="0"/>
                      <a:pt x="1409956" y="204695"/>
                      <a:pt x="1409956" y="457200"/>
                    </a:cubicBezTo>
                    <a:cubicBezTo>
                      <a:pt x="1409956" y="709705"/>
                      <a:pt x="1205261" y="914400"/>
                      <a:pt x="952756" y="914400"/>
                    </a:cubicBezTo>
                    <a:cubicBezTo>
                      <a:pt x="862133" y="914400"/>
                      <a:pt x="777669" y="888034"/>
                      <a:pt x="707132" y="841746"/>
                    </a:cubicBezTo>
                    <a:lnTo>
                      <a:pt x="136495" y="1280102"/>
                    </a:lnTo>
                    <a:cubicBezTo>
                      <a:pt x="21896" y="1327168"/>
                      <a:pt x="-44029" y="1213730"/>
                      <a:pt x="33797" y="1113182"/>
                    </a:cubicBezTo>
                    <a:lnTo>
                      <a:pt x="568587" y="703518"/>
                    </a:lnTo>
                    <a:cubicBezTo>
                      <a:pt x="522087" y="632814"/>
                      <a:pt x="495556" y="548105"/>
                      <a:pt x="495556" y="457200"/>
                    </a:cubicBezTo>
                    <a:cubicBezTo>
                      <a:pt x="495556" y="204695"/>
                      <a:pt x="700251" y="0"/>
                      <a:pt x="952756" y="0"/>
                    </a:cubicBezTo>
                    <a:close/>
                  </a:path>
                </a:pathLst>
              </a:custGeom>
              <a:grpFill/>
              <a:ln>
                <a:solidFill>
                  <a:srgbClr val="21734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sp>
            <p:nvSpPr>
              <p:cNvPr id="103" name="Rectangle 4"/>
              <p:cNvSpPr/>
              <p:nvPr/>
            </p:nvSpPr>
            <p:spPr>
              <a:xfrm>
                <a:off x="5058389" y="5528247"/>
                <a:ext cx="490885" cy="490020"/>
              </a:xfrm>
              <a:custGeom>
                <a:avLst/>
                <a:gdLst/>
                <a:ahLst/>
                <a:cxnLst/>
                <a:rect l="l" t="t" r="r" b="b"/>
                <a:pathLst>
                  <a:path w="490885" h="490020">
                    <a:moveTo>
                      <a:pt x="240752" y="0"/>
                    </a:moveTo>
                    <a:cubicBezTo>
                      <a:pt x="253961" y="11844"/>
                      <a:pt x="293310" y="49692"/>
                      <a:pt x="337332" y="92439"/>
                    </a:cubicBezTo>
                    <a:lnTo>
                      <a:pt x="328342" y="81259"/>
                    </a:lnTo>
                    <a:cubicBezTo>
                      <a:pt x="356946" y="111282"/>
                      <a:pt x="377251" y="107167"/>
                      <a:pt x="382515" y="87941"/>
                    </a:cubicBezTo>
                    <a:cubicBezTo>
                      <a:pt x="383951" y="76921"/>
                      <a:pt x="384595" y="68732"/>
                      <a:pt x="396997" y="52239"/>
                    </a:cubicBezTo>
                    <a:cubicBezTo>
                      <a:pt x="420362" y="32084"/>
                      <a:pt x="442294" y="41736"/>
                      <a:pt x="454920" y="51330"/>
                    </a:cubicBezTo>
                    <a:cubicBezTo>
                      <a:pt x="467834" y="62761"/>
                      <a:pt x="477920" y="86882"/>
                      <a:pt x="460392" y="109714"/>
                    </a:cubicBezTo>
                    <a:cubicBezTo>
                      <a:pt x="451128" y="121912"/>
                      <a:pt x="437554" y="126838"/>
                      <a:pt x="425922" y="126505"/>
                    </a:cubicBezTo>
                    <a:cubicBezTo>
                      <a:pt x="424301" y="127609"/>
                      <a:pt x="382890" y="134974"/>
                      <a:pt x="427348" y="177672"/>
                    </a:cubicBezTo>
                    <a:lnTo>
                      <a:pt x="416886" y="169735"/>
                    </a:lnTo>
                    <a:cubicBezTo>
                      <a:pt x="450207" y="202177"/>
                      <a:pt x="478424" y="229744"/>
                      <a:pt x="490885" y="241900"/>
                    </a:cubicBezTo>
                    <a:lnTo>
                      <a:pt x="417150" y="317347"/>
                    </a:lnTo>
                    <a:cubicBezTo>
                      <a:pt x="417744" y="316535"/>
                      <a:pt x="418443" y="316123"/>
                      <a:pt x="419047" y="315822"/>
                    </a:cubicBezTo>
                    <a:cubicBezTo>
                      <a:pt x="389023" y="344426"/>
                      <a:pt x="393138" y="364731"/>
                      <a:pt x="412364" y="369995"/>
                    </a:cubicBezTo>
                    <a:cubicBezTo>
                      <a:pt x="423384" y="371431"/>
                      <a:pt x="431574" y="372075"/>
                      <a:pt x="448067" y="384477"/>
                    </a:cubicBezTo>
                    <a:cubicBezTo>
                      <a:pt x="468221" y="407842"/>
                      <a:pt x="458569" y="429774"/>
                      <a:pt x="448975" y="442400"/>
                    </a:cubicBezTo>
                    <a:cubicBezTo>
                      <a:pt x="437545" y="455314"/>
                      <a:pt x="413423" y="465400"/>
                      <a:pt x="390591" y="447872"/>
                    </a:cubicBezTo>
                    <a:cubicBezTo>
                      <a:pt x="378394" y="438608"/>
                      <a:pt x="373468" y="425034"/>
                      <a:pt x="373800" y="413402"/>
                    </a:cubicBezTo>
                    <a:cubicBezTo>
                      <a:pt x="372696" y="411781"/>
                      <a:pt x="365332" y="370370"/>
                      <a:pt x="322634" y="414828"/>
                    </a:cubicBezTo>
                    <a:lnTo>
                      <a:pt x="325243" y="411388"/>
                    </a:lnTo>
                    <a:lnTo>
                      <a:pt x="248395" y="490020"/>
                    </a:lnTo>
                    <a:cubicBezTo>
                      <a:pt x="208939" y="451897"/>
                      <a:pt x="199129" y="442073"/>
                      <a:pt x="174192" y="418236"/>
                    </a:cubicBezTo>
                    <a:cubicBezTo>
                      <a:pt x="145587" y="388212"/>
                      <a:pt x="125282" y="392327"/>
                      <a:pt x="120018" y="411553"/>
                    </a:cubicBezTo>
                    <a:cubicBezTo>
                      <a:pt x="118582" y="422573"/>
                      <a:pt x="117938" y="430763"/>
                      <a:pt x="105536" y="447256"/>
                    </a:cubicBezTo>
                    <a:cubicBezTo>
                      <a:pt x="82171" y="467410"/>
                      <a:pt x="60239" y="457758"/>
                      <a:pt x="47614" y="448164"/>
                    </a:cubicBezTo>
                    <a:cubicBezTo>
                      <a:pt x="34699" y="436734"/>
                      <a:pt x="24614" y="412612"/>
                      <a:pt x="42141" y="389780"/>
                    </a:cubicBezTo>
                    <a:cubicBezTo>
                      <a:pt x="51405" y="377583"/>
                      <a:pt x="64979" y="372657"/>
                      <a:pt x="76612" y="372989"/>
                    </a:cubicBezTo>
                    <a:cubicBezTo>
                      <a:pt x="78232" y="371886"/>
                      <a:pt x="119644" y="364521"/>
                      <a:pt x="75186" y="321823"/>
                    </a:cubicBezTo>
                    <a:cubicBezTo>
                      <a:pt x="58767" y="305402"/>
                      <a:pt x="23648" y="271235"/>
                      <a:pt x="0" y="248738"/>
                    </a:cubicBezTo>
                    <a:lnTo>
                      <a:pt x="77303" y="168146"/>
                    </a:lnTo>
                    <a:cubicBezTo>
                      <a:pt x="104269" y="140313"/>
                      <a:pt x="122130" y="156409"/>
                      <a:pt x="124388" y="175543"/>
                    </a:cubicBezTo>
                    <a:cubicBezTo>
                      <a:pt x="124457" y="182466"/>
                      <a:pt x="127106" y="193106"/>
                      <a:pt x="137575" y="203052"/>
                    </a:cubicBezTo>
                    <a:cubicBezTo>
                      <a:pt x="153931" y="220277"/>
                      <a:pt x="181252" y="217451"/>
                      <a:pt x="196721" y="201951"/>
                    </a:cubicBezTo>
                    <a:cubicBezTo>
                      <a:pt x="211961" y="185740"/>
                      <a:pt x="213057" y="157882"/>
                      <a:pt x="196146" y="142797"/>
                    </a:cubicBezTo>
                    <a:cubicBezTo>
                      <a:pt x="184301" y="132637"/>
                      <a:pt x="177155" y="131453"/>
                      <a:pt x="166513" y="129894"/>
                    </a:cubicBezTo>
                    <a:cubicBezTo>
                      <a:pt x="154522" y="129013"/>
                      <a:pt x="131185" y="112953"/>
                      <a:pt x="157905" y="85228"/>
                    </a:cubicBezTo>
                    <a:close/>
                  </a:path>
                </a:pathLst>
              </a:custGeom>
              <a:grpFill/>
              <a:ln>
                <a:solidFill>
                  <a:srgbClr val="21734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grpSp>
        <p:sp>
          <p:nvSpPr>
            <p:cNvPr id="77" name="Oval 47"/>
            <p:cNvSpPr/>
            <p:nvPr/>
          </p:nvSpPr>
          <p:spPr>
            <a:xfrm>
              <a:off x="388608" y="3710471"/>
              <a:ext cx="1119626" cy="1119626"/>
            </a:xfrm>
            <a:prstGeom prst="ellipse">
              <a:avLst/>
            </a:prstGeom>
            <a:solidFill>
              <a:srgbClr val="F2C812"/>
            </a:solidFill>
            <a:ln w="3175" cap="flat" cmpd="sng" algn="ctr">
              <a:noFill/>
              <a:prstDash val="solid"/>
            </a:ln>
            <a:effectLst/>
          </p:spPr>
          <p:txBody>
            <a:bodyPr vert="horz" wrap="none" lIns="0" tIns="45720" rIns="0" bIns="0" rtlCol="0" anchor="t"/>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Segoe UI"/>
                  <a:ea typeface="Segoe UI" pitchFamily="34" charset="0"/>
                  <a:cs typeface="Segoe UI" pitchFamily="34" charset="0"/>
                </a:rPr>
                <a:t>Report</a:t>
              </a:r>
            </a:p>
          </p:txBody>
        </p:sp>
        <p:sp>
          <p:nvSpPr>
            <p:cNvPr id="78" name="Oval 950"/>
            <p:cNvSpPr/>
            <p:nvPr/>
          </p:nvSpPr>
          <p:spPr>
            <a:xfrm>
              <a:off x="388608" y="1252295"/>
              <a:ext cx="1119626" cy="1119626"/>
            </a:xfrm>
            <a:prstGeom prst="ellipse">
              <a:avLst/>
            </a:prstGeom>
            <a:solidFill>
              <a:srgbClr val="F2C812"/>
            </a:solidFill>
            <a:ln w="3175" cap="flat" cmpd="sng" algn="ctr">
              <a:noFill/>
              <a:prstDash val="solid"/>
            </a:ln>
            <a:effectLst/>
          </p:spPr>
          <p:txBody>
            <a:bodyPr vert="horz" wrap="none" lIns="0" tIns="45720" rIns="0" bIns="0" rtlCol="0" anchor="t"/>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1" i="0" u="none" strike="noStrike" kern="1200" cap="none" spc="0" normalizeH="0" baseline="0" noProof="0">
                <a:ln>
                  <a:noFill/>
                </a:ln>
                <a:solidFill>
                  <a:srgbClr val="217346"/>
                </a:solidFill>
                <a:effectLst/>
                <a:uLnTx/>
                <a:uFillTx/>
                <a:latin typeface="Segoe UI"/>
                <a:ea typeface="Segoe UI" pitchFamily="34" charset="0"/>
                <a:cs typeface="Segoe UI" pitchFamily="34" charset="0"/>
              </a:endParaRPr>
            </a:p>
          </p:txBody>
        </p:sp>
        <p:grpSp>
          <p:nvGrpSpPr>
            <p:cNvPr id="79" name="Group 78"/>
            <p:cNvGrpSpPr/>
            <p:nvPr/>
          </p:nvGrpSpPr>
          <p:grpSpPr>
            <a:xfrm>
              <a:off x="1264851" y="3482890"/>
              <a:ext cx="292254" cy="354906"/>
              <a:chOff x="1296521" y="3253388"/>
              <a:chExt cx="292254" cy="354906"/>
            </a:xfrm>
            <a:solidFill>
              <a:srgbClr val="F2C812"/>
            </a:solidFill>
          </p:grpSpPr>
          <p:sp>
            <p:nvSpPr>
              <p:cNvPr id="99" name="Isosceles Triangle 98"/>
              <p:cNvSpPr/>
              <p:nvPr/>
            </p:nvSpPr>
            <p:spPr bwMode="auto">
              <a:xfrm rot="13636515">
                <a:off x="1461362" y="328936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0" name="Isosceles Triangle 99"/>
              <p:cNvSpPr/>
              <p:nvPr/>
            </p:nvSpPr>
            <p:spPr bwMode="auto">
              <a:xfrm rot="13636515">
                <a:off x="1357669" y="338258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1" name="Isosceles Triangle 100"/>
              <p:cNvSpPr/>
              <p:nvPr/>
            </p:nvSpPr>
            <p:spPr bwMode="auto">
              <a:xfrm rot="13636515">
                <a:off x="1260548" y="3480882"/>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80" name="Group 79"/>
            <p:cNvGrpSpPr/>
            <p:nvPr/>
          </p:nvGrpSpPr>
          <p:grpSpPr>
            <a:xfrm rot="15940603">
              <a:off x="1334576" y="2204404"/>
              <a:ext cx="292254" cy="354906"/>
              <a:chOff x="1296521" y="3253388"/>
              <a:chExt cx="292254" cy="354906"/>
            </a:xfrm>
            <a:solidFill>
              <a:srgbClr val="F2C812"/>
            </a:solidFill>
          </p:grpSpPr>
          <p:sp>
            <p:nvSpPr>
              <p:cNvPr id="96" name="Isosceles Triangle 95"/>
              <p:cNvSpPr/>
              <p:nvPr/>
            </p:nvSpPr>
            <p:spPr bwMode="auto">
              <a:xfrm rot="13636515">
                <a:off x="1461362" y="328936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7" name="Isosceles Triangle 96"/>
              <p:cNvSpPr/>
              <p:nvPr/>
            </p:nvSpPr>
            <p:spPr bwMode="auto">
              <a:xfrm rot="13636515">
                <a:off x="1357669" y="338258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8" name="Isosceles Triangle 97"/>
              <p:cNvSpPr/>
              <p:nvPr/>
            </p:nvSpPr>
            <p:spPr bwMode="auto">
              <a:xfrm rot="13636515">
                <a:off x="1260548" y="3480882"/>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81" name="Group 80"/>
            <p:cNvGrpSpPr/>
            <p:nvPr/>
          </p:nvGrpSpPr>
          <p:grpSpPr>
            <a:xfrm rot="16043978">
              <a:off x="1317220" y="4717577"/>
              <a:ext cx="292254" cy="354906"/>
              <a:chOff x="1296521" y="3253388"/>
              <a:chExt cx="292254" cy="354906"/>
            </a:xfrm>
            <a:solidFill>
              <a:srgbClr val="F2C812"/>
            </a:solidFill>
          </p:grpSpPr>
          <p:sp>
            <p:nvSpPr>
              <p:cNvPr id="93" name="Isosceles Triangle 92"/>
              <p:cNvSpPr/>
              <p:nvPr/>
            </p:nvSpPr>
            <p:spPr bwMode="auto">
              <a:xfrm rot="13636515">
                <a:off x="1461362" y="328936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4" name="Isosceles Triangle 93"/>
              <p:cNvSpPr/>
              <p:nvPr/>
            </p:nvSpPr>
            <p:spPr bwMode="auto">
              <a:xfrm rot="13636515">
                <a:off x="1357669" y="338258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5" name="Isosceles Triangle 94"/>
              <p:cNvSpPr/>
              <p:nvPr/>
            </p:nvSpPr>
            <p:spPr bwMode="auto">
              <a:xfrm rot="13636515">
                <a:off x="1260548" y="3480882"/>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82" name="Oval 36"/>
            <p:cNvSpPr/>
            <p:nvPr/>
          </p:nvSpPr>
          <p:spPr>
            <a:xfrm>
              <a:off x="1413521" y="2481383"/>
              <a:ext cx="1119626" cy="1119626"/>
            </a:xfrm>
            <a:prstGeom prst="ellipse">
              <a:avLst/>
            </a:prstGeom>
            <a:solidFill>
              <a:srgbClr val="F2C812"/>
            </a:solidFill>
            <a:ln w="3175" cap="flat" cmpd="sng" algn="ctr">
              <a:noFill/>
              <a:prstDash val="solid"/>
            </a:ln>
            <a:effectLst/>
          </p:spPr>
          <p:txBody>
            <a:bodyPr vert="horz" wrap="none" lIns="0" tIns="0" rIns="0" bIns="0" rtlCol="0" anchor="t"/>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400" b="1" i="0" u="none" strike="noStrike" kern="1200" cap="none" spc="0" normalizeH="0" baseline="0" noProof="0">
                <a:ln>
                  <a:noFill/>
                </a:ln>
                <a:solidFill>
                  <a:srgbClr val="217346"/>
                </a:solidFill>
                <a:effectLst/>
                <a:uLnTx/>
                <a:uFillTx/>
                <a:latin typeface="Segoe UI"/>
                <a:ea typeface="Segoe UI" pitchFamily="34" charset="0"/>
                <a:cs typeface="Segoe UI" pitchFamily="34" charset="0"/>
              </a:endParaRPr>
            </a:p>
          </p:txBody>
        </p:sp>
        <p:sp>
          <p:nvSpPr>
            <p:cNvPr id="83" name="Donut 3"/>
            <p:cNvSpPr/>
            <p:nvPr/>
          </p:nvSpPr>
          <p:spPr bwMode="auto">
            <a:xfrm>
              <a:off x="1742065" y="3002355"/>
              <a:ext cx="383905" cy="351537"/>
            </a:xfrm>
            <a:custGeom>
              <a:avLst/>
              <a:gdLst/>
              <a:ahLst/>
              <a:cxnLst/>
              <a:rect l="l" t="t" r="r" b="b"/>
              <a:pathLst>
                <a:path w="1409956" h="1291077">
                  <a:moveTo>
                    <a:pt x="956401" y="78410"/>
                  </a:moveTo>
                  <a:cubicBezTo>
                    <a:pt x="747518" y="78410"/>
                    <a:pt x="578184" y="247744"/>
                    <a:pt x="578184" y="456627"/>
                  </a:cubicBezTo>
                  <a:cubicBezTo>
                    <a:pt x="578184" y="665510"/>
                    <a:pt x="747518" y="834844"/>
                    <a:pt x="956401" y="834844"/>
                  </a:cubicBezTo>
                  <a:cubicBezTo>
                    <a:pt x="1165284" y="834844"/>
                    <a:pt x="1334618" y="665510"/>
                    <a:pt x="1334618" y="456627"/>
                  </a:cubicBezTo>
                  <a:cubicBezTo>
                    <a:pt x="1334618" y="247744"/>
                    <a:pt x="1165284" y="78410"/>
                    <a:pt x="956401" y="78410"/>
                  </a:cubicBezTo>
                  <a:close/>
                  <a:moveTo>
                    <a:pt x="952756" y="0"/>
                  </a:moveTo>
                  <a:cubicBezTo>
                    <a:pt x="1205261" y="0"/>
                    <a:pt x="1409956" y="204695"/>
                    <a:pt x="1409956" y="457200"/>
                  </a:cubicBezTo>
                  <a:cubicBezTo>
                    <a:pt x="1409956" y="709705"/>
                    <a:pt x="1205261" y="914400"/>
                    <a:pt x="952756" y="914400"/>
                  </a:cubicBezTo>
                  <a:cubicBezTo>
                    <a:pt x="862133" y="914400"/>
                    <a:pt x="777669" y="888034"/>
                    <a:pt x="707132" y="841746"/>
                  </a:cubicBezTo>
                  <a:lnTo>
                    <a:pt x="136495" y="1280102"/>
                  </a:lnTo>
                  <a:cubicBezTo>
                    <a:pt x="21896" y="1327168"/>
                    <a:pt x="-44029" y="1213730"/>
                    <a:pt x="33797" y="1113182"/>
                  </a:cubicBezTo>
                  <a:lnTo>
                    <a:pt x="568587" y="703518"/>
                  </a:lnTo>
                  <a:cubicBezTo>
                    <a:pt x="522087" y="632814"/>
                    <a:pt x="495556" y="548105"/>
                    <a:pt x="495556" y="457200"/>
                  </a:cubicBezTo>
                  <a:cubicBezTo>
                    <a:pt x="495556" y="204695"/>
                    <a:pt x="700251" y="0"/>
                    <a:pt x="952756" y="0"/>
                  </a:cubicBezTo>
                  <a:close/>
                </a:path>
              </a:pathLst>
            </a:cu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sp>
          <p:nvSpPr>
            <p:cNvPr id="84" name="Rectangle 83"/>
            <p:cNvSpPr/>
            <p:nvPr/>
          </p:nvSpPr>
          <p:spPr>
            <a:xfrm>
              <a:off x="1600398" y="2677430"/>
              <a:ext cx="820353" cy="307777"/>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Segoe UI"/>
                  <a:ea typeface="Segoe UI" pitchFamily="34" charset="0"/>
                  <a:cs typeface="Segoe UI" pitchFamily="34" charset="0"/>
                </a:rPr>
                <a:t>Explore</a:t>
              </a:r>
              <a:endParaRPr kumimoji="0" lang="en-US" sz="1600" b="0" i="0" u="none" strike="noStrike" kern="1200" cap="none" spc="0" normalizeH="0" baseline="0" noProof="0">
                <a:ln>
                  <a:noFill/>
                </a:ln>
                <a:solidFill>
                  <a:srgbClr val="000000"/>
                </a:solidFill>
                <a:effectLst/>
                <a:uLnTx/>
                <a:uFillTx/>
                <a:latin typeface="Segoe UI"/>
                <a:ea typeface="+mn-ea"/>
                <a:cs typeface="+mn-cs"/>
              </a:endParaRPr>
            </a:p>
          </p:txBody>
        </p:sp>
        <p:sp>
          <p:nvSpPr>
            <p:cNvPr id="85" name="Rectangle 84"/>
            <p:cNvSpPr/>
            <p:nvPr/>
          </p:nvSpPr>
          <p:spPr>
            <a:xfrm>
              <a:off x="509174" y="1475232"/>
              <a:ext cx="838756" cy="307777"/>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Segoe UI"/>
                  <a:ea typeface="Segoe UI" pitchFamily="34" charset="0"/>
                  <a:cs typeface="Segoe UI" pitchFamily="34" charset="0"/>
                </a:rPr>
                <a:t>Prepare</a:t>
              </a: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86" name="Freeform 85"/>
            <p:cNvSpPr>
              <a:spLocks noChangeAspect="1"/>
            </p:cNvSpPr>
            <p:nvPr/>
          </p:nvSpPr>
          <p:spPr bwMode="black">
            <a:xfrm>
              <a:off x="1836174" y="5643069"/>
              <a:ext cx="274320" cy="284173"/>
            </a:xfrm>
            <a:custGeom>
              <a:avLst/>
              <a:gdLst>
                <a:gd name="T0" fmla="*/ 539 w 669"/>
                <a:gd name="T1" fmla="*/ 5 h 693"/>
                <a:gd name="T2" fmla="*/ 640 w 669"/>
                <a:gd name="T3" fmla="*/ 55 h 693"/>
                <a:gd name="T4" fmla="*/ 603 w 669"/>
                <a:gd name="T5" fmla="*/ 195 h 693"/>
                <a:gd name="T6" fmla="*/ 490 w 669"/>
                <a:gd name="T7" fmla="*/ 188 h 693"/>
                <a:gd name="T8" fmla="*/ 479 w 669"/>
                <a:gd name="T9" fmla="*/ 176 h 693"/>
                <a:gd name="T10" fmla="*/ 213 w 669"/>
                <a:gd name="T11" fmla="*/ 330 h 693"/>
                <a:gd name="T12" fmla="*/ 218 w 669"/>
                <a:gd name="T13" fmla="*/ 345 h 693"/>
                <a:gd name="T14" fmla="*/ 218 w 669"/>
                <a:gd name="T15" fmla="*/ 375 h 693"/>
                <a:gd name="T16" fmla="*/ 209 w 669"/>
                <a:gd name="T17" fmla="*/ 402 h 693"/>
                <a:gd name="T18" fmla="*/ 369 w 669"/>
                <a:gd name="T19" fmla="*/ 503 h 693"/>
                <a:gd name="T20" fmla="*/ 373 w 669"/>
                <a:gd name="T21" fmla="*/ 498 h 693"/>
                <a:gd name="T22" fmla="*/ 456 w 669"/>
                <a:gd name="T23" fmla="*/ 475 h 693"/>
                <a:gd name="T24" fmla="*/ 494 w 669"/>
                <a:gd name="T25" fmla="*/ 489 h 693"/>
                <a:gd name="T26" fmla="*/ 527 w 669"/>
                <a:gd name="T27" fmla="*/ 630 h 693"/>
                <a:gd name="T28" fmla="*/ 386 w 669"/>
                <a:gd name="T29" fmla="*/ 663 h 693"/>
                <a:gd name="T30" fmla="*/ 339 w 669"/>
                <a:gd name="T31" fmla="*/ 560 h 693"/>
                <a:gd name="T32" fmla="*/ 345 w 669"/>
                <a:gd name="T33" fmla="*/ 544 h 693"/>
                <a:gd name="T34" fmla="*/ 177 w 669"/>
                <a:gd name="T35" fmla="*/ 439 h 693"/>
                <a:gd name="T36" fmla="*/ 168 w 669"/>
                <a:gd name="T37" fmla="*/ 446 h 693"/>
                <a:gd name="T38" fmla="*/ 28 w 669"/>
                <a:gd name="T39" fmla="*/ 409 h 693"/>
                <a:gd name="T40" fmla="*/ 65 w 669"/>
                <a:gd name="T41" fmla="*/ 269 h 693"/>
                <a:gd name="T42" fmla="*/ 178 w 669"/>
                <a:gd name="T43" fmla="*/ 276 h 693"/>
                <a:gd name="T44" fmla="*/ 189 w 669"/>
                <a:gd name="T45" fmla="*/ 288 h 693"/>
                <a:gd name="T46" fmla="*/ 455 w 669"/>
                <a:gd name="T47" fmla="*/ 134 h 693"/>
                <a:gd name="T48" fmla="*/ 450 w 669"/>
                <a:gd name="T49" fmla="*/ 119 h 693"/>
                <a:gd name="T50" fmla="*/ 501 w 669"/>
                <a:gd name="T51" fmla="*/ 18 h 693"/>
                <a:gd name="T52" fmla="*/ 539 w 669"/>
                <a:gd name="T53" fmla="*/ 5 h 6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69" h="693">
                  <a:moveTo>
                    <a:pt x="539" y="5"/>
                  </a:moveTo>
                  <a:cubicBezTo>
                    <a:pt x="579" y="0"/>
                    <a:pt x="619" y="19"/>
                    <a:pt x="640" y="55"/>
                  </a:cubicBezTo>
                  <a:cubicBezTo>
                    <a:pt x="669" y="104"/>
                    <a:pt x="652" y="167"/>
                    <a:pt x="603" y="195"/>
                  </a:cubicBezTo>
                  <a:cubicBezTo>
                    <a:pt x="566" y="216"/>
                    <a:pt x="522" y="212"/>
                    <a:pt x="490" y="188"/>
                  </a:cubicBezTo>
                  <a:cubicBezTo>
                    <a:pt x="479" y="176"/>
                    <a:pt x="479" y="176"/>
                    <a:pt x="479" y="176"/>
                  </a:cubicBezTo>
                  <a:cubicBezTo>
                    <a:pt x="213" y="330"/>
                    <a:pt x="213" y="330"/>
                    <a:pt x="213" y="330"/>
                  </a:cubicBezTo>
                  <a:cubicBezTo>
                    <a:pt x="218" y="345"/>
                    <a:pt x="218" y="345"/>
                    <a:pt x="218" y="345"/>
                  </a:cubicBezTo>
                  <a:cubicBezTo>
                    <a:pt x="219" y="355"/>
                    <a:pt x="219" y="365"/>
                    <a:pt x="218" y="375"/>
                  </a:cubicBezTo>
                  <a:cubicBezTo>
                    <a:pt x="209" y="402"/>
                    <a:pt x="209" y="402"/>
                    <a:pt x="209" y="402"/>
                  </a:cubicBezTo>
                  <a:cubicBezTo>
                    <a:pt x="369" y="503"/>
                    <a:pt x="369" y="503"/>
                    <a:pt x="369" y="503"/>
                  </a:cubicBezTo>
                  <a:cubicBezTo>
                    <a:pt x="373" y="498"/>
                    <a:pt x="373" y="498"/>
                    <a:pt x="373" y="498"/>
                  </a:cubicBezTo>
                  <a:cubicBezTo>
                    <a:pt x="396" y="479"/>
                    <a:pt x="427" y="470"/>
                    <a:pt x="456" y="475"/>
                  </a:cubicBezTo>
                  <a:cubicBezTo>
                    <a:pt x="470" y="477"/>
                    <a:pt x="482" y="482"/>
                    <a:pt x="494" y="489"/>
                  </a:cubicBezTo>
                  <a:cubicBezTo>
                    <a:pt x="542" y="519"/>
                    <a:pt x="557" y="583"/>
                    <a:pt x="527" y="630"/>
                  </a:cubicBezTo>
                  <a:cubicBezTo>
                    <a:pt x="497" y="678"/>
                    <a:pt x="433" y="693"/>
                    <a:pt x="386" y="663"/>
                  </a:cubicBezTo>
                  <a:cubicBezTo>
                    <a:pt x="350" y="640"/>
                    <a:pt x="333" y="599"/>
                    <a:pt x="339" y="560"/>
                  </a:cubicBezTo>
                  <a:cubicBezTo>
                    <a:pt x="345" y="544"/>
                    <a:pt x="345" y="544"/>
                    <a:pt x="345" y="544"/>
                  </a:cubicBezTo>
                  <a:cubicBezTo>
                    <a:pt x="177" y="439"/>
                    <a:pt x="177" y="439"/>
                    <a:pt x="177" y="439"/>
                  </a:cubicBezTo>
                  <a:cubicBezTo>
                    <a:pt x="168" y="446"/>
                    <a:pt x="168" y="446"/>
                    <a:pt x="168" y="446"/>
                  </a:cubicBezTo>
                  <a:cubicBezTo>
                    <a:pt x="119" y="475"/>
                    <a:pt x="56" y="458"/>
                    <a:pt x="28" y="409"/>
                  </a:cubicBezTo>
                  <a:cubicBezTo>
                    <a:pt x="0" y="360"/>
                    <a:pt x="16" y="297"/>
                    <a:pt x="65" y="269"/>
                  </a:cubicBezTo>
                  <a:cubicBezTo>
                    <a:pt x="102" y="248"/>
                    <a:pt x="147" y="252"/>
                    <a:pt x="178" y="276"/>
                  </a:cubicBezTo>
                  <a:cubicBezTo>
                    <a:pt x="189" y="288"/>
                    <a:pt x="189" y="288"/>
                    <a:pt x="189" y="288"/>
                  </a:cubicBezTo>
                  <a:cubicBezTo>
                    <a:pt x="455" y="134"/>
                    <a:pt x="455" y="134"/>
                    <a:pt x="455" y="134"/>
                  </a:cubicBezTo>
                  <a:cubicBezTo>
                    <a:pt x="450" y="119"/>
                    <a:pt x="450" y="119"/>
                    <a:pt x="450" y="119"/>
                  </a:cubicBezTo>
                  <a:cubicBezTo>
                    <a:pt x="445" y="80"/>
                    <a:pt x="464" y="39"/>
                    <a:pt x="501" y="18"/>
                  </a:cubicBezTo>
                  <a:cubicBezTo>
                    <a:pt x="513" y="11"/>
                    <a:pt x="526" y="6"/>
                    <a:pt x="539" y="5"/>
                  </a:cubicBezTo>
                  <a:close/>
                </a:path>
              </a:pathLst>
            </a:custGeom>
            <a:solidFill>
              <a:schemeClr val="tx1"/>
            </a:solidFill>
            <a:ln>
              <a:noFill/>
            </a:ln>
          </p:spPr>
          <p:txBody>
            <a:bodyPr vert="horz" wrap="square" lIns="68574" tIns="34287" rIns="68574" bIns="34287"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0000"/>
                </a:solidFill>
                <a:effectLst/>
                <a:uLnTx/>
                <a:uFillTx/>
                <a:latin typeface="Segoe UI"/>
                <a:ea typeface="+mn-ea"/>
                <a:cs typeface="+mn-cs"/>
              </a:endParaRPr>
            </a:p>
          </p:txBody>
        </p:sp>
        <p:sp>
          <p:nvSpPr>
            <p:cNvPr id="87" name="Freeform 86"/>
            <p:cNvSpPr>
              <a:spLocks noChangeAspect="1" noEditPoints="1"/>
            </p:cNvSpPr>
            <p:nvPr/>
          </p:nvSpPr>
          <p:spPr bwMode="black">
            <a:xfrm>
              <a:off x="722320" y="1783009"/>
              <a:ext cx="452202" cy="366660"/>
            </a:xfrm>
            <a:custGeom>
              <a:avLst/>
              <a:gdLst>
                <a:gd name="T0" fmla="*/ 600 w 1107"/>
                <a:gd name="T1" fmla="*/ 625 h 897"/>
                <a:gd name="T2" fmla="*/ 649 w 1107"/>
                <a:gd name="T3" fmla="*/ 567 h 897"/>
                <a:gd name="T4" fmla="*/ 727 w 1107"/>
                <a:gd name="T5" fmla="*/ 482 h 897"/>
                <a:gd name="T6" fmla="*/ 601 w 1107"/>
                <a:gd name="T7" fmla="*/ 434 h 897"/>
                <a:gd name="T8" fmla="*/ 628 w 1107"/>
                <a:gd name="T9" fmla="*/ 305 h 897"/>
                <a:gd name="T10" fmla="*/ 547 w 1107"/>
                <a:gd name="T11" fmla="*/ 240 h 897"/>
                <a:gd name="T12" fmla="*/ 427 w 1107"/>
                <a:gd name="T13" fmla="*/ 287 h 897"/>
                <a:gd name="T14" fmla="*/ 368 w 1107"/>
                <a:gd name="T15" fmla="*/ 170 h 897"/>
                <a:gd name="T16" fmla="*/ 285 w 1107"/>
                <a:gd name="T17" fmla="*/ 263 h 897"/>
                <a:gd name="T18" fmla="*/ 241 w 1107"/>
                <a:gd name="T19" fmla="*/ 313 h 897"/>
                <a:gd name="T20" fmla="*/ 139 w 1107"/>
                <a:gd name="T21" fmla="*/ 281 h 897"/>
                <a:gd name="T22" fmla="*/ 79 w 1107"/>
                <a:gd name="T23" fmla="*/ 355 h 897"/>
                <a:gd name="T24" fmla="*/ 132 w 1107"/>
                <a:gd name="T25" fmla="*/ 446 h 897"/>
                <a:gd name="T26" fmla="*/ 83 w 1107"/>
                <a:gd name="T27" fmla="*/ 505 h 897"/>
                <a:gd name="T28" fmla="*/ 5 w 1107"/>
                <a:gd name="T29" fmla="*/ 590 h 897"/>
                <a:gd name="T30" fmla="*/ 132 w 1107"/>
                <a:gd name="T31" fmla="*/ 638 h 897"/>
                <a:gd name="T32" fmla="*/ 145 w 1107"/>
                <a:gd name="T33" fmla="*/ 669 h 897"/>
                <a:gd name="T34" fmla="*/ 110 w 1107"/>
                <a:gd name="T35" fmla="*/ 793 h 897"/>
                <a:gd name="T36" fmla="*/ 230 w 1107"/>
                <a:gd name="T37" fmla="*/ 781 h 897"/>
                <a:gd name="T38" fmla="*/ 306 w 1107"/>
                <a:gd name="T39" fmla="*/ 785 h 897"/>
                <a:gd name="T40" fmla="*/ 346 w 1107"/>
                <a:gd name="T41" fmla="*/ 878 h 897"/>
                <a:gd name="T42" fmla="*/ 440 w 1107"/>
                <a:gd name="T43" fmla="*/ 872 h 897"/>
                <a:gd name="T44" fmla="*/ 466 w 1107"/>
                <a:gd name="T45" fmla="*/ 764 h 897"/>
                <a:gd name="T46" fmla="*/ 539 w 1107"/>
                <a:gd name="T47" fmla="*/ 755 h 897"/>
                <a:gd name="T48" fmla="*/ 659 w 1107"/>
                <a:gd name="T49" fmla="*/ 743 h 897"/>
                <a:gd name="T50" fmla="*/ 263 w 1107"/>
                <a:gd name="T51" fmla="*/ 452 h 897"/>
                <a:gd name="T52" fmla="*/ 281 w 1107"/>
                <a:gd name="T53" fmla="*/ 633 h 897"/>
                <a:gd name="T54" fmla="*/ 1002 w 1107"/>
                <a:gd name="T55" fmla="*/ 332 h 897"/>
                <a:gd name="T56" fmla="*/ 1043 w 1107"/>
                <a:gd name="T57" fmla="*/ 304 h 897"/>
                <a:gd name="T58" fmla="*/ 1107 w 1107"/>
                <a:gd name="T59" fmla="*/ 266 h 897"/>
                <a:gd name="T60" fmla="*/ 1037 w 1107"/>
                <a:gd name="T61" fmla="*/ 213 h 897"/>
                <a:gd name="T62" fmla="*/ 1077 w 1107"/>
                <a:gd name="T63" fmla="*/ 138 h 897"/>
                <a:gd name="T64" fmla="*/ 1038 w 1107"/>
                <a:gd name="T65" fmla="*/ 83 h 897"/>
                <a:gd name="T66" fmla="*/ 956 w 1107"/>
                <a:gd name="T67" fmla="*/ 91 h 897"/>
                <a:gd name="T68" fmla="*/ 940 w 1107"/>
                <a:gd name="T69" fmla="*/ 7 h 897"/>
                <a:gd name="T70" fmla="*/ 872 w 1107"/>
                <a:gd name="T71" fmla="*/ 50 h 897"/>
                <a:gd name="T72" fmla="*/ 836 w 1107"/>
                <a:gd name="T73" fmla="*/ 74 h 897"/>
                <a:gd name="T74" fmla="*/ 778 w 1107"/>
                <a:gd name="T75" fmla="*/ 35 h 897"/>
                <a:gd name="T76" fmla="*/ 728 w 1107"/>
                <a:gd name="T77" fmla="*/ 70 h 897"/>
                <a:gd name="T78" fmla="*/ 744 w 1107"/>
                <a:gd name="T79" fmla="*/ 136 h 897"/>
                <a:gd name="T80" fmla="*/ 703 w 1107"/>
                <a:gd name="T81" fmla="*/ 164 h 897"/>
                <a:gd name="T82" fmla="*/ 640 w 1107"/>
                <a:gd name="T83" fmla="*/ 203 h 897"/>
                <a:gd name="T84" fmla="*/ 710 w 1107"/>
                <a:gd name="T85" fmla="*/ 255 h 897"/>
                <a:gd name="T86" fmla="*/ 712 w 1107"/>
                <a:gd name="T87" fmla="*/ 277 h 897"/>
                <a:gd name="T88" fmla="*/ 668 w 1107"/>
                <a:gd name="T89" fmla="*/ 347 h 897"/>
                <a:gd name="T90" fmla="*/ 745 w 1107"/>
                <a:gd name="T91" fmla="*/ 361 h 897"/>
                <a:gd name="T92" fmla="*/ 791 w 1107"/>
                <a:gd name="T93" fmla="*/ 377 h 897"/>
                <a:gd name="T94" fmla="*/ 799 w 1107"/>
                <a:gd name="T95" fmla="*/ 443 h 897"/>
                <a:gd name="T96" fmla="*/ 859 w 1107"/>
                <a:gd name="T97" fmla="*/ 456 h 897"/>
                <a:gd name="T98" fmla="*/ 894 w 1107"/>
                <a:gd name="T99" fmla="*/ 393 h 897"/>
                <a:gd name="T100" fmla="*/ 941 w 1107"/>
                <a:gd name="T101" fmla="*/ 401 h 897"/>
                <a:gd name="T102" fmla="*/ 1018 w 1107"/>
                <a:gd name="T103" fmla="*/ 415 h 897"/>
                <a:gd name="T104" fmla="*/ 825 w 1107"/>
                <a:gd name="T105" fmla="*/ 164 h 897"/>
                <a:gd name="T106" fmla="*/ 803 w 1107"/>
                <a:gd name="T107" fmla="*/ 279 h 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107" h="897">
                  <a:moveTo>
                    <a:pt x="654" y="716"/>
                  </a:moveTo>
                  <a:cubicBezTo>
                    <a:pt x="616" y="670"/>
                    <a:pt x="616" y="670"/>
                    <a:pt x="616" y="670"/>
                  </a:cubicBezTo>
                  <a:cubicBezTo>
                    <a:pt x="593" y="654"/>
                    <a:pt x="603" y="638"/>
                    <a:pt x="600" y="625"/>
                  </a:cubicBezTo>
                  <a:cubicBezTo>
                    <a:pt x="600" y="625"/>
                    <a:pt x="600" y="625"/>
                    <a:pt x="600" y="625"/>
                  </a:cubicBezTo>
                  <a:cubicBezTo>
                    <a:pt x="605" y="617"/>
                    <a:pt x="611" y="609"/>
                    <a:pt x="608" y="596"/>
                  </a:cubicBezTo>
                  <a:cubicBezTo>
                    <a:pt x="618" y="580"/>
                    <a:pt x="623" y="572"/>
                    <a:pt x="649" y="567"/>
                  </a:cubicBezTo>
                  <a:cubicBezTo>
                    <a:pt x="715" y="553"/>
                    <a:pt x="715" y="553"/>
                    <a:pt x="715" y="553"/>
                  </a:cubicBezTo>
                  <a:cubicBezTo>
                    <a:pt x="728" y="550"/>
                    <a:pt x="733" y="542"/>
                    <a:pt x="730" y="529"/>
                  </a:cubicBezTo>
                  <a:cubicBezTo>
                    <a:pt x="727" y="482"/>
                    <a:pt x="727" y="482"/>
                    <a:pt x="727" y="482"/>
                  </a:cubicBezTo>
                  <a:cubicBezTo>
                    <a:pt x="724" y="469"/>
                    <a:pt x="717" y="463"/>
                    <a:pt x="701" y="453"/>
                  </a:cubicBezTo>
                  <a:cubicBezTo>
                    <a:pt x="641" y="459"/>
                    <a:pt x="641" y="459"/>
                    <a:pt x="641" y="459"/>
                  </a:cubicBezTo>
                  <a:cubicBezTo>
                    <a:pt x="620" y="457"/>
                    <a:pt x="604" y="447"/>
                    <a:pt x="601" y="434"/>
                  </a:cubicBezTo>
                  <a:cubicBezTo>
                    <a:pt x="598" y="421"/>
                    <a:pt x="590" y="416"/>
                    <a:pt x="580" y="397"/>
                  </a:cubicBezTo>
                  <a:cubicBezTo>
                    <a:pt x="577" y="384"/>
                    <a:pt x="574" y="371"/>
                    <a:pt x="584" y="355"/>
                  </a:cubicBezTo>
                  <a:cubicBezTo>
                    <a:pt x="628" y="305"/>
                    <a:pt x="628" y="305"/>
                    <a:pt x="628" y="305"/>
                  </a:cubicBezTo>
                  <a:cubicBezTo>
                    <a:pt x="634" y="297"/>
                    <a:pt x="631" y="284"/>
                    <a:pt x="623" y="279"/>
                  </a:cubicBezTo>
                  <a:cubicBezTo>
                    <a:pt x="581" y="240"/>
                    <a:pt x="581" y="240"/>
                    <a:pt x="581" y="240"/>
                  </a:cubicBezTo>
                  <a:cubicBezTo>
                    <a:pt x="573" y="235"/>
                    <a:pt x="560" y="238"/>
                    <a:pt x="547" y="240"/>
                  </a:cubicBezTo>
                  <a:cubicBezTo>
                    <a:pt x="503" y="291"/>
                    <a:pt x="503" y="291"/>
                    <a:pt x="503" y="291"/>
                  </a:cubicBezTo>
                  <a:cubicBezTo>
                    <a:pt x="484" y="302"/>
                    <a:pt x="471" y="304"/>
                    <a:pt x="463" y="299"/>
                  </a:cubicBezTo>
                  <a:cubicBezTo>
                    <a:pt x="456" y="294"/>
                    <a:pt x="435" y="292"/>
                    <a:pt x="427" y="287"/>
                  </a:cubicBezTo>
                  <a:cubicBezTo>
                    <a:pt x="419" y="282"/>
                    <a:pt x="403" y="271"/>
                    <a:pt x="400" y="258"/>
                  </a:cubicBezTo>
                  <a:cubicBezTo>
                    <a:pt x="386" y="193"/>
                    <a:pt x="386" y="193"/>
                    <a:pt x="386" y="193"/>
                  </a:cubicBezTo>
                  <a:cubicBezTo>
                    <a:pt x="384" y="180"/>
                    <a:pt x="368" y="170"/>
                    <a:pt x="368" y="170"/>
                  </a:cubicBezTo>
                  <a:cubicBezTo>
                    <a:pt x="308" y="176"/>
                    <a:pt x="308" y="176"/>
                    <a:pt x="308" y="176"/>
                  </a:cubicBezTo>
                  <a:cubicBezTo>
                    <a:pt x="308" y="176"/>
                    <a:pt x="289" y="187"/>
                    <a:pt x="292" y="200"/>
                  </a:cubicBezTo>
                  <a:cubicBezTo>
                    <a:pt x="285" y="263"/>
                    <a:pt x="285" y="263"/>
                    <a:pt x="285" y="263"/>
                  </a:cubicBezTo>
                  <a:cubicBezTo>
                    <a:pt x="291" y="289"/>
                    <a:pt x="277" y="292"/>
                    <a:pt x="272" y="300"/>
                  </a:cubicBezTo>
                  <a:cubicBezTo>
                    <a:pt x="272" y="300"/>
                    <a:pt x="272" y="300"/>
                    <a:pt x="267" y="308"/>
                  </a:cubicBezTo>
                  <a:cubicBezTo>
                    <a:pt x="259" y="302"/>
                    <a:pt x="246" y="305"/>
                    <a:pt x="241" y="313"/>
                  </a:cubicBezTo>
                  <a:cubicBezTo>
                    <a:pt x="236" y="321"/>
                    <a:pt x="236" y="321"/>
                    <a:pt x="236" y="321"/>
                  </a:cubicBezTo>
                  <a:cubicBezTo>
                    <a:pt x="223" y="324"/>
                    <a:pt x="210" y="327"/>
                    <a:pt x="194" y="317"/>
                  </a:cubicBezTo>
                  <a:cubicBezTo>
                    <a:pt x="139" y="281"/>
                    <a:pt x="139" y="281"/>
                    <a:pt x="139" y="281"/>
                  </a:cubicBezTo>
                  <a:cubicBezTo>
                    <a:pt x="131" y="276"/>
                    <a:pt x="110" y="273"/>
                    <a:pt x="104" y="281"/>
                  </a:cubicBezTo>
                  <a:cubicBezTo>
                    <a:pt x="79" y="321"/>
                    <a:pt x="79" y="321"/>
                    <a:pt x="79" y="321"/>
                  </a:cubicBezTo>
                  <a:cubicBezTo>
                    <a:pt x="66" y="324"/>
                    <a:pt x="68" y="337"/>
                    <a:pt x="79" y="355"/>
                  </a:cubicBezTo>
                  <a:cubicBezTo>
                    <a:pt x="121" y="394"/>
                    <a:pt x="121" y="394"/>
                    <a:pt x="121" y="394"/>
                  </a:cubicBezTo>
                  <a:cubicBezTo>
                    <a:pt x="140" y="417"/>
                    <a:pt x="135" y="425"/>
                    <a:pt x="132" y="446"/>
                  </a:cubicBezTo>
                  <a:cubicBezTo>
                    <a:pt x="132" y="446"/>
                    <a:pt x="132" y="446"/>
                    <a:pt x="132" y="446"/>
                  </a:cubicBezTo>
                  <a:cubicBezTo>
                    <a:pt x="127" y="454"/>
                    <a:pt x="122" y="462"/>
                    <a:pt x="117" y="470"/>
                  </a:cubicBezTo>
                  <a:cubicBezTo>
                    <a:pt x="117" y="470"/>
                    <a:pt x="117" y="470"/>
                    <a:pt x="117" y="470"/>
                  </a:cubicBezTo>
                  <a:cubicBezTo>
                    <a:pt x="120" y="483"/>
                    <a:pt x="109" y="499"/>
                    <a:pt x="83" y="505"/>
                  </a:cubicBezTo>
                  <a:cubicBezTo>
                    <a:pt x="23" y="511"/>
                    <a:pt x="23" y="511"/>
                    <a:pt x="23" y="511"/>
                  </a:cubicBezTo>
                  <a:cubicBezTo>
                    <a:pt x="10" y="514"/>
                    <a:pt x="0" y="529"/>
                    <a:pt x="2" y="543"/>
                  </a:cubicBezTo>
                  <a:cubicBezTo>
                    <a:pt x="5" y="590"/>
                    <a:pt x="5" y="590"/>
                    <a:pt x="5" y="590"/>
                  </a:cubicBezTo>
                  <a:cubicBezTo>
                    <a:pt x="8" y="603"/>
                    <a:pt x="16" y="608"/>
                    <a:pt x="37" y="610"/>
                  </a:cubicBezTo>
                  <a:cubicBezTo>
                    <a:pt x="92" y="612"/>
                    <a:pt x="92" y="612"/>
                    <a:pt x="92" y="612"/>
                  </a:cubicBezTo>
                  <a:cubicBezTo>
                    <a:pt x="113" y="614"/>
                    <a:pt x="129" y="625"/>
                    <a:pt x="132" y="638"/>
                  </a:cubicBezTo>
                  <a:cubicBezTo>
                    <a:pt x="132" y="638"/>
                    <a:pt x="132" y="638"/>
                    <a:pt x="132" y="638"/>
                  </a:cubicBezTo>
                  <a:cubicBezTo>
                    <a:pt x="140" y="643"/>
                    <a:pt x="142" y="656"/>
                    <a:pt x="150" y="661"/>
                  </a:cubicBezTo>
                  <a:cubicBezTo>
                    <a:pt x="145" y="669"/>
                    <a:pt x="145" y="669"/>
                    <a:pt x="145" y="669"/>
                  </a:cubicBezTo>
                  <a:cubicBezTo>
                    <a:pt x="153" y="674"/>
                    <a:pt x="156" y="687"/>
                    <a:pt x="140" y="711"/>
                  </a:cubicBezTo>
                  <a:cubicBezTo>
                    <a:pt x="109" y="759"/>
                    <a:pt x="109" y="759"/>
                    <a:pt x="109" y="759"/>
                  </a:cubicBezTo>
                  <a:cubicBezTo>
                    <a:pt x="99" y="775"/>
                    <a:pt x="102" y="788"/>
                    <a:pt x="110" y="793"/>
                  </a:cubicBezTo>
                  <a:cubicBezTo>
                    <a:pt x="152" y="832"/>
                    <a:pt x="152" y="832"/>
                    <a:pt x="152" y="832"/>
                  </a:cubicBezTo>
                  <a:cubicBezTo>
                    <a:pt x="160" y="837"/>
                    <a:pt x="173" y="834"/>
                    <a:pt x="178" y="826"/>
                  </a:cubicBezTo>
                  <a:cubicBezTo>
                    <a:pt x="230" y="781"/>
                    <a:pt x="230" y="781"/>
                    <a:pt x="230" y="781"/>
                  </a:cubicBezTo>
                  <a:cubicBezTo>
                    <a:pt x="248" y="770"/>
                    <a:pt x="261" y="767"/>
                    <a:pt x="269" y="772"/>
                  </a:cubicBezTo>
                  <a:cubicBezTo>
                    <a:pt x="269" y="772"/>
                    <a:pt x="269" y="772"/>
                    <a:pt x="269" y="772"/>
                  </a:cubicBezTo>
                  <a:cubicBezTo>
                    <a:pt x="282" y="769"/>
                    <a:pt x="298" y="779"/>
                    <a:pt x="306" y="785"/>
                  </a:cubicBezTo>
                  <a:cubicBezTo>
                    <a:pt x="306" y="785"/>
                    <a:pt x="306" y="785"/>
                    <a:pt x="306" y="785"/>
                  </a:cubicBezTo>
                  <a:cubicBezTo>
                    <a:pt x="319" y="782"/>
                    <a:pt x="327" y="787"/>
                    <a:pt x="332" y="813"/>
                  </a:cubicBezTo>
                  <a:cubicBezTo>
                    <a:pt x="346" y="878"/>
                    <a:pt x="346" y="878"/>
                    <a:pt x="346" y="878"/>
                  </a:cubicBezTo>
                  <a:cubicBezTo>
                    <a:pt x="349" y="892"/>
                    <a:pt x="357" y="897"/>
                    <a:pt x="370" y="894"/>
                  </a:cubicBezTo>
                  <a:cubicBezTo>
                    <a:pt x="425" y="896"/>
                    <a:pt x="425" y="896"/>
                    <a:pt x="425" y="896"/>
                  </a:cubicBezTo>
                  <a:cubicBezTo>
                    <a:pt x="430" y="888"/>
                    <a:pt x="443" y="885"/>
                    <a:pt x="440" y="872"/>
                  </a:cubicBezTo>
                  <a:cubicBezTo>
                    <a:pt x="440" y="804"/>
                    <a:pt x="440" y="804"/>
                    <a:pt x="440" y="804"/>
                  </a:cubicBezTo>
                  <a:cubicBezTo>
                    <a:pt x="442" y="783"/>
                    <a:pt x="460" y="772"/>
                    <a:pt x="466" y="764"/>
                  </a:cubicBezTo>
                  <a:cubicBezTo>
                    <a:pt x="466" y="764"/>
                    <a:pt x="466" y="764"/>
                    <a:pt x="466" y="764"/>
                  </a:cubicBezTo>
                  <a:cubicBezTo>
                    <a:pt x="479" y="761"/>
                    <a:pt x="492" y="758"/>
                    <a:pt x="497" y="750"/>
                  </a:cubicBezTo>
                  <a:cubicBezTo>
                    <a:pt x="497" y="750"/>
                    <a:pt x="497" y="750"/>
                    <a:pt x="497" y="750"/>
                  </a:cubicBezTo>
                  <a:cubicBezTo>
                    <a:pt x="510" y="747"/>
                    <a:pt x="523" y="745"/>
                    <a:pt x="539" y="755"/>
                  </a:cubicBezTo>
                  <a:cubicBezTo>
                    <a:pt x="594" y="791"/>
                    <a:pt x="594" y="791"/>
                    <a:pt x="594" y="791"/>
                  </a:cubicBezTo>
                  <a:cubicBezTo>
                    <a:pt x="602" y="796"/>
                    <a:pt x="623" y="798"/>
                    <a:pt x="628" y="790"/>
                  </a:cubicBezTo>
                  <a:cubicBezTo>
                    <a:pt x="659" y="743"/>
                    <a:pt x="659" y="743"/>
                    <a:pt x="659" y="743"/>
                  </a:cubicBezTo>
                  <a:cubicBezTo>
                    <a:pt x="659" y="743"/>
                    <a:pt x="669" y="727"/>
                    <a:pt x="654" y="716"/>
                  </a:cubicBezTo>
                  <a:close/>
                  <a:moveTo>
                    <a:pt x="281" y="633"/>
                  </a:moveTo>
                  <a:cubicBezTo>
                    <a:pt x="223" y="584"/>
                    <a:pt x="219" y="502"/>
                    <a:pt x="263" y="452"/>
                  </a:cubicBezTo>
                  <a:cubicBezTo>
                    <a:pt x="313" y="393"/>
                    <a:pt x="399" y="382"/>
                    <a:pt x="457" y="431"/>
                  </a:cubicBezTo>
                  <a:cubicBezTo>
                    <a:pt x="507" y="475"/>
                    <a:pt x="518" y="561"/>
                    <a:pt x="469" y="619"/>
                  </a:cubicBezTo>
                  <a:cubicBezTo>
                    <a:pt x="420" y="678"/>
                    <a:pt x="339" y="682"/>
                    <a:pt x="281" y="633"/>
                  </a:cubicBezTo>
                  <a:close/>
                  <a:moveTo>
                    <a:pt x="1019" y="398"/>
                  </a:moveTo>
                  <a:cubicBezTo>
                    <a:pt x="1004" y="362"/>
                    <a:pt x="1004" y="362"/>
                    <a:pt x="1004" y="362"/>
                  </a:cubicBezTo>
                  <a:cubicBezTo>
                    <a:pt x="992" y="348"/>
                    <a:pt x="1002" y="340"/>
                    <a:pt x="1002" y="332"/>
                  </a:cubicBezTo>
                  <a:cubicBezTo>
                    <a:pt x="1002" y="332"/>
                    <a:pt x="1002" y="332"/>
                    <a:pt x="1002" y="332"/>
                  </a:cubicBezTo>
                  <a:cubicBezTo>
                    <a:pt x="1007" y="328"/>
                    <a:pt x="1011" y="324"/>
                    <a:pt x="1012" y="315"/>
                  </a:cubicBezTo>
                  <a:cubicBezTo>
                    <a:pt x="1021" y="307"/>
                    <a:pt x="1026" y="303"/>
                    <a:pt x="1043" y="304"/>
                  </a:cubicBezTo>
                  <a:cubicBezTo>
                    <a:pt x="1086" y="307"/>
                    <a:pt x="1086" y="307"/>
                    <a:pt x="1086" y="307"/>
                  </a:cubicBezTo>
                  <a:cubicBezTo>
                    <a:pt x="1095" y="308"/>
                    <a:pt x="1099" y="304"/>
                    <a:pt x="1100" y="295"/>
                  </a:cubicBezTo>
                  <a:cubicBezTo>
                    <a:pt x="1107" y="266"/>
                    <a:pt x="1107" y="266"/>
                    <a:pt x="1107" y="266"/>
                  </a:cubicBezTo>
                  <a:cubicBezTo>
                    <a:pt x="1107" y="257"/>
                    <a:pt x="1103" y="252"/>
                    <a:pt x="1095" y="243"/>
                  </a:cubicBezTo>
                  <a:cubicBezTo>
                    <a:pt x="1057" y="236"/>
                    <a:pt x="1057" y="236"/>
                    <a:pt x="1057" y="236"/>
                  </a:cubicBezTo>
                  <a:cubicBezTo>
                    <a:pt x="1044" y="231"/>
                    <a:pt x="1036" y="222"/>
                    <a:pt x="1037" y="213"/>
                  </a:cubicBezTo>
                  <a:cubicBezTo>
                    <a:pt x="1038" y="205"/>
                    <a:pt x="1034" y="200"/>
                    <a:pt x="1030" y="187"/>
                  </a:cubicBezTo>
                  <a:cubicBezTo>
                    <a:pt x="1031" y="178"/>
                    <a:pt x="1032" y="170"/>
                    <a:pt x="1041" y="162"/>
                  </a:cubicBezTo>
                  <a:cubicBezTo>
                    <a:pt x="1077" y="138"/>
                    <a:pt x="1077" y="138"/>
                    <a:pt x="1077" y="138"/>
                  </a:cubicBezTo>
                  <a:cubicBezTo>
                    <a:pt x="1082" y="134"/>
                    <a:pt x="1083" y="126"/>
                    <a:pt x="1079" y="121"/>
                  </a:cubicBezTo>
                  <a:cubicBezTo>
                    <a:pt x="1059" y="89"/>
                    <a:pt x="1059" y="89"/>
                    <a:pt x="1059" y="89"/>
                  </a:cubicBezTo>
                  <a:cubicBezTo>
                    <a:pt x="1055" y="85"/>
                    <a:pt x="1047" y="84"/>
                    <a:pt x="1038" y="83"/>
                  </a:cubicBezTo>
                  <a:cubicBezTo>
                    <a:pt x="1002" y="107"/>
                    <a:pt x="1002" y="107"/>
                    <a:pt x="1002" y="107"/>
                  </a:cubicBezTo>
                  <a:cubicBezTo>
                    <a:pt x="989" y="110"/>
                    <a:pt x="980" y="110"/>
                    <a:pt x="976" y="105"/>
                  </a:cubicBezTo>
                  <a:cubicBezTo>
                    <a:pt x="972" y="100"/>
                    <a:pt x="960" y="95"/>
                    <a:pt x="956" y="91"/>
                  </a:cubicBezTo>
                  <a:cubicBezTo>
                    <a:pt x="952" y="86"/>
                    <a:pt x="944" y="77"/>
                    <a:pt x="944" y="68"/>
                  </a:cubicBezTo>
                  <a:cubicBezTo>
                    <a:pt x="948" y="25"/>
                    <a:pt x="948" y="25"/>
                    <a:pt x="948" y="25"/>
                  </a:cubicBezTo>
                  <a:cubicBezTo>
                    <a:pt x="948" y="17"/>
                    <a:pt x="940" y="7"/>
                    <a:pt x="940" y="7"/>
                  </a:cubicBezTo>
                  <a:cubicBezTo>
                    <a:pt x="902" y="0"/>
                    <a:pt x="902" y="0"/>
                    <a:pt x="902" y="0"/>
                  </a:cubicBezTo>
                  <a:cubicBezTo>
                    <a:pt x="902" y="0"/>
                    <a:pt x="889" y="4"/>
                    <a:pt x="888" y="12"/>
                  </a:cubicBezTo>
                  <a:cubicBezTo>
                    <a:pt x="872" y="50"/>
                    <a:pt x="872" y="50"/>
                    <a:pt x="872" y="50"/>
                  </a:cubicBezTo>
                  <a:cubicBezTo>
                    <a:pt x="871" y="67"/>
                    <a:pt x="862" y="67"/>
                    <a:pt x="858" y="71"/>
                  </a:cubicBezTo>
                  <a:cubicBezTo>
                    <a:pt x="858" y="71"/>
                    <a:pt x="858" y="71"/>
                    <a:pt x="853" y="75"/>
                  </a:cubicBezTo>
                  <a:cubicBezTo>
                    <a:pt x="849" y="70"/>
                    <a:pt x="840" y="70"/>
                    <a:pt x="836" y="74"/>
                  </a:cubicBezTo>
                  <a:cubicBezTo>
                    <a:pt x="831" y="78"/>
                    <a:pt x="831" y="78"/>
                    <a:pt x="831" y="78"/>
                  </a:cubicBezTo>
                  <a:cubicBezTo>
                    <a:pt x="822" y="77"/>
                    <a:pt x="814" y="76"/>
                    <a:pt x="806" y="67"/>
                  </a:cubicBezTo>
                  <a:cubicBezTo>
                    <a:pt x="778" y="35"/>
                    <a:pt x="778" y="35"/>
                    <a:pt x="778" y="35"/>
                  </a:cubicBezTo>
                  <a:cubicBezTo>
                    <a:pt x="774" y="30"/>
                    <a:pt x="762" y="25"/>
                    <a:pt x="757" y="29"/>
                  </a:cubicBezTo>
                  <a:cubicBezTo>
                    <a:pt x="734" y="49"/>
                    <a:pt x="734" y="49"/>
                    <a:pt x="734" y="49"/>
                  </a:cubicBezTo>
                  <a:cubicBezTo>
                    <a:pt x="725" y="49"/>
                    <a:pt x="725" y="57"/>
                    <a:pt x="728" y="70"/>
                  </a:cubicBezTo>
                  <a:cubicBezTo>
                    <a:pt x="747" y="102"/>
                    <a:pt x="747" y="102"/>
                    <a:pt x="747" y="102"/>
                  </a:cubicBezTo>
                  <a:cubicBezTo>
                    <a:pt x="754" y="120"/>
                    <a:pt x="750" y="124"/>
                    <a:pt x="744" y="136"/>
                  </a:cubicBezTo>
                  <a:cubicBezTo>
                    <a:pt x="744" y="136"/>
                    <a:pt x="744" y="136"/>
                    <a:pt x="744" y="136"/>
                  </a:cubicBezTo>
                  <a:cubicBezTo>
                    <a:pt x="740" y="140"/>
                    <a:pt x="735" y="144"/>
                    <a:pt x="731" y="148"/>
                  </a:cubicBezTo>
                  <a:cubicBezTo>
                    <a:pt x="731" y="148"/>
                    <a:pt x="731" y="148"/>
                    <a:pt x="731" y="148"/>
                  </a:cubicBezTo>
                  <a:cubicBezTo>
                    <a:pt x="730" y="157"/>
                    <a:pt x="721" y="165"/>
                    <a:pt x="703" y="164"/>
                  </a:cubicBezTo>
                  <a:cubicBezTo>
                    <a:pt x="665" y="157"/>
                    <a:pt x="665" y="157"/>
                    <a:pt x="665" y="157"/>
                  </a:cubicBezTo>
                  <a:cubicBezTo>
                    <a:pt x="656" y="156"/>
                    <a:pt x="647" y="164"/>
                    <a:pt x="647" y="173"/>
                  </a:cubicBezTo>
                  <a:cubicBezTo>
                    <a:pt x="640" y="203"/>
                    <a:pt x="640" y="203"/>
                    <a:pt x="640" y="203"/>
                  </a:cubicBezTo>
                  <a:cubicBezTo>
                    <a:pt x="639" y="211"/>
                    <a:pt x="643" y="216"/>
                    <a:pt x="656" y="221"/>
                  </a:cubicBezTo>
                  <a:cubicBezTo>
                    <a:pt x="690" y="232"/>
                    <a:pt x="690" y="232"/>
                    <a:pt x="690" y="232"/>
                  </a:cubicBezTo>
                  <a:cubicBezTo>
                    <a:pt x="702" y="237"/>
                    <a:pt x="710" y="246"/>
                    <a:pt x="710" y="255"/>
                  </a:cubicBezTo>
                  <a:cubicBezTo>
                    <a:pt x="710" y="255"/>
                    <a:pt x="710" y="255"/>
                    <a:pt x="710" y="255"/>
                  </a:cubicBezTo>
                  <a:cubicBezTo>
                    <a:pt x="714" y="260"/>
                    <a:pt x="713" y="268"/>
                    <a:pt x="717" y="273"/>
                  </a:cubicBezTo>
                  <a:cubicBezTo>
                    <a:pt x="712" y="277"/>
                    <a:pt x="712" y="277"/>
                    <a:pt x="712" y="277"/>
                  </a:cubicBezTo>
                  <a:cubicBezTo>
                    <a:pt x="716" y="281"/>
                    <a:pt x="716" y="290"/>
                    <a:pt x="702" y="302"/>
                  </a:cubicBezTo>
                  <a:cubicBezTo>
                    <a:pt x="674" y="326"/>
                    <a:pt x="674" y="326"/>
                    <a:pt x="674" y="326"/>
                  </a:cubicBezTo>
                  <a:cubicBezTo>
                    <a:pt x="665" y="334"/>
                    <a:pt x="664" y="343"/>
                    <a:pt x="668" y="347"/>
                  </a:cubicBezTo>
                  <a:cubicBezTo>
                    <a:pt x="687" y="379"/>
                    <a:pt x="687" y="379"/>
                    <a:pt x="687" y="379"/>
                  </a:cubicBezTo>
                  <a:cubicBezTo>
                    <a:pt x="691" y="383"/>
                    <a:pt x="700" y="384"/>
                    <a:pt x="704" y="380"/>
                  </a:cubicBezTo>
                  <a:cubicBezTo>
                    <a:pt x="745" y="361"/>
                    <a:pt x="745" y="361"/>
                    <a:pt x="745" y="361"/>
                  </a:cubicBezTo>
                  <a:cubicBezTo>
                    <a:pt x="758" y="358"/>
                    <a:pt x="767" y="358"/>
                    <a:pt x="771" y="363"/>
                  </a:cubicBezTo>
                  <a:cubicBezTo>
                    <a:pt x="771" y="363"/>
                    <a:pt x="771" y="363"/>
                    <a:pt x="771" y="363"/>
                  </a:cubicBezTo>
                  <a:cubicBezTo>
                    <a:pt x="779" y="364"/>
                    <a:pt x="787" y="373"/>
                    <a:pt x="791" y="377"/>
                  </a:cubicBezTo>
                  <a:cubicBezTo>
                    <a:pt x="791" y="377"/>
                    <a:pt x="791" y="377"/>
                    <a:pt x="791" y="377"/>
                  </a:cubicBezTo>
                  <a:cubicBezTo>
                    <a:pt x="800" y="378"/>
                    <a:pt x="804" y="383"/>
                    <a:pt x="802" y="400"/>
                  </a:cubicBezTo>
                  <a:cubicBezTo>
                    <a:pt x="799" y="443"/>
                    <a:pt x="799" y="443"/>
                    <a:pt x="799" y="443"/>
                  </a:cubicBezTo>
                  <a:cubicBezTo>
                    <a:pt x="798" y="451"/>
                    <a:pt x="802" y="456"/>
                    <a:pt x="811" y="457"/>
                  </a:cubicBezTo>
                  <a:cubicBezTo>
                    <a:pt x="845" y="468"/>
                    <a:pt x="845" y="468"/>
                    <a:pt x="845" y="468"/>
                  </a:cubicBezTo>
                  <a:cubicBezTo>
                    <a:pt x="849" y="464"/>
                    <a:pt x="858" y="464"/>
                    <a:pt x="859" y="456"/>
                  </a:cubicBezTo>
                  <a:cubicBezTo>
                    <a:pt x="871" y="413"/>
                    <a:pt x="871" y="413"/>
                    <a:pt x="871" y="413"/>
                  </a:cubicBezTo>
                  <a:cubicBezTo>
                    <a:pt x="876" y="401"/>
                    <a:pt x="889" y="397"/>
                    <a:pt x="894" y="393"/>
                  </a:cubicBezTo>
                  <a:cubicBezTo>
                    <a:pt x="894" y="393"/>
                    <a:pt x="894" y="393"/>
                    <a:pt x="894" y="393"/>
                  </a:cubicBezTo>
                  <a:cubicBezTo>
                    <a:pt x="902" y="394"/>
                    <a:pt x="911" y="395"/>
                    <a:pt x="916" y="391"/>
                  </a:cubicBezTo>
                  <a:cubicBezTo>
                    <a:pt x="916" y="391"/>
                    <a:pt x="916" y="391"/>
                    <a:pt x="916" y="391"/>
                  </a:cubicBezTo>
                  <a:cubicBezTo>
                    <a:pt x="924" y="391"/>
                    <a:pt x="933" y="392"/>
                    <a:pt x="941" y="401"/>
                  </a:cubicBezTo>
                  <a:cubicBezTo>
                    <a:pt x="969" y="433"/>
                    <a:pt x="969" y="433"/>
                    <a:pt x="969" y="433"/>
                  </a:cubicBezTo>
                  <a:cubicBezTo>
                    <a:pt x="973" y="438"/>
                    <a:pt x="985" y="443"/>
                    <a:pt x="990" y="439"/>
                  </a:cubicBezTo>
                  <a:cubicBezTo>
                    <a:pt x="1018" y="415"/>
                    <a:pt x="1018" y="415"/>
                    <a:pt x="1018" y="415"/>
                  </a:cubicBezTo>
                  <a:cubicBezTo>
                    <a:pt x="1018" y="415"/>
                    <a:pt x="1027" y="407"/>
                    <a:pt x="1019" y="398"/>
                  </a:cubicBezTo>
                  <a:close/>
                  <a:moveTo>
                    <a:pt x="803" y="279"/>
                  </a:moveTo>
                  <a:cubicBezTo>
                    <a:pt x="776" y="238"/>
                    <a:pt x="788" y="187"/>
                    <a:pt x="825" y="164"/>
                  </a:cubicBezTo>
                  <a:cubicBezTo>
                    <a:pt x="866" y="136"/>
                    <a:pt x="921" y="144"/>
                    <a:pt x="948" y="185"/>
                  </a:cubicBezTo>
                  <a:cubicBezTo>
                    <a:pt x="972" y="221"/>
                    <a:pt x="963" y="277"/>
                    <a:pt x="922" y="304"/>
                  </a:cubicBezTo>
                  <a:cubicBezTo>
                    <a:pt x="881" y="332"/>
                    <a:pt x="830" y="320"/>
                    <a:pt x="803" y="279"/>
                  </a:cubicBezTo>
                  <a:close/>
                </a:path>
              </a:pathLst>
            </a:custGeom>
            <a:solidFill>
              <a:schemeClr val="tx1"/>
            </a:solidFill>
            <a:ln>
              <a:noFill/>
            </a:ln>
          </p:spPr>
          <p:txBody>
            <a:bodyPr vert="horz" wrap="square" lIns="68574" tIns="34287" rIns="68574" bIns="34287"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17346"/>
                </a:solidFill>
                <a:effectLst/>
                <a:uLnTx/>
                <a:uFillTx/>
                <a:latin typeface="Segoe UI"/>
                <a:ea typeface="+mn-ea"/>
                <a:cs typeface="+mn-cs"/>
              </a:endParaRPr>
            </a:p>
          </p:txBody>
        </p:sp>
        <p:sp>
          <p:nvSpPr>
            <p:cNvPr id="88" name="Freeform 87"/>
            <p:cNvSpPr>
              <a:spLocks noChangeAspect="1"/>
            </p:cNvSpPr>
            <p:nvPr/>
          </p:nvSpPr>
          <p:spPr bwMode="black">
            <a:xfrm>
              <a:off x="776985" y="4213905"/>
              <a:ext cx="342871" cy="335728"/>
            </a:xfrm>
            <a:custGeom>
              <a:avLst/>
              <a:gdLst>
                <a:gd name="connsiteX0" fmla="*/ 3713863 w 4893730"/>
                <a:gd name="connsiteY0" fmla="*/ 2130808 h 4791777"/>
                <a:gd name="connsiteX1" fmla="*/ 4426142 w 4893730"/>
                <a:gd name="connsiteY1" fmla="*/ 2130808 h 4791777"/>
                <a:gd name="connsiteX2" fmla="*/ 4598071 w 4893730"/>
                <a:gd name="connsiteY2" fmla="*/ 2301547 h 4791777"/>
                <a:gd name="connsiteX3" fmla="*/ 4598071 w 4893730"/>
                <a:gd name="connsiteY3" fmla="*/ 3886978 h 4791777"/>
                <a:gd name="connsiteX4" fmla="*/ 4426142 w 4893730"/>
                <a:gd name="connsiteY4" fmla="*/ 4057717 h 4791777"/>
                <a:gd name="connsiteX5" fmla="*/ 3713863 w 4893730"/>
                <a:gd name="connsiteY5" fmla="*/ 4057717 h 4791777"/>
                <a:gd name="connsiteX6" fmla="*/ 3517372 w 4893730"/>
                <a:gd name="connsiteY6" fmla="*/ 3886978 h 4791777"/>
                <a:gd name="connsiteX7" fmla="*/ 3517372 w 4893730"/>
                <a:gd name="connsiteY7" fmla="*/ 2301547 h 4791777"/>
                <a:gd name="connsiteX8" fmla="*/ 3713863 w 4893730"/>
                <a:gd name="connsiteY8" fmla="*/ 2130808 h 4791777"/>
                <a:gd name="connsiteX9" fmla="*/ 904368 w 4893730"/>
                <a:gd name="connsiteY9" fmla="*/ 1223432 h 4791777"/>
                <a:gd name="connsiteX10" fmla="*/ 1609930 w 4893730"/>
                <a:gd name="connsiteY10" fmla="*/ 1223432 h 4791777"/>
                <a:gd name="connsiteX11" fmla="*/ 1804567 w 4893730"/>
                <a:gd name="connsiteY11" fmla="*/ 1394467 h 4791777"/>
                <a:gd name="connsiteX12" fmla="*/ 1804567 w 4893730"/>
                <a:gd name="connsiteY12" fmla="*/ 3886683 h 4791777"/>
                <a:gd name="connsiteX13" fmla="*/ 1609930 w 4893730"/>
                <a:gd name="connsiteY13" fmla="*/ 4057717 h 4791777"/>
                <a:gd name="connsiteX14" fmla="*/ 904368 w 4893730"/>
                <a:gd name="connsiteY14" fmla="*/ 4057717 h 4791777"/>
                <a:gd name="connsiteX15" fmla="*/ 734060 w 4893730"/>
                <a:gd name="connsiteY15" fmla="*/ 3886683 h 4791777"/>
                <a:gd name="connsiteX16" fmla="*/ 734060 w 4893730"/>
                <a:gd name="connsiteY16" fmla="*/ 1394467 h 4791777"/>
                <a:gd name="connsiteX17" fmla="*/ 904368 w 4893730"/>
                <a:gd name="connsiteY17" fmla="*/ 1223432 h 4791777"/>
                <a:gd name="connsiteX18" fmla="*/ 2325453 w 4893730"/>
                <a:gd name="connsiteY18" fmla="*/ 316050 h 4791777"/>
                <a:gd name="connsiteX19" fmla="*/ 3031014 w 4893730"/>
                <a:gd name="connsiteY19" fmla="*/ 316050 h 4791777"/>
                <a:gd name="connsiteX20" fmla="*/ 3201322 w 4893730"/>
                <a:gd name="connsiteY20" fmla="*/ 487238 h 4791777"/>
                <a:gd name="connsiteX21" fmla="*/ 3201322 w 4893730"/>
                <a:gd name="connsiteY21" fmla="*/ 3886530 h 4791777"/>
                <a:gd name="connsiteX22" fmla="*/ 3031014 w 4893730"/>
                <a:gd name="connsiteY22" fmla="*/ 4057717 h 4791777"/>
                <a:gd name="connsiteX23" fmla="*/ 2325453 w 4893730"/>
                <a:gd name="connsiteY23" fmla="*/ 4057717 h 4791777"/>
                <a:gd name="connsiteX24" fmla="*/ 2130815 w 4893730"/>
                <a:gd name="connsiteY24" fmla="*/ 3886530 h 4791777"/>
                <a:gd name="connsiteX25" fmla="*/ 2130815 w 4893730"/>
                <a:gd name="connsiteY25" fmla="*/ 487238 h 4791777"/>
                <a:gd name="connsiteX26" fmla="*/ 2325453 w 4893730"/>
                <a:gd name="connsiteY26" fmla="*/ 316050 h 4791777"/>
                <a:gd name="connsiteX27" fmla="*/ 269155 w 4893730"/>
                <a:gd name="connsiteY27" fmla="*/ 0 h 4791777"/>
                <a:gd name="connsiteX28" fmla="*/ 538311 w 4893730"/>
                <a:gd name="connsiteY28" fmla="*/ 268927 h 4791777"/>
                <a:gd name="connsiteX29" fmla="*/ 538311 w 4893730"/>
                <a:gd name="connsiteY29" fmla="*/ 4253925 h 4791777"/>
                <a:gd name="connsiteX30" fmla="*/ 4624575 w 4893730"/>
                <a:gd name="connsiteY30" fmla="*/ 4253925 h 4791777"/>
                <a:gd name="connsiteX31" fmla="*/ 4893730 w 4893730"/>
                <a:gd name="connsiteY31" fmla="*/ 4522851 h 4791777"/>
                <a:gd name="connsiteX32" fmla="*/ 4624575 w 4893730"/>
                <a:gd name="connsiteY32" fmla="*/ 4791777 h 4791777"/>
                <a:gd name="connsiteX33" fmla="*/ 269155 w 4893730"/>
                <a:gd name="connsiteY33" fmla="*/ 4791777 h 4791777"/>
                <a:gd name="connsiteX34" fmla="*/ 0 w 4893730"/>
                <a:gd name="connsiteY34" fmla="*/ 4522851 h 4791777"/>
                <a:gd name="connsiteX35" fmla="*/ 0 w 4893730"/>
                <a:gd name="connsiteY35" fmla="*/ 268927 h 4791777"/>
                <a:gd name="connsiteX36" fmla="*/ 269155 w 4893730"/>
                <a:gd name="connsiteY36" fmla="*/ 0 h 4791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4893730" h="4791777">
                  <a:moveTo>
                    <a:pt x="3713863" y="2130808"/>
                  </a:moveTo>
                  <a:cubicBezTo>
                    <a:pt x="3713863" y="2130808"/>
                    <a:pt x="3713863" y="2130808"/>
                    <a:pt x="4426142" y="2130808"/>
                  </a:cubicBezTo>
                  <a:cubicBezTo>
                    <a:pt x="4524387" y="2130808"/>
                    <a:pt x="4598071" y="2203982"/>
                    <a:pt x="4598071" y="2301547"/>
                  </a:cubicBezTo>
                  <a:cubicBezTo>
                    <a:pt x="4598071" y="2301547"/>
                    <a:pt x="4598071" y="2301547"/>
                    <a:pt x="4598071" y="3886978"/>
                  </a:cubicBezTo>
                  <a:cubicBezTo>
                    <a:pt x="4598071" y="3984543"/>
                    <a:pt x="4524387" y="4057717"/>
                    <a:pt x="4426142" y="4057717"/>
                  </a:cubicBezTo>
                  <a:cubicBezTo>
                    <a:pt x="4426142" y="4057717"/>
                    <a:pt x="4426142" y="4057717"/>
                    <a:pt x="3713863" y="4057717"/>
                  </a:cubicBezTo>
                  <a:cubicBezTo>
                    <a:pt x="3615618" y="4057717"/>
                    <a:pt x="3517372" y="3984543"/>
                    <a:pt x="3517372" y="3886978"/>
                  </a:cubicBezTo>
                  <a:cubicBezTo>
                    <a:pt x="3517372" y="3886978"/>
                    <a:pt x="3517372" y="3886978"/>
                    <a:pt x="3517372" y="2301547"/>
                  </a:cubicBezTo>
                  <a:cubicBezTo>
                    <a:pt x="3517372" y="2203982"/>
                    <a:pt x="3615618" y="2130808"/>
                    <a:pt x="3713863" y="2130808"/>
                  </a:cubicBezTo>
                  <a:close/>
                  <a:moveTo>
                    <a:pt x="904368" y="1223432"/>
                  </a:moveTo>
                  <a:cubicBezTo>
                    <a:pt x="904368" y="1223432"/>
                    <a:pt x="904368" y="1223432"/>
                    <a:pt x="1609930" y="1223432"/>
                  </a:cubicBezTo>
                  <a:cubicBezTo>
                    <a:pt x="1731578" y="1223432"/>
                    <a:pt x="1804567" y="1296733"/>
                    <a:pt x="1804567" y="1394467"/>
                  </a:cubicBezTo>
                  <a:cubicBezTo>
                    <a:pt x="1804567" y="1394467"/>
                    <a:pt x="1804567" y="1394467"/>
                    <a:pt x="1804567" y="3886683"/>
                  </a:cubicBezTo>
                  <a:cubicBezTo>
                    <a:pt x="1804567" y="3984417"/>
                    <a:pt x="1731578" y="4057717"/>
                    <a:pt x="1609930" y="4057717"/>
                  </a:cubicBezTo>
                  <a:cubicBezTo>
                    <a:pt x="1609930" y="4057717"/>
                    <a:pt x="1609930" y="4057717"/>
                    <a:pt x="904368" y="4057717"/>
                  </a:cubicBezTo>
                  <a:cubicBezTo>
                    <a:pt x="807049" y="4057717"/>
                    <a:pt x="734060" y="3984417"/>
                    <a:pt x="734060" y="3886683"/>
                  </a:cubicBezTo>
                  <a:cubicBezTo>
                    <a:pt x="734060" y="3886683"/>
                    <a:pt x="734060" y="3886683"/>
                    <a:pt x="734060" y="1394467"/>
                  </a:cubicBezTo>
                  <a:cubicBezTo>
                    <a:pt x="734060" y="1296733"/>
                    <a:pt x="807049" y="1223432"/>
                    <a:pt x="904368" y="1223432"/>
                  </a:cubicBezTo>
                  <a:close/>
                  <a:moveTo>
                    <a:pt x="2325453" y="316050"/>
                  </a:moveTo>
                  <a:cubicBezTo>
                    <a:pt x="2325453" y="316050"/>
                    <a:pt x="2325453" y="316050"/>
                    <a:pt x="3031014" y="316050"/>
                  </a:cubicBezTo>
                  <a:cubicBezTo>
                    <a:pt x="3128333" y="316050"/>
                    <a:pt x="3201322" y="389416"/>
                    <a:pt x="3201322" y="487238"/>
                  </a:cubicBezTo>
                  <a:cubicBezTo>
                    <a:pt x="3201322" y="487238"/>
                    <a:pt x="3201322" y="487238"/>
                    <a:pt x="3201322" y="3886530"/>
                  </a:cubicBezTo>
                  <a:cubicBezTo>
                    <a:pt x="3201322" y="3984351"/>
                    <a:pt x="3128333" y="4057717"/>
                    <a:pt x="3031014" y="4057717"/>
                  </a:cubicBezTo>
                  <a:cubicBezTo>
                    <a:pt x="3031014" y="4057717"/>
                    <a:pt x="3031014" y="4057717"/>
                    <a:pt x="2325453" y="4057717"/>
                  </a:cubicBezTo>
                  <a:cubicBezTo>
                    <a:pt x="2203804" y="4057717"/>
                    <a:pt x="2130815" y="3984351"/>
                    <a:pt x="2130815" y="3886530"/>
                  </a:cubicBezTo>
                  <a:cubicBezTo>
                    <a:pt x="2130815" y="3886530"/>
                    <a:pt x="2130815" y="3886530"/>
                    <a:pt x="2130815" y="487238"/>
                  </a:cubicBezTo>
                  <a:cubicBezTo>
                    <a:pt x="2130815" y="389416"/>
                    <a:pt x="2203804" y="316050"/>
                    <a:pt x="2325453" y="316050"/>
                  </a:cubicBezTo>
                  <a:close/>
                  <a:moveTo>
                    <a:pt x="269155" y="0"/>
                  </a:moveTo>
                  <a:cubicBezTo>
                    <a:pt x="415967" y="0"/>
                    <a:pt x="538311" y="122239"/>
                    <a:pt x="538311" y="268927"/>
                  </a:cubicBezTo>
                  <a:cubicBezTo>
                    <a:pt x="538311" y="268927"/>
                    <a:pt x="538311" y="268927"/>
                    <a:pt x="538311" y="4253925"/>
                  </a:cubicBezTo>
                  <a:cubicBezTo>
                    <a:pt x="538311" y="4253925"/>
                    <a:pt x="538311" y="4253925"/>
                    <a:pt x="4624575" y="4253925"/>
                  </a:cubicBezTo>
                  <a:cubicBezTo>
                    <a:pt x="4771387" y="4253925"/>
                    <a:pt x="4893730" y="4376164"/>
                    <a:pt x="4893730" y="4522851"/>
                  </a:cubicBezTo>
                  <a:cubicBezTo>
                    <a:pt x="4893730" y="4669538"/>
                    <a:pt x="4771387" y="4791777"/>
                    <a:pt x="4624575" y="4791777"/>
                  </a:cubicBezTo>
                  <a:cubicBezTo>
                    <a:pt x="4624575" y="4791777"/>
                    <a:pt x="4624575" y="4791777"/>
                    <a:pt x="269155" y="4791777"/>
                  </a:cubicBezTo>
                  <a:cubicBezTo>
                    <a:pt x="122344" y="4791777"/>
                    <a:pt x="0" y="4669538"/>
                    <a:pt x="0" y="4522851"/>
                  </a:cubicBezTo>
                  <a:cubicBezTo>
                    <a:pt x="0" y="4522851"/>
                    <a:pt x="0" y="4522851"/>
                    <a:pt x="0" y="268927"/>
                  </a:cubicBezTo>
                  <a:cubicBezTo>
                    <a:pt x="0" y="122239"/>
                    <a:pt x="122344" y="0"/>
                    <a:pt x="269155"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37148" tIns="109719" rIns="137148" bIns="109719"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699261"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9" name="Rectangle 88"/>
            <p:cNvSpPr/>
            <p:nvPr/>
          </p:nvSpPr>
          <p:spPr bwMode="auto">
            <a:xfrm rot="2745734">
              <a:off x="279530" y="1141266"/>
              <a:ext cx="1260714" cy="1255193"/>
            </a:xfrm>
            <a:prstGeom prst="rect">
              <a:avLst/>
            </a:prstGeom>
            <a:solidFill>
              <a:schemeClr val="tx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0" name="Rectangle 89"/>
            <p:cNvSpPr/>
            <p:nvPr/>
          </p:nvSpPr>
          <p:spPr bwMode="auto">
            <a:xfrm rot="2745734">
              <a:off x="292433" y="3819160"/>
              <a:ext cx="1610349" cy="1235003"/>
            </a:xfrm>
            <a:prstGeom prst="rect">
              <a:avLst/>
            </a:prstGeom>
            <a:solidFill>
              <a:schemeClr val="tx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2" name="Rectangle 91"/>
            <p:cNvSpPr/>
            <p:nvPr/>
          </p:nvSpPr>
          <p:spPr bwMode="auto">
            <a:xfrm rot="2745734">
              <a:off x="1315610" y="4915701"/>
              <a:ext cx="1263370" cy="1255989"/>
            </a:xfrm>
            <a:prstGeom prst="rect">
              <a:avLst/>
            </a:prstGeom>
            <a:solidFill>
              <a:schemeClr val="tx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40" name="TextBox 39"/>
          <p:cNvSpPr txBox="1"/>
          <p:nvPr/>
        </p:nvSpPr>
        <p:spPr>
          <a:xfrm>
            <a:off x="3" y="51415"/>
            <a:ext cx="2849058" cy="430887"/>
          </a:xfrm>
          <a:prstGeom prst="rect">
            <a:avLst/>
          </a:prstGeom>
        </p:spPr>
        <p:txBody>
          <a:bodyPr wrap="square">
            <a:spAutoFit/>
          </a:bodyPr>
          <a:lstStyle>
            <a:defPPr>
              <a:defRPr lang="en-US"/>
            </a:defPPr>
            <a:lvl1pPr defTabSz="914192">
              <a:defRPr sz="2800" b="1" spc="-100">
                <a:ln w="3175">
                  <a:noFill/>
                </a:ln>
                <a:solidFill>
                  <a:srgbClr val="F2C812"/>
                </a:solidFill>
                <a:latin typeface="Segoe UI" panose="020B0502040204020203" pitchFamily="34" charset="0"/>
                <a:ea typeface="ＭＳ Ｐゴシック" charset="0"/>
                <a:cs typeface="Segoe UI" panose="020B0502040204020203" pitchFamily="34" charset="0"/>
              </a:defRPr>
            </a:lvl1pPr>
          </a:lstStyle>
          <a:p>
            <a:pPr marL="0" marR="0" lvl="0" indent="0" algn="l" defTabSz="914192" rtl="0" eaLnBrk="1" fontAlgn="auto" latinLnBrk="0" hangingPunct="1">
              <a:lnSpc>
                <a:spcPct val="100000"/>
              </a:lnSpc>
              <a:spcBef>
                <a:spcPts val="0"/>
              </a:spcBef>
              <a:spcAft>
                <a:spcPts val="0"/>
              </a:spcAft>
              <a:buClrTx/>
              <a:buSzTx/>
              <a:buFontTx/>
              <a:buNone/>
              <a:tabLst/>
              <a:defRPr/>
            </a:pPr>
            <a:r>
              <a:rPr kumimoji="0" lang="en-US" sz="2200" b="1" i="0" u="none" strike="noStrike" kern="1200" cap="none" spc="-100" normalizeH="0" baseline="0" noProof="0">
                <a:ln w="3175">
                  <a:noFill/>
                </a:ln>
                <a:solidFill>
                  <a:srgbClr val="F2C812"/>
                </a:solidFill>
                <a:effectLst/>
                <a:uLnTx/>
                <a:uFillTx/>
                <a:latin typeface="Segoe UI Light"/>
                <a:ea typeface="ＭＳ Ｐゴシック" charset="0"/>
                <a:cs typeface="Segoe UI" panose="020B0502040204020203" pitchFamily="34" charset="0"/>
              </a:rPr>
              <a:t>Power BI Desktop</a:t>
            </a:r>
          </a:p>
        </p:txBody>
      </p:sp>
      <p:sp>
        <p:nvSpPr>
          <p:cNvPr id="41" name="Rectangle 40"/>
          <p:cNvSpPr/>
          <p:nvPr/>
        </p:nvSpPr>
        <p:spPr bwMode="auto">
          <a:xfrm rot="2745734">
            <a:off x="825067" y="3494250"/>
            <a:ext cx="1260714" cy="370170"/>
          </a:xfrm>
          <a:prstGeom prst="rect">
            <a:avLst/>
          </a:prstGeom>
          <a:solidFill>
            <a:schemeClr val="tx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4" name="Picture 3"/>
          <p:cNvPicPr>
            <a:picLocks noChangeAspect="1"/>
          </p:cNvPicPr>
          <p:nvPr/>
        </p:nvPicPr>
        <p:blipFill>
          <a:blip r:embed="rId3"/>
          <a:stretch>
            <a:fillRect/>
          </a:stretch>
        </p:blipFill>
        <p:spPr>
          <a:xfrm>
            <a:off x="3562271" y="1720638"/>
            <a:ext cx="7916517" cy="4056397"/>
          </a:xfrm>
          <a:prstGeom prst="rect">
            <a:avLst/>
          </a:prstGeom>
          <a:ln>
            <a:noFill/>
          </a:ln>
          <a:effectLst>
            <a:outerShdw blurRad="190500" algn="tl" rotWithShape="0">
              <a:srgbClr val="000000">
                <a:alpha val="70000"/>
              </a:srgbClr>
            </a:outerShdw>
          </a:effectLst>
        </p:spPr>
      </p:pic>
      <p:pic>
        <p:nvPicPr>
          <p:cNvPr id="3" name="Picture 2"/>
          <p:cNvPicPr>
            <a:picLocks noChangeAspect="1"/>
          </p:cNvPicPr>
          <p:nvPr/>
        </p:nvPicPr>
        <p:blipFill>
          <a:blip r:embed="rId4">
            <a:extLst>
              <a:ext uri="{BEBA8EAE-BF5A-486C-A8C5-ECC9F3942E4B}">
                <a14:imgProps xmlns:a14="http://schemas.microsoft.com/office/drawing/2010/main">
                  <a14:imgLayer r:embed="rId5">
                    <a14:imgEffect>
                      <a14:saturation sat="0"/>
                    </a14:imgEffect>
                  </a14:imgLayer>
                </a14:imgProps>
              </a:ext>
            </a:extLst>
          </a:blip>
          <a:stretch>
            <a:fillRect/>
          </a:stretch>
        </p:blipFill>
        <p:spPr>
          <a:xfrm>
            <a:off x="9281698" y="4786715"/>
            <a:ext cx="2752725" cy="1885950"/>
          </a:xfrm>
          <a:prstGeom prst="rect">
            <a:avLst/>
          </a:prstGeom>
        </p:spPr>
      </p:pic>
    </p:spTree>
    <p:extLst>
      <p:ext uri="{BB962C8B-B14F-4D97-AF65-F5344CB8AC3E}">
        <p14:creationId xmlns:p14="http://schemas.microsoft.com/office/powerpoint/2010/main" val="38079633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solidFill>
            <a:schemeClr val="bg1"/>
          </a:solidFill>
        </p:spPr>
        <p:txBody>
          <a:bodyPr/>
          <a:lstStyle/>
          <a:p>
            <a:r>
              <a:rPr lang="pt-PT">
                <a:solidFill>
                  <a:schemeClr val="tx1"/>
                </a:solidFill>
              </a:rPr>
              <a:t>Visualisations - </a:t>
            </a:r>
            <a:r>
              <a:rPr lang="en-US">
                <a:solidFill>
                  <a:schemeClr val="tx1"/>
                </a:solidFill>
              </a:rPr>
              <a:t>Area Chart</a:t>
            </a:r>
            <a:endParaRPr lang="en-US" sz="3600">
              <a:solidFill>
                <a:schemeClr val="tx1"/>
              </a:solidFill>
            </a:endParaRPr>
          </a:p>
        </p:txBody>
      </p:sp>
      <p:grpSp>
        <p:nvGrpSpPr>
          <p:cNvPr id="52" name="Group 51"/>
          <p:cNvGrpSpPr/>
          <p:nvPr/>
        </p:nvGrpSpPr>
        <p:grpSpPr>
          <a:xfrm>
            <a:off x="2" y="1"/>
            <a:ext cx="2849058" cy="6858000"/>
            <a:chOff x="2" y="1"/>
            <a:chExt cx="2849058" cy="6858000"/>
          </a:xfrm>
        </p:grpSpPr>
        <p:sp>
          <p:nvSpPr>
            <p:cNvPr id="71" name="Rectangle 70"/>
            <p:cNvSpPr/>
            <p:nvPr/>
          </p:nvSpPr>
          <p:spPr bwMode="auto">
            <a:xfrm>
              <a:off x="2" y="1"/>
              <a:ext cx="2849058"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3" name="Oval 70"/>
            <p:cNvSpPr/>
            <p:nvPr/>
          </p:nvSpPr>
          <p:spPr>
            <a:xfrm>
              <a:off x="1413521" y="4951537"/>
              <a:ext cx="1119626" cy="1119626"/>
            </a:xfrm>
            <a:prstGeom prst="ellipse">
              <a:avLst/>
            </a:prstGeom>
            <a:solidFill>
              <a:srgbClr val="F2C812"/>
            </a:solidFill>
            <a:ln w="3175" cap="flat" cmpd="sng" algn="ctr">
              <a:noFill/>
              <a:prstDash val="solid"/>
            </a:ln>
            <a:effectLst/>
          </p:spPr>
          <p:txBody>
            <a:bodyPr vert="horz" wrap="none" lIns="0" tIns="45720" rIns="0" bIns="0" rtlCol="0" anchor="t"/>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Segoe UI"/>
                  <a:ea typeface="Segoe UI" pitchFamily="34" charset="0"/>
                  <a:cs typeface="Segoe UI" pitchFamily="34" charset="0"/>
                </a:rPr>
                <a:t>Share &amp;</a:t>
              </a:r>
            </a:p>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Segoe UI"/>
                  <a:ea typeface="Segoe UI" pitchFamily="34" charset="0"/>
                  <a:cs typeface="Segoe UI" pitchFamily="34" charset="0"/>
                </a:rPr>
                <a:t>collaborate </a:t>
              </a:r>
            </a:p>
          </p:txBody>
        </p:sp>
        <p:grpSp>
          <p:nvGrpSpPr>
            <p:cNvPr id="76" name="Group 38"/>
            <p:cNvGrpSpPr>
              <a:grpSpLocks noChangeAspect="1"/>
            </p:cNvGrpSpPr>
            <p:nvPr/>
          </p:nvGrpSpPr>
          <p:grpSpPr>
            <a:xfrm>
              <a:off x="676996" y="3930692"/>
              <a:ext cx="383905" cy="351536"/>
              <a:chOff x="4363684" y="5330386"/>
              <a:chExt cx="1409956" cy="1291077"/>
            </a:xfrm>
            <a:solidFill>
              <a:srgbClr val="217346"/>
            </a:solidFill>
          </p:grpSpPr>
          <p:sp>
            <p:nvSpPr>
              <p:cNvPr id="102" name="Donut 3"/>
              <p:cNvSpPr/>
              <p:nvPr/>
            </p:nvSpPr>
            <p:spPr bwMode="auto">
              <a:xfrm>
                <a:off x="4363684" y="5330386"/>
                <a:ext cx="1409956" cy="1291077"/>
              </a:xfrm>
              <a:custGeom>
                <a:avLst/>
                <a:gdLst/>
                <a:ahLst/>
                <a:cxnLst/>
                <a:rect l="l" t="t" r="r" b="b"/>
                <a:pathLst>
                  <a:path w="1409956" h="1291077">
                    <a:moveTo>
                      <a:pt x="956401" y="78410"/>
                    </a:moveTo>
                    <a:cubicBezTo>
                      <a:pt x="747518" y="78410"/>
                      <a:pt x="578184" y="247744"/>
                      <a:pt x="578184" y="456627"/>
                    </a:cubicBezTo>
                    <a:cubicBezTo>
                      <a:pt x="578184" y="665510"/>
                      <a:pt x="747518" y="834844"/>
                      <a:pt x="956401" y="834844"/>
                    </a:cubicBezTo>
                    <a:cubicBezTo>
                      <a:pt x="1165284" y="834844"/>
                      <a:pt x="1334618" y="665510"/>
                      <a:pt x="1334618" y="456627"/>
                    </a:cubicBezTo>
                    <a:cubicBezTo>
                      <a:pt x="1334618" y="247744"/>
                      <a:pt x="1165284" y="78410"/>
                      <a:pt x="956401" y="78410"/>
                    </a:cubicBezTo>
                    <a:close/>
                    <a:moveTo>
                      <a:pt x="952756" y="0"/>
                    </a:moveTo>
                    <a:cubicBezTo>
                      <a:pt x="1205261" y="0"/>
                      <a:pt x="1409956" y="204695"/>
                      <a:pt x="1409956" y="457200"/>
                    </a:cubicBezTo>
                    <a:cubicBezTo>
                      <a:pt x="1409956" y="709705"/>
                      <a:pt x="1205261" y="914400"/>
                      <a:pt x="952756" y="914400"/>
                    </a:cubicBezTo>
                    <a:cubicBezTo>
                      <a:pt x="862133" y="914400"/>
                      <a:pt x="777669" y="888034"/>
                      <a:pt x="707132" y="841746"/>
                    </a:cubicBezTo>
                    <a:lnTo>
                      <a:pt x="136495" y="1280102"/>
                    </a:lnTo>
                    <a:cubicBezTo>
                      <a:pt x="21896" y="1327168"/>
                      <a:pt x="-44029" y="1213730"/>
                      <a:pt x="33797" y="1113182"/>
                    </a:cubicBezTo>
                    <a:lnTo>
                      <a:pt x="568587" y="703518"/>
                    </a:lnTo>
                    <a:cubicBezTo>
                      <a:pt x="522087" y="632814"/>
                      <a:pt x="495556" y="548105"/>
                      <a:pt x="495556" y="457200"/>
                    </a:cubicBezTo>
                    <a:cubicBezTo>
                      <a:pt x="495556" y="204695"/>
                      <a:pt x="700251" y="0"/>
                      <a:pt x="952756" y="0"/>
                    </a:cubicBezTo>
                    <a:close/>
                  </a:path>
                </a:pathLst>
              </a:custGeom>
              <a:grpFill/>
              <a:ln>
                <a:solidFill>
                  <a:srgbClr val="21734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sp>
            <p:nvSpPr>
              <p:cNvPr id="103" name="Rectangle 4"/>
              <p:cNvSpPr/>
              <p:nvPr/>
            </p:nvSpPr>
            <p:spPr>
              <a:xfrm>
                <a:off x="5058389" y="5528247"/>
                <a:ext cx="490885" cy="490020"/>
              </a:xfrm>
              <a:custGeom>
                <a:avLst/>
                <a:gdLst/>
                <a:ahLst/>
                <a:cxnLst/>
                <a:rect l="l" t="t" r="r" b="b"/>
                <a:pathLst>
                  <a:path w="490885" h="490020">
                    <a:moveTo>
                      <a:pt x="240752" y="0"/>
                    </a:moveTo>
                    <a:cubicBezTo>
                      <a:pt x="253961" y="11844"/>
                      <a:pt x="293310" y="49692"/>
                      <a:pt x="337332" y="92439"/>
                    </a:cubicBezTo>
                    <a:lnTo>
                      <a:pt x="328342" y="81259"/>
                    </a:lnTo>
                    <a:cubicBezTo>
                      <a:pt x="356946" y="111282"/>
                      <a:pt x="377251" y="107167"/>
                      <a:pt x="382515" y="87941"/>
                    </a:cubicBezTo>
                    <a:cubicBezTo>
                      <a:pt x="383951" y="76921"/>
                      <a:pt x="384595" y="68732"/>
                      <a:pt x="396997" y="52239"/>
                    </a:cubicBezTo>
                    <a:cubicBezTo>
                      <a:pt x="420362" y="32084"/>
                      <a:pt x="442294" y="41736"/>
                      <a:pt x="454920" y="51330"/>
                    </a:cubicBezTo>
                    <a:cubicBezTo>
                      <a:pt x="467834" y="62761"/>
                      <a:pt x="477920" y="86882"/>
                      <a:pt x="460392" y="109714"/>
                    </a:cubicBezTo>
                    <a:cubicBezTo>
                      <a:pt x="451128" y="121912"/>
                      <a:pt x="437554" y="126838"/>
                      <a:pt x="425922" y="126505"/>
                    </a:cubicBezTo>
                    <a:cubicBezTo>
                      <a:pt x="424301" y="127609"/>
                      <a:pt x="382890" y="134974"/>
                      <a:pt x="427348" y="177672"/>
                    </a:cubicBezTo>
                    <a:lnTo>
                      <a:pt x="416886" y="169735"/>
                    </a:lnTo>
                    <a:cubicBezTo>
                      <a:pt x="450207" y="202177"/>
                      <a:pt x="478424" y="229744"/>
                      <a:pt x="490885" y="241900"/>
                    </a:cubicBezTo>
                    <a:lnTo>
                      <a:pt x="417150" y="317347"/>
                    </a:lnTo>
                    <a:cubicBezTo>
                      <a:pt x="417744" y="316535"/>
                      <a:pt x="418443" y="316123"/>
                      <a:pt x="419047" y="315822"/>
                    </a:cubicBezTo>
                    <a:cubicBezTo>
                      <a:pt x="389023" y="344426"/>
                      <a:pt x="393138" y="364731"/>
                      <a:pt x="412364" y="369995"/>
                    </a:cubicBezTo>
                    <a:cubicBezTo>
                      <a:pt x="423384" y="371431"/>
                      <a:pt x="431574" y="372075"/>
                      <a:pt x="448067" y="384477"/>
                    </a:cubicBezTo>
                    <a:cubicBezTo>
                      <a:pt x="468221" y="407842"/>
                      <a:pt x="458569" y="429774"/>
                      <a:pt x="448975" y="442400"/>
                    </a:cubicBezTo>
                    <a:cubicBezTo>
                      <a:pt x="437545" y="455314"/>
                      <a:pt x="413423" y="465400"/>
                      <a:pt x="390591" y="447872"/>
                    </a:cubicBezTo>
                    <a:cubicBezTo>
                      <a:pt x="378394" y="438608"/>
                      <a:pt x="373468" y="425034"/>
                      <a:pt x="373800" y="413402"/>
                    </a:cubicBezTo>
                    <a:cubicBezTo>
                      <a:pt x="372696" y="411781"/>
                      <a:pt x="365332" y="370370"/>
                      <a:pt x="322634" y="414828"/>
                    </a:cubicBezTo>
                    <a:lnTo>
                      <a:pt x="325243" y="411388"/>
                    </a:lnTo>
                    <a:lnTo>
                      <a:pt x="248395" y="490020"/>
                    </a:lnTo>
                    <a:cubicBezTo>
                      <a:pt x="208939" y="451897"/>
                      <a:pt x="199129" y="442073"/>
                      <a:pt x="174192" y="418236"/>
                    </a:cubicBezTo>
                    <a:cubicBezTo>
                      <a:pt x="145587" y="388212"/>
                      <a:pt x="125282" y="392327"/>
                      <a:pt x="120018" y="411553"/>
                    </a:cubicBezTo>
                    <a:cubicBezTo>
                      <a:pt x="118582" y="422573"/>
                      <a:pt x="117938" y="430763"/>
                      <a:pt x="105536" y="447256"/>
                    </a:cubicBezTo>
                    <a:cubicBezTo>
                      <a:pt x="82171" y="467410"/>
                      <a:pt x="60239" y="457758"/>
                      <a:pt x="47614" y="448164"/>
                    </a:cubicBezTo>
                    <a:cubicBezTo>
                      <a:pt x="34699" y="436734"/>
                      <a:pt x="24614" y="412612"/>
                      <a:pt x="42141" y="389780"/>
                    </a:cubicBezTo>
                    <a:cubicBezTo>
                      <a:pt x="51405" y="377583"/>
                      <a:pt x="64979" y="372657"/>
                      <a:pt x="76612" y="372989"/>
                    </a:cubicBezTo>
                    <a:cubicBezTo>
                      <a:pt x="78232" y="371886"/>
                      <a:pt x="119644" y="364521"/>
                      <a:pt x="75186" y="321823"/>
                    </a:cubicBezTo>
                    <a:cubicBezTo>
                      <a:pt x="58767" y="305402"/>
                      <a:pt x="23648" y="271235"/>
                      <a:pt x="0" y="248738"/>
                    </a:cubicBezTo>
                    <a:lnTo>
                      <a:pt x="77303" y="168146"/>
                    </a:lnTo>
                    <a:cubicBezTo>
                      <a:pt x="104269" y="140313"/>
                      <a:pt x="122130" y="156409"/>
                      <a:pt x="124388" y="175543"/>
                    </a:cubicBezTo>
                    <a:cubicBezTo>
                      <a:pt x="124457" y="182466"/>
                      <a:pt x="127106" y="193106"/>
                      <a:pt x="137575" y="203052"/>
                    </a:cubicBezTo>
                    <a:cubicBezTo>
                      <a:pt x="153931" y="220277"/>
                      <a:pt x="181252" y="217451"/>
                      <a:pt x="196721" y="201951"/>
                    </a:cubicBezTo>
                    <a:cubicBezTo>
                      <a:pt x="211961" y="185740"/>
                      <a:pt x="213057" y="157882"/>
                      <a:pt x="196146" y="142797"/>
                    </a:cubicBezTo>
                    <a:cubicBezTo>
                      <a:pt x="184301" y="132637"/>
                      <a:pt x="177155" y="131453"/>
                      <a:pt x="166513" y="129894"/>
                    </a:cubicBezTo>
                    <a:cubicBezTo>
                      <a:pt x="154522" y="129013"/>
                      <a:pt x="131185" y="112953"/>
                      <a:pt x="157905" y="85228"/>
                    </a:cubicBezTo>
                    <a:close/>
                  </a:path>
                </a:pathLst>
              </a:custGeom>
              <a:grpFill/>
              <a:ln>
                <a:solidFill>
                  <a:srgbClr val="21734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grpSp>
        <p:sp>
          <p:nvSpPr>
            <p:cNvPr id="77" name="Oval 47"/>
            <p:cNvSpPr/>
            <p:nvPr/>
          </p:nvSpPr>
          <p:spPr>
            <a:xfrm>
              <a:off x="388608" y="3710471"/>
              <a:ext cx="1119626" cy="1119626"/>
            </a:xfrm>
            <a:prstGeom prst="ellipse">
              <a:avLst/>
            </a:prstGeom>
            <a:solidFill>
              <a:srgbClr val="F2C812"/>
            </a:solidFill>
            <a:ln w="3175" cap="flat" cmpd="sng" algn="ctr">
              <a:noFill/>
              <a:prstDash val="solid"/>
            </a:ln>
            <a:effectLst/>
          </p:spPr>
          <p:txBody>
            <a:bodyPr vert="horz" wrap="none" lIns="0" tIns="45720" rIns="0" bIns="0" rtlCol="0" anchor="t"/>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Segoe UI"/>
                  <a:ea typeface="Segoe UI" pitchFamily="34" charset="0"/>
                  <a:cs typeface="Segoe UI" pitchFamily="34" charset="0"/>
                </a:rPr>
                <a:t>Report</a:t>
              </a:r>
            </a:p>
          </p:txBody>
        </p:sp>
        <p:sp>
          <p:nvSpPr>
            <p:cNvPr id="78" name="Oval 950"/>
            <p:cNvSpPr/>
            <p:nvPr/>
          </p:nvSpPr>
          <p:spPr>
            <a:xfrm>
              <a:off x="388608" y="1252295"/>
              <a:ext cx="1119626" cy="1119626"/>
            </a:xfrm>
            <a:prstGeom prst="ellipse">
              <a:avLst/>
            </a:prstGeom>
            <a:solidFill>
              <a:srgbClr val="F2C812"/>
            </a:solidFill>
            <a:ln w="3175" cap="flat" cmpd="sng" algn="ctr">
              <a:noFill/>
              <a:prstDash val="solid"/>
            </a:ln>
            <a:effectLst/>
          </p:spPr>
          <p:txBody>
            <a:bodyPr vert="horz" wrap="none" lIns="0" tIns="45720" rIns="0" bIns="0" rtlCol="0" anchor="t"/>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1" i="0" u="none" strike="noStrike" kern="1200" cap="none" spc="0" normalizeH="0" baseline="0" noProof="0">
                <a:ln>
                  <a:noFill/>
                </a:ln>
                <a:solidFill>
                  <a:srgbClr val="217346"/>
                </a:solidFill>
                <a:effectLst/>
                <a:uLnTx/>
                <a:uFillTx/>
                <a:latin typeface="Segoe UI"/>
                <a:ea typeface="Segoe UI" pitchFamily="34" charset="0"/>
                <a:cs typeface="Segoe UI" pitchFamily="34" charset="0"/>
              </a:endParaRPr>
            </a:p>
          </p:txBody>
        </p:sp>
        <p:grpSp>
          <p:nvGrpSpPr>
            <p:cNvPr id="79" name="Group 78"/>
            <p:cNvGrpSpPr/>
            <p:nvPr/>
          </p:nvGrpSpPr>
          <p:grpSpPr>
            <a:xfrm>
              <a:off x="1264851" y="3482890"/>
              <a:ext cx="292254" cy="354906"/>
              <a:chOff x="1296521" y="3253388"/>
              <a:chExt cx="292254" cy="354906"/>
            </a:xfrm>
            <a:solidFill>
              <a:srgbClr val="F2C812"/>
            </a:solidFill>
          </p:grpSpPr>
          <p:sp>
            <p:nvSpPr>
              <p:cNvPr id="99" name="Isosceles Triangle 98"/>
              <p:cNvSpPr/>
              <p:nvPr/>
            </p:nvSpPr>
            <p:spPr bwMode="auto">
              <a:xfrm rot="13636515">
                <a:off x="1461362" y="328936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0" name="Isosceles Triangle 99"/>
              <p:cNvSpPr/>
              <p:nvPr/>
            </p:nvSpPr>
            <p:spPr bwMode="auto">
              <a:xfrm rot="13636515">
                <a:off x="1357669" y="338258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1" name="Isosceles Triangle 100"/>
              <p:cNvSpPr/>
              <p:nvPr/>
            </p:nvSpPr>
            <p:spPr bwMode="auto">
              <a:xfrm rot="13636515">
                <a:off x="1260548" y="3480882"/>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80" name="Group 79"/>
            <p:cNvGrpSpPr/>
            <p:nvPr/>
          </p:nvGrpSpPr>
          <p:grpSpPr>
            <a:xfrm rot="15940603">
              <a:off x="1334576" y="2204404"/>
              <a:ext cx="292254" cy="354906"/>
              <a:chOff x="1296521" y="3253388"/>
              <a:chExt cx="292254" cy="354906"/>
            </a:xfrm>
            <a:solidFill>
              <a:srgbClr val="F2C812"/>
            </a:solidFill>
          </p:grpSpPr>
          <p:sp>
            <p:nvSpPr>
              <p:cNvPr id="96" name="Isosceles Triangle 95"/>
              <p:cNvSpPr/>
              <p:nvPr/>
            </p:nvSpPr>
            <p:spPr bwMode="auto">
              <a:xfrm rot="13636515">
                <a:off x="1461362" y="328936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7" name="Isosceles Triangle 96"/>
              <p:cNvSpPr/>
              <p:nvPr/>
            </p:nvSpPr>
            <p:spPr bwMode="auto">
              <a:xfrm rot="13636515">
                <a:off x="1357669" y="338258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8" name="Isosceles Triangle 97"/>
              <p:cNvSpPr/>
              <p:nvPr/>
            </p:nvSpPr>
            <p:spPr bwMode="auto">
              <a:xfrm rot="13636515">
                <a:off x="1260548" y="3480882"/>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81" name="Group 80"/>
            <p:cNvGrpSpPr/>
            <p:nvPr/>
          </p:nvGrpSpPr>
          <p:grpSpPr>
            <a:xfrm rot="16043978">
              <a:off x="1317220" y="4717577"/>
              <a:ext cx="292254" cy="354906"/>
              <a:chOff x="1296521" y="3253388"/>
              <a:chExt cx="292254" cy="354906"/>
            </a:xfrm>
            <a:solidFill>
              <a:srgbClr val="F2C812"/>
            </a:solidFill>
          </p:grpSpPr>
          <p:sp>
            <p:nvSpPr>
              <p:cNvPr id="93" name="Isosceles Triangle 92"/>
              <p:cNvSpPr/>
              <p:nvPr/>
            </p:nvSpPr>
            <p:spPr bwMode="auto">
              <a:xfrm rot="13636515">
                <a:off x="1461362" y="328936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4" name="Isosceles Triangle 93"/>
              <p:cNvSpPr/>
              <p:nvPr/>
            </p:nvSpPr>
            <p:spPr bwMode="auto">
              <a:xfrm rot="13636515">
                <a:off x="1357669" y="338258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5" name="Isosceles Triangle 94"/>
              <p:cNvSpPr/>
              <p:nvPr/>
            </p:nvSpPr>
            <p:spPr bwMode="auto">
              <a:xfrm rot="13636515">
                <a:off x="1260548" y="3480882"/>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82" name="Oval 36"/>
            <p:cNvSpPr/>
            <p:nvPr/>
          </p:nvSpPr>
          <p:spPr>
            <a:xfrm>
              <a:off x="1413521" y="2481383"/>
              <a:ext cx="1119626" cy="1119626"/>
            </a:xfrm>
            <a:prstGeom prst="ellipse">
              <a:avLst/>
            </a:prstGeom>
            <a:solidFill>
              <a:srgbClr val="F2C812"/>
            </a:solidFill>
            <a:ln w="3175" cap="flat" cmpd="sng" algn="ctr">
              <a:noFill/>
              <a:prstDash val="solid"/>
            </a:ln>
            <a:effectLst/>
          </p:spPr>
          <p:txBody>
            <a:bodyPr vert="horz" wrap="none" lIns="0" tIns="0" rIns="0" bIns="0" rtlCol="0" anchor="t"/>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400" b="1" i="0" u="none" strike="noStrike" kern="1200" cap="none" spc="0" normalizeH="0" baseline="0" noProof="0">
                <a:ln>
                  <a:noFill/>
                </a:ln>
                <a:solidFill>
                  <a:srgbClr val="217346"/>
                </a:solidFill>
                <a:effectLst/>
                <a:uLnTx/>
                <a:uFillTx/>
                <a:latin typeface="Segoe UI"/>
                <a:ea typeface="Segoe UI" pitchFamily="34" charset="0"/>
                <a:cs typeface="Segoe UI" pitchFamily="34" charset="0"/>
              </a:endParaRPr>
            </a:p>
          </p:txBody>
        </p:sp>
        <p:sp>
          <p:nvSpPr>
            <p:cNvPr id="83" name="Donut 3"/>
            <p:cNvSpPr/>
            <p:nvPr/>
          </p:nvSpPr>
          <p:spPr bwMode="auto">
            <a:xfrm>
              <a:off x="1742065" y="3002355"/>
              <a:ext cx="383905" cy="351537"/>
            </a:xfrm>
            <a:custGeom>
              <a:avLst/>
              <a:gdLst/>
              <a:ahLst/>
              <a:cxnLst/>
              <a:rect l="l" t="t" r="r" b="b"/>
              <a:pathLst>
                <a:path w="1409956" h="1291077">
                  <a:moveTo>
                    <a:pt x="956401" y="78410"/>
                  </a:moveTo>
                  <a:cubicBezTo>
                    <a:pt x="747518" y="78410"/>
                    <a:pt x="578184" y="247744"/>
                    <a:pt x="578184" y="456627"/>
                  </a:cubicBezTo>
                  <a:cubicBezTo>
                    <a:pt x="578184" y="665510"/>
                    <a:pt x="747518" y="834844"/>
                    <a:pt x="956401" y="834844"/>
                  </a:cubicBezTo>
                  <a:cubicBezTo>
                    <a:pt x="1165284" y="834844"/>
                    <a:pt x="1334618" y="665510"/>
                    <a:pt x="1334618" y="456627"/>
                  </a:cubicBezTo>
                  <a:cubicBezTo>
                    <a:pt x="1334618" y="247744"/>
                    <a:pt x="1165284" y="78410"/>
                    <a:pt x="956401" y="78410"/>
                  </a:cubicBezTo>
                  <a:close/>
                  <a:moveTo>
                    <a:pt x="952756" y="0"/>
                  </a:moveTo>
                  <a:cubicBezTo>
                    <a:pt x="1205261" y="0"/>
                    <a:pt x="1409956" y="204695"/>
                    <a:pt x="1409956" y="457200"/>
                  </a:cubicBezTo>
                  <a:cubicBezTo>
                    <a:pt x="1409956" y="709705"/>
                    <a:pt x="1205261" y="914400"/>
                    <a:pt x="952756" y="914400"/>
                  </a:cubicBezTo>
                  <a:cubicBezTo>
                    <a:pt x="862133" y="914400"/>
                    <a:pt x="777669" y="888034"/>
                    <a:pt x="707132" y="841746"/>
                  </a:cubicBezTo>
                  <a:lnTo>
                    <a:pt x="136495" y="1280102"/>
                  </a:lnTo>
                  <a:cubicBezTo>
                    <a:pt x="21896" y="1327168"/>
                    <a:pt x="-44029" y="1213730"/>
                    <a:pt x="33797" y="1113182"/>
                  </a:cubicBezTo>
                  <a:lnTo>
                    <a:pt x="568587" y="703518"/>
                  </a:lnTo>
                  <a:cubicBezTo>
                    <a:pt x="522087" y="632814"/>
                    <a:pt x="495556" y="548105"/>
                    <a:pt x="495556" y="457200"/>
                  </a:cubicBezTo>
                  <a:cubicBezTo>
                    <a:pt x="495556" y="204695"/>
                    <a:pt x="700251" y="0"/>
                    <a:pt x="952756" y="0"/>
                  </a:cubicBezTo>
                  <a:close/>
                </a:path>
              </a:pathLst>
            </a:cu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sp>
          <p:nvSpPr>
            <p:cNvPr id="84" name="Rectangle 83"/>
            <p:cNvSpPr/>
            <p:nvPr/>
          </p:nvSpPr>
          <p:spPr>
            <a:xfrm>
              <a:off x="1600398" y="2677430"/>
              <a:ext cx="820353" cy="307777"/>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Segoe UI"/>
                  <a:ea typeface="Segoe UI" pitchFamily="34" charset="0"/>
                  <a:cs typeface="Segoe UI" pitchFamily="34" charset="0"/>
                </a:rPr>
                <a:t>Explore</a:t>
              </a:r>
              <a:endParaRPr kumimoji="0" lang="en-US" sz="1600" b="0" i="0" u="none" strike="noStrike" kern="1200" cap="none" spc="0" normalizeH="0" baseline="0" noProof="0">
                <a:ln>
                  <a:noFill/>
                </a:ln>
                <a:solidFill>
                  <a:srgbClr val="000000"/>
                </a:solidFill>
                <a:effectLst/>
                <a:uLnTx/>
                <a:uFillTx/>
                <a:latin typeface="Segoe UI"/>
                <a:ea typeface="+mn-ea"/>
                <a:cs typeface="+mn-cs"/>
              </a:endParaRPr>
            </a:p>
          </p:txBody>
        </p:sp>
        <p:sp>
          <p:nvSpPr>
            <p:cNvPr id="85" name="Rectangle 84"/>
            <p:cNvSpPr/>
            <p:nvPr/>
          </p:nvSpPr>
          <p:spPr>
            <a:xfrm>
              <a:off x="509174" y="1475232"/>
              <a:ext cx="838756" cy="307777"/>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Segoe UI"/>
                  <a:ea typeface="Segoe UI" pitchFamily="34" charset="0"/>
                  <a:cs typeface="Segoe UI" pitchFamily="34" charset="0"/>
                </a:rPr>
                <a:t>Prepare</a:t>
              </a: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86" name="Freeform 85"/>
            <p:cNvSpPr>
              <a:spLocks noChangeAspect="1"/>
            </p:cNvSpPr>
            <p:nvPr/>
          </p:nvSpPr>
          <p:spPr bwMode="black">
            <a:xfrm>
              <a:off x="1836174" y="5643069"/>
              <a:ext cx="274320" cy="284173"/>
            </a:xfrm>
            <a:custGeom>
              <a:avLst/>
              <a:gdLst>
                <a:gd name="T0" fmla="*/ 539 w 669"/>
                <a:gd name="T1" fmla="*/ 5 h 693"/>
                <a:gd name="T2" fmla="*/ 640 w 669"/>
                <a:gd name="T3" fmla="*/ 55 h 693"/>
                <a:gd name="T4" fmla="*/ 603 w 669"/>
                <a:gd name="T5" fmla="*/ 195 h 693"/>
                <a:gd name="T6" fmla="*/ 490 w 669"/>
                <a:gd name="T7" fmla="*/ 188 h 693"/>
                <a:gd name="T8" fmla="*/ 479 w 669"/>
                <a:gd name="T9" fmla="*/ 176 h 693"/>
                <a:gd name="T10" fmla="*/ 213 w 669"/>
                <a:gd name="T11" fmla="*/ 330 h 693"/>
                <a:gd name="T12" fmla="*/ 218 w 669"/>
                <a:gd name="T13" fmla="*/ 345 h 693"/>
                <a:gd name="T14" fmla="*/ 218 w 669"/>
                <a:gd name="T15" fmla="*/ 375 h 693"/>
                <a:gd name="T16" fmla="*/ 209 w 669"/>
                <a:gd name="T17" fmla="*/ 402 h 693"/>
                <a:gd name="T18" fmla="*/ 369 w 669"/>
                <a:gd name="T19" fmla="*/ 503 h 693"/>
                <a:gd name="T20" fmla="*/ 373 w 669"/>
                <a:gd name="T21" fmla="*/ 498 h 693"/>
                <a:gd name="T22" fmla="*/ 456 w 669"/>
                <a:gd name="T23" fmla="*/ 475 h 693"/>
                <a:gd name="T24" fmla="*/ 494 w 669"/>
                <a:gd name="T25" fmla="*/ 489 h 693"/>
                <a:gd name="T26" fmla="*/ 527 w 669"/>
                <a:gd name="T27" fmla="*/ 630 h 693"/>
                <a:gd name="T28" fmla="*/ 386 w 669"/>
                <a:gd name="T29" fmla="*/ 663 h 693"/>
                <a:gd name="T30" fmla="*/ 339 w 669"/>
                <a:gd name="T31" fmla="*/ 560 h 693"/>
                <a:gd name="T32" fmla="*/ 345 w 669"/>
                <a:gd name="T33" fmla="*/ 544 h 693"/>
                <a:gd name="T34" fmla="*/ 177 w 669"/>
                <a:gd name="T35" fmla="*/ 439 h 693"/>
                <a:gd name="T36" fmla="*/ 168 w 669"/>
                <a:gd name="T37" fmla="*/ 446 h 693"/>
                <a:gd name="T38" fmla="*/ 28 w 669"/>
                <a:gd name="T39" fmla="*/ 409 h 693"/>
                <a:gd name="T40" fmla="*/ 65 w 669"/>
                <a:gd name="T41" fmla="*/ 269 h 693"/>
                <a:gd name="T42" fmla="*/ 178 w 669"/>
                <a:gd name="T43" fmla="*/ 276 h 693"/>
                <a:gd name="T44" fmla="*/ 189 w 669"/>
                <a:gd name="T45" fmla="*/ 288 h 693"/>
                <a:gd name="T46" fmla="*/ 455 w 669"/>
                <a:gd name="T47" fmla="*/ 134 h 693"/>
                <a:gd name="T48" fmla="*/ 450 w 669"/>
                <a:gd name="T49" fmla="*/ 119 h 693"/>
                <a:gd name="T50" fmla="*/ 501 w 669"/>
                <a:gd name="T51" fmla="*/ 18 h 693"/>
                <a:gd name="T52" fmla="*/ 539 w 669"/>
                <a:gd name="T53" fmla="*/ 5 h 6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69" h="693">
                  <a:moveTo>
                    <a:pt x="539" y="5"/>
                  </a:moveTo>
                  <a:cubicBezTo>
                    <a:pt x="579" y="0"/>
                    <a:pt x="619" y="19"/>
                    <a:pt x="640" y="55"/>
                  </a:cubicBezTo>
                  <a:cubicBezTo>
                    <a:pt x="669" y="104"/>
                    <a:pt x="652" y="167"/>
                    <a:pt x="603" y="195"/>
                  </a:cubicBezTo>
                  <a:cubicBezTo>
                    <a:pt x="566" y="216"/>
                    <a:pt x="522" y="212"/>
                    <a:pt x="490" y="188"/>
                  </a:cubicBezTo>
                  <a:cubicBezTo>
                    <a:pt x="479" y="176"/>
                    <a:pt x="479" y="176"/>
                    <a:pt x="479" y="176"/>
                  </a:cubicBezTo>
                  <a:cubicBezTo>
                    <a:pt x="213" y="330"/>
                    <a:pt x="213" y="330"/>
                    <a:pt x="213" y="330"/>
                  </a:cubicBezTo>
                  <a:cubicBezTo>
                    <a:pt x="218" y="345"/>
                    <a:pt x="218" y="345"/>
                    <a:pt x="218" y="345"/>
                  </a:cubicBezTo>
                  <a:cubicBezTo>
                    <a:pt x="219" y="355"/>
                    <a:pt x="219" y="365"/>
                    <a:pt x="218" y="375"/>
                  </a:cubicBezTo>
                  <a:cubicBezTo>
                    <a:pt x="209" y="402"/>
                    <a:pt x="209" y="402"/>
                    <a:pt x="209" y="402"/>
                  </a:cubicBezTo>
                  <a:cubicBezTo>
                    <a:pt x="369" y="503"/>
                    <a:pt x="369" y="503"/>
                    <a:pt x="369" y="503"/>
                  </a:cubicBezTo>
                  <a:cubicBezTo>
                    <a:pt x="373" y="498"/>
                    <a:pt x="373" y="498"/>
                    <a:pt x="373" y="498"/>
                  </a:cubicBezTo>
                  <a:cubicBezTo>
                    <a:pt x="396" y="479"/>
                    <a:pt x="427" y="470"/>
                    <a:pt x="456" y="475"/>
                  </a:cubicBezTo>
                  <a:cubicBezTo>
                    <a:pt x="470" y="477"/>
                    <a:pt x="482" y="482"/>
                    <a:pt x="494" y="489"/>
                  </a:cubicBezTo>
                  <a:cubicBezTo>
                    <a:pt x="542" y="519"/>
                    <a:pt x="557" y="583"/>
                    <a:pt x="527" y="630"/>
                  </a:cubicBezTo>
                  <a:cubicBezTo>
                    <a:pt x="497" y="678"/>
                    <a:pt x="433" y="693"/>
                    <a:pt x="386" y="663"/>
                  </a:cubicBezTo>
                  <a:cubicBezTo>
                    <a:pt x="350" y="640"/>
                    <a:pt x="333" y="599"/>
                    <a:pt x="339" y="560"/>
                  </a:cubicBezTo>
                  <a:cubicBezTo>
                    <a:pt x="345" y="544"/>
                    <a:pt x="345" y="544"/>
                    <a:pt x="345" y="544"/>
                  </a:cubicBezTo>
                  <a:cubicBezTo>
                    <a:pt x="177" y="439"/>
                    <a:pt x="177" y="439"/>
                    <a:pt x="177" y="439"/>
                  </a:cubicBezTo>
                  <a:cubicBezTo>
                    <a:pt x="168" y="446"/>
                    <a:pt x="168" y="446"/>
                    <a:pt x="168" y="446"/>
                  </a:cubicBezTo>
                  <a:cubicBezTo>
                    <a:pt x="119" y="475"/>
                    <a:pt x="56" y="458"/>
                    <a:pt x="28" y="409"/>
                  </a:cubicBezTo>
                  <a:cubicBezTo>
                    <a:pt x="0" y="360"/>
                    <a:pt x="16" y="297"/>
                    <a:pt x="65" y="269"/>
                  </a:cubicBezTo>
                  <a:cubicBezTo>
                    <a:pt x="102" y="248"/>
                    <a:pt x="147" y="252"/>
                    <a:pt x="178" y="276"/>
                  </a:cubicBezTo>
                  <a:cubicBezTo>
                    <a:pt x="189" y="288"/>
                    <a:pt x="189" y="288"/>
                    <a:pt x="189" y="288"/>
                  </a:cubicBezTo>
                  <a:cubicBezTo>
                    <a:pt x="455" y="134"/>
                    <a:pt x="455" y="134"/>
                    <a:pt x="455" y="134"/>
                  </a:cubicBezTo>
                  <a:cubicBezTo>
                    <a:pt x="450" y="119"/>
                    <a:pt x="450" y="119"/>
                    <a:pt x="450" y="119"/>
                  </a:cubicBezTo>
                  <a:cubicBezTo>
                    <a:pt x="445" y="80"/>
                    <a:pt x="464" y="39"/>
                    <a:pt x="501" y="18"/>
                  </a:cubicBezTo>
                  <a:cubicBezTo>
                    <a:pt x="513" y="11"/>
                    <a:pt x="526" y="6"/>
                    <a:pt x="539" y="5"/>
                  </a:cubicBezTo>
                  <a:close/>
                </a:path>
              </a:pathLst>
            </a:custGeom>
            <a:solidFill>
              <a:schemeClr val="tx1"/>
            </a:solidFill>
            <a:ln>
              <a:noFill/>
            </a:ln>
          </p:spPr>
          <p:txBody>
            <a:bodyPr vert="horz" wrap="square" lIns="68574" tIns="34287" rIns="68574" bIns="34287"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0000"/>
                </a:solidFill>
                <a:effectLst/>
                <a:uLnTx/>
                <a:uFillTx/>
                <a:latin typeface="Segoe UI"/>
                <a:ea typeface="+mn-ea"/>
                <a:cs typeface="+mn-cs"/>
              </a:endParaRPr>
            </a:p>
          </p:txBody>
        </p:sp>
        <p:sp>
          <p:nvSpPr>
            <p:cNvPr id="87" name="Freeform 86"/>
            <p:cNvSpPr>
              <a:spLocks noChangeAspect="1" noEditPoints="1"/>
            </p:cNvSpPr>
            <p:nvPr/>
          </p:nvSpPr>
          <p:spPr bwMode="black">
            <a:xfrm>
              <a:off x="722320" y="1783009"/>
              <a:ext cx="452202" cy="366660"/>
            </a:xfrm>
            <a:custGeom>
              <a:avLst/>
              <a:gdLst>
                <a:gd name="T0" fmla="*/ 600 w 1107"/>
                <a:gd name="T1" fmla="*/ 625 h 897"/>
                <a:gd name="T2" fmla="*/ 649 w 1107"/>
                <a:gd name="T3" fmla="*/ 567 h 897"/>
                <a:gd name="T4" fmla="*/ 727 w 1107"/>
                <a:gd name="T5" fmla="*/ 482 h 897"/>
                <a:gd name="T6" fmla="*/ 601 w 1107"/>
                <a:gd name="T7" fmla="*/ 434 h 897"/>
                <a:gd name="T8" fmla="*/ 628 w 1107"/>
                <a:gd name="T9" fmla="*/ 305 h 897"/>
                <a:gd name="T10" fmla="*/ 547 w 1107"/>
                <a:gd name="T11" fmla="*/ 240 h 897"/>
                <a:gd name="T12" fmla="*/ 427 w 1107"/>
                <a:gd name="T13" fmla="*/ 287 h 897"/>
                <a:gd name="T14" fmla="*/ 368 w 1107"/>
                <a:gd name="T15" fmla="*/ 170 h 897"/>
                <a:gd name="T16" fmla="*/ 285 w 1107"/>
                <a:gd name="T17" fmla="*/ 263 h 897"/>
                <a:gd name="T18" fmla="*/ 241 w 1107"/>
                <a:gd name="T19" fmla="*/ 313 h 897"/>
                <a:gd name="T20" fmla="*/ 139 w 1107"/>
                <a:gd name="T21" fmla="*/ 281 h 897"/>
                <a:gd name="T22" fmla="*/ 79 w 1107"/>
                <a:gd name="T23" fmla="*/ 355 h 897"/>
                <a:gd name="T24" fmla="*/ 132 w 1107"/>
                <a:gd name="T25" fmla="*/ 446 h 897"/>
                <a:gd name="T26" fmla="*/ 83 w 1107"/>
                <a:gd name="T27" fmla="*/ 505 h 897"/>
                <a:gd name="T28" fmla="*/ 5 w 1107"/>
                <a:gd name="T29" fmla="*/ 590 h 897"/>
                <a:gd name="T30" fmla="*/ 132 w 1107"/>
                <a:gd name="T31" fmla="*/ 638 h 897"/>
                <a:gd name="T32" fmla="*/ 145 w 1107"/>
                <a:gd name="T33" fmla="*/ 669 h 897"/>
                <a:gd name="T34" fmla="*/ 110 w 1107"/>
                <a:gd name="T35" fmla="*/ 793 h 897"/>
                <a:gd name="T36" fmla="*/ 230 w 1107"/>
                <a:gd name="T37" fmla="*/ 781 h 897"/>
                <a:gd name="T38" fmla="*/ 306 w 1107"/>
                <a:gd name="T39" fmla="*/ 785 h 897"/>
                <a:gd name="T40" fmla="*/ 346 w 1107"/>
                <a:gd name="T41" fmla="*/ 878 h 897"/>
                <a:gd name="T42" fmla="*/ 440 w 1107"/>
                <a:gd name="T43" fmla="*/ 872 h 897"/>
                <a:gd name="T44" fmla="*/ 466 w 1107"/>
                <a:gd name="T45" fmla="*/ 764 h 897"/>
                <a:gd name="T46" fmla="*/ 539 w 1107"/>
                <a:gd name="T47" fmla="*/ 755 h 897"/>
                <a:gd name="T48" fmla="*/ 659 w 1107"/>
                <a:gd name="T49" fmla="*/ 743 h 897"/>
                <a:gd name="T50" fmla="*/ 263 w 1107"/>
                <a:gd name="T51" fmla="*/ 452 h 897"/>
                <a:gd name="T52" fmla="*/ 281 w 1107"/>
                <a:gd name="T53" fmla="*/ 633 h 897"/>
                <a:gd name="T54" fmla="*/ 1002 w 1107"/>
                <a:gd name="T55" fmla="*/ 332 h 897"/>
                <a:gd name="T56" fmla="*/ 1043 w 1107"/>
                <a:gd name="T57" fmla="*/ 304 h 897"/>
                <a:gd name="T58" fmla="*/ 1107 w 1107"/>
                <a:gd name="T59" fmla="*/ 266 h 897"/>
                <a:gd name="T60" fmla="*/ 1037 w 1107"/>
                <a:gd name="T61" fmla="*/ 213 h 897"/>
                <a:gd name="T62" fmla="*/ 1077 w 1107"/>
                <a:gd name="T63" fmla="*/ 138 h 897"/>
                <a:gd name="T64" fmla="*/ 1038 w 1107"/>
                <a:gd name="T65" fmla="*/ 83 h 897"/>
                <a:gd name="T66" fmla="*/ 956 w 1107"/>
                <a:gd name="T67" fmla="*/ 91 h 897"/>
                <a:gd name="T68" fmla="*/ 940 w 1107"/>
                <a:gd name="T69" fmla="*/ 7 h 897"/>
                <a:gd name="T70" fmla="*/ 872 w 1107"/>
                <a:gd name="T71" fmla="*/ 50 h 897"/>
                <a:gd name="T72" fmla="*/ 836 w 1107"/>
                <a:gd name="T73" fmla="*/ 74 h 897"/>
                <a:gd name="T74" fmla="*/ 778 w 1107"/>
                <a:gd name="T75" fmla="*/ 35 h 897"/>
                <a:gd name="T76" fmla="*/ 728 w 1107"/>
                <a:gd name="T77" fmla="*/ 70 h 897"/>
                <a:gd name="T78" fmla="*/ 744 w 1107"/>
                <a:gd name="T79" fmla="*/ 136 h 897"/>
                <a:gd name="T80" fmla="*/ 703 w 1107"/>
                <a:gd name="T81" fmla="*/ 164 h 897"/>
                <a:gd name="T82" fmla="*/ 640 w 1107"/>
                <a:gd name="T83" fmla="*/ 203 h 897"/>
                <a:gd name="T84" fmla="*/ 710 w 1107"/>
                <a:gd name="T85" fmla="*/ 255 h 897"/>
                <a:gd name="T86" fmla="*/ 712 w 1107"/>
                <a:gd name="T87" fmla="*/ 277 h 897"/>
                <a:gd name="T88" fmla="*/ 668 w 1107"/>
                <a:gd name="T89" fmla="*/ 347 h 897"/>
                <a:gd name="T90" fmla="*/ 745 w 1107"/>
                <a:gd name="T91" fmla="*/ 361 h 897"/>
                <a:gd name="T92" fmla="*/ 791 w 1107"/>
                <a:gd name="T93" fmla="*/ 377 h 897"/>
                <a:gd name="T94" fmla="*/ 799 w 1107"/>
                <a:gd name="T95" fmla="*/ 443 h 897"/>
                <a:gd name="T96" fmla="*/ 859 w 1107"/>
                <a:gd name="T97" fmla="*/ 456 h 897"/>
                <a:gd name="T98" fmla="*/ 894 w 1107"/>
                <a:gd name="T99" fmla="*/ 393 h 897"/>
                <a:gd name="T100" fmla="*/ 941 w 1107"/>
                <a:gd name="T101" fmla="*/ 401 h 897"/>
                <a:gd name="T102" fmla="*/ 1018 w 1107"/>
                <a:gd name="T103" fmla="*/ 415 h 897"/>
                <a:gd name="T104" fmla="*/ 825 w 1107"/>
                <a:gd name="T105" fmla="*/ 164 h 897"/>
                <a:gd name="T106" fmla="*/ 803 w 1107"/>
                <a:gd name="T107" fmla="*/ 279 h 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107" h="897">
                  <a:moveTo>
                    <a:pt x="654" y="716"/>
                  </a:moveTo>
                  <a:cubicBezTo>
                    <a:pt x="616" y="670"/>
                    <a:pt x="616" y="670"/>
                    <a:pt x="616" y="670"/>
                  </a:cubicBezTo>
                  <a:cubicBezTo>
                    <a:pt x="593" y="654"/>
                    <a:pt x="603" y="638"/>
                    <a:pt x="600" y="625"/>
                  </a:cubicBezTo>
                  <a:cubicBezTo>
                    <a:pt x="600" y="625"/>
                    <a:pt x="600" y="625"/>
                    <a:pt x="600" y="625"/>
                  </a:cubicBezTo>
                  <a:cubicBezTo>
                    <a:pt x="605" y="617"/>
                    <a:pt x="611" y="609"/>
                    <a:pt x="608" y="596"/>
                  </a:cubicBezTo>
                  <a:cubicBezTo>
                    <a:pt x="618" y="580"/>
                    <a:pt x="623" y="572"/>
                    <a:pt x="649" y="567"/>
                  </a:cubicBezTo>
                  <a:cubicBezTo>
                    <a:pt x="715" y="553"/>
                    <a:pt x="715" y="553"/>
                    <a:pt x="715" y="553"/>
                  </a:cubicBezTo>
                  <a:cubicBezTo>
                    <a:pt x="728" y="550"/>
                    <a:pt x="733" y="542"/>
                    <a:pt x="730" y="529"/>
                  </a:cubicBezTo>
                  <a:cubicBezTo>
                    <a:pt x="727" y="482"/>
                    <a:pt x="727" y="482"/>
                    <a:pt x="727" y="482"/>
                  </a:cubicBezTo>
                  <a:cubicBezTo>
                    <a:pt x="724" y="469"/>
                    <a:pt x="717" y="463"/>
                    <a:pt x="701" y="453"/>
                  </a:cubicBezTo>
                  <a:cubicBezTo>
                    <a:pt x="641" y="459"/>
                    <a:pt x="641" y="459"/>
                    <a:pt x="641" y="459"/>
                  </a:cubicBezTo>
                  <a:cubicBezTo>
                    <a:pt x="620" y="457"/>
                    <a:pt x="604" y="447"/>
                    <a:pt x="601" y="434"/>
                  </a:cubicBezTo>
                  <a:cubicBezTo>
                    <a:pt x="598" y="421"/>
                    <a:pt x="590" y="416"/>
                    <a:pt x="580" y="397"/>
                  </a:cubicBezTo>
                  <a:cubicBezTo>
                    <a:pt x="577" y="384"/>
                    <a:pt x="574" y="371"/>
                    <a:pt x="584" y="355"/>
                  </a:cubicBezTo>
                  <a:cubicBezTo>
                    <a:pt x="628" y="305"/>
                    <a:pt x="628" y="305"/>
                    <a:pt x="628" y="305"/>
                  </a:cubicBezTo>
                  <a:cubicBezTo>
                    <a:pt x="634" y="297"/>
                    <a:pt x="631" y="284"/>
                    <a:pt x="623" y="279"/>
                  </a:cubicBezTo>
                  <a:cubicBezTo>
                    <a:pt x="581" y="240"/>
                    <a:pt x="581" y="240"/>
                    <a:pt x="581" y="240"/>
                  </a:cubicBezTo>
                  <a:cubicBezTo>
                    <a:pt x="573" y="235"/>
                    <a:pt x="560" y="238"/>
                    <a:pt x="547" y="240"/>
                  </a:cubicBezTo>
                  <a:cubicBezTo>
                    <a:pt x="503" y="291"/>
                    <a:pt x="503" y="291"/>
                    <a:pt x="503" y="291"/>
                  </a:cubicBezTo>
                  <a:cubicBezTo>
                    <a:pt x="484" y="302"/>
                    <a:pt x="471" y="304"/>
                    <a:pt x="463" y="299"/>
                  </a:cubicBezTo>
                  <a:cubicBezTo>
                    <a:pt x="456" y="294"/>
                    <a:pt x="435" y="292"/>
                    <a:pt x="427" y="287"/>
                  </a:cubicBezTo>
                  <a:cubicBezTo>
                    <a:pt x="419" y="282"/>
                    <a:pt x="403" y="271"/>
                    <a:pt x="400" y="258"/>
                  </a:cubicBezTo>
                  <a:cubicBezTo>
                    <a:pt x="386" y="193"/>
                    <a:pt x="386" y="193"/>
                    <a:pt x="386" y="193"/>
                  </a:cubicBezTo>
                  <a:cubicBezTo>
                    <a:pt x="384" y="180"/>
                    <a:pt x="368" y="170"/>
                    <a:pt x="368" y="170"/>
                  </a:cubicBezTo>
                  <a:cubicBezTo>
                    <a:pt x="308" y="176"/>
                    <a:pt x="308" y="176"/>
                    <a:pt x="308" y="176"/>
                  </a:cubicBezTo>
                  <a:cubicBezTo>
                    <a:pt x="308" y="176"/>
                    <a:pt x="289" y="187"/>
                    <a:pt x="292" y="200"/>
                  </a:cubicBezTo>
                  <a:cubicBezTo>
                    <a:pt x="285" y="263"/>
                    <a:pt x="285" y="263"/>
                    <a:pt x="285" y="263"/>
                  </a:cubicBezTo>
                  <a:cubicBezTo>
                    <a:pt x="291" y="289"/>
                    <a:pt x="277" y="292"/>
                    <a:pt x="272" y="300"/>
                  </a:cubicBezTo>
                  <a:cubicBezTo>
                    <a:pt x="272" y="300"/>
                    <a:pt x="272" y="300"/>
                    <a:pt x="267" y="308"/>
                  </a:cubicBezTo>
                  <a:cubicBezTo>
                    <a:pt x="259" y="302"/>
                    <a:pt x="246" y="305"/>
                    <a:pt x="241" y="313"/>
                  </a:cubicBezTo>
                  <a:cubicBezTo>
                    <a:pt x="236" y="321"/>
                    <a:pt x="236" y="321"/>
                    <a:pt x="236" y="321"/>
                  </a:cubicBezTo>
                  <a:cubicBezTo>
                    <a:pt x="223" y="324"/>
                    <a:pt x="210" y="327"/>
                    <a:pt x="194" y="317"/>
                  </a:cubicBezTo>
                  <a:cubicBezTo>
                    <a:pt x="139" y="281"/>
                    <a:pt x="139" y="281"/>
                    <a:pt x="139" y="281"/>
                  </a:cubicBezTo>
                  <a:cubicBezTo>
                    <a:pt x="131" y="276"/>
                    <a:pt x="110" y="273"/>
                    <a:pt x="104" y="281"/>
                  </a:cubicBezTo>
                  <a:cubicBezTo>
                    <a:pt x="79" y="321"/>
                    <a:pt x="79" y="321"/>
                    <a:pt x="79" y="321"/>
                  </a:cubicBezTo>
                  <a:cubicBezTo>
                    <a:pt x="66" y="324"/>
                    <a:pt x="68" y="337"/>
                    <a:pt x="79" y="355"/>
                  </a:cubicBezTo>
                  <a:cubicBezTo>
                    <a:pt x="121" y="394"/>
                    <a:pt x="121" y="394"/>
                    <a:pt x="121" y="394"/>
                  </a:cubicBezTo>
                  <a:cubicBezTo>
                    <a:pt x="140" y="417"/>
                    <a:pt x="135" y="425"/>
                    <a:pt x="132" y="446"/>
                  </a:cubicBezTo>
                  <a:cubicBezTo>
                    <a:pt x="132" y="446"/>
                    <a:pt x="132" y="446"/>
                    <a:pt x="132" y="446"/>
                  </a:cubicBezTo>
                  <a:cubicBezTo>
                    <a:pt x="127" y="454"/>
                    <a:pt x="122" y="462"/>
                    <a:pt x="117" y="470"/>
                  </a:cubicBezTo>
                  <a:cubicBezTo>
                    <a:pt x="117" y="470"/>
                    <a:pt x="117" y="470"/>
                    <a:pt x="117" y="470"/>
                  </a:cubicBezTo>
                  <a:cubicBezTo>
                    <a:pt x="120" y="483"/>
                    <a:pt x="109" y="499"/>
                    <a:pt x="83" y="505"/>
                  </a:cubicBezTo>
                  <a:cubicBezTo>
                    <a:pt x="23" y="511"/>
                    <a:pt x="23" y="511"/>
                    <a:pt x="23" y="511"/>
                  </a:cubicBezTo>
                  <a:cubicBezTo>
                    <a:pt x="10" y="514"/>
                    <a:pt x="0" y="529"/>
                    <a:pt x="2" y="543"/>
                  </a:cubicBezTo>
                  <a:cubicBezTo>
                    <a:pt x="5" y="590"/>
                    <a:pt x="5" y="590"/>
                    <a:pt x="5" y="590"/>
                  </a:cubicBezTo>
                  <a:cubicBezTo>
                    <a:pt x="8" y="603"/>
                    <a:pt x="16" y="608"/>
                    <a:pt x="37" y="610"/>
                  </a:cubicBezTo>
                  <a:cubicBezTo>
                    <a:pt x="92" y="612"/>
                    <a:pt x="92" y="612"/>
                    <a:pt x="92" y="612"/>
                  </a:cubicBezTo>
                  <a:cubicBezTo>
                    <a:pt x="113" y="614"/>
                    <a:pt x="129" y="625"/>
                    <a:pt x="132" y="638"/>
                  </a:cubicBezTo>
                  <a:cubicBezTo>
                    <a:pt x="132" y="638"/>
                    <a:pt x="132" y="638"/>
                    <a:pt x="132" y="638"/>
                  </a:cubicBezTo>
                  <a:cubicBezTo>
                    <a:pt x="140" y="643"/>
                    <a:pt x="142" y="656"/>
                    <a:pt x="150" y="661"/>
                  </a:cubicBezTo>
                  <a:cubicBezTo>
                    <a:pt x="145" y="669"/>
                    <a:pt x="145" y="669"/>
                    <a:pt x="145" y="669"/>
                  </a:cubicBezTo>
                  <a:cubicBezTo>
                    <a:pt x="153" y="674"/>
                    <a:pt x="156" y="687"/>
                    <a:pt x="140" y="711"/>
                  </a:cubicBezTo>
                  <a:cubicBezTo>
                    <a:pt x="109" y="759"/>
                    <a:pt x="109" y="759"/>
                    <a:pt x="109" y="759"/>
                  </a:cubicBezTo>
                  <a:cubicBezTo>
                    <a:pt x="99" y="775"/>
                    <a:pt x="102" y="788"/>
                    <a:pt x="110" y="793"/>
                  </a:cubicBezTo>
                  <a:cubicBezTo>
                    <a:pt x="152" y="832"/>
                    <a:pt x="152" y="832"/>
                    <a:pt x="152" y="832"/>
                  </a:cubicBezTo>
                  <a:cubicBezTo>
                    <a:pt x="160" y="837"/>
                    <a:pt x="173" y="834"/>
                    <a:pt x="178" y="826"/>
                  </a:cubicBezTo>
                  <a:cubicBezTo>
                    <a:pt x="230" y="781"/>
                    <a:pt x="230" y="781"/>
                    <a:pt x="230" y="781"/>
                  </a:cubicBezTo>
                  <a:cubicBezTo>
                    <a:pt x="248" y="770"/>
                    <a:pt x="261" y="767"/>
                    <a:pt x="269" y="772"/>
                  </a:cubicBezTo>
                  <a:cubicBezTo>
                    <a:pt x="269" y="772"/>
                    <a:pt x="269" y="772"/>
                    <a:pt x="269" y="772"/>
                  </a:cubicBezTo>
                  <a:cubicBezTo>
                    <a:pt x="282" y="769"/>
                    <a:pt x="298" y="779"/>
                    <a:pt x="306" y="785"/>
                  </a:cubicBezTo>
                  <a:cubicBezTo>
                    <a:pt x="306" y="785"/>
                    <a:pt x="306" y="785"/>
                    <a:pt x="306" y="785"/>
                  </a:cubicBezTo>
                  <a:cubicBezTo>
                    <a:pt x="319" y="782"/>
                    <a:pt x="327" y="787"/>
                    <a:pt x="332" y="813"/>
                  </a:cubicBezTo>
                  <a:cubicBezTo>
                    <a:pt x="346" y="878"/>
                    <a:pt x="346" y="878"/>
                    <a:pt x="346" y="878"/>
                  </a:cubicBezTo>
                  <a:cubicBezTo>
                    <a:pt x="349" y="892"/>
                    <a:pt x="357" y="897"/>
                    <a:pt x="370" y="894"/>
                  </a:cubicBezTo>
                  <a:cubicBezTo>
                    <a:pt x="425" y="896"/>
                    <a:pt x="425" y="896"/>
                    <a:pt x="425" y="896"/>
                  </a:cubicBezTo>
                  <a:cubicBezTo>
                    <a:pt x="430" y="888"/>
                    <a:pt x="443" y="885"/>
                    <a:pt x="440" y="872"/>
                  </a:cubicBezTo>
                  <a:cubicBezTo>
                    <a:pt x="440" y="804"/>
                    <a:pt x="440" y="804"/>
                    <a:pt x="440" y="804"/>
                  </a:cubicBezTo>
                  <a:cubicBezTo>
                    <a:pt x="442" y="783"/>
                    <a:pt x="460" y="772"/>
                    <a:pt x="466" y="764"/>
                  </a:cubicBezTo>
                  <a:cubicBezTo>
                    <a:pt x="466" y="764"/>
                    <a:pt x="466" y="764"/>
                    <a:pt x="466" y="764"/>
                  </a:cubicBezTo>
                  <a:cubicBezTo>
                    <a:pt x="479" y="761"/>
                    <a:pt x="492" y="758"/>
                    <a:pt x="497" y="750"/>
                  </a:cubicBezTo>
                  <a:cubicBezTo>
                    <a:pt x="497" y="750"/>
                    <a:pt x="497" y="750"/>
                    <a:pt x="497" y="750"/>
                  </a:cubicBezTo>
                  <a:cubicBezTo>
                    <a:pt x="510" y="747"/>
                    <a:pt x="523" y="745"/>
                    <a:pt x="539" y="755"/>
                  </a:cubicBezTo>
                  <a:cubicBezTo>
                    <a:pt x="594" y="791"/>
                    <a:pt x="594" y="791"/>
                    <a:pt x="594" y="791"/>
                  </a:cubicBezTo>
                  <a:cubicBezTo>
                    <a:pt x="602" y="796"/>
                    <a:pt x="623" y="798"/>
                    <a:pt x="628" y="790"/>
                  </a:cubicBezTo>
                  <a:cubicBezTo>
                    <a:pt x="659" y="743"/>
                    <a:pt x="659" y="743"/>
                    <a:pt x="659" y="743"/>
                  </a:cubicBezTo>
                  <a:cubicBezTo>
                    <a:pt x="659" y="743"/>
                    <a:pt x="669" y="727"/>
                    <a:pt x="654" y="716"/>
                  </a:cubicBezTo>
                  <a:close/>
                  <a:moveTo>
                    <a:pt x="281" y="633"/>
                  </a:moveTo>
                  <a:cubicBezTo>
                    <a:pt x="223" y="584"/>
                    <a:pt x="219" y="502"/>
                    <a:pt x="263" y="452"/>
                  </a:cubicBezTo>
                  <a:cubicBezTo>
                    <a:pt x="313" y="393"/>
                    <a:pt x="399" y="382"/>
                    <a:pt x="457" y="431"/>
                  </a:cubicBezTo>
                  <a:cubicBezTo>
                    <a:pt x="507" y="475"/>
                    <a:pt x="518" y="561"/>
                    <a:pt x="469" y="619"/>
                  </a:cubicBezTo>
                  <a:cubicBezTo>
                    <a:pt x="420" y="678"/>
                    <a:pt x="339" y="682"/>
                    <a:pt x="281" y="633"/>
                  </a:cubicBezTo>
                  <a:close/>
                  <a:moveTo>
                    <a:pt x="1019" y="398"/>
                  </a:moveTo>
                  <a:cubicBezTo>
                    <a:pt x="1004" y="362"/>
                    <a:pt x="1004" y="362"/>
                    <a:pt x="1004" y="362"/>
                  </a:cubicBezTo>
                  <a:cubicBezTo>
                    <a:pt x="992" y="348"/>
                    <a:pt x="1002" y="340"/>
                    <a:pt x="1002" y="332"/>
                  </a:cubicBezTo>
                  <a:cubicBezTo>
                    <a:pt x="1002" y="332"/>
                    <a:pt x="1002" y="332"/>
                    <a:pt x="1002" y="332"/>
                  </a:cubicBezTo>
                  <a:cubicBezTo>
                    <a:pt x="1007" y="328"/>
                    <a:pt x="1011" y="324"/>
                    <a:pt x="1012" y="315"/>
                  </a:cubicBezTo>
                  <a:cubicBezTo>
                    <a:pt x="1021" y="307"/>
                    <a:pt x="1026" y="303"/>
                    <a:pt x="1043" y="304"/>
                  </a:cubicBezTo>
                  <a:cubicBezTo>
                    <a:pt x="1086" y="307"/>
                    <a:pt x="1086" y="307"/>
                    <a:pt x="1086" y="307"/>
                  </a:cubicBezTo>
                  <a:cubicBezTo>
                    <a:pt x="1095" y="308"/>
                    <a:pt x="1099" y="304"/>
                    <a:pt x="1100" y="295"/>
                  </a:cubicBezTo>
                  <a:cubicBezTo>
                    <a:pt x="1107" y="266"/>
                    <a:pt x="1107" y="266"/>
                    <a:pt x="1107" y="266"/>
                  </a:cubicBezTo>
                  <a:cubicBezTo>
                    <a:pt x="1107" y="257"/>
                    <a:pt x="1103" y="252"/>
                    <a:pt x="1095" y="243"/>
                  </a:cubicBezTo>
                  <a:cubicBezTo>
                    <a:pt x="1057" y="236"/>
                    <a:pt x="1057" y="236"/>
                    <a:pt x="1057" y="236"/>
                  </a:cubicBezTo>
                  <a:cubicBezTo>
                    <a:pt x="1044" y="231"/>
                    <a:pt x="1036" y="222"/>
                    <a:pt x="1037" y="213"/>
                  </a:cubicBezTo>
                  <a:cubicBezTo>
                    <a:pt x="1038" y="205"/>
                    <a:pt x="1034" y="200"/>
                    <a:pt x="1030" y="187"/>
                  </a:cubicBezTo>
                  <a:cubicBezTo>
                    <a:pt x="1031" y="178"/>
                    <a:pt x="1032" y="170"/>
                    <a:pt x="1041" y="162"/>
                  </a:cubicBezTo>
                  <a:cubicBezTo>
                    <a:pt x="1077" y="138"/>
                    <a:pt x="1077" y="138"/>
                    <a:pt x="1077" y="138"/>
                  </a:cubicBezTo>
                  <a:cubicBezTo>
                    <a:pt x="1082" y="134"/>
                    <a:pt x="1083" y="126"/>
                    <a:pt x="1079" y="121"/>
                  </a:cubicBezTo>
                  <a:cubicBezTo>
                    <a:pt x="1059" y="89"/>
                    <a:pt x="1059" y="89"/>
                    <a:pt x="1059" y="89"/>
                  </a:cubicBezTo>
                  <a:cubicBezTo>
                    <a:pt x="1055" y="85"/>
                    <a:pt x="1047" y="84"/>
                    <a:pt x="1038" y="83"/>
                  </a:cubicBezTo>
                  <a:cubicBezTo>
                    <a:pt x="1002" y="107"/>
                    <a:pt x="1002" y="107"/>
                    <a:pt x="1002" y="107"/>
                  </a:cubicBezTo>
                  <a:cubicBezTo>
                    <a:pt x="989" y="110"/>
                    <a:pt x="980" y="110"/>
                    <a:pt x="976" y="105"/>
                  </a:cubicBezTo>
                  <a:cubicBezTo>
                    <a:pt x="972" y="100"/>
                    <a:pt x="960" y="95"/>
                    <a:pt x="956" y="91"/>
                  </a:cubicBezTo>
                  <a:cubicBezTo>
                    <a:pt x="952" y="86"/>
                    <a:pt x="944" y="77"/>
                    <a:pt x="944" y="68"/>
                  </a:cubicBezTo>
                  <a:cubicBezTo>
                    <a:pt x="948" y="25"/>
                    <a:pt x="948" y="25"/>
                    <a:pt x="948" y="25"/>
                  </a:cubicBezTo>
                  <a:cubicBezTo>
                    <a:pt x="948" y="17"/>
                    <a:pt x="940" y="7"/>
                    <a:pt x="940" y="7"/>
                  </a:cubicBezTo>
                  <a:cubicBezTo>
                    <a:pt x="902" y="0"/>
                    <a:pt x="902" y="0"/>
                    <a:pt x="902" y="0"/>
                  </a:cubicBezTo>
                  <a:cubicBezTo>
                    <a:pt x="902" y="0"/>
                    <a:pt x="889" y="4"/>
                    <a:pt x="888" y="12"/>
                  </a:cubicBezTo>
                  <a:cubicBezTo>
                    <a:pt x="872" y="50"/>
                    <a:pt x="872" y="50"/>
                    <a:pt x="872" y="50"/>
                  </a:cubicBezTo>
                  <a:cubicBezTo>
                    <a:pt x="871" y="67"/>
                    <a:pt x="862" y="67"/>
                    <a:pt x="858" y="71"/>
                  </a:cubicBezTo>
                  <a:cubicBezTo>
                    <a:pt x="858" y="71"/>
                    <a:pt x="858" y="71"/>
                    <a:pt x="853" y="75"/>
                  </a:cubicBezTo>
                  <a:cubicBezTo>
                    <a:pt x="849" y="70"/>
                    <a:pt x="840" y="70"/>
                    <a:pt x="836" y="74"/>
                  </a:cubicBezTo>
                  <a:cubicBezTo>
                    <a:pt x="831" y="78"/>
                    <a:pt x="831" y="78"/>
                    <a:pt x="831" y="78"/>
                  </a:cubicBezTo>
                  <a:cubicBezTo>
                    <a:pt x="822" y="77"/>
                    <a:pt x="814" y="76"/>
                    <a:pt x="806" y="67"/>
                  </a:cubicBezTo>
                  <a:cubicBezTo>
                    <a:pt x="778" y="35"/>
                    <a:pt x="778" y="35"/>
                    <a:pt x="778" y="35"/>
                  </a:cubicBezTo>
                  <a:cubicBezTo>
                    <a:pt x="774" y="30"/>
                    <a:pt x="762" y="25"/>
                    <a:pt x="757" y="29"/>
                  </a:cubicBezTo>
                  <a:cubicBezTo>
                    <a:pt x="734" y="49"/>
                    <a:pt x="734" y="49"/>
                    <a:pt x="734" y="49"/>
                  </a:cubicBezTo>
                  <a:cubicBezTo>
                    <a:pt x="725" y="49"/>
                    <a:pt x="725" y="57"/>
                    <a:pt x="728" y="70"/>
                  </a:cubicBezTo>
                  <a:cubicBezTo>
                    <a:pt x="747" y="102"/>
                    <a:pt x="747" y="102"/>
                    <a:pt x="747" y="102"/>
                  </a:cubicBezTo>
                  <a:cubicBezTo>
                    <a:pt x="754" y="120"/>
                    <a:pt x="750" y="124"/>
                    <a:pt x="744" y="136"/>
                  </a:cubicBezTo>
                  <a:cubicBezTo>
                    <a:pt x="744" y="136"/>
                    <a:pt x="744" y="136"/>
                    <a:pt x="744" y="136"/>
                  </a:cubicBezTo>
                  <a:cubicBezTo>
                    <a:pt x="740" y="140"/>
                    <a:pt x="735" y="144"/>
                    <a:pt x="731" y="148"/>
                  </a:cubicBezTo>
                  <a:cubicBezTo>
                    <a:pt x="731" y="148"/>
                    <a:pt x="731" y="148"/>
                    <a:pt x="731" y="148"/>
                  </a:cubicBezTo>
                  <a:cubicBezTo>
                    <a:pt x="730" y="157"/>
                    <a:pt x="721" y="165"/>
                    <a:pt x="703" y="164"/>
                  </a:cubicBezTo>
                  <a:cubicBezTo>
                    <a:pt x="665" y="157"/>
                    <a:pt x="665" y="157"/>
                    <a:pt x="665" y="157"/>
                  </a:cubicBezTo>
                  <a:cubicBezTo>
                    <a:pt x="656" y="156"/>
                    <a:pt x="647" y="164"/>
                    <a:pt x="647" y="173"/>
                  </a:cubicBezTo>
                  <a:cubicBezTo>
                    <a:pt x="640" y="203"/>
                    <a:pt x="640" y="203"/>
                    <a:pt x="640" y="203"/>
                  </a:cubicBezTo>
                  <a:cubicBezTo>
                    <a:pt x="639" y="211"/>
                    <a:pt x="643" y="216"/>
                    <a:pt x="656" y="221"/>
                  </a:cubicBezTo>
                  <a:cubicBezTo>
                    <a:pt x="690" y="232"/>
                    <a:pt x="690" y="232"/>
                    <a:pt x="690" y="232"/>
                  </a:cubicBezTo>
                  <a:cubicBezTo>
                    <a:pt x="702" y="237"/>
                    <a:pt x="710" y="246"/>
                    <a:pt x="710" y="255"/>
                  </a:cubicBezTo>
                  <a:cubicBezTo>
                    <a:pt x="710" y="255"/>
                    <a:pt x="710" y="255"/>
                    <a:pt x="710" y="255"/>
                  </a:cubicBezTo>
                  <a:cubicBezTo>
                    <a:pt x="714" y="260"/>
                    <a:pt x="713" y="268"/>
                    <a:pt x="717" y="273"/>
                  </a:cubicBezTo>
                  <a:cubicBezTo>
                    <a:pt x="712" y="277"/>
                    <a:pt x="712" y="277"/>
                    <a:pt x="712" y="277"/>
                  </a:cubicBezTo>
                  <a:cubicBezTo>
                    <a:pt x="716" y="281"/>
                    <a:pt x="716" y="290"/>
                    <a:pt x="702" y="302"/>
                  </a:cubicBezTo>
                  <a:cubicBezTo>
                    <a:pt x="674" y="326"/>
                    <a:pt x="674" y="326"/>
                    <a:pt x="674" y="326"/>
                  </a:cubicBezTo>
                  <a:cubicBezTo>
                    <a:pt x="665" y="334"/>
                    <a:pt x="664" y="343"/>
                    <a:pt x="668" y="347"/>
                  </a:cubicBezTo>
                  <a:cubicBezTo>
                    <a:pt x="687" y="379"/>
                    <a:pt x="687" y="379"/>
                    <a:pt x="687" y="379"/>
                  </a:cubicBezTo>
                  <a:cubicBezTo>
                    <a:pt x="691" y="383"/>
                    <a:pt x="700" y="384"/>
                    <a:pt x="704" y="380"/>
                  </a:cubicBezTo>
                  <a:cubicBezTo>
                    <a:pt x="745" y="361"/>
                    <a:pt x="745" y="361"/>
                    <a:pt x="745" y="361"/>
                  </a:cubicBezTo>
                  <a:cubicBezTo>
                    <a:pt x="758" y="358"/>
                    <a:pt x="767" y="358"/>
                    <a:pt x="771" y="363"/>
                  </a:cubicBezTo>
                  <a:cubicBezTo>
                    <a:pt x="771" y="363"/>
                    <a:pt x="771" y="363"/>
                    <a:pt x="771" y="363"/>
                  </a:cubicBezTo>
                  <a:cubicBezTo>
                    <a:pt x="779" y="364"/>
                    <a:pt x="787" y="373"/>
                    <a:pt x="791" y="377"/>
                  </a:cubicBezTo>
                  <a:cubicBezTo>
                    <a:pt x="791" y="377"/>
                    <a:pt x="791" y="377"/>
                    <a:pt x="791" y="377"/>
                  </a:cubicBezTo>
                  <a:cubicBezTo>
                    <a:pt x="800" y="378"/>
                    <a:pt x="804" y="383"/>
                    <a:pt x="802" y="400"/>
                  </a:cubicBezTo>
                  <a:cubicBezTo>
                    <a:pt x="799" y="443"/>
                    <a:pt x="799" y="443"/>
                    <a:pt x="799" y="443"/>
                  </a:cubicBezTo>
                  <a:cubicBezTo>
                    <a:pt x="798" y="451"/>
                    <a:pt x="802" y="456"/>
                    <a:pt x="811" y="457"/>
                  </a:cubicBezTo>
                  <a:cubicBezTo>
                    <a:pt x="845" y="468"/>
                    <a:pt x="845" y="468"/>
                    <a:pt x="845" y="468"/>
                  </a:cubicBezTo>
                  <a:cubicBezTo>
                    <a:pt x="849" y="464"/>
                    <a:pt x="858" y="464"/>
                    <a:pt x="859" y="456"/>
                  </a:cubicBezTo>
                  <a:cubicBezTo>
                    <a:pt x="871" y="413"/>
                    <a:pt x="871" y="413"/>
                    <a:pt x="871" y="413"/>
                  </a:cubicBezTo>
                  <a:cubicBezTo>
                    <a:pt x="876" y="401"/>
                    <a:pt x="889" y="397"/>
                    <a:pt x="894" y="393"/>
                  </a:cubicBezTo>
                  <a:cubicBezTo>
                    <a:pt x="894" y="393"/>
                    <a:pt x="894" y="393"/>
                    <a:pt x="894" y="393"/>
                  </a:cubicBezTo>
                  <a:cubicBezTo>
                    <a:pt x="902" y="394"/>
                    <a:pt x="911" y="395"/>
                    <a:pt x="916" y="391"/>
                  </a:cubicBezTo>
                  <a:cubicBezTo>
                    <a:pt x="916" y="391"/>
                    <a:pt x="916" y="391"/>
                    <a:pt x="916" y="391"/>
                  </a:cubicBezTo>
                  <a:cubicBezTo>
                    <a:pt x="924" y="391"/>
                    <a:pt x="933" y="392"/>
                    <a:pt x="941" y="401"/>
                  </a:cubicBezTo>
                  <a:cubicBezTo>
                    <a:pt x="969" y="433"/>
                    <a:pt x="969" y="433"/>
                    <a:pt x="969" y="433"/>
                  </a:cubicBezTo>
                  <a:cubicBezTo>
                    <a:pt x="973" y="438"/>
                    <a:pt x="985" y="443"/>
                    <a:pt x="990" y="439"/>
                  </a:cubicBezTo>
                  <a:cubicBezTo>
                    <a:pt x="1018" y="415"/>
                    <a:pt x="1018" y="415"/>
                    <a:pt x="1018" y="415"/>
                  </a:cubicBezTo>
                  <a:cubicBezTo>
                    <a:pt x="1018" y="415"/>
                    <a:pt x="1027" y="407"/>
                    <a:pt x="1019" y="398"/>
                  </a:cubicBezTo>
                  <a:close/>
                  <a:moveTo>
                    <a:pt x="803" y="279"/>
                  </a:moveTo>
                  <a:cubicBezTo>
                    <a:pt x="776" y="238"/>
                    <a:pt x="788" y="187"/>
                    <a:pt x="825" y="164"/>
                  </a:cubicBezTo>
                  <a:cubicBezTo>
                    <a:pt x="866" y="136"/>
                    <a:pt x="921" y="144"/>
                    <a:pt x="948" y="185"/>
                  </a:cubicBezTo>
                  <a:cubicBezTo>
                    <a:pt x="972" y="221"/>
                    <a:pt x="963" y="277"/>
                    <a:pt x="922" y="304"/>
                  </a:cubicBezTo>
                  <a:cubicBezTo>
                    <a:pt x="881" y="332"/>
                    <a:pt x="830" y="320"/>
                    <a:pt x="803" y="279"/>
                  </a:cubicBezTo>
                  <a:close/>
                </a:path>
              </a:pathLst>
            </a:custGeom>
            <a:solidFill>
              <a:schemeClr val="tx1"/>
            </a:solidFill>
            <a:ln>
              <a:noFill/>
            </a:ln>
          </p:spPr>
          <p:txBody>
            <a:bodyPr vert="horz" wrap="square" lIns="68574" tIns="34287" rIns="68574" bIns="34287"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17346"/>
                </a:solidFill>
                <a:effectLst/>
                <a:uLnTx/>
                <a:uFillTx/>
                <a:latin typeface="Segoe UI"/>
                <a:ea typeface="+mn-ea"/>
                <a:cs typeface="+mn-cs"/>
              </a:endParaRPr>
            </a:p>
          </p:txBody>
        </p:sp>
        <p:sp>
          <p:nvSpPr>
            <p:cNvPr id="88" name="Freeform 87"/>
            <p:cNvSpPr>
              <a:spLocks noChangeAspect="1"/>
            </p:cNvSpPr>
            <p:nvPr/>
          </p:nvSpPr>
          <p:spPr bwMode="black">
            <a:xfrm>
              <a:off x="776985" y="4213905"/>
              <a:ext cx="342871" cy="335728"/>
            </a:xfrm>
            <a:custGeom>
              <a:avLst/>
              <a:gdLst>
                <a:gd name="connsiteX0" fmla="*/ 3713863 w 4893730"/>
                <a:gd name="connsiteY0" fmla="*/ 2130808 h 4791777"/>
                <a:gd name="connsiteX1" fmla="*/ 4426142 w 4893730"/>
                <a:gd name="connsiteY1" fmla="*/ 2130808 h 4791777"/>
                <a:gd name="connsiteX2" fmla="*/ 4598071 w 4893730"/>
                <a:gd name="connsiteY2" fmla="*/ 2301547 h 4791777"/>
                <a:gd name="connsiteX3" fmla="*/ 4598071 w 4893730"/>
                <a:gd name="connsiteY3" fmla="*/ 3886978 h 4791777"/>
                <a:gd name="connsiteX4" fmla="*/ 4426142 w 4893730"/>
                <a:gd name="connsiteY4" fmla="*/ 4057717 h 4791777"/>
                <a:gd name="connsiteX5" fmla="*/ 3713863 w 4893730"/>
                <a:gd name="connsiteY5" fmla="*/ 4057717 h 4791777"/>
                <a:gd name="connsiteX6" fmla="*/ 3517372 w 4893730"/>
                <a:gd name="connsiteY6" fmla="*/ 3886978 h 4791777"/>
                <a:gd name="connsiteX7" fmla="*/ 3517372 w 4893730"/>
                <a:gd name="connsiteY7" fmla="*/ 2301547 h 4791777"/>
                <a:gd name="connsiteX8" fmla="*/ 3713863 w 4893730"/>
                <a:gd name="connsiteY8" fmla="*/ 2130808 h 4791777"/>
                <a:gd name="connsiteX9" fmla="*/ 904368 w 4893730"/>
                <a:gd name="connsiteY9" fmla="*/ 1223432 h 4791777"/>
                <a:gd name="connsiteX10" fmla="*/ 1609930 w 4893730"/>
                <a:gd name="connsiteY10" fmla="*/ 1223432 h 4791777"/>
                <a:gd name="connsiteX11" fmla="*/ 1804567 w 4893730"/>
                <a:gd name="connsiteY11" fmla="*/ 1394467 h 4791777"/>
                <a:gd name="connsiteX12" fmla="*/ 1804567 w 4893730"/>
                <a:gd name="connsiteY12" fmla="*/ 3886683 h 4791777"/>
                <a:gd name="connsiteX13" fmla="*/ 1609930 w 4893730"/>
                <a:gd name="connsiteY13" fmla="*/ 4057717 h 4791777"/>
                <a:gd name="connsiteX14" fmla="*/ 904368 w 4893730"/>
                <a:gd name="connsiteY14" fmla="*/ 4057717 h 4791777"/>
                <a:gd name="connsiteX15" fmla="*/ 734060 w 4893730"/>
                <a:gd name="connsiteY15" fmla="*/ 3886683 h 4791777"/>
                <a:gd name="connsiteX16" fmla="*/ 734060 w 4893730"/>
                <a:gd name="connsiteY16" fmla="*/ 1394467 h 4791777"/>
                <a:gd name="connsiteX17" fmla="*/ 904368 w 4893730"/>
                <a:gd name="connsiteY17" fmla="*/ 1223432 h 4791777"/>
                <a:gd name="connsiteX18" fmla="*/ 2325453 w 4893730"/>
                <a:gd name="connsiteY18" fmla="*/ 316050 h 4791777"/>
                <a:gd name="connsiteX19" fmla="*/ 3031014 w 4893730"/>
                <a:gd name="connsiteY19" fmla="*/ 316050 h 4791777"/>
                <a:gd name="connsiteX20" fmla="*/ 3201322 w 4893730"/>
                <a:gd name="connsiteY20" fmla="*/ 487238 h 4791777"/>
                <a:gd name="connsiteX21" fmla="*/ 3201322 w 4893730"/>
                <a:gd name="connsiteY21" fmla="*/ 3886530 h 4791777"/>
                <a:gd name="connsiteX22" fmla="*/ 3031014 w 4893730"/>
                <a:gd name="connsiteY22" fmla="*/ 4057717 h 4791777"/>
                <a:gd name="connsiteX23" fmla="*/ 2325453 w 4893730"/>
                <a:gd name="connsiteY23" fmla="*/ 4057717 h 4791777"/>
                <a:gd name="connsiteX24" fmla="*/ 2130815 w 4893730"/>
                <a:gd name="connsiteY24" fmla="*/ 3886530 h 4791777"/>
                <a:gd name="connsiteX25" fmla="*/ 2130815 w 4893730"/>
                <a:gd name="connsiteY25" fmla="*/ 487238 h 4791777"/>
                <a:gd name="connsiteX26" fmla="*/ 2325453 w 4893730"/>
                <a:gd name="connsiteY26" fmla="*/ 316050 h 4791777"/>
                <a:gd name="connsiteX27" fmla="*/ 269155 w 4893730"/>
                <a:gd name="connsiteY27" fmla="*/ 0 h 4791777"/>
                <a:gd name="connsiteX28" fmla="*/ 538311 w 4893730"/>
                <a:gd name="connsiteY28" fmla="*/ 268927 h 4791777"/>
                <a:gd name="connsiteX29" fmla="*/ 538311 w 4893730"/>
                <a:gd name="connsiteY29" fmla="*/ 4253925 h 4791777"/>
                <a:gd name="connsiteX30" fmla="*/ 4624575 w 4893730"/>
                <a:gd name="connsiteY30" fmla="*/ 4253925 h 4791777"/>
                <a:gd name="connsiteX31" fmla="*/ 4893730 w 4893730"/>
                <a:gd name="connsiteY31" fmla="*/ 4522851 h 4791777"/>
                <a:gd name="connsiteX32" fmla="*/ 4624575 w 4893730"/>
                <a:gd name="connsiteY32" fmla="*/ 4791777 h 4791777"/>
                <a:gd name="connsiteX33" fmla="*/ 269155 w 4893730"/>
                <a:gd name="connsiteY33" fmla="*/ 4791777 h 4791777"/>
                <a:gd name="connsiteX34" fmla="*/ 0 w 4893730"/>
                <a:gd name="connsiteY34" fmla="*/ 4522851 h 4791777"/>
                <a:gd name="connsiteX35" fmla="*/ 0 w 4893730"/>
                <a:gd name="connsiteY35" fmla="*/ 268927 h 4791777"/>
                <a:gd name="connsiteX36" fmla="*/ 269155 w 4893730"/>
                <a:gd name="connsiteY36" fmla="*/ 0 h 4791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4893730" h="4791777">
                  <a:moveTo>
                    <a:pt x="3713863" y="2130808"/>
                  </a:moveTo>
                  <a:cubicBezTo>
                    <a:pt x="3713863" y="2130808"/>
                    <a:pt x="3713863" y="2130808"/>
                    <a:pt x="4426142" y="2130808"/>
                  </a:cubicBezTo>
                  <a:cubicBezTo>
                    <a:pt x="4524387" y="2130808"/>
                    <a:pt x="4598071" y="2203982"/>
                    <a:pt x="4598071" y="2301547"/>
                  </a:cubicBezTo>
                  <a:cubicBezTo>
                    <a:pt x="4598071" y="2301547"/>
                    <a:pt x="4598071" y="2301547"/>
                    <a:pt x="4598071" y="3886978"/>
                  </a:cubicBezTo>
                  <a:cubicBezTo>
                    <a:pt x="4598071" y="3984543"/>
                    <a:pt x="4524387" y="4057717"/>
                    <a:pt x="4426142" y="4057717"/>
                  </a:cubicBezTo>
                  <a:cubicBezTo>
                    <a:pt x="4426142" y="4057717"/>
                    <a:pt x="4426142" y="4057717"/>
                    <a:pt x="3713863" y="4057717"/>
                  </a:cubicBezTo>
                  <a:cubicBezTo>
                    <a:pt x="3615618" y="4057717"/>
                    <a:pt x="3517372" y="3984543"/>
                    <a:pt x="3517372" y="3886978"/>
                  </a:cubicBezTo>
                  <a:cubicBezTo>
                    <a:pt x="3517372" y="3886978"/>
                    <a:pt x="3517372" y="3886978"/>
                    <a:pt x="3517372" y="2301547"/>
                  </a:cubicBezTo>
                  <a:cubicBezTo>
                    <a:pt x="3517372" y="2203982"/>
                    <a:pt x="3615618" y="2130808"/>
                    <a:pt x="3713863" y="2130808"/>
                  </a:cubicBezTo>
                  <a:close/>
                  <a:moveTo>
                    <a:pt x="904368" y="1223432"/>
                  </a:moveTo>
                  <a:cubicBezTo>
                    <a:pt x="904368" y="1223432"/>
                    <a:pt x="904368" y="1223432"/>
                    <a:pt x="1609930" y="1223432"/>
                  </a:cubicBezTo>
                  <a:cubicBezTo>
                    <a:pt x="1731578" y="1223432"/>
                    <a:pt x="1804567" y="1296733"/>
                    <a:pt x="1804567" y="1394467"/>
                  </a:cubicBezTo>
                  <a:cubicBezTo>
                    <a:pt x="1804567" y="1394467"/>
                    <a:pt x="1804567" y="1394467"/>
                    <a:pt x="1804567" y="3886683"/>
                  </a:cubicBezTo>
                  <a:cubicBezTo>
                    <a:pt x="1804567" y="3984417"/>
                    <a:pt x="1731578" y="4057717"/>
                    <a:pt x="1609930" y="4057717"/>
                  </a:cubicBezTo>
                  <a:cubicBezTo>
                    <a:pt x="1609930" y="4057717"/>
                    <a:pt x="1609930" y="4057717"/>
                    <a:pt x="904368" y="4057717"/>
                  </a:cubicBezTo>
                  <a:cubicBezTo>
                    <a:pt x="807049" y="4057717"/>
                    <a:pt x="734060" y="3984417"/>
                    <a:pt x="734060" y="3886683"/>
                  </a:cubicBezTo>
                  <a:cubicBezTo>
                    <a:pt x="734060" y="3886683"/>
                    <a:pt x="734060" y="3886683"/>
                    <a:pt x="734060" y="1394467"/>
                  </a:cubicBezTo>
                  <a:cubicBezTo>
                    <a:pt x="734060" y="1296733"/>
                    <a:pt x="807049" y="1223432"/>
                    <a:pt x="904368" y="1223432"/>
                  </a:cubicBezTo>
                  <a:close/>
                  <a:moveTo>
                    <a:pt x="2325453" y="316050"/>
                  </a:moveTo>
                  <a:cubicBezTo>
                    <a:pt x="2325453" y="316050"/>
                    <a:pt x="2325453" y="316050"/>
                    <a:pt x="3031014" y="316050"/>
                  </a:cubicBezTo>
                  <a:cubicBezTo>
                    <a:pt x="3128333" y="316050"/>
                    <a:pt x="3201322" y="389416"/>
                    <a:pt x="3201322" y="487238"/>
                  </a:cubicBezTo>
                  <a:cubicBezTo>
                    <a:pt x="3201322" y="487238"/>
                    <a:pt x="3201322" y="487238"/>
                    <a:pt x="3201322" y="3886530"/>
                  </a:cubicBezTo>
                  <a:cubicBezTo>
                    <a:pt x="3201322" y="3984351"/>
                    <a:pt x="3128333" y="4057717"/>
                    <a:pt x="3031014" y="4057717"/>
                  </a:cubicBezTo>
                  <a:cubicBezTo>
                    <a:pt x="3031014" y="4057717"/>
                    <a:pt x="3031014" y="4057717"/>
                    <a:pt x="2325453" y="4057717"/>
                  </a:cubicBezTo>
                  <a:cubicBezTo>
                    <a:pt x="2203804" y="4057717"/>
                    <a:pt x="2130815" y="3984351"/>
                    <a:pt x="2130815" y="3886530"/>
                  </a:cubicBezTo>
                  <a:cubicBezTo>
                    <a:pt x="2130815" y="3886530"/>
                    <a:pt x="2130815" y="3886530"/>
                    <a:pt x="2130815" y="487238"/>
                  </a:cubicBezTo>
                  <a:cubicBezTo>
                    <a:pt x="2130815" y="389416"/>
                    <a:pt x="2203804" y="316050"/>
                    <a:pt x="2325453" y="316050"/>
                  </a:cubicBezTo>
                  <a:close/>
                  <a:moveTo>
                    <a:pt x="269155" y="0"/>
                  </a:moveTo>
                  <a:cubicBezTo>
                    <a:pt x="415967" y="0"/>
                    <a:pt x="538311" y="122239"/>
                    <a:pt x="538311" y="268927"/>
                  </a:cubicBezTo>
                  <a:cubicBezTo>
                    <a:pt x="538311" y="268927"/>
                    <a:pt x="538311" y="268927"/>
                    <a:pt x="538311" y="4253925"/>
                  </a:cubicBezTo>
                  <a:cubicBezTo>
                    <a:pt x="538311" y="4253925"/>
                    <a:pt x="538311" y="4253925"/>
                    <a:pt x="4624575" y="4253925"/>
                  </a:cubicBezTo>
                  <a:cubicBezTo>
                    <a:pt x="4771387" y="4253925"/>
                    <a:pt x="4893730" y="4376164"/>
                    <a:pt x="4893730" y="4522851"/>
                  </a:cubicBezTo>
                  <a:cubicBezTo>
                    <a:pt x="4893730" y="4669538"/>
                    <a:pt x="4771387" y="4791777"/>
                    <a:pt x="4624575" y="4791777"/>
                  </a:cubicBezTo>
                  <a:cubicBezTo>
                    <a:pt x="4624575" y="4791777"/>
                    <a:pt x="4624575" y="4791777"/>
                    <a:pt x="269155" y="4791777"/>
                  </a:cubicBezTo>
                  <a:cubicBezTo>
                    <a:pt x="122344" y="4791777"/>
                    <a:pt x="0" y="4669538"/>
                    <a:pt x="0" y="4522851"/>
                  </a:cubicBezTo>
                  <a:cubicBezTo>
                    <a:pt x="0" y="4522851"/>
                    <a:pt x="0" y="4522851"/>
                    <a:pt x="0" y="268927"/>
                  </a:cubicBezTo>
                  <a:cubicBezTo>
                    <a:pt x="0" y="122239"/>
                    <a:pt x="122344" y="0"/>
                    <a:pt x="269155"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37148" tIns="109719" rIns="137148" bIns="109719"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699261"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9" name="Rectangle 88"/>
            <p:cNvSpPr/>
            <p:nvPr/>
          </p:nvSpPr>
          <p:spPr bwMode="auto">
            <a:xfrm rot="2745734">
              <a:off x="279530" y="1141266"/>
              <a:ext cx="1260714" cy="1255193"/>
            </a:xfrm>
            <a:prstGeom prst="rect">
              <a:avLst/>
            </a:prstGeom>
            <a:solidFill>
              <a:schemeClr val="tx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0" name="Rectangle 89"/>
            <p:cNvSpPr/>
            <p:nvPr/>
          </p:nvSpPr>
          <p:spPr bwMode="auto">
            <a:xfrm rot="2745734">
              <a:off x="292433" y="3819160"/>
              <a:ext cx="1610349" cy="1235003"/>
            </a:xfrm>
            <a:prstGeom prst="rect">
              <a:avLst/>
            </a:prstGeom>
            <a:solidFill>
              <a:schemeClr val="tx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2" name="Rectangle 91"/>
            <p:cNvSpPr/>
            <p:nvPr/>
          </p:nvSpPr>
          <p:spPr bwMode="auto">
            <a:xfrm rot="2745734">
              <a:off x="1315610" y="4915701"/>
              <a:ext cx="1263370" cy="1255989"/>
            </a:xfrm>
            <a:prstGeom prst="rect">
              <a:avLst/>
            </a:prstGeom>
            <a:solidFill>
              <a:schemeClr val="tx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40" name="TextBox 39"/>
          <p:cNvSpPr txBox="1"/>
          <p:nvPr/>
        </p:nvSpPr>
        <p:spPr>
          <a:xfrm>
            <a:off x="3" y="51415"/>
            <a:ext cx="2849058" cy="430887"/>
          </a:xfrm>
          <a:prstGeom prst="rect">
            <a:avLst/>
          </a:prstGeom>
        </p:spPr>
        <p:txBody>
          <a:bodyPr wrap="square">
            <a:spAutoFit/>
          </a:bodyPr>
          <a:lstStyle>
            <a:defPPr>
              <a:defRPr lang="en-US"/>
            </a:defPPr>
            <a:lvl1pPr defTabSz="914192">
              <a:defRPr sz="2800" b="1" spc="-100">
                <a:ln w="3175">
                  <a:noFill/>
                </a:ln>
                <a:solidFill>
                  <a:srgbClr val="F2C812"/>
                </a:solidFill>
                <a:latin typeface="Segoe UI" panose="020B0502040204020203" pitchFamily="34" charset="0"/>
                <a:ea typeface="ＭＳ Ｐゴシック" charset="0"/>
                <a:cs typeface="Segoe UI" panose="020B0502040204020203" pitchFamily="34" charset="0"/>
              </a:defRPr>
            </a:lvl1pPr>
          </a:lstStyle>
          <a:p>
            <a:pPr marL="0" marR="0" lvl="0" indent="0" algn="l" defTabSz="914192" rtl="0" eaLnBrk="1" fontAlgn="auto" latinLnBrk="0" hangingPunct="1">
              <a:lnSpc>
                <a:spcPct val="100000"/>
              </a:lnSpc>
              <a:spcBef>
                <a:spcPts val="0"/>
              </a:spcBef>
              <a:spcAft>
                <a:spcPts val="0"/>
              </a:spcAft>
              <a:buClrTx/>
              <a:buSzTx/>
              <a:buFontTx/>
              <a:buNone/>
              <a:tabLst/>
              <a:defRPr/>
            </a:pPr>
            <a:r>
              <a:rPr kumimoji="0" lang="en-US" sz="2200" b="1" i="0" u="none" strike="noStrike" kern="1200" cap="none" spc="-100" normalizeH="0" baseline="0" noProof="0">
                <a:ln w="3175">
                  <a:noFill/>
                </a:ln>
                <a:solidFill>
                  <a:srgbClr val="F2C812"/>
                </a:solidFill>
                <a:effectLst/>
                <a:uLnTx/>
                <a:uFillTx/>
                <a:latin typeface="Segoe UI Light"/>
                <a:ea typeface="ＭＳ Ｐゴシック" charset="0"/>
                <a:cs typeface="Segoe UI" panose="020B0502040204020203" pitchFamily="34" charset="0"/>
              </a:rPr>
              <a:t>Power BI Desktop</a:t>
            </a:r>
          </a:p>
        </p:txBody>
      </p:sp>
      <p:sp>
        <p:nvSpPr>
          <p:cNvPr id="41" name="Rectangle 40"/>
          <p:cNvSpPr/>
          <p:nvPr/>
        </p:nvSpPr>
        <p:spPr bwMode="auto">
          <a:xfrm rot="2745734">
            <a:off x="825067" y="3494250"/>
            <a:ext cx="1260714" cy="370170"/>
          </a:xfrm>
          <a:prstGeom prst="rect">
            <a:avLst/>
          </a:prstGeom>
          <a:solidFill>
            <a:schemeClr val="tx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3" name="Picture 2"/>
          <p:cNvPicPr>
            <a:picLocks noChangeAspect="1"/>
          </p:cNvPicPr>
          <p:nvPr/>
        </p:nvPicPr>
        <p:blipFill>
          <a:blip r:embed="rId3"/>
          <a:stretch>
            <a:fillRect/>
          </a:stretch>
        </p:blipFill>
        <p:spPr>
          <a:xfrm>
            <a:off x="3441309" y="1577330"/>
            <a:ext cx="8265919" cy="4266281"/>
          </a:xfrm>
          <a:prstGeom prst="rect">
            <a:avLst/>
          </a:prstGeom>
          <a:ln>
            <a:noFill/>
          </a:ln>
          <a:effectLst>
            <a:outerShdw blurRad="190500" algn="tl" rotWithShape="0">
              <a:srgbClr val="000000">
                <a:alpha val="70000"/>
              </a:srgbClr>
            </a:outerShdw>
          </a:effectLst>
        </p:spPr>
      </p:pic>
      <p:pic>
        <p:nvPicPr>
          <p:cNvPr id="4" name="Picture 3"/>
          <p:cNvPicPr>
            <a:picLocks noChangeAspect="1"/>
          </p:cNvPicPr>
          <p:nvPr/>
        </p:nvPicPr>
        <p:blipFill>
          <a:blip r:embed="rId4">
            <a:extLst>
              <a:ext uri="{BEBA8EAE-BF5A-486C-A8C5-ECC9F3942E4B}">
                <a14:imgProps xmlns:a14="http://schemas.microsoft.com/office/drawing/2010/main">
                  <a14:imgLayer r:embed="rId5">
                    <a14:imgEffect>
                      <a14:saturation sat="0"/>
                    </a14:imgEffect>
                  </a14:imgLayer>
                </a14:imgProps>
              </a:ext>
            </a:extLst>
          </a:blip>
          <a:stretch>
            <a:fillRect/>
          </a:stretch>
        </p:blipFill>
        <p:spPr>
          <a:xfrm>
            <a:off x="9286047" y="4799071"/>
            <a:ext cx="2724150" cy="1895475"/>
          </a:xfrm>
          <a:prstGeom prst="rect">
            <a:avLst/>
          </a:prstGeom>
        </p:spPr>
      </p:pic>
    </p:spTree>
    <p:extLst>
      <p:ext uri="{BB962C8B-B14F-4D97-AF65-F5344CB8AC3E}">
        <p14:creationId xmlns:p14="http://schemas.microsoft.com/office/powerpoint/2010/main" val="125209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solidFill>
            <a:schemeClr val="bg1"/>
          </a:solidFill>
        </p:spPr>
        <p:txBody>
          <a:bodyPr/>
          <a:lstStyle/>
          <a:p>
            <a:r>
              <a:rPr lang="pt-PT">
                <a:solidFill>
                  <a:schemeClr val="tx1"/>
                </a:solidFill>
              </a:rPr>
              <a:t>Visualisations – Stacked Area Chart</a:t>
            </a:r>
            <a:endParaRPr lang="en-US" sz="3600">
              <a:solidFill>
                <a:schemeClr val="tx1"/>
              </a:solidFill>
            </a:endParaRPr>
          </a:p>
        </p:txBody>
      </p:sp>
      <p:grpSp>
        <p:nvGrpSpPr>
          <p:cNvPr id="52" name="Group 51"/>
          <p:cNvGrpSpPr/>
          <p:nvPr/>
        </p:nvGrpSpPr>
        <p:grpSpPr>
          <a:xfrm>
            <a:off x="2" y="1"/>
            <a:ext cx="2849058" cy="6858000"/>
            <a:chOff x="2" y="1"/>
            <a:chExt cx="2849058" cy="6858000"/>
          </a:xfrm>
        </p:grpSpPr>
        <p:sp>
          <p:nvSpPr>
            <p:cNvPr id="71" name="Rectangle 70"/>
            <p:cNvSpPr/>
            <p:nvPr/>
          </p:nvSpPr>
          <p:spPr bwMode="auto">
            <a:xfrm>
              <a:off x="2" y="1"/>
              <a:ext cx="2849058"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3" name="Oval 70"/>
            <p:cNvSpPr/>
            <p:nvPr/>
          </p:nvSpPr>
          <p:spPr>
            <a:xfrm>
              <a:off x="1413521" y="4951537"/>
              <a:ext cx="1119626" cy="1119626"/>
            </a:xfrm>
            <a:prstGeom prst="ellipse">
              <a:avLst/>
            </a:prstGeom>
            <a:solidFill>
              <a:srgbClr val="F2C812"/>
            </a:solidFill>
            <a:ln w="3175" cap="flat" cmpd="sng" algn="ctr">
              <a:noFill/>
              <a:prstDash val="solid"/>
            </a:ln>
            <a:effectLst/>
          </p:spPr>
          <p:txBody>
            <a:bodyPr vert="horz" wrap="none" lIns="0" tIns="45720" rIns="0" bIns="0" rtlCol="0" anchor="t"/>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Segoe UI"/>
                  <a:ea typeface="Segoe UI" pitchFamily="34" charset="0"/>
                  <a:cs typeface="Segoe UI" pitchFamily="34" charset="0"/>
                </a:rPr>
                <a:t>Share &amp;</a:t>
              </a:r>
            </a:p>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Segoe UI"/>
                  <a:ea typeface="Segoe UI" pitchFamily="34" charset="0"/>
                  <a:cs typeface="Segoe UI" pitchFamily="34" charset="0"/>
                </a:rPr>
                <a:t>collaborate </a:t>
              </a:r>
            </a:p>
          </p:txBody>
        </p:sp>
        <p:grpSp>
          <p:nvGrpSpPr>
            <p:cNvPr id="76" name="Group 38"/>
            <p:cNvGrpSpPr>
              <a:grpSpLocks noChangeAspect="1"/>
            </p:cNvGrpSpPr>
            <p:nvPr/>
          </p:nvGrpSpPr>
          <p:grpSpPr>
            <a:xfrm>
              <a:off x="676996" y="3930692"/>
              <a:ext cx="383905" cy="351536"/>
              <a:chOff x="4363684" y="5330386"/>
              <a:chExt cx="1409956" cy="1291077"/>
            </a:xfrm>
            <a:solidFill>
              <a:srgbClr val="217346"/>
            </a:solidFill>
          </p:grpSpPr>
          <p:sp>
            <p:nvSpPr>
              <p:cNvPr id="102" name="Donut 3"/>
              <p:cNvSpPr/>
              <p:nvPr/>
            </p:nvSpPr>
            <p:spPr bwMode="auto">
              <a:xfrm>
                <a:off x="4363684" y="5330386"/>
                <a:ext cx="1409956" cy="1291077"/>
              </a:xfrm>
              <a:custGeom>
                <a:avLst/>
                <a:gdLst/>
                <a:ahLst/>
                <a:cxnLst/>
                <a:rect l="l" t="t" r="r" b="b"/>
                <a:pathLst>
                  <a:path w="1409956" h="1291077">
                    <a:moveTo>
                      <a:pt x="956401" y="78410"/>
                    </a:moveTo>
                    <a:cubicBezTo>
                      <a:pt x="747518" y="78410"/>
                      <a:pt x="578184" y="247744"/>
                      <a:pt x="578184" y="456627"/>
                    </a:cubicBezTo>
                    <a:cubicBezTo>
                      <a:pt x="578184" y="665510"/>
                      <a:pt x="747518" y="834844"/>
                      <a:pt x="956401" y="834844"/>
                    </a:cubicBezTo>
                    <a:cubicBezTo>
                      <a:pt x="1165284" y="834844"/>
                      <a:pt x="1334618" y="665510"/>
                      <a:pt x="1334618" y="456627"/>
                    </a:cubicBezTo>
                    <a:cubicBezTo>
                      <a:pt x="1334618" y="247744"/>
                      <a:pt x="1165284" y="78410"/>
                      <a:pt x="956401" y="78410"/>
                    </a:cubicBezTo>
                    <a:close/>
                    <a:moveTo>
                      <a:pt x="952756" y="0"/>
                    </a:moveTo>
                    <a:cubicBezTo>
                      <a:pt x="1205261" y="0"/>
                      <a:pt x="1409956" y="204695"/>
                      <a:pt x="1409956" y="457200"/>
                    </a:cubicBezTo>
                    <a:cubicBezTo>
                      <a:pt x="1409956" y="709705"/>
                      <a:pt x="1205261" y="914400"/>
                      <a:pt x="952756" y="914400"/>
                    </a:cubicBezTo>
                    <a:cubicBezTo>
                      <a:pt x="862133" y="914400"/>
                      <a:pt x="777669" y="888034"/>
                      <a:pt x="707132" y="841746"/>
                    </a:cubicBezTo>
                    <a:lnTo>
                      <a:pt x="136495" y="1280102"/>
                    </a:lnTo>
                    <a:cubicBezTo>
                      <a:pt x="21896" y="1327168"/>
                      <a:pt x="-44029" y="1213730"/>
                      <a:pt x="33797" y="1113182"/>
                    </a:cubicBezTo>
                    <a:lnTo>
                      <a:pt x="568587" y="703518"/>
                    </a:lnTo>
                    <a:cubicBezTo>
                      <a:pt x="522087" y="632814"/>
                      <a:pt x="495556" y="548105"/>
                      <a:pt x="495556" y="457200"/>
                    </a:cubicBezTo>
                    <a:cubicBezTo>
                      <a:pt x="495556" y="204695"/>
                      <a:pt x="700251" y="0"/>
                      <a:pt x="952756" y="0"/>
                    </a:cubicBezTo>
                    <a:close/>
                  </a:path>
                </a:pathLst>
              </a:custGeom>
              <a:grpFill/>
              <a:ln>
                <a:solidFill>
                  <a:srgbClr val="21734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sp>
            <p:nvSpPr>
              <p:cNvPr id="103" name="Rectangle 4"/>
              <p:cNvSpPr/>
              <p:nvPr/>
            </p:nvSpPr>
            <p:spPr>
              <a:xfrm>
                <a:off x="5058389" y="5528247"/>
                <a:ext cx="490885" cy="490020"/>
              </a:xfrm>
              <a:custGeom>
                <a:avLst/>
                <a:gdLst/>
                <a:ahLst/>
                <a:cxnLst/>
                <a:rect l="l" t="t" r="r" b="b"/>
                <a:pathLst>
                  <a:path w="490885" h="490020">
                    <a:moveTo>
                      <a:pt x="240752" y="0"/>
                    </a:moveTo>
                    <a:cubicBezTo>
                      <a:pt x="253961" y="11844"/>
                      <a:pt x="293310" y="49692"/>
                      <a:pt x="337332" y="92439"/>
                    </a:cubicBezTo>
                    <a:lnTo>
                      <a:pt x="328342" y="81259"/>
                    </a:lnTo>
                    <a:cubicBezTo>
                      <a:pt x="356946" y="111282"/>
                      <a:pt x="377251" y="107167"/>
                      <a:pt x="382515" y="87941"/>
                    </a:cubicBezTo>
                    <a:cubicBezTo>
                      <a:pt x="383951" y="76921"/>
                      <a:pt x="384595" y="68732"/>
                      <a:pt x="396997" y="52239"/>
                    </a:cubicBezTo>
                    <a:cubicBezTo>
                      <a:pt x="420362" y="32084"/>
                      <a:pt x="442294" y="41736"/>
                      <a:pt x="454920" y="51330"/>
                    </a:cubicBezTo>
                    <a:cubicBezTo>
                      <a:pt x="467834" y="62761"/>
                      <a:pt x="477920" y="86882"/>
                      <a:pt x="460392" y="109714"/>
                    </a:cubicBezTo>
                    <a:cubicBezTo>
                      <a:pt x="451128" y="121912"/>
                      <a:pt x="437554" y="126838"/>
                      <a:pt x="425922" y="126505"/>
                    </a:cubicBezTo>
                    <a:cubicBezTo>
                      <a:pt x="424301" y="127609"/>
                      <a:pt x="382890" y="134974"/>
                      <a:pt x="427348" y="177672"/>
                    </a:cubicBezTo>
                    <a:lnTo>
                      <a:pt x="416886" y="169735"/>
                    </a:lnTo>
                    <a:cubicBezTo>
                      <a:pt x="450207" y="202177"/>
                      <a:pt x="478424" y="229744"/>
                      <a:pt x="490885" y="241900"/>
                    </a:cubicBezTo>
                    <a:lnTo>
                      <a:pt x="417150" y="317347"/>
                    </a:lnTo>
                    <a:cubicBezTo>
                      <a:pt x="417744" y="316535"/>
                      <a:pt x="418443" y="316123"/>
                      <a:pt x="419047" y="315822"/>
                    </a:cubicBezTo>
                    <a:cubicBezTo>
                      <a:pt x="389023" y="344426"/>
                      <a:pt x="393138" y="364731"/>
                      <a:pt x="412364" y="369995"/>
                    </a:cubicBezTo>
                    <a:cubicBezTo>
                      <a:pt x="423384" y="371431"/>
                      <a:pt x="431574" y="372075"/>
                      <a:pt x="448067" y="384477"/>
                    </a:cubicBezTo>
                    <a:cubicBezTo>
                      <a:pt x="468221" y="407842"/>
                      <a:pt x="458569" y="429774"/>
                      <a:pt x="448975" y="442400"/>
                    </a:cubicBezTo>
                    <a:cubicBezTo>
                      <a:pt x="437545" y="455314"/>
                      <a:pt x="413423" y="465400"/>
                      <a:pt x="390591" y="447872"/>
                    </a:cubicBezTo>
                    <a:cubicBezTo>
                      <a:pt x="378394" y="438608"/>
                      <a:pt x="373468" y="425034"/>
                      <a:pt x="373800" y="413402"/>
                    </a:cubicBezTo>
                    <a:cubicBezTo>
                      <a:pt x="372696" y="411781"/>
                      <a:pt x="365332" y="370370"/>
                      <a:pt x="322634" y="414828"/>
                    </a:cubicBezTo>
                    <a:lnTo>
                      <a:pt x="325243" y="411388"/>
                    </a:lnTo>
                    <a:lnTo>
                      <a:pt x="248395" y="490020"/>
                    </a:lnTo>
                    <a:cubicBezTo>
                      <a:pt x="208939" y="451897"/>
                      <a:pt x="199129" y="442073"/>
                      <a:pt x="174192" y="418236"/>
                    </a:cubicBezTo>
                    <a:cubicBezTo>
                      <a:pt x="145587" y="388212"/>
                      <a:pt x="125282" y="392327"/>
                      <a:pt x="120018" y="411553"/>
                    </a:cubicBezTo>
                    <a:cubicBezTo>
                      <a:pt x="118582" y="422573"/>
                      <a:pt x="117938" y="430763"/>
                      <a:pt x="105536" y="447256"/>
                    </a:cubicBezTo>
                    <a:cubicBezTo>
                      <a:pt x="82171" y="467410"/>
                      <a:pt x="60239" y="457758"/>
                      <a:pt x="47614" y="448164"/>
                    </a:cubicBezTo>
                    <a:cubicBezTo>
                      <a:pt x="34699" y="436734"/>
                      <a:pt x="24614" y="412612"/>
                      <a:pt x="42141" y="389780"/>
                    </a:cubicBezTo>
                    <a:cubicBezTo>
                      <a:pt x="51405" y="377583"/>
                      <a:pt x="64979" y="372657"/>
                      <a:pt x="76612" y="372989"/>
                    </a:cubicBezTo>
                    <a:cubicBezTo>
                      <a:pt x="78232" y="371886"/>
                      <a:pt x="119644" y="364521"/>
                      <a:pt x="75186" y="321823"/>
                    </a:cubicBezTo>
                    <a:cubicBezTo>
                      <a:pt x="58767" y="305402"/>
                      <a:pt x="23648" y="271235"/>
                      <a:pt x="0" y="248738"/>
                    </a:cubicBezTo>
                    <a:lnTo>
                      <a:pt x="77303" y="168146"/>
                    </a:lnTo>
                    <a:cubicBezTo>
                      <a:pt x="104269" y="140313"/>
                      <a:pt x="122130" y="156409"/>
                      <a:pt x="124388" y="175543"/>
                    </a:cubicBezTo>
                    <a:cubicBezTo>
                      <a:pt x="124457" y="182466"/>
                      <a:pt x="127106" y="193106"/>
                      <a:pt x="137575" y="203052"/>
                    </a:cubicBezTo>
                    <a:cubicBezTo>
                      <a:pt x="153931" y="220277"/>
                      <a:pt x="181252" y="217451"/>
                      <a:pt x="196721" y="201951"/>
                    </a:cubicBezTo>
                    <a:cubicBezTo>
                      <a:pt x="211961" y="185740"/>
                      <a:pt x="213057" y="157882"/>
                      <a:pt x="196146" y="142797"/>
                    </a:cubicBezTo>
                    <a:cubicBezTo>
                      <a:pt x="184301" y="132637"/>
                      <a:pt x="177155" y="131453"/>
                      <a:pt x="166513" y="129894"/>
                    </a:cubicBezTo>
                    <a:cubicBezTo>
                      <a:pt x="154522" y="129013"/>
                      <a:pt x="131185" y="112953"/>
                      <a:pt x="157905" y="85228"/>
                    </a:cubicBezTo>
                    <a:close/>
                  </a:path>
                </a:pathLst>
              </a:custGeom>
              <a:grpFill/>
              <a:ln>
                <a:solidFill>
                  <a:srgbClr val="21734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grpSp>
        <p:sp>
          <p:nvSpPr>
            <p:cNvPr id="77" name="Oval 47"/>
            <p:cNvSpPr/>
            <p:nvPr/>
          </p:nvSpPr>
          <p:spPr>
            <a:xfrm>
              <a:off x="388608" y="3710471"/>
              <a:ext cx="1119626" cy="1119626"/>
            </a:xfrm>
            <a:prstGeom prst="ellipse">
              <a:avLst/>
            </a:prstGeom>
            <a:solidFill>
              <a:srgbClr val="F2C812"/>
            </a:solidFill>
            <a:ln w="3175" cap="flat" cmpd="sng" algn="ctr">
              <a:noFill/>
              <a:prstDash val="solid"/>
            </a:ln>
            <a:effectLst/>
          </p:spPr>
          <p:txBody>
            <a:bodyPr vert="horz" wrap="none" lIns="0" tIns="45720" rIns="0" bIns="0" rtlCol="0" anchor="t"/>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Segoe UI"/>
                  <a:ea typeface="Segoe UI" pitchFamily="34" charset="0"/>
                  <a:cs typeface="Segoe UI" pitchFamily="34" charset="0"/>
                </a:rPr>
                <a:t>Report</a:t>
              </a:r>
            </a:p>
          </p:txBody>
        </p:sp>
        <p:sp>
          <p:nvSpPr>
            <p:cNvPr id="78" name="Oval 950"/>
            <p:cNvSpPr/>
            <p:nvPr/>
          </p:nvSpPr>
          <p:spPr>
            <a:xfrm>
              <a:off x="388608" y="1252295"/>
              <a:ext cx="1119626" cy="1119626"/>
            </a:xfrm>
            <a:prstGeom prst="ellipse">
              <a:avLst/>
            </a:prstGeom>
            <a:solidFill>
              <a:srgbClr val="F2C812"/>
            </a:solidFill>
            <a:ln w="3175" cap="flat" cmpd="sng" algn="ctr">
              <a:noFill/>
              <a:prstDash val="solid"/>
            </a:ln>
            <a:effectLst/>
          </p:spPr>
          <p:txBody>
            <a:bodyPr vert="horz" wrap="none" lIns="0" tIns="45720" rIns="0" bIns="0" rtlCol="0" anchor="t"/>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1" i="0" u="none" strike="noStrike" kern="1200" cap="none" spc="0" normalizeH="0" baseline="0" noProof="0">
                <a:ln>
                  <a:noFill/>
                </a:ln>
                <a:solidFill>
                  <a:srgbClr val="217346"/>
                </a:solidFill>
                <a:effectLst/>
                <a:uLnTx/>
                <a:uFillTx/>
                <a:latin typeface="Segoe UI"/>
                <a:ea typeface="Segoe UI" pitchFamily="34" charset="0"/>
                <a:cs typeface="Segoe UI" pitchFamily="34" charset="0"/>
              </a:endParaRPr>
            </a:p>
          </p:txBody>
        </p:sp>
        <p:grpSp>
          <p:nvGrpSpPr>
            <p:cNvPr id="79" name="Group 78"/>
            <p:cNvGrpSpPr/>
            <p:nvPr/>
          </p:nvGrpSpPr>
          <p:grpSpPr>
            <a:xfrm>
              <a:off x="1264851" y="3482890"/>
              <a:ext cx="292254" cy="354906"/>
              <a:chOff x="1296521" y="3253388"/>
              <a:chExt cx="292254" cy="354906"/>
            </a:xfrm>
            <a:solidFill>
              <a:srgbClr val="F2C812"/>
            </a:solidFill>
          </p:grpSpPr>
          <p:sp>
            <p:nvSpPr>
              <p:cNvPr id="99" name="Isosceles Triangle 98"/>
              <p:cNvSpPr/>
              <p:nvPr/>
            </p:nvSpPr>
            <p:spPr bwMode="auto">
              <a:xfrm rot="13636515">
                <a:off x="1461362" y="328936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0" name="Isosceles Triangle 99"/>
              <p:cNvSpPr/>
              <p:nvPr/>
            </p:nvSpPr>
            <p:spPr bwMode="auto">
              <a:xfrm rot="13636515">
                <a:off x="1357669" y="338258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1" name="Isosceles Triangle 100"/>
              <p:cNvSpPr/>
              <p:nvPr/>
            </p:nvSpPr>
            <p:spPr bwMode="auto">
              <a:xfrm rot="13636515">
                <a:off x="1260548" y="3480882"/>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80" name="Group 79"/>
            <p:cNvGrpSpPr/>
            <p:nvPr/>
          </p:nvGrpSpPr>
          <p:grpSpPr>
            <a:xfrm rot="15940603">
              <a:off x="1334576" y="2204404"/>
              <a:ext cx="292254" cy="354906"/>
              <a:chOff x="1296521" y="3253388"/>
              <a:chExt cx="292254" cy="354906"/>
            </a:xfrm>
            <a:solidFill>
              <a:srgbClr val="F2C812"/>
            </a:solidFill>
          </p:grpSpPr>
          <p:sp>
            <p:nvSpPr>
              <p:cNvPr id="96" name="Isosceles Triangle 95"/>
              <p:cNvSpPr/>
              <p:nvPr/>
            </p:nvSpPr>
            <p:spPr bwMode="auto">
              <a:xfrm rot="13636515">
                <a:off x="1461362" y="328936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7" name="Isosceles Triangle 96"/>
              <p:cNvSpPr/>
              <p:nvPr/>
            </p:nvSpPr>
            <p:spPr bwMode="auto">
              <a:xfrm rot="13636515">
                <a:off x="1357669" y="338258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8" name="Isosceles Triangle 97"/>
              <p:cNvSpPr/>
              <p:nvPr/>
            </p:nvSpPr>
            <p:spPr bwMode="auto">
              <a:xfrm rot="13636515">
                <a:off x="1260548" y="3480882"/>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81" name="Group 80"/>
            <p:cNvGrpSpPr/>
            <p:nvPr/>
          </p:nvGrpSpPr>
          <p:grpSpPr>
            <a:xfrm rot="16043978">
              <a:off x="1317220" y="4717577"/>
              <a:ext cx="292254" cy="354906"/>
              <a:chOff x="1296521" y="3253388"/>
              <a:chExt cx="292254" cy="354906"/>
            </a:xfrm>
            <a:solidFill>
              <a:srgbClr val="F2C812"/>
            </a:solidFill>
          </p:grpSpPr>
          <p:sp>
            <p:nvSpPr>
              <p:cNvPr id="93" name="Isosceles Triangle 92"/>
              <p:cNvSpPr/>
              <p:nvPr/>
            </p:nvSpPr>
            <p:spPr bwMode="auto">
              <a:xfrm rot="13636515">
                <a:off x="1461362" y="328936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4" name="Isosceles Triangle 93"/>
              <p:cNvSpPr/>
              <p:nvPr/>
            </p:nvSpPr>
            <p:spPr bwMode="auto">
              <a:xfrm rot="13636515">
                <a:off x="1357669" y="338258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5" name="Isosceles Triangle 94"/>
              <p:cNvSpPr/>
              <p:nvPr/>
            </p:nvSpPr>
            <p:spPr bwMode="auto">
              <a:xfrm rot="13636515">
                <a:off x="1260548" y="3480882"/>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82" name="Oval 36"/>
            <p:cNvSpPr/>
            <p:nvPr/>
          </p:nvSpPr>
          <p:spPr>
            <a:xfrm>
              <a:off x="1413521" y="2481383"/>
              <a:ext cx="1119626" cy="1119626"/>
            </a:xfrm>
            <a:prstGeom prst="ellipse">
              <a:avLst/>
            </a:prstGeom>
            <a:solidFill>
              <a:srgbClr val="F2C812"/>
            </a:solidFill>
            <a:ln w="3175" cap="flat" cmpd="sng" algn="ctr">
              <a:noFill/>
              <a:prstDash val="solid"/>
            </a:ln>
            <a:effectLst/>
          </p:spPr>
          <p:txBody>
            <a:bodyPr vert="horz" wrap="none" lIns="0" tIns="0" rIns="0" bIns="0" rtlCol="0" anchor="t"/>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400" b="1" i="0" u="none" strike="noStrike" kern="1200" cap="none" spc="0" normalizeH="0" baseline="0" noProof="0">
                <a:ln>
                  <a:noFill/>
                </a:ln>
                <a:solidFill>
                  <a:srgbClr val="217346"/>
                </a:solidFill>
                <a:effectLst/>
                <a:uLnTx/>
                <a:uFillTx/>
                <a:latin typeface="Segoe UI"/>
                <a:ea typeface="Segoe UI" pitchFamily="34" charset="0"/>
                <a:cs typeface="Segoe UI" pitchFamily="34" charset="0"/>
              </a:endParaRPr>
            </a:p>
          </p:txBody>
        </p:sp>
        <p:sp>
          <p:nvSpPr>
            <p:cNvPr id="83" name="Donut 3"/>
            <p:cNvSpPr/>
            <p:nvPr/>
          </p:nvSpPr>
          <p:spPr bwMode="auto">
            <a:xfrm>
              <a:off x="1742065" y="3002355"/>
              <a:ext cx="383905" cy="351537"/>
            </a:xfrm>
            <a:custGeom>
              <a:avLst/>
              <a:gdLst/>
              <a:ahLst/>
              <a:cxnLst/>
              <a:rect l="l" t="t" r="r" b="b"/>
              <a:pathLst>
                <a:path w="1409956" h="1291077">
                  <a:moveTo>
                    <a:pt x="956401" y="78410"/>
                  </a:moveTo>
                  <a:cubicBezTo>
                    <a:pt x="747518" y="78410"/>
                    <a:pt x="578184" y="247744"/>
                    <a:pt x="578184" y="456627"/>
                  </a:cubicBezTo>
                  <a:cubicBezTo>
                    <a:pt x="578184" y="665510"/>
                    <a:pt x="747518" y="834844"/>
                    <a:pt x="956401" y="834844"/>
                  </a:cubicBezTo>
                  <a:cubicBezTo>
                    <a:pt x="1165284" y="834844"/>
                    <a:pt x="1334618" y="665510"/>
                    <a:pt x="1334618" y="456627"/>
                  </a:cubicBezTo>
                  <a:cubicBezTo>
                    <a:pt x="1334618" y="247744"/>
                    <a:pt x="1165284" y="78410"/>
                    <a:pt x="956401" y="78410"/>
                  </a:cubicBezTo>
                  <a:close/>
                  <a:moveTo>
                    <a:pt x="952756" y="0"/>
                  </a:moveTo>
                  <a:cubicBezTo>
                    <a:pt x="1205261" y="0"/>
                    <a:pt x="1409956" y="204695"/>
                    <a:pt x="1409956" y="457200"/>
                  </a:cubicBezTo>
                  <a:cubicBezTo>
                    <a:pt x="1409956" y="709705"/>
                    <a:pt x="1205261" y="914400"/>
                    <a:pt x="952756" y="914400"/>
                  </a:cubicBezTo>
                  <a:cubicBezTo>
                    <a:pt x="862133" y="914400"/>
                    <a:pt x="777669" y="888034"/>
                    <a:pt x="707132" y="841746"/>
                  </a:cubicBezTo>
                  <a:lnTo>
                    <a:pt x="136495" y="1280102"/>
                  </a:lnTo>
                  <a:cubicBezTo>
                    <a:pt x="21896" y="1327168"/>
                    <a:pt x="-44029" y="1213730"/>
                    <a:pt x="33797" y="1113182"/>
                  </a:cubicBezTo>
                  <a:lnTo>
                    <a:pt x="568587" y="703518"/>
                  </a:lnTo>
                  <a:cubicBezTo>
                    <a:pt x="522087" y="632814"/>
                    <a:pt x="495556" y="548105"/>
                    <a:pt x="495556" y="457200"/>
                  </a:cubicBezTo>
                  <a:cubicBezTo>
                    <a:pt x="495556" y="204695"/>
                    <a:pt x="700251" y="0"/>
                    <a:pt x="952756" y="0"/>
                  </a:cubicBezTo>
                  <a:close/>
                </a:path>
              </a:pathLst>
            </a:cu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sp>
          <p:nvSpPr>
            <p:cNvPr id="84" name="Rectangle 83"/>
            <p:cNvSpPr/>
            <p:nvPr/>
          </p:nvSpPr>
          <p:spPr>
            <a:xfrm>
              <a:off x="1600398" y="2677430"/>
              <a:ext cx="820353" cy="307777"/>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Segoe UI"/>
                  <a:ea typeface="Segoe UI" pitchFamily="34" charset="0"/>
                  <a:cs typeface="Segoe UI" pitchFamily="34" charset="0"/>
                </a:rPr>
                <a:t>Explore</a:t>
              </a:r>
              <a:endParaRPr kumimoji="0" lang="en-US" sz="1600" b="0" i="0" u="none" strike="noStrike" kern="1200" cap="none" spc="0" normalizeH="0" baseline="0" noProof="0">
                <a:ln>
                  <a:noFill/>
                </a:ln>
                <a:solidFill>
                  <a:srgbClr val="000000"/>
                </a:solidFill>
                <a:effectLst/>
                <a:uLnTx/>
                <a:uFillTx/>
                <a:latin typeface="Segoe UI"/>
                <a:ea typeface="+mn-ea"/>
                <a:cs typeface="+mn-cs"/>
              </a:endParaRPr>
            </a:p>
          </p:txBody>
        </p:sp>
        <p:sp>
          <p:nvSpPr>
            <p:cNvPr id="85" name="Rectangle 84"/>
            <p:cNvSpPr/>
            <p:nvPr/>
          </p:nvSpPr>
          <p:spPr>
            <a:xfrm>
              <a:off x="509174" y="1475232"/>
              <a:ext cx="838756" cy="307777"/>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Segoe UI"/>
                  <a:ea typeface="Segoe UI" pitchFamily="34" charset="0"/>
                  <a:cs typeface="Segoe UI" pitchFamily="34" charset="0"/>
                </a:rPr>
                <a:t>Prepare</a:t>
              </a: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86" name="Freeform 85"/>
            <p:cNvSpPr>
              <a:spLocks noChangeAspect="1"/>
            </p:cNvSpPr>
            <p:nvPr/>
          </p:nvSpPr>
          <p:spPr bwMode="black">
            <a:xfrm>
              <a:off x="1836174" y="5643069"/>
              <a:ext cx="274320" cy="284173"/>
            </a:xfrm>
            <a:custGeom>
              <a:avLst/>
              <a:gdLst>
                <a:gd name="T0" fmla="*/ 539 w 669"/>
                <a:gd name="T1" fmla="*/ 5 h 693"/>
                <a:gd name="T2" fmla="*/ 640 w 669"/>
                <a:gd name="T3" fmla="*/ 55 h 693"/>
                <a:gd name="T4" fmla="*/ 603 w 669"/>
                <a:gd name="T5" fmla="*/ 195 h 693"/>
                <a:gd name="T6" fmla="*/ 490 w 669"/>
                <a:gd name="T7" fmla="*/ 188 h 693"/>
                <a:gd name="T8" fmla="*/ 479 w 669"/>
                <a:gd name="T9" fmla="*/ 176 h 693"/>
                <a:gd name="T10" fmla="*/ 213 w 669"/>
                <a:gd name="T11" fmla="*/ 330 h 693"/>
                <a:gd name="T12" fmla="*/ 218 w 669"/>
                <a:gd name="T13" fmla="*/ 345 h 693"/>
                <a:gd name="T14" fmla="*/ 218 w 669"/>
                <a:gd name="T15" fmla="*/ 375 h 693"/>
                <a:gd name="T16" fmla="*/ 209 w 669"/>
                <a:gd name="T17" fmla="*/ 402 h 693"/>
                <a:gd name="T18" fmla="*/ 369 w 669"/>
                <a:gd name="T19" fmla="*/ 503 h 693"/>
                <a:gd name="T20" fmla="*/ 373 w 669"/>
                <a:gd name="T21" fmla="*/ 498 h 693"/>
                <a:gd name="T22" fmla="*/ 456 w 669"/>
                <a:gd name="T23" fmla="*/ 475 h 693"/>
                <a:gd name="T24" fmla="*/ 494 w 669"/>
                <a:gd name="T25" fmla="*/ 489 h 693"/>
                <a:gd name="T26" fmla="*/ 527 w 669"/>
                <a:gd name="T27" fmla="*/ 630 h 693"/>
                <a:gd name="T28" fmla="*/ 386 w 669"/>
                <a:gd name="T29" fmla="*/ 663 h 693"/>
                <a:gd name="T30" fmla="*/ 339 w 669"/>
                <a:gd name="T31" fmla="*/ 560 h 693"/>
                <a:gd name="T32" fmla="*/ 345 w 669"/>
                <a:gd name="T33" fmla="*/ 544 h 693"/>
                <a:gd name="T34" fmla="*/ 177 w 669"/>
                <a:gd name="T35" fmla="*/ 439 h 693"/>
                <a:gd name="T36" fmla="*/ 168 w 669"/>
                <a:gd name="T37" fmla="*/ 446 h 693"/>
                <a:gd name="T38" fmla="*/ 28 w 669"/>
                <a:gd name="T39" fmla="*/ 409 h 693"/>
                <a:gd name="T40" fmla="*/ 65 w 669"/>
                <a:gd name="T41" fmla="*/ 269 h 693"/>
                <a:gd name="T42" fmla="*/ 178 w 669"/>
                <a:gd name="T43" fmla="*/ 276 h 693"/>
                <a:gd name="T44" fmla="*/ 189 w 669"/>
                <a:gd name="T45" fmla="*/ 288 h 693"/>
                <a:gd name="T46" fmla="*/ 455 w 669"/>
                <a:gd name="T47" fmla="*/ 134 h 693"/>
                <a:gd name="T48" fmla="*/ 450 w 669"/>
                <a:gd name="T49" fmla="*/ 119 h 693"/>
                <a:gd name="T50" fmla="*/ 501 w 669"/>
                <a:gd name="T51" fmla="*/ 18 h 693"/>
                <a:gd name="T52" fmla="*/ 539 w 669"/>
                <a:gd name="T53" fmla="*/ 5 h 6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69" h="693">
                  <a:moveTo>
                    <a:pt x="539" y="5"/>
                  </a:moveTo>
                  <a:cubicBezTo>
                    <a:pt x="579" y="0"/>
                    <a:pt x="619" y="19"/>
                    <a:pt x="640" y="55"/>
                  </a:cubicBezTo>
                  <a:cubicBezTo>
                    <a:pt x="669" y="104"/>
                    <a:pt x="652" y="167"/>
                    <a:pt x="603" y="195"/>
                  </a:cubicBezTo>
                  <a:cubicBezTo>
                    <a:pt x="566" y="216"/>
                    <a:pt x="522" y="212"/>
                    <a:pt x="490" y="188"/>
                  </a:cubicBezTo>
                  <a:cubicBezTo>
                    <a:pt x="479" y="176"/>
                    <a:pt x="479" y="176"/>
                    <a:pt x="479" y="176"/>
                  </a:cubicBezTo>
                  <a:cubicBezTo>
                    <a:pt x="213" y="330"/>
                    <a:pt x="213" y="330"/>
                    <a:pt x="213" y="330"/>
                  </a:cubicBezTo>
                  <a:cubicBezTo>
                    <a:pt x="218" y="345"/>
                    <a:pt x="218" y="345"/>
                    <a:pt x="218" y="345"/>
                  </a:cubicBezTo>
                  <a:cubicBezTo>
                    <a:pt x="219" y="355"/>
                    <a:pt x="219" y="365"/>
                    <a:pt x="218" y="375"/>
                  </a:cubicBezTo>
                  <a:cubicBezTo>
                    <a:pt x="209" y="402"/>
                    <a:pt x="209" y="402"/>
                    <a:pt x="209" y="402"/>
                  </a:cubicBezTo>
                  <a:cubicBezTo>
                    <a:pt x="369" y="503"/>
                    <a:pt x="369" y="503"/>
                    <a:pt x="369" y="503"/>
                  </a:cubicBezTo>
                  <a:cubicBezTo>
                    <a:pt x="373" y="498"/>
                    <a:pt x="373" y="498"/>
                    <a:pt x="373" y="498"/>
                  </a:cubicBezTo>
                  <a:cubicBezTo>
                    <a:pt x="396" y="479"/>
                    <a:pt x="427" y="470"/>
                    <a:pt x="456" y="475"/>
                  </a:cubicBezTo>
                  <a:cubicBezTo>
                    <a:pt x="470" y="477"/>
                    <a:pt x="482" y="482"/>
                    <a:pt x="494" y="489"/>
                  </a:cubicBezTo>
                  <a:cubicBezTo>
                    <a:pt x="542" y="519"/>
                    <a:pt x="557" y="583"/>
                    <a:pt x="527" y="630"/>
                  </a:cubicBezTo>
                  <a:cubicBezTo>
                    <a:pt x="497" y="678"/>
                    <a:pt x="433" y="693"/>
                    <a:pt x="386" y="663"/>
                  </a:cubicBezTo>
                  <a:cubicBezTo>
                    <a:pt x="350" y="640"/>
                    <a:pt x="333" y="599"/>
                    <a:pt x="339" y="560"/>
                  </a:cubicBezTo>
                  <a:cubicBezTo>
                    <a:pt x="345" y="544"/>
                    <a:pt x="345" y="544"/>
                    <a:pt x="345" y="544"/>
                  </a:cubicBezTo>
                  <a:cubicBezTo>
                    <a:pt x="177" y="439"/>
                    <a:pt x="177" y="439"/>
                    <a:pt x="177" y="439"/>
                  </a:cubicBezTo>
                  <a:cubicBezTo>
                    <a:pt x="168" y="446"/>
                    <a:pt x="168" y="446"/>
                    <a:pt x="168" y="446"/>
                  </a:cubicBezTo>
                  <a:cubicBezTo>
                    <a:pt x="119" y="475"/>
                    <a:pt x="56" y="458"/>
                    <a:pt x="28" y="409"/>
                  </a:cubicBezTo>
                  <a:cubicBezTo>
                    <a:pt x="0" y="360"/>
                    <a:pt x="16" y="297"/>
                    <a:pt x="65" y="269"/>
                  </a:cubicBezTo>
                  <a:cubicBezTo>
                    <a:pt x="102" y="248"/>
                    <a:pt x="147" y="252"/>
                    <a:pt x="178" y="276"/>
                  </a:cubicBezTo>
                  <a:cubicBezTo>
                    <a:pt x="189" y="288"/>
                    <a:pt x="189" y="288"/>
                    <a:pt x="189" y="288"/>
                  </a:cubicBezTo>
                  <a:cubicBezTo>
                    <a:pt x="455" y="134"/>
                    <a:pt x="455" y="134"/>
                    <a:pt x="455" y="134"/>
                  </a:cubicBezTo>
                  <a:cubicBezTo>
                    <a:pt x="450" y="119"/>
                    <a:pt x="450" y="119"/>
                    <a:pt x="450" y="119"/>
                  </a:cubicBezTo>
                  <a:cubicBezTo>
                    <a:pt x="445" y="80"/>
                    <a:pt x="464" y="39"/>
                    <a:pt x="501" y="18"/>
                  </a:cubicBezTo>
                  <a:cubicBezTo>
                    <a:pt x="513" y="11"/>
                    <a:pt x="526" y="6"/>
                    <a:pt x="539" y="5"/>
                  </a:cubicBezTo>
                  <a:close/>
                </a:path>
              </a:pathLst>
            </a:custGeom>
            <a:solidFill>
              <a:schemeClr val="tx1"/>
            </a:solidFill>
            <a:ln>
              <a:noFill/>
            </a:ln>
          </p:spPr>
          <p:txBody>
            <a:bodyPr vert="horz" wrap="square" lIns="68574" tIns="34287" rIns="68574" bIns="34287"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0000"/>
                </a:solidFill>
                <a:effectLst/>
                <a:uLnTx/>
                <a:uFillTx/>
                <a:latin typeface="Segoe UI"/>
                <a:ea typeface="+mn-ea"/>
                <a:cs typeface="+mn-cs"/>
              </a:endParaRPr>
            </a:p>
          </p:txBody>
        </p:sp>
        <p:sp>
          <p:nvSpPr>
            <p:cNvPr id="87" name="Freeform 86"/>
            <p:cNvSpPr>
              <a:spLocks noChangeAspect="1" noEditPoints="1"/>
            </p:cNvSpPr>
            <p:nvPr/>
          </p:nvSpPr>
          <p:spPr bwMode="black">
            <a:xfrm>
              <a:off x="722320" y="1783009"/>
              <a:ext cx="452202" cy="366660"/>
            </a:xfrm>
            <a:custGeom>
              <a:avLst/>
              <a:gdLst>
                <a:gd name="T0" fmla="*/ 600 w 1107"/>
                <a:gd name="T1" fmla="*/ 625 h 897"/>
                <a:gd name="T2" fmla="*/ 649 w 1107"/>
                <a:gd name="T3" fmla="*/ 567 h 897"/>
                <a:gd name="T4" fmla="*/ 727 w 1107"/>
                <a:gd name="T5" fmla="*/ 482 h 897"/>
                <a:gd name="T6" fmla="*/ 601 w 1107"/>
                <a:gd name="T7" fmla="*/ 434 h 897"/>
                <a:gd name="T8" fmla="*/ 628 w 1107"/>
                <a:gd name="T9" fmla="*/ 305 h 897"/>
                <a:gd name="T10" fmla="*/ 547 w 1107"/>
                <a:gd name="T11" fmla="*/ 240 h 897"/>
                <a:gd name="T12" fmla="*/ 427 w 1107"/>
                <a:gd name="T13" fmla="*/ 287 h 897"/>
                <a:gd name="T14" fmla="*/ 368 w 1107"/>
                <a:gd name="T15" fmla="*/ 170 h 897"/>
                <a:gd name="T16" fmla="*/ 285 w 1107"/>
                <a:gd name="T17" fmla="*/ 263 h 897"/>
                <a:gd name="T18" fmla="*/ 241 w 1107"/>
                <a:gd name="T19" fmla="*/ 313 h 897"/>
                <a:gd name="T20" fmla="*/ 139 w 1107"/>
                <a:gd name="T21" fmla="*/ 281 h 897"/>
                <a:gd name="T22" fmla="*/ 79 w 1107"/>
                <a:gd name="T23" fmla="*/ 355 h 897"/>
                <a:gd name="T24" fmla="*/ 132 w 1107"/>
                <a:gd name="T25" fmla="*/ 446 h 897"/>
                <a:gd name="T26" fmla="*/ 83 w 1107"/>
                <a:gd name="T27" fmla="*/ 505 h 897"/>
                <a:gd name="T28" fmla="*/ 5 w 1107"/>
                <a:gd name="T29" fmla="*/ 590 h 897"/>
                <a:gd name="T30" fmla="*/ 132 w 1107"/>
                <a:gd name="T31" fmla="*/ 638 h 897"/>
                <a:gd name="T32" fmla="*/ 145 w 1107"/>
                <a:gd name="T33" fmla="*/ 669 h 897"/>
                <a:gd name="T34" fmla="*/ 110 w 1107"/>
                <a:gd name="T35" fmla="*/ 793 h 897"/>
                <a:gd name="T36" fmla="*/ 230 w 1107"/>
                <a:gd name="T37" fmla="*/ 781 h 897"/>
                <a:gd name="T38" fmla="*/ 306 w 1107"/>
                <a:gd name="T39" fmla="*/ 785 h 897"/>
                <a:gd name="T40" fmla="*/ 346 w 1107"/>
                <a:gd name="T41" fmla="*/ 878 h 897"/>
                <a:gd name="T42" fmla="*/ 440 w 1107"/>
                <a:gd name="T43" fmla="*/ 872 h 897"/>
                <a:gd name="T44" fmla="*/ 466 w 1107"/>
                <a:gd name="T45" fmla="*/ 764 h 897"/>
                <a:gd name="T46" fmla="*/ 539 w 1107"/>
                <a:gd name="T47" fmla="*/ 755 h 897"/>
                <a:gd name="T48" fmla="*/ 659 w 1107"/>
                <a:gd name="T49" fmla="*/ 743 h 897"/>
                <a:gd name="T50" fmla="*/ 263 w 1107"/>
                <a:gd name="T51" fmla="*/ 452 h 897"/>
                <a:gd name="T52" fmla="*/ 281 w 1107"/>
                <a:gd name="T53" fmla="*/ 633 h 897"/>
                <a:gd name="T54" fmla="*/ 1002 w 1107"/>
                <a:gd name="T55" fmla="*/ 332 h 897"/>
                <a:gd name="T56" fmla="*/ 1043 w 1107"/>
                <a:gd name="T57" fmla="*/ 304 h 897"/>
                <a:gd name="T58" fmla="*/ 1107 w 1107"/>
                <a:gd name="T59" fmla="*/ 266 h 897"/>
                <a:gd name="T60" fmla="*/ 1037 w 1107"/>
                <a:gd name="T61" fmla="*/ 213 h 897"/>
                <a:gd name="T62" fmla="*/ 1077 w 1107"/>
                <a:gd name="T63" fmla="*/ 138 h 897"/>
                <a:gd name="T64" fmla="*/ 1038 w 1107"/>
                <a:gd name="T65" fmla="*/ 83 h 897"/>
                <a:gd name="T66" fmla="*/ 956 w 1107"/>
                <a:gd name="T67" fmla="*/ 91 h 897"/>
                <a:gd name="T68" fmla="*/ 940 w 1107"/>
                <a:gd name="T69" fmla="*/ 7 h 897"/>
                <a:gd name="T70" fmla="*/ 872 w 1107"/>
                <a:gd name="T71" fmla="*/ 50 h 897"/>
                <a:gd name="T72" fmla="*/ 836 w 1107"/>
                <a:gd name="T73" fmla="*/ 74 h 897"/>
                <a:gd name="T74" fmla="*/ 778 w 1107"/>
                <a:gd name="T75" fmla="*/ 35 h 897"/>
                <a:gd name="T76" fmla="*/ 728 w 1107"/>
                <a:gd name="T77" fmla="*/ 70 h 897"/>
                <a:gd name="T78" fmla="*/ 744 w 1107"/>
                <a:gd name="T79" fmla="*/ 136 h 897"/>
                <a:gd name="T80" fmla="*/ 703 w 1107"/>
                <a:gd name="T81" fmla="*/ 164 h 897"/>
                <a:gd name="T82" fmla="*/ 640 w 1107"/>
                <a:gd name="T83" fmla="*/ 203 h 897"/>
                <a:gd name="T84" fmla="*/ 710 w 1107"/>
                <a:gd name="T85" fmla="*/ 255 h 897"/>
                <a:gd name="T86" fmla="*/ 712 w 1107"/>
                <a:gd name="T87" fmla="*/ 277 h 897"/>
                <a:gd name="T88" fmla="*/ 668 w 1107"/>
                <a:gd name="T89" fmla="*/ 347 h 897"/>
                <a:gd name="T90" fmla="*/ 745 w 1107"/>
                <a:gd name="T91" fmla="*/ 361 h 897"/>
                <a:gd name="T92" fmla="*/ 791 w 1107"/>
                <a:gd name="T93" fmla="*/ 377 h 897"/>
                <a:gd name="T94" fmla="*/ 799 w 1107"/>
                <a:gd name="T95" fmla="*/ 443 h 897"/>
                <a:gd name="T96" fmla="*/ 859 w 1107"/>
                <a:gd name="T97" fmla="*/ 456 h 897"/>
                <a:gd name="T98" fmla="*/ 894 w 1107"/>
                <a:gd name="T99" fmla="*/ 393 h 897"/>
                <a:gd name="T100" fmla="*/ 941 w 1107"/>
                <a:gd name="T101" fmla="*/ 401 h 897"/>
                <a:gd name="T102" fmla="*/ 1018 w 1107"/>
                <a:gd name="T103" fmla="*/ 415 h 897"/>
                <a:gd name="T104" fmla="*/ 825 w 1107"/>
                <a:gd name="T105" fmla="*/ 164 h 897"/>
                <a:gd name="T106" fmla="*/ 803 w 1107"/>
                <a:gd name="T107" fmla="*/ 279 h 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107" h="897">
                  <a:moveTo>
                    <a:pt x="654" y="716"/>
                  </a:moveTo>
                  <a:cubicBezTo>
                    <a:pt x="616" y="670"/>
                    <a:pt x="616" y="670"/>
                    <a:pt x="616" y="670"/>
                  </a:cubicBezTo>
                  <a:cubicBezTo>
                    <a:pt x="593" y="654"/>
                    <a:pt x="603" y="638"/>
                    <a:pt x="600" y="625"/>
                  </a:cubicBezTo>
                  <a:cubicBezTo>
                    <a:pt x="600" y="625"/>
                    <a:pt x="600" y="625"/>
                    <a:pt x="600" y="625"/>
                  </a:cubicBezTo>
                  <a:cubicBezTo>
                    <a:pt x="605" y="617"/>
                    <a:pt x="611" y="609"/>
                    <a:pt x="608" y="596"/>
                  </a:cubicBezTo>
                  <a:cubicBezTo>
                    <a:pt x="618" y="580"/>
                    <a:pt x="623" y="572"/>
                    <a:pt x="649" y="567"/>
                  </a:cubicBezTo>
                  <a:cubicBezTo>
                    <a:pt x="715" y="553"/>
                    <a:pt x="715" y="553"/>
                    <a:pt x="715" y="553"/>
                  </a:cubicBezTo>
                  <a:cubicBezTo>
                    <a:pt x="728" y="550"/>
                    <a:pt x="733" y="542"/>
                    <a:pt x="730" y="529"/>
                  </a:cubicBezTo>
                  <a:cubicBezTo>
                    <a:pt x="727" y="482"/>
                    <a:pt x="727" y="482"/>
                    <a:pt x="727" y="482"/>
                  </a:cubicBezTo>
                  <a:cubicBezTo>
                    <a:pt x="724" y="469"/>
                    <a:pt x="717" y="463"/>
                    <a:pt x="701" y="453"/>
                  </a:cubicBezTo>
                  <a:cubicBezTo>
                    <a:pt x="641" y="459"/>
                    <a:pt x="641" y="459"/>
                    <a:pt x="641" y="459"/>
                  </a:cubicBezTo>
                  <a:cubicBezTo>
                    <a:pt x="620" y="457"/>
                    <a:pt x="604" y="447"/>
                    <a:pt x="601" y="434"/>
                  </a:cubicBezTo>
                  <a:cubicBezTo>
                    <a:pt x="598" y="421"/>
                    <a:pt x="590" y="416"/>
                    <a:pt x="580" y="397"/>
                  </a:cubicBezTo>
                  <a:cubicBezTo>
                    <a:pt x="577" y="384"/>
                    <a:pt x="574" y="371"/>
                    <a:pt x="584" y="355"/>
                  </a:cubicBezTo>
                  <a:cubicBezTo>
                    <a:pt x="628" y="305"/>
                    <a:pt x="628" y="305"/>
                    <a:pt x="628" y="305"/>
                  </a:cubicBezTo>
                  <a:cubicBezTo>
                    <a:pt x="634" y="297"/>
                    <a:pt x="631" y="284"/>
                    <a:pt x="623" y="279"/>
                  </a:cubicBezTo>
                  <a:cubicBezTo>
                    <a:pt x="581" y="240"/>
                    <a:pt x="581" y="240"/>
                    <a:pt x="581" y="240"/>
                  </a:cubicBezTo>
                  <a:cubicBezTo>
                    <a:pt x="573" y="235"/>
                    <a:pt x="560" y="238"/>
                    <a:pt x="547" y="240"/>
                  </a:cubicBezTo>
                  <a:cubicBezTo>
                    <a:pt x="503" y="291"/>
                    <a:pt x="503" y="291"/>
                    <a:pt x="503" y="291"/>
                  </a:cubicBezTo>
                  <a:cubicBezTo>
                    <a:pt x="484" y="302"/>
                    <a:pt x="471" y="304"/>
                    <a:pt x="463" y="299"/>
                  </a:cubicBezTo>
                  <a:cubicBezTo>
                    <a:pt x="456" y="294"/>
                    <a:pt x="435" y="292"/>
                    <a:pt x="427" y="287"/>
                  </a:cubicBezTo>
                  <a:cubicBezTo>
                    <a:pt x="419" y="282"/>
                    <a:pt x="403" y="271"/>
                    <a:pt x="400" y="258"/>
                  </a:cubicBezTo>
                  <a:cubicBezTo>
                    <a:pt x="386" y="193"/>
                    <a:pt x="386" y="193"/>
                    <a:pt x="386" y="193"/>
                  </a:cubicBezTo>
                  <a:cubicBezTo>
                    <a:pt x="384" y="180"/>
                    <a:pt x="368" y="170"/>
                    <a:pt x="368" y="170"/>
                  </a:cubicBezTo>
                  <a:cubicBezTo>
                    <a:pt x="308" y="176"/>
                    <a:pt x="308" y="176"/>
                    <a:pt x="308" y="176"/>
                  </a:cubicBezTo>
                  <a:cubicBezTo>
                    <a:pt x="308" y="176"/>
                    <a:pt x="289" y="187"/>
                    <a:pt x="292" y="200"/>
                  </a:cubicBezTo>
                  <a:cubicBezTo>
                    <a:pt x="285" y="263"/>
                    <a:pt x="285" y="263"/>
                    <a:pt x="285" y="263"/>
                  </a:cubicBezTo>
                  <a:cubicBezTo>
                    <a:pt x="291" y="289"/>
                    <a:pt x="277" y="292"/>
                    <a:pt x="272" y="300"/>
                  </a:cubicBezTo>
                  <a:cubicBezTo>
                    <a:pt x="272" y="300"/>
                    <a:pt x="272" y="300"/>
                    <a:pt x="267" y="308"/>
                  </a:cubicBezTo>
                  <a:cubicBezTo>
                    <a:pt x="259" y="302"/>
                    <a:pt x="246" y="305"/>
                    <a:pt x="241" y="313"/>
                  </a:cubicBezTo>
                  <a:cubicBezTo>
                    <a:pt x="236" y="321"/>
                    <a:pt x="236" y="321"/>
                    <a:pt x="236" y="321"/>
                  </a:cubicBezTo>
                  <a:cubicBezTo>
                    <a:pt x="223" y="324"/>
                    <a:pt x="210" y="327"/>
                    <a:pt x="194" y="317"/>
                  </a:cubicBezTo>
                  <a:cubicBezTo>
                    <a:pt x="139" y="281"/>
                    <a:pt x="139" y="281"/>
                    <a:pt x="139" y="281"/>
                  </a:cubicBezTo>
                  <a:cubicBezTo>
                    <a:pt x="131" y="276"/>
                    <a:pt x="110" y="273"/>
                    <a:pt x="104" y="281"/>
                  </a:cubicBezTo>
                  <a:cubicBezTo>
                    <a:pt x="79" y="321"/>
                    <a:pt x="79" y="321"/>
                    <a:pt x="79" y="321"/>
                  </a:cubicBezTo>
                  <a:cubicBezTo>
                    <a:pt x="66" y="324"/>
                    <a:pt x="68" y="337"/>
                    <a:pt x="79" y="355"/>
                  </a:cubicBezTo>
                  <a:cubicBezTo>
                    <a:pt x="121" y="394"/>
                    <a:pt x="121" y="394"/>
                    <a:pt x="121" y="394"/>
                  </a:cubicBezTo>
                  <a:cubicBezTo>
                    <a:pt x="140" y="417"/>
                    <a:pt x="135" y="425"/>
                    <a:pt x="132" y="446"/>
                  </a:cubicBezTo>
                  <a:cubicBezTo>
                    <a:pt x="132" y="446"/>
                    <a:pt x="132" y="446"/>
                    <a:pt x="132" y="446"/>
                  </a:cubicBezTo>
                  <a:cubicBezTo>
                    <a:pt x="127" y="454"/>
                    <a:pt x="122" y="462"/>
                    <a:pt x="117" y="470"/>
                  </a:cubicBezTo>
                  <a:cubicBezTo>
                    <a:pt x="117" y="470"/>
                    <a:pt x="117" y="470"/>
                    <a:pt x="117" y="470"/>
                  </a:cubicBezTo>
                  <a:cubicBezTo>
                    <a:pt x="120" y="483"/>
                    <a:pt x="109" y="499"/>
                    <a:pt x="83" y="505"/>
                  </a:cubicBezTo>
                  <a:cubicBezTo>
                    <a:pt x="23" y="511"/>
                    <a:pt x="23" y="511"/>
                    <a:pt x="23" y="511"/>
                  </a:cubicBezTo>
                  <a:cubicBezTo>
                    <a:pt x="10" y="514"/>
                    <a:pt x="0" y="529"/>
                    <a:pt x="2" y="543"/>
                  </a:cubicBezTo>
                  <a:cubicBezTo>
                    <a:pt x="5" y="590"/>
                    <a:pt x="5" y="590"/>
                    <a:pt x="5" y="590"/>
                  </a:cubicBezTo>
                  <a:cubicBezTo>
                    <a:pt x="8" y="603"/>
                    <a:pt x="16" y="608"/>
                    <a:pt x="37" y="610"/>
                  </a:cubicBezTo>
                  <a:cubicBezTo>
                    <a:pt x="92" y="612"/>
                    <a:pt x="92" y="612"/>
                    <a:pt x="92" y="612"/>
                  </a:cubicBezTo>
                  <a:cubicBezTo>
                    <a:pt x="113" y="614"/>
                    <a:pt x="129" y="625"/>
                    <a:pt x="132" y="638"/>
                  </a:cubicBezTo>
                  <a:cubicBezTo>
                    <a:pt x="132" y="638"/>
                    <a:pt x="132" y="638"/>
                    <a:pt x="132" y="638"/>
                  </a:cubicBezTo>
                  <a:cubicBezTo>
                    <a:pt x="140" y="643"/>
                    <a:pt x="142" y="656"/>
                    <a:pt x="150" y="661"/>
                  </a:cubicBezTo>
                  <a:cubicBezTo>
                    <a:pt x="145" y="669"/>
                    <a:pt x="145" y="669"/>
                    <a:pt x="145" y="669"/>
                  </a:cubicBezTo>
                  <a:cubicBezTo>
                    <a:pt x="153" y="674"/>
                    <a:pt x="156" y="687"/>
                    <a:pt x="140" y="711"/>
                  </a:cubicBezTo>
                  <a:cubicBezTo>
                    <a:pt x="109" y="759"/>
                    <a:pt x="109" y="759"/>
                    <a:pt x="109" y="759"/>
                  </a:cubicBezTo>
                  <a:cubicBezTo>
                    <a:pt x="99" y="775"/>
                    <a:pt x="102" y="788"/>
                    <a:pt x="110" y="793"/>
                  </a:cubicBezTo>
                  <a:cubicBezTo>
                    <a:pt x="152" y="832"/>
                    <a:pt x="152" y="832"/>
                    <a:pt x="152" y="832"/>
                  </a:cubicBezTo>
                  <a:cubicBezTo>
                    <a:pt x="160" y="837"/>
                    <a:pt x="173" y="834"/>
                    <a:pt x="178" y="826"/>
                  </a:cubicBezTo>
                  <a:cubicBezTo>
                    <a:pt x="230" y="781"/>
                    <a:pt x="230" y="781"/>
                    <a:pt x="230" y="781"/>
                  </a:cubicBezTo>
                  <a:cubicBezTo>
                    <a:pt x="248" y="770"/>
                    <a:pt x="261" y="767"/>
                    <a:pt x="269" y="772"/>
                  </a:cubicBezTo>
                  <a:cubicBezTo>
                    <a:pt x="269" y="772"/>
                    <a:pt x="269" y="772"/>
                    <a:pt x="269" y="772"/>
                  </a:cubicBezTo>
                  <a:cubicBezTo>
                    <a:pt x="282" y="769"/>
                    <a:pt x="298" y="779"/>
                    <a:pt x="306" y="785"/>
                  </a:cubicBezTo>
                  <a:cubicBezTo>
                    <a:pt x="306" y="785"/>
                    <a:pt x="306" y="785"/>
                    <a:pt x="306" y="785"/>
                  </a:cubicBezTo>
                  <a:cubicBezTo>
                    <a:pt x="319" y="782"/>
                    <a:pt x="327" y="787"/>
                    <a:pt x="332" y="813"/>
                  </a:cubicBezTo>
                  <a:cubicBezTo>
                    <a:pt x="346" y="878"/>
                    <a:pt x="346" y="878"/>
                    <a:pt x="346" y="878"/>
                  </a:cubicBezTo>
                  <a:cubicBezTo>
                    <a:pt x="349" y="892"/>
                    <a:pt x="357" y="897"/>
                    <a:pt x="370" y="894"/>
                  </a:cubicBezTo>
                  <a:cubicBezTo>
                    <a:pt x="425" y="896"/>
                    <a:pt x="425" y="896"/>
                    <a:pt x="425" y="896"/>
                  </a:cubicBezTo>
                  <a:cubicBezTo>
                    <a:pt x="430" y="888"/>
                    <a:pt x="443" y="885"/>
                    <a:pt x="440" y="872"/>
                  </a:cubicBezTo>
                  <a:cubicBezTo>
                    <a:pt x="440" y="804"/>
                    <a:pt x="440" y="804"/>
                    <a:pt x="440" y="804"/>
                  </a:cubicBezTo>
                  <a:cubicBezTo>
                    <a:pt x="442" y="783"/>
                    <a:pt x="460" y="772"/>
                    <a:pt x="466" y="764"/>
                  </a:cubicBezTo>
                  <a:cubicBezTo>
                    <a:pt x="466" y="764"/>
                    <a:pt x="466" y="764"/>
                    <a:pt x="466" y="764"/>
                  </a:cubicBezTo>
                  <a:cubicBezTo>
                    <a:pt x="479" y="761"/>
                    <a:pt x="492" y="758"/>
                    <a:pt x="497" y="750"/>
                  </a:cubicBezTo>
                  <a:cubicBezTo>
                    <a:pt x="497" y="750"/>
                    <a:pt x="497" y="750"/>
                    <a:pt x="497" y="750"/>
                  </a:cubicBezTo>
                  <a:cubicBezTo>
                    <a:pt x="510" y="747"/>
                    <a:pt x="523" y="745"/>
                    <a:pt x="539" y="755"/>
                  </a:cubicBezTo>
                  <a:cubicBezTo>
                    <a:pt x="594" y="791"/>
                    <a:pt x="594" y="791"/>
                    <a:pt x="594" y="791"/>
                  </a:cubicBezTo>
                  <a:cubicBezTo>
                    <a:pt x="602" y="796"/>
                    <a:pt x="623" y="798"/>
                    <a:pt x="628" y="790"/>
                  </a:cubicBezTo>
                  <a:cubicBezTo>
                    <a:pt x="659" y="743"/>
                    <a:pt x="659" y="743"/>
                    <a:pt x="659" y="743"/>
                  </a:cubicBezTo>
                  <a:cubicBezTo>
                    <a:pt x="659" y="743"/>
                    <a:pt x="669" y="727"/>
                    <a:pt x="654" y="716"/>
                  </a:cubicBezTo>
                  <a:close/>
                  <a:moveTo>
                    <a:pt x="281" y="633"/>
                  </a:moveTo>
                  <a:cubicBezTo>
                    <a:pt x="223" y="584"/>
                    <a:pt x="219" y="502"/>
                    <a:pt x="263" y="452"/>
                  </a:cubicBezTo>
                  <a:cubicBezTo>
                    <a:pt x="313" y="393"/>
                    <a:pt x="399" y="382"/>
                    <a:pt x="457" y="431"/>
                  </a:cubicBezTo>
                  <a:cubicBezTo>
                    <a:pt x="507" y="475"/>
                    <a:pt x="518" y="561"/>
                    <a:pt x="469" y="619"/>
                  </a:cubicBezTo>
                  <a:cubicBezTo>
                    <a:pt x="420" y="678"/>
                    <a:pt x="339" y="682"/>
                    <a:pt x="281" y="633"/>
                  </a:cubicBezTo>
                  <a:close/>
                  <a:moveTo>
                    <a:pt x="1019" y="398"/>
                  </a:moveTo>
                  <a:cubicBezTo>
                    <a:pt x="1004" y="362"/>
                    <a:pt x="1004" y="362"/>
                    <a:pt x="1004" y="362"/>
                  </a:cubicBezTo>
                  <a:cubicBezTo>
                    <a:pt x="992" y="348"/>
                    <a:pt x="1002" y="340"/>
                    <a:pt x="1002" y="332"/>
                  </a:cubicBezTo>
                  <a:cubicBezTo>
                    <a:pt x="1002" y="332"/>
                    <a:pt x="1002" y="332"/>
                    <a:pt x="1002" y="332"/>
                  </a:cubicBezTo>
                  <a:cubicBezTo>
                    <a:pt x="1007" y="328"/>
                    <a:pt x="1011" y="324"/>
                    <a:pt x="1012" y="315"/>
                  </a:cubicBezTo>
                  <a:cubicBezTo>
                    <a:pt x="1021" y="307"/>
                    <a:pt x="1026" y="303"/>
                    <a:pt x="1043" y="304"/>
                  </a:cubicBezTo>
                  <a:cubicBezTo>
                    <a:pt x="1086" y="307"/>
                    <a:pt x="1086" y="307"/>
                    <a:pt x="1086" y="307"/>
                  </a:cubicBezTo>
                  <a:cubicBezTo>
                    <a:pt x="1095" y="308"/>
                    <a:pt x="1099" y="304"/>
                    <a:pt x="1100" y="295"/>
                  </a:cubicBezTo>
                  <a:cubicBezTo>
                    <a:pt x="1107" y="266"/>
                    <a:pt x="1107" y="266"/>
                    <a:pt x="1107" y="266"/>
                  </a:cubicBezTo>
                  <a:cubicBezTo>
                    <a:pt x="1107" y="257"/>
                    <a:pt x="1103" y="252"/>
                    <a:pt x="1095" y="243"/>
                  </a:cubicBezTo>
                  <a:cubicBezTo>
                    <a:pt x="1057" y="236"/>
                    <a:pt x="1057" y="236"/>
                    <a:pt x="1057" y="236"/>
                  </a:cubicBezTo>
                  <a:cubicBezTo>
                    <a:pt x="1044" y="231"/>
                    <a:pt x="1036" y="222"/>
                    <a:pt x="1037" y="213"/>
                  </a:cubicBezTo>
                  <a:cubicBezTo>
                    <a:pt x="1038" y="205"/>
                    <a:pt x="1034" y="200"/>
                    <a:pt x="1030" y="187"/>
                  </a:cubicBezTo>
                  <a:cubicBezTo>
                    <a:pt x="1031" y="178"/>
                    <a:pt x="1032" y="170"/>
                    <a:pt x="1041" y="162"/>
                  </a:cubicBezTo>
                  <a:cubicBezTo>
                    <a:pt x="1077" y="138"/>
                    <a:pt x="1077" y="138"/>
                    <a:pt x="1077" y="138"/>
                  </a:cubicBezTo>
                  <a:cubicBezTo>
                    <a:pt x="1082" y="134"/>
                    <a:pt x="1083" y="126"/>
                    <a:pt x="1079" y="121"/>
                  </a:cubicBezTo>
                  <a:cubicBezTo>
                    <a:pt x="1059" y="89"/>
                    <a:pt x="1059" y="89"/>
                    <a:pt x="1059" y="89"/>
                  </a:cubicBezTo>
                  <a:cubicBezTo>
                    <a:pt x="1055" y="85"/>
                    <a:pt x="1047" y="84"/>
                    <a:pt x="1038" y="83"/>
                  </a:cubicBezTo>
                  <a:cubicBezTo>
                    <a:pt x="1002" y="107"/>
                    <a:pt x="1002" y="107"/>
                    <a:pt x="1002" y="107"/>
                  </a:cubicBezTo>
                  <a:cubicBezTo>
                    <a:pt x="989" y="110"/>
                    <a:pt x="980" y="110"/>
                    <a:pt x="976" y="105"/>
                  </a:cubicBezTo>
                  <a:cubicBezTo>
                    <a:pt x="972" y="100"/>
                    <a:pt x="960" y="95"/>
                    <a:pt x="956" y="91"/>
                  </a:cubicBezTo>
                  <a:cubicBezTo>
                    <a:pt x="952" y="86"/>
                    <a:pt x="944" y="77"/>
                    <a:pt x="944" y="68"/>
                  </a:cubicBezTo>
                  <a:cubicBezTo>
                    <a:pt x="948" y="25"/>
                    <a:pt x="948" y="25"/>
                    <a:pt x="948" y="25"/>
                  </a:cubicBezTo>
                  <a:cubicBezTo>
                    <a:pt x="948" y="17"/>
                    <a:pt x="940" y="7"/>
                    <a:pt x="940" y="7"/>
                  </a:cubicBezTo>
                  <a:cubicBezTo>
                    <a:pt x="902" y="0"/>
                    <a:pt x="902" y="0"/>
                    <a:pt x="902" y="0"/>
                  </a:cubicBezTo>
                  <a:cubicBezTo>
                    <a:pt x="902" y="0"/>
                    <a:pt x="889" y="4"/>
                    <a:pt x="888" y="12"/>
                  </a:cubicBezTo>
                  <a:cubicBezTo>
                    <a:pt x="872" y="50"/>
                    <a:pt x="872" y="50"/>
                    <a:pt x="872" y="50"/>
                  </a:cubicBezTo>
                  <a:cubicBezTo>
                    <a:pt x="871" y="67"/>
                    <a:pt x="862" y="67"/>
                    <a:pt x="858" y="71"/>
                  </a:cubicBezTo>
                  <a:cubicBezTo>
                    <a:pt x="858" y="71"/>
                    <a:pt x="858" y="71"/>
                    <a:pt x="853" y="75"/>
                  </a:cubicBezTo>
                  <a:cubicBezTo>
                    <a:pt x="849" y="70"/>
                    <a:pt x="840" y="70"/>
                    <a:pt x="836" y="74"/>
                  </a:cubicBezTo>
                  <a:cubicBezTo>
                    <a:pt x="831" y="78"/>
                    <a:pt x="831" y="78"/>
                    <a:pt x="831" y="78"/>
                  </a:cubicBezTo>
                  <a:cubicBezTo>
                    <a:pt x="822" y="77"/>
                    <a:pt x="814" y="76"/>
                    <a:pt x="806" y="67"/>
                  </a:cubicBezTo>
                  <a:cubicBezTo>
                    <a:pt x="778" y="35"/>
                    <a:pt x="778" y="35"/>
                    <a:pt x="778" y="35"/>
                  </a:cubicBezTo>
                  <a:cubicBezTo>
                    <a:pt x="774" y="30"/>
                    <a:pt x="762" y="25"/>
                    <a:pt x="757" y="29"/>
                  </a:cubicBezTo>
                  <a:cubicBezTo>
                    <a:pt x="734" y="49"/>
                    <a:pt x="734" y="49"/>
                    <a:pt x="734" y="49"/>
                  </a:cubicBezTo>
                  <a:cubicBezTo>
                    <a:pt x="725" y="49"/>
                    <a:pt x="725" y="57"/>
                    <a:pt x="728" y="70"/>
                  </a:cubicBezTo>
                  <a:cubicBezTo>
                    <a:pt x="747" y="102"/>
                    <a:pt x="747" y="102"/>
                    <a:pt x="747" y="102"/>
                  </a:cubicBezTo>
                  <a:cubicBezTo>
                    <a:pt x="754" y="120"/>
                    <a:pt x="750" y="124"/>
                    <a:pt x="744" y="136"/>
                  </a:cubicBezTo>
                  <a:cubicBezTo>
                    <a:pt x="744" y="136"/>
                    <a:pt x="744" y="136"/>
                    <a:pt x="744" y="136"/>
                  </a:cubicBezTo>
                  <a:cubicBezTo>
                    <a:pt x="740" y="140"/>
                    <a:pt x="735" y="144"/>
                    <a:pt x="731" y="148"/>
                  </a:cubicBezTo>
                  <a:cubicBezTo>
                    <a:pt x="731" y="148"/>
                    <a:pt x="731" y="148"/>
                    <a:pt x="731" y="148"/>
                  </a:cubicBezTo>
                  <a:cubicBezTo>
                    <a:pt x="730" y="157"/>
                    <a:pt x="721" y="165"/>
                    <a:pt x="703" y="164"/>
                  </a:cubicBezTo>
                  <a:cubicBezTo>
                    <a:pt x="665" y="157"/>
                    <a:pt x="665" y="157"/>
                    <a:pt x="665" y="157"/>
                  </a:cubicBezTo>
                  <a:cubicBezTo>
                    <a:pt x="656" y="156"/>
                    <a:pt x="647" y="164"/>
                    <a:pt x="647" y="173"/>
                  </a:cubicBezTo>
                  <a:cubicBezTo>
                    <a:pt x="640" y="203"/>
                    <a:pt x="640" y="203"/>
                    <a:pt x="640" y="203"/>
                  </a:cubicBezTo>
                  <a:cubicBezTo>
                    <a:pt x="639" y="211"/>
                    <a:pt x="643" y="216"/>
                    <a:pt x="656" y="221"/>
                  </a:cubicBezTo>
                  <a:cubicBezTo>
                    <a:pt x="690" y="232"/>
                    <a:pt x="690" y="232"/>
                    <a:pt x="690" y="232"/>
                  </a:cubicBezTo>
                  <a:cubicBezTo>
                    <a:pt x="702" y="237"/>
                    <a:pt x="710" y="246"/>
                    <a:pt x="710" y="255"/>
                  </a:cubicBezTo>
                  <a:cubicBezTo>
                    <a:pt x="710" y="255"/>
                    <a:pt x="710" y="255"/>
                    <a:pt x="710" y="255"/>
                  </a:cubicBezTo>
                  <a:cubicBezTo>
                    <a:pt x="714" y="260"/>
                    <a:pt x="713" y="268"/>
                    <a:pt x="717" y="273"/>
                  </a:cubicBezTo>
                  <a:cubicBezTo>
                    <a:pt x="712" y="277"/>
                    <a:pt x="712" y="277"/>
                    <a:pt x="712" y="277"/>
                  </a:cubicBezTo>
                  <a:cubicBezTo>
                    <a:pt x="716" y="281"/>
                    <a:pt x="716" y="290"/>
                    <a:pt x="702" y="302"/>
                  </a:cubicBezTo>
                  <a:cubicBezTo>
                    <a:pt x="674" y="326"/>
                    <a:pt x="674" y="326"/>
                    <a:pt x="674" y="326"/>
                  </a:cubicBezTo>
                  <a:cubicBezTo>
                    <a:pt x="665" y="334"/>
                    <a:pt x="664" y="343"/>
                    <a:pt x="668" y="347"/>
                  </a:cubicBezTo>
                  <a:cubicBezTo>
                    <a:pt x="687" y="379"/>
                    <a:pt x="687" y="379"/>
                    <a:pt x="687" y="379"/>
                  </a:cubicBezTo>
                  <a:cubicBezTo>
                    <a:pt x="691" y="383"/>
                    <a:pt x="700" y="384"/>
                    <a:pt x="704" y="380"/>
                  </a:cubicBezTo>
                  <a:cubicBezTo>
                    <a:pt x="745" y="361"/>
                    <a:pt x="745" y="361"/>
                    <a:pt x="745" y="361"/>
                  </a:cubicBezTo>
                  <a:cubicBezTo>
                    <a:pt x="758" y="358"/>
                    <a:pt x="767" y="358"/>
                    <a:pt x="771" y="363"/>
                  </a:cubicBezTo>
                  <a:cubicBezTo>
                    <a:pt x="771" y="363"/>
                    <a:pt x="771" y="363"/>
                    <a:pt x="771" y="363"/>
                  </a:cubicBezTo>
                  <a:cubicBezTo>
                    <a:pt x="779" y="364"/>
                    <a:pt x="787" y="373"/>
                    <a:pt x="791" y="377"/>
                  </a:cubicBezTo>
                  <a:cubicBezTo>
                    <a:pt x="791" y="377"/>
                    <a:pt x="791" y="377"/>
                    <a:pt x="791" y="377"/>
                  </a:cubicBezTo>
                  <a:cubicBezTo>
                    <a:pt x="800" y="378"/>
                    <a:pt x="804" y="383"/>
                    <a:pt x="802" y="400"/>
                  </a:cubicBezTo>
                  <a:cubicBezTo>
                    <a:pt x="799" y="443"/>
                    <a:pt x="799" y="443"/>
                    <a:pt x="799" y="443"/>
                  </a:cubicBezTo>
                  <a:cubicBezTo>
                    <a:pt x="798" y="451"/>
                    <a:pt x="802" y="456"/>
                    <a:pt x="811" y="457"/>
                  </a:cubicBezTo>
                  <a:cubicBezTo>
                    <a:pt x="845" y="468"/>
                    <a:pt x="845" y="468"/>
                    <a:pt x="845" y="468"/>
                  </a:cubicBezTo>
                  <a:cubicBezTo>
                    <a:pt x="849" y="464"/>
                    <a:pt x="858" y="464"/>
                    <a:pt x="859" y="456"/>
                  </a:cubicBezTo>
                  <a:cubicBezTo>
                    <a:pt x="871" y="413"/>
                    <a:pt x="871" y="413"/>
                    <a:pt x="871" y="413"/>
                  </a:cubicBezTo>
                  <a:cubicBezTo>
                    <a:pt x="876" y="401"/>
                    <a:pt x="889" y="397"/>
                    <a:pt x="894" y="393"/>
                  </a:cubicBezTo>
                  <a:cubicBezTo>
                    <a:pt x="894" y="393"/>
                    <a:pt x="894" y="393"/>
                    <a:pt x="894" y="393"/>
                  </a:cubicBezTo>
                  <a:cubicBezTo>
                    <a:pt x="902" y="394"/>
                    <a:pt x="911" y="395"/>
                    <a:pt x="916" y="391"/>
                  </a:cubicBezTo>
                  <a:cubicBezTo>
                    <a:pt x="916" y="391"/>
                    <a:pt x="916" y="391"/>
                    <a:pt x="916" y="391"/>
                  </a:cubicBezTo>
                  <a:cubicBezTo>
                    <a:pt x="924" y="391"/>
                    <a:pt x="933" y="392"/>
                    <a:pt x="941" y="401"/>
                  </a:cubicBezTo>
                  <a:cubicBezTo>
                    <a:pt x="969" y="433"/>
                    <a:pt x="969" y="433"/>
                    <a:pt x="969" y="433"/>
                  </a:cubicBezTo>
                  <a:cubicBezTo>
                    <a:pt x="973" y="438"/>
                    <a:pt x="985" y="443"/>
                    <a:pt x="990" y="439"/>
                  </a:cubicBezTo>
                  <a:cubicBezTo>
                    <a:pt x="1018" y="415"/>
                    <a:pt x="1018" y="415"/>
                    <a:pt x="1018" y="415"/>
                  </a:cubicBezTo>
                  <a:cubicBezTo>
                    <a:pt x="1018" y="415"/>
                    <a:pt x="1027" y="407"/>
                    <a:pt x="1019" y="398"/>
                  </a:cubicBezTo>
                  <a:close/>
                  <a:moveTo>
                    <a:pt x="803" y="279"/>
                  </a:moveTo>
                  <a:cubicBezTo>
                    <a:pt x="776" y="238"/>
                    <a:pt x="788" y="187"/>
                    <a:pt x="825" y="164"/>
                  </a:cubicBezTo>
                  <a:cubicBezTo>
                    <a:pt x="866" y="136"/>
                    <a:pt x="921" y="144"/>
                    <a:pt x="948" y="185"/>
                  </a:cubicBezTo>
                  <a:cubicBezTo>
                    <a:pt x="972" y="221"/>
                    <a:pt x="963" y="277"/>
                    <a:pt x="922" y="304"/>
                  </a:cubicBezTo>
                  <a:cubicBezTo>
                    <a:pt x="881" y="332"/>
                    <a:pt x="830" y="320"/>
                    <a:pt x="803" y="279"/>
                  </a:cubicBezTo>
                  <a:close/>
                </a:path>
              </a:pathLst>
            </a:custGeom>
            <a:solidFill>
              <a:schemeClr val="tx1"/>
            </a:solidFill>
            <a:ln>
              <a:noFill/>
            </a:ln>
          </p:spPr>
          <p:txBody>
            <a:bodyPr vert="horz" wrap="square" lIns="68574" tIns="34287" rIns="68574" bIns="34287"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17346"/>
                </a:solidFill>
                <a:effectLst/>
                <a:uLnTx/>
                <a:uFillTx/>
                <a:latin typeface="Segoe UI"/>
                <a:ea typeface="+mn-ea"/>
                <a:cs typeface="+mn-cs"/>
              </a:endParaRPr>
            </a:p>
          </p:txBody>
        </p:sp>
        <p:sp>
          <p:nvSpPr>
            <p:cNvPr id="88" name="Freeform 87"/>
            <p:cNvSpPr>
              <a:spLocks noChangeAspect="1"/>
            </p:cNvSpPr>
            <p:nvPr/>
          </p:nvSpPr>
          <p:spPr bwMode="black">
            <a:xfrm>
              <a:off x="776985" y="4213905"/>
              <a:ext cx="342871" cy="335728"/>
            </a:xfrm>
            <a:custGeom>
              <a:avLst/>
              <a:gdLst>
                <a:gd name="connsiteX0" fmla="*/ 3713863 w 4893730"/>
                <a:gd name="connsiteY0" fmla="*/ 2130808 h 4791777"/>
                <a:gd name="connsiteX1" fmla="*/ 4426142 w 4893730"/>
                <a:gd name="connsiteY1" fmla="*/ 2130808 h 4791777"/>
                <a:gd name="connsiteX2" fmla="*/ 4598071 w 4893730"/>
                <a:gd name="connsiteY2" fmla="*/ 2301547 h 4791777"/>
                <a:gd name="connsiteX3" fmla="*/ 4598071 w 4893730"/>
                <a:gd name="connsiteY3" fmla="*/ 3886978 h 4791777"/>
                <a:gd name="connsiteX4" fmla="*/ 4426142 w 4893730"/>
                <a:gd name="connsiteY4" fmla="*/ 4057717 h 4791777"/>
                <a:gd name="connsiteX5" fmla="*/ 3713863 w 4893730"/>
                <a:gd name="connsiteY5" fmla="*/ 4057717 h 4791777"/>
                <a:gd name="connsiteX6" fmla="*/ 3517372 w 4893730"/>
                <a:gd name="connsiteY6" fmla="*/ 3886978 h 4791777"/>
                <a:gd name="connsiteX7" fmla="*/ 3517372 w 4893730"/>
                <a:gd name="connsiteY7" fmla="*/ 2301547 h 4791777"/>
                <a:gd name="connsiteX8" fmla="*/ 3713863 w 4893730"/>
                <a:gd name="connsiteY8" fmla="*/ 2130808 h 4791777"/>
                <a:gd name="connsiteX9" fmla="*/ 904368 w 4893730"/>
                <a:gd name="connsiteY9" fmla="*/ 1223432 h 4791777"/>
                <a:gd name="connsiteX10" fmla="*/ 1609930 w 4893730"/>
                <a:gd name="connsiteY10" fmla="*/ 1223432 h 4791777"/>
                <a:gd name="connsiteX11" fmla="*/ 1804567 w 4893730"/>
                <a:gd name="connsiteY11" fmla="*/ 1394467 h 4791777"/>
                <a:gd name="connsiteX12" fmla="*/ 1804567 w 4893730"/>
                <a:gd name="connsiteY12" fmla="*/ 3886683 h 4791777"/>
                <a:gd name="connsiteX13" fmla="*/ 1609930 w 4893730"/>
                <a:gd name="connsiteY13" fmla="*/ 4057717 h 4791777"/>
                <a:gd name="connsiteX14" fmla="*/ 904368 w 4893730"/>
                <a:gd name="connsiteY14" fmla="*/ 4057717 h 4791777"/>
                <a:gd name="connsiteX15" fmla="*/ 734060 w 4893730"/>
                <a:gd name="connsiteY15" fmla="*/ 3886683 h 4791777"/>
                <a:gd name="connsiteX16" fmla="*/ 734060 w 4893730"/>
                <a:gd name="connsiteY16" fmla="*/ 1394467 h 4791777"/>
                <a:gd name="connsiteX17" fmla="*/ 904368 w 4893730"/>
                <a:gd name="connsiteY17" fmla="*/ 1223432 h 4791777"/>
                <a:gd name="connsiteX18" fmla="*/ 2325453 w 4893730"/>
                <a:gd name="connsiteY18" fmla="*/ 316050 h 4791777"/>
                <a:gd name="connsiteX19" fmla="*/ 3031014 w 4893730"/>
                <a:gd name="connsiteY19" fmla="*/ 316050 h 4791777"/>
                <a:gd name="connsiteX20" fmla="*/ 3201322 w 4893730"/>
                <a:gd name="connsiteY20" fmla="*/ 487238 h 4791777"/>
                <a:gd name="connsiteX21" fmla="*/ 3201322 w 4893730"/>
                <a:gd name="connsiteY21" fmla="*/ 3886530 h 4791777"/>
                <a:gd name="connsiteX22" fmla="*/ 3031014 w 4893730"/>
                <a:gd name="connsiteY22" fmla="*/ 4057717 h 4791777"/>
                <a:gd name="connsiteX23" fmla="*/ 2325453 w 4893730"/>
                <a:gd name="connsiteY23" fmla="*/ 4057717 h 4791777"/>
                <a:gd name="connsiteX24" fmla="*/ 2130815 w 4893730"/>
                <a:gd name="connsiteY24" fmla="*/ 3886530 h 4791777"/>
                <a:gd name="connsiteX25" fmla="*/ 2130815 w 4893730"/>
                <a:gd name="connsiteY25" fmla="*/ 487238 h 4791777"/>
                <a:gd name="connsiteX26" fmla="*/ 2325453 w 4893730"/>
                <a:gd name="connsiteY26" fmla="*/ 316050 h 4791777"/>
                <a:gd name="connsiteX27" fmla="*/ 269155 w 4893730"/>
                <a:gd name="connsiteY27" fmla="*/ 0 h 4791777"/>
                <a:gd name="connsiteX28" fmla="*/ 538311 w 4893730"/>
                <a:gd name="connsiteY28" fmla="*/ 268927 h 4791777"/>
                <a:gd name="connsiteX29" fmla="*/ 538311 w 4893730"/>
                <a:gd name="connsiteY29" fmla="*/ 4253925 h 4791777"/>
                <a:gd name="connsiteX30" fmla="*/ 4624575 w 4893730"/>
                <a:gd name="connsiteY30" fmla="*/ 4253925 h 4791777"/>
                <a:gd name="connsiteX31" fmla="*/ 4893730 w 4893730"/>
                <a:gd name="connsiteY31" fmla="*/ 4522851 h 4791777"/>
                <a:gd name="connsiteX32" fmla="*/ 4624575 w 4893730"/>
                <a:gd name="connsiteY32" fmla="*/ 4791777 h 4791777"/>
                <a:gd name="connsiteX33" fmla="*/ 269155 w 4893730"/>
                <a:gd name="connsiteY33" fmla="*/ 4791777 h 4791777"/>
                <a:gd name="connsiteX34" fmla="*/ 0 w 4893730"/>
                <a:gd name="connsiteY34" fmla="*/ 4522851 h 4791777"/>
                <a:gd name="connsiteX35" fmla="*/ 0 w 4893730"/>
                <a:gd name="connsiteY35" fmla="*/ 268927 h 4791777"/>
                <a:gd name="connsiteX36" fmla="*/ 269155 w 4893730"/>
                <a:gd name="connsiteY36" fmla="*/ 0 h 4791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4893730" h="4791777">
                  <a:moveTo>
                    <a:pt x="3713863" y="2130808"/>
                  </a:moveTo>
                  <a:cubicBezTo>
                    <a:pt x="3713863" y="2130808"/>
                    <a:pt x="3713863" y="2130808"/>
                    <a:pt x="4426142" y="2130808"/>
                  </a:cubicBezTo>
                  <a:cubicBezTo>
                    <a:pt x="4524387" y="2130808"/>
                    <a:pt x="4598071" y="2203982"/>
                    <a:pt x="4598071" y="2301547"/>
                  </a:cubicBezTo>
                  <a:cubicBezTo>
                    <a:pt x="4598071" y="2301547"/>
                    <a:pt x="4598071" y="2301547"/>
                    <a:pt x="4598071" y="3886978"/>
                  </a:cubicBezTo>
                  <a:cubicBezTo>
                    <a:pt x="4598071" y="3984543"/>
                    <a:pt x="4524387" y="4057717"/>
                    <a:pt x="4426142" y="4057717"/>
                  </a:cubicBezTo>
                  <a:cubicBezTo>
                    <a:pt x="4426142" y="4057717"/>
                    <a:pt x="4426142" y="4057717"/>
                    <a:pt x="3713863" y="4057717"/>
                  </a:cubicBezTo>
                  <a:cubicBezTo>
                    <a:pt x="3615618" y="4057717"/>
                    <a:pt x="3517372" y="3984543"/>
                    <a:pt x="3517372" y="3886978"/>
                  </a:cubicBezTo>
                  <a:cubicBezTo>
                    <a:pt x="3517372" y="3886978"/>
                    <a:pt x="3517372" y="3886978"/>
                    <a:pt x="3517372" y="2301547"/>
                  </a:cubicBezTo>
                  <a:cubicBezTo>
                    <a:pt x="3517372" y="2203982"/>
                    <a:pt x="3615618" y="2130808"/>
                    <a:pt x="3713863" y="2130808"/>
                  </a:cubicBezTo>
                  <a:close/>
                  <a:moveTo>
                    <a:pt x="904368" y="1223432"/>
                  </a:moveTo>
                  <a:cubicBezTo>
                    <a:pt x="904368" y="1223432"/>
                    <a:pt x="904368" y="1223432"/>
                    <a:pt x="1609930" y="1223432"/>
                  </a:cubicBezTo>
                  <a:cubicBezTo>
                    <a:pt x="1731578" y="1223432"/>
                    <a:pt x="1804567" y="1296733"/>
                    <a:pt x="1804567" y="1394467"/>
                  </a:cubicBezTo>
                  <a:cubicBezTo>
                    <a:pt x="1804567" y="1394467"/>
                    <a:pt x="1804567" y="1394467"/>
                    <a:pt x="1804567" y="3886683"/>
                  </a:cubicBezTo>
                  <a:cubicBezTo>
                    <a:pt x="1804567" y="3984417"/>
                    <a:pt x="1731578" y="4057717"/>
                    <a:pt x="1609930" y="4057717"/>
                  </a:cubicBezTo>
                  <a:cubicBezTo>
                    <a:pt x="1609930" y="4057717"/>
                    <a:pt x="1609930" y="4057717"/>
                    <a:pt x="904368" y="4057717"/>
                  </a:cubicBezTo>
                  <a:cubicBezTo>
                    <a:pt x="807049" y="4057717"/>
                    <a:pt x="734060" y="3984417"/>
                    <a:pt x="734060" y="3886683"/>
                  </a:cubicBezTo>
                  <a:cubicBezTo>
                    <a:pt x="734060" y="3886683"/>
                    <a:pt x="734060" y="3886683"/>
                    <a:pt x="734060" y="1394467"/>
                  </a:cubicBezTo>
                  <a:cubicBezTo>
                    <a:pt x="734060" y="1296733"/>
                    <a:pt x="807049" y="1223432"/>
                    <a:pt x="904368" y="1223432"/>
                  </a:cubicBezTo>
                  <a:close/>
                  <a:moveTo>
                    <a:pt x="2325453" y="316050"/>
                  </a:moveTo>
                  <a:cubicBezTo>
                    <a:pt x="2325453" y="316050"/>
                    <a:pt x="2325453" y="316050"/>
                    <a:pt x="3031014" y="316050"/>
                  </a:cubicBezTo>
                  <a:cubicBezTo>
                    <a:pt x="3128333" y="316050"/>
                    <a:pt x="3201322" y="389416"/>
                    <a:pt x="3201322" y="487238"/>
                  </a:cubicBezTo>
                  <a:cubicBezTo>
                    <a:pt x="3201322" y="487238"/>
                    <a:pt x="3201322" y="487238"/>
                    <a:pt x="3201322" y="3886530"/>
                  </a:cubicBezTo>
                  <a:cubicBezTo>
                    <a:pt x="3201322" y="3984351"/>
                    <a:pt x="3128333" y="4057717"/>
                    <a:pt x="3031014" y="4057717"/>
                  </a:cubicBezTo>
                  <a:cubicBezTo>
                    <a:pt x="3031014" y="4057717"/>
                    <a:pt x="3031014" y="4057717"/>
                    <a:pt x="2325453" y="4057717"/>
                  </a:cubicBezTo>
                  <a:cubicBezTo>
                    <a:pt x="2203804" y="4057717"/>
                    <a:pt x="2130815" y="3984351"/>
                    <a:pt x="2130815" y="3886530"/>
                  </a:cubicBezTo>
                  <a:cubicBezTo>
                    <a:pt x="2130815" y="3886530"/>
                    <a:pt x="2130815" y="3886530"/>
                    <a:pt x="2130815" y="487238"/>
                  </a:cubicBezTo>
                  <a:cubicBezTo>
                    <a:pt x="2130815" y="389416"/>
                    <a:pt x="2203804" y="316050"/>
                    <a:pt x="2325453" y="316050"/>
                  </a:cubicBezTo>
                  <a:close/>
                  <a:moveTo>
                    <a:pt x="269155" y="0"/>
                  </a:moveTo>
                  <a:cubicBezTo>
                    <a:pt x="415967" y="0"/>
                    <a:pt x="538311" y="122239"/>
                    <a:pt x="538311" y="268927"/>
                  </a:cubicBezTo>
                  <a:cubicBezTo>
                    <a:pt x="538311" y="268927"/>
                    <a:pt x="538311" y="268927"/>
                    <a:pt x="538311" y="4253925"/>
                  </a:cubicBezTo>
                  <a:cubicBezTo>
                    <a:pt x="538311" y="4253925"/>
                    <a:pt x="538311" y="4253925"/>
                    <a:pt x="4624575" y="4253925"/>
                  </a:cubicBezTo>
                  <a:cubicBezTo>
                    <a:pt x="4771387" y="4253925"/>
                    <a:pt x="4893730" y="4376164"/>
                    <a:pt x="4893730" y="4522851"/>
                  </a:cubicBezTo>
                  <a:cubicBezTo>
                    <a:pt x="4893730" y="4669538"/>
                    <a:pt x="4771387" y="4791777"/>
                    <a:pt x="4624575" y="4791777"/>
                  </a:cubicBezTo>
                  <a:cubicBezTo>
                    <a:pt x="4624575" y="4791777"/>
                    <a:pt x="4624575" y="4791777"/>
                    <a:pt x="269155" y="4791777"/>
                  </a:cubicBezTo>
                  <a:cubicBezTo>
                    <a:pt x="122344" y="4791777"/>
                    <a:pt x="0" y="4669538"/>
                    <a:pt x="0" y="4522851"/>
                  </a:cubicBezTo>
                  <a:cubicBezTo>
                    <a:pt x="0" y="4522851"/>
                    <a:pt x="0" y="4522851"/>
                    <a:pt x="0" y="268927"/>
                  </a:cubicBezTo>
                  <a:cubicBezTo>
                    <a:pt x="0" y="122239"/>
                    <a:pt x="122344" y="0"/>
                    <a:pt x="269155"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37148" tIns="109719" rIns="137148" bIns="109719"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699261"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9" name="Rectangle 88"/>
            <p:cNvSpPr/>
            <p:nvPr/>
          </p:nvSpPr>
          <p:spPr bwMode="auto">
            <a:xfrm rot="2745734">
              <a:off x="279530" y="1141266"/>
              <a:ext cx="1260714" cy="1255193"/>
            </a:xfrm>
            <a:prstGeom prst="rect">
              <a:avLst/>
            </a:prstGeom>
            <a:solidFill>
              <a:schemeClr val="tx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0" name="Rectangle 89"/>
            <p:cNvSpPr/>
            <p:nvPr/>
          </p:nvSpPr>
          <p:spPr bwMode="auto">
            <a:xfrm rot="2745734">
              <a:off x="292433" y="3819160"/>
              <a:ext cx="1610349" cy="1235003"/>
            </a:xfrm>
            <a:prstGeom prst="rect">
              <a:avLst/>
            </a:prstGeom>
            <a:solidFill>
              <a:schemeClr val="tx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2" name="Rectangle 91"/>
            <p:cNvSpPr/>
            <p:nvPr/>
          </p:nvSpPr>
          <p:spPr bwMode="auto">
            <a:xfrm rot="2745734">
              <a:off x="1315610" y="4915701"/>
              <a:ext cx="1263370" cy="1255989"/>
            </a:xfrm>
            <a:prstGeom prst="rect">
              <a:avLst/>
            </a:prstGeom>
            <a:solidFill>
              <a:schemeClr val="tx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40" name="TextBox 39"/>
          <p:cNvSpPr txBox="1"/>
          <p:nvPr/>
        </p:nvSpPr>
        <p:spPr>
          <a:xfrm>
            <a:off x="3" y="51415"/>
            <a:ext cx="2849058" cy="430887"/>
          </a:xfrm>
          <a:prstGeom prst="rect">
            <a:avLst/>
          </a:prstGeom>
        </p:spPr>
        <p:txBody>
          <a:bodyPr wrap="square">
            <a:spAutoFit/>
          </a:bodyPr>
          <a:lstStyle>
            <a:defPPr>
              <a:defRPr lang="en-US"/>
            </a:defPPr>
            <a:lvl1pPr defTabSz="914192">
              <a:defRPr sz="2800" b="1" spc="-100">
                <a:ln w="3175">
                  <a:noFill/>
                </a:ln>
                <a:solidFill>
                  <a:srgbClr val="F2C812"/>
                </a:solidFill>
                <a:latin typeface="Segoe UI" panose="020B0502040204020203" pitchFamily="34" charset="0"/>
                <a:ea typeface="ＭＳ Ｐゴシック" charset="0"/>
                <a:cs typeface="Segoe UI" panose="020B0502040204020203" pitchFamily="34" charset="0"/>
              </a:defRPr>
            </a:lvl1pPr>
          </a:lstStyle>
          <a:p>
            <a:pPr marL="0" marR="0" lvl="0" indent="0" algn="l" defTabSz="914192" rtl="0" eaLnBrk="1" fontAlgn="auto" latinLnBrk="0" hangingPunct="1">
              <a:lnSpc>
                <a:spcPct val="100000"/>
              </a:lnSpc>
              <a:spcBef>
                <a:spcPts val="0"/>
              </a:spcBef>
              <a:spcAft>
                <a:spcPts val="0"/>
              </a:spcAft>
              <a:buClrTx/>
              <a:buSzTx/>
              <a:buFontTx/>
              <a:buNone/>
              <a:tabLst/>
              <a:defRPr/>
            </a:pPr>
            <a:r>
              <a:rPr kumimoji="0" lang="en-US" sz="2200" b="1" i="0" u="none" strike="noStrike" kern="1200" cap="none" spc="-100" normalizeH="0" baseline="0" noProof="0">
                <a:ln w="3175">
                  <a:noFill/>
                </a:ln>
                <a:solidFill>
                  <a:srgbClr val="F2C812"/>
                </a:solidFill>
                <a:effectLst/>
                <a:uLnTx/>
                <a:uFillTx/>
                <a:latin typeface="Segoe UI Light"/>
                <a:ea typeface="ＭＳ Ｐゴシック" charset="0"/>
                <a:cs typeface="Segoe UI" panose="020B0502040204020203" pitchFamily="34" charset="0"/>
              </a:rPr>
              <a:t>Power BI Desktop</a:t>
            </a:r>
          </a:p>
        </p:txBody>
      </p:sp>
      <p:sp>
        <p:nvSpPr>
          <p:cNvPr id="41" name="Rectangle 40"/>
          <p:cNvSpPr/>
          <p:nvPr/>
        </p:nvSpPr>
        <p:spPr bwMode="auto">
          <a:xfrm rot="2745734">
            <a:off x="825067" y="3494250"/>
            <a:ext cx="1260714" cy="370170"/>
          </a:xfrm>
          <a:prstGeom prst="rect">
            <a:avLst/>
          </a:prstGeom>
          <a:solidFill>
            <a:schemeClr val="tx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4" name="Picture 3"/>
          <p:cNvPicPr>
            <a:picLocks noChangeAspect="1"/>
          </p:cNvPicPr>
          <p:nvPr/>
        </p:nvPicPr>
        <p:blipFill>
          <a:blip r:embed="rId3"/>
          <a:stretch>
            <a:fillRect/>
          </a:stretch>
        </p:blipFill>
        <p:spPr>
          <a:xfrm>
            <a:off x="3343510" y="1687884"/>
            <a:ext cx="8472252" cy="4318507"/>
          </a:xfrm>
          <a:prstGeom prst="rect">
            <a:avLst/>
          </a:prstGeom>
          <a:ln>
            <a:noFill/>
          </a:ln>
          <a:effectLst>
            <a:outerShdw blurRad="190500" algn="tl" rotWithShape="0">
              <a:srgbClr val="000000">
                <a:alpha val="70000"/>
              </a:srgbClr>
            </a:outerShdw>
          </a:effectLst>
        </p:spPr>
      </p:pic>
    </p:spTree>
    <p:extLst>
      <p:ext uri="{BB962C8B-B14F-4D97-AF65-F5344CB8AC3E}">
        <p14:creationId xmlns:p14="http://schemas.microsoft.com/office/powerpoint/2010/main" val="15325731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solidFill>
            <a:schemeClr val="bg1"/>
          </a:solidFill>
        </p:spPr>
        <p:txBody>
          <a:bodyPr/>
          <a:lstStyle/>
          <a:p>
            <a:r>
              <a:rPr lang="pt-PT" sz="2900">
                <a:solidFill>
                  <a:schemeClr val="tx1"/>
                </a:solidFill>
              </a:rPr>
              <a:t>Visualisations – Stacked and Clustered Bar and Line Area Chart</a:t>
            </a:r>
            <a:endParaRPr lang="en-US" sz="2900">
              <a:solidFill>
                <a:schemeClr val="tx1"/>
              </a:solidFill>
            </a:endParaRPr>
          </a:p>
        </p:txBody>
      </p:sp>
      <p:grpSp>
        <p:nvGrpSpPr>
          <p:cNvPr id="52" name="Group 51"/>
          <p:cNvGrpSpPr/>
          <p:nvPr/>
        </p:nvGrpSpPr>
        <p:grpSpPr>
          <a:xfrm>
            <a:off x="2" y="1"/>
            <a:ext cx="2849058" cy="6858000"/>
            <a:chOff x="2" y="1"/>
            <a:chExt cx="2849058" cy="6858000"/>
          </a:xfrm>
        </p:grpSpPr>
        <p:sp>
          <p:nvSpPr>
            <p:cNvPr id="71" name="Rectangle 70"/>
            <p:cNvSpPr/>
            <p:nvPr/>
          </p:nvSpPr>
          <p:spPr bwMode="auto">
            <a:xfrm>
              <a:off x="2" y="1"/>
              <a:ext cx="2849058"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3" name="Oval 70"/>
            <p:cNvSpPr/>
            <p:nvPr/>
          </p:nvSpPr>
          <p:spPr>
            <a:xfrm>
              <a:off x="1413521" y="4951537"/>
              <a:ext cx="1119626" cy="1119626"/>
            </a:xfrm>
            <a:prstGeom prst="ellipse">
              <a:avLst/>
            </a:prstGeom>
            <a:solidFill>
              <a:srgbClr val="F2C812"/>
            </a:solidFill>
            <a:ln w="3175" cap="flat" cmpd="sng" algn="ctr">
              <a:noFill/>
              <a:prstDash val="solid"/>
            </a:ln>
            <a:effectLst/>
          </p:spPr>
          <p:txBody>
            <a:bodyPr vert="horz" wrap="none" lIns="0" tIns="45720" rIns="0" bIns="0" rtlCol="0" anchor="t"/>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Segoe UI"/>
                  <a:ea typeface="Segoe UI" pitchFamily="34" charset="0"/>
                  <a:cs typeface="Segoe UI" pitchFamily="34" charset="0"/>
                </a:rPr>
                <a:t>Share &amp;</a:t>
              </a:r>
            </a:p>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Segoe UI"/>
                  <a:ea typeface="Segoe UI" pitchFamily="34" charset="0"/>
                  <a:cs typeface="Segoe UI" pitchFamily="34" charset="0"/>
                </a:rPr>
                <a:t>collaborate </a:t>
              </a:r>
            </a:p>
          </p:txBody>
        </p:sp>
        <p:grpSp>
          <p:nvGrpSpPr>
            <p:cNvPr id="76" name="Group 38"/>
            <p:cNvGrpSpPr>
              <a:grpSpLocks noChangeAspect="1"/>
            </p:cNvGrpSpPr>
            <p:nvPr/>
          </p:nvGrpSpPr>
          <p:grpSpPr>
            <a:xfrm>
              <a:off x="676996" y="3930692"/>
              <a:ext cx="383905" cy="351536"/>
              <a:chOff x="4363684" y="5330386"/>
              <a:chExt cx="1409956" cy="1291077"/>
            </a:xfrm>
            <a:solidFill>
              <a:srgbClr val="217346"/>
            </a:solidFill>
          </p:grpSpPr>
          <p:sp>
            <p:nvSpPr>
              <p:cNvPr id="102" name="Donut 3"/>
              <p:cNvSpPr/>
              <p:nvPr/>
            </p:nvSpPr>
            <p:spPr bwMode="auto">
              <a:xfrm>
                <a:off x="4363684" y="5330386"/>
                <a:ext cx="1409956" cy="1291077"/>
              </a:xfrm>
              <a:custGeom>
                <a:avLst/>
                <a:gdLst/>
                <a:ahLst/>
                <a:cxnLst/>
                <a:rect l="l" t="t" r="r" b="b"/>
                <a:pathLst>
                  <a:path w="1409956" h="1291077">
                    <a:moveTo>
                      <a:pt x="956401" y="78410"/>
                    </a:moveTo>
                    <a:cubicBezTo>
                      <a:pt x="747518" y="78410"/>
                      <a:pt x="578184" y="247744"/>
                      <a:pt x="578184" y="456627"/>
                    </a:cubicBezTo>
                    <a:cubicBezTo>
                      <a:pt x="578184" y="665510"/>
                      <a:pt x="747518" y="834844"/>
                      <a:pt x="956401" y="834844"/>
                    </a:cubicBezTo>
                    <a:cubicBezTo>
                      <a:pt x="1165284" y="834844"/>
                      <a:pt x="1334618" y="665510"/>
                      <a:pt x="1334618" y="456627"/>
                    </a:cubicBezTo>
                    <a:cubicBezTo>
                      <a:pt x="1334618" y="247744"/>
                      <a:pt x="1165284" y="78410"/>
                      <a:pt x="956401" y="78410"/>
                    </a:cubicBezTo>
                    <a:close/>
                    <a:moveTo>
                      <a:pt x="952756" y="0"/>
                    </a:moveTo>
                    <a:cubicBezTo>
                      <a:pt x="1205261" y="0"/>
                      <a:pt x="1409956" y="204695"/>
                      <a:pt x="1409956" y="457200"/>
                    </a:cubicBezTo>
                    <a:cubicBezTo>
                      <a:pt x="1409956" y="709705"/>
                      <a:pt x="1205261" y="914400"/>
                      <a:pt x="952756" y="914400"/>
                    </a:cubicBezTo>
                    <a:cubicBezTo>
                      <a:pt x="862133" y="914400"/>
                      <a:pt x="777669" y="888034"/>
                      <a:pt x="707132" y="841746"/>
                    </a:cubicBezTo>
                    <a:lnTo>
                      <a:pt x="136495" y="1280102"/>
                    </a:lnTo>
                    <a:cubicBezTo>
                      <a:pt x="21896" y="1327168"/>
                      <a:pt x="-44029" y="1213730"/>
                      <a:pt x="33797" y="1113182"/>
                    </a:cubicBezTo>
                    <a:lnTo>
                      <a:pt x="568587" y="703518"/>
                    </a:lnTo>
                    <a:cubicBezTo>
                      <a:pt x="522087" y="632814"/>
                      <a:pt x="495556" y="548105"/>
                      <a:pt x="495556" y="457200"/>
                    </a:cubicBezTo>
                    <a:cubicBezTo>
                      <a:pt x="495556" y="204695"/>
                      <a:pt x="700251" y="0"/>
                      <a:pt x="952756" y="0"/>
                    </a:cubicBezTo>
                    <a:close/>
                  </a:path>
                </a:pathLst>
              </a:custGeom>
              <a:grpFill/>
              <a:ln>
                <a:solidFill>
                  <a:srgbClr val="21734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sp>
            <p:nvSpPr>
              <p:cNvPr id="103" name="Rectangle 4"/>
              <p:cNvSpPr/>
              <p:nvPr/>
            </p:nvSpPr>
            <p:spPr>
              <a:xfrm>
                <a:off x="5058389" y="5528247"/>
                <a:ext cx="490885" cy="490020"/>
              </a:xfrm>
              <a:custGeom>
                <a:avLst/>
                <a:gdLst/>
                <a:ahLst/>
                <a:cxnLst/>
                <a:rect l="l" t="t" r="r" b="b"/>
                <a:pathLst>
                  <a:path w="490885" h="490020">
                    <a:moveTo>
                      <a:pt x="240752" y="0"/>
                    </a:moveTo>
                    <a:cubicBezTo>
                      <a:pt x="253961" y="11844"/>
                      <a:pt x="293310" y="49692"/>
                      <a:pt x="337332" y="92439"/>
                    </a:cubicBezTo>
                    <a:lnTo>
                      <a:pt x="328342" y="81259"/>
                    </a:lnTo>
                    <a:cubicBezTo>
                      <a:pt x="356946" y="111282"/>
                      <a:pt x="377251" y="107167"/>
                      <a:pt x="382515" y="87941"/>
                    </a:cubicBezTo>
                    <a:cubicBezTo>
                      <a:pt x="383951" y="76921"/>
                      <a:pt x="384595" y="68732"/>
                      <a:pt x="396997" y="52239"/>
                    </a:cubicBezTo>
                    <a:cubicBezTo>
                      <a:pt x="420362" y="32084"/>
                      <a:pt x="442294" y="41736"/>
                      <a:pt x="454920" y="51330"/>
                    </a:cubicBezTo>
                    <a:cubicBezTo>
                      <a:pt x="467834" y="62761"/>
                      <a:pt x="477920" y="86882"/>
                      <a:pt x="460392" y="109714"/>
                    </a:cubicBezTo>
                    <a:cubicBezTo>
                      <a:pt x="451128" y="121912"/>
                      <a:pt x="437554" y="126838"/>
                      <a:pt x="425922" y="126505"/>
                    </a:cubicBezTo>
                    <a:cubicBezTo>
                      <a:pt x="424301" y="127609"/>
                      <a:pt x="382890" y="134974"/>
                      <a:pt x="427348" y="177672"/>
                    </a:cubicBezTo>
                    <a:lnTo>
                      <a:pt x="416886" y="169735"/>
                    </a:lnTo>
                    <a:cubicBezTo>
                      <a:pt x="450207" y="202177"/>
                      <a:pt x="478424" y="229744"/>
                      <a:pt x="490885" y="241900"/>
                    </a:cubicBezTo>
                    <a:lnTo>
                      <a:pt x="417150" y="317347"/>
                    </a:lnTo>
                    <a:cubicBezTo>
                      <a:pt x="417744" y="316535"/>
                      <a:pt x="418443" y="316123"/>
                      <a:pt x="419047" y="315822"/>
                    </a:cubicBezTo>
                    <a:cubicBezTo>
                      <a:pt x="389023" y="344426"/>
                      <a:pt x="393138" y="364731"/>
                      <a:pt x="412364" y="369995"/>
                    </a:cubicBezTo>
                    <a:cubicBezTo>
                      <a:pt x="423384" y="371431"/>
                      <a:pt x="431574" y="372075"/>
                      <a:pt x="448067" y="384477"/>
                    </a:cubicBezTo>
                    <a:cubicBezTo>
                      <a:pt x="468221" y="407842"/>
                      <a:pt x="458569" y="429774"/>
                      <a:pt x="448975" y="442400"/>
                    </a:cubicBezTo>
                    <a:cubicBezTo>
                      <a:pt x="437545" y="455314"/>
                      <a:pt x="413423" y="465400"/>
                      <a:pt x="390591" y="447872"/>
                    </a:cubicBezTo>
                    <a:cubicBezTo>
                      <a:pt x="378394" y="438608"/>
                      <a:pt x="373468" y="425034"/>
                      <a:pt x="373800" y="413402"/>
                    </a:cubicBezTo>
                    <a:cubicBezTo>
                      <a:pt x="372696" y="411781"/>
                      <a:pt x="365332" y="370370"/>
                      <a:pt x="322634" y="414828"/>
                    </a:cubicBezTo>
                    <a:lnTo>
                      <a:pt x="325243" y="411388"/>
                    </a:lnTo>
                    <a:lnTo>
                      <a:pt x="248395" y="490020"/>
                    </a:lnTo>
                    <a:cubicBezTo>
                      <a:pt x="208939" y="451897"/>
                      <a:pt x="199129" y="442073"/>
                      <a:pt x="174192" y="418236"/>
                    </a:cubicBezTo>
                    <a:cubicBezTo>
                      <a:pt x="145587" y="388212"/>
                      <a:pt x="125282" y="392327"/>
                      <a:pt x="120018" y="411553"/>
                    </a:cubicBezTo>
                    <a:cubicBezTo>
                      <a:pt x="118582" y="422573"/>
                      <a:pt x="117938" y="430763"/>
                      <a:pt x="105536" y="447256"/>
                    </a:cubicBezTo>
                    <a:cubicBezTo>
                      <a:pt x="82171" y="467410"/>
                      <a:pt x="60239" y="457758"/>
                      <a:pt x="47614" y="448164"/>
                    </a:cubicBezTo>
                    <a:cubicBezTo>
                      <a:pt x="34699" y="436734"/>
                      <a:pt x="24614" y="412612"/>
                      <a:pt x="42141" y="389780"/>
                    </a:cubicBezTo>
                    <a:cubicBezTo>
                      <a:pt x="51405" y="377583"/>
                      <a:pt x="64979" y="372657"/>
                      <a:pt x="76612" y="372989"/>
                    </a:cubicBezTo>
                    <a:cubicBezTo>
                      <a:pt x="78232" y="371886"/>
                      <a:pt x="119644" y="364521"/>
                      <a:pt x="75186" y="321823"/>
                    </a:cubicBezTo>
                    <a:cubicBezTo>
                      <a:pt x="58767" y="305402"/>
                      <a:pt x="23648" y="271235"/>
                      <a:pt x="0" y="248738"/>
                    </a:cubicBezTo>
                    <a:lnTo>
                      <a:pt x="77303" y="168146"/>
                    </a:lnTo>
                    <a:cubicBezTo>
                      <a:pt x="104269" y="140313"/>
                      <a:pt x="122130" y="156409"/>
                      <a:pt x="124388" y="175543"/>
                    </a:cubicBezTo>
                    <a:cubicBezTo>
                      <a:pt x="124457" y="182466"/>
                      <a:pt x="127106" y="193106"/>
                      <a:pt x="137575" y="203052"/>
                    </a:cubicBezTo>
                    <a:cubicBezTo>
                      <a:pt x="153931" y="220277"/>
                      <a:pt x="181252" y="217451"/>
                      <a:pt x="196721" y="201951"/>
                    </a:cubicBezTo>
                    <a:cubicBezTo>
                      <a:pt x="211961" y="185740"/>
                      <a:pt x="213057" y="157882"/>
                      <a:pt x="196146" y="142797"/>
                    </a:cubicBezTo>
                    <a:cubicBezTo>
                      <a:pt x="184301" y="132637"/>
                      <a:pt x="177155" y="131453"/>
                      <a:pt x="166513" y="129894"/>
                    </a:cubicBezTo>
                    <a:cubicBezTo>
                      <a:pt x="154522" y="129013"/>
                      <a:pt x="131185" y="112953"/>
                      <a:pt x="157905" y="85228"/>
                    </a:cubicBezTo>
                    <a:close/>
                  </a:path>
                </a:pathLst>
              </a:custGeom>
              <a:grpFill/>
              <a:ln>
                <a:solidFill>
                  <a:srgbClr val="21734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grpSp>
        <p:sp>
          <p:nvSpPr>
            <p:cNvPr id="77" name="Oval 47"/>
            <p:cNvSpPr/>
            <p:nvPr/>
          </p:nvSpPr>
          <p:spPr>
            <a:xfrm>
              <a:off x="388608" y="3710471"/>
              <a:ext cx="1119626" cy="1119626"/>
            </a:xfrm>
            <a:prstGeom prst="ellipse">
              <a:avLst/>
            </a:prstGeom>
            <a:solidFill>
              <a:srgbClr val="F2C812"/>
            </a:solidFill>
            <a:ln w="3175" cap="flat" cmpd="sng" algn="ctr">
              <a:noFill/>
              <a:prstDash val="solid"/>
            </a:ln>
            <a:effectLst/>
          </p:spPr>
          <p:txBody>
            <a:bodyPr vert="horz" wrap="none" lIns="0" tIns="45720" rIns="0" bIns="0" rtlCol="0" anchor="t"/>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Segoe UI"/>
                  <a:ea typeface="Segoe UI" pitchFamily="34" charset="0"/>
                  <a:cs typeface="Segoe UI" pitchFamily="34" charset="0"/>
                </a:rPr>
                <a:t>Report</a:t>
              </a:r>
            </a:p>
          </p:txBody>
        </p:sp>
        <p:sp>
          <p:nvSpPr>
            <p:cNvPr id="78" name="Oval 950"/>
            <p:cNvSpPr/>
            <p:nvPr/>
          </p:nvSpPr>
          <p:spPr>
            <a:xfrm>
              <a:off x="388608" y="1252295"/>
              <a:ext cx="1119626" cy="1119626"/>
            </a:xfrm>
            <a:prstGeom prst="ellipse">
              <a:avLst/>
            </a:prstGeom>
            <a:solidFill>
              <a:srgbClr val="F2C812"/>
            </a:solidFill>
            <a:ln w="3175" cap="flat" cmpd="sng" algn="ctr">
              <a:noFill/>
              <a:prstDash val="solid"/>
            </a:ln>
            <a:effectLst/>
          </p:spPr>
          <p:txBody>
            <a:bodyPr vert="horz" wrap="none" lIns="0" tIns="45720" rIns="0" bIns="0" rtlCol="0" anchor="t"/>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1" i="0" u="none" strike="noStrike" kern="1200" cap="none" spc="0" normalizeH="0" baseline="0" noProof="0">
                <a:ln>
                  <a:noFill/>
                </a:ln>
                <a:solidFill>
                  <a:srgbClr val="217346"/>
                </a:solidFill>
                <a:effectLst/>
                <a:uLnTx/>
                <a:uFillTx/>
                <a:latin typeface="Segoe UI"/>
                <a:ea typeface="Segoe UI" pitchFamily="34" charset="0"/>
                <a:cs typeface="Segoe UI" pitchFamily="34" charset="0"/>
              </a:endParaRPr>
            </a:p>
          </p:txBody>
        </p:sp>
        <p:grpSp>
          <p:nvGrpSpPr>
            <p:cNvPr id="79" name="Group 78"/>
            <p:cNvGrpSpPr/>
            <p:nvPr/>
          </p:nvGrpSpPr>
          <p:grpSpPr>
            <a:xfrm>
              <a:off x="1264851" y="3482890"/>
              <a:ext cx="292254" cy="354906"/>
              <a:chOff x="1296521" y="3253388"/>
              <a:chExt cx="292254" cy="354906"/>
            </a:xfrm>
            <a:solidFill>
              <a:srgbClr val="F2C812"/>
            </a:solidFill>
          </p:grpSpPr>
          <p:sp>
            <p:nvSpPr>
              <p:cNvPr id="99" name="Isosceles Triangle 98"/>
              <p:cNvSpPr/>
              <p:nvPr/>
            </p:nvSpPr>
            <p:spPr bwMode="auto">
              <a:xfrm rot="13636515">
                <a:off x="1461362" y="328936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0" name="Isosceles Triangle 99"/>
              <p:cNvSpPr/>
              <p:nvPr/>
            </p:nvSpPr>
            <p:spPr bwMode="auto">
              <a:xfrm rot="13636515">
                <a:off x="1357669" y="338258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1" name="Isosceles Triangle 100"/>
              <p:cNvSpPr/>
              <p:nvPr/>
            </p:nvSpPr>
            <p:spPr bwMode="auto">
              <a:xfrm rot="13636515">
                <a:off x="1260548" y="3480882"/>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80" name="Group 79"/>
            <p:cNvGrpSpPr/>
            <p:nvPr/>
          </p:nvGrpSpPr>
          <p:grpSpPr>
            <a:xfrm rot="15940603">
              <a:off x="1334576" y="2204404"/>
              <a:ext cx="292254" cy="354906"/>
              <a:chOff x="1296521" y="3253388"/>
              <a:chExt cx="292254" cy="354906"/>
            </a:xfrm>
            <a:solidFill>
              <a:srgbClr val="F2C812"/>
            </a:solidFill>
          </p:grpSpPr>
          <p:sp>
            <p:nvSpPr>
              <p:cNvPr id="96" name="Isosceles Triangle 95"/>
              <p:cNvSpPr/>
              <p:nvPr/>
            </p:nvSpPr>
            <p:spPr bwMode="auto">
              <a:xfrm rot="13636515">
                <a:off x="1461362" y="328936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7" name="Isosceles Triangle 96"/>
              <p:cNvSpPr/>
              <p:nvPr/>
            </p:nvSpPr>
            <p:spPr bwMode="auto">
              <a:xfrm rot="13636515">
                <a:off x="1357669" y="338258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8" name="Isosceles Triangle 97"/>
              <p:cNvSpPr/>
              <p:nvPr/>
            </p:nvSpPr>
            <p:spPr bwMode="auto">
              <a:xfrm rot="13636515">
                <a:off x="1260548" y="3480882"/>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81" name="Group 80"/>
            <p:cNvGrpSpPr/>
            <p:nvPr/>
          </p:nvGrpSpPr>
          <p:grpSpPr>
            <a:xfrm rot="16043978">
              <a:off x="1317220" y="4717577"/>
              <a:ext cx="292254" cy="354906"/>
              <a:chOff x="1296521" y="3253388"/>
              <a:chExt cx="292254" cy="354906"/>
            </a:xfrm>
            <a:solidFill>
              <a:srgbClr val="F2C812"/>
            </a:solidFill>
          </p:grpSpPr>
          <p:sp>
            <p:nvSpPr>
              <p:cNvPr id="93" name="Isosceles Triangle 92"/>
              <p:cNvSpPr/>
              <p:nvPr/>
            </p:nvSpPr>
            <p:spPr bwMode="auto">
              <a:xfrm rot="13636515">
                <a:off x="1461362" y="328936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4" name="Isosceles Triangle 93"/>
              <p:cNvSpPr/>
              <p:nvPr/>
            </p:nvSpPr>
            <p:spPr bwMode="auto">
              <a:xfrm rot="13636515">
                <a:off x="1357669" y="338258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5" name="Isosceles Triangle 94"/>
              <p:cNvSpPr/>
              <p:nvPr/>
            </p:nvSpPr>
            <p:spPr bwMode="auto">
              <a:xfrm rot="13636515">
                <a:off x="1260548" y="3480882"/>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82" name="Oval 36"/>
            <p:cNvSpPr/>
            <p:nvPr/>
          </p:nvSpPr>
          <p:spPr>
            <a:xfrm>
              <a:off x="1413521" y="2481383"/>
              <a:ext cx="1119626" cy="1119626"/>
            </a:xfrm>
            <a:prstGeom prst="ellipse">
              <a:avLst/>
            </a:prstGeom>
            <a:solidFill>
              <a:srgbClr val="F2C812"/>
            </a:solidFill>
            <a:ln w="3175" cap="flat" cmpd="sng" algn="ctr">
              <a:noFill/>
              <a:prstDash val="solid"/>
            </a:ln>
            <a:effectLst/>
          </p:spPr>
          <p:txBody>
            <a:bodyPr vert="horz" wrap="none" lIns="0" tIns="0" rIns="0" bIns="0" rtlCol="0" anchor="t"/>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400" b="1" i="0" u="none" strike="noStrike" kern="1200" cap="none" spc="0" normalizeH="0" baseline="0" noProof="0">
                <a:ln>
                  <a:noFill/>
                </a:ln>
                <a:solidFill>
                  <a:srgbClr val="217346"/>
                </a:solidFill>
                <a:effectLst/>
                <a:uLnTx/>
                <a:uFillTx/>
                <a:latin typeface="Segoe UI"/>
                <a:ea typeface="Segoe UI" pitchFamily="34" charset="0"/>
                <a:cs typeface="Segoe UI" pitchFamily="34" charset="0"/>
              </a:endParaRPr>
            </a:p>
          </p:txBody>
        </p:sp>
        <p:sp>
          <p:nvSpPr>
            <p:cNvPr id="83" name="Donut 3"/>
            <p:cNvSpPr/>
            <p:nvPr/>
          </p:nvSpPr>
          <p:spPr bwMode="auto">
            <a:xfrm>
              <a:off x="1742065" y="3002355"/>
              <a:ext cx="383905" cy="351537"/>
            </a:xfrm>
            <a:custGeom>
              <a:avLst/>
              <a:gdLst/>
              <a:ahLst/>
              <a:cxnLst/>
              <a:rect l="l" t="t" r="r" b="b"/>
              <a:pathLst>
                <a:path w="1409956" h="1291077">
                  <a:moveTo>
                    <a:pt x="956401" y="78410"/>
                  </a:moveTo>
                  <a:cubicBezTo>
                    <a:pt x="747518" y="78410"/>
                    <a:pt x="578184" y="247744"/>
                    <a:pt x="578184" y="456627"/>
                  </a:cubicBezTo>
                  <a:cubicBezTo>
                    <a:pt x="578184" y="665510"/>
                    <a:pt x="747518" y="834844"/>
                    <a:pt x="956401" y="834844"/>
                  </a:cubicBezTo>
                  <a:cubicBezTo>
                    <a:pt x="1165284" y="834844"/>
                    <a:pt x="1334618" y="665510"/>
                    <a:pt x="1334618" y="456627"/>
                  </a:cubicBezTo>
                  <a:cubicBezTo>
                    <a:pt x="1334618" y="247744"/>
                    <a:pt x="1165284" y="78410"/>
                    <a:pt x="956401" y="78410"/>
                  </a:cubicBezTo>
                  <a:close/>
                  <a:moveTo>
                    <a:pt x="952756" y="0"/>
                  </a:moveTo>
                  <a:cubicBezTo>
                    <a:pt x="1205261" y="0"/>
                    <a:pt x="1409956" y="204695"/>
                    <a:pt x="1409956" y="457200"/>
                  </a:cubicBezTo>
                  <a:cubicBezTo>
                    <a:pt x="1409956" y="709705"/>
                    <a:pt x="1205261" y="914400"/>
                    <a:pt x="952756" y="914400"/>
                  </a:cubicBezTo>
                  <a:cubicBezTo>
                    <a:pt x="862133" y="914400"/>
                    <a:pt x="777669" y="888034"/>
                    <a:pt x="707132" y="841746"/>
                  </a:cubicBezTo>
                  <a:lnTo>
                    <a:pt x="136495" y="1280102"/>
                  </a:lnTo>
                  <a:cubicBezTo>
                    <a:pt x="21896" y="1327168"/>
                    <a:pt x="-44029" y="1213730"/>
                    <a:pt x="33797" y="1113182"/>
                  </a:cubicBezTo>
                  <a:lnTo>
                    <a:pt x="568587" y="703518"/>
                  </a:lnTo>
                  <a:cubicBezTo>
                    <a:pt x="522087" y="632814"/>
                    <a:pt x="495556" y="548105"/>
                    <a:pt x="495556" y="457200"/>
                  </a:cubicBezTo>
                  <a:cubicBezTo>
                    <a:pt x="495556" y="204695"/>
                    <a:pt x="700251" y="0"/>
                    <a:pt x="952756" y="0"/>
                  </a:cubicBezTo>
                  <a:close/>
                </a:path>
              </a:pathLst>
            </a:cu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sp>
          <p:nvSpPr>
            <p:cNvPr id="84" name="Rectangle 83"/>
            <p:cNvSpPr/>
            <p:nvPr/>
          </p:nvSpPr>
          <p:spPr>
            <a:xfrm>
              <a:off x="1600398" y="2677430"/>
              <a:ext cx="820353" cy="307777"/>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Segoe UI"/>
                  <a:ea typeface="Segoe UI" pitchFamily="34" charset="0"/>
                  <a:cs typeface="Segoe UI" pitchFamily="34" charset="0"/>
                </a:rPr>
                <a:t>Explore</a:t>
              </a:r>
              <a:endParaRPr kumimoji="0" lang="en-US" sz="1600" b="0" i="0" u="none" strike="noStrike" kern="1200" cap="none" spc="0" normalizeH="0" baseline="0" noProof="0">
                <a:ln>
                  <a:noFill/>
                </a:ln>
                <a:solidFill>
                  <a:srgbClr val="000000"/>
                </a:solidFill>
                <a:effectLst/>
                <a:uLnTx/>
                <a:uFillTx/>
                <a:latin typeface="Segoe UI"/>
                <a:ea typeface="+mn-ea"/>
                <a:cs typeface="+mn-cs"/>
              </a:endParaRPr>
            </a:p>
          </p:txBody>
        </p:sp>
        <p:sp>
          <p:nvSpPr>
            <p:cNvPr id="85" name="Rectangle 84"/>
            <p:cNvSpPr/>
            <p:nvPr/>
          </p:nvSpPr>
          <p:spPr>
            <a:xfrm>
              <a:off x="509174" y="1475232"/>
              <a:ext cx="838756" cy="307777"/>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Segoe UI"/>
                  <a:ea typeface="Segoe UI" pitchFamily="34" charset="0"/>
                  <a:cs typeface="Segoe UI" pitchFamily="34" charset="0"/>
                </a:rPr>
                <a:t>Prepare</a:t>
              </a: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86" name="Freeform 85"/>
            <p:cNvSpPr>
              <a:spLocks noChangeAspect="1"/>
            </p:cNvSpPr>
            <p:nvPr/>
          </p:nvSpPr>
          <p:spPr bwMode="black">
            <a:xfrm>
              <a:off x="1836174" y="5643069"/>
              <a:ext cx="274320" cy="284173"/>
            </a:xfrm>
            <a:custGeom>
              <a:avLst/>
              <a:gdLst>
                <a:gd name="T0" fmla="*/ 539 w 669"/>
                <a:gd name="T1" fmla="*/ 5 h 693"/>
                <a:gd name="T2" fmla="*/ 640 w 669"/>
                <a:gd name="T3" fmla="*/ 55 h 693"/>
                <a:gd name="T4" fmla="*/ 603 w 669"/>
                <a:gd name="T5" fmla="*/ 195 h 693"/>
                <a:gd name="T6" fmla="*/ 490 w 669"/>
                <a:gd name="T7" fmla="*/ 188 h 693"/>
                <a:gd name="T8" fmla="*/ 479 w 669"/>
                <a:gd name="T9" fmla="*/ 176 h 693"/>
                <a:gd name="T10" fmla="*/ 213 w 669"/>
                <a:gd name="T11" fmla="*/ 330 h 693"/>
                <a:gd name="T12" fmla="*/ 218 w 669"/>
                <a:gd name="T13" fmla="*/ 345 h 693"/>
                <a:gd name="T14" fmla="*/ 218 w 669"/>
                <a:gd name="T15" fmla="*/ 375 h 693"/>
                <a:gd name="T16" fmla="*/ 209 w 669"/>
                <a:gd name="T17" fmla="*/ 402 h 693"/>
                <a:gd name="T18" fmla="*/ 369 w 669"/>
                <a:gd name="T19" fmla="*/ 503 h 693"/>
                <a:gd name="T20" fmla="*/ 373 w 669"/>
                <a:gd name="T21" fmla="*/ 498 h 693"/>
                <a:gd name="T22" fmla="*/ 456 w 669"/>
                <a:gd name="T23" fmla="*/ 475 h 693"/>
                <a:gd name="T24" fmla="*/ 494 w 669"/>
                <a:gd name="T25" fmla="*/ 489 h 693"/>
                <a:gd name="T26" fmla="*/ 527 w 669"/>
                <a:gd name="T27" fmla="*/ 630 h 693"/>
                <a:gd name="T28" fmla="*/ 386 w 669"/>
                <a:gd name="T29" fmla="*/ 663 h 693"/>
                <a:gd name="T30" fmla="*/ 339 w 669"/>
                <a:gd name="T31" fmla="*/ 560 h 693"/>
                <a:gd name="T32" fmla="*/ 345 w 669"/>
                <a:gd name="T33" fmla="*/ 544 h 693"/>
                <a:gd name="T34" fmla="*/ 177 w 669"/>
                <a:gd name="T35" fmla="*/ 439 h 693"/>
                <a:gd name="T36" fmla="*/ 168 w 669"/>
                <a:gd name="T37" fmla="*/ 446 h 693"/>
                <a:gd name="T38" fmla="*/ 28 w 669"/>
                <a:gd name="T39" fmla="*/ 409 h 693"/>
                <a:gd name="T40" fmla="*/ 65 w 669"/>
                <a:gd name="T41" fmla="*/ 269 h 693"/>
                <a:gd name="T42" fmla="*/ 178 w 669"/>
                <a:gd name="T43" fmla="*/ 276 h 693"/>
                <a:gd name="T44" fmla="*/ 189 w 669"/>
                <a:gd name="T45" fmla="*/ 288 h 693"/>
                <a:gd name="T46" fmla="*/ 455 w 669"/>
                <a:gd name="T47" fmla="*/ 134 h 693"/>
                <a:gd name="T48" fmla="*/ 450 w 669"/>
                <a:gd name="T49" fmla="*/ 119 h 693"/>
                <a:gd name="T50" fmla="*/ 501 w 669"/>
                <a:gd name="T51" fmla="*/ 18 h 693"/>
                <a:gd name="T52" fmla="*/ 539 w 669"/>
                <a:gd name="T53" fmla="*/ 5 h 6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69" h="693">
                  <a:moveTo>
                    <a:pt x="539" y="5"/>
                  </a:moveTo>
                  <a:cubicBezTo>
                    <a:pt x="579" y="0"/>
                    <a:pt x="619" y="19"/>
                    <a:pt x="640" y="55"/>
                  </a:cubicBezTo>
                  <a:cubicBezTo>
                    <a:pt x="669" y="104"/>
                    <a:pt x="652" y="167"/>
                    <a:pt x="603" y="195"/>
                  </a:cubicBezTo>
                  <a:cubicBezTo>
                    <a:pt x="566" y="216"/>
                    <a:pt x="522" y="212"/>
                    <a:pt x="490" y="188"/>
                  </a:cubicBezTo>
                  <a:cubicBezTo>
                    <a:pt x="479" y="176"/>
                    <a:pt x="479" y="176"/>
                    <a:pt x="479" y="176"/>
                  </a:cubicBezTo>
                  <a:cubicBezTo>
                    <a:pt x="213" y="330"/>
                    <a:pt x="213" y="330"/>
                    <a:pt x="213" y="330"/>
                  </a:cubicBezTo>
                  <a:cubicBezTo>
                    <a:pt x="218" y="345"/>
                    <a:pt x="218" y="345"/>
                    <a:pt x="218" y="345"/>
                  </a:cubicBezTo>
                  <a:cubicBezTo>
                    <a:pt x="219" y="355"/>
                    <a:pt x="219" y="365"/>
                    <a:pt x="218" y="375"/>
                  </a:cubicBezTo>
                  <a:cubicBezTo>
                    <a:pt x="209" y="402"/>
                    <a:pt x="209" y="402"/>
                    <a:pt x="209" y="402"/>
                  </a:cubicBezTo>
                  <a:cubicBezTo>
                    <a:pt x="369" y="503"/>
                    <a:pt x="369" y="503"/>
                    <a:pt x="369" y="503"/>
                  </a:cubicBezTo>
                  <a:cubicBezTo>
                    <a:pt x="373" y="498"/>
                    <a:pt x="373" y="498"/>
                    <a:pt x="373" y="498"/>
                  </a:cubicBezTo>
                  <a:cubicBezTo>
                    <a:pt x="396" y="479"/>
                    <a:pt x="427" y="470"/>
                    <a:pt x="456" y="475"/>
                  </a:cubicBezTo>
                  <a:cubicBezTo>
                    <a:pt x="470" y="477"/>
                    <a:pt x="482" y="482"/>
                    <a:pt x="494" y="489"/>
                  </a:cubicBezTo>
                  <a:cubicBezTo>
                    <a:pt x="542" y="519"/>
                    <a:pt x="557" y="583"/>
                    <a:pt x="527" y="630"/>
                  </a:cubicBezTo>
                  <a:cubicBezTo>
                    <a:pt x="497" y="678"/>
                    <a:pt x="433" y="693"/>
                    <a:pt x="386" y="663"/>
                  </a:cubicBezTo>
                  <a:cubicBezTo>
                    <a:pt x="350" y="640"/>
                    <a:pt x="333" y="599"/>
                    <a:pt x="339" y="560"/>
                  </a:cubicBezTo>
                  <a:cubicBezTo>
                    <a:pt x="345" y="544"/>
                    <a:pt x="345" y="544"/>
                    <a:pt x="345" y="544"/>
                  </a:cubicBezTo>
                  <a:cubicBezTo>
                    <a:pt x="177" y="439"/>
                    <a:pt x="177" y="439"/>
                    <a:pt x="177" y="439"/>
                  </a:cubicBezTo>
                  <a:cubicBezTo>
                    <a:pt x="168" y="446"/>
                    <a:pt x="168" y="446"/>
                    <a:pt x="168" y="446"/>
                  </a:cubicBezTo>
                  <a:cubicBezTo>
                    <a:pt x="119" y="475"/>
                    <a:pt x="56" y="458"/>
                    <a:pt x="28" y="409"/>
                  </a:cubicBezTo>
                  <a:cubicBezTo>
                    <a:pt x="0" y="360"/>
                    <a:pt x="16" y="297"/>
                    <a:pt x="65" y="269"/>
                  </a:cubicBezTo>
                  <a:cubicBezTo>
                    <a:pt x="102" y="248"/>
                    <a:pt x="147" y="252"/>
                    <a:pt x="178" y="276"/>
                  </a:cubicBezTo>
                  <a:cubicBezTo>
                    <a:pt x="189" y="288"/>
                    <a:pt x="189" y="288"/>
                    <a:pt x="189" y="288"/>
                  </a:cubicBezTo>
                  <a:cubicBezTo>
                    <a:pt x="455" y="134"/>
                    <a:pt x="455" y="134"/>
                    <a:pt x="455" y="134"/>
                  </a:cubicBezTo>
                  <a:cubicBezTo>
                    <a:pt x="450" y="119"/>
                    <a:pt x="450" y="119"/>
                    <a:pt x="450" y="119"/>
                  </a:cubicBezTo>
                  <a:cubicBezTo>
                    <a:pt x="445" y="80"/>
                    <a:pt x="464" y="39"/>
                    <a:pt x="501" y="18"/>
                  </a:cubicBezTo>
                  <a:cubicBezTo>
                    <a:pt x="513" y="11"/>
                    <a:pt x="526" y="6"/>
                    <a:pt x="539" y="5"/>
                  </a:cubicBezTo>
                  <a:close/>
                </a:path>
              </a:pathLst>
            </a:custGeom>
            <a:solidFill>
              <a:schemeClr val="tx1"/>
            </a:solidFill>
            <a:ln>
              <a:noFill/>
            </a:ln>
          </p:spPr>
          <p:txBody>
            <a:bodyPr vert="horz" wrap="square" lIns="68574" tIns="34287" rIns="68574" bIns="34287"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0000"/>
                </a:solidFill>
                <a:effectLst/>
                <a:uLnTx/>
                <a:uFillTx/>
                <a:latin typeface="Segoe UI"/>
                <a:ea typeface="+mn-ea"/>
                <a:cs typeface="+mn-cs"/>
              </a:endParaRPr>
            </a:p>
          </p:txBody>
        </p:sp>
        <p:sp>
          <p:nvSpPr>
            <p:cNvPr id="87" name="Freeform 86"/>
            <p:cNvSpPr>
              <a:spLocks noChangeAspect="1" noEditPoints="1"/>
            </p:cNvSpPr>
            <p:nvPr/>
          </p:nvSpPr>
          <p:spPr bwMode="black">
            <a:xfrm>
              <a:off x="722320" y="1783009"/>
              <a:ext cx="452202" cy="366660"/>
            </a:xfrm>
            <a:custGeom>
              <a:avLst/>
              <a:gdLst>
                <a:gd name="T0" fmla="*/ 600 w 1107"/>
                <a:gd name="T1" fmla="*/ 625 h 897"/>
                <a:gd name="T2" fmla="*/ 649 w 1107"/>
                <a:gd name="T3" fmla="*/ 567 h 897"/>
                <a:gd name="T4" fmla="*/ 727 w 1107"/>
                <a:gd name="T5" fmla="*/ 482 h 897"/>
                <a:gd name="T6" fmla="*/ 601 w 1107"/>
                <a:gd name="T7" fmla="*/ 434 h 897"/>
                <a:gd name="T8" fmla="*/ 628 w 1107"/>
                <a:gd name="T9" fmla="*/ 305 h 897"/>
                <a:gd name="T10" fmla="*/ 547 w 1107"/>
                <a:gd name="T11" fmla="*/ 240 h 897"/>
                <a:gd name="T12" fmla="*/ 427 w 1107"/>
                <a:gd name="T13" fmla="*/ 287 h 897"/>
                <a:gd name="T14" fmla="*/ 368 w 1107"/>
                <a:gd name="T15" fmla="*/ 170 h 897"/>
                <a:gd name="T16" fmla="*/ 285 w 1107"/>
                <a:gd name="T17" fmla="*/ 263 h 897"/>
                <a:gd name="T18" fmla="*/ 241 w 1107"/>
                <a:gd name="T19" fmla="*/ 313 h 897"/>
                <a:gd name="T20" fmla="*/ 139 w 1107"/>
                <a:gd name="T21" fmla="*/ 281 h 897"/>
                <a:gd name="T22" fmla="*/ 79 w 1107"/>
                <a:gd name="T23" fmla="*/ 355 h 897"/>
                <a:gd name="T24" fmla="*/ 132 w 1107"/>
                <a:gd name="T25" fmla="*/ 446 h 897"/>
                <a:gd name="T26" fmla="*/ 83 w 1107"/>
                <a:gd name="T27" fmla="*/ 505 h 897"/>
                <a:gd name="T28" fmla="*/ 5 w 1107"/>
                <a:gd name="T29" fmla="*/ 590 h 897"/>
                <a:gd name="T30" fmla="*/ 132 w 1107"/>
                <a:gd name="T31" fmla="*/ 638 h 897"/>
                <a:gd name="T32" fmla="*/ 145 w 1107"/>
                <a:gd name="T33" fmla="*/ 669 h 897"/>
                <a:gd name="T34" fmla="*/ 110 w 1107"/>
                <a:gd name="T35" fmla="*/ 793 h 897"/>
                <a:gd name="T36" fmla="*/ 230 w 1107"/>
                <a:gd name="T37" fmla="*/ 781 h 897"/>
                <a:gd name="T38" fmla="*/ 306 w 1107"/>
                <a:gd name="T39" fmla="*/ 785 h 897"/>
                <a:gd name="T40" fmla="*/ 346 w 1107"/>
                <a:gd name="T41" fmla="*/ 878 h 897"/>
                <a:gd name="T42" fmla="*/ 440 w 1107"/>
                <a:gd name="T43" fmla="*/ 872 h 897"/>
                <a:gd name="T44" fmla="*/ 466 w 1107"/>
                <a:gd name="T45" fmla="*/ 764 h 897"/>
                <a:gd name="T46" fmla="*/ 539 w 1107"/>
                <a:gd name="T47" fmla="*/ 755 h 897"/>
                <a:gd name="T48" fmla="*/ 659 w 1107"/>
                <a:gd name="T49" fmla="*/ 743 h 897"/>
                <a:gd name="T50" fmla="*/ 263 w 1107"/>
                <a:gd name="T51" fmla="*/ 452 h 897"/>
                <a:gd name="T52" fmla="*/ 281 w 1107"/>
                <a:gd name="T53" fmla="*/ 633 h 897"/>
                <a:gd name="T54" fmla="*/ 1002 w 1107"/>
                <a:gd name="T55" fmla="*/ 332 h 897"/>
                <a:gd name="T56" fmla="*/ 1043 w 1107"/>
                <a:gd name="T57" fmla="*/ 304 h 897"/>
                <a:gd name="T58" fmla="*/ 1107 w 1107"/>
                <a:gd name="T59" fmla="*/ 266 h 897"/>
                <a:gd name="T60" fmla="*/ 1037 w 1107"/>
                <a:gd name="T61" fmla="*/ 213 h 897"/>
                <a:gd name="T62" fmla="*/ 1077 w 1107"/>
                <a:gd name="T63" fmla="*/ 138 h 897"/>
                <a:gd name="T64" fmla="*/ 1038 w 1107"/>
                <a:gd name="T65" fmla="*/ 83 h 897"/>
                <a:gd name="T66" fmla="*/ 956 w 1107"/>
                <a:gd name="T67" fmla="*/ 91 h 897"/>
                <a:gd name="T68" fmla="*/ 940 w 1107"/>
                <a:gd name="T69" fmla="*/ 7 h 897"/>
                <a:gd name="T70" fmla="*/ 872 w 1107"/>
                <a:gd name="T71" fmla="*/ 50 h 897"/>
                <a:gd name="T72" fmla="*/ 836 w 1107"/>
                <a:gd name="T73" fmla="*/ 74 h 897"/>
                <a:gd name="T74" fmla="*/ 778 w 1107"/>
                <a:gd name="T75" fmla="*/ 35 h 897"/>
                <a:gd name="T76" fmla="*/ 728 w 1107"/>
                <a:gd name="T77" fmla="*/ 70 h 897"/>
                <a:gd name="T78" fmla="*/ 744 w 1107"/>
                <a:gd name="T79" fmla="*/ 136 h 897"/>
                <a:gd name="T80" fmla="*/ 703 w 1107"/>
                <a:gd name="T81" fmla="*/ 164 h 897"/>
                <a:gd name="T82" fmla="*/ 640 w 1107"/>
                <a:gd name="T83" fmla="*/ 203 h 897"/>
                <a:gd name="T84" fmla="*/ 710 w 1107"/>
                <a:gd name="T85" fmla="*/ 255 h 897"/>
                <a:gd name="T86" fmla="*/ 712 w 1107"/>
                <a:gd name="T87" fmla="*/ 277 h 897"/>
                <a:gd name="T88" fmla="*/ 668 w 1107"/>
                <a:gd name="T89" fmla="*/ 347 h 897"/>
                <a:gd name="T90" fmla="*/ 745 w 1107"/>
                <a:gd name="T91" fmla="*/ 361 h 897"/>
                <a:gd name="T92" fmla="*/ 791 w 1107"/>
                <a:gd name="T93" fmla="*/ 377 h 897"/>
                <a:gd name="T94" fmla="*/ 799 w 1107"/>
                <a:gd name="T95" fmla="*/ 443 h 897"/>
                <a:gd name="T96" fmla="*/ 859 w 1107"/>
                <a:gd name="T97" fmla="*/ 456 h 897"/>
                <a:gd name="T98" fmla="*/ 894 w 1107"/>
                <a:gd name="T99" fmla="*/ 393 h 897"/>
                <a:gd name="T100" fmla="*/ 941 w 1107"/>
                <a:gd name="T101" fmla="*/ 401 h 897"/>
                <a:gd name="T102" fmla="*/ 1018 w 1107"/>
                <a:gd name="T103" fmla="*/ 415 h 897"/>
                <a:gd name="T104" fmla="*/ 825 w 1107"/>
                <a:gd name="T105" fmla="*/ 164 h 897"/>
                <a:gd name="T106" fmla="*/ 803 w 1107"/>
                <a:gd name="T107" fmla="*/ 279 h 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107" h="897">
                  <a:moveTo>
                    <a:pt x="654" y="716"/>
                  </a:moveTo>
                  <a:cubicBezTo>
                    <a:pt x="616" y="670"/>
                    <a:pt x="616" y="670"/>
                    <a:pt x="616" y="670"/>
                  </a:cubicBezTo>
                  <a:cubicBezTo>
                    <a:pt x="593" y="654"/>
                    <a:pt x="603" y="638"/>
                    <a:pt x="600" y="625"/>
                  </a:cubicBezTo>
                  <a:cubicBezTo>
                    <a:pt x="600" y="625"/>
                    <a:pt x="600" y="625"/>
                    <a:pt x="600" y="625"/>
                  </a:cubicBezTo>
                  <a:cubicBezTo>
                    <a:pt x="605" y="617"/>
                    <a:pt x="611" y="609"/>
                    <a:pt x="608" y="596"/>
                  </a:cubicBezTo>
                  <a:cubicBezTo>
                    <a:pt x="618" y="580"/>
                    <a:pt x="623" y="572"/>
                    <a:pt x="649" y="567"/>
                  </a:cubicBezTo>
                  <a:cubicBezTo>
                    <a:pt x="715" y="553"/>
                    <a:pt x="715" y="553"/>
                    <a:pt x="715" y="553"/>
                  </a:cubicBezTo>
                  <a:cubicBezTo>
                    <a:pt x="728" y="550"/>
                    <a:pt x="733" y="542"/>
                    <a:pt x="730" y="529"/>
                  </a:cubicBezTo>
                  <a:cubicBezTo>
                    <a:pt x="727" y="482"/>
                    <a:pt x="727" y="482"/>
                    <a:pt x="727" y="482"/>
                  </a:cubicBezTo>
                  <a:cubicBezTo>
                    <a:pt x="724" y="469"/>
                    <a:pt x="717" y="463"/>
                    <a:pt x="701" y="453"/>
                  </a:cubicBezTo>
                  <a:cubicBezTo>
                    <a:pt x="641" y="459"/>
                    <a:pt x="641" y="459"/>
                    <a:pt x="641" y="459"/>
                  </a:cubicBezTo>
                  <a:cubicBezTo>
                    <a:pt x="620" y="457"/>
                    <a:pt x="604" y="447"/>
                    <a:pt x="601" y="434"/>
                  </a:cubicBezTo>
                  <a:cubicBezTo>
                    <a:pt x="598" y="421"/>
                    <a:pt x="590" y="416"/>
                    <a:pt x="580" y="397"/>
                  </a:cubicBezTo>
                  <a:cubicBezTo>
                    <a:pt x="577" y="384"/>
                    <a:pt x="574" y="371"/>
                    <a:pt x="584" y="355"/>
                  </a:cubicBezTo>
                  <a:cubicBezTo>
                    <a:pt x="628" y="305"/>
                    <a:pt x="628" y="305"/>
                    <a:pt x="628" y="305"/>
                  </a:cubicBezTo>
                  <a:cubicBezTo>
                    <a:pt x="634" y="297"/>
                    <a:pt x="631" y="284"/>
                    <a:pt x="623" y="279"/>
                  </a:cubicBezTo>
                  <a:cubicBezTo>
                    <a:pt x="581" y="240"/>
                    <a:pt x="581" y="240"/>
                    <a:pt x="581" y="240"/>
                  </a:cubicBezTo>
                  <a:cubicBezTo>
                    <a:pt x="573" y="235"/>
                    <a:pt x="560" y="238"/>
                    <a:pt x="547" y="240"/>
                  </a:cubicBezTo>
                  <a:cubicBezTo>
                    <a:pt x="503" y="291"/>
                    <a:pt x="503" y="291"/>
                    <a:pt x="503" y="291"/>
                  </a:cubicBezTo>
                  <a:cubicBezTo>
                    <a:pt x="484" y="302"/>
                    <a:pt x="471" y="304"/>
                    <a:pt x="463" y="299"/>
                  </a:cubicBezTo>
                  <a:cubicBezTo>
                    <a:pt x="456" y="294"/>
                    <a:pt x="435" y="292"/>
                    <a:pt x="427" y="287"/>
                  </a:cubicBezTo>
                  <a:cubicBezTo>
                    <a:pt x="419" y="282"/>
                    <a:pt x="403" y="271"/>
                    <a:pt x="400" y="258"/>
                  </a:cubicBezTo>
                  <a:cubicBezTo>
                    <a:pt x="386" y="193"/>
                    <a:pt x="386" y="193"/>
                    <a:pt x="386" y="193"/>
                  </a:cubicBezTo>
                  <a:cubicBezTo>
                    <a:pt x="384" y="180"/>
                    <a:pt x="368" y="170"/>
                    <a:pt x="368" y="170"/>
                  </a:cubicBezTo>
                  <a:cubicBezTo>
                    <a:pt x="308" y="176"/>
                    <a:pt x="308" y="176"/>
                    <a:pt x="308" y="176"/>
                  </a:cubicBezTo>
                  <a:cubicBezTo>
                    <a:pt x="308" y="176"/>
                    <a:pt x="289" y="187"/>
                    <a:pt x="292" y="200"/>
                  </a:cubicBezTo>
                  <a:cubicBezTo>
                    <a:pt x="285" y="263"/>
                    <a:pt x="285" y="263"/>
                    <a:pt x="285" y="263"/>
                  </a:cubicBezTo>
                  <a:cubicBezTo>
                    <a:pt x="291" y="289"/>
                    <a:pt x="277" y="292"/>
                    <a:pt x="272" y="300"/>
                  </a:cubicBezTo>
                  <a:cubicBezTo>
                    <a:pt x="272" y="300"/>
                    <a:pt x="272" y="300"/>
                    <a:pt x="267" y="308"/>
                  </a:cubicBezTo>
                  <a:cubicBezTo>
                    <a:pt x="259" y="302"/>
                    <a:pt x="246" y="305"/>
                    <a:pt x="241" y="313"/>
                  </a:cubicBezTo>
                  <a:cubicBezTo>
                    <a:pt x="236" y="321"/>
                    <a:pt x="236" y="321"/>
                    <a:pt x="236" y="321"/>
                  </a:cubicBezTo>
                  <a:cubicBezTo>
                    <a:pt x="223" y="324"/>
                    <a:pt x="210" y="327"/>
                    <a:pt x="194" y="317"/>
                  </a:cubicBezTo>
                  <a:cubicBezTo>
                    <a:pt x="139" y="281"/>
                    <a:pt x="139" y="281"/>
                    <a:pt x="139" y="281"/>
                  </a:cubicBezTo>
                  <a:cubicBezTo>
                    <a:pt x="131" y="276"/>
                    <a:pt x="110" y="273"/>
                    <a:pt x="104" y="281"/>
                  </a:cubicBezTo>
                  <a:cubicBezTo>
                    <a:pt x="79" y="321"/>
                    <a:pt x="79" y="321"/>
                    <a:pt x="79" y="321"/>
                  </a:cubicBezTo>
                  <a:cubicBezTo>
                    <a:pt x="66" y="324"/>
                    <a:pt x="68" y="337"/>
                    <a:pt x="79" y="355"/>
                  </a:cubicBezTo>
                  <a:cubicBezTo>
                    <a:pt x="121" y="394"/>
                    <a:pt x="121" y="394"/>
                    <a:pt x="121" y="394"/>
                  </a:cubicBezTo>
                  <a:cubicBezTo>
                    <a:pt x="140" y="417"/>
                    <a:pt x="135" y="425"/>
                    <a:pt x="132" y="446"/>
                  </a:cubicBezTo>
                  <a:cubicBezTo>
                    <a:pt x="132" y="446"/>
                    <a:pt x="132" y="446"/>
                    <a:pt x="132" y="446"/>
                  </a:cubicBezTo>
                  <a:cubicBezTo>
                    <a:pt x="127" y="454"/>
                    <a:pt x="122" y="462"/>
                    <a:pt x="117" y="470"/>
                  </a:cubicBezTo>
                  <a:cubicBezTo>
                    <a:pt x="117" y="470"/>
                    <a:pt x="117" y="470"/>
                    <a:pt x="117" y="470"/>
                  </a:cubicBezTo>
                  <a:cubicBezTo>
                    <a:pt x="120" y="483"/>
                    <a:pt x="109" y="499"/>
                    <a:pt x="83" y="505"/>
                  </a:cubicBezTo>
                  <a:cubicBezTo>
                    <a:pt x="23" y="511"/>
                    <a:pt x="23" y="511"/>
                    <a:pt x="23" y="511"/>
                  </a:cubicBezTo>
                  <a:cubicBezTo>
                    <a:pt x="10" y="514"/>
                    <a:pt x="0" y="529"/>
                    <a:pt x="2" y="543"/>
                  </a:cubicBezTo>
                  <a:cubicBezTo>
                    <a:pt x="5" y="590"/>
                    <a:pt x="5" y="590"/>
                    <a:pt x="5" y="590"/>
                  </a:cubicBezTo>
                  <a:cubicBezTo>
                    <a:pt x="8" y="603"/>
                    <a:pt x="16" y="608"/>
                    <a:pt x="37" y="610"/>
                  </a:cubicBezTo>
                  <a:cubicBezTo>
                    <a:pt x="92" y="612"/>
                    <a:pt x="92" y="612"/>
                    <a:pt x="92" y="612"/>
                  </a:cubicBezTo>
                  <a:cubicBezTo>
                    <a:pt x="113" y="614"/>
                    <a:pt x="129" y="625"/>
                    <a:pt x="132" y="638"/>
                  </a:cubicBezTo>
                  <a:cubicBezTo>
                    <a:pt x="132" y="638"/>
                    <a:pt x="132" y="638"/>
                    <a:pt x="132" y="638"/>
                  </a:cubicBezTo>
                  <a:cubicBezTo>
                    <a:pt x="140" y="643"/>
                    <a:pt x="142" y="656"/>
                    <a:pt x="150" y="661"/>
                  </a:cubicBezTo>
                  <a:cubicBezTo>
                    <a:pt x="145" y="669"/>
                    <a:pt x="145" y="669"/>
                    <a:pt x="145" y="669"/>
                  </a:cubicBezTo>
                  <a:cubicBezTo>
                    <a:pt x="153" y="674"/>
                    <a:pt x="156" y="687"/>
                    <a:pt x="140" y="711"/>
                  </a:cubicBezTo>
                  <a:cubicBezTo>
                    <a:pt x="109" y="759"/>
                    <a:pt x="109" y="759"/>
                    <a:pt x="109" y="759"/>
                  </a:cubicBezTo>
                  <a:cubicBezTo>
                    <a:pt x="99" y="775"/>
                    <a:pt x="102" y="788"/>
                    <a:pt x="110" y="793"/>
                  </a:cubicBezTo>
                  <a:cubicBezTo>
                    <a:pt x="152" y="832"/>
                    <a:pt x="152" y="832"/>
                    <a:pt x="152" y="832"/>
                  </a:cubicBezTo>
                  <a:cubicBezTo>
                    <a:pt x="160" y="837"/>
                    <a:pt x="173" y="834"/>
                    <a:pt x="178" y="826"/>
                  </a:cubicBezTo>
                  <a:cubicBezTo>
                    <a:pt x="230" y="781"/>
                    <a:pt x="230" y="781"/>
                    <a:pt x="230" y="781"/>
                  </a:cubicBezTo>
                  <a:cubicBezTo>
                    <a:pt x="248" y="770"/>
                    <a:pt x="261" y="767"/>
                    <a:pt x="269" y="772"/>
                  </a:cubicBezTo>
                  <a:cubicBezTo>
                    <a:pt x="269" y="772"/>
                    <a:pt x="269" y="772"/>
                    <a:pt x="269" y="772"/>
                  </a:cubicBezTo>
                  <a:cubicBezTo>
                    <a:pt x="282" y="769"/>
                    <a:pt x="298" y="779"/>
                    <a:pt x="306" y="785"/>
                  </a:cubicBezTo>
                  <a:cubicBezTo>
                    <a:pt x="306" y="785"/>
                    <a:pt x="306" y="785"/>
                    <a:pt x="306" y="785"/>
                  </a:cubicBezTo>
                  <a:cubicBezTo>
                    <a:pt x="319" y="782"/>
                    <a:pt x="327" y="787"/>
                    <a:pt x="332" y="813"/>
                  </a:cubicBezTo>
                  <a:cubicBezTo>
                    <a:pt x="346" y="878"/>
                    <a:pt x="346" y="878"/>
                    <a:pt x="346" y="878"/>
                  </a:cubicBezTo>
                  <a:cubicBezTo>
                    <a:pt x="349" y="892"/>
                    <a:pt x="357" y="897"/>
                    <a:pt x="370" y="894"/>
                  </a:cubicBezTo>
                  <a:cubicBezTo>
                    <a:pt x="425" y="896"/>
                    <a:pt x="425" y="896"/>
                    <a:pt x="425" y="896"/>
                  </a:cubicBezTo>
                  <a:cubicBezTo>
                    <a:pt x="430" y="888"/>
                    <a:pt x="443" y="885"/>
                    <a:pt x="440" y="872"/>
                  </a:cubicBezTo>
                  <a:cubicBezTo>
                    <a:pt x="440" y="804"/>
                    <a:pt x="440" y="804"/>
                    <a:pt x="440" y="804"/>
                  </a:cubicBezTo>
                  <a:cubicBezTo>
                    <a:pt x="442" y="783"/>
                    <a:pt x="460" y="772"/>
                    <a:pt x="466" y="764"/>
                  </a:cubicBezTo>
                  <a:cubicBezTo>
                    <a:pt x="466" y="764"/>
                    <a:pt x="466" y="764"/>
                    <a:pt x="466" y="764"/>
                  </a:cubicBezTo>
                  <a:cubicBezTo>
                    <a:pt x="479" y="761"/>
                    <a:pt x="492" y="758"/>
                    <a:pt x="497" y="750"/>
                  </a:cubicBezTo>
                  <a:cubicBezTo>
                    <a:pt x="497" y="750"/>
                    <a:pt x="497" y="750"/>
                    <a:pt x="497" y="750"/>
                  </a:cubicBezTo>
                  <a:cubicBezTo>
                    <a:pt x="510" y="747"/>
                    <a:pt x="523" y="745"/>
                    <a:pt x="539" y="755"/>
                  </a:cubicBezTo>
                  <a:cubicBezTo>
                    <a:pt x="594" y="791"/>
                    <a:pt x="594" y="791"/>
                    <a:pt x="594" y="791"/>
                  </a:cubicBezTo>
                  <a:cubicBezTo>
                    <a:pt x="602" y="796"/>
                    <a:pt x="623" y="798"/>
                    <a:pt x="628" y="790"/>
                  </a:cubicBezTo>
                  <a:cubicBezTo>
                    <a:pt x="659" y="743"/>
                    <a:pt x="659" y="743"/>
                    <a:pt x="659" y="743"/>
                  </a:cubicBezTo>
                  <a:cubicBezTo>
                    <a:pt x="659" y="743"/>
                    <a:pt x="669" y="727"/>
                    <a:pt x="654" y="716"/>
                  </a:cubicBezTo>
                  <a:close/>
                  <a:moveTo>
                    <a:pt x="281" y="633"/>
                  </a:moveTo>
                  <a:cubicBezTo>
                    <a:pt x="223" y="584"/>
                    <a:pt x="219" y="502"/>
                    <a:pt x="263" y="452"/>
                  </a:cubicBezTo>
                  <a:cubicBezTo>
                    <a:pt x="313" y="393"/>
                    <a:pt x="399" y="382"/>
                    <a:pt x="457" y="431"/>
                  </a:cubicBezTo>
                  <a:cubicBezTo>
                    <a:pt x="507" y="475"/>
                    <a:pt x="518" y="561"/>
                    <a:pt x="469" y="619"/>
                  </a:cubicBezTo>
                  <a:cubicBezTo>
                    <a:pt x="420" y="678"/>
                    <a:pt x="339" y="682"/>
                    <a:pt x="281" y="633"/>
                  </a:cubicBezTo>
                  <a:close/>
                  <a:moveTo>
                    <a:pt x="1019" y="398"/>
                  </a:moveTo>
                  <a:cubicBezTo>
                    <a:pt x="1004" y="362"/>
                    <a:pt x="1004" y="362"/>
                    <a:pt x="1004" y="362"/>
                  </a:cubicBezTo>
                  <a:cubicBezTo>
                    <a:pt x="992" y="348"/>
                    <a:pt x="1002" y="340"/>
                    <a:pt x="1002" y="332"/>
                  </a:cubicBezTo>
                  <a:cubicBezTo>
                    <a:pt x="1002" y="332"/>
                    <a:pt x="1002" y="332"/>
                    <a:pt x="1002" y="332"/>
                  </a:cubicBezTo>
                  <a:cubicBezTo>
                    <a:pt x="1007" y="328"/>
                    <a:pt x="1011" y="324"/>
                    <a:pt x="1012" y="315"/>
                  </a:cubicBezTo>
                  <a:cubicBezTo>
                    <a:pt x="1021" y="307"/>
                    <a:pt x="1026" y="303"/>
                    <a:pt x="1043" y="304"/>
                  </a:cubicBezTo>
                  <a:cubicBezTo>
                    <a:pt x="1086" y="307"/>
                    <a:pt x="1086" y="307"/>
                    <a:pt x="1086" y="307"/>
                  </a:cubicBezTo>
                  <a:cubicBezTo>
                    <a:pt x="1095" y="308"/>
                    <a:pt x="1099" y="304"/>
                    <a:pt x="1100" y="295"/>
                  </a:cubicBezTo>
                  <a:cubicBezTo>
                    <a:pt x="1107" y="266"/>
                    <a:pt x="1107" y="266"/>
                    <a:pt x="1107" y="266"/>
                  </a:cubicBezTo>
                  <a:cubicBezTo>
                    <a:pt x="1107" y="257"/>
                    <a:pt x="1103" y="252"/>
                    <a:pt x="1095" y="243"/>
                  </a:cubicBezTo>
                  <a:cubicBezTo>
                    <a:pt x="1057" y="236"/>
                    <a:pt x="1057" y="236"/>
                    <a:pt x="1057" y="236"/>
                  </a:cubicBezTo>
                  <a:cubicBezTo>
                    <a:pt x="1044" y="231"/>
                    <a:pt x="1036" y="222"/>
                    <a:pt x="1037" y="213"/>
                  </a:cubicBezTo>
                  <a:cubicBezTo>
                    <a:pt x="1038" y="205"/>
                    <a:pt x="1034" y="200"/>
                    <a:pt x="1030" y="187"/>
                  </a:cubicBezTo>
                  <a:cubicBezTo>
                    <a:pt x="1031" y="178"/>
                    <a:pt x="1032" y="170"/>
                    <a:pt x="1041" y="162"/>
                  </a:cubicBezTo>
                  <a:cubicBezTo>
                    <a:pt x="1077" y="138"/>
                    <a:pt x="1077" y="138"/>
                    <a:pt x="1077" y="138"/>
                  </a:cubicBezTo>
                  <a:cubicBezTo>
                    <a:pt x="1082" y="134"/>
                    <a:pt x="1083" y="126"/>
                    <a:pt x="1079" y="121"/>
                  </a:cubicBezTo>
                  <a:cubicBezTo>
                    <a:pt x="1059" y="89"/>
                    <a:pt x="1059" y="89"/>
                    <a:pt x="1059" y="89"/>
                  </a:cubicBezTo>
                  <a:cubicBezTo>
                    <a:pt x="1055" y="85"/>
                    <a:pt x="1047" y="84"/>
                    <a:pt x="1038" y="83"/>
                  </a:cubicBezTo>
                  <a:cubicBezTo>
                    <a:pt x="1002" y="107"/>
                    <a:pt x="1002" y="107"/>
                    <a:pt x="1002" y="107"/>
                  </a:cubicBezTo>
                  <a:cubicBezTo>
                    <a:pt x="989" y="110"/>
                    <a:pt x="980" y="110"/>
                    <a:pt x="976" y="105"/>
                  </a:cubicBezTo>
                  <a:cubicBezTo>
                    <a:pt x="972" y="100"/>
                    <a:pt x="960" y="95"/>
                    <a:pt x="956" y="91"/>
                  </a:cubicBezTo>
                  <a:cubicBezTo>
                    <a:pt x="952" y="86"/>
                    <a:pt x="944" y="77"/>
                    <a:pt x="944" y="68"/>
                  </a:cubicBezTo>
                  <a:cubicBezTo>
                    <a:pt x="948" y="25"/>
                    <a:pt x="948" y="25"/>
                    <a:pt x="948" y="25"/>
                  </a:cubicBezTo>
                  <a:cubicBezTo>
                    <a:pt x="948" y="17"/>
                    <a:pt x="940" y="7"/>
                    <a:pt x="940" y="7"/>
                  </a:cubicBezTo>
                  <a:cubicBezTo>
                    <a:pt x="902" y="0"/>
                    <a:pt x="902" y="0"/>
                    <a:pt x="902" y="0"/>
                  </a:cubicBezTo>
                  <a:cubicBezTo>
                    <a:pt x="902" y="0"/>
                    <a:pt x="889" y="4"/>
                    <a:pt x="888" y="12"/>
                  </a:cubicBezTo>
                  <a:cubicBezTo>
                    <a:pt x="872" y="50"/>
                    <a:pt x="872" y="50"/>
                    <a:pt x="872" y="50"/>
                  </a:cubicBezTo>
                  <a:cubicBezTo>
                    <a:pt x="871" y="67"/>
                    <a:pt x="862" y="67"/>
                    <a:pt x="858" y="71"/>
                  </a:cubicBezTo>
                  <a:cubicBezTo>
                    <a:pt x="858" y="71"/>
                    <a:pt x="858" y="71"/>
                    <a:pt x="853" y="75"/>
                  </a:cubicBezTo>
                  <a:cubicBezTo>
                    <a:pt x="849" y="70"/>
                    <a:pt x="840" y="70"/>
                    <a:pt x="836" y="74"/>
                  </a:cubicBezTo>
                  <a:cubicBezTo>
                    <a:pt x="831" y="78"/>
                    <a:pt x="831" y="78"/>
                    <a:pt x="831" y="78"/>
                  </a:cubicBezTo>
                  <a:cubicBezTo>
                    <a:pt x="822" y="77"/>
                    <a:pt x="814" y="76"/>
                    <a:pt x="806" y="67"/>
                  </a:cubicBezTo>
                  <a:cubicBezTo>
                    <a:pt x="778" y="35"/>
                    <a:pt x="778" y="35"/>
                    <a:pt x="778" y="35"/>
                  </a:cubicBezTo>
                  <a:cubicBezTo>
                    <a:pt x="774" y="30"/>
                    <a:pt x="762" y="25"/>
                    <a:pt x="757" y="29"/>
                  </a:cubicBezTo>
                  <a:cubicBezTo>
                    <a:pt x="734" y="49"/>
                    <a:pt x="734" y="49"/>
                    <a:pt x="734" y="49"/>
                  </a:cubicBezTo>
                  <a:cubicBezTo>
                    <a:pt x="725" y="49"/>
                    <a:pt x="725" y="57"/>
                    <a:pt x="728" y="70"/>
                  </a:cubicBezTo>
                  <a:cubicBezTo>
                    <a:pt x="747" y="102"/>
                    <a:pt x="747" y="102"/>
                    <a:pt x="747" y="102"/>
                  </a:cubicBezTo>
                  <a:cubicBezTo>
                    <a:pt x="754" y="120"/>
                    <a:pt x="750" y="124"/>
                    <a:pt x="744" y="136"/>
                  </a:cubicBezTo>
                  <a:cubicBezTo>
                    <a:pt x="744" y="136"/>
                    <a:pt x="744" y="136"/>
                    <a:pt x="744" y="136"/>
                  </a:cubicBezTo>
                  <a:cubicBezTo>
                    <a:pt x="740" y="140"/>
                    <a:pt x="735" y="144"/>
                    <a:pt x="731" y="148"/>
                  </a:cubicBezTo>
                  <a:cubicBezTo>
                    <a:pt x="731" y="148"/>
                    <a:pt x="731" y="148"/>
                    <a:pt x="731" y="148"/>
                  </a:cubicBezTo>
                  <a:cubicBezTo>
                    <a:pt x="730" y="157"/>
                    <a:pt x="721" y="165"/>
                    <a:pt x="703" y="164"/>
                  </a:cubicBezTo>
                  <a:cubicBezTo>
                    <a:pt x="665" y="157"/>
                    <a:pt x="665" y="157"/>
                    <a:pt x="665" y="157"/>
                  </a:cubicBezTo>
                  <a:cubicBezTo>
                    <a:pt x="656" y="156"/>
                    <a:pt x="647" y="164"/>
                    <a:pt x="647" y="173"/>
                  </a:cubicBezTo>
                  <a:cubicBezTo>
                    <a:pt x="640" y="203"/>
                    <a:pt x="640" y="203"/>
                    <a:pt x="640" y="203"/>
                  </a:cubicBezTo>
                  <a:cubicBezTo>
                    <a:pt x="639" y="211"/>
                    <a:pt x="643" y="216"/>
                    <a:pt x="656" y="221"/>
                  </a:cubicBezTo>
                  <a:cubicBezTo>
                    <a:pt x="690" y="232"/>
                    <a:pt x="690" y="232"/>
                    <a:pt x="690" y="232"/>
                  </a:cubicBezTo>
                  <a:cubicBezTo>
                    <a:pt x="702" y="237"/>
                    <a:pt x="710" y="246"/>
                    <a:pt x="710" y="255"/>
                  </a:cubicBezTo>
                  <a:cubicBezTo>
                    <a:pt x="710" y="255"/>
                    <a:pt x="710" y="255"/>
                    <a:pt x="710" y="255"/>
                  </a:cubicBezTo>
                  <a:cubicBezTo>
                    <a:pt x="714" y="260"/>
                    <a:pt x="713" y="268"/>
                    <a:pt x="717" y="273"/>
                  </a:cubicBezTo>
                  <a:cubicBezTo>
                    <a:pt x="712" y="277"/>
                    <a:pt x="712" y="277"/>
                    <a:pt x="712" y="277"/>
                  </a:cubicBezTo>
                  <a:cubicBezTo>
                    <a:pt x="716" y="281"/>
                    <a:pt x="716" y="290"/>
                    <a:pt x="702" y="302"/>
                  </a:cubicBezTo>
                  <a:cubicBezTo>
                    <a:pt x="674" y="326"/>
                    <a:pt x="674" y="326"/>
                    <a:pt x="674" y="326"/>
                  </a:cubicBezTo>
                  <a:cubicBezTo>
                    <a:pt x="665" y="334"/>
                    <a:pt x="664" y="343"/>
                    <a:pt x="668" y="347"/>
                  </a:cubicBezTo>
                  <a:cubicBezTo>
                    <a:pt x="687" y="379"/>
                    <a:pt x="687" y="379"/>
                    <a:pt x="687" y="379"/>
                  </a:cubicBezTo>
                  <a:cubicBezTo>
                    <a:pt x="691" y="383"/>
                    <a:pt x="700" y="384"/>
                    <a:pt x="704" y="380"/>
                  </a:cubicBezTo>
                  <a:cubicBezTo>
                    <a:pt x="745" y="361"/>
                    <a:pt x="745" y="361"/>
                    <a:pt x="745" y="361"/>
                  </a:cubicBezTo>
                  <a:cubicBezTo>
                    <a:pt x="758" y="358"/>
                    <a:pt x="767" y="358"/>
                    <a:pt x="771" y="363"/>
                  </a:cubicBezTo>
                  <a:cubicBezTo>
                    <a:pt x="771" y="363"/>
                    <a:pt x="771" y="363"/>
                    <a:pt x="771" y="363"/>
                  </a:cubicBezTo>
                  <a:cubicBezTo>
                    <a:pt x="779" y="364"/>
                    <a:pt x="787" y="373"/>
                    <a:pt x="791" y="377"/>
                  </a:cubicBezTo>
                  <a:cubicBezTo>
                    <a:pt x="791" y="377"/>
                    <a:pt x="791" y="377"/>
                    <a:pt x="791" y="377"/>
                  </a:cubicBezTo>
                  <a:cubicBezTo>
                    <a:pt x="800" y="378"/>
                    <a:pt x="804" y="383"/>
                    <a:pt x="802" y="400"/>
                  </a:cubicBezTo>
                  <a:cubicBezTo>
                    <a:pt x="799" y="443"/>
                    <a:pt x="799" y="443"/>
                    <a:pt x="799" y="443"/>
                  </a:cubicBezTo>
                  <a:cubicBezTo>
                    <a:pt x="798" y="451"/>
                    <a:pt x="802" y="456"/>
                    <a:pt x="811" y="457"/>
                  </a:cubicBezTo>
                  <a:cubicBezTo>
                    <a:pt x="845" y="468"/>
                    <a:pt x="845" y="468"/>
                    <a:pt x="845" y="468"/>
                  </a:cubicBezTo>
                  <a:cubicBezTo>
                    <a:pt x="849" y="464"/>
                    <a:pt x="858" y="464"/>
                    <a:pt x="859" y="456"/>
                  </a:cubicBezTo>
                  <a:cubicBezTo>
                    <a:pt x="871" y="413"/>
                    <a:pt x="871" y="413"/>
                    <a:pt x="871" y="413"/>
                  </a:cubicBezTo>
                  <a:cubicBezTo>
                    <a:pt x="876" y="401"/>
                    <a:pt x="889" y="397"/>
                    <a:pt x="894" y="393"/>
                  </a:cubicBezTo>
                  <a:cubicBezTo>
                    <a:pt x="894" y="393"/>
                    <a:pt x="894" y="393"/>
                    <a:pt x="894" y="393"/>
                  </a:cubicBezTo>
                  <a:cubicBezTo>
                    <a:pt x="902" y="394"/>
                    <a:pt x="911" y="395"/>
                    <a:pt x="916" y="391"/>
                  </a:cubicBezTo>
                  <a:cubicBezTo>
                    <a:pt x="916" y="391"/>
                    <a:pt x="916" y="391"/>
                    <a:pt x="916" y="391"/>
                  </a:cubicBezTo>
                  <a:cubicBezTo>
                    <a:pt x="924" y="391"/>
                    <a:pt x="933" y="392"/>
                    <a:pt x="941" y="401"/>
                  </a:cubicBezTo>
                  <a:cubicBezTo>
                    <a:pt x="969" y="433"/>
                    <a:pt x="969" y="433"/>
                    <a:pt x="969" y="433"/>
                  </a:cubicBezTo>
                  <a:cubicBezTo>
                    <a:pt x="973" y="438"/>
                    <a:pt x="985" y="443"/>
                    <a:pt x="990" y="439"/>
                  </a:cubicBezTo>
                  <a:cubicBezTo>
                    <a:pt x="1018" y="415"/>
                    <a:pt x="1018" y="415"/>
                    <a:pt x="1018" y="415"/>
                  </a:cubicBezTo>
                  <a:cubicBezTo>
                    <a:pt x="1018" y="415"/>
                    <a:pt x="1027" y="407"/>
                    <a:pt x="1019" y="398"/>
                  </a:cubicBezTo>
                  <a:close/>
                  <a:moveTo>
                    <a:pt x="803" y="279"/>
                  </a:moveTo>
                  <a:cubicBezTo>
                    <a:pt x="776" y="238"/>
                    <a:pt x="788" y="187"/>
                    <a:pt x="825" y="164"/>
                  </a:cubicBezTo>
                  <a:cubicBezTo>
                    <a:pt x="866" y="136"/>
                    <a:pt x="921" y="144"/>
                    <a:pt x="948" y="185"/>
                  </a:cubicBezTo>
                  <a:cubicBezTo>
                    <a:pt x="972" y="221"/>
                    <a:pt x="963" y="277"/>
                    <a:pt x="922" y="304"/>
                  </a:cubicBezTo>
                  <a:cubicBezTo>
                    <a:pt x="881" y="332"/>
                    <a:pt x="830" y="320"/>
                    <a:pt x="803" y="279"/>
                  </a:cubicBezTo>
                  <a:close/>
                </a:path>
              </a:pathLst>
            </a:custGeom>
            <a:solidFill>
              <a:schemeClr val="tx1"/>
            </a:solidFill>
            <a:ln>
              <a:noFill/>
            </a:ln>
          </p:spPr>
          <p:txBody>
            <a:bodyPr vert="horz" wrap="square" lIns="68574" tIns="34287" rIns="68574" bIns="34287"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17346"/>
                </a:solidFill>
                <a:effectLst/>
                <a:uLnTx/>
                <a:uFillTx/>
                <a:latin typeface="Segoe UI"/>
                <a:ea typeface="+mn-ea"/>
                <a:cs typeface="+mn-cs"/>
              </a:endParaRPr>
            </a:p>
          </p:txBody>
        </p:sp>
        <p:sp>
          <p:nvSpPr>
            <p:cNvPr id="88" name="Freeform 87"/>
            <p:cNvSpPr>
              <a:spLocks noChangeAspect="1"/>
            </p:cNvSpPr>
            <p:nvPr/>
          </p:nvSpPr>
          <p:spPr bwMode="black">
            <a:xfrm>
              <a:off x="776985" y="4213905"/>
              <a:ext cx="342871" cy="335728"/>
            </a:xfrm>
            <a:custGeom>
              <a:avLst/>
              <a:gdLst>
                <a:gd name="connsiteX0" fmla="*/ 3713863 w 4893730"/>
                <a:gd name="connsiteY0" fmla="*/ 2130808 h 4791777"/>
                <a:gd name="connsiteX1" fmla="*/ 4426142 w 4893730"/>
                <a:gd name="connsiteY1" fmla="*/ 2130808 h 4791777"/>
                <a:gd name="connsiteX2" fmla="*/ 4598071 w 4893730"/>
                <a:gd name="connsiteY2" fmla="*/ 2301547 h 4791777"/>
                <a:gd name="connsiteX3" fmla="*/ 4598071 w 4893730"/>
                <a:gd name="connsiteY3" fmla="*/ 3886978 h 4791777"/>
                <a:gd name="connsiteX4" fmla="*/ 4426142 w 4893730"/>
                <a:gd name="connsiteY4" fmla="*/ 4057717 h 4791777"/>
                <a:gd name="connsiteX5" fmla="*/ 3713863 w 4893730"/>
                <a:gd name="connsiteY5" fmla="*/ 4057717 h 4791777"/>
                <a:gd name="connsiteX6" fmla="*/ 3517372 w 4893730"/>
                <a:gd name="connsiteY6" fmla="*/ 3886978 h 4791777"/>
                <a:gd name="connsiteX7" fmla="*/ 3517372 w 4893730"/>
                <a:gd name="connsiteY7" fmla="*/ 2301547 h 4791777"/>
                <a:gd name="connsiteX8" fmla="*/ 3713863 w 4893730"/>
                <a:gd name="connsiteY8" fmla="*/ 2130808 h 4791777"/>
                <a:gd name="connsiteX9" fmla="*/ 904368 w 4893730"/>
                <a:gd name="connsiteY9" fmla="*/ 1223432 h 4791777"/>
                <a:gd name="connsiteX10" fmla="*/ 1609930 w 4893730"/>
                <a:gd name="connsiteY10" fmla="*/ 1223432 h 4791777"/>
                <a:gd name="connsiteX11" fmla="*/ 1804567 w 4893730"/>
                <a:gd name="connsiteY11" fmla="*/ 1394467 h 4791777"/>
                <a:gd name="connsiteX12" fmla="*/ 1804567 w 4893730"/>
                <a:gd name="connsiteY12" fmla="*/ 3886683 h 4791777"/>
                <a:gd name="connsiteX13" fmla="*/ 1609930 w 4893730"/>
                <a:gd name="connsiteY13" fmla="*/ 4057717 h 4791777"/>
                <a:gd name="connsiteX14" fmla="*/ 904368 w 4893730"/>
                <a:gd name="connsiteY14" fmla="*/ 4057717 h 4791777"/>
                <a:gd name="connsiteX15" fmla="*/ 734060 w 4893730"/>
                <a:gd name="connsiteY15" fmla="*/ 3886683 h 4791777"/>
                <a:gd name="connsiteX16" fmla="*/ 734060 w 4893730"/>
                <a:gd name="connsiteY16" fmla="*/ 1394467 h 4791777"/>
                <a:gd name="connsiteX17" fmla="*/ 904368 w 4893730"/>
                <a:gd name="connsiteY17" fmla="*/ 1223432 h 4791777"/>
                <a:gd name="connsiteX18" fmla="*/ 2325453 w 4893730"/>
                <a:gd name="connsiteY18" fmla="*/ 316050 h 4791777"/>
                <a:gd name="connsiteX19" fmla="*/ 3031014 w 4893730"/>
                <a:gd name="connsiteY19" fmla="*/ 316050 h 4791777"/>
                <a:gd name="connsiteX20" fmla="*/ 3201322 w 4893730"/>
                <a:gd name="connsiteY20" fmla="*/ 487238 h 4791777"/>
                <a:gd name="connsiteX21" fmla="*/ 3201322 w 4893730"/>
                <a:gd name="connsiteY21" fmla="*/ 3886530 h 4791777"/>
                <a:gd name="connsiteX22" fmla="*/ 3031014 w 4893730"/>
                <a:gd name="connsiteY22" fmla="*/ 4057717 h 4791777"/>
                <a:gd name="connsiteX23" fmla="*/ 2325453 w 4893730"/>
                <a:gd name="connsiteY23" fmla="*/ 4057717 h 4791777"/>
                <a:gd name="connsiteX24" fmla="*/ 2130815 w 4893730"/>
                <a:gd name="connsiteY24" fmla="*/ 3886530 h 4791777"/>
                <a:gd name="connsiteX25" fmla="*/ 2130815 w 4893730"/>
                <a:gd name="connsiteY25" fmla="*/ 487238 h 4791777"/>
                <a:gd name="connsiteX26" fmla="*/ 2325453 w 4893730"/>
                <a:gd name="connsiteY26" fmla="*/ 316050 h 4791777"/>
                <a:gd name="connsiteX27" fmla="*/ 269155 w 4893730"/>
                <a:gd name="connsiteY27" fmla="*/ 0 h 4791777"/>
                <a:gd name="connsiteX28" fmla="*/ 538311 w 4893730"/>
                <a:gd name="connsiteY28" fmla="*/ 268927 h 4791777"/>
                <a:gd name="connsiteX29" fmla="*/ 538311 w 4893730"/>
                <a:gd name="connsiteY29" fmla="*/ 4253925 h 4791777"/>
                <a:gd name="connsiteX30" fmla="*/ 4624575 w 4893730"/>
                <a:gd name="connsiteY30" fmla="*/ 4253925 h 4791777"/>
                <a:gd name="connsiteX31" fmla="*/ 4893730 w 4893730"/>
                <a:gd name="connsiteY31" fmla="*/ 4522851 h 4791777"/>
                <a:gd name="connsiteX32" fmla="*/ 4624575 w 4893730"/>
                <a:gd name="connsiteY32" fmla="*/ 4791777 h 4791777"/>
                <a:gd name="connsiteX33" fmla="*/ 269155 w 4893730"/>
                <a:gd name="connsiteY33" fmla="*/ 4791777 h 4791777"/>
                <a:gd name="connsiteX34" fmla="*/ 0 w 4893730"/>
                <a:gd name="connsiteY34" fmla="*/ 4522851 h 4791777"/>
                <a:gd name="connsiteX35" fmla="*/ 0 w 4893730"/>
                <a:gd name="connsiteY35" fmla="*/ 268927 h 4791777"/>
                <a:gd name="connsiteX36" fmla="*/ 269155 w 4893730"/>
                <a:gd name="connsiteY36" fmla="*/ 0 h 4791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4893730" h="4791777">
                  <a:moveTo>
                    <a:pt x="3713863" y="2130808"/>
                  </a:moveTo>
                  <a:cubicBezTo>
                    <a:pt x="3713863" y="2130808"/>
                    <a:pt x="3713863" y="2130808"/>
                    <a:pt x="4426142" y="2130808"/>
                  </a:cubicBezTo>
                  <a:cubicBezTo>
                    <a:pt x="4524387" y="2130808"/>
                    <a:pt x="4598071" y="2203982"/>
                    <a:pt x="4598071" y="2301547"/>
                  </a:cubicBezTo>
                  <a:cubicBezTo>
                    <a:pt x="4598071" y="2301547"/>
                    <a:pt x="4598071" y="2301547"/>
                    <a:pt x="4598071" y="3886978"/>
                  </a:cubicBezTo>
                  <a:cubicBezTo>
                    <a:pt x="4598071" y="3984543"/>
                    <a:pt x="4524387" y="4057717"/>
                    <a:pt x="4426142" y="4057717"/>
                  </a:cubicBezTo>
                  <a:cubicBezTo>
                    <a:pt x="4426142" y="4057717"/>
                    <a:pt x="4426142" y="4057717"/>
                    <a:pt x="3713863" y="4057717"/>
                  </a:cubicBezTo>
                  <a:cubicBezTo>
                    <a:pt x="3615618" y="4057717"/>
                    <a:pt x="3517372" y="3984543"/>
                    <a:pt x="3517372" y="3886978"/>
                  </a:cubicBezTo>
                  <a:cubicBezTo>
                    <a:pt x="3517372" y="3886978"/>
                    <a:pt x="3517372" y="3886978"/>
                    <a:pt x="3517372" y="2301547"/>
                  </a:cubicBezTo>
                  <a:cubicBezTo>
                    <a:pt x="3517372" y="2203982"/>
                    <a:pt x="3615618" y="2130808"/>
                    <a:pt x="3713863" y="2130808"/>
                  </a:cubicBezTo>
                  <a:close/>
                  <a:moveTo>
                    <a:pt x="904368" y="1223432"/>
                  </a:moveTo>
                  <a:cubicBezTo>
                    <a:pt x="904368" y="1223432"/>
                    <a:pt x="904368" y="1223432"/>
                    <a:pt x="1609930" y="1223432"/>
                  </a:cubicBezTo>
                  <a:cubicBezTo>
                    <a:pt x="1731578" y="1223432"/>
                    <a:pt x="1804567" y="1296733"/>
                    <a:pt x="1804567" y="1394467"/>
                  </a:cubicBezTo>
                  <a:cubicBezTo>
                    <a:pt x="1804567" y="1394467"/>
                    <a:pt x="1804567" y="1394467"/>
                    <a:pt x="1804567" y="3886683"/>
                  </a:cubicBezTo>
                  <a:cubicBezTo>
                    <a:pt x="1804567" y="3984417"/>
                    <a:pt x="1731578" y="4057717"/>
                    <a:pt x="1609930" y="4057717"/>
                  </a:cubicBezTo>
                  <a:cubicBezTo>
                    <a:pt x="1609930" y="4057717"/>
                    <a:pt x="1609930" y="4057717"/>
                    <a:pt x="904368" y="4057717"/>
                  </a:cubicBezTo>
                  <a:cubicBezTo>
                    <a:pt x="807049" y="4057717"/>
                    <a:pt x="734060" y="3984417"/>
                    <a:pt x="734060" y="3886683"/>
                  </a:cubicBezTo>
                  <a:cubicBezTo>
                    <a:pt x="734060" y="3886683"/>
                    <a:pt x="734060" y="3886683"/>
                    <a:pt x="734060" y="1394467"/>
                  </a:cubicBezTo>
                  <a:cubicBezTo>
                    <a:pt x="734060" y="1296733"/>
                    <a:pt x="807049" y="1223432"/>
                    <a:pt x="904368" y="1223432"/>
                  </a:cubicBezTo>
                  <a:close/>
                  <a:moveTo>
                    <a:pt x="2325453" y="316050"/>
                  </a:moveTo>
                  <a:cubicBezTo>
                    <a:pt x="2325453" y="316050"/>
                    <a:pt x="2325453" y="316050"/>
                    <a:pt x="3031014" y="316050"/>
                  </a:cubicBezTo>
                  <a:cubicBezTo>
                    <a:pt x="3128333" y="316050"/>
                    <a:pt x="3201322" y="389416"/>
                    <a:pt x="3201322" y="487238"/>
                  </a:cubicBezTo>
                  <a:cubicBezTo>
                    <a:pt x="3201322" y="487238"/>
                    <a:pt x="3201322" y="487238"/>
                    <a:pt x="3201322" y="3886530"/>
                  </a:cubicBezTo>
                  <a:cubicBezTo>
                    <a:pt x="3201322" y="3984351"/>
                    <a:pt x="3128333" y="4057717"/>
                    <a:pt x="3031014" y="4057717"/>
                  </a:cubicBezTo>
                  <a:cubicBezTo>
                    <a:pt x="3031014" y="4057717"/>
                    <a:pt x="3031014" y="4057717"/>
                    <a:pt x="2325453" y="4057717"/>
                  </a:cubicBezTo>
                  <a:cubicBezTo>
                    <a:pt x="2203804" y="4057717"/>
                    <a:pt x="2130815" y="3984351"/>
                    <a:pt x="2130815" y="3886530"/>
                  </a:cubicBezTo>
                  <a:cubicBezTo>
                    <a:pt x="2130815" y="3886530"/>
                    <a:pt x="2130815" y="3886530"/>
                    <a:pt x="2130815" y="487238"/>
                  </a:cubicBezTo>
                  <a:cubicBezTo>
                    <a:pt x="2130815" y="389416"/>
                    <a:pt x="2203804" y="316050"/>
                    <a:pt x="2325453" y="316050"/>
                  </a:cubicBezTo>
                  <a:close/>
                  <a:moveTo>
                    <a:pt x="269155" y="0"/>
                  </a:moveTo>
                  <a:cubicBezTo>
                    <a:pt x="415967" y="0"/>
                    <a:pt x="538311" y="122239"/>
                    <a:pt x="538311" y="268927"/>
                  </a:cubicBezTo>
                  <a:cubicBezTo>
                    <a:pt x="538311" y="268927"/>
                    <a:pt x="538311" y="268927"/>
                    <a:pt x="538311" y="4253925"/>
                  </a:cubicBezTo>
                  <a:cubicBezTo>
                    <a:pt x="538311" y="4253925"/>
                    <a:pt x="538311" y="4253925"/>
                    <a:pt x="4624575" y="4253925"/>
                  </a:cubicBezTo>
                  <a:cubicBezTo>
                    <a:pt x="4771387" y="4253925"/>
                    <a:pt x="4893730" y="4376164"/>
                    <a:pt x="4893730" y="4522851"/>
                  </a:cubicBezTo>
                  <a:cubicBezTo>
                    <a:pt x="4893730" y="4669538"/>
                    <a:pt x="4771387" y="4791777"/>
                    <a:pt x="4624575" y="4791777"/>
                  </a:cubicBezTo>
                  <a:cubicBezTo>
                    <a:pt x="4624575" y="4791777"/>
                    <a:pt x="4624575" y="4791777"/>
                    <a:pt x="269155" y="4791777"/>
                  </a:cubicBezTo>
                  <a:cubicBezTo>
                    <a:pt x="122344" y="4791777"/>
                    <a:pt x="0" y="4669538"/>
                    <a:pt x="0" y="4522851"/>
                  </a:cubicBezTo>
                  <a:cubicBezTo>
                    <a:pt x="0" y="4522851"/>
                    <a:pt x="0" y="4522851"/>
                    <a:pt x="0" y="268927"/>
                  </a:cubicBezTo>
                  <a:cubicBezTo>
                    <a:pt x="0" y="122239"/>
                    <a:pt x="122344" y="0"/>
                    <a:pt x="269155"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37148" tIns="109719" rIns="137148" bIns="109719"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699261"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9" name="Rectangle 88"/>
            <p:cNvSpPr/>
            <p:nvPr/>
          </p:nvSpPr>
          <p:spPr bwMode="auto">
            <a:xfrm rot="2745734">
              <a:off x="279530" y="1141266"/>
              <a:ext cx="1260714" cy="1255193"/>
            </a:xfrm>
            <a:prstGeom prst="rect">
              <a:avLst/>
            </a:prstGeom>
            <a:solidFill>
              <a:schemeClr val="tx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0" name="Rectangle 89"/>
            <p:cNvSpPr/>
            <p:nvPr/>
          </p:nvSpPr>
          <p:spPr bwMode="auto">
            <a:xfrm rot="2745734">
              <a:off x="292433" y="3819160"/>
              <a:ext cx="1610349" cy="1235003"/>
            </a:xfrm>
            <a:prstGeom prst="rect">
              <a:avLst/>
            </a:prstGeom>
            <a:solidFill>
              <a:schemeClr val="tx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2" name="Rectangle 91"/>
            <p:cNvSpPr/>
            <p:nvPr/>
          </p:nvSpPr>
          <p:spPr bwMode="auto">
            <a:xfrm rot="2745734">
              <a:off x="1315610" y="4915701"/>
              <a:ext cx="1263370" cy="1255989"/>
            </a:xfrm>
            <a:prstGeom prst="rect">
              <a:avLst/>
            </a:prstGeom>
            <a:solidFill>
              <a:schemeClr val="tx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40" name="TextBox 39"/>
          <p:cNvSpPr txBox="1"/>
          <p:nvPr/>
        </p:nvSpPr>
        <p:spPr>
          <a:xfrm>
            <a:off x="3" y="51415"/>
            <a:ext cx="2849058" cy="430887"/>
          </a:xfrm>
          <a:prstGeom prst="rect">
            <a:avLst/>
          </a:prstGeom>
        </p:spPr>
        <p:txBody>
          <a:bodyPr wrap="square">
            <a:spAutoFit/>
          </a:bodyPr>
          <a:lstStyle>
            <a:defPPr>
              <a:defRPr lang="en-US"/>
            </a:defPPr>
            <a:lvl1pPr defTabSz="914192">
              <a:defRPr sz="2800" b="1" spc="-100">
                <a:ln w="3175">
                  <a:noFill/>
                </a:ln>
                <a:solidFill>
                  <a:srgbClr val="F2C812"/>
                </a:solidFill>
                <a:latin typeface="Segoe UI" panose="020B0502040204020203" pitchFamily="34" charset="0"/>
                <a:ea typeface="ＭＳ Ｐゴシック" charset="0"/>
                <a:cs typeface="Segoe UI" panose="020B0502040204020203" pitchFamily="34" charset="0"/>
              </a:defRPr>
            </a:lvl1pPr>
          </a:lstStyle>
          <a:p>
            <a:pPr marL="0" marR="0" lvl="0" indent="0" algn="l" defTabSz="914192" rtl="0" eaLnBrk="1" fontAlgn="auto" latinLnBrk="0" hangingPunct="1">
              <a:lnSpc>
                <a:spcPct val="100000"/>
              </a:lnSpc>
              <a:spcBef>
                <a:spcPts val="0"/>
              </a:spcBef>
              <a:spcAft>
                <a:spcPts val="0"/>
              </a:spcAft>
              <a:buClrTx/>
              <a:buSzTx/>
              <a:buFontTx/>
              <a:buNone/>
              <a:tabLst/>
              <a:defRPr/>
            </a:pPr>
            <a:r>
              <a:rPr kumimoji="0" lang="en-US" sz="2200" b="1" i="0" u="none" strike="noStrike" kern="1200" cap="none" spc="-100" normalizeH="0" baseline="0" noProof="0">
                <a:ln w="3175">
                  <a:noFill/>
                </a:ln>
                <a:solidFill>
                  <a:srgbClr val="F2C812"/>
                </a:solidFill>
                <a:effectLst/>
                <a:uLnTx/>
                <a:uFillTx/>
                <a:latin typeface="Segoe UI Light"/>
                <a:ea typeface="ＭＳ Ｐゴシック" charset="0"/>
                <a:cs typeface="Segoe UI" panose="020B0502040204020203" pitchFamily="34" charset="0"/>
              </a:rPr>
              <a:t>Power BI Desktop</a:t>
            </a:r>
          </a:p>
        </p:txBody>
      </p:sp>
      <p:sp>
        <p:nvSpPr>
          <p:cNvPr id="41" name="Rectangle 40"/>
          <p:cNvSpPr/>
          <p:nvPr/>
        </p:nvSpPr>
        <p:spPr bwMode="auto">
          <a:xfrm rot="2745734">
            <a:off x="825067" y="3494250"/>
            <a:ext cx="1260714" cy="370170"/>
          </a:xfrm>
          <a:prstGeom prst="rect">
            <a:avLst/>
          </a:prstGeom>
          <a:solidFill>
            <a:schemeClr val="tx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3" name="Picture 2"/>
          <p:cNvPicPr>
            <a:picLocks noChangeAspect="1"/>
          </p:cNvPicPr>
          <p:nvPr/>
        </p:nvPicPr>
        <p:blipFill>
          <a:blip r:embed="rId3"/>
          <a:stretch>
            <a:fillRect/>
          </a:stretch>
        </p:blipFill>
        <p:spPr>
          <a:xfrm>
            <a:off x="3343510" y="1485511"/>
            <a:ext cx="5532746" cy="2798574"/>
          </a:xfrm>
          <a:prstGeom prst="rect">
            <a:avLst/>
          </a:prstGeom>
          <a:ln>
            <a:noFill/>
          </a:ln>
          <a:effectLst>
            <a:outerShdw blurRad="190500" algn="tl" rotWithShape="0">
              <a:srgbClr val="000000">
                <a:alpha val="70000"/>
              </a:srgbClr>
            </a:outerShdw>
          </a:effectLst>
        </p:spPr>
      </p:pic>
      <p:pic>
        <p:nvPicPr>
          <p:cNvPr id="5" name="Picture 4"/>
          <p:cNvPicPr>
            <a:picLocks noChangeAspect="1"/>
          </p:cNvPicPr>
          <p:nvPr/>
        </p:nvPicPr>
        <p:blipFill>
          <a:blip r:embed="rId4"/>
          <a:stretch>
            <a:fillRect/>
          </a:stretch>
        </p:blipFill>
        <p:spPr>
          <a:xfrm>
            <a:off x="6109883" y="3470980"/>
            <a:ext cx="5345291" cy="2718234"/>
          </a:xfrm>
          <a:prstGeom prst="rect">
            <a:avLst/>
          </a:prstGeom>
          <a:ln>
            <a:noFill/>
          </a:ln>
          <a:effectLst>
            <a:outerShdw blurRad="190500" algn="tl" rotWithShape="0">
              <a:srgbClr val="000000">
                <a:alpha val="70000"/>
              </a:srgbClr>
            </a:outerShdw>
          </a:effectLst>
        </p:spPr>
      </p:pic>
    </p:spTree>
    <p:extLst>
      <p:ext uri="{BB962C8B-B14F-4D97-AF65-F5344CB8AC3E}">
        <p14:creationId xmlns:p14="http://schemas.microsoft.com/office/powerpoint/2010/main" val="9246911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solidFill>
            <a:schemeClr val="bg1"/>
          </a:solidFill>
        </p:spPr>
        <p:txBody>
          <a:bodyPr/>
          <a:lstStyle/>
          <a:p>
            <a:r>
              <a:rPr lang="pt-PT">
                <a:solidFill>
                  <a:schemeClr val="tx1"/>
                </a:solidFill>
              </a:rPr>
              <a:t>Visualisations – Waterfall Chart</a:t>
            </a:r>
            <a:endParaRPr lang="en-US" sz="3600">
              <a:solidFill>
                <a:schemeClr val="tx1"/>
              </a:solidFill>
            </a:endParaRPr>
          </a:p>
        </p:txBody>
      </p:sp>
      <p:grpSp>
        <p:nvGrpSpPr>
          <p:cNvPr id="52" name="Group 51"/>
          <p:cNvGrpSpPr/>
          <p:nvPr/>
        </p:nvGrpSpPr>
        <p:grpSpPr>
          <a:xfrm>
            <a:off x="2" y="1"/>
            <a:ext cx="2849058" cy="6858000"/>
            <a:chOff x="2" y="1"/>
            <a:chExt cx="2849058" cy="6858000"/>
          </a:xfrm>
        </p:grpSpPr>
        <p:sp>
          <p:nvSpPr>
            <p:cNvPr id="71" name="Rectangle 70"/>
            <p:cNvSpPr/>
            <p:nvPr/>
          </p:nvSpPr>
          <p:spPr bwMode="auto">
            <a:xfrm>
              <a:off x="2" y="1"/>
              <a:ext cx="2849058"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3" name="Oval 70"/>
            <p:cNvSpPr/>
            <p:nvPr/>
          </p:nvSpPr>
          <p:spPr>
            <a:xfrm>
              <a:off x="1413521" y="4951537"/>
              <a:ext cx="1119626" cy="1119626"/>
            </a:xfrm>
            <a:prstGeom prst="ellipse">
              <a:avLst/>
            </a:prstGeom>
            <a:solidFill>
              <a:srgbClr val="F2C812"/>
            </a:solidFill>
            <a:ln w="3175" cap="flat" cmpd="sng" algn="ctr">
              <a:noFill/>
              <a:prstDash val="solid"/>
            </a:ln>
            <a:effectLst/>
          </p:spPr>
          <p:txBody>
            <a:bodyPr vert="horz" wrap="none" lIns="0" tIns="45720" rIns="0" bIns="0" rtlCol="0" anchor="t"/>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Segoe UI"/>
                  <a:ea typeface="Segoe UI" pitchFamily="34" charset="0"/>
                  <a:cs typeface="Segoe UI" pitchFamily="34" charset="0"/>
                </a:rPr>
                <a:t>Share &amp;</a:t>
              </a:r>
            </a:p>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Segoe UI"/>
                  <a:ea typeface="Segoe UI" pitchFamily="34" charset="0"/>
                  <a:cs typeface="Segoe UI" pitchFamily="34" charset="0"/>
                </a:rPr>
                <a:t>collaborate </a:t>
              </a:r>
            </a:p>
          </p:txBody>
        </p:sp>
        <p:grpSp>
          <p:nvGrpSpPr>
            <p:cNvPr id="76" name="Group 38"/>
            <p:cNvGrpSpPr>
              <a:grpSpLocks noChangeAspect="1"/>
            </p:cNvGrpSpPr>
            <p:nvPr/>
          </p:nvGrpSpPr>
          <p:grpSpPr>
            <a:xfrm>
              <a:off x="676996" y="3930692"/>
              <a:ext cx="383905" cy="351536"/>
              <a:chOff x="4363684" y="5330386"/>
              <a:chExt cx="1409956" cy="1291077"/>
            </a:xfrm>
            <a:solidFill>
              <a:srgbClr val="217346"/>
            </a:solidFill>
          </p:grpSpPr>
          <p:sp>
            <p:nvSpPr>
              <p:cNvPr id="102" name="Donut 3"/>
              <p:cNvSpPr/>
              <p:nvPr/>
            </p:nvSpPr>
            <p:spPr bwMode="auto">
              <a:xfrm>
                <a:off x="4363684" y="5330386"/>
                <a:ext cx="1409956" cy="1291077"/>
              </a:xfrm>
              <a:custGeom>
                <a:avLst/>
                <a:gdLst/>
                <a:ahLst/>
                <a:cxnLst/>
                <a:rect l="l" t="t" r="r" b="b"/>
                <a:pathLst>
                  <a:path w="1409956" h="1291077">
                    <a:moveTo>
                      <a:pt x="956401" y="78410"/>
                    </a:moveTo>
                    <a:cubicBezTo>
                      <a:pt x="747518" y="78410"/>
                      <a:pt x="578184" y="247744"/>
                      <a:pt x="578184" y="456627"/>
                    </a:cubicBezTo>
                    <a:cubicBezTo>
                      <a:pt x="578184" y="665510"/>
                      <a:pt x="747518" y="834844"/>
                      <a:pt x="956401" y="834844"/>
                    </a:cubicBezTo>
                    <a:cubicBezTo>
                      <a:pt x="1165284" y="834844"/>
                      <a:pt x="1334618" y="665510"/>
                      <a:pt x="1334618" y="456627"/>
                    </a:cubicBezTo>
                    <a:cubicBezTo>
                      <a:pt x="1334618" y="247744"/>
                      <a:pt x="1165284" y="78410"/>
                      <a:pt x="956401" y="78410"/>
                    </a:cubicBezTo>
                    <a:close/>
                    <a:moveTo>
                      <a:pt x="952756" y="0"/>
                    </a:moveTo>
                    <a:cubicBezTo>
                      <a:pt x="1205261" y="0"/>
                      <a:pt x="1409956" y="204695"/>
                      <a:pt x="1409956" y="457200"/>
                    </a:cubicBezTo>
                    <a:cubicBezTo>
                      <a:pt x="1409956" y="709705"/>
                      <a:pt x="1205261" y="914400"/>
                      <a:pt x="952756" y="914400"/>
                    </a:cubicBezTo>
                    <a:cubicBezTo>
                      <a:pt x="862133" y="914400"/>
                      <a:pt x="777669" y="888034"/>
                      <a:pt x="707132" y="841746"/>
                    </a:cubicBezTo>
                    <a:lnTo>
                      <a:pt x="136495" y="1280102"/>
                    </a:lnTo>
                    <a:cubicBezTo>
                      <a:pt x="21896" y="1327168"/>
                      <a:pt x="-44029" y="1213730"/>
                      <a:pt x="33797" y="1113182"/>
                    </a:cubicBezTo>
                    <a:lnTo>
                      <a:pt x="568587" y="703518"/>
                    </a:lnTo>
                    <a:cubicBezTo>
                      <a:pt x="522087" y="632814"/>
                      <a:pt x="495556" y="548105"/>
                      <a:pt x="495556" y="457200"/>
                    </a:cubicBezTo>
                    <a:cubicBezTo>
                      <a:pt x="495556" y="204695"/>
                      <a:pt x="700251" y="0"/>
                      <a:pt x="952756" y="0"/>
                    </a:cubicBezTo>
                    <a:close/>
                  </a:path>
                </a:pathLst>
              </a:custGeom>
              <a:grpFill/>
              <a:ln>
                <a:solidFill>
                  <a:srgbClr val="21734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sp>
            <p:nvSpPr>
              <p:cNvPr id="103" name="Rectangle 4"/>
              <p:cNvSpPr/>
              <p:nvPr/>
            </p:nvSpPr>
            <p:spPr>
              <a:xfrm>
                <a:off x="5058389" y="5528247"/>
                <a:ext cx="490885" cy="490020"/>
              </a:xfrm>
              <a:custGeom>
                <a:avLst/>
                <a:gdLst/>
                <a:ahLst/>
                <a:cxnLst/>
                <a:rect l="l" t="t" r="r" b="b"/>
                <a:pathLst>
                  <a:path w="490885" h="490020">
                    <a:moveTo>
                      <a:pt x="240752" y="0"/>
                    </a:moveTo>
                    <a:cubicBezTo>
                      <a:pt x="253961" y="11844"/>
                      <a:pt x="293310" y="49692"/>
                      <a:pt x="337332" y="92439"/>
                    </a:cubicBezTo>
                    <a:lnTo>
                      <a:pt x="328342" y="81259"/>
                    </a:lnTo>
                    <a:cubicBezTo>
                      <a:pt x="356946" y="111282"/>
                      <a:pt x="377251" y="107167"/>
                      <a:pt x="382515" y="87941"/>
                    </a:cubicBezTo>
                    <a:cubicBezTo>
                      <a:pt x="383951" y="76921"/>
                      <a:pt x="384595" y="68732"/>
                      <a:pt x="396997" y="52239"/>
                    </a:cubicBezTo>
                    <a:cubicBezTo>
                      <a:pt x="420362" y="32084"/>
                      <a:pt x="442294" y="41736"/>
                      <a:pt x="454920" y="51330"/>
                    </a:cubicBezTo>
                    <a:cubicBezTo>
                      <a:pt x="467834" y="62761"/>
                      <a:pt x="477920" y="86882"/>
                      <a:pt x="460392" y="109714"/>
                    </a:cubicBezTo>
                    <a:cubicBezTo>
                      <a:pt x="451128" y="121912"/>
                      <a:pt x="437554" y="126838"/>
                      <a:pt x="425922" y="126505"/>
                    </a:cubicBezTo>
                    <a:cubicBezTo>
                      <a:pt x="424301" y="127609"/>
                      <a:pt x="382890" y="134974"/>
                      <a:pt x="427348" y="177672"/>
                    </a:cubicBezTo>
                    <a:lnTo>
                      <a:pt x="416886" y="169735"/>
                    </a:lnTo>
                    <a:cubicBezTo>
                      <a:pt x="450207" y="202177"/>
                      <a:pt x="478424" y="229744"/>
                      <a:pt x="490885" y="241900"/>
                    </a:cubicBezTo>
                    <a:lnTo>
                      <a:pt x="417150" y="317347"/>
                    </a:lnTo>
                    <a:cubicBezTo>
                      <a:pt x="417744" y="316535"/>
                      <a:pt x="418443" y="316123"/>
                      <a:pt x="419047" y="315822"/>
                    </a:cubicBezTo>
                    <a:cubicBezTo>
                      <a:pt x="389023" y="344426"/>
                      <a:pt x="393138" y="364731"/>
                      <a:pt x="412364" y="369995"/>
                    </a:cubicBezTo>
                    <a:cubicBezTo>
                      <a:pt x="423384" y="371431"/>
                      <a:pt x="431574" y="372075"/>
                      <a:pt x="448067" y="384477"/>
                    </a:cubicBezTo>
                    <a:cubicBezTo>
                      <a:pt x="468221" y="407842"/>
                      <a:pt x="458569" y="429774"/>
                      <a:pt x="448975" y="442400"/>
                    </a:cubicBezTo>
                    <a:cubicBezTo>
                      <a:pt x="437545" y="455314"/>
                      <a:pt x="413423" y="465400"/>
                      <a:pt x="390591" y="447872"/>
                    </a:cubicBezTo>
                    <a:cubicBezTo>
                      <a:pt x="378394" y="438608"/>
                      <a:pt x="373468" y="425034"/>
                      <a:pt x="373800" y="413402"/>
                    </a:cubicBezTo>
                    <a:cubicBezTo>
                      <a:pt x="372696" y="411781"/>
                      <a:pt x="365332" y="370370"/>
                      <a:pt x="322634" y="414828"/>
                    </a:cubicBezTo>
                    <a:lnTo>
                      <a:pt x="325243" y="411388"/>
                    </a:lnTo>
                    <a:lnTo>
                      <a:pt x="248395" y="490020"/>
                    </a:lnTo>
                    <a:cubicBezTo>
                      <a:pt x="208939" y="451897"/>
                      <a:pt x="199129" y="442073"/>
                      <a:pt x="174192" y="418236"/>
                    </a:cubicBezTo>
                    <a:cubicBezTo>
                      <a:pt x="145587" y="388212"/>
                      <a:pt x="125282" y="392327"/>
                      <a:pt x="120018" y="411553"/>
                    </a:cubicBezTo>
                    <a:cubicBezTo>
                      <a:pt x="118582" y="422573"/>
                      <a:pt x="117938" y="430763"/>
                      <a:pt x="105536" y="447256"/>
                    </a:cubicBezTo>
                    <a:cubicBezTo>
                      <a:pt x="82171" y="467410"/>
                      <a:pt x="60239" y="457758"/>
                      <a:pt x="47614" y="448164"/>
                    </a:cubicBezTo>
                    <a:cubicBezTo>
                      <a:pt x="34699" y="436734"/>
                      <a:pt x="24614" y="412612"/>
                      <a:pt x="42141" y="389780"/>
                    </a:cubicBezTo>
                    <a:cubicBezTo>
                      <a:pt x="51405" y="377583"/>
                      <a:pt x="64979" y="372657"/>
                      <a:pt x="76612" y="372989"/>
                    </a:cubicBezTo>
                    <a:cubicBezTo>
                      <a:pt x="78232" y="371886"/>
                      <a:pt x="119644" y="364521"/>
                      <a:pt x="75186" y="321823"/>
                    </a:cubicBezTo>
                    <a:cubicBezTo>
                      <a:pt x="58767" y="305402"/>
                      <a:pt x="23648" y="271235"/>
                      <a:pt x="0" y="248738"/>
                    </a:cubicBezTo>
                    <a:lnTo>
                      <a:pt x="77303" y="168146"/>
                    </a:lnTo>
                    <a:cubicBezTo>
                      <a:pt x="104269" y="140313"/>
                      <a:pt x="122130" y="156409"/>
                      <a:pt x="124388" y="175543"/>
                    </a:cubicBezTo>
                    <a:cubicBezTo>
                      <a:pt x="124457" y="182466"/>
                      <a:pt x="127106" y="193106"/>
                      <a:pt x="137575" y="203052"/>
                    </a:cubicBezTo>
                    <a:cubicBezTo>
                      <a:pt x="153931" y="220277"/>
                      <a:pt x="181252" y="217451"/>
                      <a:pt x="196721" y="201951"/>
                    </a:cubicBezTo>
                    <a:cubicBezTo>
                      <a:pt x="211961" y="185740"/>
                      <a:pt x="213057" y="157882"/>
                      <a:pt x="196146" y="142797"/>
                    </a:cubicBezTo>
                    <a:cubicBezTo>
                      <a:pt x="184301" y="132637"/>
                      <a:pt x="177155" y="131453"/>
                      <a:pt x="166513" y="129894"/>
                    </a:cubicBezTo>
                    <a:cubicBezTo>
                      <a:pt x="154522" y="129013"/>
                      <a:pt x="131185" y="112953"/>
                      <a:pt x="157905" y="85228"/>
                    </a:cubicBezTo>
                    <a:close/>
                  </a:path>
                </a:pathLst>
              </a:custGeom>
              <a:grpFill/>
              <a:ln>
                <a:solidFill>
                  <a:srgbClr val="21734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grpSp>
        <p:sp>
          <p:nvSpPr>
            <p:cNvPr id="77" name="Oval 47"/>
            <p:cNvSpPr/>
            <p:nvPr/>
          </p:nvSpPr>
          <p:spPr>
            <a:xfrm>
              <a:off x="388608" y="3710471"/>
              <a:ext cx="1119626" cy="1119626"/>
            </a:xfrm>
            <a:prstGeom prst="ellipse">
              <a:avLst/>
            </a:prstGeom>
            <a:solidFill>
              <a:srgbClr val="F2C812"/>
            </a:solidFill>
            <a:ln w="3175" cap="flat" cmpd="sng" algn="ctr">
              <a:noFill/>
              <a:prstDash val="solid"/>
            </a:ln>
            <a:effectLst/>
          </p:spPr>
          <p:txBody>
            <a:bodyPr vert="horz" wrap="none" lIns="0" tIns="45720" rIns="0" bIns="0" rtlCol="0" anchor="t"/>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Segoe UI"/>
                  <a:ea typeface="Segoe UI" pitchFamily="34" charset="0"/>
                  <a:cs typeface="Segoe UI" pitchFamily="34" charset="0"/>
                </a:rPr>
                <a:t>Report</a:t>
              </a:r>
            </a:p>
          </p:txBody>
        </p:sp>
        <p:sp>
          <p:nvSpPr>
            <p:cNvPr id="78" name="Oval 950"/>
            <p:cNvSpPr/>
            <p:nvPr/>
          </p:nvSpPr>
          <p:spPr>
            <a:xfrm>
              <a:off x="388608" y="1252295"/>
              <a:ext cx="1119626" cy="1119626"/>
            </a:xfrm>
            <a:prstGeom prst="ellipse">
              <a:avLst/>
            </a:prstGeom>
            <a:solidFill>
              <a:srgbClr val="F2C812"/>
            </a:solidFill>
            <a:ln w="3175" cap="flat" cmpd="sng" algn="ctr">
              <a:noFill/>
              <a:prstDash val="solid"/>
            </a:ln>
            <a:effectLst/>
          </p:spPr>
          <p:txBody>
            <a:bodyPr vert="horz" wrap="none" lIns="0" tIns="45720" rIns="0" bIns="0" rtlCol="0" anchor="t"/>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1" i="0" u="none" strike="noStrike" kern="1200" cap="none" spc="0" normalizeH="0" baseline="0" noProof="0">
                <a:ln>
                  <a:noFill/>
                </a:ln>
                <a:solidFill>
                  <a:srgbClr val="217346"/>
                </a:solidFill>
                <a:effectLst/>
                <a:uLnTx/>
                <a:uFillTx/>
                <a:latin typeface="Segoe UI"/>
                <a:ea typeface="Segoe UI" pitchFamily="34" charset="0"/>
                <a:cs typeface="Segoe UI" pitchFamily="34" charset="0"/>
              </a:endParaRPr>
            </a:p>
          </p:txBody>
        </p:sp>
        <p:grpSp>
          <p:nvGrpSpPr>
            <p:cNvPr id="79" name="Group 78"/>
            <p:cNvGrpSpPr/>
            <p:nvPr/>
          </p:nvGrpSpPr>
          <p:grpSpPr>
            <a:xfrm>
              <a:off x="1264851" y="3482890"/>
              <a:ext cx="292254" cy="354906"/>
              <a:chOff x="1296521" y="3253388"/>
              <a:chExt cx="292254" cy="354906"/>
            </a:xfrm>
            <a:solidFill>
              <a:srgbClr val="F2C812"/>
            </a:solidFill>
          </p:grpSpPr>
          <p:sp>
            <p:nvSpPr>
              <p:cNvPr id="99" name="Isosceles Triangle 98"/>
              <p:cNvSpPr/>
              <p:nvPr/>
            </p:nvSpPr>
            <p:spPr bwMode="auto">
              <a:xfrm rot="13636515">
                <a:off x="1461362" y="328936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0" name="Isosceles Triangle 99"/>
              <p:cNvSpPr/>
              <p:nvPr/>
            </p:nvSpPr>
            <p:spPr bwMode="auto">
              <a:xfrm rot="13636515">
                <a:off x="1357669" y="338258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1" name="Isosceles Triangle 100"/>
              <p:cNvSpPr/>
              <p:nvPr/>
            </p:nvSpPr>
            <p:spPr bwMode="auto">
              <a:xfrm rot="13636515">
                <a:off x="1260548" y="3480882"/>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80" name="Group 79"/>
            <p:cNvGrpSpPr/>
            <p:nvPr/>
          </p:nvGrpSpPr>
          <p:grpSpPr>
            <a:xfrm rot="15940603">
              <a:off x="1334576" y="2204404"/>
              <a:ext cx="292254" cy="354906"/>
              <a:chOff x="1296521" y="3253388"/>
              <a:chExt cx="292254" cy="354906"/>
            </a:xfrm>
            <a:solidFill>
              <a:srgbClr val="F2C812"/>
            </a:solidFill>
          </p:grpSpPr>
          <p:sp>
            <p:nvSpPr>
              <p:cNvPr id="96" name="Isosceles Triangle 95"/>
              <p:cNvSpPr/>
              <p:nvPr/>
            </p:nvSpPr>
            <p:spPr bwMode="auto">
              <a:xfrm rot="13636515">
                <a:off x="1461362" y="328936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7" name="Isosceles Triangle 96"/>
              <p:cNvSpPr/>
              <p:nvPr/>
            </p:nvSpPr>
            <p:spPr bwMode="auto">
              <a:xfrm rot="13636515">
                <a:off x="1357669" y="338258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8" name="Isosceles Triangle 97"/>
              <p:cNvSpPr/>
              <p:nvPr/>
            </p:nvSpPr>
            <p:spPr bwMode="auto">
              <a:xfrm rot="13636515">
                <a:off x="1260548" y="3480882"/>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81" name="Group 80"/>
            <p:cNvGrpSpPr/>
            <p:nvPr/>
          </p:nvGrpSpPr>
          <p:grpSpPr>
            <a:xfrm rot="16043978">
              <a:off x="1317220" y="4717577"/>
              <a:ext cx="292254" cy="354906"/>
              <a:chOff x="1296521" y="3253388"/>
              <a:chExt cx="292254" cy="354906"/>
            </a:xfrm>
            <a:solidFill>
              <a:srgbClr val="F2C812"/>
            </a:solidFill>
          </p:grpSpPr>
          <p:sp>
            <p:nvSpPr>
              <p:cNvPr id="93" name="Isosceles Triangle 92"/>
              <p:cNvSpPr/>
              <p:nvPr/>
            </p:nvSpPr>
            <p:spPr bwMode="auto">
              <a:xfrm rot="13636515">
                <a:off x="1461362" y="328936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4" name="Isosceles Triangle 93"/>
              <p:cNvSpPr/>
              <p:nvPr/>
            </p:nvSpPr>
            <p:spPr bwMode="auto">
              <a:xfrm rot="13636515">
                <a:off x="1357669" y="338258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5" name="Isosceles Triangle 94"/>
              <p:cNvSpPr/>
              <p:nvPr/>
            </p:nvSpPr>
            <p:spPr bwMode="auto">
              <a:xfrm rot="13636515">
                <a:off x="1260548" y="3480882"/>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82" name="Oval 36"/>
            <p:cNvSpPr/>
            <p:nvPr/>
          </p:nvSpPr>
          <p:spPr>
            <a:xfrm>
              <a:off x="1413521" y="2481383"/>
              <a:ext cx="1119626" cy="1119626"/>
            </a:xfrm>
            <a:prstGeom prst="ellipse">
              <a:avLst/>
            </a:prstGeom>
            <a:solidFill>
              <a:srgbClr val="F2C812"/>
            </a:solidFill>
            <a:ln w="3175" cap="flat" cmpd="sng" algn="ctr">
              <a:noFill/>
              <a:prstDash val="solid"/>
            </a:ln>
            <a:effectLst/>
          </p:spPr>
          <p:txBody>
            <a:bodyPr vert="horz" wrap="none" lIns="0" tIns="0" rIns="0" bIns="0" rtlCol="0" anchor="t"/>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400" b="1" i="0" u="none" strike="noStrike" kern="1200" cap="none" spc="0" normalizeH="0" baseline="0" noProof="0">
                <a:ln>
                  <a:noFill/>
                </a:ln>
                <a:solidFill>
                  <a:srgbClr val="217346"/>
                </a:solidFill>
                <a:effectLst/>
                <a:uLnTx/>
                <a:uFillTx/>
                <a:latin typeface="Segoe UI"/>
                <a:ea typeface="Segoe UI" pitchFamily="34" charset="0"/>
                <a:cs typeface="Segoe UI" pitchFamily="34" charset="0"/>
              </a:endParaRPr>
            </a:p>
          </p:txBody>
        </p:sp>
        <p:sp>
          <p:nvSpPr>
            <p:cNvPr id="83" name="Donut 3"/>
            <p:cNvSpPr/>
            <p:nvPr/>
          </p:nvSpPr>
          <p:spPr bwMode="auto">
            <a:xfrm>
              <a:off x="1742065" y="3002355"/>
              <a:ext cx="383905" cy="351537"/>
            </a:xfrm>
            <a:custGeom>
              <a:avLst/>
              <a:gdLst/>
              <a:ahLst/>
              <a:cxnLst/>
              <a:rect l="l" t="t" r="r" b="b"/>
              <a:pathLst>
                <a:path w="1409956" h="1291077">
                  <a:moveTo>
                    <a:pt x="956401" y="78410"/>
                  </a:moveTo>
                  <a:cubicBezTo>
                    <a:pt x="747518" y="78410"/>
                    <a:pt x="578184" y="247744"/>
                    <a:pt x="578184" y="456627"/>
                  </a:cubicBezTo>
                  <a:cubicBezTo>
                    <a:pt x="578184" y="665510"/>
                    <a:pt x="747518" y="834844"/>
                    <a:pt x="956401" y="834844"/>
                  </a:cubicBezTo>
                  <a:cubicBezTo>
                    <a:pt x="1165284" y="834844"/>
                    <a:pt x="1334618" y="665510"/>
                    <a:pt x="1334618" y="456627"/>
                  </a:cubicBezTo>
                  <a:cubicBezTo>
                    <a:pt x="1334618" y="247744"/>
                    <a:pt x="1165284" y="78410"/>
                    <a:pt x="956401" y="78410"/>
                  </a:cubicBezTo>
                  <a:close/>
                  <a:moveTo>
                    <a:pt x="952756" y="0"/>
                  </a:moveTo>
                  <a:cubicBezTo>
                    <a:pt x="1205261" y="0"/>
                    <a:pt x="1409956" y="204695"/>
                    <a:pt x="1409956" y="457200"/>
                  </a:cubicBezTo>
                  <a:cubicBezTo>
                    <a:pt x="1409956" y="709705"/>
                    <a:pt x="1205261" y="914400"/>
                    <a:pt x="952756" y="914400"/>
                  </a:cubicBezTo>
                  <a:cubicBezTo>
                    <a:pt x="862133" y="914400"/>
                    <a:pt x="777669" y="888034"/>
                    <a:pt x="707132" y="841746"/>
                  </a:cubicBezTo>
                  <a:lnTo>
                    <a:pt x="136495" y="1280102"/>
                  </a:lnTo>
                  <a:cubicBezTo>
                    <a:pt x="21896" y="1327168"/>
                    <a:pt x="-44029" y="1213730"/>
                    <a:pt x="33797" y="1113182"/>
                  </a:cubicBezTo>
                  <a:lnTo>
                    <a:pt x="568587" y="703518"/>
                  </a:lnTo>
                  <a:cubicBezTo>
                    <a:pt x="522087" y="632814"/>
                    <a:pt x="495556" y="548105"/>
                    <a:pt x="495556" y="457200"/>
                  </a:cubicBezTo>
                  <a:cubicBezTo>
                    <a:pt x="495556" y="204695"/>
                    <a:pt x="700251" y="0"/>
                    <a:pt x="952756" y="0"/>
                  </a:cubicBezTo>
                  <a:close/>
                </a:path>
              </a:pathLst>
            </a:cu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sp>
          <p:nvSpPr>
            <p:cNvPr id="84" name="Rectangle 83"/>
            <p:cNvSpPr/>
            <p:nvPr/>
          </p:nvSpPr>
          <p:spPr>
            <a:xfrm>
              <a:off x="1600398" y="2677430"/>
              <a:ext cx="820353" cy="307777"/>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Segoe UI"/>
                  <a:ea typeface="Segoe UI" pitchFamily="34" charset="0"/>
                  <a:cs typeface="Segoe UI" pitchFamily="34" charset="0"/>
                </a:rPr>
                <a:t>Explore</a:t>
              </a:r>
              <a:endParaRPr kumimoji="0" lang="en-US" sz="1600" b="0" i="0" u="none" strike="noStrike" kern="1200" cap="none" spc="0" normalizeH="0" baseline="0" noProof="0">
                <a:ln>
                  <a:noFill/>
                </a:ln>
                <a:solidFill>
                  <a:srgbClr val="000000"/>
                </a:solidFill>
                <a:effectLst/>
                <a:uLnTx/>
                <a:uFillTx/>
                <a:latin typeface="Segoe UI"/>
                <a:ea typeface="+mn-ea"/>
                <a:cs typeface="+mn-cs"/>
              </a:endParaRPr>
            </a:p>
          </p:txBody>
        </p:sp>
        <p:sp>
          <p:nvSpPr>
            <p:cNvPr id="85" name="Rectangle 84"/>
            <p:cNvSpPr/>
            <p:nvPr/>
          </p:nvSpPr>
          <p:spPr>
            <a:xfrm>
              <a:off x="509174" y="1475232"/>
              <a:ext cx="838756" cy="307777"/>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Segoe UI"/>
                  <a:ea typeface="Segoe UI" pitchFamily="34" charset="0"/>
                  <a:cs typeface="Segoe UI" pitchFamily="34" charset="0"/>
                </a:rPr>
                <a:t>Prepare</a:t>
              </a: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86" name="Freeform 85"/>
            <p:cNvSpPr>
              <a:spLocks noChangeAspect="1"/>
            </p:cNvSpPr>
            <p:nvPr/>
          </p:nvSpPr>
          <p:spPr bwMode="black">
            <a:xfrm>
              <a:off x="1836174" y="5643069"/>
              <a:ext cx="274320" cy="284173"/>
            </a:xfrm>
            <a:custGeom>
              <a:avLst/>
              <a:gdLst>
                <a:gd name="T0" fmla="*/ 539 w 669"/>
                <a:gd name="T1" fmla="*/ 5 h 693"/>
                <a:gd name="T2" fmla="*/ 640 w 669"/>
                <a:gd name="T3" fmla="*/ 55 h 693"/>
                <a:gd name="T4" fmla="*/ 603 w 669"/>
                <a:gd name="T5" fmla="*/ 195 h 693"/>
                <a:gd name="T6" fmla="*/ 490 w 669"/>
                <a:gd name="T7" fmla="*/ 188 h 693"/>
                <a:gd name="T8" fmla="*/ 479 w 669"/>
                <a:gd name="T9" fmla="*/ 176 h 693"/>
                <a:gd name="T10" fmla="*/ 213 w 669"/>
                <a:gd name="T11" fmla="*/ 330 h 693"/>
                <a:gd name="T12" fmla="*/ 218 w 669"/>
                <a:gd name="T13" fmla="*/ 345 h 693"/>
                <a:gd name="T14" fmla="*/ 218 w 669"/>
                <a:gd name="T15" fmla="*/ 375 h 693"/>
                <a:gd name="T16" fmla="*/ 209 w 669"/>
                <a:gd name="T17" fmla="*/ 402 h 693"/>
                <a:gd name="T18" fmla="*/ 369 w 669"/>
                <a:gd name="T19" fmla="*/ 503 h 693"/>
                <a:gd name="T20" fmla="*/ 373 w 669"/>
                <a:gd name="T21" fmla="*/ 498 h 693"/>
                <a:gd name="T22" fmla="*/ 456 w 669"/>
                <a:gd name="T23" fmla="*/ 475 h 693"/>
                <a:gd name="T24" fmla="*/ 494 w 669"/>
                <a:gd name="T25" fmla="*/ 489 h 693"/>
                <a:gd name="T26" fmla="*/ 527 w 669"/>
                <a:gd name="T27" fmla="*/ 630 h 693"/>
                <a:gd name="T28" fmla="*/ 386 w 669"/>
                <a:gd name="T29" fmla="*/ 663 h 693"/>
                <a:gd name="T30" fmla="*/ 339 w 669"/>
                <a:gd name="T31" fmla="*/ 560 h 693"/>
                <a:gd name="T32" fmla="*/ 345 w 669"/>
                <a:gd name="T33" fmla="*/ 544 h 693"/>
                <a:gd name="T34" fmla="*/ 177 w 669"/>
                <a:gd name="T35" fmla="*/ 439 h 693"/>
                <a:gd name="T36" fmla="*/ 168 w 669"/>
                <a:gd name="T37" fmla="*/ 446 h 693"/>
                <a:gd name="T38" fmla="*/ 28 w 669"/>
                <a:gd name="T39" fmla="*/ 409 h 693"/>
                <a:gd name="T40" fmla="*/ 65 w 669"/>
                <a:gd name="T41" fmla="*/ 269 h 693"/>
                <a:gd name="T42" fmla="*/ 178 w 669"/>
                <a:gd name="T43" fmla="*/ 276 h 693"/>
                <a:gd name="T44" fmla="*/ 189 w 669"/>
                <a:gd name="T45" fmla="*/ 288 h 693"/>
                <a:gd name="T46" fmla="*/ 455 w 669"/>
                <a:gd name="T47" fmla="*/ 134 h 693"/>
                <a:gd name="T48" fmla="*/ 450 w 669"/>
                <a:gd name="T49" fmla="*/ 119 h 693"/>
                <a:gd name="T50" fmla="*/ 501 w 669"/>
                <a:gd name="T51" fmla="*/ 18 h 693"/>
                <a:gd name="T52" fmla="*/ 539 w 669"/>
                <a:gd name="T53" fmla="*/ 5 h 6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69" h="693">
                  <a:moveTo>
                    <a:pt x="539" y="5"/>
                  </a:moveTo>
                  <a:cubicBezTo>
                    <a:pt x="579" y="0"/>
                    <a:pt x="619" y="19"/>
                    <a:pt x="640" y="55"/>
                  </a:cubicBezTo>
                  <a:cubicBezTo>
                    <a:pt x="669" y="104"/>
                    <a:pt x="652" y="167"/>
                    <a:pt x="603" y="195"/>
                  </a:cubicBezTo>
                  <a:cubicBezTo>
                    <a:pt x="566" y="216"/>
                    <a:pt x="522" y="212"/>
                    <a:pt x="490" y="188"/>
                  </a:cubicBezTo>
                  <a:cubicBezTo>
                    <a:pt x="479" y="176"/>
                    <a:pt x="479" y="176"/>
                    <a:pt x="479" y="176"/>
                  </a:cubicBezTo>
                  <a:cubicBezTo>
                    <a:pt x="213" y="330"/>
                    <a:pt x="213" y="330"/>
                    <a:pt x="213" y="330"/>
                  </a:cubicBezTo>
                  <a:cubicBezTo>
                    <a:pt x="218" y="345"/>
                    <a:pt x="218" y="345"/>
                    <a:pt x="218" y="345"/>
                  </a:cubicBezTo>
                  <a:cubicBezTo>
                    <a:pt x="219" y="355"/>
                    <a:pt x="219" y="365"/>
                    <a:pt x="218" y="375"/>
                  </a:cubicBezTo>
                  <a:cubicBezTo>
                    <a:pt x="209" y="402"/>
                    <a:pt x="209" y="402"/>
                    <a:pt x="209" y="402"/>
                  </a:cubicBezTo>
                  <a:cubicBezTo>
                    <a:pt x="369" y="503"/>
                    <a:pt x="369" y="503"/>
                    <a:pt x="369" y="503"/>
                  </a:cubicBezTo>
                  <a:cubicBezTo>
                    <a:pt x="373" y="498"/>
                    <a:pt x="373" y="498"/>
                    <a:pt x="373" y="498"/>
                  </a:cubicBezTo>
                  <a:cubicBezTo>
                    <a:pt x="396" y="479"/>
                    <a:pt x="427" y="470"/>
                    <a:pt x="456" y="475"/>
                  </a:cubicBezTo>
                  <a:cubicBezTo>
                    <a:pt x="470" y="477"/>
                    <a:pt x="482" y="482"/>
                    <a:pt x="494" y="489"/>
                  </a:cubicBezTo>
                  <a:cubicBezTo>
                    <a:pt x="542" y="519"/>
                    <a:pt x="557" y="583"/>
                    <a:pt x="527" y="630"/>
                  </a:cubicBezTo>
                  <a:cubicBezTo>
                    <a:pt x="497" y="678"/>
                    <a:pt x="433" y="693"/>
                    <a:pt x="386" y="663"/>
                  </a:cubicBezTo>
                  <a:cubicBezTo>
                    <a:pt x="350" y="640"/>
                    <a:pt x="333" y="599"/>
                    <a:pt x="339" y="560"/>
                  </a:cubicBezTo>
                  <a:cubicBezTo>
                    <a:pt x="345" y="544"/>
                    <a:pt x="345" y="544"/>
                    <a:pt x="345" y="544"/>
                  </a:cubicBezTo>
                  <a:cubicBezTo>
                    <a:pt x="177" y="439"/>
                    <a:pt x="177" y="439"/>
                    <a:pt x="177" y="439"/>
                  </a:cubicBezTo>
                  <a:cubicBezTo>
                    <a:pt x="168" y="446"/>
                    <a:pt x="168" y="446"/>
                    <a:pt x="168" y="446"/>
                  </a:cubicBezTo>
                  <a:cubicBezTo>
                    <a:pt x="119" y="475"/>
                    <a:pt x="56" y="458"/>
                    <a:pt x="28" y="409"/>
                  </a:cubicBezTo>
                  <a:cubicBezTo>
                    <a:pt x="0" y="360"/>
                    <a:pt x="16" y="297"/>
                    <a:pt x="65" y="269"/>
                  </a:cubicBezTo>
                  <a:cubicBezTo>
                    <a:pt x="102" y="248"/>
                    <a:pt x="147" y="252"/>
                    <a:pt x="178" y="276"/>
                  </a:cubicBezTo>
                  <a:cubicBezTo>
                    <a:pt x="189" y="288"/>
                    <a:pt x="189" y="288"/>
                    <a:pt x="189" y="288"/>
                  </a:cubicBezTo>
                  <a:cubicBezTo>
                    <a:pt x="455" y="134"/>
                    <a:pt x="455" y="134"/>
                    <a:pt x="455" y="134"/>
                  </a:cubicBezTo>
                  <a:cubicBezTo>
                    <a:pt x="450" y="119"/>
                    <a:pt x="450" y="119"/>
                    <a:pt x="450" y="119"/>
                  </a:cubicBezTo>
                  <a:cubicBezTo>
                    <a:pt x="445" y="80"/>
                    <a:pt x="464" y="39"/>
                    <a:pt x="501" y="18"/>
                  </a:cubicBezTo>
                  <a:cubicBezTo>
                    <a:pt x="513" y="11"/>
                    <a:pt x="526" y="6"/>
                    <a:pt x="539" y="5"/>
                  </a:cubicBezTo>
                  <a:close/>
                </a:path>
              </a:pathLst>
            </a:custGeom>
            <a:solidFill>
              <a:schemeClr val="tx1"/>
            </a:solidFill>
            <a:ln>
              <a:noFill/>
            </a:ln>
          </p:spPr>
          <p:txBody>
            <a:bodyPr vert="horz" wrap="square" lIns="68574" tIns="34287" rIns="68574" bIns="34287"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0000"/>
                </a:solidFill>
                <a:effectLst/>
                <a:uLnTx/>
                <a:uFillTx/>
                <a:latin typeface="Segoe UI"/>
                <a:ea typeface="+mn-ea"/>
                <a:cs typeface="+mn-cs"/>
              </a:endParaRPr>
            </a:p>
          </p:txBody>
        </p:sp>
        <p:sp>
          <p:nvSpPr>
            <p:cNvPr id="87" name="Freeform 86"/>
            <p:cNvSpPr>
              <a:spLocks noChangeAspect="1" noEditPoints="1"/>
            </p:cNvSpPr>
            <p:nvPr/>
          </p:nvSpPr>
          <p:spPr bwMode="black">
            <a:xfrm>
              <a:off x="722320" y="1783009"/>
              <a:ext cx="452202" cy="366660"/>
            </a:xfrm>
            <a:custGeom>
              <a:avLst/>
              <a:gdLst>
                <a:gd name="T0" fmla="*/ 600 w 1107"/>
                <a:gd name="T1" fmla="*/ 625 h 897"/>
                <a:gd name="T2" fmla="*/ 649 w 1107"/>
                <a:gd name="T3" fmla="*/ 567 h 897"/>
                <a:gd name="T4" fmla="*/ 727 w 1107"/>
                <a:gd name="T5" fmla="*/ 482 h 897"/>
                <a:gd name="T6" fmla="*/ 601 w 1107"/>
                <a:gd name="T7" fmla="*/ 434 h 897"/>
                <a:gd name="T8" fmla="*/ 628 w 1107"/>
                <a:gd name="T9" fmla="*/ 305 h 897"/>
                <a:gd name="T10" fmla="*/ 547 w 1107"/>
                <a:gd name="T11" fmla="*/ 240 h 897"/>
                <a:gd name="T12" fmla="*/ 427 w 1107"/>
                <a:gd name="T13" fmla="*/ 287 h 897"/>
                <a:gd name="T14" fmla="*/ 368 w 1107"/>
                <a:gd name="T15" fmla="*/ 170 h 897"/>
                <a:gd name="T16" fmla="*/ 285 w 1107"/>
                <a:gd name="T17" fmla="*/ 263 h 897"/>
                <a:gd name="T18" fmla="*/ 241 w 1107"/>
                <a:gd name="T19" fmla="*/ 313 h 897"/>
                <a:gd name="T20" fmla="*/ 139 w 1107"/>
                <a:gd name="T21" fmla="*/ 281 h 897"/>
                <a:gd name="T22" fmla="*/ 79 w 1107"/>
                <a:gd name="T23" fmla="*/ 355 h 897"/>
                <a:gd name="T24" fmla="*/ 132 w 1107"/>
                <a:gd name="T25" fmla="*/ 446 h 897"/>
                <a:gd name="T26" fmla="*/ 83 w 1107"/>
                <a:gd name="T27" fmla="*/ 505 h 897"/>
                <a:gd name="T28" fmla="*/ 5 w 1107"/>
                <a:gd name="T29" fmla="*/ 590 h 897"/>
                <a:gd name="T30" fmla="*/ 132 w 1107"/>
                <a:gd name="T31" fmla="*/ 638 h 897"/>
                <a:gd name="T32" fmla="*/ 145 w 1107"/>
                <a:gd name="T33" fmla="*/ 669 h 897"/>
                <a:gd name="T34" fmla="*/ 110 w 1107"/>
                <a:gd name="T35" fmla="*/ 793 h 897"/>
                <a:gd name="T36" fmla="*/ 230 w 1107"/>
                <a:gd name="T37" fmla="*/ 781 h 897"/>
                <a:gd name="T38" fmla="*/ 306 w 1107"/>
                <a:gd name="T39" fmla="*/ 785 h 897"/>
                <a:gd name="T40" fmla="*/ 346 w 1107"/>
                <a:gd name="T41" fmla="*/ 878 h 897"/>
                <a:gd name="T42" fmla="*/ 440 w 1107"/>
                <a:gd name="T43" fmla="*/ 872 h 897"/>
                <a:gd name="T44" fmla="*/ 466 w 1107"/>
                <a:gd name="T45" fmla="*/ 764 h 897"/>
                <a:gd name="T46" fmla="*/ 539 w 1107"/>
                <a:gd name="T47" fmla="*/ 755 h 897"/>
                <a:gd name="T48" fmla="*/ 659 w 1107"/>
                <a:gd name="T49" fmla="*/ 743 h 897"/>
                <a:gd name="T50" fmla="*/ 263 w 1107"/>
                <a:gd name="T51" fmla="*/ 452 h 897"/>
                <a:gd name="T52" fmla="*/ 281 w 1107"/>
                <a:gd name="T53" fmla="*/ 633 h 897"/>
                <a:gd name="T54" fmla="*/ 1002 w 1107"/>
                <a:gd name="T55" fmla="*/ 332 h 897"/>
                <a:gd name="T56" fmla="*/ 1043 w 1107"/>
                <a:gd name="T57" fmla="*/ 304 h 897"/>
                <a:gd name="T58" fmla="*/ 1107 w 1107"/>
                <a:gd name="T59" fmla="*/ 266 h 897"/>
                <a:gd name="T60" fmla="*/ 1037 w 1107"/>
                <a:gd name="T61" fmla="*/ 213 h 897"/>
                <a:gd name="T62" fmla="*/ 1077 w 1107"/>
                <a:gd name="T63" fmla="*/ 138 h 897"/>
                <a:gd name="T64" fmla="*/ 1038 w 1107"/>
                <a:gd name="T65" fmla="*/ 83 h 897"/>
                <a:gd name="T66" fmla="*/ 956 w 1107"/>
                <a:gd name="T67" fmla="*/ 91 h 897"/>
                <a:gd name="T68" fmla="*/ 940 w 1107"/>
                <a:gd name="T69" fmla="*/ 7 h 897"/>
                <a:gd name="T70" fmla="*/ 872 w 1107"/>
                <a:gd name="T71" fmla="*/ 50 h 897"/>
                <a:gd name="T72" fmla="*/ 836 w 1107"/>
                <a:gd name="T73" fmla="*/ 74 h 897"/>
                <a:gd name="T74" fmla="*/ 778 w 1107"/>
                <a:gd name="T75" fmla="*/ 35 h 897"/>
                <a:gd name="T76" fmla="*/ 728 w 1107"/>
                <a:gd name="T77" fmla="*/ 70 h 897"/>
                <a:gd name="T78" fmla="*/ 744 w 1107"/>
                <a:gd name="T79" fmla="*/ 136 h 897"/>
                <a:gd name="T80" fmla="*/ 703 w 1107"/>
                <a:gd name="T81" fmla="*/ 164 h 897"/>
                <a:gd name="T82" fmla="*/ 640 w 1107"/>
                <a:gd name="T83" fmla="*/ 203 h 897"/>
                <a:gd name="T84" fmla="*/ 710 w 1107"/>
                <a:gd name="T85" fmla="*/ 255 h 897"/>
                <a:gd name="T86" fmla="*/ 712 w 1107"/>
                <a:gd name="T87" fmla="*/ 277 h 897"/>
                <a:gd name="T88" fmla="*/ 668 w 1107"/>
                <a:gd name="T89" fmla="*/ 347 h 897"/>
                <a:gd name="T90" fmla="*/ 745 w 1107"/>
                <a:gd name="T91" fmla="*/ 361 h 897"/>
                <a:gd name="T92" fmla="*/ 791 w 1107"/>
                <a:gd name="T93" fmla="*/ 377 h 897"/>
                <a:gd name="T94" fmla="*/ 799 w 1107"/>
                <a:gd name="T95" fmla="*/ 443 h 897"/>
                <a:gd name="T96" fmla="*/ 859 w 1107"/>
                <a:gd name="T97" fmla="*/ 456 h 897"/>
                <a:gd name="T98" fmla="*/ 894 w 1107"/>
                <a:gd name="T99" fmla="*/ 393 h 897"/>
                <a:gd name="T100" fmla="*/ 941 w 1107"/>
                <a:gd name="T101" fmla="*/ 401 h 897"/>
                <a:gd name="T102" fmla="*/ 1018 w 1107"/>
                <a:gd name="T103" fmla="*/ 415 h 897"/>
                <a:gd name="T104" fmla="*/ 825 w 1107"/>
                <a:gd name="T105" fmla="*/ 164 h 897"/>
                <a:gd name="T106" fmla="*/ 803 w 1107"/>
                <a:gd name="T107" fmla="*/ 279 h 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107" h="897">
                  <a:moveTo>
                    <a:pt x="654" y="716"/>
                  </a:moveTo>
                  <a:cubicBezTo>
                    <a:pt x="616" y="670"/>
                    <a:pt x="616" y="670"/>
                    <a:pt x="616" y="670"/>
                  </a:cubicBezTo>
                  <a:cubicBezTo>
                    <a:pt x="593" y="654"/>
                    <a:pt x="603" y="638"/>
                    <a:pt x="600" y="625"/>
                  </a:cubicBezTo>
                  <a:cubicBezTo>
                    <a:pt x="600" y="625"/>
                    <a:pt x="600" y="625"/>
                    <a:pt x="600" y="625"/>
                  </a:cubicBezTo>
                  <a:cubicBezTo>
                    <a:pt x="605" y="617"/>
                    <a:pt x="611" y="609"/>
                    <a:pt x="608" y="596"/>
                  </a:cubicBezTo>
                  <a:cubicBezTo>
                    <a:pt x="618" y="580"/>
                    <a:pt x="623" y="572"/>
                    <a:pt x="649" y="567"/>
                  </a:cubicBezTo>
                  <a:cubicBezTo>
                    <a:pt x="715" y="553"/>
                    <a:pt x="715" y="553"/>
                    <a:pt x="715" y="553"/>
                  </a:cubicBezTo>
                  <a:cubicBezTo>
                    <a:pt x="728" y="550"/>
                    <a:pt x="733" y="542"/>
                    <a:pt x="730" y="529"/>
                  </a:cubicBezTo>
                  <a:cubicBezTo>
                    <a:pt x="727" y="482"/>
                    <a:pt x="727" y="482"/>
                    <a:pt x="727" y="482"/>
                  </a:cubicBezTo>
                  <a:cubicBezTo>
                    <a:pt x="724" y="469"/>
                    <a:pt x="717" y="463"/>
                    <a:pt x="701" y="453"/>
                  </a:cubicBezTo>
                  <a:cubicBezTo>
                    <a:pt x="641" y="459"/>
                    <a:pt x="641" y="459"/>
                    <a:pt x="641" y="459"/>
                  </a:cubicBezTo>
                  <a:cubicBezTo>
                    <a:pt x="620" y="457"/>
                    <a:pt x="604" y="447"/>
                    <a:pt x="601" y="434"/>
                  </a:cubicBezTo>
                  <a:cubicBezTo>
                    <a:pt x="598" y="421"/>
                    <a:pt x="590" y="416"/>
                    <a:pt x="580" y="397"/>
                  </a:cubicBezTo>
                  <a:cubicBezTo>
                    <a:pt x="577" y="384"/>
                    <a:pt x="574" y="371"/>
                    <a:pt x="584" y="355"/>
                  </a:cubicBezTo>
                  <a:cubicBezTo>
                    <a:pt x="628" y="305"/>
                    <a:pt x="628" y="305"/>
                    <a:pt x="628" y="305"/>
                  </a:cubicBezTo>
                  <a:cubicBezTo>
                    <a:pt x="634" y="297"/>
                    <a:pt x="631" y="284"/>
                    <a:pt x="623" y="279"/>
                  </a:cubicBezTo>
                  <a:cubicBezTo>
                    <a:pt x="581" y="240"/>
                    <a:pt x="581" y="240"/>
                    <a:pt x="581" y="240"/>
                  </a:cubicBezTo>
                  <a:cubicBezTo>
                    <a:pt x="573" y="235"/>
                    <a:pt x="560" y="238"/>
                    <a:pt x="547" y="240"/>
                  </a:cubicBezTo>
                  <a:cubicBezTo>
                    <a:pt x="503" y="291"/>
                    <a:pt x="503" y="291"/>
                    <a:pt x="503" y="291"/>
                  </a:cubicBezTo>
                  <a:cubicBezTo>
                    <a:pt x="484" y="302"/>
                    <a:pt x="471" y="304"/>
                    <a:pt x="463" y="299"/>
                  </a:cubicBezTo>
                  <a:cubicBezTo>
                    <a:pt x="456" y="294"/>
                    <a:pt x="435" y="292"/>
                    <a:pt x="427" y="287"/>
                  </a:cubicBezTo>
                  <a:cubicBezTo>
                    <a:pt x="419" y="282"/>
                    <a:pt x="403" y="271"/>
                    <a:pt x="400" y="258"/>
                  </a:cubicBezTo>
                  <a:cubicBezTo>
                    <a:pt x="386" y="193"/>
                    <a:pt x="386" y="193"/>
                    <a:pt x="386" y="193"/>
                  </a:cubicBezTo>
                  <a:cubicBezTo>
                    <a:pt x="384" y="180"/>
                    <a:pt x="368" y="170"/>
                    <a:pt x="368" y="170"/>
                  </a:cubicBezTo>
                  <a:cubicBezTo>
                    <a:pt x="308" y="176"/>
                    <a:pt x="308" y="176"/>
                    <a:pt x="308" y="176"/>
                  </a:cubicBezTo>
                  <a:cubicBezTo>
                    <a:pt x="308" y="176"/>
                    <a:pt x="289" y="187"/>
                    <a:pt x="292" y="200"/>
                  </a:cubicBezTo>
                  <a:cubicBezTo>
                    <a:pt x="285" y="263"/>
                    <a:pt x="285" y="263"/>
                    <a:pt x="285" y="263"/>
                  </a:cubicBezTo>
                  <a:cubicBezTo>
                    <a:pt x="291" y="289"/>
                    <a:pt x="277" y="292"/>
                    <a:pt x="272" y="300"/>
                  </a:cubicBezTo>
                  <a:cubicBezTo>
                    <a:pt x="272" y="300"/>
                    <a:pt x="272" y="300"/>
                    <a:pt x="267" y="308"/>
                  </a:cubicBezTo>
                  <a:cubicBezTo>
                    <a:pt x="259" y="302"/>
                    <a:pt x="246" y="305"/>
                    <a:pt x="241" y="313"/>
                  </a:cubicBezTo>
                  <a:cubicBezTo>
                    <a:pt x="236" y="321"/>
                    <a:pt x="236" y="321"/>
                    <a:pt x="236" y="321"/>
                  </a:cubicBezTo>
                  <a:cubicBezTo>
                    <a:pt x="223" y="324"/>
                    <a:pt x="210" y="327"/>
                    <a:pt x="194" y="317"/>
                  </a:cubicBezTo>
                  <a:cubicBezTo>
                    <a:pt x="139" y="281"/>
                    <a:pt x="139" y="281"/>
                    <a:pt x="139" y="281"/>
                  </a:cubicBezTo>
                  <a:cubicBezTo>
                    <a:pt x="131" y="276"/>
                    <a:pt x="110" y="273"/>
                    <a:pt x="104" y="281"/>
                  </a:cubicBezTo>
                  <a:cubicBezTo>
                    <a:pt x="79" y="321"/>
                    <a:pt x="79" y="321"/>
                    <a:pt x="79" y="321"/>
                  </a:cubicBezTo>
                  <a:cubicBezTo>
                    <a:pt x="66" y="324"/>
                    <a:pt x="68" y="337"/>
                    <a:pt x="79" y="355"/>
                  </a:cubicBezTo>
                  <a:cubicBezTo>
                    <a:pt x="121" y="394"/>
                    <a:pt x="121" y="394"/>
                    <a:pt x="121" y="394"/>
                  </a:cubicBezTo>
                  <a:cubicBezTo>
                    <a:pt x="140" y="417"/>
                    <a:pt x="135" y="425"/>
                    <a:pt x="132" y="446"/>
                  </a:cubicBezTo>
                  <a:cubicBezTo>
                    <a:pt x="132" y="446"/>
                    <a:pt x="132" y="446"/>
                    <a:pt x="132" y="446"/>
                  </a:cubicBezTo>
                  <a:cubicBezTo>
                    <a:pt x="127" y="454"/>
                    <a:pt x="122" y="462"/>
                    <a:pt x="117" y="470"/>
                  </a:cubicBezTo>
                  <a:cubicBezTo>
                    <a:pt x="117" y="470"/>
                    <a:pt x="117" y="470"/>
                    <a:pt x="117" y="470"/>
                  </a:cubicBezTo>
                  <a:cubicBezTo>
                    <a:pt x="120" y="483"/>
                    <a:pt x="109" y="499"/>
                    <a:pt x="83" y="505"/>
                  </a:cubicBezTo>
                  <a:cubicBezTo>
                    <a:pt x="23" y="511"/>
                    <a:pt x="23" y="511"/>
                    <a:pt x="23" y="511"/>
                  </a:cubicBezTo>
                  <a:cubicBezTo>
                    <a:pt x="10" y="514"/>
                    <a:pt x="0" y="529"/>
                    <a:pt x="2" y="543"/>
                  </a:cubicBezTo>
                  <a:cubicBezTo>
                    <a:pt x="5" y="590"/>
                    <a:pt x="5" y="590"/>
                    <a:pt x="5" y="590"/>
                  </a:cubicBezTo>
                  <a:cubicBezTo>
                    <a:pt x="8" y="603"/>
                    <a:pt x="16" y="608"/>
                    <a:pt x="37" y="610"/>
                  </a:cubicBezTo>
                  <a:cubicBezTo>
                    <a:pt x="92" y="612"/>
                    <a:pt x="92" y="612"/>
                    <a:pt x="92" y="612"/>
                  </a:cubicBezTo>
                  <a:cubicBezTo>
                    <a:pt x="113" y="614"/>
                    <a:pt x="129" y="625"/>
                    <a:pt x="132" y="638"/>
                  </a:cubicBezTo>
                  <a:cubicBezTo>
                    <a:pt x="132" y="638"/>
                    <a:pt x="132" y="638"/>
                    <a:pt x="132" y="638"/>
                  </a:cubicBezTo>
                  <a:cubicBezTo>
                    <a:pt x="140" y="643"/>
                    <a:pt x="142" y="656"/>
                    <a:pt x="150" y="661"/>
                  </a:cubicBezTo>
                  <a:cubicBezTo>
                    <a:pt x="145" y="669"/>
                    <a:pt x="145" y="669"/>
                    <a:pt x="145" y="669"/>
                  </a:cubicBezTo>
                  <a:cubicBezTo>
                    <a:pt x="153" y="674"/>
                    <a:pt x="156" y="687"/>
                    <a:pt x="140" y="711"/>
                  </a:cubicBezTo>
                  <a:cubicBezTo>
                    <a:pt x="109" y="759"/>
                    <a:pt x="109" y="759"/>
                    <a:pt x="109" y="759"/>
                  </a:cubicBezTo>
                  <a:cubicBezTo>
                    <a:pt x="99" y="775"/>
                    <a:pt x="102" y="788"/>
                    <a:pt x="110" y="793"/>
                  </a:cubicBezTo>
                  <a:cubicBezTo>
                    <a:pt x="152" y="832"/>
                    <a:pt x="152" y="832"/>
                    <a:pt x="152" y="832"/>
                  </a:cubicBezTo>
                  <a:cubicBezTo>
                    <a:pt x="160" y="837"/>
                    <a:pt x="173" y="834"/>
                    <a:pt x="178" y="826"/>
                  </a:cubicBezTo>
                  <a:cubicBezTo>
                    <a:pt x="230" y="781"/>
                    <a:pt x="230" y="781"/>
                    <a:pt x="230" y="781"/>
                  </a:cubicBezTo>
                  <a:cubicBezTo>
                    <a:pt x="248" y="770"/>
                    <a:pt x="261" y="767"/>
                    <a:pt x="269" y="772"/>
                  </a:cubicBezTo>
                  <a:cubicBezTo>
                    <a:pt x="269" y="772"/>
                    <a:pt x="269" y="772"/>
                    <a:pt x="269" y="772"/>
                  </a:cubicBezTo>
                  <a:cubicBezTo>
                    <a:pt x="282" y="769"/>
                    <a:pt x="298" y="779"/>
                    <a:pt x="306" y="785"/>
                  </a:cubicBezTo>
                  <a:cubicBezTo>
                    <a:pt x="306" y="785"/>
                    <a:pt x="306" y="785"/>
                    <a:pt x="306" y="785"/>
                  </a:cubicBezTo>
                  <a:cubicBezTo>
                    <a:pt x="319" y="782"/>
                    <a:pt x="327" y="787"/>
                    <a:pt x="332" y="813"/>
                  </a:cubicBezTo>
                  <a:cubicBezTo>
                    <a:pt x="346" y="878"/>
                    <a:pt x="346" y="878"/>
                    <a:pt x="346" y="878"/>
                  </a:cubicBezTo>
                  <a:cubicBezTo>
                    <a:pt x="349" y="892"/>
                    <a:pt x="357" y="897"/>
                    <a:pt x="370" y="894"/>
                  </a:cubicBezTo>
                  <a:cubicBezTo>
                    <a:pt x="425" y="896"/>
                    <a:pt x="425" y="896"/>
                    <a:pt x="425" y="896"/>
                  </a:cubicBezTo>
                  <a:cubicBezTo>
                    <a:pt x="430" y="888"/>
                    <a:pt x="443" y="885"/>
                    <a:pt x="440" y="872"/>
                  </a:cubicBezTo>
                  <a:cubicBezTo>
                    <a:pt x="440" y="804"/>
                    <a:pt x="440" y="804"/>
                    <a:pt x="440" y="804"/>
                  </a:cubicBezTo>
                  <a:cubicBezTo>
                    <a:pt x="442" y="783"/>
                    <a:pt x="460" y="772"/>
                    <a:pt x="466" y="764"/>
                  </a:cubicBezTo>
                  <a:cubicBezTo>
                    <a:pt x="466" y="764"/>
                    <a:pt x="466" y="764"/>
                    <a:pt x="466" y="764"/>
                  </a:cubicBezTo>
                  <a:cubicBezTo>
                    <a:pt x="479" y="761"/>
                    <a:pt x="492" y="758"/>
                    <a:pt x="497" y="750"/>
                  </a:cubicBezTo>
                  <a:cubicBezTo>
                    <a:pt x="497" y="750"/>
                    <a:pt x="497" y="750"/>
                    <a:pt x="497" y="750"/>
                  </a:cubicBezTo>
                  <a:cubicBezTo>
                    <a:pt x="510" y="747"/>
                    <a:pt x="523" y="745"/>
                    <a:pt x="539" y="755"/>
                  </a:cubicBezTo>
                  <a:cubicBezTo>
                    <a:pt x="594" y="791"/>
                    <a:pt x="594" y="791"/>
                    <a:pt x="594" y="791"/>
                  </a:cubicBezTo>
                  <a:cubicBezTo>
                    <a:pt x="602" y="796"/>
                    <a:pt x="623" y="798"/>
                    <a:pt x="628" y="790"/>
                  </a:cubicBezTo>
                  <a:cubicBezTo>
                    <a:pt x="659" y="743"/>
                    <a:pt x="659" y="743"/>
                    <a:pt x="659" y="743"/>
                  </a:cubicBezTo>
                  <a:cubicBezTo>
                    <a:pt x="659" y="743"/>
                    <a:pt x="669" y="727"/>
                    <a:pt x="654" y="716"/>
                  </a:cubicBezTo>
                  <a:close/>
                  <a:moveTo>
                    <a:pt x="281" y="633"/>
                  </a:moveTo>
                  <a:cubicBezTo>
                    <a:pt x="223" y="584"/>
                    <a:pt x="219" y="502"/>
                    <a:pt x="263" y="452"/>
                  </a:cubicBezTo>
                  <a:cubicBezTo>
                    <a:pt x="313" y="393"/>
                    <a:pt x="399" y="382"/>
                    <a:pt x="457" y="431"/>
                  </a:cubicBezTo>
                  <a:cubicBezTo>
                    <a:pt x="507" y="475"/>
                    <a:pt x="518" y="561"/>
                    <a:pt x="469" y="619"/>
                  </a:cubicBezTo>
                  <a:cubicBezTo>
                    <a:pt x="420" y="678"/>
                    <a:pt x="339" y="682"/>
                    <a:pt x="281" y="633"/>
                  </a:cubicBezTo>
                  <a:close/>
                  <a:moveTo>
                    <a:pt x="1019" y="398"/>
                  </a:moveTo>
                  <a:cubicBezTo>
                    <a:pt x="1004" y="362"/>
                    <a:pt x="1004" y="362"/>
                    <a:pt x="1004" y="362"/>
                  </a:cubicBezTo>
                  <a:cubicBezTo>
                    <a:pt x="992" y="348"/>
                    <a:pt x="1002" y="340"/>
                    <a:pt x="1002" y="332"/>
                  </a:cubicBezTo>
                  <a:cubicBezTo>
                    <a:pt x="1002" y="332"/>
                    <a:pt x="1002" y="332"/>
                    <a:pt x="1002" y="332"/>
                  </a:cubicBezTo>
                  <a:cubicBezTo>
                    <a:pt x="1007" y="328"/>
                    <a:pt x="1011" y="324"/>
                    <a:pt x="1012" y="315"/>
                  </a:cubicBezTo>
                  <a:cubicBezTo>
                    <a:pt x="1021" y="307"/>
                    <a:pt x="1026" y="303"/>
                    <a:pt x="1043" y="304"/>
                  </a:cubicBezTo>
                  <a:cubicBezTo>
                    <a:pt x="1086" y="307"/>
                    <a:pt x="1086" y="307"/>
                    <a:pt x="1086" y="307"/>
                  </a:cubicBezTo>
                  <a:cubicBezTo>
                    <a:pt x="1095" y="308"/>
                    <a:pt x="1099" y="304"/>
                    <a:pt x="1100" y="295"/>
                  </a:cubicBezTo>
                  <a:cubicBezTo>
                    <a:pt x="1107" y="266"/>
                    <a:pt x="1107" y="266"/>
                    <a:pt x="1107" y="266"/>
                  </a:cubicBezTo>
                  <a:cubicBezTo>
                    <a:pt x="1107" y="257"/>
                    <a:pt x="1103" y="252"/>
                    <a:pt x="1095" y="243"/>
                  </a:cubicBezTo>
                  <a:cubicBezTo>
                    <a:pt x="1057" y="236"/>
                    <a:pt x="1057" y="236"/>
                    <a:pt x="1057" y="236"/>
                  </a:cubicBezTo>
                  <a:cubicBezTo>
                    <a:pt x="1044" y="231"/>
                    <a:pt x="1036" y="222"/>
                    <a:pt x="1037" y="213"/>
                  </a:cubicBezTo>
                  <a:cubicBezTo>
                    <a:pt x="1038" y="205"/>
                    <a:pt x="1034" y="200"/>
                    <a:pt x="1030" y="187"/>
                  </a:cubicBezTo>
                  <a:cubicBezTo>
                    <a:pt x="1031" y="178"/>
                    <a:pt x="1032" y="170"/>
                    <a:pt x="1041" y="162"/>
                  </a:cubicBezTo>
                  <a:cubicBezTo>
                    <a:pt x="1077" y="138"/>
                    <a:pt x="1077" y="138"/>
                    <a:pt x="1077" y="138"/>
                  </a:cubicBezTo>
                  <a:cubicBezTo>
                    <a:pt x="1082" y="134"/>
                    <a:pt x="1083" y="126"/>
                    <a:pt x="1079" y="121"/>
                  </a:cubicBezTo>
                  <a:cubicBezTo>
                    <a:pt x="1059" y="89"/>
                    <a:pt x="1059" y="89"/>
                    <a:pt x="1059" y="89"/>
                  </a:cubicBezTo>
                  <a:cubicBezTo>
                    <a:pt x="1055" y="85"/>
                    <a:pt x="1047" y="84"/>
                    <a:pt x="1038" y="83"/>
                  </a:cubicBezTo>
                  <a:cubicBezTo>
                    <a:pt x="1002" y="107"/>
                    <a:pt x="1002" y="107"/>
                    <a:pt x="1002" y="107"/>
                  </a:cubicBezTo>
                  <a:cubicBezTo>
                    <a:pt x="989" y="110"/>
                    <a:pt x="980" y="110"/>
                    <a:pt x="976" y="105"/>
                  </a:cubicBezTo>
                  <a:cubicBezTo>
                    <a:pt x="972" y="100"/>
                    <a:pt x="960" y="95"/>
                    <a:pt x="956" y="91"/>
                  </a:cubicBezTo>
                  <a:cubicBezTo>
                    <a:pt x="952" y="86"/>
                    <a:pt x="944" y="77"/>
                    <a:pt x="944" y="68"/>
                  </a:cubicBezTo>
                  <a:cubicBezTo>
                    <a:pt x="948" y="25"/>
                    <a:pt x="948" y="25"/>
                    <a:pt x="948" y="25"/>
                  </a:cubicBezTo>
                  <a:cubicBezTo>
                    <a:pt x="948" y="17"/>
                    <a:pt x="940" y="7"/>
                    <a:pt x="940" y="7"/>
                  </a:cubicBezTo>
                  <a:cubicBezTo>
                    <a:pt x="902" y="0"/>
                    <a:pt x="902" y="0"/>
                    <a:pt x="902" y="0"/>
                  </a:cubicBezTo>
                  <a:cubicBezTo>
                    <a:pt x="902" y="0"/>
                    <a:pt x="889" y="4"/>
                    <a:pt x="888" y="12"/>
                  </a:cubicBezTo>
                  <a:cubicBezTo>
                    <a:pt x="872" y="50"/>
                    <a:pt x="872" y="50"/>
                    <a:pt x="872" y="50"/>
                  </a:cubicBezTo>
                  <a:cubicBezTo>
                    <a:pt x="871" y="67"/>
                    <a:pt x="862" y="67"/>
                    <a:pt x="858" y="71"/>
                  </a:cubicBezTo>
                  <a:cubicBezTo>
                    <a:pt x="858" y="71"/>
                    <a:pt x="858" y="71"/>
                    <a:pt x="853" y="75"/>
                  </a:cubicBezTo>
                  <a:cubicBezTo>
                    <a:pt x="849" y="70"/>
                    <a:pt x="840" y="70"/>
                    <a:pt x="836" y="74"/>
                  </a:cubicBezTo>
                  <a:cubicBezTo>
                    <a:pt x="831" y="78"/>
                    <a:pt x="831" y="78"/>
                    <a:pt x="831" y="78"/>
                  </a:cubicBezTo>
                  <a:cubicBezTo>
                    <a:pt x="822" y="77"/>
                    <a:pt x="814" y="76"/>
                    <a:pt x="806" y="67"/>
                  </a:cubicBezTo>
                  <a:cubicBezTo>
                    <a:pt x="778" y="35"/>
                    <a:pt x="778" y="35"/>
                    <a:pt x="778" y="35"/>
                  </a:cubicBezTo>
                  <a:cubicBezTo>
                    <a:pt x="774" y="30"/>
                    <a:pt x="762" y="25"/>
                    <a:pt x="757" y="29"/>
                  </a:cubicBezTo>
                  <a:cubicBezTo>
                    <a:pt x="734" y="49"/>
                    <a:pt x="734" y="49"/>
                    <a:pt x="734" y="49"/>
                  </a:cubicBezTo>
                  <a:cubicBezTo>
                    <a:pt x="725" y="49"/>
                    <a:pt x="725" y="57"/>
                    <a:pt x="728" y="70"/>
                  </a:cubicBezTo>
                  <a:cubicBezTo>
                    <a:pt x="747" y="102"/>
                    <a:pt x="747" y="102"/>
                    <a:pt x="747" y="102"/>
                  </a:cubicBezTo>
                  <a:cubicBezTo>
                    <a:pt x="754" y="120"/>
                    <a:pt x="750" y="124"/>
                    <a:pt x="744" y="136"/>
                  </a:cubicBezTo>
                  <a:cubicBezTo>
                    <a:pt x="744" y="136"/>
                    <a:pt x="744" y="136"/>
                    <a:pt x="744" y="136"/>
                  </a:cubicBezTo>
                  <a:cubicBezTo>
                    <a:pt x="740" y="140"/>
                    <a:pt x="735" y="144"/>
                    <a:pt x="731" y="148"/>
                  </a:cubicBezTo>
                  <a:cubicBezTo>
                    <a:pt x="731" y="148"/>
                    <a:pt x="731" y="148"/>
                    <a:pt x="731" y="148"/>
                  </a:cubicBezTo>
                  <a:cubicBezTo>
                    <a:pt x="730" y="157"/>
                    <a:pt x="721" y="165"/>
                    <a:pt x="703" y="164"/>
                  </a:cubicBezTo>
                  <a:cubicBezTo>
                    <a:pt x="665" y="157"/>
                    <a:pt x="665" y="157"/>
                    <a:pt x="665" y="157"/>
                  </a:cubicBezTo>
                  <a:cubicBezTo>
                    <a:pt x="656" y="156"/>
                    <a:pt x="647" y="164"/>
                    <a:pt x="647" y="173"/>
                  </a:cubicBezTo>
                  <a:cubicBezTo>
                    <a:pt x="640" y="203"/>
                    <a:pt x="640" y="203"/>
                    <a:pt x="640" y="203"/>
                  </a:cubicBezTo>
                  <a:cubicBezTo>
                    <a:pt x="639" y="211"/>
                    <a:pt x="643" y="216"/>
                    <a:pt x="656" y="221"/>
                  </a:cubicBezTo>
                  <a:cubicBezTo>
                    <a:pt x="690" y="232"/>
                    <a:pt x="690" y="232"/>
                    <a:pt x="690" y="232"/>
                  </a:cubicBezTo>
                  <a:cubicBezTo>
                    <a:pt x="702" y="237"/>
                    <a:pt x="710" y="246"/>
                    <a:pt x="710" y="255"/>
                  </a:cubicBezTo>
                  <a:cubicBezTo>
                    <a:pt x="710" y="255"/>
                    <a:pt x="710" y="255"/>
                    <a:pt x="710" y="255"/>
                  </a:cubicBezTo>
                  <a:cubicBezTo>
                    <a:pt x="714" y="260"/>
                    <a:pt x="713" y="268"/>
                    <a:pt x="717" y="273"/>
                  </a:cubicBezTo>
                  <a:cubicBezTo>
                    <a:pt x="712" y="277"/>
                    <a:pt x="712" y="277"/>
                    <a:pt x="712" y="277"/>
                  </a:cubicBezTo>
                  <a:cubicBezTo>
                    <a:pt x="716" y="281"/>
                    <a:pt x="716" y="290"/>
                    <a:pt x="702" y="302"/>
                  </a:cubicBezTo>
                  <a:cubicBezTo>
                    <a:pt x="674" y="326"/>
                    <a:pt x="674" y="326"/>
                    <a:pt x="674" y="326"/>
                  </a:cubicBezTo>
                  <a:cubicBezTo>
                    <a:pt x="665" y="334"/>
                    <a:pt x="664" y="343"/>
                    <a:pt x="668" y="347"/>
                  </a:cubicBezTo>
                  <a:cubicBezTo>
                    <a:pt x="687" y="379"/>
                    <a:pt x="687" y="379"/>
                    <a:pt x="687" y="379"/>
                  </a:cubicBezTo>
                  <a:cubicBezTo>
                    <a:pt x="691" y="383"/>
                    <a:pt x="700" y="384"/>
                    <a:pt x="704" y="380"/>
                  </a:cubicBezTo>
                  <a:cubicBezTo>
                    <a:pt x="745" y="361"/>
                    <a:pt x="745" y="361"/>
                    <a:pt x="745" y="361"/>
                  </a:cubicBezTo>
                  <a:cubicBezTo>
                    <a:pt x="758" y="358"/>
                    <a:pt x="767" y="358"/>
                    <a:pt x="771" y="363"/>
                  </a:cubicBezTo>
                  <a:cubicBezTo>
                    <a:pt x="771" y="363"/>
                    <a:pt x="771" y="363"/>
                    <a:pt x="771" y="363"/>
                  </a:cubicBezTo>
                  <a:cubicBezTo>
                    <a:pt x="779" y="364"/>
                    <a:pt x="787" y="373"/>
                    <a:pt x="791" y="377"/>
                  </a:cubicBezTo>
                  <a:cubicBezTo>
                    <a:pt x="791" y="377"/>
                    <a:pt x="791" y="377"/>
                    <a:pt x="791" y="377"/>
                  </a:cubicBezTo>
                  <a:cubicBezTo>
                    <a:pt x="800" y="378"/>
                    <a:pt x="804" y="383"/>
                    <a:pt x="802" y="400"/>
                  </a:cubicBezTo>
                  <a:cubicBezTo>
                    <a:pt x="799" y="443"/>
                    <a:pt x="799" y="443"/>
                    <a:pt x="799" y="443"/>
                  </a:cubicBezTo>
                  <a:cubicBezTo>
                    <a:pt x="798" y="451"/>
                    <a:pt x="802" y="456"/>
                    <a:pt x="811" y="457"/>
                  </a:cubicBezTo>
                  <a:cubicBezTo>
                    <a:pt x="845" y="468"/>
                    <a:pt x="845" y="468"/>
                    <a:pt x="845" y="468"/>
                  </a:cubicBezTo>
                  <a:cubicBezTo>
                    <a:pt x="849" y="464"/>
                    <a:pt x="858" y="464"/>
                    <a:pt x="859" y="456"/>
                  </a:cubicBezTo>
                  <a:cubicBezTo>
                    <a:pt x="871" y="413"/>
                    <a:pt x="871" y="413"/>
                    <a:pt x="871" y="413"/>
                  </a:cubicBezTo>
                  <a:cubicBezTo>
                    <a:pt x="876" y="401"/>
                    <a:pt x="889" y="397"/>
                    <a:pt x="894" y="393"/>
                  </a:cubicBezTo>
                  <a:cubicBezTo>
                    <a:pt x="894" y="393"/>
                    <a:pt x="894" y="393"/>
                    <a:pt x="894" y="393"/>
                  </a:cubicBezTo>
                  <a:cubicBezTo>
                    <a:pt x="902" y="394"/>
                    <a:pt x="911" y="395"/>
                    <a:pt x="916" y="391"/>
                  </a:cubicBezTo>
                  <a:cubicBezTo>
                    <a:pt x="916" y="391"/>
                    <a:pt x="916" y="391"/>
                    <a:pt x="916" y="391"/>
                  </a:cubicBezTo>
                  <a:cubicBezTo>
                    <a:pt x="924" y="391"/>
                    <a:pt x="933" y="392"/>
                    <a:pt x="941" y="401"/>
                  </a:cubicBezTo>
                  <a:cubicBezTo>
                    <a:pt x="969" y="433"/>
                    <a:pt x="969" y="433"/>
                    <a:pt x="969" y="433"/>
                  </a:cubicBezTo>
                  <a:cubicBezTo>
                    <a:pt x="973" y="438"/>
                    <a:pt x="985" y="443"/>
                    <a:pt x="990" y="439"/>
                  </a:cubicBezTo>
                  <a:cubicBezTo>
                    <a:pt x="1018" y="415"/>
                    <a:pt x="1018" y="415"/>
                    <a:pt x="1018" y="415"/>
                  </a:cubicBezTo>
                  <a:cubicBezTo>
                    <a:pt x="1018" y="415"/>
                    <a:pt x="1027" y="407"/>
                    <a:pt x="1019" y="398"/>
                  </a:cubicBezTo>
                  <a:close/>
                  <a:moveTo>
                    <a:pt x="803" y="279"/>
                  </a:moveTo>
                  <a:cubicBezTo>
                    <a:pt x="776" y="238"/>
                    <a:pt x="788" y="187"/>
                    <a:pt x="825" y="164"/>
                  </a:cubicBezTo>
                  <a:cubicBezTo>
                    <a:pt x="866" y="136"/>
                    <a:pt x="921" y="144"/>
                    <a:pt x="948" y="185"/>
                  </a:cubicBezTo>
                  <a:cubicBezTo>
                    <a:pt x="972" y="221"/>
                    <a:pt x="963" y="277"/>
                    <a:pt x="922" y="304"/>
                  </a:cubicBezTo>
                  <a:cubicBezTo>
                    <a:pt x="881" y="332"/>
                    <a:pt x="830" y="320"/>
                    <a:pt x="803" y="279"/>
                  </a:cubicBezTo>
                  <a:close/>
                </a:path>
              </a:pathLst>
            </a:custGeom>
            <a:solidFill>
              <a:schemeClr val="tx1"/>
            </a:solidFill>
            <a:ln>
              <a:noFill/>
            </a:ln>
          </p:spPr>
          <p:txBody>
            <a:bodyPr vert="horz" wrap="square" lIns="68574" tIns="34287" rIns="68574" bIns="34287"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17346"/>
                </a:solidFill>
                <a:effectLst/>
                <a:uLnTx/>
                <a:uFillTx/>
                <a:latin typeface="Segoe UI"/>
                <a:ea typeface="+mn-ea"/>
                <a:cs typeface="+mn-cs"/>
              </a:endParaRPr>
            </a:p>
          </p:txBody>
        </p:sp>
        <p:sp>
          <p:nvSpPr>
            <p:cNvPr id="88" name="Freeform 87"/>
            <p:cNvSpPr>
              <a:spLocks noChangeAspect="1"/>
            </p:cNvSpPr>
            <p:nvPr/>
          </p:nvSpPr>
          <p:spPr bwMode="black">
            <a:xfrm>
              <a:off x="776985" y="4213905"/>
              <a:ext cx="342871" cy="335728"/>
            </a:xfrm>
            <a:custGeom>
              <a:avLst/>
              <a:gdLst>
                <a:gd name="connsiteX0" fmla="*/ 3713863 w 4893730"/>
                <a:gd name="connsiteY0" fmla="*/ 2130808 h 4791777"/>
                <a:gd name="connsiteX1" fmla="*/ 4426142 w 4893730"/>
                <a:gd name="connsiteY1" fmla="*/ 2130808 h 4791777"/>
                <a:gd name="connsiteX2" fmla="*/ 4598071 w 4893730"/>
                <a:gd name="connsiteY2" fmla="*/ 2301547 h 4791777"/>
                <a:gd name="connsiteX3" fmla="*/ 4598071 w 4893730"/>
                <a:gd name="connsiteY3" fmla="*/ 3886978 h 4791777"/>
                <a:gd name="connsiteX4" fmla="*/ 4426142 w 4893730"/>
                <a:gd name="connsiteY4" fmla="*/ 4057717 h 4791777"/>
                <a:gd name="connsiteX5" fmla="*/ 3713863 w 4893730"/>
                <a:gd name="connsiteY5" fmla="*/ 4057717 h 4791777"/>
                <a:gd name="connsiteX6" fmla="*/ 3517372 w 4893730"/>
                <a:gd name="connsiteY6" fmla="*/ 3886978 h 4791777"/>
                <a:gd name="connsiteX7" fmla="*/ 3517372 w 4893730"/>
                <a:gd name="connsiteY7" fmla="*/ 2301547 h 4791777"/>
                <a:gd name="connsiteX8" fmla="*/ 3713863 w 4893730"/>
                <a:gd name="connsiteY8" fmla="*/ 2130808 h 4791777"/>
                <a:gd name="connsiteX9" fmla="*/ 904368 w 4893730"/>
                <a:gd name="connsiteY9" fmla="*/ 1223432 h 4791777"/>
                <a:gd name="connsiteX10" fmla="*/ 1609930 w 4893730"/>
                <a:gd name="connsiteY10" fmla="*/ 1223432 h 4791777"/>
                <a:gd name="connsiteX11" fmla="*/ 1804567 w 4893730"/>
                <a:gd name="connsiteY11" fmla="*/ 1394467 h 4791777"/>
                <a:gd name="connsiteX12" fmla="*/ 1804567 w 4893730"/>
                <a:gd name="connsiteY12" fmla="*/ 3886683 h 4791777"/>
                <a:gd name="connsiteX13" fmla="*/ 1609930 w 4893730"/>
                <a:gd name="connsiteY13" fmla="*/ 4057717 h 4791777"/>
                <a:gd name="connsiteX14" fmla="*/ 904368 w 4893730"/>
                <a:gd name="connsiteY14" fmla="*/ 4057717 h 4791777"/>
                <a:gd name="connsiteX15" fmla="*/ 734060 w 4893730"/>
                <a:gd name="connsiteY15" fmla="*/ 3886683 h 4791777"/>
                <a:gd name="connsiteX16" fmla="*/ 734060 w 4893730"/>
                <a:gd name="connsiteY16" fmla="*/ 1394467 h 4791777"/>
                <a:gd name="connsiteX17" fmla="*/ 904368 w 4893730"/>
                <a:gd name="connsiteY17" fmla="*/ 1223432 h 4791777"/>
                <a:gd name="connsiteX18" fmla="*/ 2325453 w 4893730"/>
                <a:gd name="connsiteY18" fmla="*/ 316050 h 4791777"/>
                <a:gd name="connsiteX19" fmla="*/ 3031014 w 4893730"/>
                <a:gd name="connsiteY19" fmla="*/ 316050 h 4791777"/>
                <a:gd name="connsiteX20" fmla="*/ 3201322 w 4893730"/>
                <a:gd name="connsiteY20" fmla="*/ 487238 h 4791777"/>
                <a:gd name="connsiteX21" fmla="*/ 3201322 w 4893730"/>
                <a:gd name="connsiteY21" fmla="*/ 3886530 h 4791777"/>
                <a:gd name="connsiteX22" fmla="*/ 3031014 w 4893730"/>
                <a:gd name="connsiteY22" fmla="*/ 4057717 h 4791777"/>
                <a:gd name="connsiteX23" fmla="*/ 2325453 w 4893730"/>
                <a:gd name="connsiteY23" fmla="*/ 4057717 h 4791777"/>
                <a:gd name="connsiteX24" fmla="*/ 2130815 w 4893730"/>
                <a:gd name="connsiteY24" fmla="*/ 3886530 h 4791777"/>
                <a:gd name="connsiteX25" fmla="*/ 2130815 w 4893730"/>
                <a:gd name="connsiteY25" fmla="*/ 487238 h 4791777"/>
                <a:gd name="connsiteX26" fmla="*/ 2325453 w 4893730"/>
                <a:gd name="connsiteY26" fmla="*/ 316050 h 4791777"/>
                <a:gd name="connsiteX27" fmla="*/ 269155 w 4893730"/>
                <a:gd name="connsiteY27" fmla="*/ 0 h 4791777"/>
                <a:gd name="connsiteX28" fmla="*/ 538311 w 4893730"/>
                <a:gd name="connsiteY28" fmla="*/ 268927 h 4791777"/>
                <a:gd name="connsiteX29" fmla="*/ 538311 w 4893730"/>
                <a:gd name="connsiteY29" fmla="*/ 4253925 h 4791777"/>
                <a:gd name="connsiteX30" fmla="*/ 4624575 w 4893730"/>
                <a:gd name="connsiteY30" fmla="*/ 4253925 h 4791777"/>
                <a:gd name="connsiteX31" fmla="*/ 4893730 w 4893730"/>
                <a:gd name="connsiteY31" fmla="*/ 4522851 h 4791777"/>
                <a:gd name="connsiteX32" fmla="*/ 4624575 w 4893730"/>
                <a:gd name="connsiteY32" fmla="*/ 4791777 h 4791777"/>
                <a:gd name="connsiteX33" fmla="*/ 269155 w 4893730"/>
                <a:gd name="connsiteY33" fmla="*/ 4791777 h 4791777"/>
                <a:gd name="connsiteX34" fmla="*/ 0 w 4893730"/>
                <a:gd name="connsiteY34" fmla="*/ 4522851 h 4791777"/>
                <a:gd name="connsiteX35" fmla="*/ 0 w 4893730"/>
                <a:gd name="connsiteY35" fmla="*/ 268927 h 4791777"/>
                <a:gd name="connsiteX36" fmla="*/ 269155 w 4893730"/>
                <a:gd name="connsiteY36" fmla="*/ 0 h 4791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4893730" h="4791777">
                  <a:moveTo>
                    <a:pt x="3713863" y="2130808"/>
                  </a:moveTo>
                  <a:cubicBezTo>
                    <a:pt x="3713863" y="2130808"/>
                    <a:pt x="3713863" y="2130808"/>
                    <a:pt x="4426142" y="2130808"/>
                  </a:cubicBezTo>
                  <a:cubicBezTo>
                    <a:pt x="4524387" y="2130808"/>
                    <a:pt x="4598071" y="2203982"/>
                    <a:pt x="4598071" y="2301547"/>
                  </a:cubicBezTo>
                  <a:cubicBezTo>
                    <a:pt x="4598071" y="2301547"/>
                    <a:pt x="4598071" y="2301547"/>
                    <a:pt x="4598071" y="3886978"/>
                  </a:cubicBezTo>
                  <a:cubicBezTo>
                    <a:pt x="4598071" y="3984543"/>
                    <a:pt x="4524387" y="4057717"/>
                    <a:pt x="4426142" y="4057717"/>
                  </a:cubicBezTo>
                  <a:cubicBezTo>
                    <a:pt x="4426142" y="4057717"/>
                    <a:pt x="4426142" y="4057717"/>
                    <a:pt x="3713863" y="4057717"/>
                  </a:cubicBezTo>
                  <a:cubicBezTo>
                    <a:pt x="3615618" y="4057717"/>
                    <a:pt x="3517372" y="3984543"/>
                    <a:pt x="3517372" y="3886978"/>
                  </a:cubicBezTo>
                  <a:cubicBezTo>
                    <a:pt x="3517372" y="3886978"/>
                    <a:pt x="3517372" y="3886978"/>
                    <a:pt x="3517372" y="2301547"/>
                  </a:cubicBezTo>
                  <a:cubicBezTo>
                    <a:pt x="3517372" y="2203982"/>
                    <a:pt x="3615618" y="2130808"/>
                    <a:pt x="3713863" y="2130808"/>
                  </a:cubicBezTo>
                  <a:close/>
                  <a:moveTo>
                    <a:pt x="904368" y="1223432"/>
                  </a:moveTo>
                  <a:cubicBezTo>
                    <a:pt x="904368" y="1223432"/>
                    <a:pt x="904368" y="1223432"/>
                    <a:pt x="1609930" y="1223432"/>
                  </a:cubicBezTo>
                  <a:cubicBezTo>
                    <a:pt x="1731578" y="1223432"/>
                    <a:pt x="1804567" y="1296733"/>
                    <a:pt x="1804567" y="1394467"/>
                  </a:cubicBezTo>
                  <a:cubicBezTo>
                    <a:pt x="1804567" y="1394467"/>
                    <a:pt x="1804567" y="1394467"/>
                    <a:pt x="1804567" y="3886683"/>
                  </a:cubicBezTo>
                  <a:cubicBezTo>
                    <a:pt x="1804567" y="3984417"/>
                    <a:pt x="1731578" y="4057717"/>
                    <a:pt x="1609930" y="4057717"/>
                  </a:cubicBezTo>
                  <a:cubicBezTo>
                    <a:pt x="1609930" y="4057717"/>
                    <a:pt x="1609930" y="4057717"/>
                    <a:pt x="904368" y="4057717"/>
                  </a:cubicBezTo>
                  <a:cubicBezTo>
                    <a:pt x="807049" y="4057717"/>
                    <a:pt x="734060" y="3984417"/>
                    <a:pt x="734060" y="3886683"/>
                  </a:cubicBezTo>
                  <a:cubicBezTo>
                    <a:pt x="734060" y="3886683"/>
                    <a:pt x="734060" y="3886683"/>
                    <a:pt x="734060" y="1394467"/>
                  </a:cubicBezTo>
                  <a:cubicBezTo>
                    <a:pt x="734060" y="1296733"/>
                    <a:pt x="807049" y="1223432"/>
                    <a:pt x="904368" y="1223432"/>
                  </a:cubicBezTo>
                  <a:close/>
                  <a:moveTo>
                    <a:pt x="2325453" y="316050"/>
                  </a:moveTo>
                  <a:cubicBezTo>
                    <a:pt x="2325453" y="316050"/>
                    <a:pt x="2325453" y="316050"/>
                    <a:pt x="3031014" y="316050"/>
                  </a:cubicBezTo>
                  <a:cubicBezTo>
                    <a:pt x="3128333" y="316050"/>
                    <a:pt x="3201322" y="389416"/>
                    <a:pt x="3201322" y="487238"/>
                  </a:cubicBezTo>
                  <a:cubicBezTo>
                    <a:pt x="3201322" y="487238"/>
                    <a:pt x="3201322" y="487238"/>
                    <a:pt x="3201322" y="3886530"/>
                  </a:cubicBezTo>
                  <a:cubicBezTo>
                    <a:pt x="3201322" y="3984351"/>
                    <a:pt x="3128333" y="4057717"/>
                    <a:pt x="3031014" y="4057717"/>
                  </a:cubicBezTo>
                  <a:cubicBezTo>
                    <a:pt x="3031014" y="4057717"/>
                    <a:pt x="3031014" y="4057717"/>
                    <a:pt x="2325453" y="4057717"/>
                  </a:cubicBezTo>
                  <a:cubicBezTo>
                    <a:pt x="2203804" y="4057717"/>
                    <a:pt x="2130815" y="3984351"/>
                    <a:pt x="2130815" y="3886530"/>
                  </a:cubicBezTo>
                  <a:cubicBezTo>
                    <a:pt x="2130815" y="3886530"/>
                    <a:pt x="2130815" y="3886530"/>
                    <a:pt x="2130815" y="487238"/>
                  </a:cubicBezTo>
                  <a:cubicBezTo>
                    <a:pt x="2130815" y="389416"/>
                    <a:pt x="2203804" y="316050"/>
                    <a:pt x="2325453" y="316050"/>
                  </a:cubicBezTo>
                  <a:close/>
                  <a:moveTo>
                    <a:pt x="269155" y="0"/>
                  </a:moveTo>
                  <a:cubicBezTo>
                    <a:pt x="415967" y="0"/>
                    <a:pt x="538311" y="122239"/>
                    <a:pt x="538311" y="268927"/>
                  </a:cubicBezTo>
                  <a:cubicBezTo>
                    <a:pt x="538311" y="268927"/>
                    <a:pt x="538311" y="268927"/>
                    <a:pt x="538311" y="4253925"/>
                  </a:cubicBezTo>
                  <a:cubicBezTo>
                    <a:pt x="538311" y="4253925"/>
                    <a:pt x="538311" y="4253925"/>
                    <a:pt x="4624575" y="4253925"/>
                  </a:cubicBezTo>
                  <a:cubicBezTo>
                    <a:pt x="4771387" y="4253925"/>
                    <a:pt x="4893730" y="4376164"/>
                    <a:pt x="4893730" y="4522851"/>
                  </a:cubicBezTo>
                  <a:cubicBezTo>
                    <a:pt x="4893730" y="4669538"/>
                    <a:pt x="4771387" y="4791777"/>
                    <a:pt x="4624575" y="4791777"/>
                  </a:cubicBezTo>
                  <a:cubicBezTo>
                    <a:pt x="4624575" y="4791777"/>
                    <a:pt x="4624575" y="4791777"/>
                    <a:pt x="269155" y="4791777"/>
                  </a:cubicBezTo>
                  <a:cubicBezTo>
                    <a:pt x="122344" y="4791777"/>
                    <a:pt x="0" y="4669538"/>
                    <a:pt x="0" y="4522851"/>
                  </a:cubicBezTo>
                  <a:cubicBezTo>
                    <a:pt x="0" y="4522851"/>
                    <a:pt x="0" y="4522851"/>
                    <a:pt x="0" y="268927"/>
                  </a:cubicBezTo>
                  <a:cubicBezTo>
                    <a:pt x="0" y="122239"/>
                    <a:pt x="122344" y="0"/>
                    <a:pt x="269155"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37148" tIns="109719" rIns="137148" bIns="109719"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699261"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9" name="Rectangle 88"/>
            <p:cNvSpPr/>
            <p:nvPr/>
          </p:nvSpPr>
          <p:spPr bwMode="auto">
            <a:xfrm rot="2745734">
              <a:off x="279530" y="1141266"/>
              <a:ext cx="1260714" cy="1255193"/>
            </a:xfrm>
            <a:prstGeom prst="rect">
              <a:avLst/>
            </a:prstGeom>
            <a:solidFill>
              <a:schemeClr val="tx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0" name="Rectangle 89"/>
            <p:cNvSpPr/>
            <p:nvPr/>
          </p:nvSpPr>
          <p:spPr bwMode="auto">
            <a:xfrm rot="2745734">
              <a:off x="292433" y="3819160"/>
              <a:ext cx="1610349" cy="1235003"/>
            </a:xfrm>
            <a:prstGeom prst="rect">
              <a:avLst/>
            </a:prstGeom>
            <a:solidFill>
              <a:schemeClr val="tx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2" name="Rectangle 91"/>
            <p:cNvSpPr/>
            <p:nvPr/>
          </p:nvSpPr>
          <p:spPr bwMode="auto">
            <a:xfrm rot="2745734">
              <a:off x="1315610" y="4915701"/>
              <a:ext cx="1263370" cy="1255989"/>
            </a:xfrm>
            <a:prstGeom prst="rect">
              <a:avLst/>
            </a:prstGeom>
            <a:solidFill>
              <a:schemeClr val="tx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40" name="TextBox 39"/>
          <p:cNvSpPr txBox="1"/>
          <p:nvPr/>
        </p:nvSpPr>
        <p:spPr>
          <a:xfrm>
            <a:off x="3" y="51415"/>
            <a:ext cx="2849058" cy="430887"/>
          </a:xfrm>
          <a:prstGeom prst="rect">
            <a:avLst/>
          </a:prstGeom>
        </p:spPr>
        <p:txBody>
          <a:bodyPr wrap="square">
            <a:spAutoFit/>
          </a:bodyPr>
          <a:lstStyle>
            <a:defPPr>
              <a:defRPr lang="en-US"/>
            </a:defPPr>
            <a:lvl1pPr defTabSz="914192">
              <a:defRPr sz="2800" b="1" spc="-100">
                <a:ln w="3175">
                  <a:noFill/>
                </a:ln>
                <a:solidFill>
                  <a:srgbClr val="F2C812"/>
                </a:solidFill>
                <a:latin typeface="Segoe UI" panose="020B0502040204020203" pitchFamily="34" charset="0"/>
                <a:ea typeface="ＭＳ Ｐゴシック" charset="0"/>
                <a:cs typeface="Segoe UI" panose="020B0502040204020203" pitchFamily="34" charset="0"/>
              </a:defRPr>
            </a:lvl1pPr>
          </a:lstStyle>
          <a:p>
            <a:pPr marL="0" marR="0" lvl="0" indent="0" algn="l" defTabSz="914192" rtl="0" eaLnBrk="1" fontAlgn="auto" latinLnBrk="0" hangingPunct="1">
              <a:lnSpc>
                <a:spcPct val="100000"/>
              </a:lnSpc>
              <a:spcBef>
                <a:spcPts val="0"/>
              </a:spcBef>
              <a:spcAft>
                <a:spcPts val="0"/>
              </a:spcAft>
              <a:buClrTx/>
              <a:buSzTx/>
              <a:buFontTx/>
              <a:buNone/>
              <a:tabLst/>
              <a:defRPr/>
            </a:pPr>
            <a:r>
              <a:rPr kumimoji="0" lang="en-US" sz="2200" b="1" i="0" u="none" strike="noStrike" kern="1200" cap="none" spc="-100" normalizeH="0" baseline="0" noProof="0">
                <a:ln w="3175">
                  <a:noFill/>
                </a:ln>
                <a:solidFill>
                  <a:srgbClr val="F2C812"/>
                </a:solidFill>
                <a:effectLst/>
                <a:uLnTx/>
                <a:uFillTx/>
                <a:latin typeface="Segoe UI Light"/>
                <a:ea typeface="ＭＳ Ｐゴシック" charset="0"/>
                <a:cs typeface="Segoe UI" panose="020B0502040204020203" pitchFamily="34" charset="0"/>
              </a:rPr>
              <a:t>Power BI Desktop</a:t>
            </a:r>
          </a:p>
        </p:txBody>
      </p:sp>
      <p:sp>
        <p:nvSpPr>
          <p:cNvPr id="41" name="Rectangle 40"/>
          <p:cNvSpPr/>
          <p:nvPr/>
        </p:nvSpPr>
        <p:spPr bwMode="auto">
          <a:xfrm rot="2745734">
            <a:off x="825067" y="3494250"/>
            <a:ext cx="1260714" cy="370170"/>
          </a:xfrm>
          <a:prstGeom prst="rect">
            <a:avLst/>
          </a:prstGeom>
          <a:solidFill>
            <a:schemeClr val="tx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4" name="Picture 3"/>
          <p:cNvPicPr>
            <a:picLocks noChangeAspect="1"/>
          </p:cNvPicPr>
          <p:nvPr/>
        </p:nvPicPr>
        <p:blipFill>
          <a:blip r:embed="rId3"/>
          <a:stretch>
            <a:fillRect/>
          </a:stretch>
        </p:blipFill>
        <p:spPr>
          <a:xfrm>
            <a:off x="4242097" y="1747056"/>
            <a:ext cx="6677025" cy="4038600"/>
          </a:xfrm>
          <a:prstGeom prst="rect">
            <a:avLst/>
          </a:prstGeom>
          <a:ln>
            <a:noFill/>
          </a:ln>
          <a:effectLst>
            <a:outerShdw blurRad="190500" algn="tl" rotWithShape="0">
              <a:srgbClr val="000000">
                <a:alpha val="70000"/>
              </a:srgbClr>
            </a:outerShdw>
          </a:effectLst>
        </p:spPr>
      </p:pic>
      <p:pic>
        <p:nvPicPr>
          <p:cNvPr id="3" name="Picture 2"/>
          <p:cNvPicPr>
            <a:picLocks noChangeAspect="1"/>
          </p:cNvPicPr>
          <p:nvPr/>
        </p:nvPicPr>
        <p:blipFill>
          <a:blip r:embed="rId4">
            <a:extLst>
              <a:ext uri="{BEBA8EAE-BF5A-486C-A8C5-ECC9F3942E4B}">
                <a14:imgProps xmlns:a14="http://schemas.microsoft.com/office/drawing/2010/main">
                  <a14:imgLayer r:embed="rId5">
                    <a14:imgEffect>
                      <a14:saturation sat="0"/>
                    </a14:imgEffect>
                  </a14:imgLayer>
                </a14:imgProps>
              </a:ext>
            </a:extLst>
          </a:blip>
          <a:stretch>
            <a:fillRect/>
          </a:stretch>
        </p:blipFill>
        <p:spPr>
          <a:xfrm>
            <a:off x="9305925" y="4799071"/>
            <a:ext cx="2724150" cy="1933575"/>
          </a:xfrm>
          <a:prstGeom prst="rect">
            <a:avLst/>
          </a:prstGeom>
        </p:spPr>
      </p:pic>
    </p:spTree>
    <p:extLst>
      <p:ext uri="{BB962C8B-B14F-4D97-AF65-F5344CB8AC3E}">
        <p14:creationId xmlns:p14="http://schemas.microsoft.com/office/powerpoint/2010/main" val="28811700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solidFill>
            <a:schemeClr val="bg1"/>
          </a:solidFill>
        </p:spPr>
        <p:txBody>
          <a:bodyPr/>
          <a:lstStyle/>
          <a:p>
            <a:r>
              <a:rPr lang="pt-PT" dirty="0" err="1">
                <a:solidFill>
                  <a:schemeClr val="tx1"/>
                </a:solidFill>
              </a:rPr>
              <a:t>Visualisations</a:t>
            </a:r>
            <a:r>
              <a:rPr lang="pt-PT" dirty="0">
                <a:solidFill>
                  <a:schemeClr val="tx1"/>
                </a:solidFill>
              </a:rPr>
              <a:t> – </a:t>
            </a:r>
            <a:r>
              <a:rPr lang="pt-PT" dirty="0" err="1">
                <a:solidFill>
                  <a:schemeClr val="tx1"/>
                </a:solidFill>
              </a:rPr>
              <a:t>Scatter</a:t>
            </a:r>
            <a:r>
              <a:rPr lang="pt-PT" dirty="0">
                <a:solidFill>
                  <a:schemeClr val="tx1"/>
                </a:solidFill>
              </a:rPr>
              <a:t> </a:t>
            </a:r>
            <a:r>
              <a:rPr lang="pt-PT" dirty="0" err="1">
                <a:solidFill>
                  <a:schemeClr val="tx1"/>
                </a:solidFill>
              </a:rPr>
              <a:t>Chart</a:t>
            </a:r>
            <a:endParaRPr lang="en-US" sz="3600" dirty="0" err="1">
              <a:solidFill>
                <a:schemeClr val="tx1"/>
              </a:solidFill>
            </a:endParaRPr>
          </a:p>
        </p:txBody>
      </p:sp>
      <p:grpSp>
        <p:nvGrpSpPr>
          <p:cNvPr id="52" name="Group 51"/>
          <p:cNvGrpSpPr/>
          <p:nvPr/>
        </p:nvGrpSpPr>
        <p:grpSpPr>
          <a:xfrm>
            <a:off x="2" y="1"/>
            <a:ext cx="2849058" cy="6858000"/>
            <a:chOff x="2" y="1"/>
            <a:chExt cx="2849058" cy="6858000"/>
          </a:xfrm>
        </p:grpSpPr>
        <p:sp>
          <p:nvSpPr>
            <p:cNvPr id="71" name="Rectangle 70"/>
            <p:cNvSpPr/>
            <p:nvPr/>
          </p:nvSpPr>
          <p:spPr bwMode="auto">
            <a:xfrm>
              <a:off x="2" y="1"/>
              <a:ext cx="2849058"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3" name="Oval 70"/>
            <p:cNvSpPr/>
            <p:nvPr/>
          </p:nvSpPr>
          <p:spPr>
            <a:xfrm>
              <a:off x="1413521" y="4951537"/>
              <a:ext cx="1119626" cy="1119626"/>
            </a:xfrm>
            <a:prstGeom prst="ellipse">
              <a:avLst/>
            </a:prstGeom>
            <a:solidFill>
              <a:srgbClr val="F2C812"/>
            </a:solidFill>
            <a:ln w="3175" cap="flat" cmpd="sng" algn="ctr">
              <a:noFill/>
              <a:prstDash val="solid"/>
            </a:ln>
            <a:effectLst/>
          </p:spPr>
          <p:txBody>
            <a:bodyPr vert="horz" wrap="none" lIns="0" tIns="45720" rIns="0" bIns="0" rtlCol="0" anchor="t"/>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Segoe UI"/>
                  <a:ea typeface="Segoe UI" pitchFamily="34" charset="0"/>
                  <a:cs typeface="Segoe UI" pitchFamily="34" charset="0"/>
                </a:rPr>
                <a:t>Share &amp;</a:t>
              </a:r>
            </a:p>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Segoe UI"/>
                  <a:ea typeface="Segoe UI" pitchFamily="34" charset="0"/>
                  <a:cs typeface="Segoe UI" pitchFamily="34" charset="0"/>
                </a:rPr>
                <a:t>collaborate </a:t>
              </a:r>
            </a:p>
          </p:txBody>
        </p:sp>
        <p:grpSp>
          <p:nvGrpSpPr>
            <p:cNvPr id="76" name="Group 38"/>
            <p:cNvGrpSpPr>
              <a:grpSpLocks noChangeAspect="1"/>
            </p:cNvGrpSpPr>
            <p:nvPr/>
          </p:nvGrpSpPr>
          <p:grpSpPr>
            <a:xfrm>
              <a:off x="676996" y="3930692"/>
              <a:ext cx="383905" cy="351536"/>
              <a:chOff x="4363684" y="5330386"/>
              <a:chExt cx="1409956" cy="1291077"/>
            </a:xfrm>
            <a:solidFill>
              <a:srgbClr val="217346"/>
            </a:solidFill>
          </p:grpSpPr>
          <p:sp>
            <p:nvSpPr>
              <p:cNvPr id="102" name="Donut 3"/>
              <p:cNvSpPr/>
              <p:nvPr/>
            </p:nvSpPr>
            <p:spPr bwMode="auto">
              <a:xfrm>
                <a:off x="4363684" y="5330386"/>
                <a:ext cx="1409956" cy="1291077"/>
              </a:xfrm>
              <a:custGeom>
                <a:avLst/>
                <a:gdLst/>
                <a:ahLst/>
                <a:cxnLst/>
                <a:rect l="l" t="t" r="r" b="b"/>
                <a:pathLst>
                  <a:path w="1409956" h="1291077">
                    <a:moveTo>
                      <a:pt x="956401" y="78410"/>
                    </a:moveTo>
                    <a:cubicBezTo>
                      <a:pt x="747518" y="78410"/>
                      <a:pt x="578184" y="247744"/>
                      <a:pt x="578184" y="456627"/>
                    </a:cubicBezTo>
                    <a:cubicBezTo>
                      <a:pt x="578184" y="665510"/>
                      <a:pt x="747518" y="834844"/>
                      <a:pt x="956401" y="834844"/>
                    </a:cubicBezTo>
                    <a:cubicBezTo>
                      <a:pt x="1165284" y="834844"/>
                      <a:pt x="1334618" y="665510"/>
                      <a:pt x="1334618" y="456627"/>
                    </a:cubicBezTo>
                    <a:cubicBezTo>
                      <a:pt x="1334618" y="247744"/>
                      <a:pt x="1165284" y="78410"/>
                      <a:pt x="956401" y="78410"/>
                    </a:cubicBezTo>
                    <a:close/>
                    <a:moveTo>
                      <a:pt x="952756" y="0"/>
                    </a:moveTo>
                    <a:cubicBezTo>
                      <a:pt x="1205261" y="0"/>
                      <a:pt x="1409956" y="204695"/>
                      <a:pt x="1409956" y="457200"/>
                    </a:cubicBezTo>
                    <a:cubicBezTo>
                      <a:pt x="1409956" y="709705"/>
                      <a:pt x="1205261" y="914400"/>
                      <a:pt x="952756" y="914400"/>
                    </a:cubicBezTo>
                    <a:cubicBezTo>
                      <a:pt x="862133" y="914400"/>
                      <a:pt x="777669" y="888034"/>
                      <a:pt x="707132" y="841746"/>
                    </a:cubicBezTo>
                    <a:lnTo>
                      <a:pt x="136495" y="1280102"/>
                    </a:lnTo>
                    <a:cubicBezTo>
                      <a:pt x="21896" y="1327168"/>
                      <a:pt x="-44029" y="1213730"/>
                      <a:pt x="33797" y="1113182"/>
                    </a:cubicBezTo>
                    <a:lnTo>
                      <a:pt x="568587" y="703518"/>
                    </a:lnTo>
                    <a:cubicBezTo>
                      <a:pt x="522087" y="632814"/>
                      <a:pt x="495556" y="548105"/>
                      <a:pt x="495556" y="457200"/>
                    </a:cubicBezTo>
                    <a:cubicBezTo>
                      <a:pt x="495556" y="204695"/>
                      <a:pt x="700251" y="0"/>
                      <a:pt x="952756" y="0"/>
                    </a:cubicBezTo>
                    <a:close/>
                  </a:path>
                </a:pathLst>
              </a:custGeom>
              <a:grpFill/>
              <a:ln>
                <a:solidFill>
                  <a:srgbClr val="21734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sp>
            <p:nvSpPr>
              <p:cNvPr id="103" name="Rectangle 4"/>
              <p:cNvSpPr/>
              <p:nvPr/>
            </p:nvSpPr>
            <p:spPr>
              <a:xfrm>
                <a:off x="5058389" y="5528247"/>
                <a:ext cx="490885" cy="490020"/>
              </a:xfrm>
              <a:custGeom>
                <a:avLst/>
                <a:gdLst/>
                <a:ahLst/>
                <a:cxnLst/>
                <a:rect l="l" t="t" r="r" b="b"/>
                <a:pathLst>
                  <a:path w="490885" h="490020">
                    <a:moveTo>
                      <a:pt x="240752" y="0"/>
                    </a:moveTo>
                    <a:cubicBezTo>
                      <a:pt x="253961" y="11844"/>
                      <a:pt x="293310" y="49692"/>
                      <a:pt x="337332" y="92439"/>
                    </a:cubicBezTo>
                    <a:lnTo>
                      <a:pt x="328342" y="81259"/>
                    </a:lnTo>
                    <a:cubicBezTo>
                      <a:pt x="356946" y="111282"/>
                      <a:pt x="377251" y="107167"/>
                      <a:pt x="382515" y="87941"/>
                    </a:cubicBezTo>
                    <a:cubicBezTo>
                      <a:pt x="383951" y="76921"/>
                      <a:pt x="384595" y="68732"/>
                      <a:pt x="396997" y="52239"/>
                    </a:cubicBezTo>
                    <a:cubicBezTo>
                      <a:pt x="420362" y="32084"/>
                      <a:pt x="442294" y="41736"/>
                      <a:pt x="454920" y="51330"/>
                    </a:cubicBezTo>
                    <a:cubicBezTo>
                      <a:pt x="467834" y="62761"/>
                      <a:pt x="477920" y="86882"/>
                      <a:pt x="460392" y="109714"/>
                    </a:cubicBezTo>
                    <a:cubicBezTo>
                      <a:pt x="451128" y="121912"/>
                      <a:pt x="437554" y="126838"/>
                      <a:pt x="425922" y="126505"/>
                    </a:cubicBezTo>
                    <a:cubicBezTo>
                      <a:pt x="424301" y="127609"/>
                      <a:pt x="382890" y="134974"/>
                      <a:pt x="427348" y="177672"/>
                    </a:cubicBezTo>
                    <a:lnTo>
                      <a:pt x="416886" y="169735"/>
                    </a:lnTo>
                    <a:cubicBezTo>
                      <a:pt x="450207" y="202177"/>
                      <a:pt x="478424" y="229744"/>
                      <a:pt x="490885" y="241900"/>
                    </a:cubicBezTo>
                    <a:lnTo>
                      <a:pt x="417150" y="317347"/>
                    </a:lnTo>
                    <a:cubicBezTo>
                      <a:pt x="417744" y="316535"/>
                      <a:pt x="418443" y="316123"/>
                      <a:pt x="419047" y="315822"/>
                    </a:cubicBezTo>
                    <a:cubicBezTo>
                      <a:pt x="389023" y="344426"/>
                      <a:pt x="393138" y="364731"/>
                      <a:pt x="412364" y="369995"/>
                    </a:cubicBezTo>
                    <a:cubicBezTo>
                      <a:pt x="423384" y="371431"/>
                      <a:pt x="431574" y="372075"/>
                      <a:pt x="448067" y="384477"/>
                    </a:cubicBezTo>
                    <a:cubicBezTo>
                      <a:pt x="468221" y="407842"/>
                      <a:pt x="458569" y="429774"/>
                      <a:pt x="448975" y="442400"/>
                    </a:cubicBezTo>
                    <a:cubicBezTo>
                      <a:pt x="437545" y="455314"/>
                      <a:pt x="413423" y="465400"/>
                      <a:pt x="390591" y="447872"/>
                    </a:cubicBezTo>
                    <a:cubicBezTo>
                      <a:pt x="378394" y="438608"/>
                      <a:pt x="373468" y="425034"/>
                      <a:pt x="373800" y="413402"/>
                    </a:cubicBezTo>
                    <a:cubicBezTo>
                      <a:pt x="372696" y="411781"/>
                      <a:pt x="365332" y="370370"/>
                      <a:pt x="322634" y="414828"/>
                    </a:cubicBezTo>
                    <a:lnTo>
                      <a:pt x="325243" y="411388"/>
                    </a:lnTo>
                    <a:lnTo>
                      <a:pt x="248395" y="490020"/>
                    </a:lnTo>
                    <a:cubicBezTo>
                      <a:pt x="208939" y="451897"/>
                      <a:pt x="199129" y="442073"/>
                      <a:pt x="174192" y="418236"/>
                    </a:cubicBezTo>
                    <a:cubicBezTo>
                      <a:pt x="145587" y="388212"/>
                      <a:pt x="125282" y="392327"/>
                      <a:pt x="120018" y="411553"/>
                    </a:cubicBezTo>
                    <a:cubicBezTo>
                      <a:pt x="118582" y="422573"/>
                      <a:pt x="117938" y="430763"/>
                      <a:pt x="105536" y="447256"/>
                    </a:cubicBezTo>
                    <a:cubicBezTo>
                      <a:pt x="82171" y="467410"/>
                      <a:pt x="60239" y="457758"/>
                      <a:pt x="47614" y="448164"/>
                    </a:cubicBezTo>
                    <a:cubicBezTo>
                      <a:pt x="34699" y="436734"/>
                      <a:pt x="24614" y="412612"/>
                      <a:pt x="42141" y="389780"/>
                    </a:cubicBezTo>
                    <a:cubicBezTo>
                      <a:pt x="51405" y="377583"/>
                      <a:pt x="64979" y="372657"/>
                      <a:pt x="76612" y="372989"/>
                    </a:cubicBezTo>
                    <a:cubicBezTo>
                      <a:pt x="78232" y="371886"/>
                      <a:pt x="119644" y="364521"/>
                      <a:pt x="75186" y="321823"/>
                    </a:cubicBezTo>
                    <a:cubicBezTo>
                      <a:pt x="58767" y="305402"/>
                      <a:pt x="23648" y="271235"/>
                      <a:pt x="0" y="248738"/>
                    </a:cubicBezTo>
                    <a:lnTo>
                      <a:pt x="77303" y="168146"/>
                    </a:lnTo>
                    <a:cubicBezTo>
                      <a:pt x="104269" y="140313"/>
                      <a:pt x="122130" y="156409"/>
                      <a:pt x="124388" y="175543"/>
                    </a:cubicBezTo>
                    <a:cubicBezTo>
                      <a:pt x="124457" y="182466"/>
                      <a:pt x="127106" y="193106"/>
                      <a:pt x="137575" y="203052"/>
                    </a:cubicBezTo>
                    <a:cubicBezTo>
                      <a:pt x="153931" y="220277"/>
                      <a:pt x="181252" y="217451"/>
                      <a:pt x="196721" y="201951"/>
                    </a:cubicBezTo>
                    <a:cubicBezTo>
                      <a:pt x="211961" y="185740"/>
                      <a:pt x="213057" y="157882"/>
                      <a:pt x="196146" y="142797"/>
                    </a:cubicBezTo>
                    <a:cubicBezTo>
                      <a:pt x="184301" y="132637"/>
                      <a:pt x="177155" y="131453"/>
                      <a:pt x="166513" y="129894"/>
                    </a:cubicBezTo>
                    <a:cubicBezTo>
                      <a:pt x="154522" y="129013"/>
                      <a:pt x="131185" y="112953"/>
                      <a:pt x="157905" y="85228"/>
                    </a:cubicBezTo>
                    <a:close/>
                  </a:path>
                </a:pathLst>
              </a:custGeom>
              <a:grpFill/>
              <a:ln>
                <a:solidFill>
                  <a:srgbClr val="21734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grpSp>
        <p:sp>
          <p:nvSpPr>
            <p:cNvPr id="77" name="Oval 47"/>
            <p:cNvSpPr/>
            <p:nvPr/>
          </p:nvSpPr>
          <p:spPr>
            <a:xfrm>
              <a:off x="388608" y="3710471"/>
              <a:ext cx="1119626" cy="1119626"/>
            </a:xfrm>
            <a:prstGeom prst="ellipse">
              <a:avLst/>
            </a:prstGeom>
            <a:solidFill>
              <a:srgbClr val="F2C812"/>
            </a:solidFill>
            <a:ln w="3175" cap="flat" cmpd="sng" algn="ctr">
              <a:noFill/>
              <a:prstDash val="solid"/>
            </a:ln>
            <a:effectLst/>
          </p:spPr>
          <p:txBody>
            <a:bodyPr vert="horz" wrap="none" lIns="0" tIns="45720" rIns="0" bIns="0" rtlCol="0" anchor="t"/>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Segoe UI"/>
                  <a:ea typeface="Segoe UI" pitchFamily="34" charset="0"/>
                  <a:cs typeface="Segoe UI" pitchFamily="34" charset="0"/>
                </a:rPr>
                <a:t>Report</a:t>
              </a:r>
            </a:p>
          </p:txBody>
        </p:sp>
        <p:sp>
          <p:nvSpPr>
            <p:cNvPr id="78" name="Oval 950"/>
            <p:cNvSpPr/>
            <p:nvPr/>
          </p:nvSpPr>
          <p:spPr>
            <a:xfrm>
              <a:off x="388608" y="1252295"/>
              <a:ext cx="1119626" cy="1119626"/>
            </a:xfrm>
            <a:prstGeom prst="ellipse">
              <a:avLst/>
            </a:prstGeom>
            <a:solidFill>
              <a:srgbClr val="F2C812"/>
            </a:solidFill>
            <a:ln w="3175" cap="flat" cmpd="sng" algn="ctr">
              <a:noFill/>
              <a:prstDash val="solid"/>
            </a:ln>
            <a:effectLst/>
          </p:spPr>
          <p:txBody>
            <a:bodyPr vert="horz" wrap="none" lIns="0" tIns="45720" rIns="0" bIns="0" rtlCol="0" anchor="t"/>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1" i="0" u="none" strike="noStrike" kern="1200" cap="none" spc="0" normalizeH="0" baseline="0" noProof="0">
                <a:ln>
                  <a:noFill/>
                </a:ln>
                <a:solidFill>
                  <a:srgbClr val="217346"/>
                </a:solidFill>
                <a:effectLst/>
                <a:uLnTx/>
                <a:uFillTx/>
                <a:latin typeface="Segoe UI"/>
                <a:ea typeface="Segoe UI" pitchFamily="34" charset="0"/>
                <a:cs typeface="Segoe UI" pitchFamily="34" charset="0"/>
              </a:endParaRPr>
            </a:p>
          </p:txBody>
        </p:sp>
        <p:grpSp>
          <p:nvGrpSpPr>
            <p:cNvPr id="79" name="Group 78"/>
            <p:cNvGrpSpPr/>
            <p:nvPr/>
          </p:nvGrpSpPr>
          <p:grpSpPr>
            <a:xfrm>
              <a:off x="1264851" y="3482890"/>
              <a:ext cx="292254" cy="354906"/>
              <a:chOff x="1296521" y="3253388"/>
              <a:chExt cx="292254" cy="354906"/>
            </a:xfrm>
            <a:solidFill>
              <a:srgbClr val="F2C812"/>
            </a:solidFill>
          </p:grpSpPr>
          <p:sp>
            <p:nvSpPr>
              <p:cNvPr id="99" name="Isosceles Triangle 98"/>
              <p:cNvSpPr/>
              <p:nvPr/>
            </p:nvSpPr>
            <p:spPr bwMode="auto">
              <a:xfrm rot="13636515">
                <a:off x="1461362" y="328936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0" name="Isosceles Triangle 99"/>
              <p:cNvSpPr/>
              <p:nvPr/>
            </p:nvSpPr>
            <p:spPr bwMode="auto">
              <a:xfrm rot="13636515">
                <a:off x="1357669" y="338258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1" name="Isosceles Triangle 100"/>
              <p:cNvSpPr/>
              <p:nvPr/>
            </p:nvSpPr>
            <p:spPr bwMode="auto">
              <a:xfrm rot="13636515">
                <a:off x="1260548" y="3480882"/>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80" name="Group 79"/>
            <p:cNvGrpSpPr/>
            <p:nvPr/>
          </p:nvGrpSpPr>
          <p:grpSpPr>
            <a:xfrm rot="15940603">
              <a:off x="1334576" y="2204404"/>
              <a:ext cx="292254" cy="354906"/>
              <a:chOff x="1296521" y="3253388"/>
              <a:chExt cx="292254" cy="354906"/>
            </a:xfrm>
            <a:solidFill>
              <a:srgbClr val="F2C812"/>
            </a:solidFill>
          </p:grpSpPr>
          <p:sp>
            <p:nvSpPr>
              <p:cNvPr id="96" name="Isosceles Triangle 95"/>
              <p:cNvSpPr/>
              <p:nvPr/>
            </p:nvSpPr>
            <p:spPr bwMode="auto">
              <a:xfrm rot="13636515">
                <a:off x="1461362" y="328936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7" name="Isosceles Triangle 96"/>
              <p:cNvSpPr/>
              <p:nvPr/>
            </p:nvSpPr>
            <p:spPr bwMode="auto">
              <a:xfrm rot="13636515">
                <a:off x="1357669" y="338258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8" name="Isosceles Triangle 97"/>
              <p:cNvSpPr/>
              <p:nvPr/>
            </p:nvSpPr>
            <p:spPr bwMode="auto">
              <a:xfrm rot="13636515">
                <a:off x="1260548" y="3480882"/>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81" name="Group 80"/>
            <p:cNvGrpSpPr/>
            <p:nvPr/>
          </p:nvGrpSpPr>
          <p:grpSpPr>
            <a:xfrm rot="16043978">
              <a:off x="1317220" y="4717577"/>
              <a:ext cx="292254" cy="354906"/>
              <a:chOff x="1296521" y="3253388"/>
              <a:chExt cx="292254" cy="354906"/>
            </a:xfrm>
            <a:solidFill>
              <a:srgbClr val="F2C812"/>
            </a:solidFill>
          </p:grpSpPr>
          <p:sp>
            <p:nvSpPr>
              <p:cNvPr id="93" name="Isosceles Triangle 92"/>
              <p:cNvSpPr/>
              <p:nvPr/>
            </p:nvSpPr>
            <p:spPr bwMode="auto">
              <a:xfrm rot="13636515">
                <a:off x="1461362" y="328936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4" name="Isosceles Triangle 93"/>
              <p:cNvSpPr/>
              <p:nvPr/>
            </p:nvSpPr>
            <p:spPr bwMode="auto">
              <a:xfrm rot="13636515">
                <a:off x="1357669" y="338258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5" name="Isosceles Triangle 94"/>
              <p:cNvSpPr/>
              <p:nvPr/>
            </p:nvSpPr>
            <p:spPr bwMode="auto">
              <a:xfrm rot="13636515">
                <a:off x="1260548" y="3480882"/>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82" name="Oval 36"/>
            <p:cNvSpPr/>
            <p:nvPr/>
          </p:nvSpPr>
          <p:spPr>
            <a:xfrm>
              <a:off x="1413521" y="2481383"/>
              <a:ext cx="1119626" cy="1119626"/>
            </a:xfrm>
            <a:prstGeom prst="ellipse">
              <a:avLst/>
            </a:prstGeom>
            <a:solidFill>
              <a:srgbClr val="F2C812"/>
            </a:solidFill>
            <a:ln w="3175" cap="flat" cmpd="sng" algn="ctr">
              <a:noFill/>
              <a:prstDash val="solid"/>
            </a:ln>
            <a:effectLst/>
          </p:spPr>
          <p:txBody>
            <a:bodyPr vert="horz" wrap="none" lIns="0" tIns="0" rIns="0" bIns="0" rtlCol="0" anchor="t"/>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400" b="1" i="0" u="none" strike="noStrike" kern="1200" cap="none" spc="0" normalizeH="0" baseline="0" noProof="0">
                <a:ln>
                  <a:noFill/>
                </a:ln>
                <a:solidFill>
                  <a:srgbClr val="217346"/>
                </a:solidFill>
                <a:effectLst/>
                <a:uLnTx/>
                <a:uFillTx/>
                <a:latin typeface="Segoe UI"/>
                <a:ea typeface="Segoe UI" pitchFamily="34" charset="0"/>
                <a:cs typeface="Segoe UI" pitchFamily="34" charset="0"/>
              </a:endParaRPr>
            </a:p>
          </p:txBody>
        </p:sp>
        <p:sp>
          <p:nvSpPr>
            <p:cNvPr id="83" name="Donut 3"/>
            <p:cNvSpPr/>
            <p:nvPr/>
          </p:nvSpPr>
          <p:spPr bwMode="auto">
            <a:xfrm>
              <a:off x="1742065" y="3002355"/>
              <a:ext cx="383905" cy="351537"/>
            </a:xfrm>
            <a:custGeom>
              <a:avLst/>
              <a:gdLst/>
              <a:ahLst/>
              <a:cxnLst/>
              <a:rect l="l" t="t" r="r" b="b"/>
              <a:pathLst>
                <a:path w="1409956" h="1291077">
                  <a:moveTo>
                    <a:pt x="956401" y="78410"/>
                  </a:moveTo>
                  <a:cubicBezTo>
                    <a:pt x="747518" y="78410"/>
                    <a:pt x="578184" y="247744"/>
                    <a:pt x="578184" y="456627"/>
                  </a:cubicBezTo>
                  <a:cubicBezTo>
                    <a:pt x="578184" y="665510"/>
                    <a:pt x="747518" y="834844"/>
                    <a:pt x="956401" y="834844"/>
                  </a:cubicBezTo>
                  <a:cubicBezTo>
                    <a:pt x="1165284" y="834844"/>
                    <a:pt x="1334618" y="665510"/>
                    <a:pt x="1334618" y="456627"/>
                  </a:cubicBezTo>
                  <a:cubicBezTo>
                    <a:pt x="1334618" y="247744"/>
                    <a:pt x="1165284" y="78410"/>
                    <a:pt x="956401" y="78410"/>
                  </a:cubicBezTo>
                  <a:close/>
                  <a:moveTo>
                    <a:pt x="952756" y="0"/>
                  </a:moveTo>
                  <a:cubicBezTo>
                    <a:pt x="1205261" y="0"/>
                    <a:pt x="1409956" y="204695"/>
                    <a:pt x="1409956" y="457200"/>
                  </a:cubicBezTo>
                  <a:cubicBezTo>
                    <a:pt x="1409956" y="709705"/>
                    <a:pt x="1205261" y="914400"/>
                    <a:pt x="952756" y="914400"/>
                  </a:cubicBezTo>
                  <a:cubicBezTo>
                    <a:pt x="862133" y="914400"/>
                    <a:pt x="777669" y="888034"/>
                    <a:pt x="707132" y="841746"/>
                  </a:cubicBezTo>
                  <a:lnTo>
                    <a:pt x="136495" y="1280102"/>
                  </a:lnTo>
                  <a:cubicBezTo>
                    <a:pt x="21896" y="1327168"/>
                    <a:pt x="-44029" y="1213730"/>
                    <a:pt x="33797" y="1113182"/>
                  </a:cubicBezTo>
                  <a:lnTo>
                    <a:pt x="568587" y="703518"/>
                  </a:lnTo>
                  <a:cubicBezTo>
                    <a:pt x="522087" y="632814"/>
                    <a:pt x="495556" y="548105"/>
                    <a:pt x="495556" y="457200"/>
                  </a:cubicBezTo>
                  <a:cubicBezTo>
                    <a:pt x="495556" y="204695"/>
                    <a:pt x="700251" y="0"/>
                    <a:pt x="952756" y="0"/>
                  </a:cubicBezTo>
                  <a:close/>
                </a:path>
              </a:pathLst>
            </a:cu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sp>
          <p:nvSpPr>
            <p:cNvPr id="84" name="Rectangle 83"/>
            <p:cNvSpPr/>
            <p:nvPr/>
          </p:nvSpPr>
          <p:spPr>
            <a:xfrm>
              <a:off x="1600398" y="2677430"/>
              <a:ext cx="820353" cy="307777"/>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Segoe UI"/>
                  <a:ea typeface="Segoe UI" pitchFamily="34" charset="0"/>
                  <a:cs typeface="Segoe UI" pitchFamily="34" charset="0"/>
                </a:rPr>
                <a:t>Explore</a:t>
              </a:r>
              <a:endParaRPr kumimoji="0" lang="en-US" sz="16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85" name="Rectangle 84"/>
            <p:cNvSpPr/>
            <p:nvPr/>
          </p:nvSpPr>
          <p:spPr>
            <a:xfrm>
              <a:off x="509174" y="1475232"/>
              <a:ext cx="838756" cy="307777"/>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Segoe UI"/>
                  <a:ea typeface="Segoe UI" pitchFamily="34" charset="0"/>
                  <a:cs typeface="Segoe UI" pitchFamily="34" charset="0"/>
                </a:rPr>
                <a:t>Prepare</a:t>
              </a:r>
              <a:endParaRPr kumimoji="0" lang="en-US" sz="14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86" name="Freeform 85"/>
            <p:cNvSpPr>
              <a:spLocks noChangeAspect="1"/>
            </p:cNvSpPr>
            <p:nvPr/>
          </p:nvSpPr>
          <p:spPr bwMode="black">
            <a:xfrm>
              <a:off x="1836174" y="5643069"/>
              <a:ext cx="274320" cy="284173"/>
            </a:xfrm>
            <a:custGeom>
              <a:avLst/>
              <a:gdLst>
                <a:gd name="T0" fmla="*/ 539 w 669"/>
                <a:gd name="T1" fmla="*/ 5 h 693"/>
                <a:gd name="T2" fmla="*/ 640 w 669"/>
                <a:gd name="T3" fmla="*/ 55 h 693"/>
                <a:gd name="T4" fmla="*/ 603 w 669"/>
                <a:gd name="T5" fmla="*/ 195 h 693"/>
                <a:gd name="T6" fmla="*/ 490 w 669"/>
                <a:gd name="T7" fmla="*/ 188 h 693"/>
                <a:gd name="T8" fmla="*/ 479 w 669"/>
                <a:gd name="T9" fmla="*/ 176 h 693"/>
                <a:gd name="T10" fmla="*/ 213 w 669"/>
                <a:gd name="T11" fmla="*/ 330 h 693"/>
                <a:gd name="T12" fmla="*/ 218 w 669"/>
                <a:gd name="T13" fmla="*/ 345 h 693"/>
                <a:gd name="T14" fmla="*/ 218 w 669"/>
                <a:gd name="T15" fmla="*/ 375 h 693"/>
                <a:gd name="T16" fmla="*/ 209 w 669"/>
                <a:gd name="T17" fmla="*/ 402 h 693"/>
                <a:gd name="T18" fmla="*/ 369 w 669"/>
                <a:gd name="T19" fmla="*/ 503 h 693"/>
                <a:gd name="T20" fmla="*/ 373 w 669"/>
                <a:gd name="T21" fmla="*/ 498 h 693"/>
                <a:gd name="T22" fmla="*/ 456 w 669"/>
                <a:gd name="T23" fmla="*/ 475 h 693"/>
                <a:gd name="T24" fmla="*/ 494 w 669"/>
                <a:gd name="T25" fmla="*/ 489 h 693"/>
                <a:gd name="T26" fmla="*/ 527 w 669"/>
                <a:gd name="T27" fmla="*/ 630 h 693"/>
                <a:gd name="T28" fmla="*/ 386 w 669"/>
                <a:gd name="T29" fmla="*/ 663 h 693"/>
                <a:gd name="T30" fmla="*/ 339 w 669"/>
                <a:gd name="T31" fmla="*/ 560 h 693"/>
                <a:gd name="T32" fmla="*/ 345 w 669"/>
                <a:gd name="T33" fmla="*/ 544 h 693"/>
                <a:gd name="T34" fmla="*/ 177 w 669"/>
                <a:gd name="T35" fmla="*/ 439 h 693"/>
                <a:gd name="T36" fmla="*/ 168 w 669"/>
                <a:gd name="T37" fmla="*/ 446 h 693"/>
                <a:gd name="T38" fmla="*/ 28 w 669"/>
                <a:gd name="T39" fmla="*/ 409 h 693"/>
                <a:gd name="T40" fmla="*/ 65 w 669"/>
                <a:gd name="T41" fmla="*/ 269 h 693"/>
                <a:gd name="T42" fmla="*/ 178 w 669"/>
                <a:gd name="T43" fmla="*/ 276 h 693"/>
                <a:gd name="T44" fmla="*/ 189 w 669"/>
                <a:gd name="T45" fmla="*/ 288 h 693"/>
                <a:gd name="T46" fmla="*/ 455 w 669"/>
                <a:gd name="T47" fmla="*/ 134 h 693"/>
                <a:gd name="T48" fmla="*/ 450 w 669"/>
                <a:gd name="T49" fmla="*/ 119 h 693"/>
                <a:gd name="T50" fmla="*/ 501 w 669"/>
                <a:gd name="T51" fmla="*/ 18 h 693"/>
                <a:gd name="T52" fmla="*/ 539 w 669"/>
                <a:gd name="T53" fmla="*/ 5 h 6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69" h="693">
                  <a:moveTo>
                    <a:pt x="539" y="5"/>
                  </a:moveTo>
                  <a:cubicBezTo>
                    <a:pt x="579" y="0"/>
                    <a:pt x="619" y="19"/>
                    <a:pt x="640" y="55"/>
                  </a:cubicBezTo>
                  <a:cubicBezTo>
                    <a:pt x="669" y="104"/>
                    <a:pt x="652" y="167"/>
                    <a:pt x="603" y="195"/>
                  </a:cubicBezTo>
                  <a:cubicBezTo>
                    <a:pt x="566" y="216"/>
                    <a:pt x="522" y="212"/>
                    <a:pt x="490" y="188"/>
                  </a:cubicBezTo>
                  <a:cubicBezTo>
                    <a:pt x="479" y="176"/>
                    <a:pt x="479" y="176"/>
                    <a:pt x="479" y="176"/>
                  </a:cubicBezTo>
                  <a:cubicBezTo>
                    <a:pt x="213" y="330"/>
                    <a:pt x="213" y="330"/>
                    <a:pt x="213" y="330"/>
                  </a:cubicBezTo>
                  <a:cubicBezTo>
                    <a:pt x="218" y="345"/>
                    <a:pt x="218" y="345"/>
                    <a:pt x="218" y="345"/>
                  </a:cubicBezTo>
                  <a:cubicBezTo>
                    <a:pt x="219" y="355"/>
                    <a:pt x="219" y="365"/>
                    <a:pt x="218" y="375"/>
                  </a:cubicBezTo>
                  <a:cubicBezTo>
                    <a:pt x="209" y="402"/>
                    <a:pt x="209" y="402"/>
                    <a:pt x="209" y="402"/>
                  </a:cubicBezTo>
                  <a:cubicBezTo>
                    <a:pt x="369" y="503"/>
                    <a:pt x="369" y="503"/>
                    <a:pt x="369" y="503"/>
                  </a:cubicBezTo>
                  <a:cubicBezTo>
                    <a:pt x="373" y="498"/>
                    <a:pt x="373" y="498"/>
                    <a:pt x="373" y="498"/>
                  </a:cubicBezTo>
                  <a:cubicBezTo>
                    <a:pt x="396" y="479"/>
                    <a:pt x="427" y="470"/>
                    <a:pt x="456" y="475"/>
                  </a:cubicBezTo>
                  <a:cubicBezTo>
                    <a:pt x="470" y="477"/>
                    <a:pt x="482" y="482"/>
                    <a:pt x="494" y="489"/>
                  </a:cubicBezTo>
                  <a:cubicBezTo>
                    <a:pt x="542" y="519"/>
                    <a:pt x="557" y="583"/>
                    <a:pt x="527" y="630"/>
                  </a:cubicBezTo>
                  <a:cubicBezTo>
                    <a:pt x="497" y="678"/>
                    <a:pt x="433" y="693"/>
                    <a:pt x="386" y="663"/>
                  </a:cubicBezTo>
                  <a:cubicBezTo>
                    <a:pt x="350" y="640"/>
                    <a:pt x="333" y="599"/>
                    <a:pt x="339" y="560"/>
                  </a:cubicBezTo>
                  <a:cubicBezTo>
                    <a:pt x="345" y="544"/>
                    <a:pt x="345" y="544"/>
                    <a:pt x="345" y="544"/>
                  </a:cubicBezTo>
                  <a:cubicBezTo>
                    <a:pt x="177" y="439"/>
                    <a:pt x="177" y="439"/>
                    <a:pt x="177" y="439"/>
                  </a:cubicBezTo>
                  <a:cubicBezTo>
                    <a:pt x="168" y="446"/>
                    <a:pt x="168" y="446"/>
                    <a:pt x="168" y="446"/>
                  </a:cubicBezTo>
                  <a:cubicBezTo>
                    <a:pt x="119" y="475"/>
                    <a:pt x="56" y="458"/>
                    <a:pt x="28" y="409"/>
                  </a:cubicBezTo>
                  <a:cubicBezTo>
                    <a:pt x="0" y="360"/>
                    <a:pt x="16" y="297"/>
                    <a:pt x="65" y="269"/>
                  </a:cubicBezTo>
                  <a:cubicBezTo>
                    <a:pt x="102" y="248"/>
                    <a:pt x="147" y="252"/>
                    <a:pt x="178" y="276"/>
                  </a:cubicBezTo>
                  <a:cubicBezTo>
                    <a:pt x="189" y="288"/>
                    <a:pt x="189" y="288"/>
                    <a:pt x="189" y="288"/>
                  </a:cubicBezTo>
                  <a:cubicBezTo>
                    <a:pt x="455" y="134"/>
                    <a:pt x="455" y="134"/>
                    <a:pt x="455" y="134"/>
                  </a:cubicBezTo>
                  <a:cubicBezTo>
                    <a:pt x="450" y="119"/>
                    <a:pt x="450" y="119"/>
                    <a:pt x="450" y="119"/>
                  </a:cubicBezTo>
                  <a:cubicBezTo>
                    <a:pt x="445" y="80"/>
                    <a:pt x="464" y="39"/>
                    <a:pt x="501" y="18"/>
                  </a:cubicBezTo>
                  <a:cubicBezTo>
                    <a:pt x="513" y="11"/>
                    <a:pt x="526" y="6"/>
                    <a:pt x="539" y="5"/>
                  </a:cubicBezTo>
                  <a:close/>
                </a:path>
              </a:pathLst>
            </a:custGeom>
            <a:solidFill>
              <a:schemeClr val="tx1"/>
            </a:solidFill>
            <a:ln>
              <a:noFill/>
            </a:ln>
          </p:spPr>
          <p:txBody>
            <a:bodyPr vert="horz" wrap="square" lIns="68574" tIns="34287" rIns="68574" bIns="34287"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0000"/>
                </a:solidFill>
                <a:effectLst/>
                <a:uLnTx/>
                <a:uFillTx/>
                <a:latin typeface="Segoe UI"/>
                <a:ea typeface="+mn-ea"/>
                <a:cs typeface="+mn-cs"/>
              </a:endParaRPr>
            </a:p>
          </p:txBody>
        </p:sp>
        <p:sp>
          <p:nvSpPr>
            <p:cNvPr id="87" name="Freeform 86"/>
            <p:cNvSpPr>
              <a:spLocks noChangeAspect="1" noEditPoints="1"/>
            </p:cNvSpPr>
            <p:nvPr/>
          </p:nvSpPr>
          <p:spPr bwMode="black">
            <a:xfrm>
              <a:off x="722320" y="1783009"/>
              <a:ext cx="452202" cy="366660"/>
            </a:xfrm>
            <a:custGeom>
              <a:avLst/>
              <a:gdLst>
                <a:gd name="T0" fmla="*/ 600 w 1107"/>
                <a:gd name="T1" fmla="*/ 625 h 897"/>
                <a:gd name="T2" fmla="*/ 649 w 1107"/>
                <a:gd name="T3" fmla="*/ 567 h 897"/>
                <a:gd name="T4" fmla="*/ 727 w 1107"/>
                <a:gd name="T5" fmla="*/ 482 h 897"/>
                <a:gd name="T6" fmla="*/ 601 w 1107"/>
                <a:gd name="T7" fmla="*/ 434 h 897"/>
                <a:gd name="T8" fmla="*/ 628 w 1107"/>
                <a:gd name="T9" fmla="*/ 305 h 897"/>
                <a:gd name="T10" fmla="*/ 547 w 1107"/>
                <a:gd name="T11" fmla="*/ 240 h 897"/>
                <a:gd name="T12" fmla="*/ 427 w 1107"/>
                <a:gd name="T13" fmla="*/ 287 h 897"/>
                <a:gd name="T14" fmla="*/ 368 w 1107"/>
                <a:gd name="T15" fmla="*/ 170 h 897"/>
                <a:gd name="T16" fmla="*/ 285 w 1107"/>
                <a:gd name="T17" fmla="*/ 263 h 897"/>
                <a:gd name="T18" fmla="*/ 241 w 1107"/>
                <a:gd name="T19" fmla="*/ 313 h 897"/>
                <a:gd name="T20" fmla="*/ 139 w 1107"/>
                <a:gd name="T21" fmla="*/ 281 h 897"/>
                <a:gd name="T22" fmla="*/ 79 w 1107"/>
                <a:gd name="T23" fmla="*/ 355 h 897"/>
                <a:gd name="T24" fmla="*/ 132 w 1107"/>
                <a:gd name="T25" fmla="*/ 446 h 897"/>
                <a:gd name="T26" fmla="*/ 83 w 1107"/>
                <a:gd name="T27" fmla="*/ 505 h 897"/>
                <a:gd name="T28" fmla="*/ 5 w 1107"/>
                <a:gd name="T29" fmla="*/ 590 h 897"/>
                <a:gd name="T30" fmla="*/ 132 w 1107"/>
                <a:gd name="T31" fmla="*/ 638 h 897"/>
                <a:gd name="T32" fmla="*/ 145 w 1107"/>
                <a:gd name="T33" fmla="*/ 669 h 897"/>
                <a:gd name="T34" fmla="*/ 110 w 1107"/>
                <a:gd name="T35" fmla="*/ 793 h 897"/>
                <a:gd name="T36" fmla="*/ 230 w 1107"/>
                <a:gd name="T37" fmla="*/ 781 h 897"/>
                <a:gd name="T38" fmla="*/ 306 w 1107"/>
                <a:gd name="T39" fmla="*/ 785 h 897"/>
                <a:gd name="T40" fmla="*/ 346 w 1107"/>
                <a:gd name="T41" fmla="*/ 878 h 897"/>
                <a:gd name="T42" fmla="*/ 440 w 1107"/>
                <a:gd name="T43" fmla="*/ 872 h 897"/>
                <a:gd name="T44" fmla="*/ 466 w 1107"/>
                <a:gd name="T45" fmla="*/ 764 h 897"/>
                <a:gd name="T46" fmla="*/ 539 w 1107"/>
                <a:gd name="T47" fmla="*/ 755 h 897"/>
                <a:gd name="T48" fmla="*/ 659 w 1107"/>
                <a:gd name="T49" fmla="*/ 743 h 897"/>
                <a:gd name="T50" fmla="*/ 263 w 1107"/>
                <a:gd name="T51" fmla="*/ 452 h 897"/>
                <a:gd name="T52" fmla="*/ 281 w 1107"/>
                <a:gd name="T53" fmla="*/ 633 h 897"/>
                <a:gd name="T54" fmla="*/ 1002 w 1107"/>
                <a:gd name="T55" fmla="*/ 332 h 897"/>
                <a:gd name="T56" fmla="*/ 1043 w 1107"/>
                <a:gd name="T57" fmla="*/ 304 h 897"/>
                <a:gd name="T58" fmla="*/ 1107 w 1107"/>
                <a:gd name="T59" fmla="*/ 266 h 897"/>
                <a:gd name="T60" fmla="*/ 1037 w 1107"/>
                <a:gd name="T61" fmla="*/ 213 h 897"/>
                <a:gd name="T62" fmla="*/ 1077 w 1107"/>
                <a:gd name="T63" fmla="*/ 138 h 897"/>
                <a:gd name="T64" fmla="*/ 1038 w 1107"/>
                <a:gd name="T65" fmla="*/ 83 h 897"/>
                <a:gd name="T66" fmla="*/ 956 w 1107"/>
                <a:gd name="T67" fmla="*/ 91 h 897"/>
                <a:gd name="T68" fmla="*/ 940 w 1107"/>
                <a:gd name="T69" fmla="*/ 7 h 897"/>
                <a:gd name="T70" fmla="*/ 872 w 1107"/>
                <a:gd name="T71" fmla="*/ 50 h 897"/>
                <a:gd name="T72" fmla="*/ 836 w 1107"/>
                <a:gd name="T73" fmla="*/ 74 h 897"/>
                <a:gd name="T74" fmla="*/ 778 w 1107"/>
                <a:gd name="T75" fmla="*/ 35 h 897"/>
                <a:gd name="T76" fmla="*/ 728 w 1107"/>
                <a:gd name="T77" fmla="*/ 70 h 897"/>
                <a:gd name="T78" fmla="*/ 744 w 1107"/>
                <a:gd name="T79" fmla="*/ 136 h 897"/>
                <a:gd name="T80" fmla="*/ 703 w 1107"/>
                <a:gd name="T81" fmla="*/ 164 h 897"/>
                <a:gd name="T82" fmla="*/ 640 w 1107"/>
                <a:gd name="T83" fmla="*/ 203 h 897"/>
                <a:gd name="T84" fmla="*/ 710 w 1107"/>
                <a:gd name="T85" fmla="*/ 255 h 897"/>
                <a:gd name="T86" fmla="*/ 712 w 1107"/>
                <a:gd name="T87" fmla="*/ 277 h 897"/>
                <a:gd name="T88" fmla="*/ 668 w 1107"/>
                <a:gd name="T89" fmla="*/ 347 h 897"/>
                <a:gd name="T90" fmla="*/ 745 w 1107"/>
                <a:gd name="T91" fmla="*/ 361 h 897"/>
                <a:gd name="T92" fmla="*/ 791 w 1107"/>
                <a:gd name="T93" fmla="*/ 377 h 897"/>
                <a:gd name="T94" fmla="*/ 799 w 1107"/>
                <a:gd name="T95" fmla="*/ 443 h 897"/>
                <a:gd name="T96" fmla="*/ 859 w 1107"/>
                <a:gd name="T97" fmla="*/ 456 h 897"/>
                <a:gd name="T98" fmla="*/ 894 w 1107"/>
                <a:gd name="T99" fmla="*/ 393 h 897"/>
                <a:gd name="T100" fmla="*/ 941 w 1107"/>
                <a:gd name="T101" fmla="*/ 401 h 897"/>
                <a:gd name="T102" fmla="*/ 1018 w 1107"/>
                <a:gd name="T103" fmla="*/ 415 h 897"/>
                <a:gd name="T104" fmla="*/ 825 w 1107"/>
                <a:gd name="T105" fmla="*/ 164 h 897"/>
                <a:gd name="T106" fmla="*/ 803 w 1107"/>
                <a:gd name="T107" fmla="*/ 279 h 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107" h="897">
                  <a:moveTo>
                    <a:pt x="654" y="716"/>
                  </a:moveTo>
                  <a:cubicBezTo>
                    <a:pt x="616" y="670"/>
                    <a:pt x="616" y="670"/>
                    <a:pt x="616" y="670"/>
                  </a:cubicBezTo>
                  <a:cubicBezTo>
                    <a:pt x="593" y="654"/>
                    <a:pt x="603" y="638"/>
                    <a:pt x="600" y="625"/>
                  </a:cubicBezTo>
                  <a:cubicBezTo>
                    <a:pt x="600" y="625"/>
                    <a:pt x="600" y="625"/>
                    <a:pt x="600" y="625"/>
                  </a:cubicBezTo>
                  <a:cubicBezTo>
                    <a:pt x="605" y="617"/>
                    <a:pt x="611" y="609"/>
                    <a:pt x="608" y="596"/>
                  </a:cubicBezTo>
                  <a:cubicBezTo>
                    <a:pt x="618" y="580"/>
                    <a:pt x="623" y="572"/>
                    <a:pt x="649" y="567"/>
                  </a:cubicBezTo>
                  <a:cubicBezTo>
                    <a:pt x="715" y="553"/>
                    <a:pt x="715" y="553"/>
                    <a:pt x="715" y="553"/>
                  </a:cubicBezTo>
                  <a:cubicBezTo>
                    <a:pt x="728" y="550"/>
                    <a:pt x="733" y="542"/>
                    <a:pt x="730" y="529"/>
                  </a:cubicBezTo>
                  <a:cubicBezTo>
                    <a:pt x="727" y="482"/>
                    <a:pt x="727" y="482"/>
                    <a:pt x="727" y="482"/>
                  </a:cubicBezTo>
                  <a:cubicBezTo>
                    <a:pt x="724" y="469"/>
                    <a:pt x="717" y="463"/>
                    <a:pt x="701" y="453"/>
                  </a:cubicBezTo>
                  <a:cubicBezTo>
                    <a:pt x="641" y="459"/>
                    <a:pt x="641" y="459"/>
                    <a:pt x="641" y="459"/>
                  </a:cubicBezTo>
                  <a:cubicBezTo>
                    <a:pt x="620" y="457"/>
                    <a:pt x="604" y="447"/>
                    <a:pt x="601" y="434"/>
                  </a:cubicBezTo>
                  <a:cubicBezTo>
                    <a:pt x="598" y="421"/>
                    <a:pt x="590" y="416"/>
                    <a:pt x="580" y="397"/>
                  </a:cubicBezTo>
                  <a:cubicBezTo>
                    <a:pt x="577" y="384"/>
                    <a:pt x="574" y="371"/>
                    <a:pt x="584" y="355"/>
                  </a:cubicBezTo>
                  <a:cubicBezTo>
                    <a:pt x="628" y="305"/>
                    <a:pt x="628" y="305"/>
                    <a:pt x="628" y="305"/>
                  </a:cubicBezTo>
                  <a:cubicBezTo>
                    <a:pt x="634" y="297"/>
                    <a:pt x="631" y="284"/>
                    <a:pt x="623" y="279"/>
                  </a:cubicBezTo>
                  <a:cubicBezTo>
                    <a:pt x="581" y="240"/>
                    <a:pt x="581" y="240"/>
                    <a:pt x="581" y="240"/>
                  </a:cubicBezTo>
                  <a:cubicBezTo>
                    <a:pt x="573" y="235"/>
                    <a:pt x="560" y="238"/>
                    <a:pt x="547" y="240"/>
                  </a:cubicBezTo>
                  <a:cubicBezTo>
                    <a:pt x="503" y="291"/>
                    <a:pt x="503" y="291"/>
                    <a:pt x="503" y="291"/>
                  </a:cubicBezTo>
                  <a:cubicBezTo>
                    <a:pt x="484" y="302"/>
                    <a:pt x="471" y="304"/>
                    <a:pt x="463" y="299"/>
                  </a:cubicBezTo>
                  <a:cubicBezTo>
                    <a:pt x="456" y="294"/>
                    <a:pt x="435" y="292"/>
                    <a:pt x="427" y="287"/>
                  </a:cubicBezTo>
                  <a:cubicBezTo>
                    <a:pt x="419" y="282"/>
                    <a:pt x="403" y="271"/>
                    <a:pt x="400" y="258"/>
                  </a:cubicBezTo>
                  <a:cubicBezTo>
                    <a:pt x="386" y="193"/>
                    <a:pt x="386" y="193"/>
                    <a:pt x="386" y="193"/>
                  </a:cubicBezTo>
                  <a:cubicBezTo>
                    <a:pt x="384" y="180"/>
                    <a:pt x="368" y="170"/>
                    <a:pt x="368" y="170"/>
                  </a:cubicBezTo>
                  <a:cubicBezTo>
                    <a:pt x="308" y="176"/>
                    <a:pt x="308" y="176"/>
                    <a:pt x="308" y="176"/>
                  </a:cubicBezTo>
                  <a:cubicBezTo>
                    <a:pt x="308" y="176"/>
                    <a:pt x="289" y="187"/>
                    <a:pt x="292" y="200"/>
                  </a:cubicBezTo>
                  <a:cubicBezTo>
                    <a:pt x="285" y="263"/>
                    <a:pt x="285" y="263"/>
                    <a:pt x="285" y="263"/>
                  </a:cubicBezTo>
                  <a:cubicBezTo>
                    <a:pt x="291" y="289"/>
                    <a:pt x="277" y="292"/>
                    <a:pt x="272" y="300"/>
                  </a:cubicBezTo>
                  <a:cubicBezTo>
                    <a:pt x="272" y="300"/>
                    <a:pt x="272" y="300"/>
                    <a:pt x="267" y="308"/>
                  </a:cubicBezTo>
                  <a:cubicBezTo>
                    <a:pt x="259" y="302"/>
                    <a:pt x="246" y="305"/>
                    <a:pt x="241" y="313"/>
                  </a:cubicBezTo>
                  <a:cubicBezTo>
                    <a:pt x="236" y="321"/>
                    <a:pt x="236" y="321"/>
                    <a:pt x="236" y="321"/>
                  </a:cubicBezTo>
                  <a:cubicBezTo>
                    <a:pt x="223" y="324"/>
                    <a:pt x="210" y="327"/>
                    <a:pt x="194" y="317"/>
                  </a:cubicBezTo>
                  <a:cubicBezTo>
                    <a:pt x="139" y="281"/>
                    <a:pt x="139" y="281"/>
                    <a:pt x="139" y="281"/>
                  </a:cubicBezTo>
                  <a:cubicBezTo>
                    <a:pt x="131" y="276"/>
                    <a:pt x="110" y="273"/>
                    <a:pt x="104" y="281"/>
                  </a:cubicBezTo>
                  <a:cubicBezTo>
                    <a:pt x="79" y="321"/>
                    <a:pt x="79" y="321"/>
                    <a:pt x="79" y="321"/>
                  </a:cubicBezTo>
                  <a:cubicBezTo>
                    <a:pt x="66" y="324"/>
                    <a:pt x="68" y="337"/>
                    <a:pt x="79" y="355"/>
                  </a:cubicBezTo>
                  <a:cubicBezTo>
                    <a:pt x="121" y="394"/>
                    <a:pt x="121" y="394"/>
                    <a:pt x="121" y="394"/>
                  </a:cubicBezTo>
                  <a:cubicBezTo>
                    <a:pt x="140" y="417"/>
                    <a:pt x="135" y="425"/>
                    <a:pt x="132" y="446"/>
                  </a:cubicBezTo>
                  <a:cubicBezTo>
                    <a:pt x="132" y="446"/>
                    <a:pt x="132" y="446"/>
                    <a:pt x="132" y="446"/>
                  </a:cubicBezTo>
                  <a:cubicBezTo>
                    <a:pt x="127" y="454"/>
                    <a:pt x="122" y="462"/>
                    <a:pt x="117" y="470"/>
                  </a:cubicBezTo>
                  <a:cubicBezTo>
                    <a:pt x="117" y="470"/>
                    <a:pt x="117" y="470"/>
                    <a:pt x="117" y="470"/>
                  </a:cubicBezTo>
                  <a:cubicBezTo>
                    <a:pt x="120" y="483"/>
                    <a:pt x="109" y="499"/>
                    <a:pt x="83" y="505"/>
                  </a:cubicBezTo>
                  <a:cubicBezTo>
                    <a:pt x="23" y="511"/>
                    <a:pt x="23" y="511"/>
                    <a:pt x="23" y="511"/>
                  </a:cubicBezTo>
                  <a:cubicBezTo>
                    <a:pt x="10" y="514"/>
                    <a:pt x="0" y="529"/>
                    <a:pt x="2" y="543"/>
                  </a:cubicBezTo>
                  <a:cubicBezTo>
                    <a:pt x="5" y="590"/>
                    <a:pt x="5" y="590"/>
                    <a:pt x="5" y="590"/>
                  </a:cubicBezTo>
                  <a:cubicBezTo>
                    <a:pt x="8" y="603"/>
                    <a:pt x="16" y="608"/>
                    <a:pt x="37" y="610"/>
                  </a:cubicBezTo>
                  <a:cubicBezTo>
                    <a:pt x="92" y="612"/>
                    <a:pt x="92" y="612"/>
                    <a:pt x="92" y="612"/>
                  </a:cubicBezTo>
                  <a:cubicBezTo>
                    <a:pt x="113" y="614"/>
                    <a:pt x="129" y="625"/>
                    <a:pt x="132" y="638"/>
                  </a:cubicBezTo>
                  <a:cubicBezTo>
                    <a:pt x="132" y="638"/>
                    <a:pt x="132" y="638"/>
                    <a:pt x="132" y="638"/>
                  </a:cubicBezTo>
                  <a:cubicBezTo>
                    <a:pt x="140" y="643"/>
                    <a:pt x="142" y="656"/>
                    <a:pt x="150" y="661"/>
                  </a:cubicBezTo>
                  <a:cubicBezTo>
                    <a:pt x="145" y="669"/>
                    <a:pt x="145" y="669"/>
                    <a:pt x="145" y="669"/>
                  </a:cubicBezTo>
                  <a:cubicBezTo>
                    <a:pt x="153" y="674"/>
                    <a:pt x="156" y="687"/>
                    <a:pt x="140" y="711"/>
                  </a:cubicBezTo>
                  <a:cubicBezTo>
                    <a:pt x="109" y="759"/>
                    <a:pt x="109" y="759"/>
                    <a:pt x="109" y="759"/>
                  </a:cubicBezTo>
                  <a:cubicBezTo>
                    <a:pt x="99" y="775"/>
                    <a:pt x="102" y="788"/>
                    <a:pt x="110" y="793"/>
                  </a:cubicBezTo>
                  <a:cubicBezTo>
                    <a:pt x="152" y="832"/>
                    <a:pt x="152" y="832"/>
                    <a:pt x="152" y="832"/>
                  </a:cubicBezTo>
                  <a:cubicBezTo>
                    <a:pt x="160" y="837"/>
                    <a:pt x="173" y="834"/>
                    <a:pt x="178" y="826"/>
                  </a:cubicBezTo>
                  <a:cubicBezTo>
                    <a:pt x="230" y="781"/>
                    <a:pt x="230" y="781"/>
                    <a:pt x="230" y="781"/>
                  </a:cubicBezTo>
                  <a:cubicBezTo>
                    <a:pt x="248" y="770"/>
                    <a:pt x="261" y="767"/>
                    <a:pt x="269" y="772"/>
                  </a:cubicBezTo>
                  <a:cubicBezTo>
                    <a:pt x="269" y="772"/>
                    <a:pt x="269" y="772"/>
                    <a:pt x="269" y="772"/>
                  </a:cubicBezTo>
                  <a:cubicBezTo>
                    <a:pt x="282" y="769"/>
                    <a:pt x="298" y="779"/>
                    <a:pt x="306" y="785"/>
                  </a:cubicBezTo>
                  <a:cubicBezTo>
                    <a:pt x="306" y="785"/>
                    <a:pt x="306" y="785"/>
                    <a:pt x="306" y="785"/>
                  </a:cubicBezTo>
                  <a:cubicBezTo>
                    <a:pt x="319" y="782"/>
                    <a:pt x="327" y="787"/>
                    <a:pt x="332" y="813"/>
                  </a:cubicBezTo>
                  <a:cubicBezTo>
                    <a:pt x="346" y="878"/>
                    <a:pt x="346" y="878"/>
                    <a:pt x="346" y="878"/>
                  </a:cubicBezTo>
                  <a:cubicBezTo>
                    <a:pt x="349" y="892"/>
                    <a:pt x="357" y="897"/>
                    <a:pt x="370" y="894"/>
                  </a:cubicBezTo>
                  <a:cubicBezTo>
                    <a:pt x="425" y="896"/>
                    <a:pt x="425" y="896"/>
                    <a:pt x="425" y="896"/>
                  </a:cubicBezTo>
                  <a:cubicBezTo>
                    <a:pt x="430" y="888"/>
                    <a:pt x="443" y="885"/>
                    <a:pt x="440" y="872"/>
                  </a:cubicBezTo>
                  <a:cubicBezTo>
                    <a:pt x="440" y="804"/>
                    <a:pt x="440" y="804"/>
                    <a:pt x="440" y="804"/>
                  </a:cubicBezTo>
                  <a:cubicBezTo>
                    <a:pt x="442" y="783"/>
                    <a:pt x="460" y="772"/>
                    <a:pt x="466" y="764"/>
                  </a:cubicBezTo>
                  <a:cubicBezTo>
                    <a:pt x="466" y="764"/>
                    <a:pt x="466" y="764"/>
                    <a:pt x="466" y="764"/>
                  </a:cubicBezTo>
                  <a:cubicBezTo>
                    <a:pt x="479" y="761"/>
                    <a:pt x="492" y="758"/>
                    <a:pt x="497" y="750"/>
                  </a:cubicBezTo>
                  <a:cubicBezTo>
                    <a:pt x="497" y="750"/>
                    <a:pt x="497" y="750"/>
                    <a:pt x="497" y="750"/>
                  </a:cubicBezTo>
                  <a:cubicBezTo>
                    <a:pt x="510" y="747"/>
                    <a:pt x="523" y="745"/>
                    <a:pt x="539" y="755"/>
                  </a:cubicBezTo>
                  <a:cubicBezTo>
                    <a:pt x="594" y="791"/>
                    <a:pt x="594" y="791"/>
                    <a:pt x="594" y="791"/>
                  </a:cubicBezTo>
                  <a:cubicBezTo>
                    <a:pt x="602" y="796"/>
                    <a:pt x="623" y="798"/>
                    <a:pt x="628" y="790"/>
                  </a:cubicBezTo>
                  <a:cubicBezTo>
                    <a:pt x="659" y="743"/>
                    <a:pt x="659" y="743"/>
                    <a:pt x="659" y="743"/>
                  </a:cubicBezTo>
                  <a:cubicBezTo>
                    <a:pt x="659" y="743"/>
                    <a:pt x="669" y="727"/>
                    <a:pt x="654" y="716"/>
                  </a:cubicBezTo>
                  <a:close/>
                  <a:moveTo>
                    <a:pt x="281" y="633"/>
                  </a:moveTo>
                  <a:cubicBezTo>
                    <a:pt x="223" y="584"/>
                    <a:pt x="219" y="502"/>
                    <a:pt x="263" y="452"/>
                  </a:cubicBezTo>
                  <a:cubicBezTo>
                    <a:pt x="313" y="393"/>
                    <a:pt x="399" y="382"/>
                    <a:pt x="457" y="431"/>
                  </a:cubicBezTo>
                  <a:cubicBezTo>
                    <a:pt x="507" y="475"/>
                    <a:pt x="518" y="561"/>
                    <a:pt x="469" y="619"/>
                  </a:cubicBezTo>
                  <a:cubicBezTo>
                    <a:pt x="420" y="678"/>
                    <a:pt x="339" y="682"/>
                    <a:pt x="281" y="633"/>
                  </a:cubicBezTo>
                  <a:close/>
                  <a:moveTo>
                    <a:pt x="1019" y="398"/>
                  </a:moveTo>
                  <a:cubicBezTo>
                    <a:pt x="1004" y="362"/>
                    <a:pt x="1004" y="362"/>
                    <a:pt x="1004" y="362"/>
                  </a:cubicBezTo>
                  <a:cubicBezTo>
                    <a:pt x="992" y="348"/>
                    <a:pt x="1002" y="340"/>
                    <a:pt x="1002" y="332"/>
                  </a:cubicBezTo>
                  <a:cubicBezTo>
                    <a:pt x="1002" y="332"/>
                    <a:pt x="1002" y="332"/>
                    <a:pt x="1002" y="332"/>
                  </a:cubicBezTo>
                  <a:cubicBezTo>
                    <a:pt x="1007" y="328"/>
                    <a:pt x="1011" y="324"/>
                    <a:pt x="1012" y="315"/>
                  </a:cubicBezTo>
                  <a:cubicBezTo>
                    <a:pt x="1021" y="307"/>
                    <a:pt x="1026" y="303"/>
                    <a:pt x="1043" y="304"/>
                  </a:cubicBezTo>
                  <a:cubicBezTo>
                    <a:pt x="1086" y="307"/>
                    <a:pt x="1086" y="307"/>
                    <a:pt x="1086" y="307"/>
                  </a:cubicBezTo>
                  <a:cubicBezTo>
                    <a:pt x="1095" y="308"/>
                    <a:pt x="1099" y="304"/>
                    <a:pt x="1100" y="295"/>
                  </a:cubicBezTo>
                  <a:cubicBezTo>
                    <a:pt x="1107" y="266"/>
                    <a:pt x="1107" y="266"/>
                    <a:pt x="1107" y="266"/>
                  </a:cubicBezTo>
                  <a:cubicBezTo>
                    <a:pt x="1107" y="257"/>
                    <a:pt x="1103" y="252"/>
                    <a:pt x="1095" y="243"/>
                  </a:cubicBezTo>
                  <a:cubicBezTo>
                    <a:pt x="1057" y="236"/>
                    <a:pt x="1057" y="236"/>
                    <a:pt x="1057" y="236"/>
                  </a:cubicBezTo>
                  <a:cubicBezTo>
                    <a:pt x="1044" y="231"/>
                    <a:pt x="1036" y="222"/>
                    <a:pt x="1037" y="213"/>
                  </a:cubicBezTo>
                  <a:cubicBezTo>
                    <a:pt x="1038" y="205"/>
                    <a:pt x="1034" y="200"/>
                    <a:pt x="1030" y="187"/>
                  </a:cubicBezTo>
                  <a:cubicBezTo>
                    <a:pt x="1031" y="178"/>
                    <a:pt x="1032" y="170"/>
                    <a:pt x="1041" y="162"/>
                  </a:cubicBezTo>
                  <a:cubicBezTo>
                    <a:pt x="1077" y="138"/>
                    <a:pt x="1077" y="138"/>
                    <a:pt x="1077" y="138"/>
                  </a:cubicBezTo>
                  <a:cubicBezTo>
                    <a:pt x="1082" y="134"/>
                    <a:pt x="1083" y="126"/>
                    <a:pt x="1079" y="121"/>
                  </a:cubicBezTo>
                  <a:cubicBezTo>
                    <a:pt x="1059" y="89"/>
                    <a:pt x="1059" y="89"/>
                    <a:pt x="1059" y="89"/>
                  </a:cubicBezTo>
                  <a:cubicBezTo>
                    <a:pt x="1055" y="85"/>
                    <a:pt x="1047" y="84"/>
                    <a:pt x="1038" y="83"/>
                  </a:cubicBezTo>
                  <a:cubicBezTo>
                    <a:pt x="1002" y="107"/>
                    <a:pt x="1002" y="107"/>
                    <a:pt x="1002" y="107"/>
                  </a:cubicBezTo>
                  <a:cubicBezTo>
                    <a:pt x="989" y="110"/>
                    <a:pt x="980" y="110"/>
                    <a:pt x="976" y="105"/>
                  </a:cubicBezTo>
                  <a:cubicBezTo>
                    <a:pt x="972" y="100"/>
                    <a:pt x="960" y="95"/>
                    <a:pt x="956" y="91"/>
                  </a:cubicBezTo>
                  <a:cubicBezTo>
                    <a:pt x="952" y="86"/>
                    <a:pt x="944" y="77"/>
                    <a:pt x="944" y="68"/>
                  </a:cubicBezTo>
                  <a:cubicBezTo>
                    <a:pt x="948" y="25"/>
                    <a:pt x="948" y="25"/>
                    <a:pt x="948" y="25"/>
                  </a:cubicBezTo>
                  <a:cubicBezTo>
                    <a:pt x="948" y="17"/>
                    <a:pt x="940" y="7"/>
                    <a:pt x="940" y="7"/>
                  </a:cubicBezTo>
                  <a:cubicBezTo>
                    <a:pt x="902" y="0"/>
                    <a:pt x="902" y="0"/>
                    <a:pt x="902" y="0"/>
                  </a:cubicBezTo>
                  <a:cubicBezTo>
                    <a:pt x="902" y="0"/>
                    <a:pt x="889" y="4"/>
                    <a:pt x="888" y="12"/>
                  </a:cubicBezTo>
                  <a:cubicBezTo>
                    <a:pt x="872" y="50"/>
                    <a:pt x="872" y="50"/>
                    <a:pt x="872" y="50"/>
                  </a:cubicBezTo>
                  <a:cubicBezTo>
                    <a:pt x="871" y="67"/>
                    <a:pt x="862" y="67"/>
                    <a:pt x="858" y="71"/>
                  </a:cubicBezTo>
                  <a:cubicBezTo>
                    <a:pt x="858" y="71"/>
                    <a:pt x="858" y="71"/>
                    <a:pt x="853" y="75"/>
                  </a:cubicBezTo>
                  <a:cubicBezTo>
                    <a:pt x="849" y="70"/>
                    <a:pt x="840" y="70"/>
                    <a:pt x="836" y="74"/>
                  </a:cubicBezTo>
                  <a:cubicBezTo>
                    <a:pt x="831" y="78"/>
                    <a:pt x="831" y="78"/>
                    <a:pt x="831" y="78"/>
                  </a:cubicBezTo>
                  <a:cubicBezTo>
                    <a:pt x="822" y="77"/>
                    <a:pt x="814" y="76"/>
                    <a:pt x="806" y="67"/>
                  </a:cubicBezTo>
                  <a:cubicBezTo>
                    <a:pt x="778" y="35"/>
                    <a:pt x="778" y="35"/>
                    <a:pt x="778" y="35"/>
                  </a:cubicBezTo>
                  <a:cubicBezTo>
                    <a:pt x="774" y="30"/>
                    <a:pt x="762" y="25"/>
                    <a:pt x="757" y="29"/>
                  </a:cubicBezTo>
                  <a:cubicBezTo>
                    <a:pt x="734" y="49"/>
                    <a:pt x="734" y="49"/>
                    <a:pt x="734" y="49"/>
                  </a:cubicBezTo>
                  <a:cubicBezTo>
                    <a:pt x="725" y="49"/>
                    <a:pt x="725" y="57"/>
                    <a:pt x="728" y="70"/>
                  </a:cubicBezTo>
                  <a:cubicBezTo>
                    <a:pt x="747" y="102"/>
                    <a:pt x="747" y="102"/>
                    <a:pt x="747" y="102"/>
                  </a:cubicBezTo>
                  <a:cubicBezTo>
                    <a:pt x="754" y="120"/>
                    <a:pt x="750" y="124"/>
                    <a:pt x="744" y="136"/>
                  </a:cubicBezTo>
                  <a:cubicBezTo>
                    <a:pt x="744" y="136"/>
                    <a:pt x="744" y="136"/>
                    <a:pt x="744" y="136"/>
                  </a:cubicBezTo>
                  <a:cubicBezTo>
                    <a:pt x="740" y="140"/>
                    <a:pt x="735" y="144"/>
                    <a:pt x="731" y="148"/>
                  </a:cubicBezTo>
                  <a:cubicBezTo>
                    <a:pt x="731" y="148"/>
                    <a:pt x="731" y="148"/>
                    <a:pt x="731" y="148"/>
                  </a:cubicBezTo>
                  <a:cubicBezTo>
                    <a:pt x="730" y="157"/>
                    <a:pt x="721" y="165"/>
                    <a:pt x="703" y="164"/>
                  </a:cubicBezTo>
                  <a:cubicBezTo>
                    <a:pt x="665" y="157"/>
                    <a:pt x="665" y="157"/>
                    <a:pt x="665" y="157"/>
                  </a:cubicBezTo>
                  <a:cubicBezTo>
                    <a:pt x="656" y="156"/>
                    <a:pt x="647" y="164"/>
                    <a:pt x="647" y="173"/>
                  </a:cubicBezTo>
                  <a:cubicBezTo>
                    <a:pt x="640" y="203"/>
                    <a:pt x="640" y="203"/>
                    <a:pt x="640" y="203"/>
                  </a:cubicBezTo>
                  <a:cubicBezTo>
                    <a:pt x="639" y="211"/>
                    <a:pt x="643" y="216"/>
                    <a:pt x="656" y="221"/>
                  </a:cubicBezTo>
                  <a:cubicBezTo>
                    <a:pt x="690" y="232"/>
                    <a:pt x="690" y="232"/>
                    <a:pt x="690" y="232"/>
                  </a:cubicBezTo>
                  <a:cubicBezTo>
                    <a:pt x="702" y="237"/>
                    <a:pt x="710" y="246"/>
                    <a:pt x="710" y="255"/>
                  </a:cubicBezTo>
                  <a:cubicBezTo>
                    <a:pt x="710" y="255"/>
                    <a:pt x="710" y="255"/>
                    <a:pt x="710" y="255"/>
                  </a:cubicBezTo>
                  <a:cubicBezTo>
                    <a:pt x="714" y="260"/>
                    <a:pt x="713" y="268"/>
                    <a:pt x="717" y="273"/>
                  </a:cubicBezTo>
                  <a:cubicBezTo>
                    <a:pt x="712" y="277"/>
                    <a:pt x="712" y="277"/>
                    <a:pt x="712" y="277"/>
                  </a:cubicBezTo>
                  <a:cubicBezTo>
                    <a:pt x="716" y="281"/>
                    <a:pt x="716" y="290"/>
                    <a:pt x="702" y="302"/>
                  </a:cubicBezTo>
                  <a:cubicBezTo>
                    <a:pt x="674" y="326"/>
                    <a:pt x="674" y="326"/>
                    <a:pt x="674" y="326"/>
                  </a:cubicBezTo>
                  <a:cubicBezTo>
                    <a:pt x="665" y="334"/>
                    <a:pt x="664" y="343"/>
                    <a:pt x="668" y="347"/>
                  </a:cubicBezTo>
                  <a:cubicBezTo>
                    <a:pt x="687" y="379"/>
                    <a:pt x="687" y="379"/>
                    <a:pt x="687" y="379"/>
                  </a:cubicBezTo>
                  <a:cubicBezTo>
                    <a:pt x="691" y="383"/>
                    <a:pt x="700" y="384"/>
                    <a:pt x="704" y="380"/>
                  </a:cubicBezTo>
                  <a:cubicBezTo>
                    <a:pt x="745" y="361"/>
                    <a:pt x="745" y="361"/>
                    <a:pt x="745" y="361"/>
                  </a:cubicBezTo>
                  <a:cubicBezTo>
                    <a:pt x="758" y="358"/>
                    <a:pt x="767" y="358"/>
                    <a:pt x="771" y="363"/>
                  </a:cubicBezTo>
                  <a:cubicBezTo>
                    <a:pt x="771" y="363"/>
                    <a:pt x="771" y="363"/>
                    <a:pt x="771" y="363"/>
                  </a:cubicBezTo>
                  <a:cubicBezTo>
                    <a:pt x="779" y="364"/>
                    <a:pt x="787" y="373"/>
                    <a:pt x="791" y="377"/>
                  </a:cubicBezTo>
                  <a:cubicBezTo>
                    <a:pt x="791" y="377"/>
                    <a:pt x="791" y="377"/>
                    <a:pt x="791" y="377"/>
                  </a:cubicBezTo>
                  <a:cubicBezTo>
                    <a:pt x="800" y="378"/>
                    <a:pt x="804" y="383"/>
                    <a:pt x="802" y="400"/>
                  </a:cubicBezTo>
                  <a:cubicBezTo>
                    <a:pt x="799" y="443"/>
                    <a:pt x="799" y="443"/>
                    <a:pt x="799" y="443"/>
                  </a:cubicBezTo>
                  <a:cubicBezTo>
                    <a:pt x="798" y="451"/>
                    <a:pt x="802" y="456"/>
                    <a:pt x="811" y="457"/>
                  </a:cubicBezTo>
                  <a:cubicBezTo>
                    <a:pt x="845" y="468"/>
                    <a:pt x="845" y="468"/>
                    <a:pt x="845" y="468"/>
                  </a:cubicBezTo>
                  <a:cubicBezTo>
                    <a:pt x="849" y="464"/>
                    <a:pt x="858" y="464"/>
                    <a:pt x="859" y="456"/>
                  </a:cubicBezTo>
                  <a:cubicBezTo>
                    <a:pt x="871" y="413"/>
                    <a:pt x="871" y="413"/>
                    <a:pt x="871" y="413"/>
                  </a:cubicBezTo>
                  <a:cubicBezTo>
                    <a:pt x="876" y="401"/>
                    <a:pt x="889" y="397"/>
                    <a:pt x="894" y="393"/>
                  </a:cubicBezTo>
                  <a:cubicBezTo>
                    <a:pt x="894" y="393"/>
                    <a:pt x="894" y="393"/>
                    <a:pt x="894" y="393"/>
                  </a:cubicBezTo>
                  <a:cubicBezTo>
                    <a:pt x="902" y="394"/>
                    <a:pt x="911" y="395"/>
                    <a:pt x="916" y="391"/>
                  </a:cubicBezTo>
                  <a:cubicBezTo>
                    <a:pt x="916" y="391"/>
                    <a:pt x="916" y="391"/>
                    <a:pt x="916" y="391"/>
                  </a:cubicBezTo>
                  <a:cubicBezTo>
                    <a:pt x="924" y="391"/>
                    <a:pt x="933" y="392"/>
                    <a:pt x="941" y="401"/>
                  </a:cubicBezTo>
                  <a:cubicBezTo>
                    <a:pt x="969" y="433"/>
                    <a:pt x="969" y="433"/>
                    <a:pt x="969" y="433"/>
                  </a:cubicBezTo>
                  <a:cubicBezTo>
                    <a:pt x="973" y="438"/>
                    <a:pt x="985" y="443"/>
                    <a:pt x="990" y="439"/>
                  </a:cubicBezTo>
                  <a:cubicBezTo>
                    <a:pt x="1018" y="415"/>
                    <a:pt x="1018" y="415"/>
                    <a:pt x="1018" y="415"/>
                  </a:cubicBezTo>
                  <a:cubicBezTo>
                    <a:pt x="1018" y="415"/>
                    <a:pt x="1027" y="407"/>
                    <a:pt x="1019" y="398"/>
                  </a:cubicBezTo>
                  <a:close/>
                  <a:moveTo>
                    <a:pt x="803" y="279"/>
                  </a:moveTo>
                  <a:cubicBezTo>
                    <a:pt x="776" y="238"/>
                    <a:pt x="788" y="187"/>
                    <a:pt x="825" y="164"/>
                  </a:cubicBezTo>
                  <a:cubicBezTo>
                    <a:pt x="866" y="136"/>
                    <a:pt x="921" y="144"/>
                    <a:pt x="948" y="185"/>
                  </a:cubicBezTo>
                  <a:cubicBezTo>
                    <a:pt x="972" y="221"/>
                    <a:pt x="963" y="277"/>
                    <a:pt x="922" y="304"/>
                  </a:cubicBezTo>
                  <a:cubicBezTo>
                    <a:pt x="881" y="332"/>
                    <a:pt x="830" y="320"/>
                    <a:pt x="803" y="279"/>
                  </a:cubicBezTo>
                  <a:close/>
                </a:path>
              </a:pathLst>
            </a:custGeom>
            <a:solidFill>
              <a:schemeClr val="tx1"/>
            </a:solidFill>
            <a:ln>
              <a:noFill/>
            </a:ln>
          </p:spPr>
          <p:txBody>
            <a:bodyPr vert="horz" wrap="square" lIns="68574" tIns="34287" rIns="68574" bIns="34287"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17346"/>
                </a:solidFill>
                <a:effectLst/>
                <a:uLnTx/>
                <a:uFillTx/>
                <a:latin typeface="Segoe UI"/>
                <a:ea typeface="+mn-ea"/>
                <a:cs typeface="+mn-cs"/>
              </a:endParaRPr>
            </a:p>
          </p:txBody>
        </p:sp>
        <p:sp>
          <p:nvSpPr>
            <p:cNvPr id="88" name="Freeform 87"/>
            <p:cNvSpPr>
              <a:spLocks noChangeAspect="1"/>
            </p:cNvSpPr>
            <p:nvPr/>
          </p:nvSpPr>
          <p:spPr bwMode="black">
            <a:xfrm>
              <a:off x="776985" y="4213905"/>
              <a:ext cx="342871" cy="335728"/>
            </a:xfrm>
            <a:custGeom>
              <a:avLst/>
              <a:gdLst>
                <a:gd name="connsiteX0" fmla="*/ 3713863 w 4893730"/>
                <a:gd name="connsiteY0" fmla="*/ 2130808 h 4791777"/>
                <a:gd name="connsiteX1" fmla="*/ 4426142 w 4893730"/>
                <a:gd name="connsiteY1" fmla="*/ 2130808 h 4791777"/>
                <a:gd name="connsiteX2" fmla="*/ 4598071 w 4893730"/>
                <a:gd name="connsiteY2" fmla="*/ 2301547 h 4791777"/>
                <a:gd name="connsiteX3" fmla="*/ 4598071 w 4893730"/>
                <a:gd name="connsiteY3" fmla="*/ 3886978 h 4791777"/>
                <a:gd name="connsiteX4" fmla="*/ 4426142 w 4893730"/>
                <a:gd name="connsiteY4" fmla="*/ 4057717 h 4791777"/>
                <a:gd name="connsiteX5" fmla="*/ 3713863 w 4893730"/>
                <a:gd name="connsiteY5" fmla="*/ 4057717 h 4791777"/>
                <a:gd name="connsiteX6" fmla="*/ 3517372 w 4893730"/>
                <a:gd name="connsiteY6" fmla="*/ 3886978 h 4791777"/>
                <a:gd name="connsiteX7" fmla="*/ 3517372 w 4893730"/>
                <a:gd name="connsiteY7" fmla="*/ 2301547 h 4791777"/>
                <a:gd name="connsiteX8" fmla="*/ 3713863 w 4893730"/>
                <a:gd name="connsiteY8" fmla="*/ 2130808 h 4791777"/>
                <a:gd name="connsiteX9" fmla="*/ 904368 w 4893730"/>
                <a:gd name="connsiteY9" fmla="*/ 1223432 h 4791777"/>
                <a:gd name="connsiteX10" fmla="*/ 1609930 w 4893730"/>
                <a:gd name="connsiteY10" fmla="*/ 1223432 h 4791777"/>
                <a:gd name="connsiteX11" fmla="*/ 1804567 w 4893730"/>
                <a:gd name="connsiteY11" fmla="*/ 1394467 h 4791777"/>
                <a:gd name="connsiteX12" fmla="*/ 1804567 w 4893730"/>
                <a:gd name="connsiteY12" fmla="*/ 3886683 h 4791777"/>
                <a:gd name="connsiteX13" fmla="*/ 1609930 w 4893730"/>
                <a:gd name="connsiteY13" fmla="*/ 4057717 h 4791777"/>
                <a:gd name="connsiteX14" fmla="*/ 904368 w 4893730"/>
                <a:gd name="connsiteY14" fmla="*/ 4057717 h 4791777"/>
                <a:gd name="connsiteX15" fmla="*/ 734060 w 4893730"/>
                <a:gd name="connsiteY15" fmla="*/ 3886683 h 4791777"/>
                <a:gd name="connsiteX16" fmla="*/ 734060 w 4893730"/>
                <a:gd name="connsiteY16" fmla="*/ 1394467 h 4791777"/>
                <a:gd name="connsiteX17" fmla="*/ 904368 w 4893730"/>
                <a:gd name="connsiteY17" fmla="*/ 1223432 h 4791777"/>
                <a:gd name="connsiteX18" fmla="*/ 2325453 w 4893730"/>
                <a:gd name="connsiteY18" fmla="*/ 316050 h 4791777"/>
                <a:gd name="connsiteX19" fmla="*/ 3031014 w 4893730"/>
                <a:gd name="connsiteY19" fmla="*/ 316050 h 4791777"/>
                <a:gd name="connsiteX20" fmla="*/ 3201322 w 4893730"/>
                <a:gd name="connsiteY20" fmla="*/ 487238 h 4791777"/>
                <a:gd name="connsiteX21" fmla="*/ 3201322 w 4893730"/>
                <a:gd name="connsiteY21" fmla="*/ 3886530 h 4791777"/>
                <a:gd name="connsiteX22" fmla="*/ 3031014 w 4893730"/>
                <a:gd name="connsiteY22" fmla="*/ 4057717 h 4791777"/>
                <a:gd name="connsiteX23" fmla="*/ 2325453 w 4893730"/>
                <a:gd name="connsiteY23" fmla="*/ 4057717 h 4791777"/>
                <a:gd name="connsiteX24" fmla="*/ 2130815 w 4893730"/>
                <a:gd name="connsiteY24" fmla="*/ 3886530 h 4791777"/>
                <a:gd name="connsiteX25" fmla="*/ 2130815 w 4893730"/>
                <a:gd name="connsiteY25" fmla="*/ 487238 h 4791777"/>
                <a:gd name="connsiteX26" fmla="*/ 2325453 w 4893730"/>
                <a:gd name="connsiteY26" fmla="*/ 316050 h 4791777"/>
                <a:gd name="connsiteX27" fmla="*/ 269155 w 4893730"/>
                <a:gd name="connsiteY27" fmla="*/ 0 h 4791777"/>
                <a:gd name="connsiteX28" fmla="*/ 538311 w 4893730"/>
                <a:gd name="connsiteY28" fmla="*/ 268927 h 4791777"/>
                <a:gd name="connsiteX29" fmla="*/ 538311 w 4893730"/>
                <a:gd name="connsiteY29" fmla="*/ 4253925 h 4791777"/>
                <a:gd name="connsiteX30" fmla="*/ 4624575 w 4893730"/>
                <a:gd name="connsiteY30" fmla="*/ 4253925 h 4791777"/>
                <a:gd name="connsiteX31" fmla="*/ 4893730 w 4893730"/>
                <a:gd name="connsiteY31" fmla="*/ 4522851 h 4791777"/>
                <a:gd name="connsiteX32" fmla="*/ 4624575 w 4893730"/>
                <a:gd name="connsiteY32" fmla="*/ 4791777 h 4791777"/>
                <a:gd name="connsiteX33" fmla="*/ 269155 w 4893730"/>
                <a:gd name="connsiteY33" fmla="*/ 4791777 h 4791777"/>
                <a:gd name="connsiteX34" fmla="*/ 0 w 4893730"/>
                <a:gd name="connsiteY34" fmla="*/ 4522851 h 4791777"/>
                <a:gd name="connsiteX35" fmla="*/ 0 w 4893730"/>
                <a:gd name="connsiteY35" fmla="*/ 268927 h 4791777"/>
                <a:gd name="connsiteX36" fmla="*/ 269155 w 4893730"/>
                <a:gd name="connsiteY36" fmla="*/ 0 h 4791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4893730" h="4791777">
                  <a:moveTo>
                    <a:pt x="3713863" y="2130808"/>
                  </a:moveTo>
                  <a:cubicBezTo>
                    <a:pt x="3713863" y="2130808"/>
                    <a:pt x="3713863" y="2130808"/>
                    <a:pt x="4426142" y="2130808"/>
                  </a:cubicBezTo>
                  <a:cubicBezTo>
                    <a:pt x="4524387" y="2130808"/>
                    <a:pt x="4598071" y="2203982"/>
                    <a:pt x="4598071" y="2301547"/>
                  </a:cubicBezTo>
                  <a:cubicBezTo>
                    <a:pt x="4598071" y="2301547"/>
                    <a:pt x="4598071" y="2301547"/>
                    <a:pt x="4598071" y="3886978"/>
                  </a:cubicBezTo>
                  <a:cubicBezTo>
                    <a:pt x="4598071" y="3984543"/>
                    <a:pt x="4524387" y="4057717"/>
                    <a:pt x="4426142" y="4057717"/>
                  </a:cubicBezTo>
                  <a:cubicBezTo>
                    <a:pt x="4426142" y="4057717"/>
                    <a:pt x="4426142" y="4057717"/>
                    <a:pt x="3713863" y="4057717"/>
                  </a:cubicBezTo>
                  <a:cubicBezTo>
                    <a:pt x="3615618" y="4057717"/>
                    <a:pt x="3517372" y="3984543"/>
                    <a:pt x="3517372" y="3886978"/>
                  </a:cubicBezTo>
                  <a:cubicBezTo>
                    <a:pt x="3517372" y="3886978"/>
                    <a:pt x="3517372" y="3886978"/>
                    <a:pt x="3517372" y="2301547"/>
                  </a:cubicBezTo>
                  <a:cubicBezTo>
                    <a:pt x="3517372" y="2203982"/>
                    <a:pt x="3615618" y="2130808"/>
                    <a:pt x="3713863" y="2130808"/>
                  </a:cubicBezTo>
                  <a:close/>
                  <a:moveTo>
                    <a:pt x="904368" y="1223432"/>
                  </a:moveTo>
                  <a:cubicBezTo>
                    <a:pt x="904368" y="1223432"/>
                    <a:pt x="904368" y="1223432"/>
                    <a:pt x="1609930" y="1223432"/>
                  </a:cubicBezTo>
                  <a:cubicBezTo>
                    <a:pt x="1731578" y="1223432"/>
                    <a:pt x="1804567" y="1296733"/>
                    <a:pt x="1804567" y="1394467"/>
                  </a:cubicBezTo>
                  <a:cubicBezTo>
                    <a:pt x="1804567" y="1394467"/>
                    <a:pt x="1804567" y="1394467"/>
                    <a:pt x="1804567" y="3886683"/>
                  </a:cubicBezTo>
                  <a:cubicBezTo>
                    <a:pt x="1804567" y="3984417"/>
                    <a:pt x="1731578" y="4057717"/>
                    <a:pt x="1609930" y="4057717"/>
                  </a:cubicBezTo>
                  <a:cubicBezTo>
                    <a:pt x="1609930" y="4057717"/>
                    <a:pt x="1609930" y="4057717"/>
                    <a:pt x="904368" y="4057717"/>
                  </a:cubicBezTo>
                  <a:cubicBezTo>
                    <a:pt x="807049" y="4057717"/>
                    <a:pt x="734060" y="3984417"/>
                    <a:pt x="734060" y="3886683"/>
                  </a:cubicBezTo>
                  <a:cubicBezTo>
                    <a:pt x="734060" y="3886683"/>
                    <a:pt x="734060" y="3886683"/>
                    <a:pt x="734060" y="1394467"/>
                  </a:cubicBezTo>
                  <a:cubicBezTo>
                    <a:pt x="734060" y="1296733"/>
                    <a:pt x="807049" y="1223432"/>
                    <a:pt x="904368" y="1223432"/>
                  </a:cubicBezTo>
                  <a:close/>
                  <a:moveTo>
                    <a:pt x="2325453" y="316050"/>
                  </a:moveTo>
                  <a:cubicBezTo>
                    <a:pt x="2325453" y="316050"/>
                    <a:pt x="2325453" y="316050"/>
                    <a:pt x="3031014" y="316050"/>
                  </a:cubicBezTo>
                  <a:cubicBezTo>
                    <a:pt x="3128333" y="316050"/>
                    <a:pt x="3201322" y="389416"/>
                    <a:pt x="3201322" y="487238"/>
                  </a:cubicBezTo>
                  <a:cubicBezTo>
                    <a:pt x="3201322" y="487238"/>
                    <a:pt x="3201322" y="487238"/>
                    <a:pt x="3201322" y="3886530"/>
                  </a:cubicBezTo>
                  <a:cubicBezTo>
                    <a:pt x="3201322" y="3984351"/>
                    <a:pt x="3128333" y="4057717"/>
                    <a:pt x="3031014" y="4057717"/>
                  </a:cubicBezTo>
                  <a:cubicBezTo>
                    <a:pt x="3031014" y="4057717"/>
                    <a:pt x="3031014" y="4057717"/>
                    <a:pt x="2325453" y="4057717"/>
                  </a:cubicBezTo>
                  <a:cubicBezTo>
                    <a:pt x="2203804" y="4057717"/>
                    <a:pt x="2130815" y="3984351"/>
                    <a:pt x="2130815" y="3886530"/>
                  </a:cubicBezTo>
                  <a:cubicBezTo>
                    <a:pt x="2130815" y="3886530"/>
                    <a:pt x="2130815" y="3886530"/>
                    <a:pt x="2130815" y="487238"/>
                  </a:cubicBezTo>
                  <a:cubicBezTo>
                    <a:pt x="2130815" y="389416"/>
                    <a:pt x="2203804" y="316050"/>
                    <a:pt x="2325453" y="316050"/>
                  </a:cubicBezTo>
                  <a:close/>
                  <a:moveTo>
                    <a:pt x="269155" y="0"/>
                  </a:moveTo>
                  <a:cubicBezTo>
                    <a:pt x="415967" y="0"/>
                    <a:pt x="538311" y="122239"/>
                    <a:pt x="538311" y="268927"/>
                  </a:cubicBezTo>
                  <a:cubicBezTo>
                    <a:pt x="538311" y="268927"/>
                    <a:pt x="538311" y="268927"/>
                    <a:pt x="538311" y="4253925"/>
                  </a:cubicBezTo>
                  <a:cubicBezTo>
                    <a:pt x="538311" y="4253925"/>
                    <a:pt x="538311" y="4253925"/>
                    <a:pt x="4624575" y="4253925"/>
                  </a:cubicBezTo>
                  <a:cubicBezTo>
                    <a:pt x="4771387" y="4253925"/>
                    <a:pt x="4893730" y="4376164"/>
                    <a:pt x="4893730" y="4522851"/>
                  </a:cubicBezTo>
                  <a:cubicBezTo>
                    <a:pt x="4893730" y="4669538"/>
                    <a:pt x="4771387" y="4791777"/>
                    <a:pt x="4624575" y="4791777"/>
                  </a:cubicBezTo>
                  <a:cubicBezTo>
                    <a:pt x="4624575" y="4791777"/>
                    <a:pt x="4624575" y="4791777"/>
                    <a:pt x="269155" y="4791777"/>
                  </a:cubicBezTo>
                  <a:cubicBezTo>
                    <a:pt x="122344" y="4791777"/>
                    <a:pt x="0" y="4669538"/>
                    <a:pt x="0" y="4522851"/>
                  </a:cubicBezTo>
                  <a:cubicBezTo>
                    <a:pt x="0" y="4522851"/>
                    <a:pt x="0" y="4522851"/>
                    <a:pt x="0" y="268927"/>
                  </a:cubicBezTo>
                  <a:cubicBezTo>
                    <a:pt x="0" y="122239"/>
                    <a:pt x="122344" y="0"/>
                    <a:pt x="269155"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37148" tIns="109719" rIns="137148" bIns="109719"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699261"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9" name="Rectangle 88"/>
            <p:cNvSpPr/>
            <p:nvPr/>
          </p:nvSpPr>
          <p:spPr bwMode="auto">
            <a:xfrm rot="2745734">
              <a:off x="279530" y="1141266"/>
              <a:ext cx="1260714" cy="1255193"/>
            </a:xfrm>
            <a:prstGeom prst="rect">
              <a:avLst/>
            </a:prstGeom>
            <a:solidFill>
              <a:schemeClr val="tx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0" name="Rectangle 89"/>
            <p:cNvSpPr/>
            <p:nvPr/>
          </p:nvSpPr>
          <p:spPr bwMode="auto">
            <a:xfrm rot="2745734">
              <a:off x="292433" y="3819160"/>
              <a:ext cx="1610349" cy="1235003"/>
            </a:xfrm>
            <a:prstGeom prst="rect">
              <a:avLst/>
            </a:prstGeom>
            <a:solidFill>
              <a:schemeClr val="tx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2" name="Rectangle 91"/>
            <p:cNvSpPr/>
            <p:nvPr/>
          </p:nvSpPr>
          <p:spPr bwMode="auto">
            <a:xfrm rot="2745734">
              <a:off x="1315610" y="4915701"/>
              <a:ext cx="1263370" cy="1255989"/>
            </a:xfrm>
            <a:prstGeom prst="rect">
              <a:avLst/>
            </a:prstGeom>
            <a:solidFill>
              <a:schemeClr val="tx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40" name="TextBox 39"/>
          <p:cNvSpPr txBox="1"/>
          <p:nvPr/>
        </p:nvSpPr>
        <p:spPr>
          <a:xfrm>
            <a:off x="3" y="51415"/>
            <a:ext cx="2849058" cy="430887"/>
          </a:xfrm>
          <a:prstGeom prst="rect">
            <a:avLst/>
          </a:prstGeom>
        </p:spPr>
        <p:txBody>
          <a:bodyPr wrap="square">
            <a:spAutoFit/>
          </a:bodyPr>
          <a:lstStyle>
            <a:defPPr>
              <a:defRPr lang="en-US"/>
            </a:defPPr>
            <a:lvl1pPr defTabSz="914192">
              <a:defRPr sz="2800" b="1" spc="-100">
                <a:ln w="3175">
                  <a:noFill/>
                </a:ln>
                <a:solidFill>
                  <a:srgbClr val="F2C812"/>
                </a:solidFill>
                <a:latin typeface="Segoe UI" panose="020B0502040204020203" pitchFamily="34" charset="0"/>
                <a:ea typeface="ＭＳ Ｐゴシック" charset="0"/>
                <a:cs typeface="Segoe UI" panose="020B0502040204020203" pitchFamily="34" charset="0"/>
              </a:defRPr>
            </a:lvl1pPr>
          </a:lstStyle>
          <a:p>
            <a:pPr marL="0" marR="0" lvl="0" indent="0" algn="l" defTabSz="914192" rtl="0" eaLnBrk="1" fontAlgn="auto" latinLnBrk="0" hangingPunct="1">
              <a:lnSpc>
                <a:spcPct val="100000"/>
              </a:lnSpc>
              <a:spcBef>
                <a:spcPts val="0"/>
              </a:spcBef>
              <a:spcAft>
                <a:spcPts val="0"/>
              </a:spcAft>
              <a:buClrTx/>
              <a:buSzTx/>
              <a:buFontTx/>
              <a:buNone/>
              <a:tabLst/>
              <a:defRPr/>
            </a:pPr>
            <a:r>
              <a:rPr kumimoji="0" lang="en-US" sz="2200" b="1" i="0" u="none" strike="noStrike" kern="1200" cap="none" spc="-100" normalizeH="0" baseline="0" noProof="0" dirty="0">
                <a:ln w="3175">
                  <a:noFill/>
                </a:ln>
                <a:solidFill>
                  <a:srgbClr val="F2C812"/>
                </a:solidFill>
                <a:effectLst/>
                <a:uLnTx/>
                <a:uFillTx/>
                <a:latin typeface="Segoe UI Light"/>
                <a:ea typeface="ＭＳ Ｐゴシック" charset="0"/>
                <a:cs typeface="Segoe UI" panose="020B0502040204020203" pitchFamily="34" charset="0"/>
              </a:rPr>
              <a:t>Power BI Desktop</a:t>
            </a:r>
          </a:p>
        </p:txBody>
      </p:sp>
      <p:sp>
        <p:nvSpPr>
          <p:cNvPr id="41" name="Rectangle 40"/>
          <p:cNvSpPr/>
          <p:nvPr/>
        </p:nvSpPr>
        <p:spPr bwMode="auto">
          <a:xfrm rot="2745734">
            <a:off x="825067" y="3494250"/>
            <a:ext cx="1260714" cy="370170"/>
          </a:xfrm>
          <a:prstGeom prst="rect">
            <a:avLst/>
          </a:prstGeom>
          <a:solidFill>
            <a:schemeClr val="tx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3" name="Picture 2"/>
          <p:cNvPicPr>
            <a:picLocks noChangeAspect="1"/>
          </p:cNvPicPr>
          <p:nvPr/>
        </p:nvPicPr>
        <p:blipFill>
          <a:blip r:embed="rId3"/>
          <a:stretch>
            <a:fillRect/>
          </a:stretch>
        </p:blipFill>
        <p:spPr>
          <a:xfrm>
            <a:off x="3575885" y="1629120"/>
            <a:ext cx="7934290" cy="4748721"/>
          </a:xfrm>
          <a:prstGeom prst="rect">
            <a:avLst/>
          </a:prstGeom>
          <a:ln>
            <a:noFill/>
          </a:ln>
          <a:effectLst>
            <a:outerShdw blurRad="190500" algn="tl" rotWithShape="0">
              <a:srgbClr val="000000">
                <a:alpha val="70000"/>
              </a:srgbClr>
            </a:outerShdw>
          </a:effectLst>
        </p:spPr>
      </p:pic>
      <p:sp>
        <p:nvSpPr>
          <p:cNvPr id="45" name="TextBox 44"/>
          <p:cNvSpPr txBox="1"/>
          <p:nvPr/>
        </p:nvSpPr>
        <p:spPr>
          <a:xfrm>
            <a:off x="9940109" y="4575817"/>
            <a:ext cx="2049795" cy="2048253"/>
          </a:xfrm>
          <a:prstGeom prst="rect">
            <a:avLst/>
          </a:prstGeom>
          <a:solidFill>
            <a:schemeClr val="tx1">
              <a:lumMod val="65000"/>
              <a:lumOff val="35000"/>
            </a:schemeClr>
          </a:solidFill>
        </p:spPr>
        <p:txBody>
          <a:bodyPr wrap="square" lIns="182880" tIns="146304" rIns="182880" bIns="146304" rtlCol="0">
            <a:spAutoFit/>
          </a:bodyPr>
          <a:lstStyle/>
          <a:p>
            <a:pPr marL="0" marR="0" lvl="0" indent="0" algn="just" defTabSz="914400" rtl="0" eaLnBrk="1" fontAlgn="auto" latinLnBrk="0" hangingPunct="1">
              <a:lnSpc>
                <a:spcPct val="90000"/>
              </a:lnSpc>
              <a:spcBef>
                <a:spcPts val="0"/>
              </a:spcBef>
              <a:spcAft>
                <a:spcPts val="600"/>
              </a:spcAft>
              <a:buClrTx/>
              <a:buSzTx/>
              <a:buFontTx/>
              <a:buNone/>
              <a:tabLst/>
              <a:defRPr/>
            </a:pPr>
            <a:r>
              <a:rPr kumimoji="0" lang="en-US" sz="1100" b="0" i="0" u="none" strike="noStrike" kern="1200" cap="none" spc="0" normalizeH="0" baseline="0" noProof="0" dirty="0">
                <a:ln>
                  <a:noFill/>
                </a:ln>
                <a:gradFill>
                  <a:gsLst>
                    <a:gs pos="2917">
                      <a:prstClr val="black"/>
                    </a:gs>
                    <a:gs pos="30000">
                      <a:prstClr val="black"/>
                    </a:gs>
                  </a:gsLst>
                  <a:lin ang="5400000" scaled="0"/>
                </a:gradFill>
                <a:effectLst/>
                <a:uLnTx/>
                <a:uFillTx/>
                <a:latin typeface="Segoe UI"/>
                <a:ea typeface="+mn-ea"/>
                <a:cs typeface="+mn-cs"/>
              </a:rPr>
              <a:t>- Use a scatter chart (or X Y chart) to show similarities between large sets of data instead of differences between data points</a:t>
            </a:r>
          </a:p>
          <a:p>
            <a:pPr marL="0" marR="0" lvl="0" indent="0" algn="just" defTabSz="914400" rtl="0" eaLnBrk="1" fontAlgn="auto" latinLnBrk="0" hangingPunct="1">
              <a:lnSpc>
                <a:spcPct val="90000"/>
              </a:lnSpc>
              <a:spcBef>
                <a:spcPts val="0"/>
              </a:spcBef>
              <a:spcAft>
                <a:spcPts val="600"/>
              </a:spcAft>
              <a:buClrTx/>
              <a:buSzTx/>
              <a:buFontTx/>
              <a:buNone/>
              <a:tabLst/>
              <a:defRPr/>
            </a:pPr>
            <a:r>
              <a:rPr kumimoji="0" lang="en-US" sz="1100" b="1" i="0" u="none" strike="noStrike" kern="1200" cap="none" spc="0" normalizeH="0" baseline="0" noProof="0" dirty="0">
                <a:ln>
                  <a:noFill/>
                </a:ln>
                <a:gradFill>
                  <a:gsLst>
                    <a:gs pos="2917">
                      <a:prstClr val="black"/>
                    </a:gs>
                    <a:gs pos="30000">
                      <a:prstClr val="black"/>
                    </a:gs>
                  </a:gsLst>
                  <a:lin ang="5400000" scaled="0"/>
                </a:gradFill>
                <a:effectLst/>
                <a:uLnTx/>
                <a:uFillTx/>
                <a:latin typeface="Segoe UI"/>
                <a:ea typeface="+mn-ea"/>
                <a:cs typeface="+mn-cs"/>
              </a:rPr>
              <a:t>- </a:t>
            </a:r>
            <a:r>
              <a:rPr kumimoji="0" lang="en-US" sz="1100" b="0" i="0" u="none" strike="noStrike" kern="1200" cap="none" spc="0" normalizeH="0" baseline="0" noProof="0" dirty="0">
                <a:ln>
                  <a:noFill/>
                </a:ln>
                <a:gradFill>
                  <a:gsLst>
                    <a:gs pos="2917">
                      <a:prstClr val="black"/>
                    </a:gs>
                    <a:gs pos="30000">
                      <a:prstClr val="black"/>
                    </a:gs>
                  </a:gsLst>
                  <a:lin ang="5400000" scaled="0"/>
                </a:gradFill>
                <a:effectLst/>
                <a:uLnTx/>
                <a:uFillTx/>
                <a:latin typeface="Segoe UI"/>
                <a:ea typeface="+mn-ea"/>
                <a:cs typeface="+mn-cs"/>
              </a:rPr>
              <a:t>Scatter charts are effective when there are many data points on the horizontal axis or the values are not evenly spaced</a:t>
            </a:r>
            <a:endParaRPr kumimoji="0" lang="en-US" sz="1100" b="1" i="0" u="none" strike="noStrike" kern="1200" cap="none" spc="0" normalizeH="0" baseline="0" noProof="0" dirty="0">
              <a:ln>
                <a:noFill/>
              </a:ln>
              <a:gradFill>
                <a:gsLst>
                  <a:gs pos="2917">
                    <a:prstClr val="black"/>
                  </a:gs>
                  <a:gs pos="30000">
                    <a:prstClr val="black"/>
                  </a:gs>
                </a:gsLst>
                <a:lin ang="5400000" scaled="0"/>
              </a:gradFill>
              <a:effectLst/>
              <a:uLnTx/>
              <a:uFillTx/>
              <a:latin typeface="Segoe UI"/>
              <a:ea typeface="+mn-ea"/>
              <a:cs typeface="+mn-cs"/>
            </a:endParaRPr>
          </a:p>
        </p:txBody>
      </p:sp>
      <p:sp>
        <p:nvSpPr>
          <p:cNvPr id="46" name="TextBox 45"/>
          <p:cNvSpPr txBox="1"/>
          <p:nvPr/>
        </p:nvSpPr>
        <p:spPr>
          <a:xfrm>
            <a:off x="8783528" y="4575817"/>
            <a:ext cx="1250778" cy="2048400"/>
          </a:xfrm>
          <a:prstGeom prst="rect">
            <a:avLst/>
          </a:prstGeom>
          <a:solidFill>
            <a:schemeClr val="tx1">
              <a:lumMod val="65000"/>
              <a:lumOff val="35000"/>
            </a:schemeClr>
          </a:solid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endParaRPr kumimoji="0" lang="en-US" sz="1600" b="1"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endParaRPr>
          </a:p>
          <a:p>
            <a:pPr marL="0" marR="0" lvl="0" indent="0" algn="l" defTabSz="914400" rtl="0" eaLnBrk="1" fontAlgn="auto" latinLnBrk="0" hangingPunct="1">
              <a:lnSpc>
                <a:spcPct val="90000"/>
              </a:lnSpc>
              <a:spcBef>
                <a:spcPts val="0"/>
              </a:spcBef>
              <a:spcAft>
                <a:spcPts val="600"/>
              </a:spcAft>
              <a:buClrTx/>
              <a:buSzTx/>
              <a:buFontTx/>
              <a:buNone/>
              <a:tabLst/>
              <a:defRPr/>
            </a:pPr>
            <a:endParaRPr kumimoji="0" lang="en-US" sz="1600" b="1"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endParaRPr>
          </a:p>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600" b="1" i="0" u="none" strike="noStrike" kern="1200" cap="none" spc="0" normalizeH="0" baseline="0" noProof="0" dirty="0">
                <a:ln>
                  <a:noFill/>
                </a:ln>
                <a:gradFill>
                  <a:gsLst>
                    <a:gs pos="2917">
                      <a:prstClr val="black"/>
                    </a:gs>
                    <a:gs pos="30000">
                      <a:prstClr val="black"/>
                    </a:gs>
                  </a:gsLst>
                  <a:lin ang="5400000" scaled="0"/>
                </a:gradFill>
                <a:effectLst/>
                <a:uLnTx/>
                <a:uFillTx/>
                <a:latin typeface="Segoe UI"/>
                <a:ea typeface="+mn-ea"/>
                <a:cs typeface="+mn-cs"/>
              </a:rPr>
              <a:t>SCATTER</a:t>
            </a:r>
          </a:p>
          <a:p>
            <a:pPr marL="0" marR="0" lvl="0" indent="0" algn="l" defTabSz="914400" rtl="0" eaLnBrk="1" fontAlgn="auto" latinLnBrk="0" hangingPunct="1">
              <a:lnSpc>
                <a:spcPct val="90000"/>
              </a:lnSpc>
              <a:spcBef>
                <a:spcPts val="0"/>
              </a:spcBef>
              <a:spcAft>
                <a:spcPts val="600"/>
              </a:spcAft>
              <a:buClrTx/>
              <a:buSzTx/>
              <a:buFontTx/>
              <a:buNone/>
              <a:tabLst/>
              <a:defRPr/>
            </a:pPr>
            <a:endParaRPr kumimoji="0" lang="en-US" sz="1200" b="1"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endParaRPr>
          </a:p>
          <a:p>
            <a:pPr marL="0" marR="0" lvl="0" indent="0" algn="l" defTabSz="914400" rtl="0" eaLnBrk="1" fontAlgn="auto" latinLnBrk="0" hangingPunct="1">
              <a:lnSpc>
                <a:spcPct val="90000"/>
              </a:lnSpc>
              <a:spcBef>
                <a:spcPts val="0"/>
              </a:spcBef>
              <a:spcAft>
                <a:spcPts val="600"/>
              </a:spcAft>
              <a:buClrTx/>
              <a:buSzTx/>
              <a:buFontTx/>
              <a:buNone/>
              <a:tabLst/>
              <a:defRPr/>
            </a:pPr>
            <a:endParaRPr kumimoji="0" lang="en-US" sz="1200" b="1"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endParaRPr>
          </a:p>
          <a:p>
            <a:pPr marL="0" marR="0" lvl="0" indent="0" algn="l" defTabSz="914400" rtl="0" eaLnBrk="1" fontAlgn="auto" latinLnBrk="0" hangingPunct="1">
              <a:lnSpc>
                <a:spcPct val="90000"/>
              </a:lnSpc>
              <a:spcBef>
                <a:spcPts val="0"/>
              </a:spcBef>
              <a:spcAft>
                <a:spcPts val="600"/>
              </a:spcAft>
              <a:buClrTx/>
              <a:buSzTx/>
              <a:buFontTx/>
              <a:buNone/>
              <a:tabLst/>
              <a:defRPr/>
            </a:pPr>
            <a:endParaRPr kumimoji="0" lang="en-US" sz="1400" b="1"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endParaRPr>
          </a:p>
        </p:txBody>
      </p:sp>
      <p:pic>
        <p:nvPicPr>
          <p:cNvPr id="47" name="Picture 46"/>
          <p:cNvPicPr>
            <a:picLocks noChangeAspect="1"/>
          </p:cNvPicPr>
          <p:nvPr/>
        </p:nvPicPr>
        <p:blipFill>
          <a:blip r:embed="rId3">
            <a:duotone>
              <a:prstClr val="black"/>
              <a:schemeClr val="tx2">
                <a:tint val="45000"/>
                <a:satMod val="400000"/>
              </a:schemeClr>
            </a:duotone>
          </a:blip>
          <a:stretch>
            <a:fillRect/>
          </a:stretch>
        </p:blipFill>
        <p:spPr>
          <a:xfrm>
            <a:off x="8932602" y="5723448"/>
            <a:ext cx="1007507" cy="602999"/>
          </a:xfrm>
          <a:prstGeom prst="rect">
            <a:avLst/>
          </a:prstGeom>
          <a:ln>
            <a:noFill/>
          </a:ln>
          <a:effectLst>
            <a:outerShdw blurRad="190500" algn="tl" rotWithShape="0">
              <a:srgbClr val="000000">
                <a:alpha val="70000"/>
              </a:srgbClr>
            </a:outerShdw>
          </a:effectLst>
        </p:spPr>
      </p:pic>
    </p:spTree>
    <p:extLst>
      <p:ext uri="{BB962C8B-B14F-4D97-AF65-F5344CB8AC3E}">
        <p14:creationId xmlns:p14="http://schemas.microsoft.com/office/powerpoint/2010/main" val="34578966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solidFill>
            <a:schemeClr val="bg1"/>
          </a:solidFill>
        </p:spPr>
        <p:txBody>
          <a:bodyPr/>
          <a:lstStyle/>
          <a:p>
            <a:r>
              <a:rPr lang="pt-PT" dirty="0" err="1">
                <a:solidFill>
                  <a:schemeClr val="tx1"/>
                </a:solidFill>
              </a:rPr>
              <a:t>Visualisations</a:t>
            </a:r>
            <a:r>
              <a:rPr lang="pt-PT" dirty="0">
                <a:solidFill>
                  <a:schemeClr val="tx1"/>
                </a:solidFill>
              </a:rPr>
              <a:t> – Pie </a:t>
            </a:r>
            <a:r>
              <a:rPr lang="pt-PT" dirty="0" err="1">
                <a:solidFill>
                  <a:schemeClr val="tx1"/>
                </a:solidFill>
              </a:rPr>
              <a:t>and</a:t>
            </a:r>
            <a:r>
              <a:rPr lang="pt-PT" dirty="0">
                <a:solidFill>
                  <a:schemeClr val="tx1"/>
                </a:solidFill>
              </a:rPr>
              <a:t> Donut </a:t>
            </a:r>
            <a:r>
              <a:rPr lang="pt-PT" dirty="0" err="1">
                <a:solidFill>
                  <a:schemeClr val="tx1"/>
                </a:solidFill>
              </a:rPr>
              <a:t>Chart</a:t>
            </a:r>
            <a:endParaRPr lang="en-US" sz="3600" dirty="0" err="1">
              <a:solidFill>
                <a:schemeClr val="tx1"/>
              </a:solidFill>
            </a:endParaRPr>
          </a:p>
        </p:txBody>
      </p:sp>
      <p:grpSp>
        <p:nvGrpSpPr>
          <p:cNvPr id="52" name="Group 51"/>
          <p:cNvGrpSpPr/>
          <p:nvPr/>
        </p:nvGrpSpPr>
        <p:grpSpPr>
          <a:xfrm>
            <a:off x="2" y="1"/>
            <a:ext cx="2849058" cy="6858000"/>
            <a:chOff x="2" y="1"/>
            <a:chExt cx="2849058" cy="6858000"/>
          </a:xfrm>
        </p:grpSpPr>
        <p:sp>
          <p:nvSpPr>
            <p:cNvPr id="71" name="Rectangle 70"/>
            <p:cNvSpPr/>
            <p:nvPr/>
          </p:nvSpPr>
          <p:spPr bwMode="auto">
            <a:xfrm>
              <a:off x="2" y="1"/>
              <a:ext cx="2849058"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3" name="Oval 70"/>
            <p:cNvSpPr/>
            <p:nvPr/>
          </p:nvSpPr>
          <p:spPr>
            <a:xfrm>
              <a:off x="1413521" y="4951537"/>
              <a:ext cx="1119626" cy="1119626"/>
            </a:xfrm>
            <a:prstGeom prst="ellipse">
              <a:avLst/>
            </a:prstGeom>
            <a:solidFill>
              <a:srgbClr val="F2C812"/>
            </a:solidFill>
            <a:ln w="3175" cap="flat" cmpd="sng" algn="ctr">
              <a:noFill/>
              <a:prstDash val="solid"/>
            </a:ln>
            <a:effectLst/>
          </p:spPr>
          <p:txBody>
            <a:bodyPr vert="horz" wrap="none" lIns="0" tIns="45720" rIns="0" bIns="0" rtlCol="0" anchor="t"/>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Segoe UI"/>
                  <a:ea typeface="Segoe UI" pitchFamily="34" charset="0"/>
                  <a:cs typeface="Segoe UI" pitchFamily="34" charset="0"/>
                </a:rPr>
                <a:t>Share &amp;</a:t>
              </a:r>
            </a:p>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Segoe UI"/>
                  <a:ea typeface="Segoe UI" pitchFamily="34" charset="0"/>
                  <a:cs typeface="Segoe UI" pitchFamily="34" charset="0"/>
                </a:rPr>
                <a:t>collaborate </a:t>
              </a:r>
            </a:p>
          </p:txBody>
        </p:sp>
        <p:grpSp>
          <p:nvGrpSpPr>
            <p:cNvPr id="76" name="Group 38"/>
            <p:cNvGrpSpPr>
              <a:grpSpLocks noChangeAspect="1"/>
            </p:cNvGrpSpPr>
            <p:nvPr/>
          </p:nvGrpSpPr>
          <p:grpSpPr>
            <a:xfrm>
              <a:off x="676996" y="3930692"/>
              <a:ext cx="383905" cy="351536"/>
              <a:chOff x="4363684" y="5330386"/>
              <a:chExt cx="1409956" cy="1291077"/>
            </a:xfrm>
            <a:solidFill>
              <a:srgbClr val="217346"/>
            </a:solidFill>
          </p:grpSpPr>
          <p:sp>
            <p:nvSpPr>
              <p:cNvPr id="102" name="Donut 3"/>
              <p:cNvSpPr/>
              <p:nvPr/>
            </p:nvSpPr>
            <p:spPr bwMode="auto">
              <a:xfrm>
                <a:off x="4363684" y="5330386"/>
                <a:ext cx="1409956" cy="1291077"/>
              </a:xfrm>
              <a:custGeom>
                <a:avLst/>
                <a:gdLst/>
                <a:ahLst/>
                <a:cxnLst/>
                <a:rect l="l" t="t" r="r" b="b"/>
                <a:pathLst>
                  <a:path w="1409956" h="1291077">
                    <a:moveTo>
                      <a:pt x="956401" y="78410"/>
                    </a:moveTo>
                    <a:cubicBezTo>
                      <a:pt x="747518" y="78410"/>
                      <a:pt x="578184" y="247744"/>
                      <a:pt x="578184" y="456627"/>
                    </a:cubicBezTo>
                    <a:cubicBezTo>
                      <a:pt x="578184" y="665510"/>
                      <a:pt x="747518" y="834844"/>
                      <a:pt x="956401" y="834844"/>
                    </a:cubicBezTo>
                    <a:cubicBezTo>
                      <a:pt x="1165284" y="834844"/>
                      <a:pt x="1334618" y="665510"/>
                      <a:pt x="1334618" y="456627"/>
                    </a:cubicBezTo>
                    <a:cubicBezTo>
                      <a:pt x="1334618" y="247744"/>
                      <a:pt x="1165284" y="78410"/>
                      <a:pt x="956401" y="78410"/>
                    </a:cubicBezTo>
                    <a:close/>
                    <a:moveTo>
                      <a:pt x="952756" y="0"/>
                    </a:moveTo>
                    <a:cubicBezTo>
                      <a:pt x="1205261" y="0"/>
                      <a:pt x="1409956" y="204695"/>
                      <a:pt x="1409956" y="457200"/>
                    </a:cubicBezTo>
                    <a:cubicBezTo>
                      <a:pt x="1409956" y="709705"/>
                      <a:pt x="1205261" y="914400"/>
                      <a:pt x="952756" y="914400"/>
                    </a:cubicBezTo>
                    <a:cubicBezTo>
                      <a:pt x="862133" y="914400"/>
                      <a:pt x="777669" y="888034"/>
                      <a:pt x="707132" y="841746"/>
                    </a:cubicBezTo>
                    <a:lnTo>
                      <a:pt x="136495" y="1280102"/>
                    </a:lnTo>
                    <a:cubicBezTo>
                      <a:pt x="21896" y="1327168"/>
                      <a:pt x="-44029" y="1213730"/>
                      <a:pt x="33797" y="1113182"/>
                    </a:cubicBezTo>
                    <a:lnTo>
                      <a:pt x="568587" y="703518"/>
                    </a:lnTo>
                    <a:cubicBezTo>
                      <a:pt x="522087" y="632814"/>
                      <a:pt x="495556" y="548105"/>
                      <a:pt x="495556" y="457200"/>
                    </a:cubicBezTo>
                    <a:cubicBezTo>
                      <a:pt x="495556" y="204695"/>
                      <a:pt x="700251" y="0"/>
                      <a:pt x="952756" y="0"/>
                    </a:cubicBezTo>
                    <a:close/>
                  </a:path>
                </a:pathLst>
              </a:custGeom>
              <a:grpFill/>
              <a:ln>
                <a:solidFill>
                  <a:srgbClr val="21734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sp>
            <p:nvSpPr>
              <p:cNvPr id="103" name="Rectangle 4"/>
              <p:cNvSpPr/>
              <p:nvPr/>
            </p:nvSpPr>
            <p:spPr>
              <a:xfrm>
                <a:off x="5058389" y="5528247"/>
                <a:ext cx="490885" cy="490020"/>
              </a:xfrm>
              <a:custGeom>
                <a:avLst/>
                <a:gdLst/>
                <a:ahLst/>
                <a:cxnLst/>
                <a:rect l="l" t="t" r="r" b="b"/>
                <a:pathLst>
                  <a:path w="490885" h="490020">
                    <a:moveTo>
                      <a:pt x="240752" y="0"/>
                    </a:moveTo>
                    <a:cubicBezTo>
                      <a:pt x="253961" y="11844"/>
                      <a:pt x="293310" y="49692"/>
                      <a:pt x="337332" y="92439"/>
                    </a:cubicBezTo>
                    <a:lnTo>
                      <a:pt x="328342" y="81259"/>
                    </a:lnTo>
                    <a:cubicBezTo>
                      <a:pt x="356946" y="111282"/>
                      <a:pt x="377251" y="107167"/>
                      <a:pt x="382515" y="87941"/>
                    </a:cubicBezTo>
                    <a:cubicBezTo>
                      <a:pt x="383951" y="76921"/>
                      <a:pt x="384595" y="68732"/>
                      <a:pt x="396997" y="52239"/>
                    </a:cubicBezTo>
                    <a:cubicBezTo>
                      <a:pt x="420362" y="32084"/>
                      <a:pt x="442294" y="41736"/>
                      <a:pt x="454920" y="51330"/>
                    </a:cubicBezTo>
                    <a:cubicBezTo>
                      <a:pt x="467834" y="62761"/>
                      <a:pt x="477920" y="86882"/>
                      <a:pt x="460392" y="109714"/>
                    </a:cubicBezTo>
                    <a:cubicBezTo>
                      <a:pt x="451128" y="121912"/>
                      <a:pt x="437554" y="126838"/>
                      <a:pt x="425922" y="126505"/>
                    </a:cubicBezTo>
                    <a:cubicBezTo>
                      <a:pt x="424301" y="127609"/>
                      <a:pt x="382890" y="134974"/>
                      <a:pt x="427348" y="177672"/>
                    </a:cubicBezTo>
                    <a:lnTo>
                      <a:pt x="416886" y="169735"/>
                    </a:lnTo>
                    <a:cubicBezTo>
                      <a:pt x="450207" y="202177"/>
                      <a:pt x="478424" y="229744"/>
                      <a:pt x="490885" y="241900"/>
                    </a:cubicBezTo>
                    <a:lnTo>
                      <a:pt x="417150" y="317347"/>
                    </a:lnTo>
                    <a:cubicBezTo>
                      <a:pt x="417744" y="316535"/>
                      <a:pt x="418443" y="316123"/>
                      <a:pt x="419047" y="315822"/>
                    </a:cubicBezTo>
                    <a:cubicBezTo>
                      <a:pt x="389023" y="344426"/>
                      <a:pt x="393138" y="364731"/>
                      <a:pt x="412364" y="369995"/>
                    </a:cubicBezTo>
                    <a:cubicBezTo>
                      <a:pt x="423384" y="371431"/>
                      <a:pt x="431574" y="372075"/>
                      <a:pt x="448067" y="384477"/>
                    </a:cubicBezTo>
                    <a:cubicBezTo>
                      <a:pt x="468221" y="407842"/>
                      <a:pt x="458569" y="429774"/>
                      <a:pt x="448975" y="442400"/>
                    </a:cubicBezTo>
                    <a:cubicBezTo>
                      <a:pt x="437545" y="455314"/>
                      <a:pt x="413423" y="465400"/>
                      <a:pt x="390591" y="447872"/>
                    </a:cubicBezTo>
                    <a:cubicBezTo>
                      <a:pt x="378394" y="438608"/>
                      <a:pt x="373468" y="425034"/>
                      <a:pt x="373800" y="413402"/>
                    </a:cubicBezTo>
                    <a:cubicBezTo>
                      <a:pt x="372696" y="411781"/>
                      <a:pt x="365332" y="370370"/>
                      <a:pt x="322634" y="414828"/>
                    </a:cubicBezTo>
                    <a:lnTo>
                      <a:pt x="325243" y="411388"/>
                    </a:lnTo>
                    <a:lnTo>
                      <a:pt x="248395" y="490020"/>
                    </a:lnTo>
                    <a:cubicBezTo>
                      <a:pt x="208939" y="451897"/>
                      <a:pt x="199129" y="442073"/>
                      <a:pt x="174192" y="418236"/>
                    </a:cubicBezTo>
                    <a:cubicBezTo>
                      <a:pt x="145587" y="388212"/>
                      <a:pt x="125282" y="392327"/>
                      <a:pt x="120018" y="411553"/>
                    </a:cubicBezTo>
                    <a:cubicBezTo>
                      <a:pt x="118582" y="422573"/>
                      <a:pt x="117938" y="430763"/>
                      <a:pt x="105536" y="447256"/>
                    </a:cubicBezTo>
                    <a:cubicBezTo>
                      <a:pt x="82171" y="467410"/>
                      <a:pt x="60239" y="457758"/>
                      <a:pt x="47614" y="448164"/>
                    </a:cubicBezTo>
                    <a:cubicBezTo>
                      <a:pt x="34699" y="436734"/>
                      <a:pt x="24614" y="412612"/>
                      <a:pt x="42141" y="389780"/>
                    </a:cubicBezTo>
                    <a:cubicBezTo>
                      <a:pt x="51405" y="377583"/>
                      <a:pt x="64979" y="372657"/>
                      <a:pt x="76612" y="372989"/>
                    </a:cubicBezTo>
                    <a:cubicBezTo>
                      <a:pt x="78232" y="371886"/>
                      <a:pt x="119644" y="364521"/>
                      <a:pt x="75186" y="321823"/>
                    </a:cubicBezTo>
                    <a:cubicBezTo>
                      <a:pt x="58767" y="305402"/>
                      <a:pt x="23648" y="271235"/>
                      <a:pt x="0" y="248738"/>
                    </a:cubicBezTo>
                    <a:lnTo>
                      <a:pt x="77303" y="168146"/>
                    </a:lnTo>
                    <a:cubicBezTo>
                      <a:pt x="104269" y="140313"/>
                      <a:pt x="122130" y="156409"/>
                      <a:pt x="124388" y="175543"/>
                    </a:cubicBezTo>
                    <a:cubicBezTo>
                      <a:pt x="124457" y="182466"/>
                      <a:pt x="127106" y="193106"/>
                      <a:pt x="137575" y="203052"/>
                    </a:cubicBezTo>
                    <a:cubicBezTo>
                      <a:pt x="153931" y="220277"/>
                      <a:pt x="181252" y="217451"/>
                      <a:pt x="196721" y="201951"/>
                    </a:cubicBezTo>
                    <a:cubicBezTo>
                      <a:pt x="211961" y="185740"/>
                      <a:pt x="213057" y="157882"/>
                      <a:pt x="196146" y="142797"/>
                    </a:cubicBezTo>
                    <a:cubicBezTo>
                      <a:pt x="184301" y="132637"/>
                      <a:pt x="177155" y="131453"/>
                      <a:pt x="166513" y="129894"/>
                    </a:cubicBezTo>
                    <a:cubicBezTo>
                      <a:pt x="154522" y="129013"/>
                      <a:pt x="131185" y="112953"/>
                      <a:pt x="157905" y="85228"/>
                    </a:cubicBezTo>
                    <a:close/>
                  </a:path>
                </a:pathLst>
              </a:custGeom>
              <a:grpFill/>
              <a:ln>
                <a:solidFill>
                  <a:srgbClr val="21734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grpSp>
        <p:sp>
          <p:nvSpPr>
            <p:cNvPr id="77" name="Oval 47"/>
            <p:cNvSpPr/>
            <p:nvPr/>
          </p:nvSpPr>
          <p:spPr>
            <a:xfrm>
              <a:off x="388608" y="3710471"/>
              <a:ext cx="1119626" cy="1119626"/>
            </a:xfrm>
            <a:prstGeom prst="ellipse">
              <a:avLst/>
            </a:prstGeom>
            <a:solidFill>
              <a:srgbClr val="F2C812"/>
            </a:solidFill>
            <a:ln w="3175" cap="flat" cmpd="sng" algn="ctr">
              <a:noFill/>
              <a:prstDash val="solid"/>
            </a:ln>
            <a:effectLst/>
          </p:spPr>
          <p:txBody>
            <a:bodyPr vert="horz" wrap="none" lIns="0" tIns="45720" rIns="0" bIns="0" rtlCol="0" anchor="t"/>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Segoe UI"/>
                  <a:ea typeface="Segoe UI" pitchFamily="34" charset="0"/>
                  <a:cs typeface="Segoe UI" pitchFamily="34" charset="0"/>
                </a:rPr>
                <a:t>Report</a:t>
              </a:r>
            </a:p>
          </p:txBody>
        </p:sp>
        <p:sp>
          <p:nvSpPr>
            <p:cNvPr id="78" name="Oval 950"/>
            <p:cNvSpPr/>
            <p:nvPr/>
          </p:nvSpPr>
          <p:spPr>
            <a:xfrm>
              <a:off x="388608" y="1252295"/>
              <a:ext cx="1119626" cy="1119626"/>
            </a:xfrm>
            <a:prstGeom prst="ellipse">
              <a:avLst/>
            </a:prstGeom>
            <a:solidFill>
              <a:srgbClr val="F2C812"/>
            </a:solidFill>
            <a:ln w="3175" cap="flat" cmpd="sng" algn="ctr">
              <a:noFill/>
              <a:prstDash val="solid"/>
            </a:ln>
            <a:effectLst/>
          </p:spPr>
          <p:txBody>
            <a:bodyPr vert="horz" wrap="none" lIns="0" tIns="45720" rIns="0" bIns="0" rtlCol="0" anchor="t"/>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1" i="0" u="none" strike="noStrike" kern="1200" cap="none" spc="0" normalizeH="0" baseline="0" noProof="0">
                <a:ln>
                  <a:noFill/>
                </a:ln>
                <a:solidFill>
                  <a:srgbClr val="217346"/>
                </a:solidFill>
                <a:effectLst/>
                <a:uLnTx/>
                <a:uFillTx/>
                <a:latin typeface="Segoe UI"/>
                <a:ea typeface="Segoe UI" pitchFamily="34" charset="0"/>
                <a:cs typeface="Segoe UI" pitchFamily="34" charset="0"/>
              </a:endParaRPr>
            </a:p>
          </p:txBody>
        </p:sp>
        <p:grpSp>
          <p:nvGrpSpPr>
            <p:cNvPr id="79" name="Group 78"/>
            <p:cNvGrpSpPr/>
            <p:nvPr/>
          </p:nvGrpSpPr>
          <p:grpSpPr>
            <a:xfrm>
              <a:off x="1264851" y="3482890"/>
              <a:ext cx="292254" cy="354906"/>
              <a:chOff x="1296521" y="3253388"/>
              <a:chExt cx="292254" cy="354906"/>
            </a:xfrm>
            <a:solidFill>
              <a:srgbClr val="F2C812"/>
            </a:solidFill>
          </p:grpSpPr>
          <p:sp>
            <p:nvSpPr>
              <p:cNvPr id="99" name="Isosceles Triangle 98"/>
              <p:cNvSpPr/>
              <p:nvPr/>
            </p:nvSpPr>
            <p:spPr bwMode="auto">
              <a:xfrm rot="13636515">
                <a:off x="1461362" y="328936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0" name="Isosceles Triangle 99"/>
              <p:cNvSpPr/>
              <p:nvPr/>
            </p:nvSpPr>
            <p:spPr bwMode="auto">
              <a:xfrm rot="13636515">
                <a:off x="1357669" y="338258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1" name="Isosceles Triangle 100"/>
              <p:cNvSpPr/>
              <p:nvPr/>
            </p:nvSpPr>
            <p:spPr bwMode="auto">
              <a:xfrm rot="13636515">
                <a:off x="1260548" y="3480882"/>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80" name="Group 79"/>
            <p:cNvGrpSpPr/>
            <p:nvPr/>
          </p:nvGrpSpPr>
          <p:grpSpPr>
            <a:xfrm rot="15940603">
              <a:off x="1334576" y="2204404"/>
              <a:ext cx="292254" cy="354906"/>
              <a:chOff x="1296521" y="3253388"/>
              <a:chExt cx="292254" cy="354906"/>
            </a:xfrm>
            <a:solidFill>
              <a:srgbClr val="F2C812"/>
            </a:solidFill>
          </p:grpSpPr>
          <p:sp>
            <p:nvSpPr>
              <p:cNvPr id="96" name="Isosceles Triangle 95"/>
              <p:cNvSpPr/>
              <p:nvPr/>
            </p:nvSpPr>
            <p:spPr bwMode="auto">
              <a:xfrm rot="13636515">
                <a:off x="1461362" y="328936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7" name="Isosceles Triangle 96"/>
              <p:cNvSpPr/>
              <p:nvPr/>
            </p:nvSpPr>
            <p:spPr bwMode="auto">
              <a:xfrm rot="13636515">
                <a:off x="1357669" y="338258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8" name="Isosceles Triangle 97"/>
              <p:cNvSpPr/>
              <p:nvPr/>
            </p:nvSpPr>
            <p:spPr bwMode="auto">
              <a:xfrm rot="13636515">
                <a:off x="1260548" y="3480882"/>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81" name="Group 80"/>
            <p:cNvGrpSpPr/>
            <p:nvPr/>
          </p:nvGrpSpPr>
          <p:grpSpPr>
            <a:xfrm rot="16043978">
              <a:off x="1317220" y="4717577"/>
              <a:ext cx="292254" cy="354906"/>
              <a:chOff x="1296521" y="3253388"/>
              <a:chExt cx="292254" cy="354906"/>
            </a:xfrm>
            <a:solidFill>
              <a:srgbClr val="F2C812"/>
            </a:solidFill>
          </p:grpSpPr>
          <p:sp>
            <p:nvSpPr>
              <p:cNvPr id="93" name="Isosceles Triangle 92"/>
              <p:cNvSpPr/>
              <p:nvPr/>
            </p:nvSpPr>
            <p:spPr bwMode="auto">
              <a:xfrm rot="13636515">
                <a:off x="1461362" y="328936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4" name="Isosceles Triangle 93"/>
              <p:cNvSpPr/>
              <p:nvPr/>
            </p:nvSpPr>
            <p:spPr bwMode="auto">
              <a:xfrm rot="13636515">
                <a:off x="1357669" y="338258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5" name="Isosceles Triangle 94"/>
              <p:cNvSpPr/>
              <p:nvPr/>
            </p:nvSpPr>
            <p:spPr bwMode="auto">
              <a:xfrm rot="13636515">
                <a:off x="1260548" y="3480882"/>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82" name="Oval 36"/>
            <p:cNvSpPr/>
            <p:nvPr/>
          </p:nvSpPr>
          <p:spPr>
            <a:xfrm>
              <a:off x="1413521" y="2481383"/>
              <a:ext cx="1119626" cy="1119626"/>
            </a:xfrm>
            <a:prstGeom prst="ellipse">
              <a:avLst/>
            </a:prstGeom>
            <a:solidFill>
              <a:srgbClr val="F2C812"/>
            </a:solidFill>
            <a:ln w="3175" cap="flat" cmpd="sng" algn="ctr">
              <a:noFill/>
              <a:prstDash val="solid"/>
            </a:ln>
            <a:effectLst/>
          </p:spPr>
          <p:txBody>
            <a:bodyPr vert="horz" wrap="none" lIns="0" tIns="0" rIns="0" bIns="0" rtlCol="0" anchor="t"/>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400" b="1" i="0" u="none" strike="noStrike" kern="1200" cap="none" spc="0" normalizeH="0" baseline="0" noProof="0">
                <a:ln>
                  <a:noFill/>
                </a:ln>
                <a:solidFill>
                  <a:srgbClr val="217346"/>
                </a:solidFill>
                <a:effectLst/>
                <a:uLnTx/>
                <a:uFillTx/>
                <a:latin typeface="Segoe UI"/>
                <a:ea typeface="Segoe UI" pitchFamily="34" charset="0"/>
                <a:cs typeface="Segoe UI" pitchFamily="34" charset="0"/>
              </a:endParaRPr>
            </a:p>
          </p:txBody>
        </p:sp>
        <p:sp>
          <p:nvSpPr>
            <p:cNvPr id="83" name="Donut 3"/>
            <p:cNvSpPr/>
            <p:nvPr/>
          </p:nvSpPr>
          <p:spPr bwMode="auto">
            <a:xfrm>
              <a:off x="1742065" y="3002355"/>
              <a:ext cx="383905" cy="351537"/>
            </a:xfrm>
            <a:custGeom>
              <a:avLst/>
              <a:gdLst/>
              <a:ahLst/>
              <a:cxnLst/>
              <a:rect l="l" t="t" r="r" b="b"/>
              <a:pathLst>
                <a:path w="1409956" h="1291077">
                  <a:moveTo>
                    <a:pt x="956401" y="78410"/>
                  </a:moveTo>
                  <a:cubicBezTo>
                    <a:pt x="747518" y="78410"/>
                    <a:pt x="578184" y="247744"/>
                    <a:pt x="578184" y="456627"/>
                  </a:cubicBezTo>
                  <a:cubicBezTo>
                    <a:pt x="578184" y="665510"/>
                    <a:pt x="747518" y="834844"/>
                    <a:pt x="956401" y="834844"/>
                  </a:cubicBezTo>
                  <a:cubicBezTo>
                    <a:pt x="1165284" y="834844"/>
                    <a:pt x="1334618" y="665510"/>
                    <a:pt x="1334618" y="456627"/>
                  </a:cubicBezTo>
                  <a:cubicBezTo>
                    <a:pt x="1334618" y="247744"/>
                    <a:pt x="1165284" y="78410"/>
                    <a:pt x="956401" y="78410"/>
                  </a:cubicBezTo>
                  <a:close/>
                  <a:moveTo>
                    <a:pt x="952756" y="0"/>
                  </a:moveTo>
                  <a:cubicBezTo>
                    <a:pt x="1205261" y="0"/>
                    <a:pt x="1409956" y="204695"/>
                    <a:pt x="1409956" y="457200"/>
                  </a:cubicBezTo>
                  <a:cubicBezTo>
                    <a:pt x="1409956" y="709705"/>
                    <a:pt x="1205261" y="914400"/>
                    <a:pt x="952756" y="914400"/>
                  </a:cubicBezTo>
                  <a:cubicBezTo>
                    <a:pt x="862133" y="914400"/>
                    <a:pt x="777669" y="888034"/>
                    <a:pt x="707132" y="841746"/>
                  </a:cubicBezTo>
                  <a:lnTo>
                    <a:pt x="136495" y="1280102"/>
                  </a:lnTo>
                  <a:cubicBezTo>
                    <a:pt x="21896" y="1327168"/>
                    <a:pt x="-44029" y="1213730"/>
                    <a:pt x="33797" y="1113182"/>
                  </a:cubicBezTo>
                  <a:lnTo>
                    <a:pt x="568587" y="703518"/>
                  </a:lnTo>
                  <a:cubicBezTo>
                    <a:pt x="522087" y="632814"/>
                    <a:pt x="495556" y="548105"/>
                    <a:pt x="495556" y="457200"/>
                  </a:cubicBezTo>
                  <a:cubicBezTo>
                    <a:pt x="495556" y="204695"/>
                    <a:pt x="700251" y="0"/>
                    <a:pt x="952756" y="0"/>
                  </a:cubicBezTo>
                  <a:close/>
                </a:path>
              </a:pathLst>
            </a:cu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sp>
          <p:nvSpPr>
            <p:cNvPr id="84" name="Rectangle 83"/>
            <p:cNvSpPr/>
            <p:nvPr/>
          </p:nvSpPr>
          <p:spPr>
            <a:xfrm>
              <a:off x="1600398" y="2677430"/>
              <a:ext cx="820353" cy="307777"/>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Segoe UI"/>
                  <a:ea typeface="Segoe UI" pitchFamily="34" charset="0"/>
                  <a:cs typeface="Segoe UI" pitchFamily="34" charset="0"/>
                </a:rPr>
                <a:t>Explore</a:t>
              </a:r>
              <a:endParaRPr kumimoji="0" lang="en-US" sz="16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85" name="Rectangle 84"/>
            <p:cNvSpPr/>
            <p:nvPr/>
          </p:nvSpPr>
          <p:spPr>
            <a:xfrm>
              <a:off x="509174" y="1475232"/>
              <a:ext cx="838756" cy="307777"/>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Segoe UI"/>
                  <a:ea typeface="Segoe UI" pitchFamily="34" charset="0"/>
                  <a:cs typeface="Segoe UI" pitchFamily="34" charset="0"/>
                </a:rPr>
                <a:t>Prepare</a:t>
              </a:r>
              <a:endParaRPr kumimoji="0" lang="en-US" sz="14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86" name="Freeform 85"/>
            <p:cNvSpPr>
              <a:spLocks noChangeAspect="1"/>
            </p:cNvSpPr>
            <p:nvPr/>
          </p:nvSpPr>
          <p:spPr bwMode="black">
            <a:xfrm>
              <a:off x="1836174" y="5643069"/>
              <a:ext cx="274320" cy="284173"/>
            </a:xfrm>
            <a:custGeom>
              <a:avLst/>
              <a:gdLst>
                <a:gd name="T0" fmla="*/ 539 w 669"/>
                <a:gd name="T1" fmla="*/ 5 h 693"/>
                <a:gd name="T2" fmla="*/ 640 w 669"/>
                <a:gd name="T3" fmla="*/ 55 h 693"/>
                <a:gd name="T4" fmla="*/ 603 w 669"/>
                <a:gd name="T5" fmla="*/ 195 h 693"/>
                <a:gd name="T6" fmla="*/ 490 w 669"/>
                <a:gd name="T7" fmla="*/ 188 h 693"/>
                <a:gd name="T8" fmla="*/ 479 w 669"/>
                <a:gd name="T9" fmla="*/ 176 h 693"/>
                <a:gd name="T10" fmla="*/ 213 w 669"/>
                <a:gd name="T11" fmla="*/ 330 h 693"/>
                <a:gd name="T12" fmla="*/ 218 w 669"/>
                <a:gd name="T13" fmla="*/ 345 h 693"/>
                <a:gd name="T14" fmla="*/ 218 w 669"/>
                <a:gd name="T15" fmla="*/ 375 h 693"/>
                <a:gd name="T16" fmla="*/ 209 w 669"/>
                <a:gd name="T17" fmla="*/ 402 h 693"/>
                <a:gd name="T18" fmla="*/ 369 w 669"/>
                <a:gd name="T19" fmla="*/ 503 h 693"/>
                <a:gd name="T20" fmla="*/ 373 w 669"/>
                <a:gd name="T21" fmla="*/ 498 h 693"/>
                <a:gd name="T22" fmla="*/ 456 w 669"/>
                <a:gd name="T23" fmla="*/ 475 h 693"/>
                <a:gd name="T24" fmla="*/ 494 w 669"/>
                <a:gd name="T25" fmla="*/ 489 h 693"/>
                <a:gd name="T26" fmla="*/ 527 w 669"/>
                <a:gd name="T27" fmla="*/ 630 h 693"/>
                <a:gd name="T28" fmla="*/ 386 w 669"/>
                <a:gd name="T29" fmla="*/ 663 h 693"/>
                <a:gd name="T30" fmla="*/ 339 w 669"/>
                <a:gd name="T31" fmla="*/ 560 h 693"/>
                <a:gd name="T32" fmla="*/ 345 w 669"/>
                <a:gd name="T33" fmla="*/ 544 h 693"/>
                <a:gd name="T34" fmla="*/ 177 w 669"/>
                <a:gd name="T35" fmla="*/ 439 h 693"/>
                <a:gd name="T36" fmla="*/ 168 w 669"/>
                <a:gd name="T37" fmla="*/ 446 h 693"/>
                <a:gd name="T38" fmla="*/ 28 w 669"/>
                <a:gd name="T39" fmla="*/ 409 h 693"/>
                <a:gd name="T40" fmla="*/ 65 w 669"/>
                <a:gd name="T41" fmla="*/ 269 h 693"/>
                <a:gd name="T42" fmla="*/ 178 w 669"/>
                <a:gd name="T43" fmla="*/ 276 h 693"/>
                <a:gd name="T44" fmla="*/ 189 w 669"/>
                <a:gd name="T45" fmla="*/ 288 h 693"/>
                <a:gd name="T46" fmla="*/ 455 w 669"/>
                <a:gd name="T47" fmla="*/ 134 h 693"/>
                <a:gd name="T48" fmla="*/ 450 w 669"/>
                <a:gd name="T49" fmla="*/ 119 h 693"/>
                <a:gd name="T50" fmla="*/ 501 w 669"/>
                <a:gd name="T51" fmla="*/ 18 h 693"/>
                <a:gd name="T52" fmla="*/ 539 w 669"/>
                <a:gd name="T53" fmla="*/ 5 h 6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69" h="693">
                  <a:moveTo>
                    <a:pt x="539" y="5"/>
                  </a:moveTo>
                  <a:cubicBezTo>
                    <a:pt x="579" y="0"/>
                    <a:pt x="619" y="19"/>
                    <a:pt x="640" y="55"/>
                  </a:cubicBezTo>
                  <a:cubicBezTo>
                    <a:pt x="669" y="104"/>
                    <a:pt x="652" y="167"/>
                    <a:pt x="603" y="195"/>
                  </a:cubicBezTo>
                  <a:cubicBezTo>
                    <a:pt x="566" y="216"/>
                    <a:pt x="522" y="212"/>
                    <a:pt x="490" y="188"/>
                  </a:cubicBezTo>
                  <a:cubicBezTo>
                    <a:pt x="479" y="176"/>
                    <a:pt x="479" y="176"/>
                    <a:pt x="479" y="176"/>
                  </a:cubicBezTo>
                  <a:cubicBezTo>
                    <a:pt x="213" y="330"/>
                    <a:pt x="213" y="330"/>
                    <a:pt x="213" y="330"/>
                  </a:cubicBezTo>
                  <a:cubicBezTo>
                    <a:pt x="218" y="345"/>
                    <a:pt x="218" y="345"/>
                    <a:pt x="218" y="345"/>
                  </a:cubicBezTo>
                  <a:cubicBezTo>
                    <a:pt x="219" y="355"/>
                    <a:pt x="219" y="365"/>
                    <a:pt x="218" y="375"/>
                  </a:cubicBezTo>
                  <a:cubicBezTo>
                    <a:pt x="209" y="402"/>
                    <a:pt x="209" y="402"/>
                    <a:pt x="209" y="402"/>
                  </a:cubicBezTo>
                  <a:cubicBezTo>
                    <a:pt x="369" y="503"/>
                    <a:pt x="369" y="503"/>
                    <a:pt x="369" y="503"/>
                  </a:cubicBezTo>
                  <a:cubicBezTo>
                    <a:pt x="373" y="498"/>
                    <a:pt x="373" y="498"/>
                    <a:pt x="373" y="498"/>
                  </a:cubicBezTo>
                  <a:cubicBezTo>
                    <a:pt x="396" y="479"/>
                    <a:pt x="427" y="470"/>
                    <a:pt x="456" y="475"/>
                  </a:cubicBezTo>
                  <a:cubicBezTo>
                    <a:pt x="470" y="477"/>
                    <a:pt x="482" y="482"/>
                    <a:pt x="494" y="489"/>
                  </a:cubicBezTo>
                  <a:cubicBezTo>
                    <a:pt x="542" y="519"/>
                    <a:pt x="557" y="583"/>
                    <a:pt x="527" y="630"/>
                  </a:cubicBezTo>
                  <a:cubicBezTo>
                    <a:pt x="497" y="678"/>
                    <a:pt x="433" y="693"/>
                    <a:pt x="386" y="663"/>
                  </a:cubicBezTo>
                  <a:cubicBezTo>
                    <a:pt x="350" y="640"/>
                    <a:pt x="333" y="599"/>
                    <a:pt x="339" y="560"/>
                  </a:cubicBezTo>
                  <a:cubicBezTo>
                    <a:pt x="345" y="544"/>
                    <a:pt x="345" y="544"/>
                    <a:pt x="345" y="544"/>
                  </a:cubicBezTo>
                  <a:cubicBezTo>
                    <a:pt x="177" y="439"/>
                    <a:pt x="177" y="439"/>
                    <a:pt x="177" y="439"/>
                  </a:cubicBezTo>
                  <a:cubicBezTo>
                    <a:pt x="168" y="446"/>
                    <a:pt x="168" y="446"/>
                    <a:pt x="168" y="446"/>
                  </a:cubicBezTo>
                  <a:cubicBezTo>
                    <a:pt x="119" y="475"/>
                    <a:pt x="56" y="458"/>
                    <a:pt x="28" y="409"/>
                  </a:cubicBezTo>
                  <a:cubicBezTo>
                    <a:pt x="0" y="360"/>
                    <a:pt x="16" y="297"/>
                    <a:pt x="65" y="269"/>
                  </a:cubicBezTo>
                  <a:cubicBezTo>
                    <a:pt x="102" y="248"/>
                    <a:pt x="147" y="252"/>
                    <a:pt x="178" y="276"/>
                  </a:cubicBezTo>
                  <a:cubicBezTo>
                    <a:pt x="189" y="288"/>
                    <a:pt x="189" y="288"/>
                    <a:pt x="189" y="288"/>
                  </a:cubicBezTo>
                  <a:cubicBezTo>
                    <a:pt x="455" y="134"/>
                    <a:pt x="455" y="134"/>
                    <a:pt x="455" y="134"/>
                  </a:cubicBezTo>
                  <a:cubicBezTo>
                    <a:pt x="450" y="119"/>
                    <a:pt x="450" y="119"/>
                    <a:pt x="450" y="119"/>
                  </a:cubicBezTo>
                  <a:cubicBezTo>
                    <a:pt x="445" y="80"/>
                    <a:pt x="464" y="39"/>
                    <a:pt x="501" y="18"/>
                  </a:cubicBezTo>
                  <a:cubicBezTo>
                    <a:pt x="513" y="11"/>
                    <a:pt x="526" y="6"/>
                    <a:pt x="539" y="5"/>
                  </a:cubicBezTo>
                  <a:close/>
                </a:path>
              </a:pathLst>
            </a:custGeom>
            <a:solidFill>
              <a:schemeClr val="tx1"/>
            </a:solidFill>
            <a:ln>
              <a:noFill/>
            </a:ln>
          </p:spPr>
          <p:txBody>
            <a:bodyPr vert="horz" wrap="square" lIns="68574" tIns="34287" rIns="68574" bIns="34287"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0000"/>
                </a:solidFill>
                <a:effectLst/>
                <a:uLnTx/>
                <a:uFillTx/>
                <a:latin typeface="Segoe UI"/>
                <a:ea typeface="+mn-ea"/>
                <a:cs typeface="+mn-cs"/>
              </a:endParaRPr>
            </a:p>
          </p:txBody>
        </p:sp>
        <p:sp>
          <p:nvSpPr>
            <p:cNvPr id="87" name="Freeform 86"/>
            <p:cNvSpPr>
              <a:spLocks noChangeAspect="1" noEditPoints="1"/>
            </p:cNvSpPr>
            <p:nvPr/>
          </p:nvSpPr>
          <p:spPr bwMode="black">
            <a:xfrm>
              <a:off x="722320" y="1783009"/>
              <a:ext cx="452202" cy="366660"/>
            </a:xfrm>
            <a:custGeom>
              <a:avLst/>
              <a:gdLst>
                <a:gd name="T0" fmla="*/ 600 w 1107"/>
                <a:gd name="T1" fmla="*/ 625 h 897"/>
                <a:gd name="T2" fmla="*/ 649 w 1107"/>
                <a:gd name="T3" fmla="*/ 567 h 897"/>
                <a:gd name="T4" fmla="*/ 727 w 1107"/>
                <a:gd name="T5" fmla="*/ 482 h 897"/>
                <a:gd name="T6" fmla="*/ 601 w 1107"/>
                <a:gd name="T7" fmla="*/ 434 h 897"/>
                <a:gd name="T8" fmla="*/ 628 w 1107"/>
                <a:gd name="T9" fmla="*/ 305 h 897"/>
                <a:gd name="T10" fmla="*/ 547 w 1107"/>
                <a:gd name="T11" fmla="*/ 240 h 897"/>
                <a:gd name="T12" fmla="*/ 427 w 1107"/>
                <a:gd name="T13" fmla="*/ 287 h 897"/>
                <a:gd name="T14" fmla="*/ 368 w 1107"/>
                <a:gd name="T15" fmla="*/ 170 h 897"/>
                <a:gd name="T16" fmla="*/ 285 w 1107"/>
                <a:gd name="T17" fmla="*/ 263 h 897"/>
                <a:gd name="T18" fmla="*/ 241 w 1107"/>
                <a:gd name="T19" fmla="*/ 313 h 897"/>
                <a:gd name="T20" fmla="*/ 139 w 1107"/>
                <a:gd name="T21" fmla="*/ 281 h 897"/>
                <a:gd name="T22" fmla="*/ 79 w 1107"/>
                <a:gd name="T23" fmla="*/ 355 h 897"/>
                <a:gd name="T24" fmla="*/ 132 w 1107"/>
                <a:gd name="T25" fmla="*/ 446 h 897"/>
                <a:gd name="T26" fmla="*/ 83 w 1107"/>
                <a:gd name="T27" fmla="*/ 505 h 897"/>
                <a:gd name="T28" fmla="*/ 5 w 1107"/>
                <a:gd name="T29" fmla="*/ 590 h 897"/>
                <a:gd name="T30" fmla="*/ 132 w 1107"/>
                <a:gd name="T31" fmla="*/ 638 h 897"/>
                <a:gd name="T32" fmla="*/ 145 w 1107"/>
                <a:gd name="T33" fmla="*/ 669 h 897"/>
                <a:gd name="T34" fmla="*/ 110 w 1107"/>
                <a:gd name="T35" fmla="*/ 793 h 897"/>
                <a:gd name="T36" fmla="*/ 230 w 1107"/>
                <a:gd name="T37" fmla="*/ 781 h 897"/>
                <a:gd name="T38" fmla="*/ 306 w 1107"/>
                <a:gd name="T39" fmla="*/ 785 h 897"/>
                <a:gd name="T40" fmla="*/ 346 w 1107"/>
                <a:gd name="T41" fmla="*/ 878 h 897"/>
                <a:gd name="T42" fmla="*/ 440 w 1107"/>
                <a:gd name="T43" fmla="*/ 872 h 897"/>
                <a:gd name="T44" fmla="*/ 466 w 1107"/>
                <a:gd name="T45" fmla="*/ 764 h 897"/>
                <a:gd name="T46" fmla="*/ 539 w 1107"/>
                <a:gd name="T47" fmla="*/ 755 h 897"/>
                <a:gd name="T48" fmla="*/ 659 w 1107"/>
                <a:gd name="T49" fmla="*/ 743 h 897"/>
                <a:gd name="T50" fmla="*/ 263 w 1107"/>
                <a:gd name="T51" fmla="*/ 452 h 897"/>
                <a:gd name="T52" fmla="*/ 281 w 1107"/>
                <a:gd name="T53" fmla="*/ 633 h 897"/>
                <a:gd name="T54" fmla="*/ 1002 w 1107"/>
                <a:gd name="T55" fmla="*/ 332 h 897"/>
                <a:gd name="T56" fmla="*/ 1043 w 1107"/>
                <a:gd name="T57" fmla="*/ 304 h 897"/>
                <a:gd name="T58" fmla="*/ 1107 w 1107"/>
                <a:gd name="T59" fmla="*/ 266 h 897"/>
                <a:gd name="T60" fmla="*/ 1037 w 1107"/>
                <a:gd name="T61" fmla="*/ 213 h 897"/>
                <a:gd name="T62" fmla="*/ 1077 w 1107"/>
                <a:gd name="T63" fmla="*/ 138 h 897"/>
                <a:gd name="T64" fmla="*/ 1038 w 1107"/>
                <a:gd name="T65" fmla="*/ 83 h 897"/>
                <a:gd name="T66" fmla="*/ 956 w 1107"/>
                <a:gd name="T67" fmla="*/ 91 h 897"/>
                <a:gd name="T68" fmla="*/ 940 w 1107"/>
                <a:gd name="T69" fmla="*/ 7 h 897"/>
                <a:gd name="T70" fmla="*/ 872 w 1107"/>
                <a:gd name="T71" fmla="*/ 50 h 897"/>
                <a:gd name="T72" fmla="*/ 836 w 1107"/>
                <a:gd name="T73" fmla="*/ 74 h 897"/>
                <a:gd name="T74" fmla="*/ 778 w 1107"/>
                <a:gd name="T75" fmla="*/ 35 h 897"/>
                <a:gd name="T76" fmla="*/ 728 w 1107"/>
                <a:gd name="T77" fmla="*/ 70 h 897"/>
                <a:gd name="T78" fmla="*/ 744 w 1107"/>
                <a:gd name="T79" fmla="*/ 136 h 897"/>
                <a:gd name="T80" fmla="*/ 703 w 1107"/>
                <a:gd name="T81" fmla="*/ 164 h 897"/>
                <a:gd name="T82" fmla="*/ 640 w 1107"/>
                <a:gd name="T83" fmla="*/ 203 h 897"/>
                <a:gd name="T84" fmla="*/ 710 w 1107"/>
                <a:gd name="T85" fmla="*/ 255 h 897"/>
                <a:gd name="T86" fmla="*/ 712 w 1107"/>
                <a:gd name="T87" fmla="*/ 277 h 897"/>
                <a:gd name="T88" fmla="*/ 668 w 1107"/>
                <a:gd name="T89" fmla="*/ 347 h 897"/>
                <a:gd name="T90" fmla="*/ 745 w 1107"/>
                <a:gd name="T91" fmla="*/ 361 h 897"/>
                <a:gd name="T92" fmla="*/ 791 w 1107"/>
                <a:gd name="T93" fmla="*/ 377 h 897"/>
                <a:gd name="T94" fmla="*/ 799 w 1107"/>
                <a:gd name="T95" fmla="*/ 443 h 897"/>
                <a:gd name="T96" fmla="*/ 859 w 1107"/>
                <a:gd name="T97" fmla="*/ 456 h 897"/>
                <a:gd name="T98" fmla="*/ 894 w 1107"/>
                <a:gd name="T99" fmla="*/ 393 h 897"/>
                <a:gd name="T100" fmla="*/ 941 w 1107"/>
                <a:gd name="T101" fmla="*/ 401 h 897"/>
                <a:gd name="T102" fmla="*/ 1018 w 1107"/>
                <a:gd name="T103" fmla="*/ 415 h 897"/>
                <a:gd name="T104" fmla="*/ 825 w 1107"/>
                <a:gd name="T105" fmla="*/ 164 h 897"/>
                <a:gd name="T106" fmla="*/ 803 w 1107"/>
                <a:gd name="T107" fmla="*/ 279 h 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107" h="897">
                  <a:moveTo>
                    <a:pt x="654" y="716"/>
                  </a:moveTo>
                  <a:cubicBezTo>
                    <a:pt x="616" y="670"/>
                    <a:pt x="616" y="670"/>
                    <a:pt x="616" y="670"/>
                  </a:cubicBezTo>
                  <a:cubicBezTo>
                    <a:pt x="593" y="654"/>
                    <a:pt x="603" y="638"/>
                    <a:pt x="600" y="625"/>
                  </a:cubicBezTo>
                  <a:cubicBezTo>
                    <a:pt x="600" y="625"/>
                    <a:pt x="600" y="625"/>
                    <a:pt x="600" y="625"/>
                  </a:cubicBezTo>
                  <a:cubicBezTo>
                    <a:pt x="605" y="617"/>
                    <a:pt x="611" y="609"/>
                    <a:pt x="608" y="596"/>
                  </a:cubicBezTo>
                  <a:cubicBezTo>
                    <a:pt x="618" y="580"/>
                    <a:pt x="623" y="572"/>
                    <a:pt x="649" y="567"/>
                  </a:cubicBezTo>
                  <a:cubicBezTo>
                    <a:pt x="715" y="553"/>
                    <a:pt x="715" y="553"/>
                    <a:pt x="715" y="553"/>
                  </a:cubicBezTo>
                  <a:cubicBezTo>
                    <a:pt x="728" y="550"/>
                    <a:pt x="733" y="542"/>
                    <a:pt x="730" y="529"/>
                  </a:cubicBezTo>
                  <a:cubicBezTo>
                    <a:pt x="727" y="482"/>
                    <a:pt x="727" y="482"/>
                    <a:pt x="727" y="482"/>
                  </a:cubicBezTo>
                  <a:cubicBezTo>
                    <a:pt x="724" y="469"/>
                    <a:pt x="717" y="463"/>
                    <a:pt x="701" y="453"/>
                  </a:cubicBezTo>
                  <a:cubicBezTo>
                    <a:pt x="641" y="459"/>
                    <a:pt x="641" y="459"/>
                    <a:pt x="641" y="459"/>
                  </a:cubicBezTo>
                  <a:cubicBezTo>
                    <a:pt x="620" y="457"/>
                    <a:pt x="604" y="447"/>
                    <a:pt x="601" y="434"/>
                  </a:cubicBezTo>
                  <a:cubicBezTo>
                    <a:pt x="598" y="421"/>
                    <a:pt x="590" y="416"/>
                    <a:pt x="580" y="397"/>
                  </a:cubicBezTo>
                  <a:cubicBezTo>
                    <a:pt x="577" y="384"/>
                    <a:pt x="574" y="371"/>
                    <a:pt x="584" y="355"/>
                  </a:cubicBezTo>
                  <a:cubicBezTo>
                    <a:pt x="628" y="305"/>
                    <a:pt x="628" y="305"/>
                    <a:pt x="628" y="305"/>
                  </a:cubicBezTo>
                  <a:cubicBezTo>
                    <a:pt x="634" y="297"/>
                    <a:pt x="631" y="284"/>
                    <a:pt x="623" y="279"/>
                  </a:cubicBezTo>
                  <a:cubicBezTo>
                    <a:pt x="581" y="240"/>
                    <a:pt x="581" y="240"/>
                    <a:pt x="581" y="240"/>
                  </a:cubicBezTo>
                  <a:cubicBezTo>
                    <a:pt x="573" y="235"/>
                    <a:pt x="560" y="238"/>
                    <a:pt x="547" y="240"/>
                  </a:cubicBezTo>
                  <a:cubicBezTo>
                    <a:pt x="503" y="291"/>
                    <a:pt x="503" y="291"/>
                    <a:pt x="503" y="291"/>
                  </a:cubicBezTo>
                  <a:cubicBezTo>
                    <a:pt x="484" y="302"/>
                    <a:pt x="471" y="304"/>
                    <a:pt x="463" y="299"/>
                  </a:cubicBezTo>
                  <a:cubicBezTo>
                    <a:pt x="456" y="294"/>
                    <a:pt x="435" y="292"/>
                    <a:pt x="427" y="287"/>
                  </a:cubicBezTo>
                  <a:cubicBezTo>
                    <a:pt x="419" y="282"/>
                    <a:pt x="403" y="271"/>
                    <a:pt x="400" y="258"/>
                  </a:cubicBezTo>
                  <a:cubicBezTo>
                    <a:pt x="386" y="193"/>
                    <a:pt x="386" y="193"/>
                    <a:pt x="386" y="193"/>
                  </a:cubicBezTo>
                  <a:cubicBezTo>
                    <a:pt x="384" y="180"/>
                    <a:pt x="368" y="170"/>
                    <a:pt x="368" y="170"/>
                  </a:cubicBezTo>
                  <a:cubicBezTo>
                    <a:pt x="308" y="176"/>
                    <a:pt x="308" y="176"/>
                    <a:pt x="308" y="176"/>
                  </a:cubicBezTo>
                  <a:cubicBezTo>
                    <a:pt x="308" y="176"/>
                    <a:pt x="289" y="187"/>
                    <a:pt x="292" y="200"/>
                  </a:cubicBezTo>
                  <a:cubicBezTo>
                    <a:pt x="285" y="263"/>
                    <a:pt x="285" y="263"/>
                    <a:pt x="285" y="263"/>
                  </a:cubicBezTo>
                  <a:cubicBezTo>
                    <a:pt x="291" y="289"/>
                    <a:pt x="277" y="292"/>
                    <a:pt x="272" y="300"/>
                  </a:cubicBezTo>
                  <a:cubicBezTo>
                    <a:pt x="272" y="300"/>
                    <a:pt x="272" y="300"/>
                    <a:pt x="267" y="308"/>
                  </a:cubicBezTo>
                  <a:cubicBezTo>
                    <a:pt x="259" y="302"/>
                    <a:pt x="246" y="305"/>
                    <a:pt x="241" y="313"/>
                  </a:cubicBezTo>
                  <a:cubicBezTo>
                    <a:pt x="236" y="321"/>
                    <a:pt x="236" y="321"/>
                    <a:pt x="236" y="321"/>
                  </a:cubicBezTo>
                  <a:cubicBezTo>
                    <a:pt x="223" y="324"/>
                    <a:pt x="210" y="327"/>
                    <a:pt x="194" y="317"/>
                  </a:cubicBezTo>
                  <a:cubicBezTo>
                    <a:pt x="139" y="281"/>
                    <a:pt x="139" y="281"/>
                    <a:pt x="139" y="281"/>
                  </a:cubicBezTo>
                  <a:cubicBezTo>
                    <a:pt x="131" y="276"/>
                    <a:pt x="110" y="273"/>
                    <a:pt x="104" y="281"/>
                  </a:cubicBezTo>
                  <a:cubicBezTo>
                    <a:pt x="79" y="321"/>
                    <a:pt x="79" y="321"/>
                    <a:pt x="79" y="321"/>
                  </a:cubicBezTo>
                  <a:cubicBezTo>
                    <a:pt x="66" y="324"/>
                    <a:pt x="68" y="337"/>
                    <a:pt x="79" y="355"/>
                  </a:cubicBezTo>
                  <a:cubicBezTo>
                    <a:pt x="121" y="394"/>
                    <a:pt x="121" y="394"/>
                    <a:pt x="121" y="394"/>
                  </a:cubicBezTo>
                  <a:cubicBezTo>
                    <a:pt x="140" y="417"/>
                    <a:pt x="135" y="425"/>
                    <a:pt x="132" y="446"/>
                  </a:cubicBezTo>
                  <a:cubicBezTo>
                    <a:pt x="132" y="446"/>
                    <a:pt x="132" y="446"/>
                    <a:pt x="132" y="446"/>
                  </a:cubicBezTo>
                  <a:cubicBezTo>
                    <a:pt x="127" y="454"/>
                    <a:pt x="122" y="462"/>
                    <a:pt x="117" y="470"/>
                  </a:cubicBezTo>
                  <a:cubicBezTo>
                    <a:pt x="117" y="470"/>
                    <a:pt x="117" y="470"/>
                    <a:pt x="117" y="470"/>
                  </a:cubicBezTo>
                  <a:cubicBezTo>
                    <a:pt x="120" y="483"/>
                    <a:pt x="109" y="499"/>
                    <a:pt x="83" y="505"/>
                  </a:cubicBezTo>
                  <a:cubicBezTo>
                    <a:pt x="23" y="511"/>
                    <a:pt x="23" y="511"/>
                    <a:pt x="23" y="511"/>
                  </a:cubicBezTo>
                  <a:cubicBezTo>
                    <a:pt x="10" y="514"/>
                    <a:pt x="0" y="529"/>
                    <a:pt x="2" y="543"/>
                  </a:cubicBezTo>
                  <a:cubicBezTo>
                    <a:pt x="5" y="590"/>
                    <a:pt x="5" y="590"/>
                    <a:pt x="5" y="590"/>
                  </a:cubicBezTo>
                  <a:cubicBezTo>
                    <a:pt x="8" y="603"/>
                    <a:pt x="16" y="608"/>
                    <a:pt x="37" y="610"/>
                  </a:cubicBezTo>
                  <a:cubicBezTo>
                    <a:pt x="92" y="612"/>
                    <a:pt x="92" y="612"/>
                    <a:pt x="92" y="612"/>
                  </a:cubicBezTo>
                  <a:cubicBezTo>
                    <a:pt x="113" y="614"/>
                    <a:pt x="129" y="625"/>
                    <a:pt x="132" y="638"/>
                  </a:cubicBezTo>
                  <a:cubicBezTo>
                    <a:pt x="132" y="638"/>
                    <a:pt x="132" y="638"/>
                    <a:pt x="132" y="638"/>
                  </a:cubicBezTo>
                  <a:cubicBezTo>
                    <a:pt x="140" y="643"/>
                    <a:pt x="142" y="656"/>
                    <a:pt x="150" y="661"/>
                  </a:cubicBezTo>
                  <a:cubicBezTo>
                    <a:pt x="145" y="669"/>
                    <a:pt x="145" y="669"/>
                    <a:pt x="145" y="669"/>
                  </a:cubicBezTo>
                  <a:cubicBezTo>
                    <a:pt x="153" y="674"/>
                    <a:pt x="156" y="687"/>
                    <a:pt x="140" y="711"/>
                  </a:cubicBezTo>
                  <a:cubicBezTo>
                    <a:pt x="109" y="759"/>
                    <a:pt x="109" y="759"/>
                    <a:pt x="109" y="759"/>
                  </a:cubicBezTo>
                  <a:cubicBezTo>
                    <a:pt x="99" y="775"/>
                    <a:pt x="102" y="788"/>
                    <a:pt x="110" y="793"/>
                  </a:cubicBezTo>
                  <a:cubicBezTo>
                    <a:pt x="152" y="832"/>
                    <a:pt x="152" y="832"/>
                    <a:pt x="152" y="832"/>
                  </a:cubicBezTo>
                  <a:cubicBezTo>
                    <a:pt x="160" y="837"/>
                    <a:pt x="173" y="834"/>
                    <a:pt x="178" y="826"/>
                  </a:cubicBezTo>
                  <a:cubicBezTo>
                    <a:pt x="230" y="781"/>
                    <a:pt x="230" y="781"/>
                    <a:pt x="230" y="781"/>
                  </a:cubicBezTo>
                  <a:cubicBezTo>
                    <a:pt x="248" y="770"/>
                    <a:pt x="261" y="767"/>
                    <a:pt x="269" y="772"/>
                  </a:cubicBezTo>
                  <a:cubicBezTo>
                    <a:pt x="269" y="772"/>
                    <a:pt x="269" y="772"/>
                    <a:pt x="269" y="772"/>
                  </a:cubicBezTo>
                  <a:cubicBezTo>
                    <a:pt x="282" y="769"/>
                    <a:pt x="298" y="779"/>
                    <a:pt x="306" y="785"/>
                  </a:cubicBezTo>
                  <a:cubicBezTo>
                    <a:pt x="306" y="785"/>
                    <a:pt x="306" y="785"/>
                    <a:pt x="306" y="785"/>
                  </a:cubicBezTo>
                  <a:cubicBezTo>
                    <a:pt x="319" y="782"/>
                    <a:pt x="327" y="787"/>
                    <a:pt x="332" y="813"/>
                  </a:cubicBezTo>
                  <a:cubicBezTo>
                    <a:pt x="346" y="878"/>
                    <a:pt x="346" y="878"/>
                    <a:pt x="346" y="878"/>
                  </a:cubicBezTo>
                  <a:cubicBezTo>
                    <a:pt x="349" y="892"/>
                    <a:pt x="357" y="897"/>
                    <a:pt x="370" y="894"/>
                  </a:cubicBezTo>
                  <a:cubicBezTo>
                    <a:pt x="425" y="896"/>
                    <a:pt x="425" y="896"/>
                    <a:pt x="425" y="896"/>
                  </a:cubicBezTo>
                  <a:cubicBezTo>
                    <a:pt x="430" y="888"/>
                    <a:pt x="443" y="885"/>
                    <a:pt x="440" y="872"/>
                  </a:cubicBezTo>
                  <a:cubicBezTo>
                    <a:pt x="440" y="804"/>
                    <a:pt x="440" y="804"/>
                    <a:pt x="440" y="804"/>
                  </a:cubicBezTo>
                  <a:cubicBezTo>
                    <a:pt x="442" y="783"/>
                    <a:pt x="460" y="772"/>
                    <a:pt x="466" y="764"/>
                  </a:cubicBezTo>
                  <a:cubicBezTo>
                    <a:pt x="466" y="764"/>
                    <a:pt x="466" y="764"/>
                    <a:pt x="466" y="764"/>
                  </a:cubicBezTo>
                  <a:cubicBezTo>
                    <a:pt x="479" y="761"/>
                    <a:pt x="492" y="758"/>
                    <a:pt x="497" y="750"/>
                  </a:cubicBezTo>
                  <a:cubicBezTo>
                    <a:pt x="497" y="750"/>
                    <a:pt x="497" y="750"/>
                    <a:pt x="497" y="750"/>
                  </a:cubicBezTo>
                  <a:cubicBezTo>
                    <a:pt x="510" y="747"/>
                    <a:pt x="523" y="745"/>
                    <a:pt x="539" y="755"/>
                  </a:cubicBezTo>
                  <a:cubicBezTo>
                    <a:pt x="594" y="791"/>
                    <a:pt x="594" y="791"/>
                    <a:pt x="594" y="791"/>
                  </a:cubicBezTo>
                  <a:cubicBezTo>
                    <a:pt x="602" y="796"/>
                    <a:pt x="623" y="798"/>
                    <a:pt x="628" y="790"/>
                  </a:cubicBezTo>
                  <a:cubicBezTo>
                    <a:pt x="659" y="743"/>
                    <a:pt x="659" y="743"/>
                    <a:pt x="659" y="743"/>
                  </a:cubicBezTo>
                  <a:cubicBezTo>
                    <a:pt x="659" y="743"/>
                    <a:pt x="669" y="727"/>
                    <a:pt x="654" y="716"/>
                  </a:cubicBezTo>
                  <a:close/>
                  <a:moveTo>
                    <a:pt x="281" y="633"/>
                  </a:moveTo>
                  <a:cubicBezTo>
                    <a:pt x="223" y="584"/>
                    <a:pt x="219" y="502"/>
                    <a:pt x="263" y="452"/>
                  </a:cubicBezTo>
                  <a:cubicBezTo>
                    <a:pt x="313" y="393"/>
                    <a:pt x="399" y="382"/>
                    <a:pt x="457" y="431"/>
                  </a:cubicBezTo>
                  <a:cubicBezTo>
                    <a:pt x="507" y="475"/>
                    <a:pt x="518" y="561"/>
                    <a:pt x="469" y="619"/>
                  </a:cubicBezTo>
                  <a:cubicBezTo>
                    <a:pt x="420" y="678"/>
                    <a:pt x="339" y="682"/>
                    <a:pt x="281" y="633"/>
                  </a:cubicBezTo>
                  <a:close/>
                  <a:moveTo>
                    <a:pt x="1019" y="398"/>
                  </a:moveTo>
                  <a:cubicBezTo>
                    <a:pt x="1004" y="362"/>
                    <a:pt x="1004" y="362"/>
                    <a:pt x="1004" y="362"/>
                  </a:cubicBezTo>
                  <a:cubicBezTo>
                    <a:pt x="992" y="348"/>
                    <a:pt x="1002" y="340"/>
                    <a:pt x="1002" y="332"/>
                  </a:cubicBezTo>
                  <a:cubicBezTo>
                    <a:pt x="1002" y="332"/>
                    <a:pt x="1002" y="332"/>
                    <a:pt x="1002" y="332"/>
                  </a:cubicBezTo>
                  <a:cubicBezTo>
                    <a:pt x="1007" y="328"/>
                    <a:pt x="1011" y="324"/>
                    <a:pt x="1012" y="315"/>
                  </a:cubicBezTo>
                  <a:cubicBezTo>
                    <a:pt x="1021" y="307"/>
                    <a:pt x="1026" y="303"/>
                    <a:pt x="1043" y="304"/>
                  </a:cubicBezTo>
                  <a:cubicBezTo>
                    <a:pt x="1086" y="307"/>
                    <a:pt x="1086" y="307"/>
                    <a:pt x="1086" y="307"/>
                  </a:cubicBezTo>
                  <a:cubicBezTo>
                    <a:pt x="1095" y="308"/>
                    <a:pt x="1099" y="304"/>
                    <a:pt x="1100" y="295"/>
                  </a:cubicBezTo>
                  <a:cubicBezTo>
                    <a:pt x="1107" y="266"/>
                    <a:pt x="1107" y="266"/>
                    <a:pt x="1107" y="266"/>
                  </a:cubicBezTo>
                  <a:cubicBezTo>
                    <a:pt x="1107" y="257"/>
                    <a:pt x="1103" y="252"/>
                    <a:pt x="1095" y="243"/>
                  </a:cubicBezTo>
                  <a:cubicBezTo>
                    <a:pt x="1057" y="236"/>
                    <a:pt x="1057" y="236"/>
                    <a:pt x="1057" y="236"/>
                  </a:cubicBezTo>
                  <a:cubicBezTo>
                    <a:pt x="1044" y="231"/>
                    <a:pt x="1036" y="222"/>
                    <a:pt x="1037" y="213"/>
                  </a:cubicBezTo>
                  <a:cubicBezTo>
                    <a:pt x="1038" y="205"/>
                    <a:pt x="1034" y="200"/>
                    <a:pt x="1030" y="187"/>
                  </a:cubicBezTo>
                  <a:cubicBezTo>
                    <a:pt x="1031" y="178"/>
                    <a:pt x="1032" y="170"/>
                    <a:pt x="1041" y="162"/>
                  </a:cubicBezTo>
                  <a:cubicBezTo>
                    <a:pt x="1077" y="138"/>
                    <a:pt x="1077" y="138"/>
                    <a:pt x="1077" y="138"/>
                  </a:cubicBezTo>
                  <a:cubicBezTo>
                    <a:pt x="1082" y="134"/>
                    <a:pt x="1083" y="126"/>
                    <a:pt x="1079" y="121"/>
                  </a:cubicBezTo>
                  <a:cubicBezTo>
                    <a:pt x="1059" y="89"/>
                    <a:pt x="1059" y="89"/>
                    <a:pt x="1059" y="89"/>
                  </a:cubicBezTo>
                  <a:cubicBezTo>
                    <a:pt x="1055" y="85"/>
                    <a:pt x="1047" y="84"/>
                    <a:pt x="1038" y="83"/>
                  </a:cubicBezTo>
                  <a:cubicBezTo>
                    <a:pt x="1002" y="107"/>
                    <a:pt x="1002" y="107"/>
                    <a:pt x="1002" y="107"/>
                  </a:cubicBezTo>
                  <a:cubicBezTo>
                    <a:pt x="989" y="110"/>
                    <a:pt x="980" y="110"/>
                    <a:pt x="976" y="105"/>
                  </a:cubicBezTo>
                  <a:cubicBezTo>
                    <a:pt x="972" y="100"/>
                    <a:pt x="960" y="95"/>
                    <a:pt x="956" y="91"/>
                  </a:cubicBezTo>
                  <a:cubicBezTo>
                    <a:pt x="952" y="86"/>
                    <a:pt x="944" y="77"/>
                    <a:pt x="944" y="68"/>
                  </a:cubicBezTo>
                  <a:cubicBezTo>
                    <a:pt x="948" y="25"/>
                    <a:pt x="948" y="25"/>
                    <a:pt x="948" y="25"/>
                  </a:cubicBezTo>
                  <a:cubicBezTo>
                    <a:pt x="948" y="17"/>
                    <a:pt x="940" y="7"/>
                    <a:pt x="940" y="7"/>
                  </a:cubicBezTo>
                  <a:cubicBezTo>
                    <a:pt x="902" y="0"/>
                    <a:pt x="902" y="0"/>
                    <a:pt x="902" y="0"/>
                  </a:cubicBezTo>
                  <a:cubicBezTo>
                    <a:pt x="902" y="0"/>
                    <a:pt x="889" y="4"/>
                    <a:pt x="888" y="12"/>
                  </a:cubicBezTo>
                  <a:cubicBezTo>
                    <a:pt x="872" y="50"/>
                    <a:pt x="872" y="50"/>
                    <a:pt x="872" y="50"/>
                  </a:cubicBezTo>
                  <a:cubicBezTo>
                    <a:pt x="871" y="67"/>
                    <a:pt x="862" y="67"/>
                    <a:pt x="858" y="71"/>
                  </a:cubicBezTo>
                  <a:cubicBezTo>
                    <a:pt x="858" y="71"/>
                    <a:pt x="858" y="71"/>
                    <a:pt x="853" y="75"/>
                  </a:cubicBezTo>
                  <a:cubicBezTo>
                    <a:pt x="849" y="70"/>
                    <a:pt x="840" y="70"/>
                    <a:pt x="836" y="74"/>
                  </a:cubicBezTo>
                  <a:cubicBezTo>
                    <a:pt x="831" y="78"/>
                    <a:pt x="831" y="78"/>
                    <a:pt x="831" y="78"/>
                  </a:cubicBezTo>
                  <a:cubicBezTo>
                    <a:pt x="822" y="77"/>
                    <a:pt x="814" y="76"/>
                    <a:pt x="806" y="67"/>
                  </a:cubicBezTo>
                  <a:cubicBezTo>
                    <a:pt x="778" y="35"/>
                    <a:pt x="778" y="35"/>
                    <a:pt x="778" y="35"/>
                  </a:cubicBezTo>
                  <a:cubicBezTo>
                    <a:pt x="774" y="30"/>
                    <a:pt x="762" y="25"/>
                    <a:pt x="757" y="29"/>
                  </a:cubicBezTo>
                  <a:cubicBezTo>
                    <a:pt x="734" y="49"/>
                    <a:pt x="734" y="49"/>
                    <a:pt x="734" y="49"/>
                  </a:cubicBezTo>
                  <a:cubicBezTo>
                    <a:pt x="725" y="49"/>
                    <a:pt x="725" y="57"/>
                    <a:pt x="728" y="70"/>
                  </a:cubicBezTo>
                  <a:cubicBezTo>
                    <a:pt x="747" y="102"/>
                    <a:pt x="747" y="102"/>
                    <a:pt x="747" y="102"/>
                  </a:cubicBezTo>
                  <a:cubicBezTo>
                    <a:pt x="754" y="120"/>
                    <a:pt x="750" y="124"/>
                    <a:pt x="744" y="136"/>
                  </a:cubicBezTo>
                  <a:cubicBezTo>
                    <a:pt x="744" y="136"/>
                    <a:pt x="744" y="136"/>
                    <a:pt x="744" y="136"/>
                  </a:cubicBezTo>
                  <a:cubicBezTo>
                    <a:pt x="740" y="140"/>
                    <a:pt x="735" y="144"/>
                    <a:pt x="731" y="148"/>
                  </a:cubicBezTo>
                  <a:cubicBezTo>
                    <a:pt x="731" y="148"/>
                    <a:pt x="731" y="148"/>
                    <a:pt x="731" y="148"/>
                  </a:cubicBezTo>
                  <a:cubicBezTo>
                    <a:pt x="730" y="157"/>
                    <a:pt x="721" y="165"/>
                    <a:pt x="703" y="164"/>
                  </a:cubicBezTo>
                  <a:cubicBezTo>
                    <a:pt x="665" y="157"/>
                    <a:pt x="665" y="157"/>
                    <a:pt x="665" y="157"/>
                  </a:cubicBezTo>
                  <a:cubicBezTo>
                    <a:pt x="656" y="156"/>
                    <a:pt x="647" y="164"/>
                    <a:pt x="647" y="173"/>
                  </a:cubicBezTo>
                  <a:cubicBezTo>
                    <a:pt x="640" y="203"/>
                    <a:pt x="640" y="203"/>
                    <a:pt x="640" y="203"/>
                  </a:cubicBezTo>
                  <a:cubicBezTo>
                    <a:pt x="639" y="211"/>
                    <a:pt x="643" y="216"/>
                    <a:pt x="656" y="221"/>
                  </a:cubicBezTo>
                  <a:cubicBezTo>
                    <a:pt x="690" y="232"/>
                    <a:pt x="690" y="232"/>
                    <a:pt x="690" y="232"/>
                  </a:cubicBezTo>
                  <a:cubicBezTo>
                    <a:pt x="702" y="237"/>
                    <a:pt x="710" y="246"/>
                    <a:pt x="710" y="255"/>
                  </a:cubicBezTo>
                  <a:cubicBezTo>
                    <a:pt x="710" y="255"/>
                    <a:pt x="710" y="255"/>
                    <a:pt x="710" y="255"/>
                  </a:cubicBezTo>
                  <a:cubicBezTo>
                    <a:pt x="714" y="260"/>
                    <a:pt x="713" y="268"/>
                    <a:pt x="717" y="273"/>
                  </a:cubicBezTo>
                  <a:cubicBezTo>
                    <a:pt x="712" y="277"/>
                    <a:pt x="712" y="277"/>
                    <a:pt x="712" y="277"/>
                  </a:cubicBezTo>
                  <a:cubicBezTo>
                    <a:pt x="716" y="281"/>
                    <a:pt x="716" y="290"/>
                    <a:pt x="702" y="302"/>
                  </a:cubicBezTo>
                  <a:cubicBezTo>
                    <a:pt x="674" y="326"/>
                    <a:pt x="674" y="326"/>
                    <a:pt x="674" y="326"/>
                  </a:cubicBezTo>
                  <a:cubicBezTo>
                    <a:pt x="665" y="334"/>
                    <a:pt x="664" y="343"/>
                    <a:pt x="668" y="347"/>
                  </a:cubicBezTo>
                  <a:cubicBezTo>
                    <a:pt x="687" y="379"/>
                    <a:pt x="687" y="379"/>
                    <a:pt x="687" y="379"/>
                  </a:cubicBezTo>
                  <a:cubicBezTo>
                    <a:pt x="691" y="383"/>
                    <a:pt x="700" y="384"/>
                    <a:pt x="704" y="380"/>
                  </a:cubicBezTo>
                  <a:cubicBezTo>
                    <a:pt x="745" y="361"/>
                    <a:pt x="745" y="361"/>
                    <a:pt x="745" y="361"/>
                  </a:cubicBezTo>
                  <a:cubicBezTo>
                    <a:pt x="758" y="358"/>
                    <a:pt x="767" y="358"/>
                    <a:pt x="771" y="363"/>
                  </a:cubicBezTo>
                  <a:cubicBezTo>
                    <a:pt x="771" y="363"/>
                    <a:pt x="771" y="363"/>
                    <a:pt x="771" y="363"/>
                  </a:cubicBezTo>
                  <a:cubicBezTo>
                    <a:pt x="779" y="364"/>
                    <a:pt x="787" y="373"/>
                    <a:pt x="791" y="377"/>
                  </a:cubicBezTo>
                  <a:cubicBezTo>
                    <a:pt x="791" y="377"/>
                    <a:pt x="791" y="377"/>
                    <a:pt x="791" y="377"/>
                  </a:cubicBezTo>
                  <a:cubicBezTo>
                    <a:pt x="800" y="378"/>
                    <a:pt x="804" y="383"/>
                    <a:pt x="802" y="400"/>
                  </a:cubicBezTo>
                  <a:cubicBezTo>
                    <a:pt x="799" y="443"/>
                    <a:pt x="799" y="443"/>
                    <a:pt x="799" y="443"/>
                  </a:cubicBezTo>
                  <a:cubicBezTo>
                    <a:pt x="798" y="451"/>
                    <a:pt x="802" y="456"/>
                    <a:pt x="811" y="457"/>
                  </a:cubicBezTo>
                  <a:cubicBezTo>
                    <a:pt x="845" y="468"/>
                    <a:pt x="845" y="468"/>
                    <a:pt x="845" y="468"/>
                  </a:cubicBezTo>
                  <a:cubicBezTo>
                    <a:pt x="849" y="464"/>
                    <a:pt x="858" y="464"/>
                    <a:pt x="859" y="456"/>
                  </a:cubicBezTo>
                  <a:cubicBezTo>
                    <a:pt x="871" y="413"/>
                    <a:pt x="871" y="413"/>
                    <a:pt x="871" y="413"/>
                  </a:cubicBezTo>
                  <a:cubicBezTo>
                    <a:pt x="876" y="401"/>
                    <a:pt x="889" y="397"/>
                    <a:pt x="894" y="393"/>
                  </a:cubicBezTo>
                  <a:cubicBezTo>
                    <a:pt x="894" y="393"/>
                    <a:pt x="894" y="393"/>
                    <a:pt x="894" y="393"/>
                  </a:cubicBezTo>
                  <a:cubicBezTo>
                    <a:pt x="902" y="394"/>
                    <a:pt x="911" y="395"/>
                    <a:pt x="916" y="391"/>
                  </a:cubicBezTo>
                  <a:cubicBezTo>
                    <a:pt x="916" y="391"/>
                    <a:pt x="916" y="391"/>
                    <a:pt x="916" y="391"/>
                  </a:cubicBezTo>
                  <a:cubicBezTo>
                    <a:pt x="924" y="391"/>
                    <a:pt x="933" y="392"/>
                    <a:pt x="941" y="401"/>
                  </a:cubicBezTo>
                  <a:cubicBezTo>
                    <a:pt x="969" y="433"/>
                    <a:pt x="969" y="433"/>
                    <a:pt x="969" y="433"/>
                  </a:cubicBezTo>
                  <a:cubicBezTo>
                    <a:pt x="973" y="438"/>
                    <a:pt x="985" y="443"/>
                    <a:pt x="990" y="439"/>
                  </a:cubicBezTo>
                  <a:cubicBezTo>
                    <a:pt x="1018" y="415"/>
                    <a:pt x="1018" y="415"/>
                    <a:pt x="1018" y="415"/>
                  </a:cubicBezTo>
                  <a:cubicBezTo>
                    <a:pt x="1018" y="415"/>
                    <a:pt x="1027" y="407"/>
                    <a:pt x="1019" y="398"/>
                  </a:cubicBezTo>
                  <a:close/>
                  <a:moveTo>
                    <a:pt x="803" y="279"/>
                  </a:moveTo>
                  <a:cubicBezTo>
                    <a:pt x="776" y="238"/>
                    <a:pt x="788" y="187"/>
                    <a:pt x="825" y="164"/>
                  </a:cubicBezTo>
                  <a:cubicBezTo>
                    <a:pt x="866" y="136"/>
                    <a:pt x="921" y="144"/>
                    <a:pt x="948" y="185"/>
                  </a:cubicBezTo>
                  <a:cubicBezTo>
                    <a:pt x="972" y="221"/>
                    <a:pt x="963" y="277"/>
                    <a:pt x="922" y="304"/>
                  </a:cubicBezTo>
                  <a:cubicBezTo>
                    <a:pt x="881" y="332"/>
                    <a:pt x="830" y="320"/>
                    <a:pt x="803" y="279"/>
                  </a:cubicBezTo>
                  <a:close/>
                </a:path>
              </a:pathLst>
            </a:custGeom>
            <a:solidFill>
              <a:schemeClr val="tx1"/>
            </a:solidFill>
            <a:ln>
              <a:noFill/>
            </a:ln>
          </p:spPr>
          <p:txBody>
            <a:bodyPr vert="horz" wrap="square" lIns="68574" tIns="34287" rIns="68574" bIns="34287"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17346"/>
                </a:solidFill>
                <a:effectLst/>
                <a:uLnTx/>
                <a:uFillTx/>
                <a:latin typeface="Segoe UI"/>
                <a:ea typeface="+mn-ea"/>
                <a:cs typeface="+mn-cs"/>
              </a:endParaRPr>
            </a:p>
          </p:txBody>
        </p:sp>
        <p:sp>
          <p:nvSpPr>
            <p:cNvPr id="88" name="Freeform 87"/>
            <p:cNvSpPr>
              <a:spLocks noChangeAspect="1"/>
            </p:cNvSpPr>
            <p:nvPr/>
          </p:nvSpPr>
          <p:spPr bwMode="black">
            <a:xfrm>
              <a:off x="776985" y="4213905"/>
              <a:ext cx="342871" cy="335728"/>
            </a:xfrm>
            <a:custGeom>
              <a:avLst/>
              <a:gdLst>
                <a:gd name="connsiteX0" fmla="*/ 3713863 w 4893730"/>
                <a:gd name="connsiteY0" fmla="*/ 2130808 h 4791777"/>
                <a:gd name="connsiteX1" fmla="*/ 4426142 w 4893730"/>
                <a:gd name="connsiteY1" fmla="*/ 2130808 h 4791777"/>
                <a:gd name="connsiteX2" fmla="*/ 4598071 w 4893730"/>
                <a:gd name="connsiteY2" fmla="*/ 2301547 h 4791777"/>
                <a:gd name="connsiteX3" fmla="*/ 4598071 w 4893730"/>
                <a:gd name="connsiteY3" fmla="*/ 3886978 h 4791777"/>
                <a:gd name="connsiteX4" fmla="*/ 4426142 w 4893730"/>
                <a:gd name="connsiteY4" fmla="*/ 4057717 h 4791777"/>
                <a:gd name="connsiteX5" fmla="*/ 3713863 w 4893730"/>
                <a:gd name="connsiteY5" fmla="*/ 4057717 h 4791777"/>
                <a:gd name="connsiteX6" fmla="*/ 3517372 w 4893730"/>
                <a:gd name="connsiteY6" fmla="*/ 3886978 h 4791777"/>
                <a:gd name="connsiteX7" fmla="*/ 3517372 w 4893730"/>
                <a:gd name="connsiteY7" fmla="*/ 2301547 h 4791777"/>
                <a:gd name="connsiteX8" fmla="*/ 3713863 w 4893730"/>
                <a:gd name="connsiteY8" fmla="*/ 2130808 h 4791777"/>
                <a:gd name="connsiteX9" fmla="*/ 904368 w 4893730"/>
                <a:gd name="connsiteY9" fmla="*/ 1223432 h 4791777"/>
                <a:gd name="connsiteX10" fmla="*/ 1609930 w 4893730"/>
                <a:gd name="connsiteY10" fmla="*/ 1223432 h 4791777"/>
                <a:gd name="connsiteX11" fmla="*/ 1804567 w 4893730"/>
                <a:gd name="connsiteY11" fmla="*/ 1394467 h 4791777"/>
                <a:gd name="connsiteX12" fmla="*/ 1804567 w 4893730"/>
                <a:gd name="connsiteY12" fmla="*/ 3886683 h 4791777"/>
                <a:gd name="connsiteX13" fmla="*/ 1609930 w 4893730"/>
                <a:gd name="connsiteY13" fmla="*/ 4057717 h 4791777"/>
                <a:gd name="connsiteX14" fmla="*/ 904368 w 4893730"/>
                <a:gd name="connsiteY14" fmla="*/ 4057717 h 4791777"/>
                <a:gd name="connsiteX15" fmla="*/ 734060 w 4893730"/>
                <a:gd name="connsiteY15" fmla="*/ 3886683 h 4791777"/>
                <a:gd name="connsiteX16" fmla="*/ 734060 w 4893730"/>
                <a:gd name="connsiteY16" fmla="*/ 1394467 h 4791777"/>
                <a:gd name="connsiteX17" fmla="*/ 904368 w 4893730"/>
                <a:gd name="connsiteY17" fmla="*/ 1223432 h 4791777"/>
                <a:gd name="connsiteX18" fmla="*/ 2325453 w 4893730"/>
                <a:gd name="connsiteY18" fmla="*/ 316050 h 4791777"/>
                <a:gd name="connsiteX19" fmla="*/ 3031014 w 4893730"/>
                <a:gd name="connsiteY19" fmla="*/ 316050 h 4791777"/>
                <a:gd name="connsiteX20" fmla="*/ 3201322 w 4893730"/>
                <a:gd name="connsiteY20" fmla="*/ 487238 h 4791777"/>
                <a:gd name="connsiteX21" fmla="*/ 3201322 w 4893730"/>
                <a:gd name="connsiteY21" fmla="*/ 3886530 h 4791777"/>
                <a:gd name="connsiteX22" fmla="*/ 3031014 w 4893730"/>
                <a:gd name="connsiteY22" fmla="*/ 4057717 h 4791777"/>
                <a:gd name="connsiteX23" fmla="*/ 2325453 w 4893730"/>
                <a:gd name="connsiteY23" fmla="*/ 4057717 h 4791777"/>
                <a:gd name="connsiteX24" fmla="*/ 2130815 w 4893730"/>
                <a:gd name="connsiteY24" fmla="*/ 3886530 h 4791777"/>
                <a:gd name="connsiteX25" fmla="*/ 2130815 w 4893730"/>
                <a:gd name="connsiteY25" fmla="*/ 487238 h 4791777"/>
                <a:gd name="connsiteX26" fmla="*/ 2325453 w 4893730"/>
                <a:gd name="connsiteY26" fmla="*/ 316050 h 4791777"/>
                <a:gd name="connsiteX27" fmla="*/ 269155 w 4893730"/>
                <a:gd name="connsiteY27" fmla="*/ 0 h 4791777"/>
                <a:gd name="connsiteX28" fmla="*/ 538311 w 4893730"/>
                <a:gd name="connsiteY28" fmla="*/ 268927 h 4791777"/>
                <a:gd name="connsiteX29" fmla="*/ 538311 w 4893730"/>
                <a:gd name="connsiteY29" fmla="*/ 4253925 h 4791777"/>
                <a:gd name="connsiteX30" fmla="*/ 4624575 w 4893730"/>
                <a:gd name="connsiteY30" fmla="*/ 4253925 h 4791777"/>
                <a:gd name="connsiteX31" fmla="*/ 4893730 w 4893730"/>
                <a:gd name="connsiteY31" fmla="*/ 4522851 h 4791777"/>
                <a:gd name="connsiteX32" fmla="*/ 4624575 w 4893730"/>
                <a:gd name="connsiteY32" fmla="*/ 4791777 h 4791777"/>
                <a:gd name="connsiteX33" fmla="*/ 269155 w 4893730"/>
                <a:gd name="connsiteY33" fmla="*/ 4791777 h 4791777"/>
                <a:gd name="connsiteX34" fmla="*/ 0 w 4893730"/>
                <a:gd name="connsiteY34" fmla="*/ 4522851 h 4791777"/>
                <a:gd name="connsiteX35" fmla="*/ 0 w 4893730"/>
                <a:gd name="connsiteY35" fmla="*/ 268927 h 4791777"/>
                <a:gd name="connsiteX36" fmla="*/ 269155 w 4893730"/>
                <a:gd name="connsiteY36" fmla="*/ 0 h 4791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4893730" h="4791777">
                  <a:moveTo>
                    <a:pt x="3713863" y="2130808"/>
                  </a:moveTo>
                  <a:cubicBezTo>
                    <a:pt x="3713863" y="2130808"/>
                    <a:pt x="3713863" y="2130808"/>
                    <a:pt x="4426142" y="2130808"/>
                  </a:cubicBezTo>
                  <a:cubicBezTo>
                    <a:pt x="4524387" y="2130808"/>
                    <a:pt x="4598071" y="2203982"/>
                    <a:pt x="4598071" y="2301547"/>
                  </a:cubicBezTo>
                  <a:cubicBezTo>
                    <a:pt x="4598071" y="2301547"/>
                    <a:pt x="4598071" y="2301547"/>
                    <a:pt x="4598071" y="3886978"/>
                  </a:cubicBezTo>
                  <a:cubicBezTo>
                    <a:pt x="4598071" y="3984543"/>
                    <a:pt x="4524387" y="4057717"/>
                    <a:pt x="4426142" y="4057717"/>
                  </a:cubicBezTo>
                  <a:cubicBezTo>
                    <a:pt x="4426142" y="4057717"/>
                    <a:pt x="4426142" y="4057717"/>
                    <a:pt x="3713863" y="4057717"/>
                  </a:cubicBezTo>
                  <a:cubicBezTo>
                    <a:pt x="3615618" y="4057717"/>
                    <a:pt x="3517372" y="3984543"/>
                    <a:pt x="3517372" y="3886978"/>
                  </a:cubicBezTo>
                  <a:cubicBezTo>
                    <a:pt x="3517372" y="3886978"/>
                    <a:pt x="3517372" y="3886978"/>
                    <a:pt x="3517372" y="2301547"/>
                  </a:cubicBezTo>
                  <a:cubicBezTo>
                    <a:pt x="3517372" y="2203982"/>
                    <a:pt x="3615618" y="2130808"/>
                    <a:pt x="3713863" y="2130808"/>
                  </a:cubicBezTo>
                  <a:close/>
                  <a:moveTo>
                    <a:pt x="904368" y="1223432"/>
                  </a:moveTo>
                  <a:cubicBezTo>
                    <a:pt x="904368" y="1223432"/>
                    <a:pt x="904368" y="1223432"/>
                    <a:pt x="1609930" y="1223432"/>
                  </a:cubicBezTo>
                  <a:cubicBezTo>
                    <a:pt x="1731578" y="1223432"/>
                    <a:pt x="1804567" y="1296733"/>
                    <a:pt x="1804567" y="1394467"/>
                  </a:cubicBezTo>
                  <a:cubicBezTo>
                    <a:pt x="1804567" y="1394467"/>
                    <a:pt x="1804567" y="1394467"/>
                    <a:pt x="1804567" y="3886683"/>
                  </a:cubicBezTo>
                  <a:cubicBezTo>
                    <a:pt x="1804567" y="3984417"/>
                    <a:pt x="1731578" y="4057717"/>
                    <a:pt x="1609930" y="4057717"/>
                  </a:cubicBezTo>
                  <a:cubicBezTo>
                    <a:pt x="1609930" y="4057717"/>
                    <a:pt x="1609930" y="4057717"/>
                    <a:pt x="904368" y="4057717"/>
                  </a:cubicBezTo>
                  <a:cubicBezTo>
                    <a:pt x="807049" y="4057717"/>
                    <a:pt x="734060" y="3984417"/>
                    <a:pt x="734060" y="3886683"/>
                  </a:cubicBezTo>
                  <a:cubicBezTo>
                    <a:pt x="734060" y="3886683"/>
                    <a:pt x="734060" y="3886683"/>
                    <a:pt x="734060" y="1394467"/>
                  </a:cubicBezTo>
                  <a:cubicBezTo>
                    <a:pt x="734060" y="1296733"/>
                    <a:pt x="807049" y="1223432"/>
                    <a:pt x="904368" y="1223432"/>
                  </a:cubicBezTo>
                  <a:close/>
                  <a:moveTo>
                    <a:pt x="2325453" y="316050"/>
                  </a:moveTo>
                  <a:cubicBezTo>
                    <a:pt x="2325453" y="316050"/>
                    <a:pt x="2325453" y="316050"/>
                    <a:pt x="3031014" y="316050"/>
                  </a:cubicBezTo>
                  <a:cubicBezTo>
                    <a:pt x="3128333" y="316050"/>
                    <a:pt x="3201322" y="389416"/>
                    <a:pt x="3201322" y="487238"/>
                  </a:cubicBezTo>
                  <a:cubicBezTo>
                    <a:pt x="3201322" y="487238"/>
                    <a:pt x="3201322" y="487238"/>
                    <a:pt x="3201322" y="3886530"/>
                  </a:cubicBezTo>
                  <a:cubicBezTo>
                    <a:pt x="3201322" y="3984351"/>
                    <a:pt x="3128333" y="4057717"/>
                    <a:pt x="3031014" y="4057717"/>
                  </a:cubicBezTo>
                  <a:cubicBezTo>
                    <a:pt x="3031014" y="4057717"/>
                    <a:pt x="3031014" y="4057717"/>
                    <a:pt x="2325453" y="4057717"/>
                  </a:cubicBezTo>
                  <a:cubicBezTo>
                    <a:pt x="2203804" y="4057717"/>
                    <a:pt x="2130815" y="3984351"/>
                    <a:pt x="2130815" y="3886530"/>
                  </a:cubicBezTo>
                  <a:cubicBezTo>
                    <a:pt x="2130815" y="3886530"/>
                    <a:pt x="2130815" y="3886530"/>
                    <a:pt x="2130815" y="487238"/>
                  </a:cubicBezTo>
                  <a:cubicBezTo>
                    <a:pt x="2130815" y="389416"/>
                    <a:pt x="2203804" y="316050"/>
                    <a:pt x="2325453" y="316050"/>
                  </a:cubicBezTo>
                  <a:close/>
                  <a:moveTo>
                    <a:pt x="269155" y="0"/>
                  </a:moveTo>
                  <a:cubicBezTo>
                    <a:pt x="415967" y="0"/>
                    <a:pt x="538311" y="122239"/>
                    <a:pt x="538311" y="268927"/>
                  </a:cubicBezTo>
                  <a:cubicBezTo>
                    <a:pt x="538311" y="268927"/>
                    <a:pt x="538311" y="268927"/>
                    <a:pt x="538311" y="4253925"/>
                  </a:cubicBezTo>
                  <a:cubicBezTo>
                    <a:pt x="538311" y="4253925"/>
                    <a:pt x="538311" y="4253925"/>
                    <a:pt x="4624575" y="4253925"/>
                  </a:cubicBezTo>
                  <a:cubicBezTo>
                    <a:pt x="4771387" y="4253925"/>
                    <a:pt x="4893730" y="4376164"/>
                    <a:pt x="4893730" y="4522851"/>
                  </a:cubicBezTo>
                  <a:cubicBezTo>
                    <a:pt x="4893730" y="4669538"/>
                    <a:pt x="4771387" y="4791777"/>
                    <a:pt x="4624575" y="4791777"/>
                  </a:cubicBezTo>
                  <a:cubicBezTo>
                    <a:pt x="4624575" y="4791777"/>
                    <a:pt x="4624575" y="4791777"/>
                    <a:pt x="269155" y="4791777"/>
                  </a:cubicBezTo>
                  <a:cubicBezTo>
                    <a:pt x="122344" y="4791777"/>
                    <a:pt x="0" y="4669538"/>
                    <a:pt x="0" y="4522851"/>
                  </a:cubicBezTo>
                  <a:cubicBezTo>
                    <a:pt x="0" y="4522851"/>
                    <a:pt x="0" y="4522851"/>
                    <a:pt x="0" y="268927"/>
                  </a:cubicBezTo>
                  <a:cubicBezTo>
                    <a:pt x="0" y="122239"/>
                    <a:pt x="122344" y="0"/>
                    <a:pt x="269155"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37148" tIns="109719" rIns="137148" bIns="109719"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699261"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9" name="Rectangle 88"/>
            <p:cNvSpPr/>
            <p:nvPr/>
          </p:nvSpPr>
          <p:spPr bwMode="auto">
            <a:xfrm rot="2745734">
              <a:off x="279530" y="1141266"/>
              <a:ext cx="1260714" cy="1255193"/>
            </a:xfrm>
            <a:prstGeom prst="rect">
              <a:avLst/>
            </a:prstGeom>
            <a:solidFill>
              <a:schemeClr val="tx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0" name="Rectangle 89"/>
            <p:cNvSpPr/>
            <p:nvPr/>
          </p:nvSpPr>
          <p:spPr bwMode="auto">
            <a:xfrm rot="2745734">
              <a:off x="292433" y="3819160"/>
              <a:ext cx="1610349" cy="1235003"/>
            </a:xfrm>
            <a:prstGeom prst="rect">
              <a:avLst/>
            </a:prstGeom>
            <a:solidFill>
              <a:schemeClr val="tx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2" name="Rectangle 91"/>
            <p:cNvSpPr/>
            <p:nvPr/>
          </p:nvSpPr>
          <p:spPr bwMode="auto">
            <a:xfrm rot="2745734">
              <a:off x="1315610" y="4915701"/>
              <a:ext cx="1263370" cy="1255989"/>
            </a:xfrm>
            <a:prstGeom prst="rect">
              <a:avLst/>
            </a:prstGeom>
            <a:solidFill>
              <a:schemeClr val="tx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40" name="TextBox 39"/>
          <p:cNvSpPr txBox="1"/>
          <p:nvPr/>
        </p:nvSpPr>
        <p:spPr>
          <a:xfrm>
            <a:off x="3" y="51415"/>
            <a:ext cx="2849058" cy="430887"/>
          </a:xfrm>
          <a:prstGeom prst="rect">
            <a:avLst/>
          </a:prstGeom>
        </p:spPr>
        <p:txBody>
          <a:bodyPr wrap="square">
            <a:spAutoFit/>
          </a:bodyPr>
          <a:lstStyle>
            <a:defPPr>
              <a:defRPr lang="en-US"/>
            </a:defPPr>
            <a:lvl1pPr defTabSz="914192">
              <a:defRPr sz="2800" b="1" spc="-100">
                <a:ln w="3175">
                  <a:noFill/>
                </a:ln>
                <a:solidFill>
                  <a:srgbClr val="F2C812"/>
                </a:solidFill>
                <a:latin typeface="Segoe UI" panose="020B0502040204020203" pitchFamily="34" charset="0"/>
                <a:ea typeface="ＭＳ Ｐゴシック" charset="0"/>
                <a:cs typeface="Segoe UI" panose="020B0502040204020203" pitchFamily="34" charset="0"/>
              </a:defRPr>
            </a:lvl1pPr>
          </a:lstStyle>
          <a:p>
            <a:pPr marL="0" marR="0" lvl="0" indent="0" algn="l" defTabSz="914192" rtl="0" eaLnBrk="1" fontAlgn="auto" latinLnBrk="0" hangingPunct="1">
              <a:lnSpc>
                <a:spcPct val="100000"/>
              </a:lnSpc>
              <a:spcBef>
                <a:spcPts val="0"/>
              </a:spcBef>
              <a:spcAft>
                <a:spcPts val="0"/>
              </a:spcAft>
              <a:buClrTx/>
              <a:buSzTx/>
              <a:buFontTx/>
              <a:buNone/>
              <a:tabLst/>
              <a:defRPr/>
            </a:pPr>
            <a:r>
              <a:rPr kumimoji="0" lang="en-US" sz="2200" b="1" i="0" u="none" strike="noStrike" kern="1200" cap="none" spc="-100" normalizeH="0" baseline="0" noProof="0" dirty="0">
                <a:ln w="3175">
                  <a:noFill/>
                </a:ln>
                <a:solidFill>
                  <a:srgbClr val="F2C812"/>
                </a:solidFill>
                <a:effectLst/>
                <a:uLnTx/>
                <a:uFillTx/>
                <a:latin typeface="Segoe UI Light"/>
                <a:ea typeface="ＭＳ Ｐゴシック" charset="0"/>
                <a:cs typeface="Segoe UI" panose="020B0502040204020203" pitchFamily="34" charset="0"/>
              </a:rPr>
              <a:t>Power BI Desktop</a:t>
            </a:r>
          </a:p>
        </p:txBody>
      </p:sp>
      <p:sp>
        <p:nvSpPr>
          <p:cNvPr id="41" name="Rectangle 40"/>
          <p:cNvSpPr/>
          <p:nvPr/>
        </p:nvSpPr>
        <p:spPr bwMode="auto">
          <a:xfrm rot="2745734">
            <a:off x="825067" y="3494250"/>
            <a:ext cx="1260714" cy="370170"/>
          </a:xfrm>
          <a:prstGeom prst="rect">
            <a:avLst/>
          </a:prstGeom>
          <a:solidFill>
            <a:schemeClr val="tx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4" name="Picture 3"/>
          <p:cNvPicPr>
            <a:picLocks noChangeAspect="1"/>
          </p:cNvPicPr>
          <p:nvPr/>
        </p:nvPicPr>
        <p:blipFill>
          <a:blip r:embed="rId3"/>
          <a:stretch>
            <a:fillRect/>
          </a:stretch>
        </p:blipFill>
        <p:spPr>
          <a:xfrm>
            <a:off x="3295824" y="2087606"/>
            <a:ext cx="3928403" cy="3322462"/>
          </a:xfrm>
          <a:prstGeom prst="rect">
            <a:avLst/>
          </a:prstGeom>
          <a:ln>
            <a:noFill/>
          </a:ln>
          <a:effectLst>
            <a:outerShdw blurRad="190500" algn="tl" rotWithShape="0">
              <a:srgbClr val="000000">
                <a:alpha val="70000"/>
              </a:srgbClr>
            </a:outerShdw>
          </a:effectLst>
        </p:spPr>
      </p:pic>
      <p:pic>
        <p:nvPicPr>
          <p:cNvPr id="5" name="Picture 4"/>
          <p:cNvPicPr>
            <a:picLocks noChangeAspect="1"/>
          </p:cNvPicPr>
          <p:nvPr/>
        </p:nvPicPr>
        <p:blipFill>
          <a:blip r:embed="rId4"/>
          <a:stretch>
            <a:fillRect/>
          </a:stretch>
        </p:blipFill>
        <p:spPr>
          <a:xfrm>
            <a:off x="7779234" y="2102323"/>
            <a:ext cx="3868896" cy="3331739"/>
          </a:xfrm>
          <a:prstGeom prst="rect">
            <a:avLst/>
          </a:prstGeom>
          <a:ln>
            <a:noFill/>
          </a:ln>
          <a:effectLst>
            <a:outerShdw blurRad="190500" algn="tl" rotWithShape="0">
              <a:srgbClr val="000000">
                <a:alpha val="70000"/>
              </a:srgbClr>
            </a:outerShdw>
          </a:effectLst>
        </p:spPr>
      </p:pic>
      <p:sp>
        <p:nvSpPr>
          <p:cNvPr id="42" name="TextBox 41"/>
          <p:cNvSpPr txBox="1"/>
          <p:nvPr/>
        </p:nvSpPr>
        <p:spPr>
          <a:xfrm>
            <a:off x="8833773" y="4917098"/>
            <a:ext cx="1508848" cy="1760482"/>
          </a:xfrm>
          <a:prstGeom prst="rect">
            <a:avLst/>
          </a:prstGeom>
          <a:solidFill>
            <a:schemeClr val="tx1">
              <a:lumMod val="65000"/>
              <a:lumOff val="35000"/>
            </a:schemeClr>
          </a:solid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600" b="1" i="0" u="none" strike="noStrike" kern="1200" cap="none" spc="0" normalizeH="0" baseline="0" noProof="0" dirty="0">
                <a:ln>
                  <a:noFill/>
                </a:ln>
                <a:gradFill>
                  <a:gsLst>
                    <a:gs pos="2917">
                      <a:prstClr val="black"/>
                    </a:gs>
                    <a:gs pos="30000">
                      <a:prstClr val="black"/>
                    </a:gs>
                  </a:gsLst>
                  <a:lin ang="5400000" scaled="0"/>
                </a:gradFill>
                <a:effectLst/>
                <a:uLnTx/>
                <a:uFillTx/>
                <a:latin typeface="Segoe UI"/>
                <a:ea typeface="+mn-ea"/>
                <a:cs typeface="+mn-cs"/>
              </a:rPr>
              <a:t>Pie</a:t>
            </a:r>
          </a:p>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1" i="0" u="none" strike="noStrike" kern="1200" cap="none" spc="0" normalizeH="0" baseline="0" noProof="0" dirty="0">
                <a:ln>
                  <a:noFill/>
                </a:ln>
                <a:gradFill>
                  <a:gsLst>
                    <a:gs pos="2917">
                      <a:prstClr val="black"/>
                    </a:gs>
                    <a:gs pos="30000">
                      <a:prstClr val="black"/>
                    </a:gs>
                  </a:gsLst>
                  <a:lin ang="5400000" scaled="0"/>
                </a:gradFill>
                <a:effectLst/>
                <a:uLnTx/>
                <a:uFillTx/>
                <a:latin typeface="Segoe UI"/>
                <a:ea typeface="+mn-ea"/>
                <a:cs typeface="+mn-cs"/>
              </a:rPr>
              <a:t>- Regular</a:t>
            </a:r>
          </a:p>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1" i="0" u="none" strike="noStrike" kern="1200" cap="none" spc="0" normalizeH="0" baseline="0" noProof="0" dirty="0">
                <a:ln>
                  <a:noFill/>
                </a:ln>
                <a:gradFill>
                  <a:gsLst>
                    <a:gs pos="2917">
                      <a:prstClr val="black"/>
                    </a:gs>
                    <a:gs pos="30000">
                      <a:prstClr val="black"/>
                    </a:gs>
                  </a:gsLst>
                  <a:lin ang="5400000" scaled="0"/>
                </a:gradFill>
                <a:effectLst/>
                <a:uLnTx/>
                <a:uFillTx/>
                <a:latin typeface="Segoe UI"/>
                <a:ea typeface="+mn-ea"/>
                <a:cs typeface="+mn-cs"/>
              </a:rPr>
              <a:t>- Donut</a:t>
            </a:r>
          </a:p>
          <a:p>
            <a:pPr marL="0" marR="0" lvl="0" indent="0" algn="l" defTabSz="914400" rtl="0" eaLnBrk="1" fontAlgn="auto" latinLnBrk="0" hangingPunct="1">
              <a:lnSpc>
                <a:spcPct val="90000"/>
              </a:lnSpc>
              <a:spcBef>
                <a:spcPts val="0"/>
              </a:spcBef>
              <a:spcAft>
                <a:spcPts val="600"/>
              </a:spcAft>
              <a:buClrTx/>
              <a:buSzTx/>
              <a:buFontTx/>
              <a:buNone/>
              <a:tabLst/>
              <a:defRPr/>
            </a:pPr>
            <a:endParaRPr kumimoji="0" lang="en-US" sz="1200" b="1"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endParaRPr>
          </a:p>
          <a:p>
            <a:pPr marL="0" marR="0" lvl="0" indent="0" algn="l" defTabSz="914400" rtl="0" eaLnBrk="1" fontAlgn="auto" latinLnBrk="0" hangingPunct="1">
              <a:lnSpc>
                <a:spcPct val="90000"/>
              </a:lnSpc>
              <a:spcBef>
                <a:spcPts val="0"/>
              </a:spcBef>
              <a:spcAft>
                <a:spcPts val="600"/>
              </a:spcAft>
              <a:buClrTx/>
              <a:buSzTx/>
              <a:buFontTx/>
              <a:buNone/>
              <a:tabLst/>
              <a:defRPr/>
            </a:pPr>
            <a:endParaRPr kumimoji="0" lang="en-US" sz="1200" b="1"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endParaRPr>
          </a:p>
          <a:p>
            <a:pPr marL="0" marR="0" lvl="0" indent="0" algn="l" defTabSz="914400" rtl="0" eaLnBrk="1" fontAlgn="auto" latinLnBrk="0" hangingPunct="1">
              <a:lnSpc>
                <a:spcPct val="90000"/>
              </a:lnSpc>
              <a:spcBef>
                <a:spcPts val="0"/>
              </a:spcBef>
              <a:spcAft>
                <a:spcPts val="600"/>
              </a:spcAft>
              <a:buClrTx/>
              <a:buSzTx/>
              <a:buFontTx/>
              <a:buNone/>
              <a:tabLst/>
              <a:defRPr/>
            </a:pPr>
            <a:endParaRPr kumimoji="0" lang="en-US" sz="1400" b="1"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endParaRPr>
          </a:p>
        </p:txBody>
      </p:sp>
      <p:sp>
        <p:nvSpPr>
          <p:cNvPr id="45" name="TextBox 44"/>
          <p:cNvSpPr txBox="1"/>
          <p:nvPr/>
        </p:nvSpPr>
        <p:spPr>
          <a:xfrm>
            <a:off x="10063110" y="4924501"/>
            <a:ext cx="1956852" cy="1756800"/>
          </a:xfrm>
          <a:prstGeom prst="rect">
            <a:avLst/>
          </a:prstGeom>
          <a:solidFill>
            <a:schemeClr val="tx1">
              <a:lumMod val="65000"/>
              <a:lumOff val="35000"/>
            </a:schemeClr>
          </a:solidFill>
        </p:spPr>
        <p:txBody>
          <a:bodyPr wrap="square" lIns="182880" tIns="146304" rIns="182880" bIns="146304" rtlCol="0">
            <a:spAutoFit/>
          </a:bodyPr>
          <a:lstStyle/>
          <a:p>
            <a:pPr marL="0" marR="0" lvl="0" indent="0" algn="just" defTabSz="914400" rtl="0" eaLnBrk="1" fontAlgn="auto" latinLnBrk="0" hangingPunct="1">
              <a:lnSpc>
                <a:spcPct val="90000"/>
              </a:lnSpc>
              <a:spcBef>
                <a:spcPts val="0"/>
              </a:spcBef>
              <a:spcAft>
                <a:spcPts val="600"/>
              </a:spcAft>
              <a:buClrTx/>
              <a:buSzTx/>
              <a:buFontTx/>
              <a:buNone/>
              <a:tabLst/>
              <a:defRPr/>
            </a:pPr>
            <a:r>
              <a:rPr kumimoji="0" lang="en-US" sz="1100" b="0" i="0" u="none" strike="noStrike" kern="1200" cap="none" spc="0" normalizeH="0" baseline="0" noProof="0" dirty="0">
                <a:ln>
                  <a:noFill/>
                </a:ln>
                <a:gradFill>
                  <a:gsLst>
                    <a:gs pos="2917">
                      <a:prstClr val="black"/>
                    </a:gs>
                    <a:gs pos="30000">
                      <a:prstClr val="black"/>
                    </a:gs>
                  </a:gsLst>
                  <a:lin ang="5400000" scaled="0"/>
                </a:gradFill>
                <a:effectLst/>
                <a:uLnTx/>
                <a:uFillTx/>
                <a:latin typeface="Segoe UI"/>
                <a:ea typeface="+mn-ea"/>
                <a:cs typeface="+mn-cs"/>
              </a:rPr>
              <a:t>- Use a pie chart when there is one data series to plot</a:t>
            </a:r>
          </a:p>
          <a:p>
            <a:pPr marL="0" marR="0" lvl="0" indent="0" algn="just" defTabSz="914400" rtl="0" eaLnBrk="1" fontAlgn="auto" latinLnBrk="0" hangingPunct="1">
              <a:lnSpc>
                <a:spcPct val="90000"/>
              </a:lnSpc>
              <a:spcBef>
                <a:spcPts val="0"/>
              </a:spcBef>
              <a:spcAft>
                <a:spcPts val="600"/>
              </a:spcAft>
              <a:buClrTx/>
              <a:buSzTx/>
              <a:buFontTx/>
              <a:buNone/>
              <a:tabLst/>
              <a:defRPr/>
            </a:pPr>
            <a:r>
              <a:rPr kumimoji="0" lang="en-US" sz="1100" b="0" i="0" u="none" strike="noStrike" kern="1200" cap="none" spc="0" normalizeH="0" baseline="0" noProof="0" dirty="0">
                <a:ln>
                  <a:noFill/>
                </a:ln>
                <a:gradFill>
                  <a:gsLst>
                    <a:gs pos="2917">
                      <a:prstClr val="black"/>
                    </a:gs>
                    <a:gs pos="30000">
                      <a:prstClr val="black"/>
                    </a:gs>
                  </a:gsLst>
                  <a:lin ang="5400000" scaled="0"/>
                </a:gradFill>
                <a:effectLst/>
                <a:uLnTx/>
                <a:uFillTx/>
                <a:latin typeface="Segoe UI"/>
                <a:ea typeface="+mn-ea"/>
                <a:cs typeface="+mn-cs"/>
              </a:rPr>
              <a:t>- Pie charts show composition (how categories represent parts of the whole)</a:t>
            </a:r>
          </a:p>
        </p:txBody>
      </p:sp>
      <p:pic>
        <p:nvPicPr>
          <p:cNvPr id="6" name="Picture 5"/>
          <p:cNvPicPr>
            <a:picLocks noChangeAspect="1"/>
          </p:cNvPicPr>
          <p:nvPr/>
        </p:nvPicPr>
        <p:blipFill>
          <a:blip r:embed="rId5">
            <a:extLst>
              <a:ext uri="{BEBA8EAE-BF5A-486C-A8C5-ECC9F3942E4B}">
                <a14:imgProps xmlns:a14="http://schemas.microsoft.com/office/drawing/2010/main">
                  <a14:imgLayer r:embed="rId6">
                    <a14:imgEffect>
                      <a14:saturation sat="0"/>
                    </a14:imgEffect>
                  </a14:imgLayer>
                </a14:imgProps>
              </a:ext>
            </a:extLst>
          </a:blip>
          <a:stretch>
            <a:fillRect/>
          </a:stretch>
        </p:blipFill>
        <p:spPr>
          <a:xfrm>
            <a:off x="9032962" y="5896276"/>
            <a:ext cx="704006" cy="660660"/>
          </a:xfrm>
          <a:prstGeom prst="rect">
            <a:avLst/>
          </a:prstGeom>
        </p:spPr>
      </p:pic>
    </p:spTree>
    <p:extLst>
      <p:ext uri="{BB962C8B-B14F-4D97-AF65-F5344CB8AC3E}">
        <p14:creationId xmlns:p14="http://schemas.microsoft.com/office/powerpoint/2010/main" val="13783301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solidFill>
            <a:schemeClr val="bg1"/>
          </a:solidFill>
        </p:spPr>
        <p:txBody>
          <a:bodyPr/>
          <a:lstStyle/>
          <a:p>
            <a:r>
              <a:rPr lang="pt-PT">
                <a:solidFill>
                  <a:schemeClr val="tx1"/>
                </a:solidFill>
              </a:rPr>
              <a:t>Visualisations – Treemap Chart</a:t>
            </a:r>
            <a:endParaRPr lang="en-US" sz="3600">
              <a:solidFill>
                <a:schemeClr val="tx1"/>
              </a:solidFill>
            </a:endParaRPr>
          </a:p>
        </p:txBody>
      </p:sp>
      <p:grpSp>
        <p:nvGrpSpPr>
          <p:cNvPr id="52" name="Group 51"/>
          <p:cNvGrpSpPr/>
          <p:nvPr/>
        </p:nvGrpSpPr>
        <p:grpSpPr>
          <a:xfrm>
            <a:off x="2" y="1"/>
            <a:ext cx="2849058" cy="6858000"/>
            <a:chOff x="2" y="1"/>
            <a:chExt cx="2849058" cy="6858000"/>
          </a:xfrm>
        </p:grpSpPr>
        <p:sp>
          <p:nvSpPr>
            <p:cNvPr id="71" name="Rectangle 70"/>
            <p:cNvSpPr/>
            <p:nvPr/>
          </p:nvSpPr>
          <p:spPr bwMode="auto">
            <a:xfrm>
              <a:off x="2" y="1"/>
              <a:ext cx="2849058"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3" name="Oval 70"/>
            <p:cNvSpPr/>
            <p:nvPr/>
          </p:nvSpPr>
          <p:spPr>
            <a:xfrm>
              <a:off x="1413521" y="4951537"/>
              <a:ext cx="1119626" cy="1119626"/>
            </a:xfrm>
            <a:prstGeom prst="ellipse">
              <a:avLst/>
            </a:prstGeom>
            <a:solidFill>
              <a:srgbClr val="F2C812"/>
            </a:solidFill>
            <a:ln w="3175" cap="flat" cmpd="sng" algn="ctr">
              <a:noFill/>
              <a:prstDash val="solid"/>
            </a:ln>
            <a:effectLst/>
          </p:spPr>
          <p:txBody>
            <a:bodyPr vert="horz" wrap="none" lIns="0" tIns="45720" rIns="0" bIns="0" rtlCol="0" anchor="t"/>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Segoe UI"/>
                  <a:ea typeface="Segoe UI" pitchFamily="34" charset="0"/>
                  <a:cs typeface="Segoe UI" pitchFamily="34" charset="0"/>
                </a:rPr>
                <a:t>Share &amp;</a:t>
              </a:r>
            </a:p>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Segoe UI"/>
                  <a:ea typeface="Segoe UI" pitchFamily="34" charset="0"/>
                  <a:cs typeface="Segoe UI" pitchFamily="34" charset="0"/>
                </a:rPr>
                <a:t>collaborate </a:t>
              </a:r>
            </a:p>
          </p:txBody>
        </p:sp>
        <p:grpSp>
          <p:nvGrpSpPr>
            <p:cNvPr id="76" name="Group 38"/>
            <p:cNvGrpSpPr>
              <a:grpSpLocks noChangeAspect="1"/>
            </p:cNvGrpSpPr>
            <p:nvPr/>
          </p:nvGrpSpPr>
          <p:grpSpPr>
            <a:xfrm>
              <a:off x="676996" y="3930692"/>
              <a:ext cx="383905" cy="351536"/>
              <a:chOff x="4363684" y="5330386"/>
              <a:chExt cx="1409956" cy="1291077"/>
            </a:xfrm>
            <a:solidFill>
              <a:srgbClr val="217346"/>
            </a:solidFill>
          </p:grpSpPr>
          <p:sp>
            <p:nvSpPr>
              <p:cNvPr id="102" name="Donut 3"/>
              <p:cNvSpPr/>
              <p:nvPr/>
            </p:nvSpPr>
            <p:spPr bwMode="auto">
              <a:xfrm>
                <a:off x="4363684" y="5330386"/>
                <a:ext cx="1409956" cy="1291077"/>
              </a:xfrm>
              <a:custGeom>
                <a:avLst/>
                <a:gdLst/>
                <a:ahLst/>
                <a:cxnLst/>
                <a:rect l="l" t="t" r="r" b="b"/>
                <a:pathLst>
                  <a:path w="1409956" h="1291077">
                    <a:moveTo>
                      <a:pt x="956401" y="78410"/>
                    </a:moveTo>
                    <a:cubicBezTo>
                      <a:pt x="747518" y="78410"/>
                      <a:pt x="578184" y="247744"/>
                      <a:pt x="578184" y="456627"/>
                    </a:cubicBezTo>
                    <a:cubicBezTo>
                      <a:pt x="578184" y="665510"/>
                      <a:pt x="747518" y="834844"/>
                      <a:pt x="956401" y="834844"/>
                    </a:cubicBezTo>
                    <a:cubicBezTo>
                      <a:pt x="1165284" y="834844"/>
                      <a:pt x="1334618" y="665510"/>
                      <a:pt x="1334618" y="456627"/>
                    </a:cubicBezTo>
                    <a:cubicBezTo>
                      <a:pt x="1334618" y="247744"/>
                      <a:pt x="1165284" y="78410"/>
                      <a:pt x="956401" y="78410"/>
                    </a:cubicBezTo>
                    <a:close/>
                    <a:moveTo>
                      <a:pt x="952756" y="0"/>
                    </a:moveTo>
                    <a:cubicBezTo>
                      <a:pt x="1205261" y="0"/>
                      <a:pt x="1409956" y="204695"/>
                      <a:pt x="1409956" y="457200"/>
                    </a:cubicBezTo>
                    <a:cubicBezTo>
                      <a:pt x="1409956" y="709705"/>
                      <a:pt x="1205261" y="914400"/>
                      <a:pt x="952756" y="914400"/>
                    </a:cubicBezTo>
                    <a:cubicBezTo>
                      <a:pt x="862133" y="914400"/>
                      <a:pt x="777669" y="888034"/>
                      <a:pt x="707132" y="841746"/>
                    </a:cubicBezTo>
                    <a:lnTo>
                      <a:pt x="136495" y="1280102"/>
                    </a:lnTo>
                    <a:cubicBezTo>
                      <a:pt x="21896" y="1327168"/>
                      <a:pt x="-44029" y="1213730"/>
                      <a:pt x="33797" y="1113182"/>
                    </a:cubicBezTo>
                    <a:lnTo>
                      <a:pt x="568587" y="703518"/>
                    </a:lnTo>
                    <a:cubicBezTo>
                      <a:pt x="522087" y="632814"/>
                      <a:pt x="495556" y="548105"/>
                      <a:pt x="495556" y="457200"/>
                    </a:cubicBezTo>
                    <a:cubicBezTo>
                      <a:pt x="495556" y="204695"/>
                      <a:pt x="700251" y="0"/>
                      <a:pt x="952756" y="0"/>
                    </a:cubicBezTo>
                    <a:close/>
                  </a:path>
                </a:pathLst>
              </a:custGeom>
              <a:grpFill/>
              <a:ln>
                <a:solidFill>
                  <a:srgbClr val="21734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sp>
            <p:nvSpPr>
              <p:cNvPr id="103" name="Rectangle 4"/>
              <p:cNvSpPr/>
              <p:nvPr/>
            </p:nvSpPr>
            <p:spPr>
              <a:xfrm>
                <a:off x="5058389" y="5528247"/>
                <a:ext cx="490885" cy="490020"/>
              </a:xfrm>
              <a:custGeom>
                <a:avLst/>
                <a:gdLst/>
                <a:ahLst/>
                <a:cxnLst/>
                <a:rect l="l" t="t" r="r" b="b"/>
                <a:pathLst>
                  <a:path w="490885" h="490020">
                    <a:moveTo>
                      <a:pt x="240752" y="0"/>
                    </a:moveTo>
                    <a:cubicBezTo>
                      <a:pt x="253961" y="11844"/>
                      <a:pt x="293310" y="49692"/>
                      <a:pt x="337332" y="92439"/>
                    </a:cubicBezTo>
                    <a:lnTo>
                      <a:pt x="328342" y="81259"/>
                    </a:lnTo>
                    <a:cubicBezTo>
                      <a:pt x="356946" y="111282"/>
                      <a:pt x="377251" y="107167"/>
                      <a:pt x="382515" y="87941"/>
                    </a:cubicBezTo>
                    <a:cubicBezTo>
                      <a:pt x="383951" y="76921"/>
                      <a:pt x="384595" y="68732"/>
                      <a:pt x="396997" y="52239"/>
                    </a:cubicBezTo>
                    <a:cubicBezTo>
                      <a:pt x="420362" y="32084"/>
                      <a:pt x="442294" y="41736"/>
                      <a:pt x="454920" y="51330"/>
                    </a:cubicBezTo>
                    <a:cubicBezTo>
                      <a:pt x="467834" y="62761"/>
                      <a:pt x="477920" y="86882"/>
                      <a:pt x="460392" y="109714"/>
                    </a:cubicBezTo>
                    <a:cubicBezTo>
                      <a:pt x="451128" y="121912"/>
                      <a:pt x="437554" y="126838"/>
                      <a:pt x="425922" y="126505"/>
                    </a:cubicBezTo>
                    <a:cubicBezTo>
                      <a:pt x="424301" y="127609"/>
                      <a:pt x="382890" y="134974"/>
                      <a:pt x="427348" y="177672"/>
                    </a:cubicBezTo>
                    <a:lnTo>
                      <a:pt x="416886" y="169735"/>
                    </a:lnTo>
                    <a:cubicBezTo>
                      <a:pt x="450207" y="202177"/>
                      <a:pt x="478424" y="229744"/>
                      <a:pt x="490885" y="241900"/>
                    </a:cubicBezTo>
                    <a:lnTo>
                      <a:pt x="417150" y="317347"/>
                    </a:lnTo>
                    <a:cubicBezTo>
                      <a:pt x="417744" y="316535"/>
                      <a:pt x="418443" y="316123"/>
                      <a:pt x="419047" y="315822"/>
                    </a:cubicBezTo>
                    <a:cubicBezTo>
                      <a:pt x="389023" y="344426"/>
                      <a:pt x="393138" y="364731"/>
                      <a:pt x="412364" y="369995"/>
                    </a:cubicBezTo>
                    <a:cubicBezTo>
                      <a:pt x="423384" y="371431"/>
                      <a:pt x="431574" y="372075"/>
                      <a:pt x="448067" y="384477"/>
                    </a:cubicBezTo>
                    <a:cubicBezTo>
                      <a:pt x="468221" y="407842"/>
                      <a:pt x="458569" y="429774"/>
                      <a:pt x="448975" y="442400"/>
                    </a:cubicBezTo>
                    <a:cubicBezTo>
                      <a:pt x="437545" y="455314"/>
                      <a:pt x="413423" y="465400"/>
                      <a:pt x="390591" y="447872"/>
                    </a:cubicBezTo>
                    <a:cubicBezTo>
                      <a:pt x="378394" y="438608"/>
                      <a:pt x="373468" y="425034"/>
                      <a:pt x="373800" y="413402"/>
                    </a:cubicBezTo>
                    <a:cubicBezTo>
                      <a:pt x="372696" y="411781"/>
                      <a:pt x="365332" y="370370"/>
                      <a:pt x="322634" y="414828"/>
                    </a:cubicBezTo>
                    <a:lnTo>
                      <a:pt x="325243" y="411388"/>
                    </a:lnTo>
                    <a:lnTo>
                      <a:pt x="248395" y="490020"/>
                    </a:lnTo>
                    <a:cubicBezTo>
                      <a:pt x="208939" y="451897"/>
                      <a:pt x="199129" y="442073"/>
                      <a:pt x="174192" y="418236"/>
                    </a:cubicBezTo>
                    <a:cubicBezTo>
                      <a:pt x="145587" y="388212"/>
                      <a:pt x="125282" y="392327"/>
                      <a:pt x="120018" y="411553"/>
                    </a:cubicBezTo>
                    <a:cubicBezTo>
                      <a:pt x="118582" y="422573"/>
                      <a:pt x="117938" y="430763"/>
                      <a:pt x="105536" y="447256"/>
                    </a:cubicBezTo>
                    <a:cubicBezTo>
                      <a:pt x="82171" y="467410"/>
                      <a:pt x="60239" y="457758"/>
                      <a:pt x="47614" y="448164"/>
                    </a:cubicBezTo>
                    <a:cubicBezTo>
                      <a:pt x="34699" y="436734"/>
                      <a:pt x="24614" y="412612"/>
                      <a:pt x="42141" y="389780"/>
                    </a:cubicBezTo>
                    <a:cubicBezTo>
                      <a:pt x="51405" y="377583"/>
                      <a:pt x="64979" y="372657"/>
                      <a:pt x="76612" y="372989"/>
                    </a:cubicBezTo>
                    <a:cubicBezTo>
                      <a:pt x="78232" y="371886"/>
                      <a:pt x="119644" y="364521"/>
                      <a:pt x="75186" y="321823"/>
                    </a:cubicBezTo>
                    <a:cubicBezTo>
                      <a:pt x="58767" y="305402"/>
                      <a:pt x="23648" y="271235"/>
                      <a:pt x="0" y="248738"/>
                    </a:cubicBezTo>
                    <a:lnTo>
                      <a:pt x="77303" y="168146"/>
                    </a:lnTo>
                    <a:cubicBezTo>
                      <a:pt x="104269" y="140313"/>
                      <a:pt x="122130" y="156409"/>
                      <a:pt x="124388" y="175543"/>
                    </a:cubicBezTo>
                    <a:cubicBezTo>
                      <a:pt x="124457" y="182466"/>
                      <a:pt x="127106" y="193106"/>
                      <a:pt x="137575" y="203052"/>
                    </a:cubicBezTo>
                    <a:cubicBezTo>
                      <a:pt x="153931" y="220277"/>
                      <a:pt x="181252" y="217451"/>
                      <a:pt x="196721" y="201951"/>
                    </a:cubicBezTo>
                    <a:cubicBezTo>
                      <a:pt x="211961" y="185740"/>
                      <a:pt x="213057" y="157882"/>
                      <a:pt x="196146" y="142797"/>
                    </a:cubicBezTo>
                    <a:cubicBezTo>
                      <a:pt x="184301" y="132637"/>
                      <a:pt x="177155" y="131453"/>
                      <a:pt x="166513" y="129894"/>
                    </a:cubicBezTo>
                    <a:cubicBezTo>
                      <a:pt x="154522" y="129013"/>
                      <a:pt x="131185" y="112953"/>
                      <a:pt x="157905" y="85228"/>
                    </a:cubicBezTo>
                    <a:close/>
                  </a:path>
                </a:pathLst>
              </a:custGeom>
              <a:grpFill/>
              <a:ln>
                <a:solidFill>
                  <a:srgbClr val="21734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grpSp>
        <p:sp>
          <p:nvSpPr>
            <p:cNvPr id="77" name="Oval 47"/>
            <p:cNvSpPr/>
            <p:nvPr/>
          </p:nvSpPr>
          <p:spPr>
            <a:xfrm>
              <a:off x="388608" y="3710471"/>
              <a:ext cx="1119626" cy="1119626"/>
            </a:xfrm>
            <a:prstGeom prst="ellipse">
              <a:avLst/>
            </a:prstGeom>
            <a:solidFill>
              <a:srgbClr val="F2C812"/>
            </a:solidFill>
            <a:ln w="3175" cap="flat" cmpd="sng" algn="ctr">
              <a:noFill/>
              <a:prstDash val="solid"/>
            </a:ln>
            <a:effectLst/>
          </p:spPr>
          <p:txBody>
            <a:bodyPr vert="horz" wrap="none" lIns="0" tIns="45720" rIns="0" bIns="0" rtlCol="0" anchor="t"/>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Segoe UI"/>
                  <a:ea typeface="Segoe UI" pitchFamily="34" charset="0"/>
                  <a:cs typeface="Segoe UI" pitchFamily="34" charset="0"/>
                </a:rPr>
                <a:t>Report</a:t>
              </a:r>
            </a:p>
          </p:txBody>
        </p:sp>
        <p:sp>
          <p:nvSpPr>
            <p:cNvPr id="78" name="Oval 950"/>
            <p:cNvSpPr/>
            <p:nvPr/>
          </p:nvSpPr>
          <p:spPr>
            <a:xfrm>
              <a:off x="388608" y="1252295"/>
              <a:ext cx="1119626" cy="1119626"/>
            </a:xfrm>
            <a:prstGeom prst="ellipse">
              <a:avLst/>
            </a:prstGeom>
            <a:solidFill>
              <a:srgbClr val="F2C812"/>
            </a:solidFill>
            <a:ln w="3175" cap="flat" cmpd="sng" algn="ctr">
              <a:noFill/>
              <a:prstDash val="solid"/>
            </a:ln>
            <a:effectLst/>
          </p:spPr>
          <p:txBody>
            <a:bodyPr vert="horz" wrap="none" lIns="0" tIns="45720" rIns="0" bIns="0" rtlCol="0" anchor="t"/>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1" i="0" u="none" strike="noStrike" kern="1200" cap="none" spc="0" normalizeH="0" baseline="0" noProof="0">
                <a:ln>
                  <a:noFill/>
                </a:ln>
                <a:solidFill>
                  <a:srgbClr val="217346"/>
                </a:solidFill>
                <a:effectLst/>
                <a:uLnTx/>
                <a:uFillTx/>
                <a:latin typeface="Segoe UI"/>
                <a:ea typeface="Segoe UI" pitchFamily="34" charset="0"/>
                <a:cs typeface="Segoe UI" pitchFamily="34" charset="0"/>
              </a:endParaRPr>
            </a:p>
          </p:txBody>
        </p:sp>
        <p:grpSp>
          <p:nvGrpSpPr>
            <p:cNvPr id="79" name="Group 78"/>
            <p:cNvGrpSpPr/>
            <p:nvPr/>
          </p:nvGrpSpPr>
          <p:grpSpPr>
            <a:xfrm>
              <a:off x="1264851" y="3482890"/>
              <a:ext cx="292254" cy="354906"/>
              <a:chOff x="1296521" y="3253388"/>
              <a:chExt cx="292254" cy="354906"/>
            </a:xfrm>
            <a:solidFill>
              <a:srgbClr val="F2C812"/>
            </a:solidFill>
          </p:grpSpPr>
          <p:sp>
            <p:nvSpPr>
              <p:cNvPr id="99" name="Isosceles Triangle 98"/>
              <p:cNvSpPr/>
              <p:nvPr/>
            </p:nvSpPr>
            <p:spPr bwMode="auto">
              <a:xfrm rot="13636515">
                <a:off x="1461362" y="328936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0" name="Isosceles Triangle 99"/>
              <p:cNvSpPr/>
              <p:nvPr/>
            </p:nvSpPr>
            <p:spPr bwMode="auto">
              <a:xfrm rot="13636515">
                <a:off x="1357669" y="338258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1" name="Isosceles Triangle 100"/>
              <p:cNvSpPr/>
              <p:nvPr/>
            </p:nvSpPr>
            <p:spPr bwMode="auto">
              <a:xfrm rot="13636515">
                <a:off x="1260548" y="3480882"/>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80" name="Group 79"/>
            <p:cNvGrpSpPr/>
            <p:nvPr/>
          </p:nvGrpSpPr>
          <p:grpSpPr>
            <a:xfrm rot="15940603">
              <a:off x="1334576" y="2204404"/>
              <a:ext cx="292254" cy="354906"/>
              <a:chOff x="1296521" y="3253388"/>
              <a:chExt cx="292254" cy="354906"/>
            </a:xfrm>
            <a:solidFill>
              <a:srgbClr val="F2C812"/>
            </a:solidFill>
          </p:grpSpPr>
          <p:sp>
            <p:nvSpPr>
              <p:cNvPr id="96" name="Isosceles Triangle 95"/>
              <p:cNvSpPr/>
              <p:nvPr/>
            </p:nvSpPr>
            <p:spPr bwMode="auto">
              <a:xfrm rot="13636515">
                <a:off x="1461362" y="328936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7" name="Isosceles Triangle 96"/>
              <p:cNvSpPr/>
              <p:nvPr/>
            </p:nvSpPr>
            <p:spPr bwMode="auto">
              <a:xfrm rot="13636515">
                <a:off x="1357669" y="338258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8" name="Isosceles Triangle 97"/>
              <p:cNvSpPr/>
              <p:nvPr/>
            </p:nvSpPr>
            <p:spPr bwMode="auto">
              <a:xfrm rot="13636515">
                <a:off x="1260548" y="3480882"/>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81" name="Group 80"/>
            <p:cNvGrpSpPr/>
            <p:nvPr/>
          </p:nvGrpSpPr>
          <p:grpSpPr>
            <a:xfrm rot="16043978">
              <a:off x="1317220" y="4717577"/>
              <a:ext cx="292254" cy="354906"/>
              <a:chOff x="1296521" y="3253388"/>
              <a:chExt cx="292254" cy="354906"/>
            </a:xfrm>
            <a:solidFill>
              <a:srgbClr val="F2C812"/>
            </a:solidFill>
          </p:grpSpPr>
          <p:sp>
            <p:nvSpPr>
              <p:cNvPr id="93" name="Isosceles Triangle 92"/>
              <p:cNvSpPr/>
              <p:nvPr/>
            </p:nvSpPr>
            <p:spPr bwMode="auto">
              <a:xfrm rot="13636515">
                <a:off x="1461362" y="328936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4" name="Isosceles Triangle 93"/>
              <p:cNvSpPr/>
              <p:nvPr/>
            </p:nvSpPr>
            <p:spPr bwMode="auto">
              <a:xfrm rot="13636515">
                <a:off x="1357669" y="338258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5" name="Isosceles Triangle 94"/>
              <p:cNvSpPr/>
              <p:nvPr/>
            </p:nvSpPr>
            <p:spPr bwMode="auto">
              <a:xfrm rot="13636515">
                <a:off x="1260548" y="3480882"/>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82" name="Oval 36"/>
            <p:cNvSpPr/>
            <p:nvPr/>
          </p:nvSpPr>
          <p:spPr>
            <a:xfrm>
              <a:off x="1413521" y="2481383"/>
              <a:ext cx="1119626" cy="1119626"/>
            </a:xfrm>
            <a:prstGeom prst="ellipse">
              <a:avLst/>
            </a:prstGeom>
            <a:solidFill>
              <a:srgbClr val="F2C812"/>
            </a:solidFill>
            <a:ln w="3175" cap="flat" cmpd="sng" algn="ctr">
              <a:noFill/>
              <a:prstDash val="solid"/>
            </a:ln>
            <a:effectLst/>
          </p:spPr>
          <p:txBody>
            <a:bodyPr vert="horz" wrap="none" lIns="0" tIns="0" rIns="0" bIns="0" rtlCol="0" anchor="t"/>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400" b="1" i="0" u="none" strike="noStrike" kern="1200" cap="none" spc="0" normalizeH="0" baseline="0" noProof="0">
                <a:ln>
                  <a:noFill/>
                </a:ln>
                <a:solidFill>
                  <a:srgbClr val="217346"/>
                </a:solidFill>
                <a:effectLst/>
                <a:uLnTx/>
                <a:uFillTx/>
                <a:latin typeface="Segoe UI"/>
                <a:ea typeface="Segoe UI" pitchFamily="34" charset="0"/>
                <a:cs typeface="Segoe UI" pitchFamily="34" charset="0"/>
              </a:endParaRPr>
            </a:p>
          </p:txBody>
        </p:sp>
        <p:sp>
          <p:nvSpPr>
            <p:cNvPr id="83" name="Donut 3"/>
            <p:cNvSpPr/>
            <p:nvPr/>
          </p:nvSpPr>
          <p:spPr bwMode="auto">
            <a:xfrm>
              <a:off x="1742065" y="3002355"/>
              <a:ext cx="383905" cy="351537"/>
            </a:xfrm>
            <a:custGeom>
              <a:avLst/>
              <a:gdLst/>
              <a:ahLst/>
              <a:cxnLst/>
              <a:rect l="l" t="t" r="r" b="b"/>
              <a:pathLst>
                <a:path w="1409956" h="1291077">
                  <a:moveTo>
                    <a:pt x="956401" y="78410"/>
                  </a:moveTo>
                  <a:cubicBezTo>
                    <a:pt x="747518" y="78410"/>
                    <a:pt x="578184" y="247744"/>
                    <a:pt x="578184" y="456627"/>
                  </a:cubicBezTo>
                  <a:cubicBezTo>
                    <a:pt x="578184" y="665510"/>
                    <a:pt x="747518" y="834844"/>
                    <a:pt x="956401" y="834844"/>
                  </a:cubicBezTo>
                  <a:cubicBezTo>
                    <a:pt x="1165284" y="834844"/>
                    <a:pt x="1334618" y="665510"/>
                    <a:pt x="1334618" y="456627"/>
                  </a:cubicBezTo>
                  <a:cubicBezTo>
                    <a:pt x="1334618" y="247744"/>
                    <a:pt x="1165284" y="78410"/>
                    <a:pt x="956401" y="78410"/>
                  </a:cubicBezTo>
                  <a:close/>
                  <a:moveTo>
                    <a:pt x="952756" y="0"/>
                  </a:moveTo>
                  <a:cubicBezTo>
                    <a:pt x="1205261" y="0"/>
                    <a:pt x="1409956" y="204695"/>
                    <a:pt x="1409956" y="457200"/>
                  </a:cubicBezTo>
                  <a:cubicBezTo>
                    <a:pt x="1409956" y="709705"/>
                    <a:pt x="1205261" y="914400"/>
                    <a:pt x="952756" y="914400"/>
                  </a:cubicBezTo>
                  <a:cubicBezTo>
                    <a:pt x="862133" y="914400"/>
                    <a:pt x="777669" y="888034"/>
                    <a:pt x="707132" y="841746"/>
                  </a:cubicBezTo>
                  <a:lnTo>
                    <a:pt x="136495" y="1280102"/>
                  </a:lnTo>
                  <a:cubicBezTo>
                    <a:pt x="21896" y="1327168"/>
                    <a:pt x="-44029" y="1213730"/>
                    <a:pt x="33797" y="1113182"/>
                  </a:cubicBezTo>
                  <a:lnTo>
                    <a:pt x="568587" y="703518"/>
                  </a:lnTo>
                  <a:cubicBezTo>
                    <a:pt x="522087" y="632814"/>
                    <a:pt x="495556" y="548105"/>
                    <a:pt x="495556" y="457200"/>
                  </a:cubicBezTo>
                  <a:cubicBezTo>
                    <a:pt x="495556" y="204695"/>
                    <a:pt x="700251" y="0"/>
                    <a:pt x="952756" y="0"/>
                  </a:cubicBezTo>
                  <a:close/>
                </a:path>
              </a:pathLst>
            </a:cu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sp>
          <p:nvSpPr>
            <p:cNvPr id="84" name="Rectangle 83"/>
            <p:cNvSpPr/>
            <p:nvPr/>
          </p:nvSpPr>
          <p:spPr>
            <a:xfrm>
              <a:off x="1600398" y="2677430"/>
              <a:ext cx="820353" cy="307777"/>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Segoe UI"/>
                  <a:ea typeface="Segoe UI" pitchFamily="34" charset="0"/>
                  <a:cs typeface="Segoe UI" pitchFamily="34" charset="0"/>
                </a:rPr>
                <a:t>Explore</a:t>
              </a:r>
              <a:endParaRPr kumimoji="0" lang="en-US" sz="1600" b="0" i="0" u="none" strike="noStrike" kern="1200" cap="none" spc="0" normalizeH="0" baseline="0" noProof="0">
                <a:ln>
                  <a:noFill/>
                </a:ln>
                <a:solidFill>
                  <a:srgbClr val="000000"/>
                </a:solidFill>
                <a:effectLst/>
                <a:uLnTx/>
                <a:uFillTx/>
                <a:latin typeface="Segoe UI"/>
                <a:ea typeface="+mn-ea"/>
                <a:cs typeface="+mn-cs"/>
              </a:endParaRPr>
            </a:p>
          </p:txBody>
        </p:sp>
        <p:sp>
          <p:nvSpPr>
            <p:cNvPr id="85" name="Rectangle 84"/>
            <p:cNvSpPr/>
            <p:nvPr/>
          </p:nvSpPr>
          <p:spPr>
            <a:xfrm>
              <a:off x="509174" y="1475232"/>
              <a:ext cx="838756" cy="307777"/>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Segoe UI"/>
                  <a:ea typeface="Segoe UI" pitchFamily="34" charset="0"/>
                  <a:cs typeface="Segoe UI" pitchFamily="34" charset="0"/>
                </a:rPr>
                <a:t>Prepare</a:t>
              </a: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86" name="Freeform 85"/>
            <p:cNvSpPr>
              <a:spLocks noChangeAspect="1"/>
            </p:cNvSpPr>
            <p:nvPr/>
          </p:nvSpPr>
          <p:spPr bwMode="black">
            <a:xfrm>
              <a:off x="1836174" y="5643069"/>
              <a:ext cx="274320" cy="284173"/>
            </a:xfrm>
            <a:custGeom>
              <a:avLst/>
              <a:gdLst>
                <a:gd name="T0" fmla="*/ 539 w 669"/>
                <a:gd name="T1" fmla="*/ 5 h 693"/>
                <a:gd name="T2" fmla="*/ 640 w 669"/>
                <a:gd name="T3" fmla="*/ 55 h 693"/>
                <a:gd name="T4" fmla="*/ 603 w 669"/>
                <a:gd name="T5" fmla="*/ 195 h 693"/>
                <a:gd name="T6" fmla="*/ 490 w 669"/>
                <a:gd name="T7" fmla="*/ 188 h 693"/>
                <a:gd name="T8" fmla="*/ 479 w 669"/>
                <a:gd name="T9" fmla="*/ 176 h 693"/>
                <a:gd name="T10" fmla="*/ 213 w 669"/>
                <a:gd name="T11" fmla="*/ 330 h 693"/>
                <a:gd name="T12" fmla="*/ 218 w 669"/>
                <a:gd name="T13" fmla="*/ 345 h 693"/>
                <a:gd name="T14" fmla="*/ 218 w 669"/>
                <a:gd name="T15" fmla="*/ 375 h 693"/>
                <a:gd name="T16" fmla="*/ 209 w 669"/>
                <a:gd name="T17" fmla="*/ 402 h 693"/>
                <a:gd name="T18" fmla="*/ 369 w 669"/>
                <a:gd name="T19" fmla="*/ 503 h 693"/>
                <a:gd name="T20" fmla="*/ 373 w 669"/>
                <a:gd name="T21" fmla="*/ 498 h 693"/>
                <a:gd name="T22" fmla="*/ 456 w 669"/>
                <a:gd name="T23" fmla="*/ 475 h 693"/>
                <a:gd name="T24" fmla="*/ 494 w 669"/>
                <a:gd name="T25" fmla="*/ 489 h 693"/>
                <a:gd name="T26" fmla="*/ 527 w 669"/>
                <a:gd name="T27" fmla="*/ 630 h 693"/>
                <a:gd name="T28" fmla="*/ 386 w 669"/>
                <a:gd name="T29" fmla="*/ 663 h 693"/>
                <a:gd name="T30" fmla="*/ 339 w 669"/>
                <a:gd name="T31" fmla="*/ 560 h 693"/>
                <a:gd name="T32" fmla="*/ 345 w 669"/>
                <a:gd name="T33" fmla="*/ 544 h 693"/>
                <a:gd name="T34" fmla="*/ 177 w 669"/>
                <a:gd name="T35" fmla="*/ 439 h 693"/>
                <a:gd name="T36" fmla="*/ 168 w 669"/>
                <a:gd name="T37" fmla="*/ 446 h 693"/>
                <a:gd name="T38" fmla="*/ 28 w 669"/>
                <a:gd name="T39" fmla="*/ 409 h 693"/>
                <a:gd name="T40" fmla="*/ 65 w 669"/>
                <a:gd name="T41" fmla="*/ 269 h 693"/>
                <a:gd name="T42" fmla="*/ 178 w 669"/>
                <a:gd name="T43" fmla="*/ 276 h 693"/>
                <a:gd name="T44" fmla="*/ 189 w 669"/>
                <a:gd name="T45" fmla="*/ 288 h 693"/>
                <a:gd name="T46" fmla="*/ 455 w 669"/>
                <a:gd name="T47" fmla="*/ 134 h 693"/>
                <a:gd name="T48" fmla="*/ 450 w 669"/>
                <a:gd name="T49" fmla="*/ 119 h 693"/>
                <a:gd name="T50" fmla="*/ 501 w 669"/>
                <a:gd name="T51" fmla="*/ 18 h 693"/>
                <a:gd name="T52" fmla="*/ 539 w 669"/>
                <a:gd name="T53" fmla="*/ 5 h 6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69" h="693">
                  <a:moveTo>
                    <a:pt x="539" y="5"/>
                  </a:moveTo>
                  <a:cubicBezTo>
                    <a:pt x="579" y="0"/>
                    <a:pt x="619" y="19"/>
                    <a:pt x="640" y="55"/>
                  </a:cubicBezTo>
                  <a:cubicBezTo>
                    <a:pt x="669" y="104"/>
                    <a:pt x="652" y="167"/>
                    <a:pt x="603" y="195"/>
                  </a:cubicBezTo>
                  <a:cubicBezTo>
                    <a:pt x="566" y="216"/>
                    <a:pt x="522" y="212"/>
                    <a:pt x="490" y="188"/>
                  </a:cubicBezTo>
                  <a:cubicBezTo>
                    <a:pt x="479" y="176"/>
                    <a:pt x="479" y="176"/>
                    <a:pt x="479" y="176"/>
                  </a:cubicBezTo>
                  <a:cubicBezTo>
                    <a:pt x="213" y="330"/>
                    <a:pt x="213" y="330"/>
                    <a:pt x="213" y="330"/>
                  </a:cubicBezTo>
                  <a:cubicBezTo>
                    <a:pt x="218" y="345"/>
                    <a:pt x="218" y="345"/>
                    <a:pt x="218" y="345"/>
                  </a:cubicBezTo>
                  <a:cubicBezTo>
                    <a:pt x="219" y="355"/>
                    <a:pt x="219" y="365"/>
                    <a:pt x="218" y="375"/>
                  </a:cubicBezTo>
                  <a:cubicBezTo>
                    <a:pt x="209" y="402"/>
                    <a:pt x="209" y="402"/>
                    <a:pt x="209" y="402"/>
                  </a:cubicBezTo>
                  <a:cubicBezTo>
                    <a:pt x="369" y="503"/>
                    <a:pt x="369" y="503"/>
                    <a:pt x="369" y="503"/>
                  </a:cubicBezTo>
                  <a:cubicBezTo>
                    <a:pt x="373" y="498"/>
                    <a:pt x="373" y="498"/>
                    <a:pt x="373" y="498"/>
                  </a:cubicBezTo>
                  <a:cubicBezTo>
                    <a:pt x="396" y="479"/>
                    <a:pt x="427" y="470"/>
                    <a:pt x="456" y="475"/>
                  </a:cubicBezTo>
                  <a:cubicBezTo>
                    <a:pt x="470" y="477"/>
                    <a:pt x="482" y="482"/>
                    <a:pt x="494" y="489"/>
                  </a:cubicBezTo>
                  <a:cubicBezTo>
                    <a:pt x="542" y="519"/>
                    <a:pt x="557" y="583"/>
                    <a:pt x="527" y="630"/>
                  </a:cubicBezTo>
                  <a:cubicBezTo>
                    <a:pt x="497" y="678"/>
                    <a:pt x="433" y="693"/>
                    <a:pt x="386" y="663"/>
                  </a:cubicBezTo>
                  <a:cubicBezTo>
                    <a:pt x="350" y="640"/>
                    <a:pt x="333" y="599"/>
                    <a:pt x="339" y="560"/>
                  </a:cubicBezTo>
                  <a:cubicBezTo>
                    <a:pt x="345" y="544"/>
                    <a:pt x="345" y="544"/>
                    <a:pt x="345" y="544"/>
                  </a:cubicBezTo>
                  <a:cubicBezTo>
                    <a:pt x="177" y="439"/>
                    <a:pt x="177" y="439"/>
                    <a:pt x="177" y="439"/>
                  </a:cubicBezTo>
                  <a:cubicBezTo>
                    <a:pt x="168" y="446"/>
                    <a:pt x="168" y="446"/>
                    <a:pt x="168" y="446"/>
                  </a:cubicBezTo>
                  <a:cubicBezTo>
                    <a:pt x="119" y="475"/>
                    <a:pt x="56" y="458"/>
                    <a:pt x="28" y="409"/>
                  </a:cubicBezTo>
                  <a:cubicBezTo>
                    <a:pt x="0" y="360"/>
                    <a:pt x="16" y="297"/>
                    <a:pt x="65" y="269"/>
                  </a:cubicBezTo>
                  <a:cubicBezTo>
                    <a:pt x="102" y="248"/>
                    <a:pt x="147" y="252"/>
                    <a:pt x="178" y="276"/>
                  </a:cubicBezTo>
                  <a:cubicBezTo>
                    <a:pt x="189" y="288"/>
                    <a:pt x="189" y="288"/>
                    <a:pt x="189" y="288"/>
                  </a:cubicBezTo>
                  <a:cubicBezTo>
                    <a:pt x="455" y="134"/>
                    <a:pt x="455" y="134"/>
                    <a:pt x="455" y="134"/>
                  </a:cubicBezTo>
                  <a:cubicBezTo>
                    <a:pt x="450" y="119"/>
                    <a:pt x="450" y="119"/>
                    <a:pt x="450" y="119"/>
                  </a:cubicBezTo>
                  <a:cubicBezTo>
                    <a:pt x="445" y="80"/>
                    <a:pt x="464" y="39"/>
                    <a:pt x="501" y="18"/>
                  </a:cubicBezTo>
                  <a:cubicBezTo>
                    <a:pt x="513" y="11"/>
                    <a:pt x="526" y="6"/>
                    <a:pt x="539" y="5"/>
                  </a:cubicBezTo>
                  <a:close/>
                </a:path>
              </a:pathLst>
            </a:custGeom>
            <a:solidFill>
              <a:schemeClr val="tx1"/>
            </a:solidFill>
            <a:ln>
              <a:noFill/>
            </a:ln>
          </p:spPr>
          <p:txBody>
            <a:bodyPr vert="horz" wrap="square" lIns="68574" tIns="34287" rIns="68574" bIns="34287"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0000"/>
                </a:solidFill>
                <a:effectLst/>
                <a:uLnTx/>
                <a:uFillTx/>
                <a:latin typeface="Segoe UI"/>
                <a:ea typeface="+mn-ea"/>
                <a:cs typeface="+mn-cs"/>
              </a:endParaRPr>
            </a:p>
          </p:txBody>
        </p:sp>
        <p:sp>
          <p:nvSpPr>
            <p:cNvPr id="87" name="Freeform 86"/>
            <p:cNvSpPr>
              <a:spLocks noChangeAspect="1" noEditPoints="1"/>
            </p:cNvSpPr>
            <p:nvPr/>
          </p:nvSpPr>
          <p:spPr bwMode="black">
            <a:xfrm>
              <a:off x="722320" y="1783009"/>
              <a:ext cx="452202" cy="366660"/>
            </a:xfrm>
            <a:custGeom>
              <a:avLst/>
              <a:gdLst>
                <a:gd name="T0" fmla="*/ 600 w 1107"/>
                <a:gd name="T1" fmla="*/ 625 h 897"/>
                <a:gd name="T2" fmla="*/ 649 w 1107"/>
                <a:gd name="T3" fmla="*/ 567 h 897"/>
                <a:gd name="T4" fmla="*/ 727 w 1107"/>
                <a:gd name="T5" fmla="*/ 482 h 897"/>
                <a:gd name="T6" fmla="*/ 601 w 1107"/>
                <a:gd name="T7" fmla="*/ 434 h 897"/>
                <a:gd name="T8" fmla="*/ 628 w 1107"/>
                <a:gd name="T9" fmla="*/ 305 h 897"/>
                <a:gd name="T10" fmla="*/ 547 w 1107"/>
                <a:gd name="T11" fmla="*/ 240 h 897"/>
                <a:gd name="T12" fmla="*/ 427 w 1107"/>
                <a:gd name="T13" fmla="*/ 287 h 897"/>
                <a:gd name="T14" fmla="*/ 368 w 1107"/>
                <a:gd name="T15" fmla="*/ 170 h 897"/>
                <a:gd name="T16" fmla="*/ 285 w 1107"/>
                <a:gd name="T17" fmla="*/ 263 h 897"/>
                <a:gd name="T18" fmla="*/ 241 w 1107"/>
                <a:gd name="T19" fmla="*/ 313 h 897"/>
                <a:gd name="T20" fmla="*/ 139 w 1107"/>
                <a:gd name="T21" fmla="*/ 281 h 897"/>
                <a:gd name="T22" fmla="*/ 79 w 1107"/>
                <a:gd name="T23" fmla="*/ 355 h 897"/>
                <a:gd name="T24" fmla="*/ 132 w 1107"/>
                <a:gd name="T25" fmla="*/ 446 h 897"/>
                <a:gd name="T26" fmla="*/ 83 w 1107"/>
                <a:gd name="T27" fmla="*/ 505 h 897"/>
                <a:gd name="T28" fmla="*/ 5 w 1107"/>
                <a:gd name="T29" fmla="*/ 590 h 897"/>
                <a:gd name="T30" fmla="*/ 132 w 1107"/>
                <a:gd name="T31" fmla="*/ 638 h 897"/>
                <a:gd name="T32" fmla="*/ 145 w 1107"/>
                <a:gd name="T33" fmla="*/ 669 h 897"/>
                <a:gd name="T34" fmla="*/ 110 w 1107"/>
                <a:gd name="T35" fmla="*/ 793 h 897"/>
                <a:gd name="T36" fmla="*/ 230 w 1107"/>
                <a:gd name="T37" fmla="*/ 781 h 897"/>
                <a:gd name="T38" fmla="*/ 306 w 1107"/>
                <a:gd name="T39" fmla="*/ 785 h 897"/>
                <a:gd name="T40" fmla="*/ 346 w 1107"/>
                <a:gd name="T41" fmla="*/ 878 h 897"/>
                <a:gd name="T42" fmla="*/ 440 w 1107"/>
                <a:gd name="T43" fmla="*/ 872 h 897"/>
                <a:gd name="T44" fmla="*/ 466 w 1107"/>
                <a:gd name="T45" fmla="*/ 764 h 897"/>
                <a:gd name="T46" fmla="*/ 539 w 1107"/>
                <a:gd name="T47" fmla="*/ 755 h 897"/>
                <a:gd name="T48" fmla="*/ 659 w 1107"/>
                <a:gd name="T49" fmla="*/ 743 h 897"/>
                <a:gd name="T50" fmla="*/ 263 w 1107"/>
                <a:gd name="T51" fmla="*/ 452 h 897"/>
                <a:gd name="T52" fmla="*/ 281 w 1107"/>
                <a:gd name="T53" fmla="*/ 633 h 897"/>
                <a:gd name="T54" fmla="*/ 1002 w 1107"/>
                <a:gd name="T55" fmla="*/ 332 h 897"/>
                <a:gd name="T56" fmla="*/ 1043 w 1107"/>
                <a:gd name="T57" fmla="*/ 304 h 897"/>
                <a:gd name="T58" fmla="*/ 1107 w 1107"/>
                <a:gd name="T59" fmla="*/ 266 h 897"/>
                <a:gd name="T60" fmla="*/ 1037 w 1107"/>
                <a:gd name="T61" fmla="*/ 213 h 897"/>
                <a:gd name="T62" fmla="*/ 1077 w 1107"/>
                <a:gd name="T63" fmla="*/ 138 h 897"/>
                <a:gd name="T64" fmla="*/ 1038 w 1107"/>
                <a:gd name="T65" fmla="*/ 83 h 897"/>
                <a:gd name="T66" fmla="*/ 956 w 1107"/>
                <a:gd name="T67" fmla="*/ 91 h 897"/>
                <a:gd name="T68" fmla="*/ 940 w 1107"/>
                <a:gd name="T69" fmla="*/ 7 h 897"/>
                <a:gd name="T70" fmla="*/ 872 w 1107"/>
                <a:gd name="T71" fmla="*/ 50 h 897"/>
                <a:gd name="T72" fmla="*/ 836 w 1107"/>
                <a:gd name="T73" fmla="*/ 74 h 897"/>
                <a:gd name="T74" fmla="*/ 778 w 1107"/>
                <a:gd name="T75" fmla="*/ 35 h 897"/>
                <a:gd name="T76" fmla="*/ 728 w 1107"/>
                <a:gd name="T77" fmla="*/ 70 h 897"/>
                <a:gd name="T78" fmla="*/ 744 w 1107"/>
                <a:gd name="T79" fmla="*/ 136 h 897"/>
                <a:gd name="T80" fmla="*/ 703 w 1107"/>
                <a:gd name="T81" fmla="*/ 164 h 897"/>
                <a:gd name="T82" fmla="*/ 640 w 1107"/>
                <a:gd name="T83" fmla="*/ 203 h 897"/>
                <a:gd name="T84" fmla="*/ 710 w 1107"/>
                <a:gd name="T85" fmla="*/ 255 h 897"/>
                <a:gd name="T86" fmla="*/ 712 w 1107"/>
                <a:gd name="T87" fmla="*/ 277 h 897"/>
                <a:gd name="T88" fmla="*/ 668 w 1107"/>
                <a:gd name="T89" fmla="*/ 347 h 897"/>
                <a:gd name="T90" fmla="*/ 745 w 1107"/>
                <a:gd name="T91" fmla="*/ 361 h 897"/>
                <a:gd name="T92" fmla="*/ 791 w 1107"/>
                <a:gd name="T93" fmla="*/ 377 h 897"/>
                <a:gd name="T94" fmla="*/ 799 w 1107"/>
                <a:gd name="T95" fmla="*/ 443 h 897"/>
                <a:gd name="T96" fmla="*/ 859 w 1107"/>
                <a:gd name="T97" fmla="*/ 456 h 897"/>
                <a:gd name="T98" fmla="*/ 894 w 1107"/>
                <a:gd name="T99" fmla="*/ 393 h 897"/>
                <a:gd name="T100" fmla="*/ 941 w 1107"/>
                <a:gd name="T101" fmla="*/ 401 h 897"/>
                <a:gd name="T102" fmla="*/ 1018 w 1107"/>
                <a:gd name="T103" fmla="*/ 415 h 897"/>
                <a:gd name="T104" fmla="*/ 825 w 1107"/>
                <a:gd name="T105" fmla="*/ 164 h 897"/>
                <a:gd name="T106" fmla="*/ 803 w 1107"/>
                <a:gd name="T107" fmla="*/ 279 h 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107" h="897">
                  <a:moveTo>
                    <a:pt x="654" y="716"/>
                  </a:moveTo>
                  <a:cubicBezTo>
                    <a:pt x="616" y="670"/>
                    <a:pt x="616" y="670"/>
                    <a:pt x="616" y="670"/>
                  </a:cubicBezTo>
                  <a:cubicBezTo>
                    <a:pt x="593" y="654"/>
                    <a:pt x="603" y="638"/>
                    <a:pt x="600" y="625"/>
                  </a:cubicBezTo>
                  <a:cubicBezTo>
                    <a:pt x="600" y="625"/>
                    <a:pt x="600" y="625"/>
                    <a:pt x="600" y="625"/>
                  </a:cubicBezTo>
                  <a:cubicBezTo>
                    <a:pt x="605" y="617"/>
                    <a:pt x="611" y="609"/>
                    <a:pt x="608" y="596"/>
                  </a:cubicBezTo>
                  <a:cubicBezTo>
                    <a:pt x="618" y="580"/>
                    <a:pt x="623" y="572"/>
                    <a:pt x="649" y="567"/>
                  </a:cubicBezTo>
                  <a:cubicBezTo>
                    <a:pt x="715" y="553"/>
                    <a:pt x="715" y="553"/>
                    <a:pt x="715" y="553"/>
                  </a:cubicBezTo>
                  <a:cubicBezTo>
                    <a:pt x="728" y="550"/>
                    <a:pt x="733" y="542"/>
                    <a:pt x="730" y="529"/>
                  </a:cubicBezTo>
                  <a:cubicBezTo>
                    <a:pt x="727" y="482"/>
                    <a:pt x="727" y="482"/>
                    <a:pt x="727" y="482"/>
                  </a:cubicBezTo>
                  <a:cubicBezTo>
                    <a:pt x="724" y="469"/>
                    <a:pt x="717" y="463"/>
                    <a:pt x="701" y="453"/>
                  </a:cubicBezTo>
                  <a:cubicBezTo>
                    <a:pt x="641" y="459"/>
                    <a:pt x="641" y="459"/>
                    <a:pt x="641" y="459"/>
                  </a:cubicBezTo>
                  <a:cubicBezTo>
                    <a:pt x="620" y="457"/>
                    <a:pt x="604" y="447"/>
                    <a:pt x="601" y="434"/>
                  </a:cubicBezTo>
                  <a:cubicBezTo>
                    <a:pt x="598" y="421"/>
                    <a:pt x="590" y="416"/>
                    <a:pt x="580" y="397"/>
                  </a:cubicBezTo>
                  <a:cubicBezTo>
                    <a:pt x="577" y="384"/>
                    <a:pt x="574" y="371"/>
                    <a:pt x="584" y="355"/>
                  </a:cubicBezTo>
                  <a:cubicBezTo>
                    <a:pt x="628" y="305"/>
                    <a:pt x="628" y="305"/>
                    <a:pt x="628" y="305"/>
                  </a:cubicBezTo>
                  <a:cubicBezTo>
                    <a:pt x="634" y="297"/>
                    <a:pt x="631" y="284"/>
                    <a:pt x="623" y="279"/>
                  </a:cubicBezTo>
                  <a:cubicBezTo>
                    <a:pt x="581" y="240"/>
                    <a:pt x="581" y="240"/>
                    <a:pt x="581" y="240"/>
                  </a:cubicBezTo>
                  <a:cubicBezTo>
                    <a:pt x="573" y="235"/>
                    <a:pt x="560" y="238"/>
                    <a:pt x="547" y="240"/>
                  </a:cubicBezTo>
                  <a:cubicBezTo>
                    <a:pt x="503" y="291"/>
                    <a:pt x="503" y="291"/>
                    <a:pt x="503" y="291"/>
                  </a:cubicBezTo>
                  <a:cubicBezTo>
                    <a:pt x="484" y="302"/>
                    <a:pt x="471" y="304"/>
                    <a:pt x="463" y="299"/>
                  </a:cubicBezTo>
                  <a:cubicBezTo>
                    <a:pt x="456" y="294"/>
                    <a:pt x="435" y="292"/>
                    <a:pt x="427" y="287"/>
                  </a:cubicBezTo>
                  <a:cubicBezTo>
                    <a:pt x="419" y="282"/>
                    <a:pt x="403" y="271"/>
                    <a:pt x="400" y="258"/>
                  </a:cubicBezTo>
                  <a:cubicBezTo>
                    <a:pt x="386" y="193"/>
                    <a:pt x="386" y="193"/>
                    <a:pt x="386" y="193"/>
                  </a:cubicBezTo>
                  <a:cubicBezTo>
                    <a:pt x="384" y="180"/>
                    <a:pt x="368" y="170"/>
                    <a:pt x="368" y="170"/>
                  </a:cubicBezTo>
                  <a:cubicBezTo>
                    <a:pt x="308" y="176"/>
                    <a:pt x="308" y="176"/>
                    <a:pt x="308" y="176"/>
                  </a:cubicBezTo>
                  <a:cubicBezTo>
                    <a:pt x="308" y="176"/>
                    <a:pt x="289" y="187"/>
                    <a:pt x="292" y="200"/>
                  </a:cubicBezTo>
                  <a:cubicBezTo>
                    <a:pt x="285" y="263"/>
                    <a:pt x="285" y="263"/>
                    <a:pt x="285" y="263"/>
                  </a:cubicBezTo>
                  <a:cubicBezTo>
                    <a:pt x="291" y="289"/>
                    <a:pt x="277" y="292"/>
                    <a:pt x="272" y="300"/>
                  </a:cubicBezTo>
                  <a:cubicBezTo>
                    <a:pt x="272" y="300"/>
                    <a:pt x="272" y="300"/>
                    <a:pt x="267" y="308"/>
                  </a:cubicBezTo>
                  <a:cubicBezTo>
                    <a:pt x="259" y="302"/>
                    <a:pt x="246" y="305"/>
                    <a:pt x="241" y="313"/>
                  </a:cubicBezTo>
                  <a:cubicBezTo>
                    <a:pt x="236" y="321"/>
                    <a:pt x="236" y="321"/>
                    <a:pt x="236" y="321"/>
                  </a:cubicBezTo>
                  <a:cubicBezTo>
                    <a:pt x="223" y="324"/>
                    <a:pt x="210" y="327"/>
                    <a:pt x="194" y="317"/>
                  </a:cubicBezTo>
                  <a:cubicBezTo>
                    <a:pt x="139" y="281"/>
                    <a:pt x="139" y="281"/>
                    <a:pt x="139" y="281"/>
                  </a:cubicBezTo>
                  <a:cubicBezTo>
                    <a:pt x="131" y="276"/>
                    <a:pt x="110" y="273"/>
                    <a:pt x="104" y="281"/>
                  </a:cubicBezTo>
                  <a:cubicBezTo>
                    <a:pt x="79" y="321"/>
                    <a:pt x="79" y="321"/>
                    <a:pt x="79" y="321"/>
                  </a:cubicBezTo>
                  <a:cubicBezTo>
                    <a:pt x="66" y="324"/>
                    <a:pt x="68" y="337"/>
                    <a:pt x="79" y="355"/>
                  </a:cubicBezTo>
                  <a:cubicBezTo>
                    <a:pt x="121" y="394"/>
                    <a:pt x="121" y="394"/>
                    <a:pt x="121" y="394"/>
                  </a:cubicBezTo>
                  <a:cubicBezTo>
                    <a:pt x="140" y="417"/>
                    <a:pt x="135" y="425"/>
                    <a:pt x="132" y="446"/>
                  </a:cubicBezTo>
                  <a:cubicBezTo>
                    <a:pt x="132" y="446"/>
                    <a:pt x="132" y="446"/>
                    <a:pt x="132" y="446"/>
                  </a:cubicBezTo>
                  <a:cubicBezTo>
                    <a:pt x="127" y="454"/>
                    <a:pt x="122" y="462"/>
                    <a:pt x="117" y="470"/>
                  </a:cubicBezTo>
                  <a:cubicBezTo>
                    <a:pt x="117" y="470"/>
                    <a:pt x="117" y="470"/>
                    <a:pt x="117" y="470"/>
                  </a:cubicBezTo>
                  <a:cubicBezTo>
                    <a:pt x="120" y="483"/>
                    <a:pt x="109" y="499"/>
                    <a:pt x="83" y="505"/>
                  </a:cubicBezTo>
                  <a:cubicBezTo>
                    <a:pt x="23" y="511"/>
                    <a:pt x="23" y="511"/>
                    <a:pt x="23" y="511"/>
                  </a:cubicBezTo>
                  <a:cubicBezTo>
                    <a:pt x="10" y="514"/>
                    <a:pt x="0" y="529"/>
                    <a:pt x="2" y="543"/>
                  </a:cubicBezTo>
                  <a:cubicBezTo>
                    <a:pt x="5" y="590"/>
                    <a:pt x="5" y="590"/>
                    <a:pt x="5" y="590"/>
                  </a:cubicBezTo>
                  <a:cubicBezTo>
                    <a:pt x="8" y="603"/>
                    <a:pt x="16" y="608"/>
                    <a:pt x="37" y="610"/>
                  </a:cubicBezTo>
                  <a:cubicBezTo>
                    <a:pt x="92" y="612"/>
                    <a:pt x="92" y="612"/>
                    <a:pt x="92" y="612"/>
                  </a:cubicBezTo>
                  <a:cubicBezTo>
                    <a:pt x="113" y="614"/>
                    <a:pt x="129" y="625"/>
                    <a:pt x="132" y="638"/>
                  </a:cubicBezTo>
                  <a:cubicBezTo>
                    <a:pt x="132" y="638"/>
                    <a:pt x="132" y="638"/>
                    <a:pt x="132" y="638"/>
                  </a:cubicBezTo>
                  <a:cubicBezTo>
                    <a:pt x="140" y="643"/>
                    <a:pt x="142" y="656"/>
                    <a:pt x="150" y="661"/>
                  </a:cubicBezTo>
                  <a:cubicBezTo>
                    <a:pt x="145" y="669"/>
                    <a:pt x="145" y="669"/>
                    <a:pt x="145" y="669"/>
                  </a:cubicBezTo>
                  <a:cubicBezTo>
                    <a:pt x="153" y="674"/>
                    <a:pt x="156" y="687"/>
                    <a:pt x="140" y="711"/>
                  </a:cubicBezTo>
                  <a:cubicBezTo>
                    <a:pt x="109" y="759"/>
                    <a:pt x="109" y="759"/>
                    <a:pt x="109" y="759"/>
                  </a:cubicBezTo>
                  <a:cubicBezTo>
                    <a:pt x="99" y="775"/>
                    <a:pt x="102" y="788"/>
                    <a:pt x="110" y="793"/>
                  </a:cubicBezTo>
                  <a:cubicBezTo>
                    <a:pt x="152" y="832"/>
                    <a:pt x="152" y="832"/>
                    <a:pt x="152" y="832"/>
                  </a:cubicBezTo>
                  <a:cubicBezTo>
                    <a:pt x="160" y="837"/>
                    <a:pt x="173" y="834"/>
                    <a:pt x="178" y="826"/>
                  </a:cubicBezTo>
                  <a:cubicBezTo>
                    <a:pt x="230" y="781"/>
                    <a:pt x="230" y="781"/>
                    <a:pt x="230" y="781"/>
                  </a:cubicBezTo>
                  <a:cubicBezTo>
                    <a:pt x="248" y="770"/>
                    <a:pt x="261" y="767"/>
                    <a:pt x="269" y="772"/>
                  </a:cubicBezTo>
                  <a:cubicBezTo>
                    <a:pt x="269" y="772"/>
                    <a:pt x="269" y="772"/>
                    <a:pt x="269" y="772"/>
                  </a:cubicBezTo>
                  <a:cubicBezTo>
                    <a:pt x="282" y="769"/>
                    <a:pt x="298" y="779"/>
                    <a:pt x="306" y="785"/>
                  </a:cubicBezTo>
                  <a:cubicBezTo>
                    <a:pt x="306" y="785"/>
                    <a:pt x="306" y="785"/>
                    <a:pt x="306" y="785"/>
                  </a:cubicBezTo>
                  <a:cubicBezTo>
                    <a:pt x="319" y="782"/>
                    <a:pt x="327" y="787"/>
                    <a:pt x="332" y="813"/>
                  </a:cubicBezTo>
                  <a:cubicBezTo>
                    <a:pt x="346" y="878"/>
                    <a:pt x="346" y="878"/>
                    <a:pt x="346" y="878"/>
                  </a:cubicBezTo>
                  <a:cubicBezTo>
                    <a:pt x="349" y="892"/>
                    <a:pt x="357" y="897"/>
                    <a:pt x="370" y="894"/>
                  </a:cubicBezTo>
                  <a:cubicBezTo>
                    <a:pt x="425" y="896"/>
                    <a:pt x="425" y="896"/>
                    <a:pt x="425" y="896"/>
                  </a:cubicBezTo>
                  <a:cubicBezTo>
                    <a:pt x="430" y="888"/>
                    <a:pt x="443" y="885"/>
                    <a:pt x="440" y="872"/>
                  </a:cubicBezTo>
                  <a:cubicBezTo>
                    <a:pt x="440" y="804"/>
                    <a:pt x="440" y="804"/>
                    <a:pt x="440" y="804"/>
                  </a:cubicBezTo>
                  <a:cubicBezTo>
                    <a:pt x="442" y="783"/>
                    <a:pt x="460" y="772"/>
                    <a:pt x="466" y="764"/>
                  </a:cubicBezTo>
                  <a:cubicBezTo>
                    <a:pt x="466" y="764"/>
                    <a:pt x="466" y="764"/>
                    <a:pt x="466" y="764"/>
                  </a:cubicBezTo>
                  <a:cubicBezTo>
                    <a:pt x="479" y="761"/>
                    <a:pt x="492" y="758"/>
                    <a:pt x="497" y="750"/>
                  </a:cubicBezTo>
                  <a:cubicBezTo>
                    <a:pt x="497" y="750"/>
                    <a:pt x="497" y="750"/>
                    <a:pt x="497" y="750"/>
                  </a:cubicBezTo>
                  <a:cubicBezTo>
                    <a:pt x="510" y="747"/>
                    <a:pt x="523" y="745"/>
                    <a:pt x="539" y="755"/>
                  </a:cubicBezTo>
                  <a:cubicBezTo>
                    <a:pt x="594" y="791"/>
                    <a:pt x="594" y="791"/>
                    <a:pt x="594" y="791"/>
                  </a:cubicBezTo>
                  <a:cubicBezTo>
                    <a:pt x="602" y="796"/>
                    <a:pt x="623" y="798"/>
                    <a:pt x="628" y="790"/>
                  </a:cubicBezTo>
                  <a:cubicBezTo>
                    <a:pt x="659" y="743"/>
                    <a:pt x="659" y="743"/>
                    <a:pt x="659" y="743"/>
                  </a:cubicBezTo>
                  <a:cubicBezTo>
                    <a:pt x="659" y="743"/>
                    <a:pt x="669" y="727"/>
                    <a:pt x="654" y="716"/>
                  </a:cubicBezTo>
                  <a:close/>
                  <a:moveTo>
                    <a:pt x="281" y="633"/>
                  </a:moveTo>
                  <a:cubicBezTo>
                    <a:pt x="223" y="584"/>
                    <a:pt x="219" y="502"/>
                    <a:pt x="263" y="452"/>
                  </a:cubicBezTo>
                  <a:cubicBezTo>
                    <a:pt x="313" y="393"/>
                    <a:pt x="399" y="382"/>
                    <a:pt x="457" y="431"/>
                  </a:cubicBezTo>
                  <a:cubicBezTo>
                    <a:pt x="507" y="475"/>
                    <a:pt x="518" y="561"/>
                    <a:pt x="469" y="619"/>
                  </a:cubicBezTo>
                  <a:cubicBezTo>
                    <a:pt x="420" y="678"/>
                    <a:pt x="339" y="682"/>
                    <a:pt x="281" y="633"/>
                  </a:cubicBezTo>
                  <a:close/>
                  <a:moveTo>
                    <a:pt x="1019" y="398"/>
                  </a:moveTo>
                  <a:cubicBezTo>
                    <a:pt x="1004" y="362"/>
                    <a:pt x="1004" y="362"/>
                    <a:pt x="1004" y="362"/>
                  </a:cubicBezTo>
                  <a:cubicBezTo>
                    <a:pt x="992" y="348"/>
                    <a:pt x="1002" y="340"/>
                    <a:pt x="1002" y="332"/>
                  </a:cubicBezTo>
                  <a:cubicBezTo>
                    <a:pt x="1002" y="332"/>
                    <a:pt x="1002" y="332"/>
                    <a:pt x="1002" y="332"/>
                  </a:cubicBezTo>
                  <a:cubicBezTo>
                    <a:pt x="1007" y="328"/>
                    <a:pt x="1011" y="324"/>
                    <a:pt x="1012" y="315"/>
                  </a:cubicBezTo>
                  <a:cubicBezTo>
                    <a:pt x="1021" y="307"/>
                    <a:pt x="1026" y="303"/>
                    <a:pt x="1043" y="304"/>
                  </a:cubicBezTo>
                  <a:cubicBezTo>
                    <a:pt x="1086" y="307"/>
                    <a:pt x="1086" y="307"/>
                    <a:pt x="1086" y="307"/>
                  </a:cubicBezTo>
                  <a:cubicBezTo>
                    <a:pt x="1095" y="308"/>
                    <a:pt x="1099" y="304"/>
                    <a:pt x="1100" y="295"/>
                  </a:cubicBezTo>
                  <a:cubicBezTo>
                    <a:pt x="1107" y="266"/>
                    <a:pt x="1107" y="266"/>
                    <a:pt x="1107" y="266"/>
                  </a:cubicBezTo>
                  <a:cubicBezTo>
                    <a:pt x="1107" y="257"/>
                    <a:pt x="1103" y="252"/>
                    <a:pt x="1095" y="243"/>
                  </a:cubicBezTo>
                  <a:cubicBezTo>
                    <a:pt x="1057" y="236"/>
                    <a:pt x="1057" y="236"/>
                    <a:pt x="1057" y="236"/>
                  </a:cubicBezTo>
                  <a:cubicBezTo>
                    <a:pt x="1044" y="231"/>
                    <a:pt x="1036" y="222"/>
                    <a:pt x="1037" y="213"/>
                  </a:cubicBezTo>
                  <a:cubicBezTo>
                    <a:pt x="1038" y="205"/>
                    <a:pt x="1034" y="200"/>
                    <a:pt x="1030" y="187"/>
                  </a:cubicBezTo>
                  <a:cubicBezTo>
                    <a:pt x="1031" y="178"/>
                    <a:pt x="1032" y="170"/>
                    <a:pt x="1041" y="162"/>
                  </a:cubicBezTo>
                  <a:cubicBezTo>
                    <a:pt x="1077" y="138"/>
                    <a:pt x="1077" y="138"/>
                    <a:pt x="1077" y="138"/>
                  </a:cubicBezTo>
                  <a:cubicBezTo>
                    <a:pt x="1082" y="134"/>
                    <a:pt x="1083" y="126"/>
                    <a:pt x="1079" y="121"/>
                  </a:cubicBezTo>
                  <a:cubicBezTo>
                    <a:pt x="1059" y="89"/>
                    <a:pt x="1059" y="89"/>
                    <a:pt x="1059" y="89"/>
                  </a:cubicBezTo>
                  <a:cubicBezTo>
                    <a:pt x="1055" y="85"/>
                    <a:pt x="1047" y="84"/>
                    <a:pt x="1038" y="83"/>
                  </a:cubicBezTo>
                  <a:cubicBezTo>
                    <a:pt x="1002" y="107"/>
                    <a:pt x="1002" y="107"/>
                    <a:pt x="1002" y="107"/>
                  </a:cubicBezTo>
                  <a:cubicBezTo>
                    <a:pt x="989" y="110"/>
                    <a:pt x="980" y="110"/>
                    <a:pt x="976" y="105"/>
                  </a:cubicBezTo>
                  <a:cubicBezTo>
                    <a:pt x="972" y="100"/>
                    <a:pt x="960" y="95"/>
                    <a:pt x="956" y="91"/>
                  </a:cubicBezTo>
                  <a:cubicBezTo>
                    <a:pt x="952" y="86"/>
                    <a:pt x="944" y="77"/>
                    <a:pt x="944" y="68"/>
                  </a:cubicBezTo>
                  <a:cubicBezTo>
                    <a:pt x="948" y="25"/>
                    <a:pt x="948" y="25"/>
                    <a:pt x="948" y="25"/>
                  </a:cubicBezTo>
                  <a:cubicBezTo>
                    <a:pt x="948" y="17"/>
                    <a:pt x="940" y="7"/>
                    <a:pt x="940" y="7"/>
                  </a:cubicBezTo>
                  <a:cubicBezTo>
                    <a:pt x="902" y="0"/>
                    <a:pt x="902" y="0"/>
                    <a:pt x="902" y="0"/>
                  </a:cubicBezTo>
                  <a:cubicBezTo>
                    <a:pt x="902" y="0"/>
                    <a:pt x="889" y="4"/>
                    <a:pt x="888" y="12"/>
                  </a:cubicBezTo>
                  <a:cubicBezTo>
                    <a:pt x="872" y="50"/>
                    <a:pt x="872" y="50"/>
                    <a:pt x="872" y="50"/>
                  </a:cubicBezTo>
                  <a:cubicBezTo>
                    <a:pt x="871" y="67"/>
                    <a:pt x="862" y="67"/>
                    <a:pt x="858" y="71"/>
                  </a:cubicBezTo>
                  <a:cubicBezTo>
                    <a:pt x="858" y="71"/>
                    <a:pt x="858" y="71"/>
                    <a:pt x="853" y="75"/>
                  </a:cubicBezTo>
                  <a:cubicBezTo>
                    <a:pt x="849" y="70"/>
                    <a:pt x="840" y="70"/>
                    <a:pt x="836" y="74"/>
                  </a:cubicBezTo>
                  <a:cubicBezTo>
                    <a:pt x="831" y="78"/>
                    <a:pt x="831" y="78"/>
                    <a:pt x="831" y="78"/>
                  </a:cubicBezTo>
                  <a:cubicBezTo>
                    <a:pt x="822" y="77"/>
                    <a:pt x="814" y="76"/>
                    <a:pt x="806" y="67"/>
                  </a:cubicBezTo>
                  <a:cubicBezTo>
                    <a:pt x="778" y="35"/>
                    <a:pt x="778" y="35"/>
                    <a:pt x="778" y="35"/>
                  </a:cubicBezTo>
                  <a:cubicBezTo>
                    <a:pt x="774" y="30"/>
                    <a:pt x="762" y="25"/>
                    <a:pt x="757" y="29"/>
                  </a:cubicBezTo>
                  <a:cubicBezTo>
                    <a:pt x="734" y="49"/>
                    <a:pt x="734" y="49"/>
                    <a:pt x="734" y="49"/>
                  </a:cubicBezTo>
                  <a:cubicBezTo>
                    <a:pt x="725" y="49"/>
                    <a:pt x="725" y="57"/>
                    <a:pt x="728" y="70"/>
                  </a:cubicBezTo>
                  <a:cubicBezTo>
                    <a:pt x="747" y="102"/>
                    <a:pt x="747" y="102"/>
                    <a:pt x="747" y="102"/>
                  </a:cubicBezTo>
                  <a:cubicBezTo>
                    <a:pt x="754" y="120"/>
                    <a:pt x="750" y="124"/>
                    <a:pt x="744" y="136"/>
                  </a:cubicBezTo>
                  <a:cubicBezTo>
                    <a:pt x="744" y="136"/>
                    <a:pt x="744" y="136"/>
                    <a:pt x="744" y="136"/>
                  </a:cubicBezTo>
                  <a:cubicBezTo>
                    <a:pt x="740" y="140"/>
                    <a:pt x="735" y="144"/>
                    <a:pt x="731" y="148"/>
                  </a:cubicBezTo>
                  <a:cubicBezTo>
                    <a:pt x="731" y="148"/>
                    <a:pt x="731" y="148"/>
                    <a:pt x="731" y="148"/>
                  </a:cubicBezTo>
                  <a:cubicBezTo>
                    <a:pt x="730" y="157"/>
                    <a:pt x="721" y="165"/>
                    <a:pt x="703" y="164"/>
                  </a:cubicBezTo>
                  <a:cubicBezTo>
                    <a:pt x="665" y="157"/>
                    <a:pt x="665" y="157"/>
                    <a:pt x="665" y="157"/>
                  </a:cubicBezTo>
                  <a:cubicBezTo>
                    <a:pt x="656" y="156"/>
                    <a:pt x="647" y="164"/>
                    <a:pt x="647" y="173"/>
                  </a:cubicBezTo>
                  <a:cubicBezTo>
                    <a:pt x="640" y="203"/>
                    <a:pt x="640" y="203"/>
                    <a:pt x="640" y="203"/>
                  </a:cubicBezTo>
                  <a:cubicBezTo>
                    <a:pt x="639" y="211"/>
                    <a:pt x="643" y="216"/>
                    <a:pt x="656" y="221"/>
                  </a:cubicBezTo>
                  <a:cubicBezTo>
                    <a:pt x="690" y="232"/>
                    <a:pt x="690" y="232"/>
                    <a:pt x="690" y="232"/>
                  </a:cubicBezTo>
                  <a:cubicBezTo>
                    <a:pt x="702" y="237"/>
                    <a:pt x="710" y="246"/>
                    <a:pt x="710" y="255"/>
                  </a:cubicBezTo>
                  <a:cubicBezTo>
                    <a:pt x="710" y="255"/>
                    <a:pt x="710" y="255"/>
                    <a:pt x="710" y="255"/>
                  </a:cubicBezTo>
                  <a:cubicBezTo>
                    <a:pt x="714" y="260"/>
                    <a:pt x="713" y="268"/>
                    <a:pt x="717" y="273"/>
                  </a:cubicBezTo>
                  <a:cubicBezTo>
                    <a:pt x="712" y="277"/>
                    <a:pt x="712" y="277"/>
                    <a:pt x="712" y="277"/>
                  </a:cubicBezTo>
                  <a:cubicBezTo>
                    <a:pt x="716" y="281"/>
                    <a:pt x="716" y="290"/>
                    <a:pt x="702" y="302"/>
                  </a:cubicBezTo>
                  <a:cubicBezTo>
                    <a:pt x="674" y="326"/>
                    <a:pt x="674" y="326"/>
                    <a:pt x="674" y="326"/>
                  </a:cubicBezTo>
                  <a:cubicBezTo>
                    <a:pt x="665" y="334"/>
                    <a:pt x="664" y="343"/>
                    <a:pt x="668" y="347"/>
                  </a:cubicBezTo>
                  <a:cubicBezTo>
                    <a:pt x="687" y="379"/>
                    <a:pt x="687" y="379"/>
                    <a:pt x="687" y="379"/>
                  </a:cubicBezTo>
                  <a:cubicBezTo>
                    <a:pt x="691" y="383"/>
                    <a:pt x="700" y="384"/>
                    <a:pt x="704" y="380"/>
                  </a:cubicBezTo>
                  <a:cubicBezTo>
                    <a:pt x="745" y="361"/>
                    <a:pt x="745" y="361"/>
                    <a:pt x="745" y="361"/>
                  </a:cubicBezTo>
                  <a:cubicBezTo>
                    <a:pt x="758" y="358"/>
                    <a:pt x="767" y="358"/>
                    <a:pt x="771" y="363"/>
                  </a:cubicBezTo>
                  <a:cubicBezTo>
                    <a:pt x="771" y="363"/>
                    <a:pt x="771" y="363"/>
                    <a:pt x="771" y="363"/>
                  </a:cubicBezTo>
                  <a:cubicBezTo>
                    <a:pt x="779" y="364"/>
                    <a:pt x="787" y="373"/>
                    <a:pt x="791" y="377"/>
                  </a:cubicBezTo>
                  <a:cubicBezTo>
                    <a:pt x="791" y="377"/>
                    <a:pt x="791" y="377"/>
                    <a:pt x="791" y="377"/>
                  </a:cubicBezTo>
                  <a:cubicBezTo>
                    <a:pt x="800" y="378"/>
                    <a:pt x="804" y="383"/>
                    <a:pt x="802" y="400"/>
                  </a:cubicBezTo>
                  <a:cubicBezTo>
                    <a:pt x="799" y="443"/>
                    <a:pt x="799" y="443"/>
                    <a:pt x="799" y="443"/>
                  </a:cubicBezTo>
                  <a:cubicBezTo>
                    <a:pt x="798" y="451"/>
                    <a:pt x="802" y="456"/>
                    <a:pt x="811" y="457"/>
                  </a:cubicBezTo>
                  <a:cubicBezTo>
                    <a:pt x="845" y="468"/>
                    <a:pt x="845" y="468"/>
                    <a:pt x="845" y="468"/>
                  </a:cubicBezTo>
                  <a:cubicBezTo>
                    <a:pt x="849" y="464"/>
                    <a:pt x="858" y="464"/>
                    <a:pt x="859" y="456"/>
                  </a:cubicBezTo>
                  <a:cubicBezTo>
                    <a:pt x="871" y="413"/>
                    <a:pt x="871" y="413"/>
                    <a:pt x="871" y="413"/>
                  </a:cubicBezTo>
                  <a:cubicBezTo>
                    <a:pt x="876" y="401"/>
                    <a:pt x="889" y="397"/>
                    <a:pt x="894" y="393"/>
                  </a:cubicBezTo>
                  <a:cubicBezTo>
                    <a:pt x="894" y="393"/>
                    <a:pt x="894" y="393"/>
                    <a:pt x="894" y="393"/>
                  </a:cubicBezTo>
                  <a:cubicBezTo>
                    <a:pt x="902" y="394"/>
                    <a:pt x="911" y="395"/>
                    <a:pt x="916" y="391"/>
                  </a:cubicBezTo>
                  <a:cubicBezTo>
                    <a:pt x="916" y="391"/>
                    <a:pt x="916" y="391"/>
                    <a:pt x="916" y="391"/>
                  </a:cubicBezTo>
                  <a:cubicBezTo>
                    <a:pt x="924" y="391"/>
                    <a:pt x="933" y="392"/>
                    <a:pt x="941" y="401"/>
                  </a:cubicBezTo>
                  <a:cubicBezTo>
                    <a:pt x="969" y="433"/>
                    <a:pt x="969" y="433"/>
                    <a:pt x="969" y="433"/>
                  </a:cubicBezTo>
                  <a:cubicBezTo>
                    <a:pt x="973" y="438"/>
                    <a:pt x="985" y="443"/>
                    <a:pt x="990" y="439"/>
                  </a:cubicBezTo>
                  <a:cubicBezTo>
                    <a:pt x="1018" y="415"/>
                    <a:pt x="1018" y="415"/>
                    <a:pt x="1018" y="415"/>
                  </a:cubicBezTo>
                  <a:cubicBezTo>
                    <a:pt x="1018" y="415"/>
                    <a:pt x="1027" y="407"/>
                    <a:pt x="1019" y="398"/>
                  </a:cubicBezTo>
                  <a:close/>
                  <a:moveTo>
                    <a:pt x="803" y="279"/>
                  </a:moveTo>
                  <a:cubicBezTo>
                    <a:pt x="776" y="238"/>
                    <a:pt x="788" y="187"/>
                    <a:pt x="825" y="164"/>
                  </a:cubicBezTo>
                  <a:cubicBezTo>
                    <a:pt x="866" y="136"/>
                    <a:pt x="921" y="144"/>
                    <a:pt x="948" y="185"/>
                  </a:cubicBezTo>
                  <a:cubicBezTo>
                    <a:pt x="972" y="221"/>
                    <a:pt x="963" y="277"/>
                    <a:pt x="922" y="304"/>
                  </a:cubicBezTo>
                  <a:cubicBezTo>
                    <a:pt x="881" y="332"/>
                    <a:pt x="830" y="320"/>
                    <a:pt x="803" y="279"/>
                  </a:cubicBezTo>
                  <a:close/>
                </a:path>
              </a:pathLst>
            </a:custGeom>
            <a:solidFill>
              <a:schemeClr val="tx1"/>
            </a:solidFill>
            <a:ln>
              <a:noFill/>
            </a:ln>
          </p:spPr>
          <p:txBody>
            <a:bodyPr vert="horz" wrap="square" lIns="68574" tIns="34287" rIns="68574" bIns="34287"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17346"/>
                </a:solidFill>
                <a:effectLst/>
                <a:uLnTx/>
                <a:uFillTx/>
                <a:latin typeface="Segoe UI"/>
                <a:ea typeface="+mn-ea"/>
                <a:cs typeface="+mn-cs"/>
              </a:endParaRPr>
            </a:p>
          </p:txBody>
        </p:sp>
        <p:sp>
          <p:nvSpPr>
            <p:cNvPr id="88" name="Freeform 87"/>
            <p:cNvSpPr>
              <a:spLocks noChangeAspect="1"/>
            </p:cNvSpPr>
            <p:nvPr/>
          </p:nvSpPr>
          <p:spPr bwMode="black">
            <a:xfrm>
              <a:off x="776985" y="4213905"/>
              <a:ext cx="342871" cy="335728"/>
            </a:xfrm>
            <a:custGeom>
              <a:avLst/>
              <a:gdLst>
                <a:gd name="connsiteX0" fmla="*/ 3713863 w 4893730"/>
                <a:gd name="connsiteY0" fmla="*/ 2130808 h 4791777"/>
                <a:gd name="connsiteX1" fmla="*/ 4426142 w 4893730"/>
                <a:gd name="connsiteY1" fmla="*/ 2130808 h 4791777"/>
                <a:gd name="connsiteX2" fmla="*/ 4598071 w 4893730"/>
                <a:gd name="connsiteY2" fmla="*/ 2301547 h 4791777"/>
                <a:gd name="connsiteX3" fmla="*/ 4598071 w 4893730"/>
                <a:gd name="connsiteY3" fmla="*/ 3886978 h 4791777"/>
                <a:gd name="connsiteX4" fmla="*/ 4426142 w 4893730"/>
                <a:gd name="connsiteY4" fmla="*/ 4057717 h 4791777"/>
                <a:gd name="connsiteX5" fmla="*/ 3713863 w 4893730"/>
                <a:gd name="connsiteY5" fmla="*/ 4057717 h 4791777"/>
                <a:gd name="connsiteX6" fmla="*/ 3517372 w 4893730"/>
                <a:gd name="connsiteY6" fmla="*/ 3886978 h 4791777"/>
                <a:gd name="connsiteX7" fmla="*/ 3517372 w 4893730"/>
                <a:gd name="connsiteY7" fmla="*/ 2301547 h 4791777"/>
                <a:gd name="connsiteX8" fmla="*/ 3713863 w 4893730"/>
                <a:gd name="connsiteY8" fmla="*/ 2130808 h 4791777"/>
                <a:gd name="connsiteX9" fmla="*/ 904368 w 4893730"/>
                <a:gd name="connsiteY9" fmla="*/ 1223432 h 4791777"/>
                <a:gd name="connsiteX10" fmla="*/ 1609930 w 4893730"/>
                <a:gd name="connsiteY10" fmla="*/ 1223432 h 4791777"/>
                <a:gd name="connsiteX11" fmla="*/ 1804567 w 4893730"/>
                <a:gd name="connsiteY11" fmla="*/ 1394467 h 4791777"/>
                <a:gd name="connsiteX12" fmla="*/ 1804567 w 4893730"/>
                <a:gd name="connsiteY12" fmla="*/ 3886683 h 4791777"/>
                <a:gd name="connsiteX13" fmla="*/ 1609930 w 4893730"/>
                <a:gd name="connsiteY13" fmla="*/ 4057717 h 4791777"/>
                <a:gd name="connsiteX14" fmla="*/ 904368 w 4893730"/>
                <a:gd name="connsiteY14" fmla="*/ 4057717 h 4791777"/>
                <a:gd name="connsiteX15" fmla="*/ 734060 w 4893730"/>
                <a:gd name="connsiteY15" fmla="*/ 3886683 h 4791777"/>
                <a:gd name="connsiteX16" fmla="*/ 734060 w 4893730"/>
                <a:gd name="connsiteY16" fmla="*/ 1394467 h 4791777"/>
                <a:gd name="connsiteX17" fmla="*/ 904368 w 4893730"/>
                <a:gd name="connsiteY17" fmla="*/ 1223432 h 4791777"/>
                <a:gd name="connsiteX18" fmla="*/ 2325453 w 4893730"/>
                <a:gd name="connsiteY18" fmla="*/ 316050 h 4791777"/>
                <a:gd name="connsiteX19" fmla="*/ 3031014 w 4893730"/>
                <a:gd name="connsiteY19" fmla="*/ 316050 h 4791777"/>
                <a:gd name="connsiteX20" fmla="*/ 3201322 w 4893730"/>
                <a:gd name="connsiteY20" fmla="*/ 487238 h 4791777"/>
                <a:gd name="connsiteX21" fmla="*/ 3201322 w 4893730"/>
                <a:gd name="connsiteY21" fmla="*/ 3886530 h 4791777"/>
                <a:gd name="connsiteX22" fmla="*/ 3031014 w 4893730"/>
                <a:gd name="connsiteY22" fmla="*/ 4057717 h 4791777"/>
                <a:gd name="connsiteX23" fmla="*/ 2325453 w 4893730"/>
                <a:gd name="connsiteY23" fmla="*/ 4057717 h 4791777"/>
                <a:gd name="connsiteX24" fmla="*/ 2130815 w 4893730"/>
                <a:gd name="connsiteY24" fmla="*/ 3886530 h 4791777"/>
                <a:gd name="connsiteX25" fmla="*/ 2130815 w 4893730"/>
                <a:gd name="connsiteY25" fmla="*/ 487238 h 4791777"/>
                <a:gd name="connsiteX26" fmla="*/ 2325453 w 4893730"/>
                <a:gd name="connsiteY26" fmla="*/ 316050 h 4791777"/>
                <a:gd name="connsiteX27" fmla="*/ 269155 w 4893730"/>
                <a:gd name="connsiteY27" fmla="*/ 0 h 4791777"/>
                <a:gd name="connsiteX28" fmla="*/ 538311 w 4893730"/>
                <a:gd name="connsiteY28" fmla="*/ 268927 h 4791777"/>
                <a:gd name="connsiteX29" fmla="*/ 538311 w 4893730"/>
                <a:gd name="connsiteY29" fmla="*/ 4253925 h 4791777"/>
                <a:gd name="connsiteX30" fmla="*/ 4624575 w 4893730"/>
                <a:gd name="connsiteY30" fmla="*/ 4253925 h 4791777"/>
                <a:gd name="connsiteX31" fmla="*/ 4893730 w 4893730"/>
                <a:gd name="connsiteY31" fmla="*/ 4522851 h 4791777"/>
                <a:gd name="connsiteX32" fmla="*/ 4624575 w 4893730"/>
                <a:gd name="connsiteY32" fmla="*/ 4791777 h 4791777"/>
                <a:gd name="connsiteX33" fmla="*/ 269155 w 4893730"/>
                <a:gd name="connsiteY33" fmla="*/ 4791777 h 4791777"/>
                <a:gd name="connsiteX34" fmla="*/ 0 w 4893730"/>
                <a:gd name="connsiteY34" fmla="*/ 4522851 h 4791777"/>
                <a:gd name="connsiteX35" fmla="*/ 0 w 4893730"/>
                <a:gd name="connsiteY35" fmla="*/ 268927 h 4791777"/>
                <a:gd name="connsiteX36" fmla="*/ 269155 w 4893730"/>
                <a:gd name="connsiteY36" fmla="*/ 0 h 4791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4893730" h="4791777">
                  <a:moveTo>
                    <a:pt x="3713863" y="2130808"/>
                  </a:moveTo>
                  <a:cubicBezTo>
                    <a:pt x="3713863" y="2130808"/>
                    <a:pt x="3713863" y="2130808"/>
                    <a:pt x="4426142" y="2130808"/>
                  </a:cubicBezTo>
                  <a:cubicBezTo>
                    <a:pt x="4524387" y="2130808"/>
                    <a:pt x="4598071" y="2203982"/>
                    <a:pt x="4598071" y="2301547"/>
                  </a:cubicBezTo>
                  <a:cubicBezTo>
                    <a:pt x="4598071" y="2301547"/>
                    <a:pt x="4598071" y="2301547"/>
                    <a:pt x="4598071" y="3886978"/>
                  </a:cubicBezTo>
                  <a:cubicBezTo>
                    <a:pt x="4598071" y="3984543"/>
                    <a:pt x="4524387" y="4057717"/>
                    <a:pt x="4426142" y="4057717"/>
                  </a:cubicBezTo>
                  <a:cubicBezTo>
                    <a:pt x="4426142" y="4057717"/>
                    <a:pt x="4426142" y="4057717"/>
                    <a:pt x="3713863" y="4057717"/>
                  </a:cubicBezTo>
                  <a:cubicBezTo>
                    <a:pt x="3615618" y="4057717"/>
                    <a:pt x="3517372" y="3984543"/>
                    <a:pt x="3517372" y="3886978"/>
                  </a:cubicBezTo>
                  <a:cubicBezTo>
                    <a:pt x="3517372" y="3886978"/>
                    <a:pt x="3517372" y="3886978"/>
                    <a:pt x="3517372" y="2301547"/>
                  </a:cubicBezTo>
                  <a:cubicBezTo>
                    <a:pt x="3517372" y="2203982"/>
                    <a:pt x="3615618" y="2130808"/>
                    <a:pt x="3713863" y="2130808"/>
                  </a:cubicBezTo>
                  <a:close/>
                  <a:moveTo>
                    <a:pt x="904368" y="1223432"/>
                  </a:moveTo>
                  <a:cubicBezTo>
                    <a:pt x="904368" y="1223432"/>
                    <a:pt x="904368" y="1223432"/>
                    <a:pt x="1609930" y="1223432"/>
                  </a:cubicBezTo>
                  <a:cubicBezTo>
                    <a:pt x="1731578" y="1223432"/>
                    <a:pt x="1804567" y="1296733"/>
                    <a:pt x="1804567" y="1394467"/>
                  </a:cubicBezTo>
                  <a:cubicBezTo>
                    <a:pt x="1804567" y="1394467"/>
                    <a:pt x="1804567" y="1394467"/>
                    <a:pt x="1804567" y="3886683"/>
                  </a:cubicBezTo>
                  <a:cubicBezTo>
                    <a:pt x="1804567" y="3984417"/>
                    <a:pt x="1731578" y="4057717"/>
                    <a:pt x="1609930" y="4057717"/>
                  </a:cubicBezTo>
                  <a:cubicBezTo>
                    <a:pt x="1609930" y="4057717"/>
                    <a:pt x="1609930" y="4057717"/>
                    <a:pt x="904368" y="4057717"/>
                  </a:cubicBezTo>
                  <a:cubicBezTo>
                    <a:pt x="807049" y="4057717"/>
                    <a:pt x="734060" y="3984417"/>
                    <a:pt x="734060" y="3886683"/>
                  </a:cubicBezTo>
                  <a:cubicBezTo>
                    <a:pt x="734060" y="3886683"/>
                    <a:pt x="734060" y="3886683"/>
                    <a:pt x="734060" y="1394467"/>
                  </a:cubicBezTo>
                  <a:cubicBezTo>
                    <a:pt x="734060" y="1296733"/>
                    <a:pt x="807049" y="1223432"/>
                    <a:pt x="904368" y="1223432"/>
                  </a:cubicBezTo>
                  <a:close/>
                  <a:moveTo>
                    <a:pt x="2325453" y="316050"/>
                  </a:moveTo>
                  <a:cubicBezTo>
                    <a:pt x="2325453" y="316050"/>
                    <a:pt x="2325453" y="316050"/>
                    <a:pt x="3031014" y="316050"/>
                  </a:cubicBezTo>
                  <a:cubicBezTo>
                    <a:pt x="3128333" y="316050"/>
                    <a:pt x="3201322" y="389416"/>
                    <a:pt x="3201322" y="487238"/>
                  </a:cubicBezTo>
                  <a:cubicBezTo>
                    <a:pt x="3201322" y="487238"/>
                    <a:pt x="3201322" y="487238"/>
                    <a:pt x="3201322" y="3886530"/>
                  </a:cubicBezTo>
                  <a:cubicBezTo>
                    <a:pt x="3201322" y="3984351"/>
                    <a:pt x="3128333" y="4057717"/>
                    <a:pt x="3031014" y="4057717"/>
                  </a:cubicBezTo>
                  <a:cubicBezTo>
                    <a:pt x="3031014" y="4057717"/>
                    <a:pt x="3031014" y="4057717"/>
                    <a:pt x="2325453" y="4057717"/>
                  </a:cubicBezTo>
                  <a:cubicBezTo>
                    <a:pt x="2203804" y="4057717"/>
                    <a:pt x="2130815" y="3984351"/>
                    <a:pt x="2130815" y="3886530"/>
                  </a:cubicBezTo>
                  <a:cubicBezTo>
                    <a:pt x="2130815" y="3886530"/>
                    <a:pt x="2130815" y="3886530"/>
                    <a:pt x="2130815" y="487238"/>
                  </a:cubicBezTo>
                  <a:cubicBezTo>
                    <a:pt x="2130815" y="389416"/>
                    <a:pt x="2203804" y="316050"/>
                    <a:pt x="2325453" y="316050"/>
                  </a:cubicBezTo>
                  <a:close/>
                  <a:moveTo>
                    <a:pt x="269155" y="0"/>
                  </a:moveTo>
                  <a:cubicBezTo>
                    <a:pt x="415967" y="0"/>
                    <a:pt x="538311" y="122239"/>
                    <a:pt x="538311" y="268927"/>
                  </a:cubicBezTo>
                  <a:cubicBezTo>
                    <a:pt x="538311" y="268927"/>
                    <a:pt x="538311" y="268927"/>
                    <a:pt x="538311" y="4253925"/>
                  </a:cubicBezTo>
                  <a:cubicBezTo>
                    <a:pt x="538311" y="4253925"/>
                    <a:pt x="538311" y="4253925"/>
                    <a:pt x="4624575" y="4253925"/>
                  </a:cubicBezTo>
                  <a:cubicBezTo>
                    <a:pt x="4771387" y="4253925"/>
                    <a:pt x="4893730" y="4376164"/>
                    <a:pt x="4893730" y="4522851"/>
                  </a:cubicBezTo>
                  <a:cubicBezTo>
                    <a:pt x="4893730" y="4669538"/>
                    <a:pt x="4771387" y="4791777"/>
                    <a:pt x="4624575" y="4791777"/>
                  </a:cubicBezTo>
                  <a:cubicBezTo>
                    <a:pt x="4624575" y="4791777"/>
                    <a:pt x="4624575" y="4791777"/>
                    <a:pt x="269155" y="4791777"/>
                  </a:cubicBezTo>
                  <a:cubicBezTo>
                    <a:pt x="122344" y="4791777"/>
                    <a:pt x="0" y="4669538"/>
                    <a:pt x="0" y="4522851"/>
                  </a:cubicBezTo>
                  <a:cubicBezTo>
                    <a:pt x="0" y="4522851"/>
                    <a:pt x="0" y="4522851"/>
                    <a:pt x="0" y="268927"/>
                  </a:cubicBezTo>
                  <a:cubicBezTo>
                    <a:pt x="0" y="122239"/>
                    <a:pt x="122344" y="0"/>
                    <a:pt x="269155"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37148" tIns="109719" rIns="137148" bIns="109719"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699261"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9" name="Rectangle 88"/>
            <p:cNvSpPr/>
            <p:nvPr/>
          </p:nvSpPr>
          <p:spPr bwMode="auto">
            <a:xfrm rot="2745734">
              <a:off x="279530" y="1141266"/>
              <a:ext cx="1260714" cy="1255193"/>
            </a:xfrm>
            <a:prstGeom prst="rect">
              <a:avLst/>
            </a:prstGeom>
            <a:solidFill>
              <a:schemeClr val="tx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0" name="Rectangle 89"/>
            <p:cNvSpPr/>
            <p:nvPr/>
          </p:nvSpPr>
          <p:spPr bwMode="auto">
            <a:xfrm rot="2745734">
              <a:off x="292433" y="3819160"/>
              <a:ext cx="1610349" cy="1235003"/>
            </a:xfrm>
            <a:prstGeom prst="rect">
              <a:avLst/>
            </a:prstGeom>
            <a:solidFill>
              <a:schemeClr val="tx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2" name="Rectangle 91"/>
            <p:cNvSpPr/>
            <p:nvPr/>
          </p:nvSpPr>
          <p:spPr bwMode="auto">
            <a:xfrm rot="2745734">
              <a:off x="1315610" y="4915701"/>
              <a:ext cx="1263370" cy="1255989"/>
            </a:xfrm>
            <a:prstGeom prst="rect">
              <a:avLst/>
            </a:prstGeom>
            <a:solidFill>
              <a:schemeClr val="tx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40" name="TextBox 39"/>
          <p:cNvSpPr txBox="1"/>
          <p:nvPr/>
        </p:nvSpPr>
        <p:spPr>
          <a:xfrm>
            <a:off x="3" y="51415"/>
            <a:ext cx="2849058" cy="430887"/>
          </a:xfrm>
          <a:prstGeom prst="rect">
            <a:avLst/>
          </a:prstGeom>
        </p:spPr>
        <p:txBody>
          <a:bodyPr wrap="square">
            <a:spAutoFit/>
          </a:bodyPr>
          <a:lstStyle>
            <a:defPPr>
              <a:defRPr lang="en-US"/>
            </a:defPPr>
            <a:lvl1pPr defTabSz="914192">
              <a:defRPr sz="2800" b="1" spc="-100">
                <a:ln w="3175">
                  <a:noFill/>
                </a:ln>
                <a:solidFill>
                  <a:srgbClr val="F2C812"/>
                </a:solidFill>
                <a:latin typeface="Segoe UI" panose="020B0502040204020203" pitchFamily="34" charset="0"/>
                <a:ea typeface="ＭＳ Ｐゴシック" charset="0"/>
                <a:cs typeface="Segoe UI" panose="020B0502040204020203" pitchFamily="34" charset="0"/>
              </a:defRPr>
            </a:lvl1pPr>
          </a:lstStyle>
          <a:p>
            <a:pPr marL="0" marR="0" lvl="0" indent="0" algn="l" defTabSz="914192" rtl="0" eaLnBrk="1" fontAlgn="auto" latinLnBrk="0" hangingPunct="1">
              <a:lnSpc>
                <a:spcPct val="100000"/>
              </a:lnSpc>
              <a:spcBef>
                <a:spcPts val="0"/>
              </a:spcBef>
              <a:spcAft>
                <a:spcPts val="0"/>
              </a:spcAft>
              <a:buClrTx/>
              <a:buSzTx/>
              <a:buFontTx/>
              <a:buNone/>
              <a:tabLst/>
              <a:defRPr/>
            </a:pPr>
            <a:r>
              <a:rPr kumimoji="0" lang="en-US" sz="2200" b="1" i="0" u="none" strike="noStrike" kern="1200" cap="none" spc="-100" normalizeH="0" baseline="0" noProof="0">
                <a:ln w="3175">
                  <a:noFill/>
                </a:ln>
                <a:solidFill>
                  <a:srgbClr val="F2C812"/>
                </a:solidFill>
                <a:effectLst/>
                <a:uLnTx/>
                <a:uFillTx/>
                <a:latin typeface="Segoe UI Light"/>
                <a:ea typeface="ＭＳ Ｐゴシック" charset="0"/>
                <a:cs typeface="Segoe UI" panose="020B0502040204020203" pitchFamily="34" charset="0"/>
              </a:rPr>
              <a:t>Power BI Desktop</a:t>
            </a:r>
          </a:p>
        </p:txBody>
      </p:sp>
      <p:sp>
        <p:nvSpPr>
          <p:cNvPr id="41" name="Rectangle 40"/>
          <p:cNvSpPr/>
          <p:nvPr/>
        </p:nvSpPr>
        <p:spPr bwMode="auto">
          <a:xfrm rot="2745734">
            <a:off x="825067" y="3494250"/>
            <a:ext cx="1260714" cy="370170"/>
          </a:xfrm>
          <a:prstGeom prst="rect">
            <a:avLst/>
          </a:prstGeom>
          <a:solidFill>
            <a:schemeClr val="tx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3" name="Picture 2"/>
          <p:cNvPicPr>
            <a:picLocks noChangeAspect="1"/>
          </p:cNvPicPr>
          <p:nvPr/>
        </p:nvPicPr>
        <p:blipFill>
          <a:blip r:embed="rId3"/>
          <a:stretch>
            <a:fillRect/>
          </a:stretch>
        </p:blipFill>
        <p:spPr>
          <a:xfrm>
            <a:off x="4323208" y="1475232"/>
            <a:ext cx="6477000" cy="4705350"/>
          </a:xfrm>
          <a:prstGeom prst="rect">
            <a:avLst/>
          </a:prstGeom>
          <a:ln>
            <a:noFill/>
          </a:ln>
          <a:effectLst>
            <a:outerShdw blurRad="190500" algn="tl" rotWithShape="0">
              <a:srgbClr val="000000">
                <a:alpha val="70000"/>
              </a:srgbClr>
            </a:outerShdw>
          </a:effectLst>
        </p:spPr>
      </p:pic>
    </p:spTree>
    <p:extLst>
      <p:ext uri="{BB962C8B-B14F-4D97-AF65-F5344CB8AC3E}">
        <p14:creationId xmlns:p14="http://schemas.microsoft.com/office/powerpoint/2010/main" val="3068485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solidFill>
            <a:schemeClr val="bg1"/>
          </a:solidFill>
        </p:spPr>
        <p:txBody>
          <a:bodyPr/>
          <a:lstStyle/>
          <a:p>
            <a:r>
              <a:rPr lang="pt-PT">
                <a:solidFill>
                  <a:schemeClr val="tx1"/>
                </a:solidFill>
              </a:rPr>
              <a:t>Visualisations – Map Chart</a:t>
            </a:r>
            <a:endParaRPr lang="en-US" sz="3600">
              <a:solidFill>
                <a:schemeClr val="tx1"/>
              </a:solidFill>
            </a:endParaRPr>
          </a:p>
        </p:txBody>
      </p:sp>
      <p:grpSp>
        <p:nvGrpSpPr>
          <p:cNvPr id="52" name="Group 51"/>
          <p:cNvGrpSpPr/>
          <p:nvPr/>
        </p:nvGrpSpPr>
        <p:grpSpPr>
          <a:xfrm>
            <a:off x="2" y="1"/>
            <a:ext cx="2849058" cy="6858000"/>
            <a:chOff x="2" y="1"/>
            <a:chExt cx="2849058" cy="6858000"/>
          </a:xfrm>
        </p:grpSpPr>
        <p:sp>
          <p:nvSpPr>
            <p:cNvPr id="71" name="Rectangle 70"/>
            <p:cNvSpPr/>
            <p:nvPr/>
          </p:nvSpPr>
          <p:spPr bwMode="auto">
            <a:xfrm>
              <a:off x="2" y="1"/>
              <a:ext cx="2849058"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3" name="Oval 70"/>
            <p:cNvSpPr/>
            <p:nvPr/>
          </p:nvSpPr>
          <p:spPr>
            <a:xfrm>
              <a:off x="1413521" y="4951537"/>
              <a:ext cx="1119626" cy="1119626"/>
            </a:xfrm>
            <a:prstGeom prst="ellipse">
              <a:avLst/>
            </a:prstGeom>
            <a:solidFill>
              <a:srgbClr val="F2C812"/>
            </a:solidFill>
            <a:ln w="3175" cap="flat" cmpd="sng" algn="ctr">
              <a:noFill/>
              <a:prstDash val="solid"/>
            </a:ln>
            <a:effectLst/>
          </p:spPr>
          <p:txBody>
            <a:bodyPr vert="horz" wrap="none" lIns="0" tIns="45720" rIns="0" bIns="0" rtlCol="0" anchor="t"/>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Segoe UI"/>
                  <a:ea typeface="Segoe UI" pitchFamily="34" charset="0"/>
                  <a:cs typeface="Segoe UI" pitchFamily="34" charset="0"/>
                </a:rPr>
                <a:t>Share &amp;</a:t>
              </a:r>
            </a:p>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Segoe UI"/>
                  <a:ea typeface="Segoe UI" pitchFamily="34" charset="0"/>
                  <a:cs typeface="Segoe UI" pitchFamily="34" charset="0"/>
                </a:rPr>
                <a:t>collaborate </a:t>
              </a:r>
            </a:p>
          </p:txBody>
        </p:sp>
        <p:grpSp>
          <p:nvGrpSpPr>
            <p:cNvPr id="76" name="Group 38"/>
            <p:cNvGrpSpPr>
              <a:grpSpLocks noChangeAspect="1"/>
            </p:cNvGrpSpPr>
            <p:nvPr/>
          </p:nvGrpSpPr>
          <p:grpSpPr>
            <a:xfrm>
              <a:off x="676996" y="3930692"/>
              <a:ext cx="383905" cy="351536"/>
              <a:chOff x="4363684" y="5330386"/>
              <a:chExt cx="1409956" cy="1291077"/>
            </a:xfrm>
            <a:solidFill>
              <a:srgbClr val="217346"/>
            </a:solidFill>
          </p:grpSpPr>
          <p:sp>
            <p:nvSpPr>
              <p:cNvPr id="102" name="Donut 3"/>
              <p:cNvSpPr/>
              <p:nvPr/>
            </p:nvSpPr>
            <p:spPr bwMode="auto">
              <a:xfrm>
                <a:off x="4363684" y="5330386"/>
                <a:ext cx="1409956" cy="1291077"/>
              </a:xfrm>
              <a:custGeom>
                <a:avLst/>
                <a:gdLst/>
                <a:ahLst/>
                <a:cxnLst/>
                <a:rect l="l" t="t" r="r" b="b"/>
                <a:pathLst>
                  <a:path w="1409956" h="1291077">
                    <a:moveTo>
                      <a:pt x="956401" y="78410"/>
                    </a:moveTo>
                    <a:cubicBezTo>
                      <a:pt x="747518" y="78410"/>
                      <a:pt x="578184" y="247744"/>
                      <a:pt x="578184" y="456627"/>
                    </a:cubicBezTo>
                    <a:cubicBezTo>
                      <a:pt x="578184" y="665510"/>
                      <a:pt x="747518" y="834844"/>
                      <a:pt x="956401" y="834844"/>
                    </a:cubicBezTo>
                    <a:cubicBezTo>
                      <a:pt x="1165284" y="834844"/>
                      <a:pt x="1334618" y="665510"/>
                      <a:pt x="1334618" y="456627"/>
                    </a:cubicBezTo>
                    <a:cubicBezTo>
                      <a:pt x="1334618" y="247744"/>
                      <a:pt x="1165284" y="78410"/>
                      <a:pt x="956401" y="78410"/>
                    </a:cubicBezTo>
                    <a:close/>
                    <a:moveTo>
                      <a:pt x="952756" y="0"/>
                    </a:moveTo>
                    <a:cubicBezTo>
                      <a:pt x="1205261" y="0"/>
                      <a:pt x="1409956" y="204695"/>
                      <a:pt x="1409956" y="457200"/>
                    </a:cubicBezTo>
                    <a:cubicBezTo>
                      <a:pt x="1409956" y="709705"/>
                      <a:pt x="1205261" y="914400"/>
                      <a:pt x="952756" y="914400"/>
                    </a:cubicBezTo>
                    <a:cubicBezTo>
                      <a:pt x="862133" y="914400"/>
                      <a:pt x="777669" y="888034"/>
                      <a:pt x="707132" y="841746"/>
                    </a:cubicBezTo>
                    <a:lnTo>
                      <a:pt x="136495" y="1280102"/>
                    </a:lnTo>
                    <a:cubicBezTo>
                      <a:pt x="21896" y="1327168"/>
                      <a:pt x="-44029" y="1213730"/>
                      <a:pt x="33797" y="1113182"/>
                    </a:cubicBezTo>
                    <a:lnTo>
                      <a:pt x="568587" y="703518"/>
                    </a:lnTo>
                    <a:cubicBezTo>
                      <a:pt x="522087" y="632814"/>
                      <a:pt x="495556" y="548105"/>
                      <a:pt x="495556" y="457200"/>
                    </a:cubicBezTo>
                    <a:cubicBezTo>
                      <a:pt x="495556" y="204695"/>
                      <a:pt x="700251" y="0"/>
                      <a:pt x="952756" y="0"/>
                    </a:cubicBezTo>
                    <a:close/>
                  </a:path>
                </a:pathLst>
              </a:custGeom>
              <a:grpFill/>
              <a:ln>
                <a:solidFill>
                  <a:srgbClr val="21734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sp>
            <p:nvSpPr>
              <p:cNvPr id="103" name="Rectangle 4"/>
              <p:cNvSpPr/>
              <p:nvPr/>
            </p:nvSpPr>
            <p:spPr>
              <a:xfrm>
                <a:off x="5058389" y="5528247"/>
                <a:ext cx="490885" cy="490020"/>
              </a:xfrm>
              <a:custGeom>
                <a:avLst/>
                <a:gdLst/>
                <a:ahLst/>
                <a:cxnLst/>
                <a:rect l="l" t="t" r="r" b="b"/>
                <a:pathLst>
                  <a:path w="490885" h="490020">
                    <a:moveTo>
                      <a:pt x="240752" y="0"/>
                    </a:moveTo>
                    <a:cubicBezTo>
                      <a:pt x="253961" y="11844"/>
                      <a:pt x="293310" y="49692"/>
                      <a:pt x="337332" y="92439"/>
                    </a:cubicBezTo>
                    <a:lnTo>
                      <a:pt x="328342" y="81259"/>
                    </a:lnTo>
                    <a:cubicBezTo>
                      <a:pt x="356946" y="111282"/>
                      <a:pt x="377251" y="107167"/>
                      <a:pt x="382515" y="87941"/>
                    </a:cubicBezTo>
                    <a:cubicBezTo>
                      <a:pt x="383951" y="76921"/>
                      <a:pt x="384595" y="68732"/>
                      <a:pt x="396997" y="52239"/>
                    </a:cubicBezTo>
                    <a:cubicBezTo>
                      <a:pt x="420362" y="32084"/>
                      <a:pt x="442294" y="41736"/>
                      <a:pt x="454920" y="51330"/>
                    </a:cubicBezTo>
                    <a:cubicBezTo>
                      <a:pt x="467834" y="62761"/>
                      <a:pt x="477920" y="86882"/>
                      <a:pt x="460392" y="109714"/>
                    </a:cubicBezTo>
                    <a:cubicBezTo>
                      <a:pt x="451128" y="121912"/>
                      <a:pt x="437554" y="126838"/>
                      <a:pt x="425922" y="126505"/>
                    </a:cubicBezTo>
                    <a:cubicBezTo>
                      <a:pt x="424301" y="127609"/>
                      <a:pt x="382890" y="134974"/>
                      <a:pt x="427348" y="177672"/>
                    </a:cubicBezTo>
                    <a:lnTo>
                      <a:pt x="416886" y="169735"/>
                    </a:lnTo>
                    <a:cubicBezTo>
                      <a:pt x="450207" y="202177"/>
                      <a:pt x="478424" y="229744"/>
                      <a:pt x="490885" y="241900"/>
                    </a:cubicBezTo>
                    <a:lnTo>
                      <a:pt x="417150" y="317347"/>
                    </a:lnTo>
                    <a:cubicBezTo>
                      <a:pt x="417744" y="316535"/>
                      <a:pt x="418443" y="316123"/>
                      <a:pt x="419047" y="315822"/>
                    </a:cubicBezTo>
                    <a:cubicBezTo>
                      <a:pt x="389023" y="344426"/>
                      <a:pt x="393138" y="364731"/>
                      <a:pt x="412364" y="369995"/>
                    </a:cubicBezTo>
                    <a:cubicBezTo>
                      <a:pt x="423384" y="371431"/>
                      <a:pt x="431574" y="372075"/>
                      <a:pt x="448067" y="384477"/>
                    </a:cubicBezTo>
                    <a:cubicBezTo>
                      <a:pt x="468221" y="407842"/>
                      <a:pt x="458569" y="429774"/>
                      <a:pt x="448975" y="442400"/>
                    </a:cubicBezTo>
                    <a:cubicBezTo>
                      <a:pt x="437545" y="455314"/>
                      <a:pt x="413423" y="465400"/>
                      <a:pt x="390591" y="447872"/>
                    </a:cubicBezTo>
                    <a:cubicBezTo>
                      <a:pt x="378394" y="438608"/>
                      <a:pt x="373468" y="425034"/>
                      <a:pt x="373800" y="413402"/>
                    </a:cubicBezTo>
                    <a:cubicBezTo>
                      <a:pt x="372696" y="411781"/>
                      <a:pt x="365332" y="370370"/>
                      <a:pt x="322634" y="414828"/>
                    </a:cubicBezTo>
                    <a:lnTo>
                      <a:pt x="325243" y="411388"/>
                    </a:lnTo>
                    <a:lnTo>
                      <a:pt x="248395" y="490020"/>
                    </a:lnTo>
                    <a:cubicBezTo>
                      <a:pt x="208939" y="451897"/>
                      <a:pt x="199129" y="442073"/>
                      <a:pt x="174192" y="418236"/>
                    </a:cubicBezTo>
                    <a:cubicBezTo>
                      <a:pt x="145587" y="388212"/>
                      <a:pt x="125282" y="392327"/>
                      <a:pt x="120018" y="411553"/>
                    </a:cubicBezTo>
                    <a:cubicBezTo>
                      <a:pt x="118582" y="422573"/>
                      <a:pt x="117938" y="430763"/>
                      <a:pt x="105536" y="447256"/>
                    </a:cubicBezTo>
                    <a:cubicBezTo>
                      <a:pt x="82171" y="467410"/>
                      <a:pt x="60239" y="457758"/>
                      <a:pt x="47614" y="448164"/>
                    </a:cubicBezTo>
                    <a:cubicBezTo>
                      <a:pt x="34699" y="436734"/>
                      <a:pt x="24614" y="412612"/>
                      <a:pt x="42141" y="389780"/>
                    </a:cubicBezTo>
                    <a:cubicBezTo>
                      <a:pt x="51405" y="377583"/>
                      <a:pt x="64979" y="372657"/>
                      <a:pt x="76612" y="372989"/>
                    </a:cubicBezTo>
                    <a:cubicBezTo>
                      <a:pt x="78232" y="371886"/>
                      <a:pt x="119644" y="364521"/>
                      <a:pt x="75186" y="321823"/>
                    </a:cubicBezTo>
                    <a:cubicBezTo>
                      <a:pt x="58767" y="305402"/>
                      <a:pt x="23648" y="271235"/>
                      <a:pt x="0" y="248738"/>
                    </a:cubicBezTo>
                    <a:lnTo>
                      <a:pt x="77303" y="168146"/>
                    </a:lnTo>
                    <a:cubicBezTo>
                      <a:pt x="104269" y="140313"/>
                      <a:pt x="122130" y="156409"/>
                      <a:pt x="124388" y="175543"/>
                    </a:cubicBezTo>
                    <a:cubicBezTo>
                      <a:pt x="124457" y="182466"/>
                      <a:pt x="127106" y="193106"/>
                      <a:pt x="137575" y="203052"/>
                    </a:cubicBezTo>
                    <a:cubicBezTo>
                      <a:pt x="153931" y="220277"/>
                      <a:pt x="181252" y="217451"/>
                      <a:pt x="196721" y="201951"/>
                    </a:cubicBezTo>
                    <a:cubicBezTo>
                      <a:pt x="211961" y="185740"/>
                      <a:pt x="213057" y="157882"/>
                      <a:pt x="196146" y="142797"/>
                    </a:cubicBezTo>
                    <a:cubicBezTo>
                      <a:pt x="184301" y="132637"/>
                      <a:pt x="177155" y="131453"/>
                      <a:pt x="166513" y="129894"/>
                    </a:cubicBezTo>
                    <a:cubicBezTo>
                      <a:pt x="154522" y="129013"/>
                      <a:pt x="131185" y="112953"/>
                      <a:pt x="157905" y="85228"/>
                    </a:cubicBezTo>
                    <a:close/>
                  </a:path>
                </a:pathLst>
              </a:custGeom>
              <a:grpFill/>
              <a:ln>
                <a:solidFill>
                  <a:srgbClr val="21734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grpSp>
        <p:sp>
          <p:nvSpPr>
            <p:cNvPr id="77" name="Oval 47"/>
            <p:cNvSpPr/>
            <p:nvPr/>
          </p:nvSpPr>
          <p:spPr>
            <a:xfrm>
              <a:off x="388608" y="3710471"/>
              <a:ext cx="1119626" cy="1119626"/>
            </a:xfrm>
            <a:prstGeom prst="ellipse">
              <a:avLst/>
            </a:prstGeom>
            <a:solidFill>
              <a:srgbClr val="F2C812"/>
            </a:solidFill>
            <a:ln w="3175" cap="flat" cmpd="sng" algn="ctr">
              <a:noFill/>
              <a:prstDash val="solid"/>
            </a:ln>
            <a:effectLst/>
          </p:spPr>
          <p:txBody>
            <a:bodyPr vert="horz" wrap="none" lIns="0" tIns="45720" rIns="0" bIns="0" rtlCol="0" anchor="t"/>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Segoe UI"/>
                  <a:ea typeface="Segoe UI" pitchFamily="34" charset="0"/>
                  <a:cs typeface="Segoe UI" pitchFamily="34" charset="0"/>
                </a:rPr>
                <a:t>Report</a:t>
              </a:r>
            </a:p>
          </p:txBody>
        </p:sp>
        <p:sp>
          <p:nvSpPr>
            <p:cNvPr id="78" name="Oval 950"/>
            <p:cNvSpPr/>
            <p:nvPr/>
          </p:nvSpPr>
          <p:spPr>
            <a:xfrm>
              <a:off x="388608" y="1252295"/>
              <a:ext cx="1119626" cy="1119626"/>
            </a:xfrm>
            <a:prstGeom prst="ellipse">
              <a:avLst/>
            </a:prstGeom>
            <a:solidFill>
              <a:srgbClr val="F2C812"/>
            </a:solidFill>
            <a:ln w="3175" cap="flat" cmpd="sng" algn="ctr">
              <a:noFill/>
              <a:prstDash val="solid"/>
            </a:ln>
            <a:effectLst/>
          </p:spPr>
          <p:txBody>
            <a:bodyPr vert="horz" wrap="none" lIns="0" tIns="45720" rIns="0" bIns="0" rtlCol="0" anchor="t"/>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1" i="0" u="none" strike="noStrike" kern="1200" cap="none" spc="0" normalizeH="0" baseline="0" noProof="0">
                <a:ln>
                  <a:noFill/>
                </a:ln>
                <a:solidFill>
                  <a:srgbClr val="217346"/>
                </a:solidFill>
                <a:effectLst/>
                <a:uLnTx/>
                <a:uFillTx/>
                <a:latin typeface="Segoe UI"/>
                <a:ea typeface="Segoe UI" pitchFamily="34" charset="0"/>
                <a:cs typeface="Segoe UI" pitchFamily="34" charset="0"/>
              </a:endParaRPr>
            </a:p>
          </p:txBody>
        </p:sp>
        <p:grpSp>
          <p:nvGrpSpPr>
            <p:cNvPr id="79" name="Group 78"/>
            <p:cNvGrpSpPr/>
            <p:nvPr/>
          </p:nvGrpSpPr>
          <p:grpSpPr>
            <a:xfrm>
              <a:off x="1264851" y="3482890"/>
              <a:ext cx="292254" cy="354906"/>
              <a:chOff x="1296521" y="3253388"/>
              <a:chExt cx="292254" cy="354906"/>
            </a:xfrm>
            <a:solidFill>
              <a:srgbClr val="F2C812"/>
            </a:solidFill>
          </p:grpSpPr>
          <p:sp>
            <p:nvSpPr>
              <p:cNvPr id="99" name="Isosceles Triangle 98"/>
              <p:cNvSpPr/>
              <p:nvPr/>
            </p:nvSpPr>
            <p:spPr bwMode="auto">
              <a:xfrm rot="13636515">
                <a:off x="1461362" y="328936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0" name="Isosceles Triangle 99"/>
              <p:cNvSpPr/>
              <p:nvPr/>
            </p:nvSpPr>
            <p:spPr bwMode="auto">
              <a:xfrm rot="13636515">
                <a:off x="1357669" y="338258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1" name="Isosceles Triangle 100"/>
              <p:cNvSpPr/>
              <p:nvPr/>
            </p:nvSpPr>
            <p:spPr bwMode="auto">
              <a:xfrm rot="13636515">
                <a:off x="1260548" y="3480882"/>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80" name="Group 79"/>
            <p:cNvGrpSpPr/>
            <p:nvPr/>
          </p:nvGrpSpPr>
          <p:grpSpPr>
            <a:xfrm rot="15940603">
              <a:off x="1334576" y="2204404"/>
              <a:ext cx="292254" cy="354906"/>
              <a:chOff x="1296521" y="3253388"/>
              <a:chExt cx="292254" cy="354906"/>
            </a:xfrm>
            <a:solidFill>
              <a:srgbClr val="F2C812"/>
            </a:solidFill>
          </p:grpSpPr>
          <p:sp>
            <p:nvSpPr>
              <p:cNvPr id="96" name="Isosceles Triangle 95"/>
              <p:cNvSpPr/>
              <p:nvPr/>
            </p:nvSpPr>
            <p:spPr bwMode="auto">
              <a:xfrm rot="13636515">
                <a:off x="1461362" y="328936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7" name="Isosceles Triangle 96"/>
              <p:cNvSpPr/>
              <p:nvPr/>
            </p:nvSpPr>
            <p:spPr bwMode="auto">
              <a:xfrm rot="13636515">
                <a:off x="1357669" y="338258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8" name="Isosceles Triangle 97"/>
              <p:cNvSpPr/>
              <p:nvPr/>
            </p:nvSpPr>
            <p:spPr bwMode="auto">
              <a:xfrm rot="13636515">
                <a:off x="1260548" y="3480882"/>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81" name="Group 80"/>
            <p:cNvGrpSpPr/>
            <p:nvPr/>
          </p:nvGrpSpPr>
          <p:grpSpPr>
            <a:xfrm rot="16043978">
              <a:off x="1317220" y="4717577"/>
              <a:ext cx="292254" cy="354906"/>
              <a:chOff x="1296521" y="3253388"/>
              <a:chExt cx="292254" cy="354906"/>
            </a:xfrm>
            <a:solidFill>
              <a:srgbClr val="F2C812"/>
            </a:solidFill>
          </p:grpSpPr>
          <p:sp>
            <p:nvSpPr>
              <p:cNvPr id="93" name="Isosceles Triangle 92"/>
              <p:cNvSpPr/>
              <p:nvPr/>
            </p:nvSpPr>
            <p:spPr bwMode="auto">
              <a:xfrm rot="13636515">
                <a:off x="1461362" y="328936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4" name="Isosceles Triangle 93"/>
              <p:cNvSpPr/>
              <p:nvPr/>
            </p:nvSpPr>
            <p:spPr bwMode="auto">
              <a:xfrm rot="13636515">
                <a:off x="1357669" y="338258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5" name="Isosceles Triangle 94"/>
              <p:cNvSpPr/>
              <p:nvPr/>
            </p:nvSpPr>
            <p:spPr bwMode="auto">
              <a:xfrm rot="13636515">
                <a:off x="1260548" y="3480882"/>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82" name="Oval 36"/>
            <p:cNvSpPr/>
            <p:nvPr/>
          </p:nvSpPr>
          <p:spPr>
            <a:xfrm>
              <a:off x="1413521" y="2481383"/>
              <a:ext cx="1119626" cy="1119626"/>
            </a:xfrm>
            <a:prstGeom prst="ellipse">
              <a:avLst/>
            </a:prstGeom>
            <a:solidFill>
              <a:srgbClr val="F2C812"/>
            </a:solidFill>
            <a:ln w="3175" cap="flat" cmpd="sng" algn="ctr">
              <a:noFill/>
              <a:prstDash val="solid"/>
            </a:ln>
            <a:effectLst/>
          </p:spPr>
          <p:txBody>
            <a:bodyPr vert="horz" wrap="none" lIns="0" tIns="0" rIns="0" bIns="0" rtlCol="0" anchor="t"/>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400" b="1" i="0" u="none" strike="noStrike" kern="1200" cap="none" spc="0" normalizeH="0" baseline="0" noProof="0">
                <a:ln>
                  <a:noFill/>
                </a:ln>
                <a:solidFill>
                  <a:srgbClr val="217346"/>
                </a:solidFill>
                <a:effectLst/>
                <a:uLnTx/>
                <a:uFillTx/>
                <a:latin typeface="Segoe UI"/>
                <a:ea typeface="Segoe UI" pitchFamily="34" charset="0"/>
                <a:cs typeface="Segoe UI" pitchFamily="34" charset="0"/>
              </a:endParaRPr>
            </a:p>
          </p:txBody>
        </p:sp>
        <p:sp>
          <p:nvSpPr>
            <p:cNvPr id="83" name="Donut 3"/>
            <p:cNvSpPr/>
            <p:nvPr/>
          </p:nvSpPr>
          <p:spPr bwMode="auto">
            <a:xfrm>
              <a:off x="1742065" y="3002355"/>
              <a:ext cx="383905" cy="351537"/>
            </a:xfrm>
            <a:custGeom>
              <a:avLst/>
              <a:gdLst/>
              <a:ahLst/>
              <a:cxnLst/>
              <a:rect l="l" t="t" r="r" b="b"/>
              <a:pathLst>
                <a:path w="1409956" h="1291077">
                  <a:moveTo>
                    <a:pt x="956401" y="78410"/>
                  </a:moveTo>
                  <a:cubicBezTo>
                    <a:pt x="747518" y="78410"/>
                    <a:pt x="578184" y="247744"/>
                    <a:pt x="578184" y="456627"/>
                  </a:cubicBezTo>
                  <a:cubicBezTo>
                    <a:pt x="578184" y="665510"/>
                    <a:pt x="747518" y="834844"/>
                    <a:pt x="956401" y="834844"/>
                  </a:cubicBezTo>
                  <a:cubicBezTo>
                    <a:pt x="1165284" y="834844"/>
                    <a:pt x="1334618" y="665510"/>
                    <a:pt x="1334618" y="456627"/>
                  </a:cubicBezTo>
                  <a:cubicBezTo>
                    <a:pt x="1334618" y="247744"/>
                    <a:pt x="1165284" y="78410"/>
                    <a:pt x="956401" y="78410"/>
                  </a:cubicBezTo>
                  <a:close/>
                  <a:moveTo>
                    <a:pt x="952756" y="0"/>
                  </a:moveTo>
                  <a:cubicBezTo>
                    <a:pt x="1205261" y="0"/>
                    <a:pt x="1409956" y="204695"/>
                    <a:pt x="1409956" y="457200"/>
                  </a:cubicBezTo>
                  <a:cubicBezTo>
                    <a:pt x="1409956" y="709705"/>
                    <a:pt x="1205261" y="914400"/>
                    <a:pt x="952756" y="914400"/>
                  </a:cubicBezTo>
                  <a:cubicBezTo>
                    <a:pt x="862133" y="914400"/>
                    <a:pt x="777669" y="888034"/>
                    <a:pt x="707132" y="841746"/>
                  </a:cubicBezTo>
                  <a:lnTo>
                    <a:pt x="136495" y="1280102"/>
                  </a:lnTo>
                  <a:cubicBezTo>
                    <a:pt x="21896" y="1327168"/>
                    <a:pt x="-44029" y="1213730"/>
                    <a:pt x="33797" y="1113182"/>
                  </a:cubicBezTo>
                  <a:lnTo>
                    <a:pt x="568587" y="703518"/>
                  </a:lnTo>
                  <a:cubicBezTo>
                    <a:pt x="522087" y="632814"/>
                    <a:pt x="495556" y="548105"/>
                    <a:pt x="495556" y="457200"/>
                  </a:cubicBezTo>
                  <a:cubicBezTo>
                    <a:pt x="495556" y="204695"/>
                    <a:pt x="700251" y="0"/>
                    <a:pt x="952756" y="0"/>
                  </a:cubicBezTo>
                  <a:close/>
                </a:path>
              </a:pathLst>
            </a:cu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sp>
          <p:nvSpPr>
            <p:cNvPr id="84" name="Rectangle 83"/>
            <p:cNvSpPr/>
            <p:nvPr/>
          </p:nvSpPr>
          <p:spPr>
            <a:xfrm>
              <a:off x="1600398" y="2677430"/>
              <a:ext cx="820353" cy="307777"/>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Segoe UI"/>
                  <a:ea typeface="Segoe UI" pitchFamily="34" charset="0"/>
                  <a:cs typeface="Segoe UI" pitchFamily="34" charset="0"/>
                </a:rPr>
                <a:t>Explore</a:t>
              </a:r>
              <a:endParaRPr kumimoji="0" lang="en-US" sz="1600" b="0" i="0" u="none" strike="noStrike" kern="1200" cap="none" spc="0" normalizeH="0" baseline="0" noProof="0">
                <a:ln>
                  <a:noFill/>
                </a:ln>
                <a:solidFill>
                  <a:srgbClr val="000000"/>
                </a:solidFill>
                <a:effectLst/>
                <a:uLnTx/>
                <a:uFillTx/>
                <a:latin typeface="Segoe UI"/>
                <a:ea typeface="+mn-ea"/>
                <a:cs typeface="+mn-cs"/>
              </a:endParaRPr>
            </a:p>
          </p:txBody>
        </p:sp>
        <p:sp>
          <p:nvSpPr>
            <p:cNvPr id="85" name="Rectangle 84"/>
            <p:cNvSpPr/>
            <p:nvPr/>
          </p:nvSpPr>
          <p:spPr>
            <a:xfrm>
              <a:off x="509174" y="1475232"/>
              <a:ext cx="838756" cy="307777"/>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Segoe UI"/>
                  <a:ea typeface="Segoe UI" pitchFamily="34" charset="0"/>
                  <a:cs typeface="Segoe UI" pitchFamily="34" charset="0"/>
                </a:rPr>
                <a:t>Prepare</a:t>
              </a: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86" name="Freeform 85"/>
            <p:cNvSpPr>
              <a:spLocks noChangeAspect="1"/>
            </p:cNvSpPr>
            <p:nvPr/>
          </p:nvSpPr>
          <p:spPr bwMode="black">
            <a:xfrm>
              <a:off x="1836174" y="5643069"/>
              <a:ext cx="274320" cy="284173"/>
            </a:xfrm>
            <a:custGeom>
              <a:avLst/>
              <a:gdLst>
                <a:gd name="T0" fmla="*/ 539 w 669"/>
                <a:gd name="T1" fmla="*/ 5 h 693"/>
                <a:gd name="T2" fmla="*/ 640 w 669"/>
                <a:gd name="T3" fmla="*/ 55 h 693"/>
                <a:gd name="T4" fmla="*/ 603 w 669"/>
                <a:gd name="T5" fmla="*/ 195 h 693"/>
                <a:gd name="T6" fmla="*/ 490 w 669"/>
                <a:gd name="T7" fmla="*/ 188 h 693"/>
                <a:gd name="T8" fmla="*/ 479 w 669"/>
                <a:gd name="T9" fmla="*/ 176 h 693"/>
                <a:gd name="T10" fmla="*/ 213 w 669"/>
                <a:gd name="T11" fmla="*/ 330 h 693"/>
                <a:gd name="T12" fmla="*/ 218 w 669"/>
                <a:gd name="T13" fmla="*/ 345 h 693"/>
                <a:gd name="T14" fmla="*/ 218 w 669"/>
                <a:gd name="T15" fmla="*/ 375 h 693"/>
                <a:gd name="T16" fmla="*/ 209 w 669"/>
                <a:gd name="T17" fmla="*/ 402 h 693"/>
                <a:gd name="T18" fmla="*/ 369 w 669"/>
                <a:gd name="T19" fmla="*/ 503 h 693"/>
                <a:gd name="T20" fmla="*/ 373 w 669"/>
                <a:gd name="T21" fmla="*/ 498 h 693"/>
                <a:gd name="T22" fmla="*/ 456 w 669"/>
                <a:gd name="T23" fmla="*/ 475 h 693"/>
                <a:gd name="T24" fmla="*/ 494 w 669"/>
                <a:gd name="T25" fmla="*/ 489 h 693"/>
                <a:gd name="T26" fmla="*/ 527 w 669"/>
                <a:gd name="T27" fmla="*/ 630 h 693"/>
                <a:gd name="T28" fmla="*/ 386 w 669"/>
                <a:gd name="T29" fmla="*/ 663 h 693"/>
                <a:gd name="T30" fmla="*/ 339 w 669"/>
                <a:gd name="T31" fmla="*/ 560 h 693"/>
                <a:gd name="T32" fmla="*/ 345 w 669"/>
                <a:gd name="T33" fmla="*/ 544 h 693"/>
                <a:gd name="T34" fmla="*/ 177 w 669"/>
                <a:gd name="T35" fmla="*/ 439 h 693"/>
                <a:gd name="T36" fmla="*/ 168 w 669"/>
                <a:gd name="T37" fmla="*/ 446 h 693"/>
                <a:gd name="T38" fmla="*/ 28 w 669"/>
                <a:gd name="T39" fmla="*/ 409 h 693"/>
                <a:gd name="T40" fmla="*/ 65 w 669"/>
                <a:gd name="T41" fmla="*/ 269 h 693"/>
                <a:gd name="T42" fmla="*/ 178 w 669"/>
                <a:gd name="T43" fmla="*/ 276 h 693"/>
                <a:gd name="T44" fmla="*/ 189 w 669"/>
                <a:gd name="T45" fmla="*/ 288 h 693"/>
                <a:gd name="T46" fmla="*/ 455 w 669"/>
                <a:gd name="T47" fmla="*/ 134 h 693"/>
                <a:gd name="T48" fmla="*/ 450 w 669"/>
                <a:gd name="T49" fmla="*/ 119 h 693"/>
                <a:gd name="T50" fmla="*/ 501 w 669"/>
                <a:gd name="T51" fmla="*/ 18 h 693"/>
                <a:gd name="T52" fmla="*/ 539 w 669"/>
                <a:gd name="T53" fmla="*/ 5 h 6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69" h="693">
                  <a:moveTo>
                    <a:pt x="539" y="5"/>
                  </a:moveTo>
                  <a:cubicBezTo>
                    <a:pt x="579" y="0"/>
                    <a:pt x="619" y="19"/>
                    <a:pt x="640" y="55"/>
                  </a:cubicBezTo>
                  <a:cubicBezTo>
                    <a:pt x="669" y="104"/>
                    <a:pt x="652" y="167"/>
                    <a:pt x="603" y="195"/>
                  </a:cubicBezTo>
                  <a:cubicBezTo>
                    <a:pt x="566" y="216"/>
                    <a:pt x="522" y="212"/>
                    <a:pt x="490" y="188"/>
                  </a:cubicBezTo>
                  <a:cubicBezTo>
                    <a:pt x="479" y="176"/>
                    <a:pt x="479" y="176"/>
                    <a:pt x="479" y="176"/>
                  </a:cubicBezTo>
                  <a:cubicBezTo>
                    <a:pt x="213" y="330"/>
                    <a:pt x="213" y="330"/>
                    <a:pt x="213" y="330"/>
                  </a:cubicBezTo>
                  <a:cubicBezTo>
                    <a:pt x="218" y="345"/>
                    <a:pt x="218" y="345"/>
                    <a:pt x="218" y="345"/>
                  </a:cubicBezTo>
                  <a:cubicBezTo>
                    <a:pt x="219" y="355"/>
                    <a:pt x="219" y="365"/>
                    <a:pt x="218" y="375"/>
                  </a:cubicBezTo>
                  <a:cubicBezTo>
                    <a:pt x="209" y="402"/>
                    <a:pt x="209" y="402"/>
                    <a:pt x="209" y="402"/>
                  </a:cubicBezTo>
                  <a:cubicBezTo>
                    <a:pt x="369" y="503"/>
                    <a:pt x="369" y="503"/>
                    <a:pt x="369" y="503"/>
                  </a:cubicBezTo>
                  <a:cubicBezTo>
                    <a:pt x="373" y="498"/>
                    <a:pt x="373" y="498"/>
                    <a:pt x="373" y="498"/>
                  </a:cubicBezTo>
                  <a:cubicBezTo>
                    <a:pt x="396" y="479"/>
                    <a:pt x="427" y="470"/>
                    <a:pt x="456" y="475"/>
                  </a:cubicBezTo>
                  <a:cubicBezTo>
                    <a:pt x="470" y="477"/>
                    <a:pt x="482" y="482"/>
                    <a:pt x="494" y="489"/>
                  </a:cubicBezTo>
                  <a:cubicBezTo>
                    <a:pt x="542" y="519"/>
                    <a:pt x="557" y="583"/>
                    <a:pt x="527" y="630"/>
                  </a:cubicBezTo>
                  <a:cubicBezTo>
                    <a:pt x="497" y="678"/>
                    <a:pt x="433" y="693"/>
                    <a:pt x="386" y="663"/>
                  </a:cubicBezTo>
                  <a:cubicBezTo>
                    <a:pt x="350" y="640"/>
                    <a:pt x="333" y="599"/>
                    <a:pt x="339" y="560"/>
                  </a:cubicBezTo>
                  <a:cubicBezTo>
                    <a:pt x="345" y="544"/>
                    <a:pt x="345" y="544"/>
                    <a:pt x="345" y="544"/>
                  </a:cubicBezTo>
                  <a:cubicBezTo>
                    <a:pt x="177" y="439"/>
                    <a:pt x="177" y="439"/>
                    <a:pt x="177" y="439"/>
                  </a:cubicBezTo>
                  <a:cubicBezTo>
                    <a:pt x="168" y="446"/>
                    <a:pt x="168" y="446"/>
                    <a:pt x="168" y="446"/>
                  </a:cubicBezTo>
                  <a:cubicBezTo>
                    <a:pt x="119" y="475"/>
                    <a:pt x="56" y="458"/>
                    <a:pt x="28" y="409"/>
                  </a:cubicBezTo>
                  <a:cubicBezTo>
                    <a:pt x="0" y="360"/>
                    <a:pt x="16" y="297"/>
                    <a:pt x="65" y="269"/>
                  </a:cubicBezTo>
                  <a:cubicBezTo>
                    <a:pt x="102" y="248"/>
                    <a:pt x="147" y="252"/>
                    <a:pt x="178" y="276"/>
                  </a:cubicBezTo>
                  <a:cubicBezTo>
                    <a:pt x="189" y="288"/>
                    <a:pt x="189" y="288"/>
                    <a:pt x="189" y="288"/>
                  </a:cubicBezTo>
                  <a:cubicBezTo>
                    <a:pt x="455" y="134"/>
                    <a:pt x="455" y="134"/>
                    <a:pt x="455" y="134"/>
                  </a:cubicBezTo>
                  <a:cubicBezTo>
                    <a:pt x="450" y="119"/>
                    <a:pt x="450" y="119"/>
                    <a:pt x="450" y="119"/>
                  </a:cubicBezTo>
                  <a:cubicBezTo>
                    <a:pt x="445" y="80"/>
                    <a:pt x="464" y="39"/>
                    <a:pt x="501" y="18"/>
                  </a:cubicBezTo>
                  <a:cubicBezTo>
                    <a:pt x="513" y="11"/>
                    <a:pt x="526" y="6"/>
                    <a:pt x="539" y="5"/>
                  </a:cubicBezTo>
                  <a:close/>
                </a:path>
              </a:pathLst>
            </a:custGeom>
            <a:solidFill>
              <a:schemeClr val="tx1"/>
            </a:solidFill>
            <a:ln>
              <a:noFill/>
            </a:ln>
          </p:spPr>
          <p:txBody>
            <a:bodyPr vert="horz" wrap="square" lIns="68574" tIns="34287" rIns="68574" bIns="34287"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0000"/>
                </a:solidFill>
                <a:effectLst/>
                <a:uLnTx/>
                <a:uFillTx/>
                <a:latin typeface="Segoe UI"/>
                <a:ea typeface="+mn-ea"/>
                <a:cs typeface="+mn-cs"/>
              </a:endParaRPr>
            </a:p>
          </p:txBody>
        </p:sp>
        <p:sp>
          <p:nvSpPr>
            <p:cNvPr id="87" name="Freeform 86"/>
            <p:cNvSpPr>
              <a:spLocks noChangeAspect="1" noEditPoints="1"/>
            </p:cNvSpPr>
            <p:nvPr/>
          </p:nvSpPr>
          <p:spPr bwMode="black">
            <a:xfrm>
              <a:off x="722320" y="1783009"/>
              <a:ext cx="452202" cy="366660"/>
            </a:xfrm>
            <a:custGeom>
              <a:avLst/>
              <a:gdLst>
                <a:gd name="T0" fmla="*/ 600 w 1107"/>
                <a:gd name="T1" fmla="*/ 625 h 897"/>
                <a:gd name="T2" fmla="*/ 649 w 1107"/>
                <a:gd name="T3" fmla="*/ 567 h 897"/>
                <a:gd name="T4" fmla="*/ 727 w 1107"/>
                <a:gd name="T5" fmla="*/ 482 h 897"/>
                <a:gd name="T6" fmla="*/ 601 w 1107"/>
                <a:gd name="T7" fmla="*/ 434 h 897"/>
                <a:gd name="T8" fmla="*/ 628 w 1107"/>
                <a:gd name="T9" fmla="*/ 305 h 897"/>
                <a:gd name="T10" fmla="*/ 547 w 1107"/>
                <a:gd name="T11" fmla="*/ 240 h 897"/>
                <a:gd name="T12" fmla="*/ 427 w 1107"/>
                <a:gd name="T13" fmla="*/ 287 h 897"/>
                <a:gd name="T14" fmla="*/ 368 w 1107"/>
                <a:gd name="T15" fmla="*/ 170 h 897"/>
                <a:gd name="T16" fmla="*/ 285 w 1107"/>
                <a:gd name="T17" fmla="*/ 263 h 897"/>
                <a:gd name="T18" fmla="*/ 241 w 1107"/>
                <a:gd name="T19" fmla="*/ 313 h 897"/>
                <a:gd name="T20" fmla="*/ 139 w 1107"/>
                <a:gd name="T21" fmla="*/ 281 h 897"/>
                <a:gd name="T22" fmla="*/ 79 w 1107"/>
                <a:gd name="T23" fmla="*/ 355 h 897"/>
                <a:gd name="T24" fmla="*/ 132 w 1107"/>
                <a:gd name="T25" fmla="*/ 446 h 897"/>
                <a:gd name="T26" fmla="*/ 83 w 1107"/>
                <a:gd name="T27" fmla="*/ 505 h 897"/>
                <a:gd name="T28" fmla="*/ 5 w 1107"/>
                <a:gd name="T29" fmla="*/ 590 h 897"/>
                <a:gd name="T30" fmla="*/ 132 w 1107"/>
                <a:gd name="T31" fmla="*/ 638 h 897"/>
                <a:gd name="T32" fmla="*/ 145 w 1107"/>
                <a:gd name="T33" fmla="*/ 669 h 897"/>
                <a:gd name="T34" fmla="*/ 110 w 1107"/>
                <a:gd name="T35" fmla="*/ 793 h 897"/>
                <a:gd name="T36" fmla="*/ 230 w 1107"/>
                <a:gd name="T37" fmla="*/ 781 h 897"/>
                <a:gd name="T38" fmla="*/ 306 w 1107"/>
                <a:gd name="T39" fmla="*/ 785 h 897"/>
                <a:gd name="T40" fmla="*/ 346 w 1107"/>
                <a:gd name="T41" fmla="*/ 878 h 897"/>
                <a:gd name="T42" fmla="*/ 440 w 1107"/>
                <a:gd name="T43" fmla="*/ 872 h 897"/>
                <a:gd name="T44" fmla="*/ 466 w 1107"/>
                <a:gd name="T45" fmla="*/ 764 h 897"/>
                <a:gd name="T46" fmla="*/ 539 w 1107"/>
                <a:gd name="T47" fmla="*/ 755 h 897"/>
                <a:gd name="T48" fmla="*/ 659 w 1107"/>
                <a:gd name="T49" fmla="*/ 743 h 897"/>
                <a:gd name="T50" fmla="*/ 263 w 1107"/>
                <a:gd name="T51" fmla="*/ 452 h 897"/>
                <a:gd name="T52" fmla="*/ 281 w 1107"/>
                <a:gd name="T53" fmla="*/ 633 h 897"/>
                <a:gd name="T54" fmla="*/ 1002 w 1107"/>
                <a:gd name="T55" fmla="*/ 332 h 897"/>
                <a:gd name="T56" fmla="*/ 1043 w 1107"/>
                <a:gd name="T57" fmla="*/ 304 h 897"/>
                <a:gd name="T58" fmla="*/ 1107 w 1107"/>
                <a:gd name="T59" fmla="*/ 266 h 897"/>
                <a:gd name="T60" fmla="*/ 1037 w 1107"/>
                <a:gd name="T61" fmla="*/ 213 h 897"/>
                <a:gd name="T62" fmla="*/ 1077 w 1107"/>
                <a:gd name="T63" fmla="*/ 138 h 897"/>
                <a:gd name="T64" fmla="*/ 1038 w 1107"/>
                <a:gd name="T65" fmla="*/ 83 h 897"/>
                <a:gd name="T66" fmla="*/ 956 w 1107"/>
                <a:gd name="T67" fmla="*/ 91 h 897"/>
                <a:gd name="T68" fmla="*/ 940 w 1107"/>
                <a:gd name="T69" fmla="*/ 7 h 897"/>
                <a:gd name="T70" fmla="*/ 872 w 1107"/>
                <a:gd name="T71" fmla="*/ 50 h 897"/>
                <a:gd name="T72" fmla="*/ 836 w 1107"/>
                <a:gd name="T73" fmla="*/ 74 h 897"/>
                <a:gd name="T74" fmla="*/ 778 w 1107"/>
                <a:gd name="T75" fmla="*/ 35 h 897"/>
                <a:gd name="T76" fmla="*/ 728 w 1107"/>
                <a:gd name="T77" fmla="*/ 70 h 897"/>
                <a:gd name="T78" fmla="*/ 744 w 1107"/>
                <a:gd name="T79" fmla="*/ 136 h 897"/>
                <a:gd name="T80" fmla="*/ 703 w 1107"/>
                <a:gd name="T81" fmla="*/ 164 h 897"/>
                <a:gd name="T82" fmla="*/ 640 w 1107"/>
                <a:gd name="T83" fmla="*/ 203 h 897"/>
                <a:gd name="T84" fmla="*/ 710 w 1107"/>
                <a:gd name="T85" fmla="*/ 255 h 897"/>
                <a:gd name="T86" fmla="*/ 712 w 1107"/>
                <a:gd name="T87" fmla="*/ 277 h 897"/>
                <a:gd name="T88" fmla="*/ 668 w 1107"/>
                <a:gd name="T89" fmla="*/ 347 h 897"/>
                <a:gd name="T90" fmla="*/ 745 w 1107"/>
                <a:gd name="T91" fmla="*/ 361 h 897"/>
                <a:gd name="T92" fmla="*/ 791 w 1107"/>
                <a:gd name="T93" fmla="*/ 377 h 897"/>
                <a:gd name="T94" fmla="*/ 799 w 1107"/>
                <a:gd name="T95" fmla="*/ 443 h 897"/>
                <a:gd name="T96" fmla="*/ 859 w 1107"/>
                <a:gd name="T97" fmla="*/ 456 h 897"/>
                <a:gd name="T98" fmla="*/ 894 w 1107"/>
                <a:gd name="T99" fmla="*/ 393 h 897"/>
                <a:gd name="T100" fmla="*/ 941 w 1107"/>
                <a:gd name="T101" fmla="*/ 401 h 897"/>
                <a:gd name="T102" fmla="*/ 1018 w 1107"/>
                <a:gd name="T103" fmla="*/ 415 h 897"/>
                <a:gd name="T104" fmla="*/ 825 w 1107"/>
                <a:gd name="T105" fmla="*/ 164 h 897"/>
                <a:gd name="T106" fmla="*/ 803 w 1107"/>
                <a:gd name="T107" fmla="*/ 279 h 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107" h="897">
                  <a:moveTo>
                    <a:pt x="654" y="716"/>
                  </a:moveTo>
                  <a:cubicBezTo>
                    <a:pt x="616" y="670"/>
                    <a:pt x="616" y="670"/>
                    <a:pt x="616" y="670"/>
                  </a:cubicBezTo>
                  <a:cubicBezTo>
                    <a:pt x="593" y="654"/>
                    <a:pt x="603" y="638"/>
                    <a:pt x="600" y="625"/>
                  </a:cubicBezTo>
                  <a:cubicBezTo>
                    <a:pt x="600" y="625"/>
                    <a:pt x="600" y="625"/>
                    <a:pt x="600" y="625"/>
                  </a:cubicBezTo>
                  <a:cubicBezTo>
                    <a:pt x="605" y="617"/>
                    <a:pt x="611" y="609"/>
                    <a:pt x="608" y="596"/>
                  </a:cubicBezTo>
                  <a:cubicBezTo>
                    <a:pt x="618" y="580"/>
                    <a:pt x="623" y="572"/>
                    <a:pt x="649" y="567"/>
                  </a:cubicBezTo>
                  <a:cubicBezTo>
                    <a:pt x="715" y="553"/>
                    <a:pt x="715" y="553"/>
                    <a:pt x="715" y="553"/>
                  </a:cubicBezTo>
                  <a:cubicBezTo>
                    <a:pt x="728" y="550"/>
                    <a:pt x="733" y="542"/>
                    <a:pt x="730" y="529"/>
                  </a:cubicBezTo>
                  <a:cubicBezTo>
                    <a:pt x="727" y="482"/>
                    <a:pt x="727" y="482"/>
                    <a:pt x="727" y="482"/>
                  </a:cubicBezTo>
                  <a:cubicBezTo>
                    <a:pt x="724" y="469"/>
                    <a:pt x="717" y="463"/>
                    <a:pt x="701" y="453"/>
                  </a:cubicBezTo>
                  <a:cubicBezTo>
                    <a:pt x="641" y="459"/>
                    <a:pt x="641" y="459"/>
                    <a:pt x="641" y="459"/>
                  </a:cubicBezTo>
                  <a:cubicBezTo>
                    <a:pt x="620" y="457"/>
                    <a:pt x="604" y="447"/>
                    <a:pt x="601" y="434"/>
                  </a:cubicBezTo>
                  <a:cubicBezTo>
                    <a:pt x="598" y="421"/>
                    <a:pt x="590" y="416"/>
                    <a:pt x="580" y="397"/>
                  </a:cubicBezTo>
                  <a:cubicBezTo>
                    <a:pt x="577" y="384"/>
                    <a:pt x="574" y="371"/>
                    <a:pt x="584" y="355"/>
                  </a:cubicBezTo>
                  <a:cubicBezTo>
                    <a:pt x="628" y="305"/>
                    <a:pt x="628" y="305"/>
                    <a:pt x="628" y="305"/>
                  </a:cubicBezTo>
                  <a:cubicBezTo>
                    <a:pt x="634" y="297"/>
                    <a:pt x="631" y="284"/>
                    <a:pt x="623" y="279"/>
                  </a:cubicBezTo>
                  <a:cubicBezTo>
                    <a:pt x="581" y="240"/>
                    <a:pt x="581" y="240"/>
                    <a:pt x="581" y="240"/>
                  </a:cubicBezTo>
                  <a:cubicBezTo>
                    <a:pt x="573" y="235"/>
                    <a:pt x="560" y="238"/>
                    <a:pt x="547" y="240"/>
                  </a:cubicBezTo>
                  <a:cubicBezTo>
                    <a:pt x="503" y="291"/>
                    <a:pt x="503" y="291"/>
                    <a:pt x="503" y="291"/>
                  </a:cubicBezTo>
                  <a:cubicBezTo>
                    <a:pt x="484" y="302"/>
                    <a:pt x="471" y="304"/>
                    <a:pt x="463" y="299"/>
                  </a:cubicBezTo>
                  <a:cubicBezTo>
                    <a:pt x="456" y="294"/>
                    <a:pt x="435" y="292"/>
                    <a:pt x="427" y="287"/>
                  </a:cubicBezTo>
                  <a:cubicBezTo>
                    <a:pt x="419" y="282"/>
                    <a:pt x="403" y="271"/>
                    <a:pt x="400" y="258"/>
                  </a:cubicBezTo>
                  <a:cubicBezTo>
                    <a:pt x="386" y="193"/>
                    <a:pt x="386" y="193"/>
                    <a:pt x="386" y="193"/>
                  </a:cubicBezTo>
                  <a:cubicBezTo>
                    <a:pt x="384" y="180"/>
                    <a:pt x="368" y="170"/>
                    <a:pt x="368" y="170"/>
                  </a:cubicBezTo>
                  <a:cubicBezTo>
                    <a:pt x="308" y="176"/>
                    <a:pt x="308" y="176"/>
                    <a:pt x="308" y="176"/>
                  </a:cubicBezTo>
                  <a:cubicBezTo>
                    <a:pt x="308" y="176"/>
                    <a:pt x="289" y="187"/>
                    <a:pt x="292" y="200"/>
                  </a:cubicBezTo>
                  <a:cubicBezTo>
                    <a:pt x="285" y="263"/>
                    <a:pt x="285" y="263"/>
                    <a:pt x="285" y="263"/>
                  </a:cubicBezTo>
                  <a:cubicBezTo>
                    <a:pt x="291" y="289"/>
                    <a:pt x="277" y="292"/>
                    <a:pt x="272" y="300"/>
                  </a:cubicBezTo>
                  <a:cubicBezTo>
                    <a:pt x="272" y="300"/>
                    <a:pt x="272" y="300"/>
                    <a:pt x="267" y="308"/>
                  </a:cubicBezTo>
                  <a:cubicBezTo>
                    <a:pt x="259" y="302"/>
                    <a:pt x="246" y="305"/>
                    <a:pt x="241" y="313"/>
                  </a:cubicBezTo>
                  <a:cubicBezTo>
                    <a:pt x="236" y="321"/>
                    <a:pt x="236" y="321"/>
                    <a:pt x="236" y="321"/>
                  </a:cubicBezTo>
                  <a:cubicBezTo>
                    <a:pt x="223" y="324"/>
                    <a:pt x="210" y="327"/>
                    <a:pt x="194" y="317"/>
                  </a:cubicBezTo>
                  <a:cubicBezTo>
                    <a:pt x="139" y="281"/>
                    <a:pt x="139" y="281"/>
                    <a:pt x="139" y="281"/>
                  </a:cubicBezTo>
                  <a:cubicBezTo>
                    <a:pt x="131" y="276"/>
                    <a:pt x="110" y="273"/>
                    <a:pt x="104" y="281"/>
                  </a:cubicBezTo>
                  <a:cubicBezTo>
                    <a:pt x="79" y="321"/>
                    <a:pt x="79" y="321"/>
                    <a:pt x="79" y="321"/>
                  </a:cubicBezTo>
                  <a:cubicBezTo>
                    <a:pt x="66" y="324"/>
                    <a:pt x="68" y="337"/>
                    <a:pt x="79" y="355"/>
                  </a:cubicBezTo>
                  <a:cubicBezTo>
                    <a:pt x="121" y="394"/>
                    <a:pt x="121" y="394"/>
                    <a:pt x="121" y="394"/>
                  </a:cubicBezTo>
                  <a:cubicBezTo>
                    <a:pt x="140" y="417"/>
                    <a:pt x="135" y="425"/>
                    <a:pt x="132" y="446"/>
                  </a:cubicBezTo>
                  <a:cubicBezTo>
                    <a:pt x="132" y="446"/>
                    <a:pt x="132" y="446"/>
                    <a:pt x="132" y="446"/>
                  </a:cubicBezTo>
                  <a:cubicBezTo>
                    <a:pt x="127" y="454"/>
                    <a:pt x="122" y="462"/>
                    <a:pt x="117" y="470"/>
                  </a:cubicBezTo>
                  <a:cubicBezTo>
                    <a:pt x="117" y="470"/>
                    <a:pt x="117" y="470"/>
                    <a:pt x="117" y="470"/>
                  </a:cubicBezTo>
                  <a:cubicBezTo>
                    <a:pt x="120" y="483"/>
                    <a:pt x="109" y="499"/>
                    <a:pt x="83" y="505"/>
                  </a:cubicBezTo>
                  <a:cubicBezTo>
                    <a:pt x="23" y="511"/>
                    <a:pt x="23" y="511"/>
                    <a:pt x="23" y="511"/>
                  </a:cubicBezTo>
                  <a:cubicBezTo>
                    <a:pt x="10" y="514"/>
                    <a:pt x="0" y="529"/>
                    <a:pt x="2" y="543"/>
                  </a:cubicBezTo>
                  <a:cubicBezTo>
                    <a:pt x="5" y="590"/>
                    <a:pt x="5" y="590"/>
                    <a:pt x="5" y="590"/>
                  </a:cubicBezTo>
                  <a:cubicBezTo>
                    <a:pt x="8" y="603"/>
                    <a:pt x="16" y="608"/>
                    <a:pt x="37" y="610"/>
                  </a:cubicBezTo>
                  <a:cubicBezTo>
                    <a:pt x="92" y="612"/>
                    <a:pt x="92" y="612"/>
                    <a:pt x="92" y="612"/>
                  </a:cubicBezTo>
                  <a:cubicBezTo>
                    <a:pt x="113" y="614"/>
                    <a:pt x="129" y="625"/>
                    <a:pt x="132" y="638"/>
                  </a:cubicBezTo>
                  <a:cubicBezTo>
                    <a:pt x="132" y="638"/>
                    <a:pt x="132" y="638"/>
                    <a:pt x="132" y="638"/>
                  </a:cubicBezTo>
                  <a:cubicBezTo>
                    <a:pt x="140" y="643"/>
                    <a:pt x="142" y="656"/>
                    <a:pt x="150" y="661"/>
                  </a:cubicBezTo>
                  <a:cubicBezTo>
                    <a:pt x="145" y="669"/>
                    <a:pt x="145" y="669"/>
                    <a:pt x="145" y="669"/>
                  </a:cubicBezTo>
                  <a:cubicBezTo>
                    <a:pt x="153" y="674"/>
                    <a:pt x="156" y="687"/>
                    <a:pt x="140" y="711"/>
                  </a:cubicBezTo>
                  <a:cubicBezTo>
                    <a:pt x="109" y="759"/>
                    <a:pt x="109" y="759"/>
                    <a:pt x="109" y="759"/>
                  </a:cubicBezTo>
                  <a:cubicBezTo>
                    <a:pt x="99" y="775"/>
                    <a:pt x="102" y="788"/>
                    <a:pt x="110" y="793"/>
                  </a:cubicBezTo>
                  <a:cubicBezTo>
                    <a:pt x="152" y="832"/>
                    <a:pt x="152" y="832"/>
                    <a:pt x="152" y="832"/>
                  </a:cubicBezTo>
                  <a:cubicBezTo>
                    <a:pt x="160" y="837"/>
                    <a:pt x="173" y="834"/>
                    <a:pt x="178" y="826"/>
                  </a:cubicBezTo>
                  <a:cubicBezTo>
                    <a:pt x="230" y="781"/>
                    <a:pt x="230" y="781"/>
                    <a:pt x="230" y="781"/>
                  </a:cubicBezTo>
                  <a:cubicBezTo>
                    <a:pt x="248" y="770"/>
                    <a:pt x="261" y="767"/>
                    <a:pt x="269" y="772"/>
                  </a:cubicBezTo>
                  <a:cubicBezTo>
                    <a:pt x="269" y="772"/>
                    <a:pt x="269" y="772"/>
                    <a:pt x="269" y="772"/>
                  </a:cubicBezTo>
                  <a:cubicBezTo>
                    <a:pt x="282" y="769"/>
                    <a:pt x="298" y="779"/>
                    <a:pt x="306" y="785"/>
                  </a:cubicBezTo>
                  <a:cubicBezTo>
                    <a:pt x="306" y="785"/>
                    <a:pt x="306" y="785"/>
                    <a:pt x="306" y="785"/>
                  </a:cubicBezTo>
                  <a:cubicBezTo>
                    <a:pt x="319" y="782"/>
                    <a:pt x="327" y="787"/>
                    <a:pt x="332" y="813"/>
                  </a:cubicBezTo>
                  <a:cubicBezTo>
                    <a:pt x="346" y="878"/>
                    <a:pt x="346" y="878"/>
                    <a:pt x="346" y="878"/>
                  </a:cubicBezTo>
                  <a:cubicBezTo>
                    <a:pt x="349" y="892"/>
                    <a:pt x="357" y="897"/>
                    <a:pt x="370" y="894"/>
                  </a:cubicBezTo>
                  <a:cubicBezTo>
                    <a:pt x="425" y="896"/>
                    <a:pt x="425" y="896"/>
                    <a:pt x="425" y="896"/>
                  </a:cubicBezTo>
                  <a:cubicBezTo>
                    <a:pt x="430" y="888"/>
                    <a:pt x="443" y="885"/>
                    <a:pt x="440" y="872"/>
                  </a:cubicBezTo>
                  <a:cubicBezTo>
                    <a:pt x="440" y="804"/>
                    <a:pt x="440" y="804"/>
                    <a:pt x="440" y="804"/>
                  </a:cubicBezTo>
                  <a:cubicBezTo>
                    <a:pt x="442" y="783"/>
                    <a:pt x="460" y="772"/>
                    <a:pt x="466" y="764"/>
                  </a:cubicBezTo>
                  <a:cubicBezTo>
                    <a:pt x="466" y="764"/>
                    <a:pt x="466" y="764"/>
                    <a:pt x="466" y="764"/>
                  </a:cubicBezTo>
                  <a:cubicBezTo>
                    <a:pt x="479" y="761"/>
                    <a:pt x="492" y="758"/>
                    <a:pt x="497" y="750"/>
                  </a:cubicBezTo>
                  <a:cubicBezTo>
                    <a:pt x="497" y="750"/>
                    <a:pt x="497" y="750"/>
                    <a:pt x="497" y="750"/>
                  </a:cubicBezTo>
                  <a:cubicBezTo>
                    <a:pt x="510" y="747"/>
                    <a:pt x="523" y="745"/>
                    <a:pt x="539" y="755"/>
                  </a:cubicBezTo>
                  <a:cubicBezTo>
                    <a:pt x="594" y="791"/>
                    <a:pt x="594" y="791"/>
                    <a:pt x="594" y="791"/>
                  </a:cubicBezTo>
                  <a:cubicBezTo>
                    <a:pt x="602" y="796"/>
                    <a:pt x="623" y="798"/>
                    <a:pt x="628" y="790"/>
                  </a:cubicBezTo>
                  <a:cubicBezTo>
                    <a:pt x="659" y="743"/>
                    <a:pt x="659" y="743"/>
                    <a:pt x="659" y="743"/>
                  </a:cubicBezTo>
                  <a:cubicBezTo>
                    <a:pt x="659" y="743"/>
                    <a:pt x="669" y="727"/>
                    <a:pt x="654" y="716"/>
                  </a:cubicBezTo>
                  <a:close/>
                  <a:moveTo>
                    <a:pt x="281" y="633"/>
                  </a:moveTo>
                  <a:cubicBezTo>
                    <a:pt x="223" y="584"/>
                    <a:pt x="219" y="502"/>
                    <a:pt x="263" y="452"/>
                  </a:cubicBezTo>
                  <a:cubicBezTo>
                    <a:pt x="313" y="393"/>
                    <a:pt x="399" y="382"/>
                    <a:pt x="457" y="431"/>
                  </a:cubicBezTo>
                  <a:cubicBezTo>
                    <a:pt x="507" y="475"/>
                    <a:pt x="518" y="561"/>
                    <a:pt x="469" y="619"/>
                  </a:cubicBezTo>
                  <a:cubicBezTo>
                    <a:pt x="420" y="678"/>
                    <a:pt x="339" y="682"/>
                    <a:pt x="281" y="633"/>
                  </a:cubicBezTo>
                  <a:close/>
                  <a:moveTo>
                    <a:pt x="1019" y="398"/>
                  </a:moveTo>
                  <a:cubicBezTo>
                    <a:pt x="1004" y="362"/>
                    <a:pt x="1004" y="362"/>
                    <a:pt x="1004" y="362"/>
                  </a:cubicBezTo>
                  <a:cubicBezTo>
                    <a:pt x="992" y="348"/>
                    <a:pt x="1002" y="340"/>
                    <a:pt x="1002" y="332"/>
                  </a:cubicBezTo>
                  <a:cubicBezTo>
                    <a:pt x="1002" y="332"/>
                    <a:pt x="1002" y="332"/>
                    <a:pt x="1002" y="332"/>
                  </a:cubicBezTo>
                  <a:cubicBezTo>
                    <a:pt x="1007" y="328"/>
                    <a:pt x="1011" y="324"/>
                    <a:pt x="1012" y="315"/>
                  </a:cubicBezTo>
                  <a:cubicBezTo>
                    <a:pt x="1021" y="307"/>
                    <a:pt x="1026" y="303"/>
                    <a:pt x="1043" y="304"/>
                  </a:cubicBezTo>
                  <a:cubicBezTo>
                    <a:pt x="1086" y="307"/>
                    <a:pt x="1086" y="307"/>
                    <a:pt x="1086" y="307"/>
                  </a:cubicBezTo>
                  <a:cubicBezTo>
                    <a:pt x="1095" y="308"/>
                    <a:pt x="1099" y="304"/>
                    <a:pt x="1100" y="295"/>
                  </a:cubicBezTo>
                  <a:cubicBezTo>
                    <a:pt x="1107" y="266"/>
                    <a:pt x="1107" y="266"/>
                    <a:pt x="1107" y="266"/>
                  </a:cubicBezTo>
                  <a:cubicBezTo>
                    <a:pt x="1107" y="257"/>
                    <a:pt x="1103" y="252"/>
                    <a:pt x="1095" y="243"/>
                  </a:cubicBezTo>
                  <a:cubicBezTo>
                    <a:pt x="1057" y="236"/>
                    <a:pt x="1057" y="236"/>
                    <a:pt x="1057" y="236"/>
                  </a:cubicBezTo>
                  <a:cubicBezTo>
                    <a:pt x="1044" y="231"/>
                    <a:pt x="1036" y="222"/>
                    <a:pt x="1037" y="213"/>
                  </a:cubicBezTo>
                  <a:cubicBezTo>
                    <a:pt x="1038" y="205"/>
                    <a:pt x="1034" y="200"/>
                    <a:pt x="1030" y="187"/>
                  </a:cubicBezTo>
                  <a:cubicBezTo>
                    <a:pt x="1031" y="178"/>
                    <a:pt x="1032" y="170"/>
                    <a:pt x="1041" y="162"/>
                  </a:cubicBezTo>
                  <a:cubicBezTo>
                    <a:pt x="1077" y="138"/>
                    <a:pt x="1077" y="138"/>
                    <a:pt x="1077" y="138"/>
                  </a:cubicBezTo>
                  <a:cubicBezTo>
                    <a:pt x="1082" y="134"/>
                    <a:pt x="1083" y="126"/>
                    <a:pt x="1079" y="121"/>
                  </a:cubicBezTo>
                  <a:cubicBezTo>
                    <a:pt x="1059" y="89"/>
                    <a:pt x="1059" y="89"/>
                    <a:pt x="1059" y="89"/>
                  </a:cubicBezTo>
                  <a:cubicBezTo>
                    <a:pt x="1055" y="85"/>
                    <a:pt x="1047" y="84"/>
                    <a:pt x="1038" y="83"/>
                  </a:cubicBezTo>
                  <a:cubicBezTo>
                    <a:pt x="1002" y="107"/>
                    <a:pt x="1002" y="107"/>
                    <a:pt x="1002" y="107"/>
                  </a:cubicBezTo>
                  <a:cubicBezTo>
                    <a:pt x="989" y="110"/>
                    <a:pt x="980" y="110"/>
                    <a:pt x="976" y="105"/>
                  </a:cubicBezTo>
                  <a:cubicBezTo>
                    <a:pt x="972" y="100"/>
                    <a:pt x="960" y="95"/>
                    <a:pt x="956" y="91"/>
                  </a:cubicBezTo>
                  <a:cubicBezTo>
                    <a:pt x="952" y="86"/>
                    <a:pt x="944" y="77"/>
                    <a:pt x="944" y="68"/>
                  </a:cubicBezTo>
                  <a:cubicBezTo>
                    <a:pt x="948" y="25"/>
                    <a:pt x="948" y="25"/>
                    <a:pt x="948" y="25"/>
                  </a:cubicBezTo>
                  <a:cubicBezTo>
                    <a:pt x="948" y="17"/>
                    <a:pt x="940" y="7"/>
                    <a:pt x="940" y="7"/>
                  </a:cubicBezTo>
                  <a:cubicBezTo>
                    <a:pt x="902" y="0"/>
                    <a:pt x="902" y="0"/>
                    <a:pt x="902" y="0"/>
                  </a:cubicBezTo>
                  <a:cubicBezTo>
                    <a:pt x="902" y="0"/>
                    <a:pt x="889" y="4"/>
                    <a:pt x="888" y="12"/>
                  </a:cubicBezTo>
                  <a:cubicBezTo>
                    <a:pt x="872" y="50"/>
                    <a:pt x="872" y="50"/>
                    <a:pt x="872" y="50"/>
                  </a:cubicBezTo>
                  <a:cubicBezTo>
                    <a:pt x="871" y="67"/>
                    <a:pt x="862" y="67"/>
                    <a:pt x="858" y="71"/>
                  </a:cubicBezTo>
                  <a:cubicBezTo>
                    <a:pt x="858" y="71"/>
                    <a:pt x="858" y="71"/>
                    <a:pt x="853" y="75"/>
                  </a:cubicBezTo>
                  <a:cubicBezTo>
                    <a:pt x="849" y="70"/>
                    <a:pt x="840" y="70"/>
                    <a:pt x="836" y="74"/>
                  </a:cubicBezTo>
                  <a:cubicBezTo>
                    <a:pt x="831" y="78"/>
                    <a:pt x="831" y="78"/>
                    <a:pt x="831" y="78"/>
                  </a:cubicBezTo>
                  <a:cubicBezTo>
                    <a:pt x="822" y="77"/>
                    <a:pt x="814" y="76"/>
                    <a:pt x="806" y="67"/>
                  </a:cubicBezTo>
                  <a:cubicBezTo>
                    <a:pt x="778" y="35"/>
                    <a:pt x="778" y="35"/>
                    <a:pt x="778" y="35"/>
                  </a:cubicBezTo>
                  <a:cubicBezTo>
                    <a:pt x="774" y="30"/>
                    <a:pt x="762" y="25"/>
                    <a:pt x="757" y="29"/>
                  </a:cubicBezTo>
                  <a:cubicBezTo>
                    <a:pt x="734" y="49"/>
                    <a:pt x="734" y="49"/>
                    <a:pt x="734" y="49"/>
                  </a:cubicBezTo>
                  <a:cubicBezTo>
                    <a:pt x="725" y="49"/>
                    <a:pt x="725" y="57"/>
                    <a:pt x="728" y="70"/>
                  </a:cubicBezTo>
                  <a:cubicBezTo>
                    <a:pt x="747" y="102"/>
                    <a:pt x="747" y="102"/>
                    <a:pt x="747" y="102"/>
                  </a:cubicBezTo>
                  <a:cubicBezTo>
                    <a:pt x="754" y="120"/>
                    <a:pt x="750" y="124"/>
                    <a:pt x="744" y="136"/>
                  </a:cubicBezTo>
                  <a:cubicBezTo>
                    <a:pt x="744" y="136"/>
                    <a:pt x="744" y="136"/>
                    <a:pt x="744" y="136"/>
                  </a:cubicBezTo>
                  <a:cubicBezTo>
                    <a:pt x="740" y="140"/>
                    <a:pt x="735" y="144"/>
                    <a:pt x="731" y="148"/>
                  </a:cubicBezTo>
                  <a:cubicBezTo>
                    <a:pt x="731" y="148"/>
                    <a:pt x="731" y="148"/>
                    <a:pt x="731" y="148"/>
                  </a:cubicBezTo>
                  <a:cubicBezTo>
                    <a:pt x="730" y="157"/>
                    <a:pt x="721" y="165"/>
                    <a:pt x="703" y="164"/>
                  </a:cubicBezTo>
                  <a:cubicBezTo>
                    <a:pt x="665" y="157"/>
                    <a:pt x="665" y="157"/>
                    <a:pt x="665" y="157"/>
                  </a:cubicBezTo>
                  <a:cubicBezTo>
                    <a:pt x="656" y="156"/>
                    <a:pt x="647" y="164"/>
                    <a:pt x="647" y="173"/>
                  </a:cubicBezTo>
                  <a:cubicBezTo>
                    <a:pt x="640" y="203"/>
                    <a:pt x="640" y="203"/>
                    <a:pt x="640" y="203"/>
                  </a:cubicBezTo>
                  <a:cubicBezTo>
                    <a:pt x="639" y="211"/>
                    <a:pt x="643" y="216"/>
                    <a:pt x="656" y="221"/>
                  </a:cubicBezTo>
                  <a:cubicBezTo>
                    <a:pt x="690" y="232"/>
                    <a:pt x="690" y="232"/>
                    <a:pt x="690" y="232"/>
                  </a:cubicBezTo>
                  <a:cubicBezTo>
                    <a:pt x="702" y="237"/>
                    <a:pt x="710" y="246"/>
                    <a:pt x="710" y="255"/>
                  </a:cubicBezTo>
                  <a:cubicBezTo>
                    <a:pt x="710" y="255"/>
                    <a:pt x="710" y="255"/>
                    <a:pt x="710" y="255"/>
                  </a:cubicBezTo>
                  <a:cubicBezTo>
                    <a:pt x="714" y="260"/>
                    <a:pt x="713" y="268"/>
                    <a:pt x="717" y="273"/>
                  </a:cubicBezTo>
                  <a:cubicBezTo>
                    <a:pt x="712" y="277"/>
                    <a:pt x="712" y="277"/>
                    <a:pt x="712" y="277"/>
                  </a:cubicBezTo>
                  <a:cubicBezTo>
                    <a:pt x="716" y="281"/>
                    <a:pt x="716" y="290"/>
                    <a:pt x="702" y="302"/>
                  </a:cubicBezTo>
                  <a:cubicBezTo>
                    <a:pt x="674" y="326"/>
                    <a:pt x="674" y="326"/>
                    <a:pt x="674" y="326"/>
                  </a:cubicBezTo>
                  <a:cubicBezTo>
                    <a:pt x="665" y="334"/>
                    <a:pt x="664" y="343"/>
                    <a:pt x="668" y="347"/>
                  </a:cubicBezTo>
                  <a:cubicBezTo>
                    <a:pt x="687" y="379"/>
                    <a:pt x="687" y="379"/>
                    <a:pt x="687" y="379"/>
                  </a:cubicBezTo>
                  <a:cubicBezTo>
                    <a:pt x="691" y="383"/>
                    <a:pt x="700" y="384"/>
                    <a:pt x="704" y="380"/>
                  </a:cubicBezTo>
                  <a:cubicBezTo>
                    <a:pt x="745" y="361"/>
                    <a:pt x="745" y="361"/>
                    <a:pt x="745" y="361"/>
                  </a:cubicBezTo>
                  <a:cubicBezTo>
                    <a:pt x="758" y="358"/>
                    <a:pt x="767" y="358"/>
                    <a:pt x="771" y="363"/>
                  </a:cubicBezTo>
                  <a:cubicBezTo>
                    <a:pt x="771" y="363"/>
                    <a:pt x="771" y="363"/>
                    <a:pt x="771" y="363"/>
                  </a:cubicBezTo>
                  <a:cubicBezTo>
                    <a:pt x="779" y="364"/>
                    <a:pt x="787" y="373"/>
                    <a:pt x="791" y="377"/>
                  </a:cubicBezTo>
                  <a:cubicBezTo>
                    <a:pt x="791" y="377"/>
                    <a:pt x="791" y="377"/>
                    <a:pt x="791" y="377"/>
                  </a:cubicBezTo>
                  <a:cubicBezTo>
                    <a:pt x="800" y="378"/>
                    <a:pt x="804" y="383"/>
                    <a:pt x="802" y="400"/>
                  </a:cubicBezTo>
                  <a:cubicBezTo>
                    <a:pt x="799" y="443"/>
                    <a:pt x="799" y="443"/>
                    <a:pt x="799" y="443"/>
                  </a:cubicBezTo>
                  <a:cubicBezTo>
                    <a:pt x="798" y="451"/>
                    <a:pt x="802" y="456"/>
                    <a:pt x="811" y="457"/>
                  </a:cubicBezTo>
                  <a:cubicBezTo>
                    <a:pt x="845" y="468"/>
                    <a:pt x="845" y="468"/>
                    <a:pt x="845" y="468"/>
                  </a:cubicBezTo>
                  <a:cubicBezTo>
                    <a:pt x="849" y="464"/>
                    <a:pt x="858" y="464"/>
                    <a:pt x="859" y="456"/>
                  </a:cubicBezTo>
                  <a:cubicBezTo>
                    <a:pt x="871" y="413"/>
                    <a:pt x="871" y="413"/>
                    <a:pt x="871" y="413"/>
                  </a:cubicBezTo>
                  <a:cubicBezTo>
                    <a:pt x="876" y="401"/>
                    <a:pt x="889" y="397"/>
                    <a:pt x="894" y="393"/>
                  </a:cubicBezTo>
                  <a:cubicBezTo>
                    <a:pt x="894" y="393"/>
                    <a:pt x="894" y="393"/>
                    <a:pt x="894" y="393"/>
                  </a:cubicBezTo>
                  <a:cubicBezTo>
                    <a:pt x="902" y="394"/>
                    <a:pt x="911" y="395"/>
                    <a:pt x="916" y="391"/>
                  </a:cubicBezTo>
                  <a:cubicBezTo>
                    <a:pt x="916" y="391"/>
                    <a:pt x="916" y="391"/>
                    <a:pt x="916" y="391"/>
                  </a:cubicBezTo>
                  <a:cubicBezTo>
                    <a:pt x="924" y="391"/>
                    <a:pt x="933" y="392"/>
                    <a:pt x="941" y="401"/>
                  </a:cubicBezTo>
                  <a:cubicBezTo>
                    <a:pt x="969" y="433"/>
                    <a:pt x="969" y="433"/>
                    <a:pt x="969" y="433"/>
                  </a:cubicBezTo>
                  <a:cubicBezTo>
                    <a:pt x="973" y="438"/>
                    <a:pt x="985" y="443"/>
                    <a:pt x="990" y="439"/>
                  </a:cubicBezTo>
                  <a:cubicBezTo>
                    <a:pt x="1018" y="415"/>
                    <a:pt x="1018" y="415"/>
                    <a:pt x="1018" y="415"/>
                  </a:cubicBezTo>
                  <a:cubicBezTo>
                    <a:pt x="1018" y="415"/>
                    <a:pt x="1027" y="407"/>
                    <a:pt x="1019" y="398"/>
                  </a:cubicBezTo>
                  <a:close/>
                  <a:moveTo>
                    <a:pt x="803" y="279"/>
                  </a:moveTo>
                  <a:cubicBezTo>
                    <a:pt x="776" y="238"/>
                    <a:pt x="788" y="187"/>
                    <a:pt x="825" y="164"/>
                  </a:cubicBezTo>
                  <a:cubicBezTo>
                    <a:pt x="866" y="136"/>
                    <a:pt x="921" y="144"/>
                    <a:pt x="948" y="185"/>
                  </a:cubicBezTo>
                  <a:cubicBezTo>
                    <a:pt x="972" y="221"/>
                    <a:pt x="963" y="277"/>
                    <a:pt x="922" y="304"/>
                  </a:cubicBezTo>
                  <a:cubicBezTo>
                    <a:pt x="881" y="332"/>
                    <a:pt x="830" y="320"/>
                    <a:pt x="803" y="279"/>
                  </a:cubicBezTo>
                  <a:close/>
                </a:path>
              </a:pathLst>
            </a:custGeom>
            <a:solidFill>
              <a:schemeClr val="tx1"/>
            </a:solidFill>
            <a:ln>
              <a:noFill/>
            </a:ln>
          </p:spPr>
          <p:txBody>
            <a:bodyPr vert="horz" wrap="square" lIns="68574" tIns="34287" rIns="68574" bIns="34287"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17346"/>
                </a:solidFill>
                <a:effectLst/>
                <a:uLnTx/>
                <a:uFillTx/>
                <a:latin typeface="Segoe UI"/>
                <a:ea typeface="+mn-ea"/>
                <a:cs typeface="+mn-cs"/>
              </a:endParaRPr>
            </a:p>
          </p:txBody>
        </p:sp>
        <p:sp>
          <p:nvSpPr>
            <p:cNvPr id="88" name="Freeform 87"/>
            <p:cNvSpPr>
              <a:spLocks noChangeAspect="1"/>
            </p:cNvSpPr>
            <p:nvPr/>
          </p:nvSpPr>
          <p:spPr bwMode="black">
            <a:xfrm>
              <a:off x="776985" y="4213905"/>
              <a:ext cx="342871" cy="335728"/>
            </a:xfrm>
            <a:custGeom>
              <a:avLst/>
              <a:gdLst>
                <a:gd name="connsiteX0" fmla="*/ 3713863 w 4893730"/>
                <a:gd name="connsiteY0" fmla="*/ 2130808 h 4791777"/>
                <a:gd name="connsiteX1" fmla="*/ 4426142 w 4893730"/>
                <a:gd name="connsiteY1" fmla="*/ 2130808 h 4791777"/>
                <a:gd name="connsiteX2" fmla="*/ 4598071 w 4893730"/>
                <a:gd name="connsiteY2" fmla="*/ 2301547 h 4791777"/>
                <a:gd name="connsiteX3" fmla="*/ 4598071 w 4893730"/>
                <a:gd name="connsiteY3" fmla="*/ 3886978 h 4791777"/>
                <a:gd name="connsiteX4" fmla="*/ 4426142 w 4893730"/>
                <a:gd name="connsiteY4" fmla="*/ 4057717 h 4791777"/>
                <a:gd name="connsiteX5" fmla="*/ 3713863 w 4893730"/>
                <a:gd name="connsiteY5" fmla="*/ 4057717 h 4791777"/>
                <a:gd name="connsiteX6" fmla="*/ 3517372 w 4893730"/>
                <a:gd name="connsiteY6" fmla="*/ 3886978 h 4791777"/>
                <a:gd name="connsiteX7" fmla="*/ 3517372 w 4893730"/>
                <a:gd name="connsiteY7" fmla="*/ 2301547 h 4791777"/>
                <a:gd name="connsiteX8" fmla="*/ 3713863 w 4893730"/>
                <a:gd name="connsiteY8" fmla="*/ 2130808 h 4791777"/>
                <a:gd name="connsiteX9" fmla="*/ 904368 w 4893730"/>
                <a:gd name="connsiteY9" fmla="*/ 1223432 h 4791777"/>
                <a:gd name="connsiteX10" fmla="*/ 1609930 w 4893730"/>
                <a:gd name="connsiteY10" fmla="*/ 1223432 h 4791777"/>
                <a:gd name="connsiteX11" fmla="*/ 1804567 w 4893730"/>
                <a:gd name="connsiteY11" fmla="*/ 1394467 h 4791777"/>
                <a:gd name="connsiteX12" fmla="*/ 1804567 w 4893730"/>
                <a:gd name="connsiteY12" fmla="*/ 3886683 h 4791777"/>
                <a:gd name="connsiteX13" fmla="*/ 1609930 w 4893730"/>
                <a:gd name="connsiteY13" fmla="*/ 4057717 h 4791777"/>
                <a:gd name="connsiteX14" fmla="*/ 904368 w 4893730"/>
                <a:gd name="connsiteY14" fmla="*/ 4057717 h 4791777"/>
                <a:gd name="connsiteX15" fmla="*/ 734060 w 4893730"/>
                <a:gd name="connsiteY15" fmla="*/ 3886683 h 4791777"/>
                <a:gd name="connsiteX16" fmla="*/ 734060 w 4893730"/>
                <a:gd name="connsiteY16" fmla="*/ 1394467 h 4791777"/>
                <a:gd name="connsiteX17" fmla="*/ 904368 w 4893730"/>
                <a:gd name="connsiteY17" fmla="*/ 1223432 h 4791777"/>
                <a:gd name="connsiteX18" fmla="*/ 2325453 w 4893730"/>
                <a:gd name="connsiteY18" fmla="*/ 316050 h 4791777"/>
                <a:gd name="connsiteX19" fmla="*/ 3031014 w 4893730"/>
                <a:gd name="connsiteY19" fmla="*/ 316050 h 4791777"/>
                <a:gd name="connsiteX20" fmla="*/ 3201322 w 4893730"/>
                <a:gd name="connsiteY20" fmla="*/ 487238 h 4791777"/>
                <a:gd name="connsiteX21" fmla="*/ 3201322 w 4893730"/>
                <a:gd name="connsiteY21" fmla="*/ 3886530 h 4791777"/>
                <a:gd name="connsiteX22" fmla="*/ 3031014 w 4893730"/>
                <a:gd name="connsiteY22" fmla="*/ 4057717 h 4791777"/>
                <a:gd name="connsiteX23" fmla="*/ 2325453 w 4893730"/>
                <a:gd name="connsiteY23" fmla="*/ 4057717 h 4791777"/>
                <a:gd name="connsiteX24" fmla="*/ 2130815 w 4893730"/>
                <a:gd name="connsiteY24" fmla="*/ 3886530 h 4791777"/>
                <a:gd name="connsiteX25" fmla="*/ 2130815 w 4893730"/>
                <a:gd name="connsiteY25" fmla="*/ 487238 h 4791777"/>
                <a:gd name="connsiteX26" fmla="*/ 2325453 w 4893730"/>
                <a:gd name="connsiteY26" fmla="*/ 316050 h 4791777"/>
                <a:gd name="connsiteX27" fmla="*/ 269155 w 4893730"/>
                <a:gd name="connsiteY27" fmla="*/ 0 h 4791777"/>
                <a:gd name="connsiteX28" fmla="*/ 538311 w 4893730"/>
                <a:gd name="connsiteY28" fmla="*/ 268927 h 4791777"/>
                <a:gd name="connsiteX29" fmla="*/ 538311 w 4893730"/>
                <a:gd name="connsiteY29" fmla="*/ 4253925 h 4791777"/>
                <a:gd name="connsiteX30" fmla="*/ 4624575 w 4893730"/>
                <a:gd name="connsiteY30" fmla="*/ 4253925 h 4791777"/>
                <a:gd name="connsiteX31" fmla="*/ 4893730 w 4893730"/>
                <a:gd name="connsiteY31" fmla="*/ 4522851 h 4791777"/>
                <a:gd name="connsiteX32" fmla="*/ 4624575 w 4893730"/>
                <a:gd name="connsiteY32" fmla="*/ 4791777 h 4791777"/>
                <a:gd name="connsiteX33" fmla="*/ 269155 w 4893730"/>
                <a:gd name="connsiteY33" fmla="*/ 4791777 h 4791777"/>
                <a:gd name="connsiteX34" fmla="*/ 0 w 4893730"/>
                <a:gd name="connsiteY34" fmla="*/ 4522851 h 4791777"/>
                <a:gd name="connsiteX35" fmla="*/ 0 w 4893730"/>
                <a:gd name="connsiteY35" fmla="*/ 268927 h 4791777"/>
                <a:gd name="connsiteX36" fmla="*/ 269155 w 4893730"/>
                <a:gd name="connsiteY36" fmla="*/ 0 h 4791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4893730" h="4791777">
                  <a:moveTo>
                    <a:pt x="3713863" y="2130808"/>
                  </a:moveTo>
                  <a:cubicBezTo>
                    <a:pt x="3713863" y="2130808"/>
                    <a:pt x="3713863" y="2130808"/>
                    <a:pt x="4426142" y="2130808"/>
                  </a:cubicBezTo>
                  <a:cubicBezTo>
                    <a:pt x="4524387" y="2130808"/>
                    <a:pt x="4598071" y="2203982"/>
                    <a:pt x="4598071" y="2301547"/>
                  </a:cubicBezTo>
                  <a:cubicBezTo>
                    <a:pt x="4598071" y="2301547"/>
                    <a:pt x="4598071" y="2301547"/>
                    <a:pt x="4598071" y="3886978"/>
                  </a:cubicBezTo>
                  <a:cubicBezTo>
                    <a:pt x="4598071" y="3984543"/>
                    <a:pt x="4524387" y="4057717"/>
                    <a:pt x="4426142" y="4057717"/>
                  </a:cubicBezTo>
                  <a:cubicBezTo>
                    <a:pt x="4426142" y="4057717"/>
                    <a:pt x="4426142" y="4057717"/>
                    <a:pt x="3713863" y="4057717"/>
                  </a:cubicBezTo>
                  <a:cubicBezTo>
                    <a:pt x="3615618" y="4057717"/>
                    <a:pt x="3517372" y="3984543"/>
                    <a:pt x="3517372" y="3886978"/>
                  </a:cubicBezTo>
                  <a:cubicBezTo>
                    <a:pt x="3517372" y="3886978"/>
                    <a:pt x="3517372" y="3886978"/>
                    <a:pt x="3517372" y="2301547"/>
                  </a:cubicBezTo>
                  <a:cubicBezTo>
                    <a:pt x="3517372" y="2203982"/>
                    <a:pt x="3615618" y="2130808"/>
                    <a:pt x="3713863" y="2130808"/>
                  </a:cubicBezTo>
                  <a:close/>
                  <a:moveTo>
                    <a:pt x="904368" y="1223432"/>
                  </a:moveTo>
                  <a:cubicBezTo>
                    <a:pt x="904368" y="1223432"/>
                    <a:pt x="904368" y="1223432"/>
                    <a:pt x="1609930" y="1223432"/>
                  </a:cubicBezTo>
                  <a:cubicBezTo>
                    <a:pt x="1731578" y="1223432"/>
                    <a:pt x="1804567" y="1296733"/>
                    <a:pt x="1804567" y="1394467"/>
                  </a:cubicBezTo>
                  <a:cubicBezTo>
                    <a:pt x="1804567" y="1394467"/>
                    <a:pt x="1804567" y="1394467"/>
                    <a:pt x="1804567" y="3886683"/>
                  </a:cubicBezTo>
                  <a:cubicBezTo>
                    <a:pt x="1804567" y="3984417"/>
                    <a:pt x="1731578" y="4057717"/>
                    <a:pt x="1609930" y="4057717"/>
                  </a:cubicBezTo>
                  <a:cubicBezTo>
                    <a:pt x="1609930" y="4057717"/>
                    <a:pt x="1609930" y="4057717"/>
                    <a:pt x="904368" y="4057717"/>
                  </a:cubicBezTo>
                  <a:cubicBezTo>
                    <a:pt x="807049" y="4057717"/>
                    <a:pt x="734060" y="3984417"/>
                    <a:pt x="734060" y="3886683"/>
                  </a:cubicBezTo>
                  <a:cubicBezTo>
                    <a:pt x="734060" y="3886683"/>
                    <a:pt x="734060" y="3886683"/>
                    <a:pt x="734060" y="1394467"/>
                  </a:cubicBezTo>
                  <a:cubicBezTo>
                    <a:pt x="734060" y="1296733"/>
                    <a:pt x="807049" y="1223432"/>
                    <a:pt x="904368" y="1223432"/>
                  </a:cubicBezTo>
                  <a:close/>
                  <a:moveTo>
                    <a:pt x="2325453" y="316050"/>
                  </a:moveTo>
                  <a:cubicBezTo>
                    <a:pt x="2325453" y="316050"/>
                    <a:pt x="2325453" y="316050"/>
                    <a:pt x="3031014" y="316050"/>
                  </a:cubicBezTo>
                  <a:cubicBezTo>
                    <a:pt x="3128333" y="316050"/>
                    <a:pt x="3201322" y="389416"/>
                    <a:pt x="3201322" y="487238"/>
                  </a:cubicBezTo>
                  <a:cubicBezTo>
                    <a:pt x="3201322" y="487238"/>
                    <a:pt x="3201322" y="487238"/>
                    <a:pt x="3201322" y="3886530"/>
                  </a:cubicBezTo>
                  <a:cubicBezTo>
                    <a:pt x="3201322" y="3984351"/>
                    <a:pt x="3128333" y="4057717"/>
                    <a:pt x="3031014" y="4057717"/>
                  </a:cubicBezTo>
                  <a:cubicBezTo>
                    <a:pt x="3031014" y="4057717"/>
                    <a:pt x="3031014" y="4057717"/>
                    <a:pt x="2325453" y="4057717"/>
                  </a:cubicBezTo>
                  <a:cubicBezTo>
                    <a:pt x="2203804" y="4057717"/>
                    <a:pt x="2130815" y="3984351"/>
                    <a:pt x="2130815" y="3886530"/>
                  </a:cubicBezTo>
                  <a:cubicBezTo>
                    <a:pt x="2130815" y="3886530"/>
                    <a:pt x="2130815" y="3886530"/>
                    <a:pt x="2130815" y="487238"/>
                  </a:cubicBezTo>
                  <a:cubicBezTo>
                    <a:pt x="2130815" y="389416"/>
                    <a:pt x="2203804" y="316050"/>
                    <a:pt x="2325453" y="316050"/>
                  </a:cubicBezTo>
                  <a:close/>
                  <a:moveTo>
                    <a:pt x="269155" y="0"/>
                  </a:moveTo>
                  <a:cubicBezTo>
                    <a:pt x="415967" y="0"/>
                    <a:pt x="538311" y="122239"/>
                    <a:pt x="538311" y="268927"/>
                  </a:cubicBezTo>
                  <a:cubicBezTo>
                    <a:pt x="538311" y="268927"/>
                    <a:pt x="538311" y="268927"/>
                    <a:pt x="538311" y="4253925"/>
                  </a:cubicBezTo>
                  <a:cubicBezTo>
                    <a:pt x="538311" y="4253925"/>
                    <a:pt x="538311" y="4253925"/>
                    <a:pt x="4624575" y="4253925"/>
                  </a:cubicBezTo>
                  <a:cubicBezTo>
                    <a:pt x="4771387" y="4253925"/>
                    <a:pt x="4893730" y="4376164"/>
                    <a:pt x="4893730" y="4522851"/>
                  </a:cubicBezTo>
                  <a:cubicBezTo>
                    <a:pt x="4893730" y="4669538"/>
                    <a:pt x="4771387" y="4791777"/>
                    <a:pt x="4624575" y="4791777"/>
                  </a:cubicBezTo>
                  <a:cubicBezTo>
                    <a:pt x="4624575" y="4791777"/>
                    <a:pt x="4624575" y="4791777"/>
                    <a:pt x="269155" y="4791777"/>
                  </a:cubicBezTo>
                  <a:cubicBezTo>
                    <a:pt x="122344" y="4791777"/>
                    <a:pt x="0" y="4669538"/>
                    <a:pt x="0" y="4522851"/>
                  </a:cubicBezTo>
                  <a:cubicBezTo>
                    <a:pt x="0" y="4522851"/>
                    <a:pt x="0" y="4522851"/>
                    <a:pt x="0" y="268927"/>
                  </a:cubicBezTo>
                  <a:cubicBezTo>
                    <a:pt x="0" y="122239"/>
                    <a:pt x="122344" y="0"/>
                    <a:pt x="269155"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37148" tIns="109719" rIns="137148" bIns="109719"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699261"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9" name="Rectangle 88"/>
            <p:cNvSpPr/>
            <p:nvPr/>
          </p:nvSpPr>
          <p:spPr bwMode="auto">
            <a:xfrm rot="2745734">
              <a:off x="279530" y="1141266"/>
              <a:ext cx="1260714" cy="1255193"/>
            </a:xfrm>
            <a:prstGeom prst="rect">
              <a:avLst/>
            </a:prstGeom>
            <a:solidFill>
              <a:schemeClr val="tx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0" name="Rectangle 89"/>
            <p:cNvSpPr/>
            <p:nvPr/>
          </p:nvSpPr>
          <p:spPr bwMode="auto">
            <a:xfrm rot="2745734">
              <a:off x="292433" y="3819160"/>
              <a:ext cx="1610349" cy="1235003"/>
            </a:xfrm>
            <a:prstGeom prst="rect">
              <a:avLst/>
            </a:prstGeom>
            <a:solidFill>
              <a:schemeClr val="tx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2" name="Rectangle 91"/>
            <p:cNvSpPr/>
            <p:nvPr/>
          </p:nvSpPr>
          <p:spPr bwMode="auto">
            <a:xfrm rot="2745734">
              <a:off x="1315610" y="4915701"/>
              <a:ext cx="1263370" cy="1255989"/>
            </a:xfrm>
            <a:prstGeom prst="rect">
              <a:avLst/>
            </a:prstGeom>
            <a:solidFill>
              <a:schemeClr val="tx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40" name="TextBox 39"/>
          <p:cNvSpPr txBox="1"/>
          <p:nvPr/>
        </p:nvSpPr>
        <p:spPr>
          <a:xfrm>
            <a:off x="3" y="51415"/>
            <a:ext cx="2849058" cy="430887"/>
          </a:xfrm>
          <a:prstGeom prst="rect">
            <a:avLst/>
          </a:prstGeom>
        </p:spPr>
        <p:txBody>
          <a:bodyPr wrap="square">
            <a:spAutoFit/>
          </a:bodyPr>
          <a:lstStyle>
            <a:defPPr>
              <a:defRPr lang="en-US"/>
            </a:defPPr>
            <a:lvl1pPr defTabSz="914192">
              <a:defRPr sz="2800" b="1" spc="-100">
                <a:ln w="3175">
                  <a:noFill/>
                </a:ln>
                <a:solidFill>
                  <a:srgbClr val="F2C812"/>
                </a:solidFill>
                <a:latin typeface="Segoe UI" panose="020B0502040204020203" pitchFamily="34" charset="0"/>
                <a:ea typeface="ＭＳ Ｐゴシック" charset="0"/>
                <a:cs typeface="Segoe UI" panose="020B0502040204020203" pitchFamily="34" charset="0"/>
              </a:defRPr>
            </a:lvl1pPr>
          </a:lstStyle>
          <a:p>
            <a:pPr marL="0" marR="0" lvl="0" indent="0" algn="l" defTabSz="914192" rtl="0" eaLnBrk="1" fontAlgn="auto" latinLnBrk="0" hangingPunct="1">
              <a:lnSpc>
                <a:spcPct val="100000"/>
              </a:lnSpc>
              <a:spcBef>
                <a:spcPts val="0"/>
              </a:spcBef>
              <a:spcAft>
                <a:spcPts val="0"/>
              </a:spcAft>
              <a:buClrTx/>
              <a:buSzTx/>
              <a:buFontTx/>
              <a:buNone/>
              <a:tabLst/>
              <a:defRPr/>
            </a:pPr>
            <a:r>
              <a:rPr kumimoji="0" lang="en-US" sz="2200" b="1" i="0" u="none" strike="noStrike" kern="1200" cap="none" spc="-100" normalizeH="0" baseline="0" noProof="0">
                <a:ln w="3175">
                  <a:noFill/>
                </a:ln>
                <a:solidFill>
                  <a:srgbClr val="F2C812"/>
                </a:solidFill>
                <a:effectLst/>
                <a:uLnTx/>
                <a:uFillTx/>
                <a:latin typeface="Segoe UI Light"/>
                <a:ea typeface="ＭＳ Ｐゴシック" charset="0"/>
                <a:cs typeface="Segoe UI" panose="020B0502040204020203" pitchFamily="34" charset="0"/>
              </a:rPr>
              <a:t>Power BI Desktop</a:t>
            </a:r>
          </a:p>
        </p:txBody>
      </p:sp>
      <p:sp>
        <p:nvSpPr>
          <p:cNvPr id="41" name="Rectangle 40"/>
          <p:cNvSpPr/>
          <p:nvPr/>
        </p:nvSpPr>
        <p:spPr bwMode="auto">
          <a:xfrm rot="2745734">
            <a:off x="825067" y="3494250"/>
            <a:ext cx="1260714" cy="370170"/>
          </a:xfrm>
          <a:prstGeom prst="rect">
            <a:avLst/>
          </a:prstGeom>
          <a:solidFill>
            <a:schemeClr val="tx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4" name="Picture 3"/>
          <p:cNvPicPr>
            <a:picLocks noChangeAspect="1"/>
          </p:cNvPicPr>
          <p:nvPr/>
        </p:nvPicPr>
        <p:blipFill>
          <a:blip r:embed="rId3"/>
          <a:stretch>
            <a:fillRect/>
          </a:stretch>
        </p:blipFill>
        <p:spPr>
          <a:xfrm>
            <a:off x="3379523" y="1783009"/>
            <a:ext cx="5558854" cy="4046519"/>
          </a:xfrm>
          <a:prstGeom prst="rect">
            <a:avLst/>
          </a:prstGeom>
          <a:ln>
            <a:noFill/>
          </a:ln>
          <a:effectLst>
            <a:outerShdw blurRad="190500" algn="tl" rotWithShape="0">
              <a:srgbClr val="000000">
                <a:alpha val="70000"/>
              </a:srgbClr>
            </a:outerShdw>
          </a:effectLst>
        </p:spPr>
      </p:pic>
      <p:sp>
        <p:nvSpPr>
          <p:cNvPr id="38" name="Text Placeholder 2"/>
          <p:cNvSpPr txBox="1">
            <a:spLocks/>
          </p:cNvSpPr>
          <p:nvPr/>
        </p:nvSpPr>
        <p:spPr>
          <a:xfrm>
            <a:off x="8758723" y="1700982"/>
            <a:ext cx="3433277" cy="897374"/>
          </a:xfrm>
          <a:prstGeom prst="rect">
            <a:avLst/>
          </a:prstGeom>
        </p:spPr>
        <p:txBody>
          <a:bodyPr vert="horz" wrap="square" lIns="182880" tIns="146304" rIns="182880" bIns="146304" rtlCol="0">
            <a:noAutofit/>
          </a:bodyPr>
          <a:lstStyle>
            <a:lvl1pPr marL="182845" marR="0"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3921" kern="1200" spc="0" baseline="0">
                <a:gradFill>
                  <a:gsLst>
                    <a:gs pos="1250">
                      <a:schemeClr val="tx2"/>
                    </a:gs>
                    <a:gs pos="99000">
                      <a:schemeClr val="tx2"/>
                    </a:gs>
                  </a:gsLst>
                  <a:lin ang="5400000" scaled="0"/>
                </a:gradFill>
                <a:latin typeface="+mj-lt"/>
                <a:ea typeface="+mn-ea"/>
                <a:cs typeface="+mn-cs"/>
              </a:defRPr>
            </a:lvl1pPr>
            <a:lvl2pPr marL="365690" marR="0"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2400" kern="1200" spc="0" baseline="0">
                <a:solidFill>
                  <a:schemeClr val="tx2"/>
                </a:solidFill>
                <a:latin typeface="+mj-lt"/>
                <a:ea typeface="+mn-ea"/>
                <a:cs typeface="+mn-cs"/>
              </a:defRPr>
            </a:lvl2pPr>
            <a:lvl3pPr marL="548535" marR="0"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2000" kern="1200" spc="0" baseline="0">
                <a:solidFill>
                  <a:schemeClr val="tx2"/>
                </a:solidFill>
                <a:latin typeface="+mj-lt"/>
                <a:ea typeface="+mn-ea"/>
                <a:cs typeface="+mn-cs"/>
              </a:defRPr>
            </a:lvl3pPr>
            <a:lvl4pPr marL="733802" marR="0" indent="-28569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1765" kern="1200" spc="0" baseline="0">
                <a:solidFill>
                  <a:schemeClr val="tx2"/>
                </a:solidFill>
                <a:latin typeface="+mn-lt"/>
                <a:ea typeface="+mn-ea"/>
                <a:cs typeface="+mn-cs"/>
              </a:defRPr>
            </a:lvl4pPr>
            <a:lvl5pPr marL="957856" marR="0" indent="-28569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1765" kern="1200" spc="0" baseline="0">
                <a:solidFill>
                  <a:schemeClr val="tx2"/>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r>
              <a:rPr kumimoji="0" lang="en-US" sz="2000" b="0" i="0" u="none" strike="noStrike" kern="1200" cap="none" spc="0" normalizeH="0" baseline="0" noProof="0">
                <a:ln>
                  <a:noFill/>
                </a:ln>
                <a:solidFill>
                  <a:srgbClr val="000000"/>
                </a:solidFill>
                <a:effectLst/>
                <a:uLnTx/>
                <a:uFillTx/>
                <a:latin typeface="Segoe UI Light"/>
                <a:ea typeface="+mn-ea"/>
                <a:cs typeface="+mn-cs"/>
              </a:rPr>
              <a:t>Plotting data requires </a:t>
            </a:r>
            <a:r>
              <a:rPr kumimoji="0" lang="en-US" sz="2000" b="1" i="0" u="none" strike="noStrike" kern="1200" cap="none" spc="0" normalizeH="0" baseline="0" noProof="0">
                <a:ln>
                  <a:noFill/>
                </a:ln>
                <a:solidFill>
                  <a:srgbClr val="000000"/>
                </a:solidFill>
                <a:effectLst/>
                <a:uLnTx/>
                <a:uFillTx/>
                <a:latin typeface="Segoe UI Light"/>
                <a:ea typeface="+mn-ea"/>
                <a:cs typeface="+mn-cs"/>
              </a:rPr>
              <a:t>internet connection</a:t>
            </a: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0" i="0" u="none" strike="noStrike" kern="1200" cap="none" spc="0" normalizeH="0" baseline="0" noProof="0">
              <a:ln>
                <a:noFill/>
              </a:ln>
              <a:solidFill>
                <a:srgbClr val="000000"/>
              </a:solidFill>
              <a:effectLst/>
              <a:uLnTx/>
              <a:uFillTx/>
              <a:latin typeface="Segoe UI Light"/>
              <a:ea typeface="+mn-ea"/>
              <a:cs typeface="+mn-cs"/>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r>
              <a:rPr kumimoji="0" lang="en-US" sz="2000" b="1" i="0" u="none" strike="noStrike" kern="1200" cap="none" spc="0" normalizeH="0" baseline="0" noProof="0">
                <a:ln>
                  <a:noFill/>
                </a:ln>
                <a:solidFill>
                  <a:srgbClr val="000000"/>
                </a:solidFill>
                <a:effectLst/>
                <a:uLnTx/>
                <a:uFillTx/>
                <a:latin typeface="Segoe UI Light"/>
                <a:ea typeface="+mn-ea"/>
                <a:cs typeface="+mn-cs"/>
              </a:rPr>
              <a:t>Bing</a:t>
            </a:r>
            <a:r>
              <a:rPr kumimoji="0" lang="en-US" sz="2000" b="0" i="0" u="none" strike="noStrike" kern="1200" cap="none" spc="0" normalizeH="0" baseline="0" noProof="0">
                <a:ln>
                  <a:noFill/>
                </a:ln>
                <a:solidFill>
                  <a:srgbClr val="000000"/>
                </a:solidFill>
                <a:effectLst/>
                <a:uLnTx/>
                <a:uFillTx/>
                <a:latin typeface="Segoe UI Light"/>
                <a:ea typeface="+mn-ea"/>
                <a:cs typeface="+mn-cs"/>
              </a:rPr>
              <a:t> is used to return the location</a:t>
            </a: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0" i="0" u="none" strike="noStrike" kern="1200" cap="none" spc="0" normalizeH="0" baseline="0" noProof="0">
              <a:ln>
                <a:noFill/>
              </a:ln>
              <a:solidFill>
                <a:srgbClr val="000000"/>
              </a:solidFill>
              <a:effectLst/>
              <a:uLnTx/>
              <a:uFillTx/>
              <a:latin typeface="Segoe UI Light"/>
              <a:ea typeface="+mn-ea"/>
              <a:cs typeface="+mn-cs"/>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r>
              <a:rPr kumimoji="0" lang="en-US" sz="2000" b="1" i="0" u="none" strike="noStrike" kern="1200" cap="none" spc="0" normalizeH="0" baseline="0" noProof="0">
                <a:ln>
                  <a:noFill/>
                </a:ln>
                <a:solidFill>
                  <a:srgbClr val="000000"/>
                </a:solidFill>
                <a:effectLst/>
                <a:uLnTx/>
                <a:uFillTx/>
                <a:latin typeface="Segoe UI Light"/>
                <a:ea typeface="+mn-ea"/>
                <a:cs typeface="+mn-cs"/>
              </a:rPr>
              <a:t>Latitude</a:t>
            </a:r>
            <a:r>
              <a:rPr kumimoji="0" lang="en-US" sz="2000" b="0" i="0" u="none" strike="noStrike" kern="1200" cap="none" spc="0" normalizeH="0" baseline="0" noProof="0">
                <a:ln>
                  <a:noFill/>
                </a:ln>
                <a:solidFill>
                  <a:srgbClr val="000000"/>
                </a:solidFill>
                <a:effectLst/>
                <a:uLnTx/>
                <a:uFillTx/>
                <a:latin typeface="Segoe UI Light"/>
                <a:ea typeface="+mn-ea"/>
                <a:cs typeface="+mn-cs"/>
              </a:rPr>
              <a:t> and </a:t>
            </a:r>
            <a:r>
              <a:rPr kumimoji="0" lang="en-US" sz="2000" b="1" i="0" u="none" strike="noStrike" kern="1200" cap="none" spc="0" normalizeH="0" baseline="0" noProof="0">
                <a:ln>
                  <a:noFill/>
                </a:ln>
                <a:solidFill>
                  <a:srgbClr val="000000"/>
                </a:solidFill>
                <a:effectLst/>
                <a:uLnTx/>
                <a:uFillTx/>
                <a:latin typeface="Segoe UI Light"/>
                <a:ea typeface="+mn-ea"/>
                <a:cs typeface="+mn-cs"/>
              </a:rPr>
              <a:t>Longitude</a:t>
            </a:r>
            <a:r>
              <a:rPr kumimoji="0" lang="en-US" sz="2000" b="0" i="0" u="none" strike="noStrike" kern="1200" cap="none" spc="0" normalizeH="0" baseline="0" noProof="0">
                <a:ln>
                  <a:noFill/>
                </a:ln>
                <a:solidFill>
                  <a:srgbClr val="000000"/>
                </a:solidFill>
                <a:effectLst/>
                <a:uLnTx/>
                <a:uFillTx/>
                <a:latin typeface="Segoe UI Light"/>
                <a:ea typeface="+mn-ea"/>
                <a:cs typeface="+mn-cs"/>
              </a:rPr>
              <a:t> can be used, but…</a:t>
            </a: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0" i="0" u="none" strike="noStrike" kern="1200" cap="none" spc="0" normalizeH="0" baseline="0" noProof="0">
              <a:ln>
                <a:noFill/>
              </a:ln>
              <a:solidFill>
                <a:srgbClr val="000000"/>
              </a:solidFill>
              <a:effectLst/>
              <a:uLnTx/>
              <a:uFillTx/>
              <a:latin typeface="Segoe UI Light"/>
              <a:ea typeface="+mn-ea"/>
              <a:cs typeface="+mn-cs"/>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r>
              <a:rPr kumimoji="0" lang="en-US" sz="2000" b="1" i="0" u="none" strike="noStrike" kern="1200" cap="none" spc="0" normalizeH="0" baseline="0" noProof="0">
                <a:ln>
                  <a:noFill/>
                </a:ln>
                <a:solidFill>
                  <a:srgbClr val="000000"/>
                </a:solidFill>
                <a:effectLst/>
                <a:uLnTx/>
                <a:uFillTx/>
                <a:latin typeface="Segoe UI Light"/>
                <a:ea typeface="+mn-ea"/>
                <a:cs typeface="+mn-cs"/>
              </a:rPr>
              <a:t>Location names</a:t>
            </a:r>
            <a:r>
              <a:rPr kumimoji="0" lang="en-US" sz="2000" b="0" i="0" u="none" strike="noStrike" kern="1200" cap="none" spc="0" normalizeH="0" baseline="0" noProof="0">
                <a:ln>
                  <a:noFill/>
                </a:ln>
                <a:solidFill>
                  <a:srgbClr val="000000"/>
                </a:solidFill>
                <a:effectLst/>
                <a:uLnTx/>
                <a:uFillTx/>
                <a:latin typeface="Segoe UI Light"/>
                <a:ea typeface="+mn-ea"/>
                <a:cs typeface="+mn-cs"/>
              </a:rPr>
              <a:t> are also mapped automatically</a:t>
            </a: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0" i="0" u="none" strike="noStrike" kern="1200" cap="none" spc="0" normalizeH="0" baseline="0" noProof="0">
              <a:ln>
                <a:noFill/>
              </a:ln>
              <a:solidFill>
                <a:srgbClr val="000000"/>
              </a:solidFill>
              <a:effectLst/>
              <a:uLnTx/>
              <a:uFillTx/>
              <a:latin typeface="Segoe UI Light"/>
              <a:ea typeface="+mn-ea"/>
              <a:cs typeface="+mn-cs"/>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r>
              <a:rPr kumimoji="0" lang="en-US" sz="2000" b="1" i="0" u="none" strike="noStrike" kern="1200" cap="none" spc="0" normalizeH="0" baseline="0" noProof="0">
                <a:ln>
                  <a:noFill/>
                </a:ln>
                <a:solidFill>
                  <a:srgbClr val="000000"/>
                </a:solidFill>
                <a:effectLst/>
                <a:uLnTx/>
                <a:uFillTx/>
                <a:latin typeface="Segoe UI Light"/>
                <a:ea typeface="+mn-ea"/>
                <a:cs typeface="+mn-cs"/>
              </a:rPr>
              <a:t>Combine attributes </a:t>
            </a:r>
            <a:r>
              <a:rPr kumimoji="0" lang="en-US" sz="2000" b="0" i="0" u="none" strike="noStrike" kern="1200" cap="none" spc="0" normalizeH="0" baseline="0" noProof="0">
                <a:ln>
                  <a:noFill/>
                </a:ln>
                <a:solidFill>
                  <a:srgbClr val="000000"/>
                </a:solidFill>
                <a:effectLst/>
                <a:uLnTx/>
                <a:uFillTx/>
                <a:latin typeface="Segoe UI Light"/>
                <a:ea typeface="+mn-ea"/>
                <a:cs typeface="+mn-cs"/>
              </a:rPr>
              <a:t>for increased accuracy and use </a:t>
            </a:r>
            <a:r>
              <a:rPr kumimoji="0" lang="en-US" sz="2000" b="1" i="0" u="none" strike="noStrike" kern="1200" cap="none" spc="0" normalizeH="0" baseline="0" noProof="0">
                <a:ln>
                  <a:noFill/>
                </a:ln>
                <a:solidFill>
                  <a:srgbClr val="000000"/>
                </a:solidFill>
                <a:effectLst/>
                <a:uLnTx/>
                <a:uFillTx/>
                <a:latin typeface="Segoe UI Light"/>
                <a:ea typeface="+mn-ea"/>
                <a:cs typeface="+mn-cs"/>
              </a:rPr>
              <a:t>data categories</a:t>
            </a: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0" i="0" u="none" strike="noStrike" kern="1200" cap="none" spc="0" normalizeH="0" baseline="0" noProof="0">
              <a:ln>
                <a:noFill/>
              </a:ln>
              <a:solidFill>
                <a:srgbClr val="000000"/>
              </a:solidFill>
              <a:effectLst/>
              <a:uLnTx/>
              <a:uFillTx/>
              <a:latin typeface="Segoe UI Light"/>
              <a:ea typeface="+mn-ea"/>
              <a:cs typeface="+mn-cs"/>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0" i="0" u="none" strike="noStrike" kern="1200" cap="none" spc="0" normalizeH="0" baseline="0" noProof="0">
              <a:ln>
                <a:noFill/>
              </a:ln>
              <a:solidFill>
                <a:srgbClr val="000000"/>
              </a:solidFill>
              <a:effectLst/>
              <a:uLnTx/>
              <a:uFillTx/>
              <a:latin typeface="Segoe UI Light"/>
              <a:ea typeface="+mn-ea"/>
              <a:cs typeface="+mn-cs"/>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0" i="0" u="none" strike="noStrike" kern="1200" cap="none" spc="0" normalizeH="0" baseline="0" noProof="0">
              <a:ln>
                <a:noFill/>
              </a:ln>
              <a:solidFill>
                <a:srgbClr val="000000"/>
              </a:solidFill>
              <a:effectLst/>
              <a:uLnTx/>
              <a:uFillTx/>
              <a:latin typeface="Segoe UI Light"/>
              <a:ea typeface="+mn-ea"/>
              <a:cs typeface="+mn-cs"/>
            </a:endParaRPr>
          </a:p>
        </p:txBody>
      </p:sp>
    </p:spTree>
    <p:extLst>
      <p:ext uri="{BB962C8B-B14F-4D97-AF65-F5344CB8AC3E}">
        <p14:creationId xmlns:p14="http://schemas.microsoft.com/office/powerpoint/2010/main" val="38824725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 name="Title 10"/>
          <p:cNvSpPr txBox="1">
            <a:spLocks/>
          </p:cNvSpPr>
          <p:nvPr/>
        </p:nvSpPr>
        <p:spPr>
          <a:xfrm>
            <a:off x="2982006" y="9056"/>
            <a:ext cx="9092764" cy="665151"/>
          </a:xfrm>
          <a:prstGeom prst="rect">
            <a:avLst/>
          </a:prstGeom>
          <a:noFill/>
        </p:spPr>
        <p:txBody>
          <a:bodyPr vert="horz" wrap="square" lIns="0" tIns="91440" rIns="0" bIns="91440" rtlCol="0" anchor="t">
            <a:noAutofit/>
          </a:bodyPr>
          <a:lstStyle>
            <a:lvl1pPr defTabSz="914367">
              <a:lnSpc>
                <a:spcPct val="90000"/>
              </a:lnSpc>
              <a:spcBef>
                <a:spcPct val="0"/>
              </a:spcBef>
              <a:buNone/>
              <a:defRPr lang="en-US" sz="5294" b="0" cap="none" spc="-100" baseline="0" dirty="0" smtClean="0">
                <a:ln w="3175">
                  <a:noFill/>
                </a:ln>
                <a:solidFill>
                  <a:schemeClr val="tx2"/>
                </a:solidFill>
                <a:effectLst/>
                <a:latin typeface="+mj-lt"/>
                <a:cs typeface="Segoe UI" pitchFamily="34" charset="0"/>
              </a:defRPr>
            </a:lvl1pPr>
          </a:lstStyle>
          <a:p>
            <a:pPr marL="168275"/>
            <a:r>
              <a:rPr lang="en-US" sz="3600">
                <a:solidFill>
                  <a:schemeClr val="tx1"/>
                </a:solidFill>
              </a:rPr>
              <a:t>Faster time to solution and ease of management</a:t>
            </a:r>
            <a:endParaRPr lang="en-US" sz="3600" b="1">
              <a:solidFill>
                <a:schemeClr val="tx1"/>
              </a:solidFill>
            </a:endParaRPr>
          </a:p>
          <a:p>
            <a:pPr marL="168275"/>
            <a:endParaRPr lang="en-IN" sz="3600">
              <a:solidFill>
                <a:schemeClr val="tx1"/>
              </a:solidFill>
            </a:endParaRPr>
          </a:p>
        </p:txBody>
      </p:sp>
      <p:sp>
        <p:nvSpPr>
          <p:cNvPr id="49" name="Rectangle 48"/>
          <p:cNvSpPr/>
          <p:nvPr/>
        </p:nvSpPr>
        <p:spPr>
          <a:xfrm>
            <a:off x="2861163" y="1160367"/>
            <a:ext cx="9092764" cy="5339923"/>
          </a:xfrm>
          <a:prstGeom prst="rect">
            <a:avLst/>
          </a:prstGeom>
        </p:spPr>
        <p:txBody>
          <a:bodyPr wrap="square">
            <a:spAutoFit/>
          </a:bodyPr>
          <a:lstStyle/>
          <a:p>
            <a:pPr marL="342900" marR="0" lvl="0" indent="-342900">
              <a:spcBef>
                <a:spcPts val="600"/>
              </a:spcBef>
              <a:spcAft>
                <a:spcPts val="600"/>
              </a:spcAft>
              <a:buFont typeface="Symbol" panose="05050102010706020507" pitchFamily="18" charset="2"/>
              <a:buChar char=""/>
            </a:pPr>
            <a:r>
              <a:rPr lang="en-US" sz="2400" dirty="0">
                <a:latin typeface="+mj-lt"/>
                <a:ea typeface="Calibri" panose="020F0502020204030204" pitchFamily="34" charset="0"/>
                <a:cs typeface="Times New Roman" panose="02020603050405020304" pitchFamily="18" charset="0"/>
              </a:rPr>
              <a:t>Power BI is a Software as a Service (SaaS) BI solution</a:t>
            </a:r>
          </a:p>
          <a:p>
            <a:pPr marL="800100" lvl="1" indent="-342900">
              <a:buFont typeface="Courier New" panose="02070309020205020404" pitchFamily="49" charset="0"/>
              <a:buChar char="o"/>
            </a:pPr>
            <a:r>
              <a:rPr lang="en-US" dirty="0">
                <a:latin typeface="+mj-lt"/>
                <a:ea typeface="Calibri" panose="020F0502020204030204" pitchFamily="34" charset="0"/>
                <a:cs typeface="Times New Roman" panose="02020603050405020304" pitchFamily="18" charset="0"/>
              </a:rPr>
              <a:t>No need to setup your own hardware</a:t>
            </a:r>
          </a:p>
          <a:p>
            <a:pPr marL="800100" lvl="1" indent="-342900">
              <a:buFont typeface="Courier New" panose="02070309020205020404" pitchFamily="49" charset="0"/>
              <a:buChar char="o"/>
            </a:pPr>
            <a:r>
              <a:rPr lang="en-US" dirty="0">
                <a:latin typeface="+mj-lt"/>
                <a:ea typeface="Calibri" panose="020F0502020204030204" pitchFamily="34" charset="0"/>
                <a:cs typeface="Times New Roman" panose="02020603050405020304" pitchFamily="18" charset="0"/>
              </a:rPr>
              <a:t>99.9% uptime SLA</a:t>
            </a:r>
          </a:p>
          <a:p>
            <a:pPr marL="800100" lvl="1" indent="-342900">
              <a:buFont typeface="Courier New" panose="02070309020205020404" pitchFamily="49" charset="0"/>
              <a:buChar char="o"/>
            </a:pPr>
            <a:r>
              <a:rPr lang="en-US" dirty="0">
                <a:latin typeface="+mj-lt"/>
                <a:ea typeface="Calibri" panose="020F0502020204030204" pitchFamily="34" charset="0"/>
                <a:cs typeface="Times New Roman" panose="02020603050405020304" pitchFamily="18" charset="0"/>
              </a:rPr>
              <a:t>Grows with your needs for number of users and data volumes</a:t>
            </a:r>
          </a:p>
          <a:p>
            <a:pPr marL="800100" lvl="1" indent="-342900">
              <a:buFont typeface="Courier New" panose="02070309020205020404" pitchFamily="49" charset="0"/>
              <a:buChar char="o"/>
            </a:pPr>
            <a:r>
              <a:rPr lang="en-US" dirty="0">
                <a:latin typeface="+mj-lt"/>
                <a:ea typeface="Calibri" panose="020F0502020204030204" pitchFamily="34" charset="0"/>
                <a:cs typeface="Times New Roman" panose="02020603050405020304" pitchFamily="18" charset="0"/>
              </a:rPr>
              <a:t>Ease of maintenance with automatic updates</a:t>
            </a:r>
          </a:p>
          <a:p>
            <a:pPr marL="342900" marR="0" lvl="0" indent="-342900">
              <a:spcBef>
                <a:spcPts val="600"/>
              </a:spcBef>
              <a:spcAft>
                <a:spcPts val="600"/>
              </a:spcAft>
              <a:buFont typeface="Symbol" panose="05050102010706020507" pitchFamily="18" charset="2"/>
              <a:buChar char=""/>
            </a:pPr>
            <a:r>
              <a:rPr lang="en-US" sz="2400" dirty="0">
                <a:latin typeface="+mj-lt"/>
                <a:ea typeface="Calibri" panose="020F0502020204030204" pitchFamily="34" charset="0"/>
                <a:cs typeface="Times New Roman" panose="02020603050405020304" pitchFamily="18" charset="0"/>
              </a:rPr>
              <a:t>Realize the benefits of a SaaS-based BI solution without moving your data to the cloud</a:t>
            </a:r>
          </a:p>
          <a:p>
            <a:pPr marL="342900" marR="0" lvl="0" indent="-342900">
              <a:spcBef>
                <a:spcPts val="600"/>
              </a:spcBef>
              <a:spcAft>
                <a:spcPts val="600"/>
              </a:spcAft>
              <a:buFont typeface="Symbol" panose="05050102010706020507" pitchFamily="18" charset="2"/>
              <a:buChar char=""/>
            </a:pPr>
            <a:r>
              <a:rPr lang="en-US" sz="2400" dirty="0">
                <a:latin typeface="+mj-lt"/>
                <a:ea typeface="Calibri" panose="020F0502020204030204" pitchFamily="34" charset="0"/>
                <a:cs typeface="Times New Roman" panose="02020603050405020304" pitchFamily="18" charset="0"/>
              </a:rPr>
              <a:t>More time to focus on business needs and creating better solutions for end users</a:t>
            </a:r>
          </a:p>
          <a:p>
            <a:pPr marL="342900" marR="0" lvl="0" indent="-342900">
              <a:spcBef>
                <a:spcPts val="600"/>
              </a:spcBef>
              <a:spcAft>
                <a:spcPts val="600"/>
              </a:spcAft>
              <a:buFont typeface="Symbol" panose="05050102010706020507" pitchFamily="18" charset="2"/>
              <a:buChar char=""/>
            </a:pPr>
            <a:r>
              <a:rPr lang="en-US" sz="2400" dirty="0">
                <a:latin typeface="+mj-lt"/>
                <a:ea typeface="Calibri" panose="020F0502020204030204" pitchFamily="34" charset="0"/>
                <a:cs typeface="Times New Roman" panose="02020603050405020304" pitchFamily="18" charset="0"/>
              </a:rPr>
              <a:t>Power BI will meet your security and compliance requirements</a:t>
            </a:r>
          </a:p>
          <a:p>
            <a:pPr marL="800100" lvl="1" indent="-342900">
              <a:buFont typeface="Courier New" panose="02070309020205020404" pitchFamily="49" charset="0"/>
              <a:buChar char="o"/>
            </a:pPr>
            <a:r>
              <a:rPr lang="en-US" dirty="0">
                <a:latin typeface="+mj-lt"/>
                <a:ea typeface="Calibri" panose="020F0502020204030204" pitchFamily="34" charset="0"/>
                <a:cs typeface="Times New Roman" panose="02020603050405020304" pitchFamily="18" charset="0"/>
              </a:rPr>
              <a:t>Use Azure Conditional Access policies for secure access</a:t>
            </a:r>
          </a:p>
          <a:p>
            <a:pPr marL="800100" lvl="1" indent="-342900">
              <a:buFont typeface="Courier New" panose="02070309020205020404" pitchFamily="49" charset="0"/>
              <a:buChar char="o"/>
            </a:pPr>
            <a:r>
              <a:rPr lang="en-US" dirty="0">
                <a:latin typeface="+mj-lt"/>
                <a:ea typeface="Calibri" panose="020F0502020204030204" pitchFamily="34" charset="0"/>
                <a:cs typeface="Times New Roman" panose="02020603050405020304" pitchFamily="18" charset="0"/>
              </a:rPr>
              <a:t>Manage users, groups, admins (in O365 admin portal)</a:t>
            </a:r>
          </a:p>
          <a:p>
            <a:pPr marL="800100" lvl="1" indent="-342900">
              <a:buFont typeface="Courier New" panose="02070309020205020404" pitchFamily="49" charset="0"/>
              <a:buChar char="o"/>
            </a:pPr>
            <a:r>
              <a:rPr lang="en-US" dirty="0">
                <a:latin typeface="+mj-lt"/>
                <a:ea typeface="Calibri" panose="020F0502020204030204" pitchFamily="34" charset="0"/>
                <a:cs typeface="Times New Roman" panose="02020603050405020304" pitchFamily="18" charset="0"/>
              </a:rPr>
              <a:t>View and search audit logs (in O365 Security and Compliance portal)</a:t>
            </a:r>
          </a:p>
          <a:p>
            <a:pPr marL="800100" lvl="1" indent="-342900">
              <a:buFont typeface="Courier New" panose="02070309020205020404" pitchFamily="49" charset="0"/>
              <a:buChar char="o"/>
            </a:pPr>
            <a:r>
              <a:rPr lang="en-US" dirty="0">
                <a:latin typeface="+mj-lt"/>
                <a:ea typeface="Calibri" panose="020F0502020204030204" pitchFamily="34" charset="0"/>
                <a:cs typeface="Times New Roman" panose="02020603050405020304" pitchFamily="18" charset="0"/>
              </a:rPr>
              <a:t>View usage metrics</a:t>
            </a:r>
          </a:p>
          <a:p>
            <a:pPr marL="800100" lvl="1" indent="-342900">
              <a:buFont typeface="Courier New" panose="02070309020205020404" pitchFamily="49" charset="0"/>
              <a:buChar char="o"/>
            </a:pPr>
            <a:r>
              <a:rPr lang="en-US" dirty="0">
                <a:latin typeface="+mj-lt"/>
                <a:ea typeface="Calibri" panose="020F0502020204030204" pitchFamily="34" charset="0"/>
                <a:cs typeface="Times New Roman" panose="02020603050405020304" pitchFamily="18" charset="0"/>
              </a:rPr>
              <a:t>Specify tenant settings – what features are available in your organization</a:t>
            </a:r>
          </a:p>
        </p:txBody>
      </p:sp>
      <p:sp>
        <p:nvSpPr>
          <p:cNvPr id="65" name="Rectangle 15"/>
          <p:cNvSpPr/>
          <p:nvPr/>
        </p:nvSpPr>
        <p:spPr bwMode="auto">
          <a:xfrm>
            <a:off x="2" y="487"/>
            <a:ext cx="2815441" cy="685702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66" name="TextBox 65"/>
          <p:cNvSpPr txBox="1"/>
          <p:nvPr/>
        </p:nvSpPr>
        <p:spPr>
          <a:xfrm>
            <a:off x="2" y="487"/>
            <a:ext cx="2815441" cy="683264"/>
          </a:xfrm>
          <a:prstGeom prst="rect">
            <a:avLst/>
          </a:prstGeom>
          <a:noFill/>
        </p:spPr>
        <p:txBody>
          <a:bodyPr wrap="square" lIns="182880" tIns="146304" rIns="182880" bIns="146304" rtlCol="0">
            <a:spAutoFit/>
          </a:bodyPr>
          <a:lstStyle>
            <a:defPPr>
              <a:defRPr lang="en-US"/>
            </a:defPPr>
            <a:lvl1pPr>
              <a:lnSpc>
                <a:spcPct val="90000"/>
              </a:lnSpc>
              <a:spcAft>
                <a:spcPts val="600"/>
              </a:spcAft>
              <a:defRPr sz="2800" b="1">
                <a:solidFill>
                  <a:srgbClr val="F2C812"/>
                </a:solidFill>
                <a:latin typeface="Segoe UI Light"/>
              </a:defRPr>
            </a:lvl1pPr>
          </a:lstStyle>
          <a:p>
            <a:r>
              <a:rPr lang="en-US"/>
              <a:t>IT challenges</a:t>
            </a:r>
          </a:p>
        </p:txBody>
      </p:sp>
      <p:grpSp>
        <p:nvGrpSpPr>
          <p:cNvPr id="3" name="Group 2"/>
          <p:cNvGrpSpPr/>
          <p:nvPr/>
        </p:nvGrpSpPr>
        <p:grpSpPr>
          <a:xfrm>
            <a:off x="151322" y="867914"/>
            <a:ext cx="2636411" cy="548640"/>
            <a:chOff x="179032" y="1123407"/>
            <a:chExt cx="2636411" cy="548640"/>
          </a:xfrm>
        </p:grpSpPr>
        <p:sp>
          <p:nvSpPr>
            <p:cNvPr id="67" name="Oval 147"/>
            <p:cNvSpPr/>
            <p:nvPr/>
          </p:nvSpPr>
          <p:spPr bwMode="auto">
            <a:xfrm>
              <a:off x="179032" y="1123407"/>
              <a:ext cx="548640" cy="548640"/>
            </a:xfrm>
            <a:prstGeom prst="ellipse">
              <a:avLst/>
            </a:prstGeom>
            <a:solidFill>
              <a:srgbClr val="FFCC00"/>
            </a:solidFill>
            <a:ln>
              <a:solidFill>
                <a:srgbClr val="F2C81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err="1">
                <a:gradFill>
                  <a:gsLst>
                    <a:gs pos="0">
                      <a:srgbClr val="FFFFFF"/>
                    </a:gs>
                    <a:gs pos="100000">
                      <a:srgbClr val="FFFFFF"/>
                    </a:gs>
                  </a:gsLst>
                  <a:lin ang="5400000" scaled="0"/>
                </a:gradFill>
                <a:ea typeface="Segoe UI" pitchFamily="34" charset="0"/>
                <a:cs typeface="Segoe UI" pitchFamily="34" charset="0"/>
              </a:endParaRPr>
            </a:p>
          </p:txBody>
        </p:sp>
        <p:sp>
          <p:nvSpPr>
            <p:cNvPr id="72" name="Rectangle 145"/>
            <p:cNvSpPr/>
            <p:nvPr/>
          </p:nvSpPr>
          <p:spPr bwMode="auto">
            <a:xfrm>
              <a:off x="805048" y="1206147"/>
              <a:ext cx="2010395" cy="3831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14367"/>
              <a:r>
                <a:rPr lang="en-US" sz="1400" b="1">
                  <a:solidFill>
                    <a:srgbClr val="F2C812"/>
                  </a:solidFill>
                  <a:cs typeface="Segoe UI Light" panose="020B0502040204020203" pitchFamily="34" charset="0"/>
                </a:rPr>
                <a:t>Management of BI systems</a:t>
              </a:r>
              <a:endParaRPr lang="en-US" sz="1200" b="1" i="1">
                <a:solidFill>
                  <a:srgbClr val="F2C812"/>
                </a:solidFill>
                <a:cs typeface="Segoe UI Light" panose="020B0502040204020203" pitchFamily="34" charset="0"/>
              </a:endParaRPr>
            </a:p>
          </p:txBody>
        </p:sp>
      </p:grpSp>
      <p:grpSp>
        <p:nvGrpSpPr>
          <p:cNvPr id="2" name="Group 1"/>
          <p:cNvGrpSpPr/>
          <p:nvPr/>
        </p:nvGrpSpPr>
        <p:grpSpPr>
          <a:xfrm>
            <a:off x="151322" y="1832204"/>
            <a:ext cx="2636411" cy="548640"/>
            <a:chOff x="212649" y="1959486"/>
            <a:chExt cx="2636411" cy="548640"/>
          </a:xfrm>
        </p:grpSpPr>
        <p:sp>
          <p:nvSpPr>
            <p:cNvPr id="79" name="Oval 147"/>
            <p:cNvSpPr/>
            <p:nvPr/>
          </p:nvSpPr>
          <p:spPr bwMode="auto">
            <a:xfrm>
              <a:off x="212649" y="1959486"/>
              <a:ext cx="548640" cy="548640"/>
            </a:xfrm>
            <a:prstGeom prst="ellipse">
              <a:avLst/>
            </a:prstGeom>
            <a:solidFill>
              <a:srgbClr val="FFCC00"/>
            </a:solidFill>
            <a:ln>
              <a:solidFill>
                <a:srgbClr val="F2C81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err="1">
                <a:gradFill>
                  <a:gsLst>
                    <a:gs pos="0">
                      <a:srgbClr val="FFFFFF"/>
                    </a:gs>
                    <a:gs pos="100000">
                      <a:srgbClr val="FFFFFF"/>
                    </a:gs>
                  </a:gsLst>
                  <a:lin ang="5400000" scaled="0"/>
                </a:gradFill>
                <a:ea typeface="Segoe UI" pitchFamily="34" charset="0"/>
                <a:cs typeface="Segoe UI" pitchFamily="34" charset="0"/>
              </a:endParaRPr>
            </a:p>
          </p:txBody>
        </p:sp>
        <p:sp>
          <p:nvSpPr>
            <p:cNvPr id="80" name="Rectangle 145"/>
            <p:cNvSpPr/>
            <p:nvPr/>
          </p:nvSpPr>
          <p:spPr bwMode="auto">
            <a:xfrm>
              <a:off x="838665" y="2042226"/>
              <a:ext cx="2010395" cy="3831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14367"/>
              <a:r>
                <a:rPr lang="en-US" sz="1400" b="1">
                  <a:solidFill>
                    <a:srgbClr val="F2C812"/>
                  </a:solidFill>
                  <a:cs typeface="Segoe UI Light" panose="020B0502040204020203" pitchFamily="34" charset="0"/>
                </a:rPr>
                <a:t>Variety of data sources</a:t>
              </a:r>
              <a:endParaRPr lang="en-US" sz="1200" b="1" i="1">
                <a:solidFill>
                  <a:srgbClr val="F2C812"/>
                </a:solidFill>
                <a:cs typeface="Segoe UI Light" panose="020B0502040204020203" pitchFamily="34" charset="0"/>
              </a:endParaRPr>
            </a:p>
          </p:txBody>
        </p:sp>
      </p:grpSp>
      <p:grpSp>
        <p:nvGrpSpPr>
          <p:cNvPr id="81" name="Group 80"/>
          <p:cNvGrpSpPr/>
          <p:nvPr/>
        </p:nvGrpSpPr>
        <p:grpSpPr>
          <a:xfrm>
            <a:off x="151322" y="2796494"/>
            <a:ext cx="2636411" cy="548640"/>
            <a:chOff x="179032" y="1123407"/>
            <a:chExt cx="2636411" cy="548640"/>
          </a:xfrm>
        </p:grpSpPr>
        <p:sp>
          <p:nvSpPr>
            <p:cNvPr id="82" name="Oval 147"/>
            <p:cNvSpPr/>
            <p:nvPr/>
          </p:nvSpPr>
          <p:spPr bwMode="auto">
            <a:xfrm>
              <a:off x="179032" y="1123407"/>
              <a:ext cx="548640" cy="548640"/>
            </a:xfrm>
            <a:prstGeom prst="ellipse">
              <a:avLst/>
            </a:prstGeom>
            <a:solidFill>
              <a:srgbClr val="FFCC00"/>
            </a:solidFill>
            <a:ln>
              <a:solidFill>
                <a:srgbClr val="F2C81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err="1">
                <a:gradFill>
                  <a:gsLst>
                    <a:gs pos="0">
                      <a:srgbClr val="FFFFFF"/>
                    </a:gs>
                    <a:gs pos="100000">
                      <a:srgbClr val="FFFFFF"/>
                    </a:gs>
                  </a:gsLst>
                  <a:lin ang="5400000" scaled="0"/>
                </a:gradFill>
                <a:ea typeface="Segoe UI" pitchFamily="34" charset="0"/>
                <a:cs typeface="Segoe UI" pitchFamily="34" charset="0"/>
              </a:endParaRPr>
            </a:p>
          </p:txBody>
        </p:sp>
        <p:sp>
          <p:nvSpPr>
            <p:cNvPr id="83" name="Rectangle 145"/>
            <p:cNvSpPr/>
            <p:nvPr/>
          </p:nvSpPr>
          <p:spPr bwMode="auto">
            <a:xfrm>
              <a:off x="805048" y="1206147"/>
              <a:ext cx="2010395" cy="3831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14367"/>
              <a:r>
                <a:rPr lang="en-US" sz="1400" b="1">
                  <a:solidFill>
                    <a:srgbClr val="F2C812"/>
                  </a:solidFill>
                  <a:cs typeface="Segoe UI Light" panose="020B0502040204020203" pitchFamily="34" charset="0"/>
                </a:rPr>
                <a:t>Managing data in the cloud</a:t>
              </a:r>
              <a:endParaRPr lang="en-US" sz="1200" b="1" i="1">
                <a:solidFill>
                  <a:srgbClr val="F2C812"/>
                </a:solidFill>
                <a:cs typeface="Segoe UI Light" panose="020B0502040204020203" pitchFamily="34" charset="0"/>
              </a:endParaRPr>
            </a:p>
          </p:txBody>
        </p:sp>
      </p:grpSp>
      <p:grpSp>
        <p:nvGrpSpPr>
          <p:cNvPr id="84" name="Group 83"/>
          <p:cNvGrpSpPr/>
          <p:nvPr/>
        </p:nvGrpSpPr>
        <p:grpSpPr>
          <a:xfrm>
            <a:off x="151322" y="3760784"/>
            <a:ext cx="2636411" cy="548640"/>
            <a:chOff x="179032" y="1123407"/>
            <a:chExt cx="2636411" cy="548640"/>
          </a:xfrm>
        </p:grpSpPr>
        <p:sp>
          <p:nvSpPr>
            <p:cNvPr id="85" name="Oval 147"/>
            <p:cNvSpPr/>
            <p:nvPr/>
          </p:nvSpPr>
          <p:spPr bwMode="auto">
            <a:xfrm>
              <a:off x="179032" y="1123407"/>
              <a:ext cx="548640" cy="548640"/>
            </a:xfrm>
            <a:prstGeom prst="ellipse">
              <a:avLst/>
            </a:prstGeom>
            <a:solidFill>
              <a:srgbClr val="FFCC00"/>
            </a:solidFill>
            <a:ln>
              <a:solidFill>
                <a:srgbClr val="F2C81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err="1">
                <a:gradFill>
                  <a:gsLst>
                    <a:gs pos="0">
                      <a:srgbClr val="FFFFFF"/>
                    </a:gs>
                    <a:gs pos="100000">
                      <a:srgbClr val="FFFFFF"/>
                    </a:gs>
                  </a:gsLst>
                  <a:lin ang="5400000" scaled="0"/>
                </a:gradFill>
                <a:ea typeface="Segoe UI" pitchFamily="34" charset="0"/>
                <a:cs typeface="Segoe UI" pitchFamily="34" charset="0"/>
              </a:endParaRPr>
            </a:p>
          </p:txBody>
        </p:sp>
        <p:sp>
          <p:nvSpPr>
            <p:cNvPr id="86" name="Rectangle 145"/>
            <p:cNvSpPr/>
            <p:nvPr/>
          </p:nvSpPr>
          <p:spPr bwMode="auto">
            <a:xfrm>
              <a:off x="805048" y="1206147"/>
              <a:ext cx="2010395" cy="3831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14367"/>
              <a:r>
                <a:rPr lang="en-US" sz="1400" b="1">
                  <a:solidFill>
                    <a:srgbClr val="F2C812"/>
                  </a:solidFill>
                  <a:cs typeface="Segoe UI Light" panose="020B0502040204020203" pitchFamily="34" charset="0"/>
                </a:rPr>
                <a:t>Integration with existing environment</a:t>
              </a:r>
              <a:endParaRPr lang="en-US" sz="1200" b="1" i="1">
                <a:solidFill>
                  <a:srgbClr val="F2C812"/>
                </a:solidFill>
                <a:cs typeface="Segoe UI Light" panose="020B0502040204020203" pitchFamily="34" charset="0"/>
              </a:endParaRPr>
            </a:p>
          </p:txBody>
        </p:sp>
      </p:grpSp>
      <p:grpSp>
        <p:nvGrpSpPr>
          <p:cNvPr id="87" name="Group 86"/>
          <p:cNvGrpSpPr/>
          <p:nvPr/>
        </p:nvGrpSpPr>
        <p:grpSpPr>
          <a:xfrm>
            <a:off x="132176" y="4725074"/>
            <a:ext cx="2655557" cy="548640"/>
            <a:chOff x="159886" y="1123407"/>
            <a:chExt cx="2655557" cy="548640"/>
          </a:xfrm>
        </p:grpSpPr>
        <p:sp>
          <p:nvSpPr>
            <p:cNvPr id="88" name="Oval 147"/>
            <p:cNvSpPr/>
            <p:nvPr/>
          </p:nvSpPr>
          <p:spPr bwMode="auto">
            <a:xfrm>
              <a:off x="159886" y="1123407"/>
              <a:ext cx="548640" cy="548640"/>
            </a:xfrm>
            <a:prstGeom prst="ellipse">
              <a:avLst/>
            </a:prstGeom>
            <a:solidFill>
              <a:srgbClr val="FFCC00"/>
            </a:solidFill>
            <a:ln>
              <a:solidFill>
                <a:srgbClr val="F2C81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err="1">
                <a:gradFill>
                  <a:gsLst>
                    <a:gs pos="0">
                      <a:srgbClr val="FFFFFF"/>
                    </a:gs>
                    <a:gs pos="100000">
                      <a:srgbClr val="FFFFFF"/>
                    </a:gs>
                  </a:gsLst>
                  <a:lin ang="5400000" scaled="0"/>
                </a:gradFill>
                <a:ea typeface="Segoe UI" pitchFamily="34" charset="0"/>
                <a:cs typeface="Segoe UI" pitchFamily="34" charset="0"/>
              </a:endParaRPr>
            </a:p>
          </p:txBody>
        </p:sp>
        <p:sp>
          <p:nvSpPr>
            <p:cNvPr id="89" name="Rectangle 145"/>
            <p:cNvSpPr/>
            <p:nvPr/>
          </p:nvSpPr>
          <p:spPr bwMode="auto">
            <a:xfrm>
              <a:off x="805048" y="1206147"/>
              <a:ext cx="2010395" cy="3831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14367"/>
              <a:r>
                <a:rPr lang="en-US" sz="1400" b="1">
                  <a:solidFill>
                    <a:srgbClr val="F2C812"/>
                  </a:solidFill>
                  <a:cs typeface="Segoe UI Light" panose="020B0502040204020203" pitchFamily="34" charset="0"/>
                </a:rPr>
                <a:t>Keeping data current</a:t>
              </a:r>
              <a:endParaRPr lang="en-US" sz="1200" b="1" i="1">
                <a:solidFill>
                  <a:srgbClr val="F2C812"/>
                </a:solidFill>
                <a:cs typeface="Segoe UI Light" panose="020B0502040204020203" pitchFamily="34" charset="0"/>
              </a:endParaRPr>
            </a:p>
          </p:txBody>
        </p:sp>
      </p:grpSp>
      <p:grpSp>
        <p:nvGrpSpPr>
          <p:cNvPr id="90" name="Group 89"/>
          <p:cNvGrpSpPr/>
          <p:nvPr/>
        </p:nvGrpSpPr>
        <p:grpSpPr>
          <a:xfrm>
            <a:off x="151322" y="5689364"/>
            <a:ext cx="2636411" cy="548640"/>
            <a:chOff x="179032" y="1123407"/>
            <a:chExt cx="2636411" cy="548640"/>
          </a:xfrm>
        </p:grpSpPr>
        <p:sp>
          <p:nvSpPr>
            <p:cNvPr id="91" name="Oval 147"/>
            <p:cNvSpPr/>
            <p:nvPr/>
          </p:nvSpPr>
          <p:spPr bwMode="auto">
            <a:xfrm>
              <a:off x="179032" y="1123407"/>
              <a:ext cx="548640" cy="548640"/>
            </a:xfrm>
            <a:prstGeom prst="ellipse">
              <a:avLst/>
            </a:prstGeom>
            <a:solidFill>
              <a:srgbClr val="FFCC00"/>
            </a:solidFill>
            <a:ln>
              <a:solidFill>
                <a:srgbClr val="F2C81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err="1">
                <a:gradFill>
                  <a:gsLst>
                    <a:gs pos="0">
                      <a:srgbClr val="FFFFFF"/>
                    </a:gs>
                    <a:gs pos="100000">
                      <a:srgbClr val="FFFFFF"/>
                    </a:gs>
                  </a:gsLst>
                  <a:lin ang="5400000" scaled="0"/>
                </a:gradFill>
                <a:ea typeface="Segoe UI" pitchFamily="34" charset="0"/>
                <a:cs typeface="Segoe UI" pitchFamily="34" charset="0"/>
              </a:endParaRPr>
            </a:p>
          </p:txBody>
        </p:sp>
        <p:sp>
          <p:nvSpPr>
            <p:cNvPr id="92" name="Rectangle 145"/>
            <p:cNvSpPr/>
            <p:nvPr/>
          </p:nvSpPr>
          <p:spPr bwMode="auto">
            <a:xfrm>
              <a:off x="805048" y="1206147"/>
              <a:ext cx="2010395" cy="3831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14367"/>
              <a:r>
                <a:rPr lang="en-US" sz="1400" b="1">
                  <a:solidFill>
                    <a:srgbClr val="F2C812"/>
                  </a:solidFill>
                  <a:cs typeface="Segoe UI Light" panose="020B0502040204020203" pitchFamily="34" charset="0"/>
                </a:rPr>
                <a:t>Ease of use and adoption</a:t>
              </a:r>
              <a:endParaRPr lang="en-US" sz="1200" b="1" i="1">
                <a:solidFill>
                  <a:srgbClr val="F2C812"/>
                </a:solidFill>
                <a:cs typeface="Segoe UI Light" panose="020B0502040204020203" pitchFamily="34" charset="0"/>
              </a:endParaRPr>
            </a:p>
          </p:txBody>
        </p:sp>
      </p:grpSp>
      <p:sp>
        <p:nvSpPr>
          <p:cNvPr id="93" name="Freeform 92"/>
          <p:cNvSpPr>
            <a:spLocks noChangeAspect="1"/>
          </p:cNvSpPr>
          <p:nvPr/>
        </p:nvSpPr>
        <p:spPr bwMode="black">
          <a:xfrm>
            <a:off x="242762" y="1024112"/>
            <a:ext cx="365760" cy="236244"/>
          </a:xfrm>
          <a:custGeom>
            <a:avLst/>
            <a:gdLst>
              <a:gd name="connsiteX0" fmla="*/ 93529 w 794079"/>
              <a:gd name="connsiteY0" fmla="*/ 409985 h 512894"/>
              <a:gd name="connsiteX1" fmla="*/ 57350 w 794079"/>
              <a:gd name="connsiteY1" fmla="*/ 446163 h 512894"/>
              <a:gd name="connsiteX2" fmla="*/ 93529 w 794079"/>
              <a:gd name="connsiteY2" fmla="*/ 482342 h 512894"/>
              <a:gd name="connsiteX3" fmla="*/ 129707 w 794079"/>
              <a:gd name="connsiteY3" fmla="*/ 446163 h 512894"/>
              <a:gd name="connsiteX4" fmla="*/ 93529 w 794079"/>
              <a:gd name="connsiteY4" fmla="*/ 409985 h 512894"/>
              <a:gd name="connsiteX5" fmla="*/ 22935 w 794079"/>
              <a:gd name="connsiteY5" fmla="*/ 375286 h 512894"/>
              <a:gd name="connsiteX6" fmla="*/ 771144 w 794079"/>
              <a:gd name="connsiteY6" fmla="*/ 375286 h 512894"/>
              <a:gd name="connsiteX7" fmla="*/ 794079 w 794079"/>
              <a:gd name="connsiteY7" fmla="*/ 398221 h 512894"/>
              <a:gd name="connsiteX8" fmla="*/ 794079 w 794079"/>
              <a:gd name="connsiteY8" fmla="*/ 489959 h 512894"/>
              <a:gd name="connsiteX9" fmla="*/ 771144 w 794079"/>
              <a:gd name="connsiteY9" fmla="*/ 512894 h 512894"/>
              <a:gd name="connsiteX10" fmla="*/ 22935 w 794079"/>
              <a:gd name="connsiteY10" fmla="*/ 512894 h 512894"/>
              <a:gd name="connsiteX11" fmla="*/ 0 w 794079"/>
              <a:gd name="connsiteY11" fmla="*/ 489959 h 512894"/>
              <a:gd name="connsiteX12" fmla="*/ 0 w 794079"/>
              <a:gd name="connsiteY12" fmla="*/ 398221 h 512894"/>
              <a:gd name="connsiteX13" fmla="*/ 22935 w 794079"/>
              <a:gd name="connsiteY13" fmla="*/ 375286 h 512894"/>
              <a:gd name="connsiteX14" fmla="*/ 93529 w 794079"/>
              <a:gd name="connsiteY14" fmla="*/ 222341 h 512894"/>
              <a:gd name="connsiteX15" fmla="*/ 57350 w 794079"/>
              <a:gd name="connsiteY15" fmla="*/ 258520 h 512894"/>
              <a:gd name="connsiteX16" fmla="*/ 93529 w 794079"/>
              <a:gd name="connsiteY16" fmla="*/ 294699 h 512894"/>
              <a:gd name="connsiteX17" fmla="*/ 129707 w 794079"/>
              <a:gd name="connsiteY17" fmla="*/ 258520 h 512894"/>
              <a:gd name="connsiteX18" fmla="*/ 93529 w 794079"/>
              <a:gd name="connsiteY18" fmla="*/ 222341 h 512894"/>
              <a:gd name="connsiteX19" fmla="*/ 22935 w 794079"/>
              <a:gd name="connsiteY19" fmla="*/ 187643 h 512894"/>
              <a:gd name="connsiteX20" fmla="*/ 771144 w 794079"/>
              <a:gd name="connsiteY20" fmla="*/ 187643 h 512894"/>
              <a:gd name="connsiteX21" fmla="*/ 794079 w 794079"/>
              <a:gd name="connsiteY21" fmla="*/ 210578 h 512894"/>
              <a:gd name="connsiteX22" fmla="*/ 794079 w 794079"/>
              <a:gd name="connsiteY22" fmla="*/ 302316 h 512894"/>
              <a:gd name="connsiteX23" fmla="*/ 771144 w 794079"/>
              <a:gd name="connsiteY23" fmla="*/ 325251 h 512894"/>
              <a:gd name="connsiteX24" fmla="*/ 22935 w 794079"/>
              <a:gd name="connsiteY24" fmla="*/ 325251 h 512894"/>
              <a:gd name="connsiteX25" fmla="*/ 0 w 794079"/>
              <a:gd name="connsiteY25" fmla="*/ 302316 h 512894"/>
              <a:gd name="connsiteX26" fmla="*/ 0 w 794079"/>
              <a:gd name="connsiteY26" fmla="*/ 210578 h 512894"/>
              <a:gd name="connsiteX27" fmla="*/ 22935 w 794079"/>
              <a:gd name="connsiteY27" fmla="*/ 187643 h 512894"/>
              <a:gd name="connsiteX28" fmla="*/ 93529 w 794079"/>
              <a:gd name="connsiteY28" fmla="*/ 34698 h 512894"/>
              <a:gd name="connsiteX29" fmla="*/ 57350 w 794079"/>
              <a:gd name="connsiteY29" fmla="*/ 70877 h 512894"/>
              <a:gd name="connsiteX30" fmla="*/ 93529 w 794079"/>
              <a:gd name="connsiteY30" fmla="*/ 107056 h 512894"/>
              <a:gd name="connsiteX31" fmla="*/ 129707 w 794079"/>
              <a:gd name="connsiteY31" fmla="*/ 70877 h 512894"/>
              <a:gd name="connsiteX32" fmla="*/ 93529 w 794079"/>
              <a:gd name="connsiteY32" fmla="*/ 34698 h 512894"/>
              <a:gd name="connsiteX33" fmla="*/ 22935 w 794079"/>
              <a:gd name="connsiteY33" fmla="*/ 0 h 512894"/>
              <a:gd name="connsiteX34" fmla="*/ 771144 w 794079"/>
              <a:gd name="connsiteY34" fmla="*/ 0 h 512894"/>
              <a:gd name="connsiteX35" fmla="*/ 794079 w 794079"/>
              <a:gd name="connsiteY35" fmla="*/ 22935 h 512894"/>
              <a:gd name="connsiteX36" fmla="*/ 794079 w 794079"/>
              <a:gd name="connsiteY36" fmla="*/ 114673 h 512894"/>
              <a:gd name="connsiteX37" fmla="*/ 771144 w 794079"/>
              <a:gd name="connsiteY37" fmla="*/ 137608 h 512894"/>
              <a:gd name="connsiteX38" fmla="*/ 22935 w 794079"/>
              <a:gd name="connsiteY38" fmla="*/ 137608 h 512894"/>
              <a:gd name="connsiteX39" fmla="*/ 0 w 794079"/>
              <a:gd name="connsiteY39" fmla="*/ 114673 h 512894"/>
              <a:gd name="connsiteX40" fmla="*/ 0 w 794079"/>
              <a:gd name="connsiteY40" fmla="*/ 22935 h 512894"/>
              <a:gd name="connsiteX41" fmla="*/ 22935 w 794079"/>
              <a:gd name="connsiteY41" fmla="*/ 0 h 5128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794079" h="512894">
                <a:moveTo>
                  <a:pt x="93529" y="409985"/>
                </a:moveTo>
                <a:cubicBezTo>
                  <a:pt x="73548" y="409985"/>
                  <a:pt x="57350" y="426182"/>
                  <a:pt x="57350" y="446163"/>
                </a:cubicBezTo>
                <a:cubicBezTo>
                  <a:pt x="57350" y="466144"/>
                  <a:pt x="73548" y="482342"/>
                  <a:pt x="93529" y="482342"/>
                </a:cubicBezTo>
                <a:cubicBezTo>
                  <a:pt x="113510" y="482342"/>
                  <a:pt x="129707" y="466144"/>
                  <a:pt x="129707" y="446163"/>
                </a:cubicBezTo>
                <a:cubicBezTo>
                  <a:pt x="129707" y="426182"/>
                  <a:pt x="113510" y="409985"/>
                  <a:pt x="93529" y="409985"/>
                </a:cubicBezTo>
                <a:close/>
                <a:moveTo>
                  <a:pt x="22935" y="375286"/>
                </a:moveTo>
                <a:lnTo>
                  <a:pt x="771144" y="375286"/>
                </a:lnTo>
                <a:cubicBezTo>
                  <a:pt x="783811" y="375286"/>
                  <a:pt x="794079" y="385555"/>
                  <a:pt x="794079" y="398221"/>
                </a:cubicBezTo>
                <a:lnTo>
                  <a:pt x="794079" y="489959"/>
                </a:lnTo>
                <a:cubicBezTo>
                  <a:pt x="794079" y="502626"/>
                  <a:pt x="783811" y="512894"/>
                  <a:pt x="771144" y="512894"/>
                </a:cubicBezTo>
                <a:lnTo>
                  <a:pt x="22935" y="512894"/>
                </a:lnTo>
                <a:cubicBezTo>
                  <a:pt x="10269" y="512894"/>
                  <a:pt x="0" y="502626"/>
                  <a:pt x="0" y="489959"/>
                </a:cubicBezTo>
                <a:lnTo>
                  <a:pt x="0" y="398221"/>
                </a:lnTo>
                <a:cubicBezTo>
                  <a:pt x="0" y="385555"/>
                  <a:pt x="10269" y="375286"/>
                  <a:pt x="22935" y="375286"/>
                </a:cubicBezTo>
                <a:close/>
                <a:moveTo>
                  <a:pt x="93529" y="222341"/>
                </a:moveTo>
                <a:cubicBezTo>
                  <a:pt x="73548" y="222341"/>
                  <a:pt x="57350" y="238539"/>
                  <a:pt x="57350" y="258520"/>
                </a:cubicBezTo>
                <a:cubicBezTo>
                  <a:pt x="57350" y="278501"/>
                  <a:pt x="73548" y="294699"/>
                  <a:pt x="93529" y="294699"/>
                </a:cubicBezTo>
                <a:cubicBezTo>
                  <a:pt x="113510" y="294699"/>
                  <a:pt x="129707" y="278501"/>
                  <a:pt x="129707" y="258520"/>
                </a:cubicBezTo>
                <a:cubicBezTo>
                  <a:pt x="129707" y="238539"/>
                  <a:pt x="113510" y="222341"/>
                  <a:pt x="93529" y="222341"/>
                </a:cubicBezTo>
                <a:close/>
                <a:moveTo>
                  <a:pt x="22935" y="187643"/>
                </a:moveTo>
                <a:lnTo>
                  <a:pt x="771144" y="187643"/>
                </a:lnTo>
                <a:cubicBezTo>
                  <a:pt x="783811" y="187643"/>
                  <a:pt x="794079" y="197911"/>
                  <a:pt x="794079" y="210578"/>
                </a:cubicBezTo>
                <a:lnTo>
                  <a:pt x="794079" y="302316"/>
                </a:lnTo>
                <a:cubicBezTo>
                  <a:pt x="794079" y="314982"/>
                  <a:pt x="783811" y="325251"/>
                  <a:pt x="771144" y="325251"/>
                </a:cubicBezTo>
                <a:lnTo>
                  <a:pt x="22935" y="325251"/>
                </a:lnTo>
                <a:cubicBezTo>
                  <a:pt x="10269" y="325251"/>
                  <a:pt x="0" y="314982"/>
                  <a:pt x="0" y="302316"/>
                </a:cubicBezTo>
                <a:lnTo>
                  <a:pt x="0" y="210578"/>
                </a:lnTo>
                <a:cubicBezTo>
                  <a:pt x="0" y="197911"/>
                  <a:pt x="10269" y="187643"/>
                  <a:pt x="22935" y="187643"/>
                </a:cubicBezTo>
                <a:close/>
                <a:moveTo>
                  <a:pt x="93529" y="34698"/>
                </a:moveTo>
                <a:cubicBezTo>
                  <a:pt x="73548" y="34698"/>
                  <a:pt x="57350" y="50896"/>
                  <a:pt x="57350" y="70877"/>
                </a:cubicBezTo>
                <a:cubicBezTo>
                  <a:pt x="57350" y="90858"/>
                  <a:pt x="73548" y="107056"/>
                  <a:pt x="93529" y="107056"/>
                </a:cubicBezTo>
                <a:cubicBezTo>
                  <a:pt x="113510" y="107056"/>
                  <a:pt x="129707" y="90858"/>
                  <a:pt x="129707" y="70877"/>
                </a:cubicBezTo>
                <a:cubicBezTo>
                  <a:pt x="129707" y="50896"/>
                  <a:pt x="113510" y="34698"/>
                  <a:pt x="93529" y="34698"/>
                </a:cubicBezTo>
                <a:close/>
                <a:moveTo>
                  <a:pt x="22935" y="0"/>
                </a:moveTo>
                <a:lnTo>
                  <a:pt x="771144" y="0"/>
                </a:lnTo>
                <a:cubicBezTo>
                  <a:pt x="783811" y="0"/>
                  <a:pt x="794079" y="10268"/>
                  <a:pt x="794079" y="22935"/>
                </a:cubicBezTo>
                <a:lnTo>
                  <a:pt x="794079" y="114673"/>
                </a:lnTo>
                <a:cubicBezTo>
                  <a:pt x="794079" y="127339"/>
                  <a:pt x="783811" y="137608"/>
                  <a:pt x="771144" y="137608"/>
                </a:cubicBezTo>
                <a:lnTo>
                  <a:pt x="22935" y="137608"/>
                </a:lnTo>
                <a:cubicBezTo>
                  <a:pt x="10269" y="137608"/>
                  <a:pt x="0" y="127339"/>
                  <a:pt x="0" y="114673"/>
                </a:cubicBezTo>
                <a:lnTo>
                  <a:pt x="0" y="22935"/>
                </a:lnTo>
                <a:cubicBezTo>
                  <a:pt x="0" y="10268"/>
                  <a:pt x="10269" y="0"/>
                  <a:pt x="22935"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8" tIns="109719" rIns="137148" bIns="109719" numCol="1" spcCol="0" rtlCol="0" fromWordArt="0" anchor="t" anchorCtr="0" forceAA="0" compatLnSpc="1">
            <a:prstTxWarp prst="textNoShape">
              <a:avLst/>
            </a:prstTxWarp>
            <a:noAutofit/>
          </a:bodyPr>
          <a:lstStyle/>
          <a:p>
            <a:pPr algn="ctr" defTabSz="699261" fontAlgn="base">
              <a:lnSpc>
                <a:spcPct val="90000"/>
              </a:lnSpc>
              <a:spcBef>
                <a:spcPct val="0"/>
              </a:spcBef>
              <a:spcAft>
                <a:spcPct val="0"/>
              </a:spcAft>
            </a:pPr>
            <a:endParaRPr lang="en-US">
              <a:gradFill>
                <a:gsLst>
                  <a:gs pos="0">
                    <a:srgbClr val="FFFFFF"/>
                  </a:gs>
                  <a:gs pos="100000">
                    <a:srgbClr val="FFFFFF"/>
                  </a:gs>
                </a:gsLst>
                <a:lin ang="5400000" scaled="0"/>
              </a:gradFill>
              <a:ea typeface="Segoe UI" pitchFamily="34" charset="0"/>
              <a:cs typeface="Segoe UI" pitchFamily="34" charset="0"/>
            </a:endParaRPr>
          </a:p>
        </p:txBody>
      </p:sp>
      <p:grpSp>
        <p:nvGrpSpPr>
          <p:cNvPr id="94" name="Group 93"/>
          <p:cNvGrpSpPr>
            <a:grpSpLocks noChangeAspect="1"/>
          </p:cNvGrpSpPr>
          <p:nvPr/>
        </p:nvGrpSpPr>
        <p:grpSpPr>
          <a:xfrm>
            <a:off x="284268" y="1947738"/>
            <a:ext cx="314004" cy="320040"/>
            <a:chOff x="810855" y="2271601"/>
            <a:chExt cx="457200" cy="465990"/>
          </a:xfrm>
        </p:grpSpPr>
        <p:sp>
          <p:nvSpPr>
            <p:cNvPr id="95" name="Freeform 5"/>
            <p:cNvSpPr>
              <a:spLocks noEditPoints="1"/>
            </p:cNvSpPr>
            <p:nvPr/>
          </p:nvSpPr>
          <p:spPr bwMode="black">
            <a:xfrm>
              <a:off x="892260" y="2271601"/>
              <a:ext cx="375795" cy="291633"/>
            </a:xfrm>
            <a:custGeom>
              <a:avLst/>
              <a:gdLst>
                <a:gd name="T0" fmla="*/ 22 w 277"/>
                <a:gd name="T1" fmla="*/ 1 h 215"/>
                <a:gd name="T2" fmla="*/ 22 w 277"/>
                <a:gd name="T3" fmla="*/ 10 h 215"/>
                <a:gd name="T4" fmla="*/ 22 w 277"/>
                <a:gd name="T5" fmla="*/ 10 h 215"/>
                <a:gd name="T6" fmla="*/ 66 w 277"/>
                <a:gd name="T7" fmla="*/ 15 h 215"/>
                <a:gd name="T8" fmla="*/ 54 w 277"/>
                <a:gd name="T9" fmla="*/ 20 h 215"/>
                <a:gd name="T10" fmla="*/ 79 w 277"/>
                <a:gd name="T11" fmla="*/ 0 h 215"/>
                <a:gd name="T12" fmla="*/ 118 w 277"/>
                <a:gd name="T13" fmla="*/ 1 h 215"/>
                <a:gd name="T14" fmla="*/ 118 w 277"/>
                <a:gd name="T15" fmla="*/ 10 h 215"/>
                <a:gd name="T16" fmla="*/ 118 w 277"/>
                <a:gd name="T17" fmla="*/ 10 h 215"/>
                <a:gd name="T18" fmla="*/ 163 w 277"/>
                <a:gd name="T19" fmla="*/ 15 h 215"/>
                <a:gd name="T20" fmla="*/ 150 w 277"/>
                <a:gd name="T21" fmla="*/ 20 h 215"/>
                <a:gd name="T22" fmla="*/ 176 w 277"/>
                <a:gd name="T23" fmla="*/ 0 h 215"/>
                <a:gd name="T24" fmla="*/ 215 w 277"/>
                <a:gd name="T25" fmla="*/ 1 h 215"/>
                <a:gd name="T26" fmla="*/ 214 w 277"/>
                <a:gd name="T27" fmla="*/ 10 h 215"/>
                <a:gd name="T28" fmla="*/ 214 w 277"/>
                <a:gd name="T29" fmla="*/ 10 h 215"/>
                <a:gd name="T30" fmla="*/ 259 w 277"/>
                <a:gd name="T31" fmla="*/ 15 h 215"/>
                <a:gd name="T32" fmla="*/ 247 w 277"/>
                <a:gd name="T33" fmla="*/ 20 h 215"/>
                <a:gd name="T34" fmla="*/ 272 w 277"/>
                <a:gd name="T35" fmla="*/ 0 h 215"/>
                <a:gd name="T36" fmla="*/ 12 w 277"/>
                <a:gd name="T37" fmla="*/ 92 h 215"/>
                <a:gd name="T38" fmla="*/ 0 w 277"/>
                <a:gd name="T39" fmla="*/ 97 h 215"/>
                <a:gd name="T40" fmla="*/ 25 w 277"/>
                <a:gd name="T41" fmla="*/ 77 h 215"/>
                <a:gd name="T42" fmla="*/ 64 w 277"/>
                <a:gd name="T43" fmla="*/ 77 h 215"/>
                <a:gd name="T44" fmla="*/ 64 w 277"/>
                <a:gd name="T45" fmla="*/ 87 h 215"/>
                <a:gd name="T46" fmla="*/ 64 w 277"/>
                <a:gd name="T47" fmla="*/ 87 h 215"/>
                <a:gd name="T48" fmla="*/ 109 w 277"/>
                <a:gd name="T49" fmla="*/ 92 h 215"/>
                <a:gd name="T50" fmla="*/ 96 w 277"/>
                <a:gd name="T51" fmla="*/ 97 h 215"/>
                <a:gd name="T52" fmla="*/ 122 w 277"/>
                <a:gd name="T53" fmla="*/ 77 h 215"/>
                <a:gd name="T54" fmla="*/ 161 w 277"/>
                <a:gd name="T55" fmla="*/ 77 h 215"/>
                <a:gd name="T56" fmla="*/ 160 w 277"/>
                <a:gd name="T57" fmla="*/ 87 h 215"/>
                <a:gd name="T58" fmla="*/ 160 w 277"/>
                <a:gd name="T59" fmla="*/ 87 h 215"/>
                <a:gd name="T60" fmla="*/ 205 w 277"/>
                <a:gd name="T61" fmla="*/ 92 h 215"/>
                <a:gd name="T62" fmla="*/ 192 w 277"/>
                <a:gd name="T63" fmla="*/ 97 h 215"/>
                <a:gd name="T64" fmla="*/ 218 w 277"/>
                <a:gd name="T65" fmla="*/ 77 h 215"/>
                <a:gd name="T66" fmla="*/ 257 w 277"/>
                <a:gd name="T67" fmla="*/ 77 h 215"/>
                <a:gd name="T68" fmla="*/ 256 w 277"/>
                <a:gd name="T69" fmla="*/ 87 h 215"/>
                <a:gd name="T70" fmla="*/ 256 w 277"/>
                <a:gd name="T71" fmla="*/ 87 h 215"/>
                <a:gd name="T72" fmla="*/ 22 w 277"/>
                <a:gd name="T73" fmla="*/ 154 h 215"/>
                <a:gd name="T74" fmla="*/ 22 w 277"/>
                <a:gd name="T75" fmla="*/ 164 h 215"/>
                <a:gd name="T76" fmla="*/ 22 w 277"/>
                <a:gd name="T77" fmla="*/ 164 h 215"/>
                <a:gd name="T78" fmla="*/ 66 w 277"/>
                <a:gd name="T79" fmla="*/ 168 h 215"/>
                <a:gd name="T80" fmla="*/ 54 w 277"/>
                <a:gd name="T81" fmla="*/ 173 h 215"/>
                <a:gd name="T82" fmla="*/ 79 w 277"/>
                <a:gd name="T83" fmla="*/ 154 h 215"/>
                <a:gd name="T84" fmla="*/ 118 w 277"/>
                <a:gd name="T85" fmla="*/ 154 h 215"/>
                <a:gd name="T86" fmla="*/ 118 w 277"/>
                <a:gd name="T87" fmla="*/ 164 h 215"/>
                <a:gd name="T88" fmla="*/ 118 w 277"/>
                <a:gd name="T89" fmla="*/ 164 h 215"/>
                <a:gd name="T90" fmla="*/ 163 w 277"/>
                <a:gd name="T91" fmla="*/ 168 h 215"/>
                <a:gd name="T92" fmla="*/ 150 w 277"/>
                <a:gd name="T93" fmla="*/ 173 h 215"/>
                <a:gd name="T94" fmla="*/ 176 w 277"/>
                <a:gd name="T95" fmla="*/ 154 h 215"/>
                <a:gd name="T96" fmla="*/ 215 w 277"/>
                <a:gd name="T97" fmla="*/ 154 h 215"/>
                <a:gd name="T98" fmla="*/ 214 w 277"/>
                <a:gd name="T99" fmla="*/ 164 h 215"/>
                <a:gd name="T100" fmla="*/ 214 w 277"/>
                <a:gd name="T101" fmla="*/ 164 h 215"/>
                <a:gd name="T102" fmla="*/ 259 w 277"/>
                <a:gd name="T103" fmla="*/ 168 h 215"/>
                <a:gd name="T104" fmla="*/ 247 w 277"/>
                <a:gd name="T105" fmla="*/ 173 h 215"/>
                <a:gd name="T106" fmla="*/ 272 w 277"/>
                <a:gd name="T107" fmla="*/ 154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77" h="215">
                  <a:moveTo>
                    <a:pt x="21" y="61"/>
                  </a:moveTo>
                  <a:cubicBezTo>
                    <a:pt x="7" y="61"/>
                    <a:pt x="0" y="51"/>
                    <a:pt x="0" y="32"/>
                  </a:cubicBezTo>
                  <a:cubicBezTo>
                    <a:pt x="0" y="22"/>
                    <a:pt x="2" y="14"/>
                    <a:pt x="6" y="9"/>
                  </a:cubicBezTo>
                  <a:cubicBezTo>
                    <a:pt x="9" y="3"/>
                    <a:pt x="15" y="1"/>
                    <a:pt x="22" y="1"/>
                  </a:cubicBezTo>
                  <a:cubicBezTo>
                    <a:pt x="36" y="1"/>
                    <a:pt x="43" y="11"/>
                    <a:pt x="43" y="30"/>
                  </a:cubicBezTo>
                  <a:cubicBezTo>
                    <a:pt x="43" y="40"/>
                    <a:pt x="41" y="48"/>
                    <a:pt x="37" y="53"/>
                  </a:cubicBezTo>
                  <a:cubicBezTo>
                    <a:pt x="33" y="59"/>
                    <a:pt x="28" y="61"/>
                    <a:pt x="21" y="61"/>
                  </a:cubicBezTo>
                  <a:close/>
                  <a:moveTo>
                    <a:pt x="22" y="10"/>
                  </a:moveTo>
                  <a:cubicBezTo>
                    <a:pt x="16" y="10"/>
                    <a:pt x="13" y="17"/>
                    <a:pt x="13" y="32"/>
                  </a:cubicBezTo>
                  <a:cubicBezTo>
                    <a:pt x="13" y="45"/>
                    <a:pt x="16" y="51"/>
                    <a:pt x="21" y="51"/>
                  </a:cubicBezTo>
                  <a:cubicBezTo>
                    <a:pt x="27" y="51"/>
                    <a:pt x="29" y="45"/>
                    <a:pt x="29" y="31"/>
                  </a:cubicBezTo>
                  <a:cubicBezTo>
                    <a:pt x="29" y="17"/>
                    <a:pt x="27" y="10"/>
                    <a:pt x="22" y="10"/>
                  </a:cubicBezTo>
                  <a:close/>
                  <a:moveTo>
                    <a:pt x="79" y="0"/>
                  </a:moveTo>
                  <a:cubicBezTo>
                    <a:pt x="79" y="60"/>
                    <a:pt x="79" y="60"/>
                    <a:pt x="79" y="60"/>
                  </a:cubicBezTo>
                  <a:cubicBezTo>
                    <a:pt x="66" y="60"/>
                    <a:pt x="66" y="60"/>
                    <a:pt x="66" y="60"/>
                  </a:cubicBezTo>
                  <a:cubicBezTo>
                    <a:pt x="66" y="15"/>
                    <a:pt x="66" y="15"/>
                    <a:pt x="66" y="15"/>
                  </a:cubicBezTo>
                  <a:cubicBezTo>
                    <a:pt x="66" y="15"/>
                    <a:pt x="65" y="16"/>
                    <a:pt x="64" y="17"/>
                  </a:cubicBezTo>
                  <a:cubicBezTo>
                    <a:pt x="63" y="17"/>
                    <a:pt x="62" y="18"/>
                    <a:pt x="61" y="18"/>
                  </a:cubicBezTo>
                  <a:cubicBezTo>
                    <a:pt x="60" y="19"/>
                    <a:pt x="59" y="19"/>
                    <a:pt x="57" y="19"/>
                  </a:cubicBezTo>
                  <a:cubicBezTo>
                    <a:pt x="56" y="20"/>
                    <a:pt x="55" y="20"/>
                    <a:pt x="54" y="20"/>
                  </a:cubicBezTo>
                  <a:cubicBezTo>
                    <a:pt x="54" y="9"/>
                    <a:pt x="54" y="9"/>
                    <a:pt x="54" y="9"/>
                  </a:cubicBezTo>
                  <a:cubicBezTo>
                    <a:pt x="57" y="8"/>
                    <a:pt x="61" y="7"/>
                    <a:pt x="64" y="5"/>
                  </a:cubicBezTo>
                  <a:cubicBezTo>
                    <a:pt x="66" y="4"/>
                    <a:pt x="69" y="2"/>
                    <a:pt x="72" y="0"/>
                  </a:cubicBezTo>
                  <a:lnTo>
                    <a:pt x="79" y="0"/>
                  </a:lnTo>
                  <a:close/>
                  <a:moveTo>
                    <a:pt x="117" y="61"/>
                  </a:moveTo>
                  <a:cubicBezTo>
                    <a:pt x="103" y="61"/>
                    <a:pt x="96" y="51"/>
                    <a:pt x="96" y="32"/>
                  </a:cubicBezTo>
                  <a:cubicBezTo>
                    <a:pt x="96" y="22"/>
                    <a:pt x="98" y="14"/>
                    <a:pt x="102" y="9"/>
                  </a:cubicBezTo>
                  <a:cubicBezTo>
                    <a:pt x="106" y="3"/>
                    <a:pt x="111" y="1"/>
                    <a:pt x="118" y="1"/>
                  </a:cubicBezTo>
                  <a:cubicBezTo>
                    <a:pt x="132" y="1"/>
                    <a:pt x="139" y="11"/>
                    <a:pt x="139" y="30"/>
                  </a:cubicBezTo>
                  <a:cubicBezTo>
                    <a:pt x="139" y="40"/>
                    <a:pt x="137" y="48"/>
                    <a:pt x="133" y="53"/>
                  </a:cubicBezTo>
                  <a:cubicBezTo>
                    <a:pt x="130" y="59"/>
                    <a:pt x="124" y="61"/>
                    <a:pt x="117" y="61"/>
                  </a:cubicBezTo>
                  <a:close/>
                  <a:moveTo>
                    <a:pt x="118" y="10"/>
                  </a:moveTo>
                  <a:cubicBezTo>
                    <a:pt x="112" y="10"/>
                    <a:pt x="109" y="17"/>
                    <a:pt x="109" y="32"/>
                  </a:cubicBezTo>
                  <a:cubicBezTo>
                    <a:pt x="109" y="45"/>
                    <a:pt x="112" y="51"/>
                    <a:pt x="118" y="51"/>
                  </a:cubicBezTo>
                  <a:cubicBezTo>
                    <a:pt x="123" y="51"/>
                    <a:pt x="126" y="45"/>
                    <a:pt x="126" y="31"/>
                  </a:cubicBezTo>
                  <a:cubicBezTo>
                    <a:pt x="126" y="17"/>
                    <a:pt x="123" y="10"/>
                    <a:pt x="118" y="10"/>
                  </a:cubicBezTo>
                  <a:close/>
                  <a:moveTo>
                    <a:pt x="176" y="0"/>
                  </a:moveTo>
                  <a:cubicBezTo>
                    <a:pt x="176" y="60"/>
                    <a:pt x="176" y="60"/>
                    <a:pt x="176" y="60"/>
                  </a:cubicBezTo>
                  <a:cubicBezTo>
                    <a:pt x="163" y="60"/>
                    <a:pt x="163" y="60"/>
                    <a:pt x="163" y="60"/>
                  </a:cubicBezTo>
                  <a:cubicBezTo>
                    <a:pt x="163" y="15"/>
                    <a:pt x="163" y="15"/>
                    <a:pt x="163" y="15"/>
                  </a:cubicBezTo>
                  <a:cubicBezTo>
                    <a:pt x="162" y="15"/>
                    <a:pt x="161" y="16"/>
                    <a:pt x="160" y="17"/>
                  </a:cubicBezTo>
                  <a:cubicBezTo>
                    <a:pt x="159" y="17"/>
                    <a:pt x="158" y="18"/>
                    <a:pt x="157" y="18"/>
                  </a:cubicBezTo>
                  <a:cubicBezTo>
                    <a:pt x="156" y="19"/>
                    <a:pt x="155" y="19"/>
                    <a:pt x="154" y="19"/>
                  </a:cubicBezTo>
                  <a:cubicBezTo>
                    <a:pt x="153" y="20"/>
                    <a:pt x="151" y="20"/>
                    <a:pt x="150" y="20"/>
                  </a:cubicBezTo>
                  <a:cubicBezTo>
                    <a:pt x="150" y="9"/>
                    <a:pt x="150" y="9"/>
                    <a:pt x="150" y="9"/>
                  </a:cubicBezTo>
                  <a:cubicBezTo>
                    <a:pt x="154" y="8"/>
                    <a:pt x="157" y="7"/>
                    <a:pt x="160" y="5"/>
                  </a:cubicBezTo>
                  <a:cubicBezTo>
                    <a:pt x="163" y="4"/>
                    <a:pt x="165" y="2"/>
                    <a:pt x="168" y="0"/>
                  </a:cubicBezTo>
                  <a:lnTo>
                    <a:pt x="176" y="0"/>
                  </a:lnTo>
                  <a:close/>
                  <a:moveTo>
                    <a:pt x="214" y="61"/>
                  </a:moveTo>
                  <a:cubicBezTo>
                    <a:pt x="200" y="61"/>
                    <a:pt x="193" y="51"/>
                    <a:pt x="193" y="32"/>
                  </a:cubicBezTo>
                  <a:cubicBezTo>
                    <a:pt x="193" y="22"/>
                    <a:pt x="195" y="14"/>
                    <a:pt x="198" y="9"/>
                  </a:cubicBezTo>
                  <a:cubicBezTo>
                    <a:pt x="202" y="3"/>
                    <a:pt x="208" y="1"/>
                    <a:pt x="215" y="1"/>
                  </a:cubicBezTo>
                  <a:cubicBezTo>
                    <a:pt x="228" y="1"/>
                    <a:pt x="235" y="11"/>
                    <a:pt x="235" y="30"/>
                  </a:cubicBezTo>
                  <a:cubicBezTo>
                    <a:pt x="235" y="40"/>
                    <a:pt x="233" y="48"/>
                    <a:pt x="230" y="53"/>
                  </a:cubicBezTo>
                  <a:cubicBezTo>
                    <a:pt x="226" y="59"/>
                    <a:pt x="221" y="61"/>
                    <a:pt x="214" y="61"/>
                  </a:cubicBezTo>
                  <a:close/>
                  <a:moveTo>
                    <a:pt x="214" y="10"/>
                  </a:moveTo>
                  <a:cubicBezTo>
                    <a:pt x="209" y="10"/>
                    <a:pt x="206" y="17"/>
                    <a:pt x="206" y="32"/>
                  </a:cubicBezTo>
                  <a:cubicBezTo>
                    <a:pt x="206" y="45"/>
                    <a:pt x="209" y="51"/>
                    <a:pt x="214" y="51"/>
                  </a:cubicBezTo>
                  <a:cubicBezTo>
                    <a:pt x="219" y="51"/>
                    <a:pt x="222" y="45"/>
                    <a:pt x="222" y="31"/>
                  </a:cubicBezTo>
                  <a:cubicBezTo>
                    <a:pt x="222" y="17"/>
                    <a:pt x="219" y="10"/>
                    <a:pt x="214" y="10"/>
                  </a:cubicBezTo>
                  <a:close/>
                  <a:moveTo>
                    <a:pt x="272" y="0"/>
                  </a:moveTo>
                  <a:cubicBezTo>
                    <a:pt x="272" y="60"/>
                    <a:pt x="272" y="60"/>
                    <a:pt x="272" y="60"/>
                  </a:cubicBezTo>
                  <a:cubicBezTo>
                    <a:pt x="259" y="60"/>
                    <a:pt x="259" y="60"/>
                    <a:pt x="259" y="60"/>
                  </a:cubicBezTo>
                  <a:cubicBezTo>
                    <a:pt x="259" y="15"/>
                    <a:pt x="259" y="15"/>
                    <a:pt x="259" y="15"/>
                  </a:cubicBezTo>
                  <a:cubicBezTo>
                    <a:pt x="258" y="15"/>
                    <a:pt x="258" y="16"/>
                    <a:pt x="257" y="17"/>
                  </a:cubicBezTo>
                  <a:cubicBezTo>
                    <a:pt x="256" y="17"/>
                    <a:pt x="255" y="18"/>
                    <a:pt x="254" y="18"/>
                  </a:cubicBezTo>
                  <a:cubicBezTo>
                    <a:pt x="252" y="19"/>
                    <a:pt x="251" y="19"/>
                    <a:pt x="250" y="19"/>
                  </a:cubicBezTo>
                  <a:cubicBezTo>
                    <a:pt x="249" y="20"/>
                    <a:pt x="248" y="20"/>
                    <a:pt x="247" y="20"/>
                  </a:cubicBezTo>
                  <a:cubicBezTo>
                    <a:pt x="247" y="9"/>
                    <a:pt x="247" y="9"/>
                    <a:pt x="247" y="9"/>
                  </a:cubicBezTo>
                  <a:cubicBezTo>
                    <a:pt x="250" y="8"/>
                    <a:pt x="253" y="7"/>
                    <a:pt x="256" y="5"/>
                  </a:cubicBezTo>
                  <a:cubicBezTo>
                    <a:pt x="259" y="4"/>
                    <a:pt x="262" y="2"/>
                    <a:pt x="264" y="0"/>
                  </a:cubicBezTo>
                  <a:lnTo>
                    <a:pt x="272" y="0"/>
                  </a:lnTo>
                  <a:close/>
                  <a:moveTo>
                    <a:pt x="25" y="77"/>
                  </a:moveTo>
                  <a:cubicBezTo>
                    <a:pt x="25" y="137"/>
                    <a:pt x="25" y="137"/>
                    <a:pt x="25" y="137"/>
                  </a:cubicBezTo>
                  <a:cubicBezTo>
                    <a:pt x="12" y="137"/>
                    <a:pt x="12" y="137"/>
                    <a:pt x="12" y="137"/>
                  </a:cubicBezTo>
                  <a:cubicBezTo>
                    <a:pt x="12" y="92"/>
                    <a:pt x="12" y="92"/>
                    <a:pt x="12" y="92"/>
                  </a:cubicBezTo>
                  <a:cubicBezTo>
                    <a:pt x="12" y="92"/>
                    <a:pt x="11" y="93"/>
                    <a:pt x="10" y="93"/>
                  </a:cubicBezTo>
                  <a:cubicBezTo>
                    <a:pt x="9" y="94"/>
                    <a:pt x="8" y="94"/>
                    <a:pt x="7" y="95"/>
                  </a:cubicBezTo>
                  <a:cubicBezTo>
                    <a:pt x="6" y="95"/>
                    <a:pt x="5" y="96"/>
                    <a:pt x="3" y="96"/>
                  </a:cubicBezTo>
                  <a:cubicBezTo>
                    <a:pt x="2" y="96"/>
                    <a:pt x="1" y="97"/>
                    <a:pt x="0" y="97"/>
                  </a:cubicBezTo>
                  <a:cubicBezTo>
                    <a:pt x="0" y="86"/>
                    <a:pt x="0" y="86"/>
                    <a:pt x="0" y="86"/>
                  </a:cubicBezTo>
                  <a:cubicBezTo>
                    <a:pt x="3" y="85"/>
                    <a:pt x="6" y="84"/>
                    <a:pt x="9" y="82"/>
                  </a:cubicBezTo>
                  <a:cubicBezTo>
                    <a:pt x="12" y="81"/>
                    <a:pt x="15" y="79"/>
                    <a:pt x="17" y="77"/>
                  </a:cubicBezTo>
                  <a:lnTo>
                    <a:pt x="25" y="77"/>
                  </a:lnTo>
                  <a:close/>
                  <a:moveTo>
                    <a:pt x="63" y="138"/>
                  </a:moveTo>
                  <a:cubicBezTo>
                    <a:pt x="49" y="138"/>
                    <a:pt x="42" y="128"/>
                    <a:pt x="42" y="109"/>
                  </a:cubicBezTo>
                  <a:cubicBezTo>
                    <a:pt x="42" y="98"/>
                    <a:pt x="44" y="91"/>
                    <a:pt x="48" y="85"/>
                  </a:cubicBezTo>
                  <a:cubicBezTo>
                    <a:pt x="52" y="80"/>
                    <a:pt x="57" y="77"/>
                    <a:pt x="64" y="77"/>
                  </a:cubicBezTo>
                  <a:cubicBezTo>
                    <a:pt x="78" y="77"/>
                    <a:pt x="85" y="87"/>
                    <a:pt x="85" y="107"/>
                  </a:cubicBezTo>
                  <a:cubicBezTo>
                    <a:pt x="85" y="117"/>
                    <a:pt x="83" y="125"/>
                    <a:pt x="79" y="130"/>
                  </a:cubicBezTo>
                  <a:cubicBezTo>
                    <a:pt x="75" y="135"/>
                    <a:pt x="70" y="138"/>
                    <a:pt x="63" y="138"/>
                  </a:cubicBezTo>
                  <a:close/>
                  <a:moveTo>
                    <a:pt x="64" y="87"/>
                  </a:moveTo>
                  <a:cubicBezTo>
                    <a:pt x="58" y="87"/>
                    <a:pt x="55" y="94"/>
                    <a:pt x="55" y="108"/>
                  </a:cubicBezTo>
                  <a:cubicBezTo>
                    <a:pt x="55" y="121"/>
                    <a:pt x="58" y="128"/>
                    <a:pt x="64" y="128"/>
                  </a:cubicBezTo>
                  <a:cubicBezTo>
                    <a:pt x="69" y="128"/>
                    <a:pt x="72" y="121"/>
                    <a:pt x="72" y="108"/>
                  </a:cubicBezTo>
                  <a:cubicBezTo>
                    <a:pt x="72" y="94"/>
                    <a:pt x="69" y="87"/>
                    <a:pt x="64" y="87"/>
                  </a:cubicBezTo>
                  <a:close/>
                  <a:moveTo>
                    <a:pt x="122" y="77"/>
                  </a:moveTo>
                  <a:cubicBezTo>
                    <a:pt x="122" y="137"/>
                    <a:pt x="122" y="137"/>
                    <a:pt x="122" y="137"/>
                  </a:cubicBezTo>
                  <a:cubicBezTo>
                    <a:pt x="109" y="137"/>
                    <a:pt x="109" y="137"/>
                    <a:pt x="109" y="137"/>
                  </a:cubicBezTo>
                  <a:cubicBezTo>
                    <a:pt x="109" y="92"/>
                    <a:pt x="109" y="92"/>
                    <a:pt x="109" y="92"/>
                  </a:cubicBezTo>
                  <a:cubicBezTo>
                    <a:pt x="108" y="92"/>
                    <a:pt x="107" y="93"/>
                    <a:pt x="106" y="93"/>
                  </a:cubicBezTo>
                  <a:cubicBezTo>
                    <a:pt x="105" y="94"/>
                    <a:pt x="104" y="94"/>
                    <a:pt x="103" y="95"/>
                  </a:cubicBezTo>
                  <a:cubicBezTo>
                    <a:pt x="102" y="95"/>
                    <a:pt x="101" y="96"/>
                    <a:pt x="100" y="96"/>
                  </a:cubicBezTo>
                  <a:cubicBezTo>
                    <a:pt x="98" y="96"/>
                    <a:pt x="97" y="97"/>
                    <a:pt x="96" y="97"/>
                  </a:cubicBezTo>
                  <a:cubicBezTo>
                    <a:pt x="96" y="86"/>
                    <a:pt x="96" y="86"/>
                    <a:pt x="96" y="86"/>
                  </a:cubicBezTo>
                  <a:cubicBezTo>
                    <a:pt x="100" y="85"/>
                    <a:pt x="103" y="84"/>
                    <a:pt x="106" y="82"/>
                  </a:cubicBezTo>
                  <a:cubicBezTo>
                    <a:pt x="109" y="81"/>
                    <a:pt x="111" y="79"/>
                    <a:pt x="114" y="77"/>
                  </a:cubicBezTo>
                  <a:lnTo>
                    <a:pt x="122" y="77"/>
                  </a:lnTo>
                  <a:close/>
                  <a:moveTo>
                    <a:pt x="159" y="138"/>
                  </a:moveTo>
                  <a:cubicBezTo>
                    <a:pt x="145" y="138"/>
                    <a:pt x="138" y="128"/>
                    <a:pt x="138" y="109"/>
                  </a:cubicBezTo>
                  <a:cubicBezTo>
                    <a:pt x="138" y="98"/>
                    <a:pt x="140" y="91"/>
                    <a:pt x="144" y="85"/>
                  </a:cubicBezTo>
                  <a:cubicBezTo>
                    <a:pt x="148" y="80"/>
                    <a:pt x="153" y="77"/>
                    <a:pt x="161" y="77"/>
                  </a:cubicBezTo>
                  <a:cubicBezTo>
                    <a:pt x="174" y="77"/>
                    <a:pt x="181" y="87"/>
                    <a:pt x="181" y="107"/>
                  </a:cubicBezTo>
                  <a:cubicBezTo>
                    <a:pt x="181" y="117"/>
                    <a:pt x="179" y="125"/>
                    <a:pt x="175" y="130"/>
                  </a:cubicBezTo>
                  <a:cubicBezTo>
                    <a:pt x="172" y="135"/>
                    <a:pt x="166" y="138"/>
                    <a:pt x="159" y="138"/>
                  </a:cubicBezTo>
                  <a:close/>
                  <a:moveTo>
                    <a:pt x="160" y="87"/>
                  </a:moveTo>
                  <a:cubicBezTo>
                    <a:pt x="154" y="87"/>
                    <a:pt x="152" y="94"/>
                    <a:pt x="152" y="108"/>
                  </a:cubicBezTo>
                  <a:cubicBezTo>
                    <a:pt x="152" y="121"/>
                    <a:pt x="154" y="128"/>
                    <a:pt x="160" y="128"/>
                  </a:cubicBezTo>
                  <a:cubicBezTo>
                    <a:pt x="165" y="128"/>
                    <a:pt x="168" y="121"/>
                    <a:pt x="168" y="108"/>
                  </a:cubicBezTo>
                  <a:cubicBezTo>
                    <a:pt x="168" y="94"/>
                    <a:pt x="165" y="87"/>
                    <a:pt x="160" y="87"/>
                  </a:cubicBezTo>
                  <a:close/>
                  <a:moveTo>
                    <a:pt x="218" y="77"/>
                  </a:moveTo>
                  <a:cubicBezTo>
                    <a:pt x="218" y="137"/>
                    <a:pt x="218" y="137"/>
                    <a:pt x="218" y="137"/>
                  </a:cubicBezTo>
                  <a:cubicBezTo>
                    <a:pt x="205" y="137"/>
                    <a:pt x="205" y="137"/>
                    <a:pt x="205" y="137"/>
                  </a:cubicBezTo>
                  <a:cubicBezTo>
                    <a:pt x="205" y="92"/>
                    <a:pt x="205" y="92"/>
                    <a:pt x="205" y="92"/>
                  </a:cubicBezTo>
                  <a:cubicBezTo>
                    <a:pt x="204" y="92"/>
                    <a:pt x="203" y="93"/>
                    <a:pt x="202" y="93"/>
                  </a:cubicBezTo>
                  <a:cubicBezTo>
                    <a:pt x="201" y="94"/>
                    <a:pt x="200" y="94"/>
                    <a:pt x="199" y="95"/>
                  </a:cubicBezTo>
                  <a:cubicBezTo>
                    <a:pt x="198" y="95"/>
                    <a:pt x="197" y="96"/>
                    <a:pt x="196" y="96"/>
                  </a:cubicBezTo>
                  <a:cubicBezTo>
                    <a:pt x="195" y="96"/>
                    <a:pt x="194" y="97"/>
                    <a:pt x="192" y="97"/>
                  </a:cubicBezTo>
                  <a:cubicBezTo>
                    <a:pt x="192" y="86"/>
                    <a:pt x="192" y="86"/>
                    <a:pt x="192" y="86"/>
                  </a:cubicBezTo>
                  <a:cubicBezTo>
                    <a:pt x="196" y="85"/>
                    <a:pt x="199" y="84"/>
                    <a:pt x="202" y="82"/>
                  </a:cubicBezTo>
                  <a:cubicBezTo>
                    <a:pt x="205" y="81"/>
                    <a:pt x="208" y="79"/>
                    <a:pt x="210" y="77"/>
                  </a:cubicBezTo>
                  <a:lnTo>
                    <a:pt x="218" y="77"/>
                  </a:lnTo>
                  <a:close/>
                  <a:moveTo>
                    <a:pt x="256" y="138"/>
                  </a:moveTo>
                  <a:cubicBezTo>
                    <a:pt x="242" y="138"/>
                    <a:pt x="235" y="128"/>
                    <a:pt x="235" y="109"/>
                  </a:cubicBezTo>
                  <a:cubicBezTo>
                    <a:pt x="235" y="98"/>
                    <a:pt x="237" y="91"/>
                    <a:pt x="240" y="85"/>
                  </a:cubicBezTo>
                  <a:cubicBezTo>
                    <a:pt x="244" y="80"/>
                    <a:pt x="250" y="77"/>
                    <a:pt x="257" y="77"/>
                  </a:cubicBezTo>
                  <a:cubicBezTo>
                    <a:pt x="270" y="77"/>
                    <a:pt x="277" y="87"/>
                    <a:pt x="277" y="107"/>
                  </a:cubicBezTo>
                  <a:cubicBezTo>
                    <a:pt x="277" y="117"/>
                    <a:pt x="275" y="125"/>
                    <a:pt x="272" y="130"/>
                  </a:cubicBezTo>
                  <a:cubicBezTo>
                    <a:pt x="268" y="135"/>
                    <a:pt x="263" y="138"/>
                    <a:pt x="256" y="138"/>
                  </a:cubicBezTo>
                  <a:close/>
                  <a:moveTo>
                    <a:pt x="256" y="87"/>
                  </a:moveTo>
                  <a:cubicBezTo>
                    <a:pt x="251" y="87"/>
                    <a:pt x="248" y="94"/>
                    <a:pt x="248" y="108"/>
                  </a:cubicBezTo>
                  <a:cubicBezTo>
                    <a:pt x="248" y="121"/>
                    <a:pt x="251" y="128"/>
                    <a:pt x="256" y="128"/>
                  </a:cubicBezTo>
                  <a:cubicBezTo>
                    <a:pt x="261" y="128"/>
                    <a:pt x="264" y="121"/>
                    <a:pt x="264" y="108"/>
                  </a:cubicBezTo>
                  <a:cubicBezTo>
                    <a:pt x="264" y="94"/>
                    <a:pt x="262" y="87"/>
                    <a:pt x="256" y="87"/>
                  </a:cubicBezTo>
                  <a:close/>
                  <a:moveTo>
                    <a:pt x="21" y="215"/>
                  </a:moveTo>
                  <a:cubicBezTo>
                    <a:pt x="7" y="215"/>
                    <a:pt x="0" y="205"/>
                    <a:pt x="0" y="185"/>
                  </a:cubicBezTo>
                  <a:cubicBezTo>
                    <a:pt x="0" y="175"/>
                    <a:pt x="2" y="167"/>
                    <a:pt x="6" y="162"/>
                  </a:cubicBezTo>
                  <a:cubicBezTo>
                    <a:pt x="9" y="157"/>
                    <a:pt x="15" y="154"/>
                    <a:pt x="22" y="154"/>
                  </a:cubicBezTo>
                  <a:cubicBezTo>
                    <a:pt x="36" y="154"/>
                    <a:pt x="43" y="164"/>
                    <a:pt x="43" y="184"/>
                  </a:cubicBezTo>
                  <a:cubicBezTo>
                    <a:pt x="43" y="194"/>
                    <a:pt x="41" y="201"/>
                    <a:pt x="37" y="207"/>
                  </a:cubicBezTo>
                  <a:cubicBezTo>
                    <a:pt x="33" y="212"/>
                    <a:pt x="28" y="215"/>
                    <a:pt x="21" y="215"/>
                  </a:cubicBezTo>
                  <a:close/>
                  <a:moveTo>
                    <a:pt x="22" y="164"/>
                  </a:moveTo>
                  <a:cubicBezTo>
                    <a:pt x="16" y="164"/>
                    <a:pt x="13" y="171"/>
                    <a:pt x="13" y="185"/>
                  </a:cubicBezTo>
                  <a:cubicBezTo>
                    <a:pt x="13" y="198"/>
                    <a:pt x="16" y="205"/>
                    <a:pt x="21" y="205"/>
                  </a:cubicBezTo>
                  <a:cubicBezTo>
                    <a:pt x="27" y="205"/>
                    <a:pt x="29" y="198"/>
                    <a:pt x="29" y="184"/>
                  </a:cubicBezTo>
                  <a:cubicBezTo>
                    <a:pt x="29" y="171"/>
                    <a:pt x="27" y="164"/>
                    <a:pt x="22" y="164"/>
                  </a:cubicBezTo>
                  <a:close/>
                  <a:moveTo>
                    <a:pt x="79" y="154"/>
                  </a:moveTo>
                  <a:cubicBezTo>
                    <a:pt x="79" y="214"/>
                    <a:pt x="79" y="214"/>
                    <a:pt x="79" y="214"/>
                  </a:cubicBezTo>
                  <a:cubicBezTo>
                    <a:pt x="66" y="214"/>
                    <a:pt x="66" y="214"/>
                    <a:pt x="66" y="214"/>
                  </a:cubicBezTo>
                  <a:cubicBezTo>
                    <a:pt x="66" y="168"/>
                    <a:pt x="66" y="168"/>
                    <a:pt x="66" y="168"/>
                  </a:cubicBezTo>
                  <a:cubicBezTo>
                    <a:pt x="66" y="169"/>
                    <a:pt x="65" y="170"/>
                    <a:pt x="64" y="170"/>
                  </a:cubicBezTo>
                  <a:cubicBezTo>
                    <a:pt x="63" y="171"/>
                    <a:pt x="62" y="171"/>
                    <a:pt x="61" y="172"/>
                  </a:cubicBezTo>
                  <a:cubicBezTo>
                    <a:pt x="60" y="172"/>
                    <a:pt x="59" y="172"/>
                    <a:pt x="57" y="173"/>
                  </a:cubicBezTo>
                  <a:cubicBezTo>
                    <a:pt x="56" y="173"/>
                    <a:pt x="55" y="173"/>
                    <a:pt x="54" y="173"/>
                  </a:cubicBezTo>
                  <a:cubicBezTo>
                    <a:pt x="54" y="163"/>
                    <a:pt x="54" y="163"/>
                    <a:pt x="54" y="163"/>
                  </a:cubicBezTo>
                  <a:cubicBezTo>
                    <a:pt x="57" y="162"/>
                    <a:pt x="61" y="160"/>
                    <a:pt x="64" y="159"/>
                  </a:cubicBezTo>
                  <a:cubicBezTo>
                    <a:pt x="66" y="157"/>
                    <a:pt x="69" y="156"/>
                    <a:pt x="72" y="154"/>
                  </a:cubicBezTo>
                  <a:lnTo>
                    <a:pt x="79" y="154"/>
                  </a:lnTo>
                  <a:close/>
                  <a:moveTo>
                    <a:pt x="117" y="215"/>
                  </a:moveTo>
                  <a:cubicBezTo>
                    <a:pt x="103" y="215"/>
                    <a:pt x="96" y="205"/>
                    <a:pt x="96" y="185"/>
                  </a:cubicBezTo>
                  <a:cubicBezTo>
                    <a:pt x="96" y="175"/>
                    <a:pt x="98" y="167"/>
                    <a:pt x="102" y="162"/>
                  </a:cubicBezTo>
                  <a:cubicBezTo>
                    <a:pt x="106" y="157"/>
                    <a:pt x="111" y="154"/>
                    <a:pt x="118" y="154"/>
                  </a:cubicBezTo>
                  <a:cubicBezTo>
                    <a:pt x="132" y="154"/>
                    <a:pt x="139" y="164"/>
                    <a:pt x="139" y="184"/>
                  </a:cubicBezTo>
                  <a:cubicBezTo>
                    <a:pt x="139" y="194"/>
                    <a:pt x="137" y="201"/>
                    <a:pt x="133" y="207"/>
                  </a:cubicBezTo>
                  <a:cubicBezTo>
                    <a:pt x="130" y="212"/>
                    <a:pt x="124" y="215"/>
                    <a:pt x="117" y="215"/>
                  </a:cubicBezTo>
                  <a:close/>
                  <a:moveTo>
                    <a:pt x="118" y="164"/>
                  </a:moveTo>
                  <a:cubicBezTo>
                    <a:pt x="112" y="164"/>
                    <a:pt x="109" y="171"/>
                    <a:pt x="109" y="185"/>
                  </a:cubicBezTo>
                  <a:cubicBezTo>
                    <a:pt x="109" y="198"/>
                    <a:pt x="112" y="205"/>
                    <a:pt x="118" y="205"/>
                  </a:cubicBezTo>
                  <a:cubicBezTo>
                    <a:pt x="123" y="205"/>
                    <a:pt x="126" y="198"/>
                    <a:pt x="126" y="184"/>
                  </a:cubicBezTo>
                  <a:cubicBezTo>
                    <a:pt x="126" y="171"/>
                    <a:pt x="123" y="164"/>
                    <a:pt x="118" y="164"/>
                  </a:cubicBezTo>
                  <a:close/>
                  <a:moveTo>
                    <a:pt x="176" y="154"/>
                  </a:moveTo>
                  <a:cubicBezTo>
                    <a:pt x="176" y="214"/>
                    <a:pt x="176" y="214"/>
                    <a:pt x="176" y="214"/>
                  </a:cubicBezTo>
                  <a:cubicBezTo>
                    <a:pt x="163" y="214"/>
                    <a:pt x="163" y="214"/>
                    <a:pt x="163" y="214"/>
                  </a:cubicBezTo>
                  <a:cubicBezTo>
                    <a:pt x="163" y="168"/>
                    <a:pt x="163" y="168"/>
                    <a:pt x="163" y="168"/>
                  </a:cubicBezTo>
                  <a:cubicBezTo>
                    <a:pt x="162" y="169"/>
                    <a:pt x="161" y="170"/>
                    <a:pt x="160" y="170"/>
                  </a:cubicBezTo>
                  <a:cubicBezTo>
                    <a:pt x="159" y="171"/>
                    <a:pt x="158" y="171"/>
                    <a:pt x="157" y="172"/>
                  </a:cubicBezTo>
                  <a:cubicBezTo>
                    <a:pt x="156" y="172"/>
                    <a:pt x="155" y="172"/>
                    <a:pt x="154" y="173"/>
                  </a:cubicBezTo>
                  <a:cubicBezTo>
                    <a:pt x="153" y="173"/>
                    <a:pt x="151" y="173"/>
                    <a:pt x="150" y="173"/>
                  </a:cubicBezTo>
                  <a:cubicBezTo>
                    <a:pt x="150" y="163"/>
                    <a:pt x="150" y="163"/>
                    <a:pt x="150" y="163"/>
                  </a:cubicBezTo>
                  <a:cubicBezTo>
                    <a:pt x="154" y="162"/>
                    <a:pt x="157" y="160"/>
                    <a:pt x="160" y="159"/>
                  </a:cubicBezTo>
                  <a:cubicBezTo>
                    <a:pt x="163" y="157"/>
                    <a:pt x="165" y="156"/>
                    <a:pt x="168" y="154"/>
                  </a:cubicBezTo>
                  <a:lnTo>
                    <a:pt x="176" y="154"/>
                  </a:lnTo>
                  <a:close/>
                  <a:moveTo>
                    <a:pt x="214" y="215"/>
                  </a:moveTo>
                  <a:cubicBezTo>
                    <a:pt x="200" y="215"/>
                    <a:pt x="193" y="205"/>
                    <a:pt x="193" y="185"/>
                  </a:cubicBezTo>
                  <a:cubicBezTo>
                    <a:pt x="193" y="175"/>
                    <a:pt x="195" y="167"/>
                    <a:pt x="198" y="162"/>
                  </a:cubicBezTo>
                  <a:cubicBezTo>
                    <a:pt x="202" y="157"/>
                    <a:pt x="208" y="154"/>
                    <a:pt x="215" y="154"/>
                  </a:cubicBezTo>
                  <a:cubicBezTo>
                    <a:pt x="228" y="154"/>
                    <a:pt x="235" y="164"/>
                    <a:pt x="235" y="184"/>
                  </a:cubicBezTo>
                  <a:cubicBezTo>
                    <a:pt x="235" y="194"/>
                    <a:pt x="233" y="201"/>
                    <a:pt x="230" y="207"/>
                  </a:cubicBezTo>
                  <a:cubicBezTo>
                    <a:pt x="226" y="212"/>
                    <a:pt x="221" y="215"/>
                    <a:pt x="214" y="215"/>
                  </a:cubicBezTo>
                  <a:close/>
                  <a:moveTo>
                    <a:pt x="214" y="164"/>
                  </a:moveTo>
                  <a:cubicBezTo>
                    <a:pt x="209" y="164"/>
                    <a:pt x="206" y="171"/>
                    <a:pt x="206" y="185"/>
                  </a:cubicBezTo>
                  <a:cubicBezTo>
                    <a:pt x="206" y="198"/>
                    <a:pt x="209" y="205"/>
                    <a:pt x="214" y="205"/>
                  </a:cubicBezTo>
                  <a:cubicBezTo>
                    <a:pt x="219" y="205"/>
                    <a:pt x="222" y="198"/>
                    <a:pt x="222" y="184"/>
                  </a:cubicBezTo>
                  <a:cubicBezTo>
                    <a:pt x="222" y="171"/>
                    <a:pt x="219" y="164"/>
                    <a:pt x="214" y="164"/>
                  </a:cubicBezTo>
                  <a:close/>
                  <a:moveTo>
                    <a:pt x="272" y="154"/>
                  </a:moveTo>
                  <a:cubicBezTo>
                    <a:pt x="272" y="214"/>
                    <a:pt x="272" y="214"/>
                    <a:pt x="272" y="214"/>
                  </a:cubicBezTo>
                  <a:cubicBezTo>
                    <a:pt x="259" y="214"/>
                    <a:pt x="259" y="214"/>
                    <a:pt x="259" y="214"/>
                  </a:cubicBezTo>
                  <a:cubicBezTo>
                    <a:pt x="259" y="168"/>
                    <a:pt x="259" y="168"/>
                    <a:pt x="259" y="168"/>
                  </a:cubicBezTo>
                  <a:cubicBezTo>
                    <a:pt x="258" y="169"/>
                    <a:pt x="258" y="170"/>
                    <a:pt x="257" y="170"/>
                  </a:cubicBezTo>
                  <a:cubicBezTo>
                    <a:pt x="256" y="171"/>
                    <a:pt x="255" y="171"/>
                    <a:pt x="254" y="172"/>
                  </a:cubicBezTo>
                  <a:cubicBezTo>
                    <a:pt x="252" y="172"/>
                    <a:pt x="251" y="172"/>
                    <a:pt x="250" y="173"/>
                  </a:cubicBezTo>
                  <a:cubicBezTo>
                    <a:pt x="249" y="173"/>
                    <a:pt x="248" y="173"/>
                    <a:pt x="247" y="173"/>
                  </a:cubicBezTo>
                  <a:cubicBezTo>
                    <a:pt x="247" y="163"/>
                    <a:pt x="247" y="163"/>
                    <a:pt x="247" y="163"/>
                  </a:cubicBezTo>
                  <a:cubicBezTo>
                    <a:pt x="250" y="162"/>
                    <a:pt x="253" y="160"/>
                    <a:pt x="256" y="159"/>
                  </a:cubicBezTo>
                  <a:cubicBezTo>
                    <a:pt x="259" y="157"/>
                    <a:pt x="262" y="156"/>
                    <a:pt x="264" y="154"/>
                  </a:cubicBezTo>
                  <a:lnTo>
                    <a:pt x="272" y="154"/>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96" name="Freeform 95"/>
            <p:cNvSpPr>
              <a:spLocks noChangeAspect="1"/>
            </p:cNvSpPr>
            <p:nvPr/>
          </p:nvSpPr>
          <p:spPr bwMode="black">
            <a:xfrm>
              <a:off x="810855" y="2476645"/>
              <a:ext cx="373866" cy="260946"/>
            </a:xfrm>
            <a:custGeom>
              <a:avLst/>
              <a:gdLst>
                <a:gd name="connsiteX0" fmla="*/ 541228 w 979570"/>
                <a:gd name="connsiteY0" fmla="*/ 531962 h 887227"/>
                <a:gd name="connsiteX1" fmla="*/ 547155 w 979570"/>
                <a:gd name="connsiteY1" fmla="*/ 538150 h 887227"/>
                <a:gd name="connsiteX2" fmla="*/ 760399 w 979570"/>
                <a:gd name="connsiteY2" fmla="*/ 601984 h 887227"/>
                <a:gd name="connsiteX3" fmla="*/ 973643 w 979570"/>
                <a:gd name="connsiteY3" fmla="*/ 538150 h 887227"/>
                <a:gd name="connsiteX4" fmla="*/ 979570 w 979570"/>
                <a:gd name="connsiteY4" fmla="*/ 531962 h 887227"/>
                <a:gd name="connsiteX5" fmla="*/ 979570 w 979570"/>
                <a:gd name="connsiteY5" fmla="*/ 776991 h 887227"/>
                <a:gd name="connsiteX6" fmla="*/ 979570 w 979570"/>
                <a:gd name="connsiteY6" fmla="*/ 776993 h 887227"/>
                <a:gd name="connsiteX7" fmla="*/ 760399 w 979570"/>
                <a:gd name="connsiteY7" fmla="*/ 887227 h 887227"/>
                <a:gd name="connsiteX8" fmla="*/ 541228 w 979570"/>
                <a:gd name="connsiteY8" fmla="*/ 776993 h 887227"/>
                <a:gd name="connsiteX9" fmla="*/ 541228 w 979570"/>
                <a:gd name="connsiteY9" fmla="*/ 776993 h 887227"/>
                <a:gd name="connsiteX10" fmla="*/ 0 w 979570"/>
                <a:gd name="connsiteY10" fmla="*/ 531962 h 887227"/>
                <a:gd name="connsiteX11" fmla="*/ 5927 w 979570"/>
                <a:gd name="connsiteY11" fmla="*/ 538150 h 887227"/>
                <a:gd name="connsiteX12" fmla="*/ 219171 w 979570"/>
                <a:gd name="connsiteY12" fmla="*/ 601984 h 887227"/>
                <a:gd name="connsiteX13" fmla="*/ 432415 w 979570"/>
                <a:gd name="connsiteY13" fmla="*/ 538150 h 887227"/>
                <a:gd name="connsiteX14" fmla="*/ 438342 w 979570"/>
                <a:gd name="connsiteY14" fmla="*/ 531962 h 887227"/>
                <a:gd name="connsiteX15" fmla="*/ 438342 w 979570"/>
                <a:gd name="connsiteY15" fmla="*/ 776991 h 887227"/>
                <a:gd name="connsiteX16" fmla="*/ 438342 w 979570"/>
                <a:gd name="connsiteY16" fmla="*/ 776993 h 887227"/>
                <a:gd name="connsiteX17" fmla="*/ 219171 w 979570"/>
                <a:gd name="connsiteY17" fmla="*/ 887227 h 887227"/>
                <a:gd name="connsiteX18" fmla="*/ 0 w 979570"/>
                <a:gd name="connsiteY18" fmla="*/ 776993 h 887227"/>
                <a:gd name="connsiteX19" fmla="*/ 0 w 979570"/>
                <a:gd name="connsiteY19" fmla="*/ 776993 h 887227"/>
                <a:gd name="connsiteX20" fmla="*/ 760036 w 979570"/>
                <a:gd name="connsiteY20" fmla="*/ 322411 h 887227"/>
                <a:gd name="connsiteX21" fmla="*/ 978844 w 979570"/>
                <a:gd name="connsiteY21" fmla="*/ 444386 h 887227"/>
                <a:gd name="connsiteX22" fmla="*/ 760036 w 979570"/>
                <a:gd name="connsiteY22" fmla="*/ 566361 h 887227"/>
                <a:gd name="connsiteX23" fmla="*/ 541228 w 979570"/>
                <a:gd name="connsiteY23" fmla="*/ 444386 h 887227"/>
                <a:gd name="connsiteX24" fmla="*/ 760036 w 979570"/>
                <a:gd name="connsiteY24" fmla="*/ 322411 h 887227"/>
                <a:gd name="connsiteX25" fmla="*/ 0 w 979570"/>
                <a:gd name="connsiteY25" fmla="*/ 209552 h 887227"/>
                <a:gd name="connsiteX26" fmla="*/ 5927 w 979570"/>
                <a:gd name="connsiteY26" fmla="*/ 215739 h 887227"/>
                <a:gd name="connsiteX27" fmla="*/ 219171 w 979570"/>
                <a:gd name="connsiteY27" fmla="*/ 279574 h 887227"/>
                <a:gd name="connsiteX28" fmla="*/ 432415 w 979570"/>
                <a:gd name="connsiteY28" fmla="*/ 215739 h 887227"/>
                <a:gd name="connsiteX29" fmla="*/ 438342 w 979570"/>
                <a:gd name="connsiteY29" fmla="*/ 209552 h 887227"/>
                <a:gd name="connsiteX30" fmla="*/ 438342 w 979570"/>
                <a:gd name="connsiteY30" fmla="*/ 454580 h 887227"/>
                <a:gd name="connsiteX31" fmla="*/ 438342 w 979570"/>
                <a:gd name="connsiteY31" fmla="*/ 454583 h 887227"/>
                <a:gd name="connsiteX32" fmla="*/ 219171 w 979570"/>
                <a:gd name="connsiteY32" fmla="*/ 564817 h 887227"/>
                <a:gd name="connsiteX33" fmla="*/ 0 w 979570"/>
                <a:gd name="connsiteY33" fmla="*/ 454583 h 887227"/>
                <a:gd name="connsiteX34" fmla="*/ 0 w 979570"/>
                <a:gd name="connsiteY34" fmla="*/ 454582 h 887227"/>
                <a:gd name="connsiteX35" fmla="*/ 218808 w 979570"/>
                <a:gd name="connsiteY35" fmla="*/ 0 h 887227"/>
                <a:gd name="connsiteX36" fmla="*/ 437616 w 979570"/>
                <a:gd name="connsiteY36" fmla="*/ 121975 h 887227"/>
                <a:gd name="connsiteX37" fmla="*/ 218808 w 979570"/>
                <a:gd name="connsiteY37" fmla="*/ 243950 h 887227"/>
                <a:gd name="connsiteX38" fmla="*/ 0 w 979570"/>
                <a:gd name="connsiteY38" fmla="*/ 121975 h 887227"/>
                <a:gd name="connsiteX39" fmla="*/ 218808 w 979570"/>
                <a:gd name="connsiteY39" fmla="*/ 0 h 8872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979570" h="887227">
                  <a:moveTo>
                    <a:pt x="541228" y="531962"/>
                  </a:moveTo>
                  <a:lnTo>
                    <a:pt x="547155" y="538150"/>
                  </a:lnTo>
                  <a:cubicBezTo>
                    <a:pt x="588222" y="576173"/>
                    <a:pt x="668317" y="601984"/>
                    <a:pt x="760399" y="601984"/>
                  </a:cubicBezTo>
                  <a:cubicBezTo>
                    <a:pt x="852481" y="601984"/>
                    <a:pt x="932576" y="576173"/>
                    <a:pt x="973643" y="538150"/>
                  </a:cubicBezTo>
                  <a:lnTo>
                    <a:pt x="979570" y="531962"/>
                  </a:lnTo>
                  <a:lnTo>
                    <a:pt x="979570" y="776991"/>
                  </a:lnTo>
                  <a:lnTo>
                    <a:pt x="979570" y="776993"/>
                  </a:lnTo>
                  <a:cubicBezTo>
                    <a:pt x="979570" y="837874"/>
                    <a:pt x="881444" y="887227"/>
                    <a:pt x="760399" y="887227"/>
                  </a:cubicBezTo>
                  <a:cubicBezTo>
                    <a:pt x="639354" y="887227"/>
                    <a:pt x="541228" y="837874"/>
                    <a:pt x="541228" y="776993"/>
                  </a:cubicBezTo>
                  <a:lnTo>
                    <a:pt x="541228" y="776993"/>
                  </a:lnTo>
                  <a:close/>
                  <a:moveTo>
                    <a:pt x="0" y="531962"/>
                  </a:moveTo>
                  <a:lnTo>
                    <a:pt x="5927" y="538150"/>
                  </a:lnTo>
                  <a:cubicBezTo>
                    <a:pt x="46994" y="576173"/>
                    <a:pt x="127089" y="601984"/>
                    <a:pt x="219171" y="601984"/>
                  </a:cubicBezTo>
                  <a:cubicBezTo>
                    <a:pt x="311253" y="601984"/>
                    <a:pt x="391348" y="576173"/>
                    <a:pt x="432415" y="538150"/>
                  </a:cubicBezTo>
                  <a:lnTo>
                    <a:pt x="438342" y="531962"/>
                  </a:lnTo>
                  <a:lnTo>
                    <a:pt x="438342" y="776991"/>
                  </a:lnTo>
                  <a:lnTo>
                    <a:pt x="438342" y="776993"/>
                  </a:lnTo>
                  <a:cubicBezTo>
                    <a:pt x="438342" y="837874"/>
                    <a:pt x="340216" y="887227"/>
                    <a:pt x="219171" y="887227"/>
                  </a:cubicBezTo>
                  <a:cubicBezTo>
                    <a:pt x="98126" y="887227"/>
                    <a:pt x="0" y="837874"/>
                    <a:pt x="0" y="776993"/>
                  </a:cubicBezTo>
                  <a:lnTo>
                    <a:pt x="0" y="776993"/>
                  </a:lnTo>
                  <a:close/>
                  <a:moveTo>
                    <a:pt x="760036" y="322411"/>
                  </a:moveTo>
                  <a:cubicBezTo>
                    <a:pt x="880880" y="322411"/>
                    <a:pt x="978844" y="377021"/>
                    <a:pt x="978844" y="444386"/>
                  </a:cubicBezTo>
                  <a:cubicBezTo>
                    <a:pt x="978844" y="511751"/>
                    <a:pt x="880880" y="566361"/>
                    <a:pt x="760036" y="566361"/>
                  </a:cubicBezTo>
                  <a:cubicBezTo>
                    <a:pt x="639192" y="566361"/>
                    <a:pt x="541228" y="511751"/>
                    <a:pt x="541228" y="444386"/>
                  </a:cubicBezTo>
                  <a:cubicBezTo>
                    <a:pt x="541228" y="377021"/>
                    <a:pt x="639192" y="322411"/>
                    <a:pt x="760036" y="322411"/>
                  </a:cubicBezTo>
                  <a:close/>
                  <a:moveTo>
                    <a:pt x="0" y="209552"/>
                  </a:moveTo>
                  <a:lnTo>
                    <a:pt x="5927" y="215739"/>
                  </a:lnTo>
                  <a:cubicBezTo>
                    <a:pt x="46994" y="253762"/>
                    <a:pt x="127089" y="279574"/>
                    <a:pt x="219171" y="279574"/>
                  </a:cubicBezTo>
                  <a:cubicBezTo>
                    <a:pt x="311253" y="279574"/>
                    <a:pt x="391348" y="253762"/>
                    <a:pt x="432415" y="215739"/>
                  </a:cubicBezTo>
                  <a:lnTo>
                    <a:pt x="438342" y="209552"/>
                  </a:lnTo>
                  <a:lnTo>
                    <a:pt x="438342" y="454580"/>
                  </a:lnTo>
                  <a:lnTo>
                    <a:pt x="438342" y="454583"/>
                  </a:lnTo>
                  <a:cubicBezTo>
                    <a:pt x="438342" y="515463"/>
                    <a:pt x="340216" y="564817"/>
                    <a:pt x="219171" y="564817"/>
                  </a:cubicBezTo>
                  <a:cubicBezTo>
                    <a:pt x="98126" y="564817"/>
                    <a:pt x="0" y="515463"/>
                    <a:pt x="0" y="454583"/>
                  </a:cubicBezTo>
                  <a:lnTo>
                    <a:pt x="0" y="454582"/>
                  </a:lnTo>
                  <a:close/>
                  <a:moveTo>
                    <a:pt x="218808" y="0"/>
                  </a:moveTo>
                  <a:cubicBezTo>
                    <a:pt x="339652" y="0"/>
                    <a:pt x="437616" y="54610"/>
                    <a:pt x="437616" y="121975"/>
                  </a:cubicBezTo>
                  <a:cubicBezTo>
                    <a:pt x="437616" y="189340"/>
                    <a:pt x="339652" y="243950"/>
                    <a:pt x="218808" y="243950"/>
                  </a:cubicBezTo>
                  <a:cubicBezTo>
                    <a:pt x="97964" y="243950"/>
                    <a:pt x="0" y="189340"/>
                    <a:pt x="0" y="121975"/>
                  </a:cubicBezTo>
                  <a:cubicBezTo>
                    <a:pt x="0" y="54610"/>
                    <a:pt x="97964" y="0"/>
                    <a:pt x="218808"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8" tIns="109719" rIns="137148" bIns="109719" numCol="1" spcCol="0" rtlCol="0" fromWordArt="0" anchor="t" anchorCtr="0" forceAA="0" compatLnSpc="1">
              <a:prstTxWarp prst="textNoShape">
                <a:avLst/>
              </a:prstTxWarp>
              <a:noAutofit/>
            </a:bodyPr>
            <a:lstStyle/>
            <a:p>
              <a:pPr algn="ctr" defTabSz="699261" fontAlgn="base">
                <a:lnSpc>
                  <a:spcPct val="90000"/>
                </a:lnSpc>
                <a:spcBef>
                  <a:spcPct val="0"/>
                </a:spcBef>
                <a:spcAft>
                  <a:spcPct val="0"/>
                </a:spcAft>
              </a:pPr>
              <a:endParaRPr lang="en-US">
                <a:gradFill>
                  <a:gsLst>
                    <a:gs pos="0">
                      <a:srgbClr val="FFFFFF"/>
                    </a:gs>
                    <a:gs pos="100000">
                      <a:srgbClr val="FFFFFF"/>
                    </a:gs>
                  </a:gsLst>
                  <a:lin ang="5400000" scaled="0"/>
                </a:gradFill>
                <a:ea typeface="Segoe UI" pitchFamily="34" charset="0"/>
                <a:cs typeface="Segoe UI" pitchFamily="34" charset="0"/>
              </a:endParaRPr>
            </a:p>
          </p:txBody>
        </p:sp>
      </p:grpSp>
      <p:grpSp>
        <p:nvGrpSpPr>
          <p:cNvPr id="98" name="Group 97"/>
          <p:cNvGrpSpPr>
            <a:grpSpLocks noChangeAspect="1"/>
          </p:cNvGrpSpPr>
          <p:nvPr/>
        </p:nvGrpSpPr>
        <p:grpSpPr>
          <a:xfrm>
            <a:off x="197042" y="2842214"/>
            <a:ext cx="457200" cy="457200"/>
            <a:chOff x="719415" y="3138080"/>
            <a:chExt cx="640080" cy="640080"/>
          </a:xfrm>
        </p:grpSpPr>
        <p:pic>
          <p:nvPicPr>
            <p:cNvPr id="99" name="Picture 6" descr="\\MAGNUM\Projects\Microsoft\Cloud Power FY12\Design\ICONS_PNG\Cloud.png"/>
            <p:cNvPicPr>
              <a:picLocks noChangeAspect="1" noChangeArrowheads="1"/>
            </p:cNvPicPr>
            <p:nvPr/>
          </p:nvPicPr>
          <p:blipFill>
            <a:blip r:embed="rId3" cstate="print">
              <a:biLevel thresh="75000"/>
            </a:blip>
            <a:srcRect/>
            <a:stretch>
              <a:fillRect/>
            </a:stretch>
          </p:blipFill>
          <p:spPr bwMode="auto">
            <a:xfrm>
              <a:off x="719415" y="3138080"/>
              <a:ext cx="640080" cy="640080"/>
            </a:xfrm>
            <a:prstGeom prst="rect">
              <a:avLst/>
            </a:prstGeom>
            <a:noFill/>
          </p:spPr>
        </p:pic>
        <p:pic>
          <p:nvPicPr>
            <p:cNvPr id="100" name="Picture 99"/>
            <p:cNvPicPr>
              <a:picLocks noChangeAspect="1"/>
            </p:cNvPicPr>
            <p:nvPr/>
          </p:nvPicPr>
          <p:blipFill>
            <a:blip r:embed="rId4"/>
            <a:stretch>
              <a:fillRect/>
            </a:stretch>
          </p:blipFill>
          <p:spPr>
            <a:xfrm flipH="1">
              <a:off x="975955" y="3370303"/>
              <a:ext cx="127000" cy="175846"/>
            </a:xfrm>
            <a:prstGeom prst="rect">
              <a:avLst/>
            </a:prstGeom>
          </p:spPr>
        </p:pic>
      </p:grpSp>
      <p:sp>
        <p:nvSpPr>
          <p:cNvPr id="102" name="Freeform 122"/>
          <p:cNvSpPr>
            <a:spLocks noChangeAspect="1"/>
          </p:cNvSpPr>
          <p:nvPr/>
        </p:nvSpPr>
        <p:spPr bwMode="black">
          <a:xfrm>
            <a:off x="266989" y="4843626"/>
            <a:ext cx="317305" cy="320040"/>
          </a:xfrm>
          <a:custGeom>
            <a:avLst/>
            <a:gdLst>
              <a:gd name="T0" fmla="*/ 61 w 70"/>
              <a:gd name="T1" fmla="*/ 11 h 71"/>
              <a:gd name="T2" fmla="*/ 60 w 70"/>
              <a:gd name="T3" fmla="*/ 11 h 71"/>
              <a:gd name="T4" fmla="*/ 53 w 70"/>
              <a:gd name="T5" fmla="*/ 18 h 71"/>
              <a:gd name="T6" fmla="*/ 53 w 70"/>
              <a:gd name="T7" fmla="*/ 19 h 71"/>
              <a:gd name="T8" fmla="*/ 53 w 70"/>
              <a:gd name="T9" fmla="*/ 19 h 71"/>
              <a:gd name="T10" fmla="*/ 60 w 70"/>
              <a:gd name="T11" fmla="*/ 35 h 71"/>
              <a:gd name="T12" fmla="*/ 35 w 70"/>
              <a:gd name="T13" fmla="*/ 60 h 71"/>
              <a:gd name="T14" fmla="*/ 10 w 70"/>
              <a:gd name="T15" fmla="*/ 36 h 71"/>
              <a:gd name="T16" fmla="*/ 16 w 70"/>
              <a:gd name="T17" fmla="*/ 21 h 71"/>
              <a:gd name="T18" fmla="*/ 18 w 70"/>
              <a:gd name="T19" fmla="*/ 18 h 71"/>
              <a:gd name="T20" fmla="*/ 25 w 70"/>
              <a:gd name="T21" fmla="*/ 26 h 71"/>
              <a:gd name="T22" fmla="*/ 30 w 70"/>
              <a:gd name="T23" fmla="*/ 0 h 71"/>
              <a:gd name="T24" fmla="*/ 4 w 70"/>
              <a:gd name="T25" fmla="*/ 2 h 71"/>
              <a:gd name="T26" fmla="*/ 11 w 70"/>
              <a:gd name="T27" fmla="*/ 10 h 71"/>
              <a:gd name="T28" fmla="*/ 9 w 70"/>
              <a:gd name="T29" fmla="*/ 12 h 71"/>
              <a:gd name="T30" fmla="*/ 0 w 70"/>
              <a:gd name="T31" fmla="*/ 36 h 71"/>
              <a:gd name="T32" fmla="*/ 35 w 70"/>
              <a:gd name="T33" fmla="*/ 71 h 71"/>
              <a:gd name="T34" fmla="*/ 35 w 70"/>
              <a:gd name="T35" fmla="*/ 71 h 71"/>
              <a:gd name="T36" fmla="*/ 70 w 70"/>
              <a:gd name="T37" fmla="*/ 35 h 71"/>
              <a:gd name="T38" fmla="*/ 61 w 70"/>
              <a:gd name="T39" fmla="*/ 1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0" h="71">
                <a:moveTo>
                  <a:pt x="61" y="11"/>
                </a:moveTo>
                <a:cubicBezTo>
                  <a:pt x="60" y="11"/>
                  <a:pt x="60" y="11"/>
                  <a:pt x="60" y="11"/>
                </a:cubicBezTo>
                <a:cubicBezTo>
                  <a:pt x="53" y="18"/>
                  <a:pt x="53" y="18"/>
                  <a:pt x="53" y="18"/>
                </a:cubicBezTo>
                <a:cubicBezTo>
                  <a:pt x="53" y="19"/>
                  <a:pt x="53" y="19"/>
                  <a:pt x="53" y="19"/>
                </a:cubicBezTo>
                <a:cubicBezTo>
                  <a:pt x="53" y="19"/>
                  <a:pt x="53" y="19"/>
                  <a:pt x="53" y="19"/>
                </a:cubicBezTo>
                <a:cubicBezTo>
                  <a:pt x="57" y="23"/>
                  <a:pt x="60" y="29"/>
                  <a:pt x="60" y="35"/>
                </a:cubicBezTo>
                <a:cubicBezTo>
                  <a:pt x="60" y="49"/>
                  <a:pt x="49" y="60"/>
                  <a:pt x="35" y="60"/>
                </a:cubicBezTo>
                <a:cubicBezTo>
                  <a:pt x="22" y="60"/>
                  <a:pt x="11" y="49"/>
                  <a:pt x="10" y="36"/>
                </a:cubicBezTo>
                <a:cubicBezTo>
                  <a:pt x="10" y="30"/>
                  <a:pt x="12" y="25"/>
                  <a:pt x="16" y="21"/>
                </a:cubicBezTo>
                <a:cubicBezTo>
                  <a:pt x="18" y="18"/>
                  <a:pt x="18" y="18"/>
                  <a:pt x="18" y="18"/>
                </a:cubicBezTo>
                <a:cubicBezTo>
                  <a:pt x="25" y="26"/>
                  <a:pt x="25" y="26"/>
                  <a:pt x="25" y="26"/>
                </a:cubicBezTo>
                <a:cubicBezTo>
                  <a:pt x="30" y="0"/>
                  <a:pt x="30" y="0"/>
                  <a:pt x="30" y="0"/>
                </a:cubicBezTo>
                <a:cubicBezTo>
                  <a:pt x="4" y="2"/>
                  <a:pt x="4" y="2"/>
                  <a:pt x="4" y="2"/>
                </a:cubicBezTo>
                <a:cubicBezTo>
                  <a:pt x="11" y="10"/>
                  <a:pt x="11" y="10"/>
                  <a:pt x="11" y="10"/>
                </a:cubicBezTo>
                <a:cubicBezTo>
                  <a:pt x="9" y="12"/>
                  <a:pt x="9" y="12"/>
                  <a:pt x="9" y="12"/>
                </a:cubicBezTo>
                <a:cubicBezTo>
                  <a:pt x="3" y="19"/>
                  <a:pt x="0" y="27"/>
                  <a:pt x="0" y="36"/>
                </a:cubicBezTo>
                <a:cubicBezTo>
                  <a:pt x="0" y="55"/>
                  <a:pt x="16" y="71"/>
                  <a:pt x="35" y="71"/>
                </a:cubicBezTo>
                <a:cubicBezTo>
                  <a:pt x="35" y="71"/>
                  <a:pt x="35" y="71"/>
                  <a:pt x="35" y="71"/>
                </a:cubicBezTo>
                <a:cubicBezTo>
                  <a:pt x="55" y="71"/>
                  <a:pt x="70" y="55"/>
                  <a:pt x="70" y="35"/>
                </a:cubicBezTo>
                <a:cubicBezTo>
                  <a:pt x="70" y="26"/>
                  <a:pt x="67" y="18"/>
                  <a:pt x="61" y="11"/>
                </a:cubicBezTo>
              </a:path>
            </a:pathLst>
          </a:custGeom>
          <a:solidFill>
            <a:schemeClr val="tx1"/>
          </a:solidFill>
          <a:ln>
            <a:noFill/>
          </a:ln>
        </p:spPr>
        <p:txBody>
          <a:bodyPr vert="horz" wrap="square" lIns="69953" tIns="34976" rIns="69953" bIns="34976" numCol="1" anchor="t" anchorCtr="0" compatLnSpc="1">
            <a:prstTxWarp prst="textNoShape">
              <a:avLst/>
            </a:prstTxWarp>
          </a:bodyPr>
          <a:lstStyle/>
          <a:p>
            <a:endParaRPr lang="en-US" sz="1350">
              <a:solidFill>
                <a:srgbClr val="000000"/>
              </a:solidFill>
            </a:endParaRPr>
          </a:p>
        </p:txBody>
      </p:sp>
      <p:sp>
        <p:nvSpPr>
          <p:cNvPr id="101" name="Freeform 21"/>
          <p:cNvSpPr>
            <a:spLocks noChangeAspect="1" noEditPoints="1"/>
          </p:cNvSpPr>
          <p:nvPr/>
        </p:nvSpPr>
        <p:spPr bwMode="black">
          <a:xfrm>
            <a:off x="242762" y="3875709"/>
            <a:ext cx="365760" cy="318790"/>
          </a:xfrm>
          <a:custGeom>
            <a:avLst/>
            <a:gdLst>
              <a:gd name="T0" fmla="*/ 1220 w 1220"/>
              <a:gd name="T1" fmla="*/ 204 h 1063"/>
              <a:gd name="T2" fmla="*/ 1096 w 1220"/>
              <a:gd name="T3" fmla="*/ 79 h 1063"/>
              <a:gd name="T4" fmla="*/ 978 w 1220"/>
              <a:gd name="T5" fmla="*/ 164 h 1063"/>
              <a:gd name="T6" fmla="*/ 589 w 1220"/>
              <a:gd name="T7" fmla="*/ 115 h 1063"/>
              <a:gd name="T8" fmla="*/ 465 w 1220"/>
              <a:gd name="T9" fmla="*/ 0 h 1063"/>
              <a:gd name="T10" fmla="*/ 340 w 1220"/>
              <a:gd name="T11" fmla="*/ 124 h 1063"/>
              <a:gd name="T12" fmla="*/ 370 w 1220"/>
              <a:gd name="T13" fmla="*/ 205 h 1063"/>
              <a:gd name="T14" fmla="*/ 180 w 1220"/>
              <a:gd name="T15" fmla="*/ 453 h 1063"/>
              <a:gd name="T16" fmla="*/ 125 w 1220"/>
              <a:gd name="T17" fmla="*/ 440 h 1063"/>
              <a:gd name="T18" fmla="*/ 0 w 1220"/>
              <a:gd name="T19" fmla="*/ 564 h 1063"/>
              <a:gd name="T20" fmla="*/ 125 w 1220"/>
              <a:gd name="T21" fmla="*/ 689 h 1063"/>
              <a:gd name="T22" fmla="*/ 197 w 1220"/>
              <a:gd name="T23" fmla="*/ 666 h 1063"/>
              <a:gd name="T24" fmla="*/ 416 w 1220"/>
              <a:gd name="T25" fmla="*/ 872 h 1063"/>
              <a:gd name="T26" fmla="*/ 397 w 1220"/>
              <a:gd name="T27" fmla="*/ 938 h 1063"/>
              <a:gd name="T28" fmla="*/ 521 w 1220"/>
              <a:gd name="T29" fmla="*/ 1063 h 1063"/>
              <a:gd name="T30" fmla="*/ 646 w 1220"/>
              <a:gd name="T31" fmla="*/ 938 h 1063"/>
              <a:gd name="T32" fmla="*/ 642 w 1220"/>
              <a:gd name="T33" fmla="*/ 908 h 1063"/>
              <a:gd name="T34" fmla="*/ 948 w 1220"/>
              <a:gd name="T35" fmla="*/ 763 h 1063"/>
              <a:gd name="T36" fmla="*/ 1048 w 1220"/>
              <a:gd name="T37" fmla="*/ 814 h 1063"/>
              <a:gd name="T38" fmla="*/ 1173 w 1220"/>
              <a:gd name="T39" fmla="*/ 689 h 1063"/>
              <a:gd name="T40" fmla="*/ 1084 w 1220"/>
              <a:gd name="T41" fmla="*/ 570 h 1063"/>
              <a:gd name="T42" fmla="*/ 1108 w 1220"/>
              <a:gd name="T43" fmla="*/ 327 h 1063"/>
              <a:gd name="T44" fmla="*/ 1220 w 1220"/>
              <a:gd name="T45" fmla="*/ 204 h 1063"/>
              <a:gd name="T46" fmla="*/ 521 w 1220"/>
              <a:gd name="T47" fmla="*/ 594 h 1063"/>
              <a:gd name="T48" fmla="*/ 493 w 1220"/>
              <a:gd name="T49" fmla="*/ 245 h 1063"/>
              <a:gd name="T50" fmla="*/ 535 w 1220"/>
              <a:gd name="T51" fmla="*/ 226 h 1063"/>
              <a:gd name="T52" fmla="*/ 944 w 1220"/>
              <a:gd name="T53" fmla="*/ 621 h 1063"/>
              <a:gd name="T54" fmla="*/ 930 w 1220"/>
              <a:gd name="T55" fmla="*/ 649 h 1063"/>
              <a:gd name="T56" fmla="*/ 521 w 1220"/>
              <a:gd name="T57" fmla="*/ 594 h 1063"/>
              <a:gd name="T58" fmla="*/ 490 w 1220"/>
              <a:gd name="T59" fmla="*/ 818 h 1063"/>
              <a:gd name="T60" fmla="*/ 449 w 1220"/>
              <a:gd name="T61" fmla="*/ 837 h 1063"/>
              <a:gd name="T62" fmla="*/ 230 w 1220"/>
              <a:gd name="T63" fmla="*/ 631 h 1063"/>
              <a:gd name="T64" fmla="*/ 242 w 1220"/>
              <a:gd name="T65" fmla="*/ 605 h 1063"/>
              <a:gd name="T66" fmla="*/ 476 w 1220"/>
              <a:gd name="T67" fmla="*/ 636 h 1063"/>
              <a:gd name="T68" fmla="*/ 490 w 1220"/>
              <a:gd name="T69" fmla="*/ 818 h 1063"/>
              <a:gd name="T70" fmla="*/ 249 w 1220"/>
              <a:gd name="T71" fmla="*/ 558 h 1063"/>
              <a:gd name="T72" fmla="*/ 218 w 1220"/>
              <a:gd name="T73" fmla="*/ 482 h 1063"/>
              <a:gd name="T74" fmla="*/ 408 w 1220"/>
              <a:gd name="T75" fmla="*/ 235 h 1063"/>
              <a:gd name="T76" fmla="*/ 445 w 1220"/>
              <a:gd name="T77" fmla="*/ 247 h 1063"/>
              <a:gd name="T78" fmla="*/ 472 w 1220"/>
              <a:gd name="T79" fmla="*/ 587 h 1063"/>
              <a:gd name="T80" fmla="*/ 249 w 1220"/>
              <a:gd name="T81" fmla="*/ 558 h 1063"/>
              <a:gd name="T82" fmla="*/ 977 w 1220"/>
              <a:gd name="T83" fmla="*/ 587 h 1063"/>
              <a:gd name="T84" fmla="*/ 569 w 1220"/>
              <a:gd name="T85" fmla="*/ 192 h 1063"/>
              <a:gd name="T86" fmla="*/ 583 w 1220"/>
              <a:gd name="T87" fmla="*/ 163 h 1063"/>
              <a:gd name="T88" fmla="*/ 972 w 1220"/>
              <a:gd name="T89" fmla="*/ 212 h 1063"/>
              <a:gd name="T90" fmla="*/ 1060 w 1220"/>
              <a:gd name="T91" fmla="*/ 323 h 1063"/>
              <a:gd name="T92" fmla="*/ 1036 w 1220"/>
              <a:gd name="T93" fmla="*/ 566 h 1063"/>
              <a:gd name="T94" fmla="*/ 977 w 1220"/>
              <a:gd name="T95" fmla="*/ 587 h 1063"/>
              <a:gd name="T96" fmla="*/ 621 w 1220"/>
              <a:gd name="T97" fmla="*/ 864 h 1063"/>
              <a:gd name="T98" fmla="*/ 538 w 1220"/>
              <a:gd name="T99" fmla="*/ 815 h 1063"/>
              <a:gd name="T100" fmla="*/ 524 w 1220"/>
              <a:gd name="T101" fmla="*/ 643 h 1063"/>
              <a:gd name="T102" fmla="*/ 924 w 1220"/>
              <a:gd name="T103" fmla="*/ 696 h 1063"/>
              <a:gd name="T104" fmla="*/ 927 w 1220"/>
              <a:gd name="T105" fmla="*/ 720 h 1063"/>
              <a:gd name="T106" fmla="*/ 621 w 1220"/>
              <a:gd name="T107" fmla="*/ 864 h 10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220" h="1063">
                <a:moveTo>
                  <a:pt x="1220" y="204"/>
                </a:moveTo>
                <a:cubicBezTo>
                  <a:pt x="1220" y="135"/>
                  <a:pt x="1164" y="79"/>
                  <a:pt x="1096" y="79"/>
                </a:cubicBezTo>
                <a:cubicBezTo>
                  <a:pt x="1041" y="79"/>
                  <a:pt x="994" y="115"/>
                  <a:pt x="978" y="164"/>
                </a:cubicBezTo>
                <a:cubicBezTo>
                  <a:pt x="589" y="115"/>
                  <a:pt x="589" y="115"/>
                  <a:pt x="589" y="115"/>
                </a:cubicBezTo>
                <a:cubicBezTo>
                  <a:pt x="584" y="51"/>
                  <a:pt x="530" y="0"/>
                  <a:pt x="465" y="0"/>
                </a:cubicBezTo>
                <a:cubicBezTo>
                  <a:pt x="396" y="0"/>
                  <a:pt x="340" y="55"/>
                  <a:pt x="340" y="124"/>
                </a:cubicBezTo>
                <a:cubicBezTo>
                  <a:pt x="340" y="155"/>
                  <a:pt x="352" y="183"/>
                  <a:pt x="370" y="205"/>
                </a:cubicBezTo>
                <a:cubicBezTo>
                  <a:pt x="180" y="453"/>
                  <a:pt x="180" y="453"/>
                  <a:pt x="180" y="453"/>
                </a:cubicBezTo>
                <a:cubicBezTo>
                  <a:pt x="163" y="445"/>
                  <a:pt x="145" y="440"/>
                  <a:pt x="125" y="440"/>
                </a:cubicBezTo>
                <a:cubicBezTo>
                  <a:pt x="56" y="440"/>
                  <a:pt x="0" y="496"/>
                  <a:pt x="0" y="564"/>
                </a:cubicBezTo>
                <a:cubicBezTo>
                  <a:pt x="0" y="633"/>
                  <a:pt x="56" y="689"/>
                  <a:pt x="125" y="689"/>
                </a:cubicBezTo>
                <a:cubicBezTo>
                  <a:pt x="152" y="689"/>
                  <a:pt x="177" y="680"/>
                  <a:pt x="197" y="666"/>
                </a:cubicBezTo>
                <a:cubicBezTo>
                  <a:pt x="416" y="872"/>
                  <a:pt x="416" y="872"/>
                  <a:pt x="416" y="872"/>
                </a:cubicBezTo>
                <a:cubicBezTo>
                  <a:pt x="404" y="891"/>
                  <a:pt x="397" y="914"/>
                  <a:pt x="397" y="938"/>
                </a:cubicBezTo>
                <a:cubicBezTo>
                  <a:pt x="397" y="1007"/>
                  <a:pt x="453" y="1063"/>
                  <a:pt x="521" y="1063"/>
                </a:cubicBezTo>
                <a:cubicBezTo>
                  <a:pt x="590" y="1063"/>
                  <a:pt x="646" y="1007"/>
                  <a:pt x="646" y="938"/>
                </a:cubicBezTo>
                <a:cubicBezTo>
                  <a:pt x="646" y="928"/>
                  <a:pt x="644" y="918"/>
                  <a:pt x="642" y="908"/>
                </a:cubicBezTo>
                <a:cubicBezTo>
                  <a:pt x="948" y="763"/>
                  <a:pt x="948" y="763"/>
                  <a:pt x="948" y="763"/>
                </a:cubicBezTo>
                <a:cubicBezTo>
                  <a:pt x="970" y="794"/>
                  <a:pt x="1007" y="814"/>
                  <a:pt x="1048" y="814"/>
                </a:cubicBezTo>
                <a:cubicBezTo>
                  <a:pt x="1117" y="814"/>
                  <a:pt x="1173" y="758"/>
                  <a:pt x="1173" y="689"/>
                </a:cubicBezTo>
                <a:cubicBezTo>
                  <a:pt x="1173" y="633"/>
                  <a:pt x="1135" y="586"/>
                  <a:pt x="1084" y="570"/>
                </a:cubicBezTo>
                <a:cubicBezTo>
                  <a:pt x="1108" y="327"/>
                  <a:pt x="1108" y="327"/>
                  <a:pt x="1108" y="327"/>
                </a:cubicBezTo>
                <a:cubicBezTo>
                  <a:pt x="1171" y="321"/>
                  <a:pt x="1220" y="268"/>
                  <a:pt x="1220" y="204"/>
                </a:cubicBezTo>
                <a:close/>
                <a:moveTo>
                  <a:pt x="521" y="594"/>
                </a:moveTo>
                <a:cubicBezTo>
                  <a:pt x="493" y="245"/>
                  <a:pt x="493" y="245"/>
                  <a:pt x="493" y="245"/>
                </a:cubicBezTo>
                <a:cubicBezTo>
                  <a:pt x="509" y="241"/>
                  <a:pt x="523" y="235"/>
                  <a:pt x="535" y="226"/>
                </a:cubicBezTo>
                <a:cubicBezTo>
                  <a:pt x="944" y="621"/>
                  <a:pt x="944" y="621"/>
                  <a:pt x="944" y="621"/>
                </a:cubicBezTo>
                <a:cubicBezTo>
                  <a:pt x="938" y="630"/>
                  <a:pt x="934" y="639"/>
                  <a:pt x="930" y="649"/>
                </a:cubicBezTo>
                <a:lnTo>
                  <a:pt x="521" y="594"/>
                </a:lnTo>
                <a:close/>
                <a:moveTo>
                  <a:pt x="490" y="818"/>
                </a:moveTo>
                <a:cubicBezTo>
                  <a:pt x="475" y="822"/>
                  <a:pt x="461" y="828"/>
                  <a:pt x="449" y="837"/>
                </a:cubicBezTo>
                <a:cubicBezTo>
                  <a:pt x="230" y="631"/>
                  <a:pt x="230" y="631"/>
                  <a:pt x="230" y="631"/>
                </a:cubicBezTo>
                <a:cubicBezTo>
                  <a:pt x="235" y="623"/>
                  <a:pt x="239" y="614"/>
                  <a:pt x="242" y="605"/>
                </a:cubicBezTo>
                <a:cubicBezTo>
                  <a:pt x="476" y="636"/>
                  <a:pt x="476" y="636"/>
                  <a:pt x="476" y="636"/>
                </a:cubicBezTo>
                <a:lnTo>
                  <a:pt x="490" y="818"/>
                </a:lnTo>
                <a:close/>
                <a:moveTo>
                  <a:pt x="249" y="558"/>
                </a:moveTo>
                <a:cubicBezTo>
                  <a:pt x="247" y="529"/>
                  <a:pt x="236" y="502"/>
                  <a:pt x="218" y="482"/>
                </a:cubicBezTo>
                <a:cubicBezTo>
                  <a:pt x="408" y="235"/>
                  <a:pt x="408" y="235"/>
                  <a:pt x="408" y="235"/>
                </a:cubicBezTo>
                <a:cubicBezTo>
                  <a:pt x="420" y="241"/>
                  <a:pt x="432" y="245"/>
                  <a:pt x="445" y="247"/>
                </a:cubicBezTo>
                <a:cubicBezTo>
                  <a:pt x="472" y="587"/>
                  <a:pt x="472" y="587"/>
                  <a:pt x="472" y="587"/>
                </a:cubicBezTo>
                <a:lnTo>
                  <a:pt x="249" y="558"/>
                </a:lnTo>
                <a:close/>
                <a:moveTo>
                  <a:pt x="977" y="587"/>
                </a:moveTo>
                <a:cubicBezTo>
                  <a:pt x="569" y="192"/>
                  <a:pt x="569" y="192"/>
                  <a:pt x="569" y="192"/>
                </a:cubicBezTo>
                <a:cubicBezTo>
                  <a:pt x="575" y="183"/>
                  <a:pt x="579" y="173"/>
                  <a:pt x="583" y="163"/>
                </a:cubicBezTo>
                <a:cubicBezTo>
                  <a:pt x="972" y="212"/>
                  <a:pt x="972" y="212"/>
                  <a:pt x="972" y="212"/>
                </a:cubicBezTo>
                <a:cubicBezTo>
                  <a:pt x="975" y="265"/>
                  <a:pt x="1011" y="308"/>
                  <a:pt x="1060" y="323"/>
                </a:cubicBezTo>
                <a:cubicBezTo>
                  <a:pt x="1036" y="566"/>
                  <a:pt x="1036" y="566"/>
                  <a:pt x="1036" y="566"/>
                </a:cubicBezTo>
                <a:cubicBezTo>
                  <a:pt x="1015" y="568"/>
                  <a:pt x="994" y="575"/>
                  <a:pt x="977" y="587"/>
                </a:cubicBezTo>
                <a:close/>
                <a:moveTo>
                  <a:pt x="621" y="864"/>
                </a:moveTo>
                <a:cubicBezTo>
                  <a:pt x="602" y="838"/>
                  <a:pt x="572" y="819"/>
                  <a:pt x="538" y="815"/>
                </a:cubicBezTo>
                <a:cubicBezTo>
                  <a:pt x="524" y="643"/>
                  <a:pt x="524" y="643"/>
                  <a:pt x="524" y="643"/>
                </a:cubicBezTo>
                <a:cubicBezTo>
                  <a:pt x="924" y="696"/>
                  <a:pt x="924" y="696"/>
                  <a:pt x="924" y="696"/>
                </a:cubicBezTo>
                <a:cubicBezTo>
                  <a:pt x="924" y="704"/>
                  <a:pt x="925" y="712"/>
                  <a:pt x="927" y="720"/>
                </a:cubicBezTo>
                <a:lnTo>
                  <a:pt x="621" y="864"/>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1177" tIns="56942" rIns="71177" bIns="56942" numCol="1" spcCol="0" rtlCol="0" fromWordArt="0" anchor="t" anchorCtr="0" forceAA="0" compatLnSpc="1">
            <a:prstTxWarp prst="textNoShape">
              <a:avLst/>
            </a:prstTxWarp>
            <a:noAutofit/>
          </a:bodyPr>
          <a:lstStyle/>
          <a:p>
            <a:pPr algn="ctr" defTabSz="362895" fontAlgn="base">
              <a:lnSpc>
                <a:spcPct val="90000"/>
              </a:lnSpc>
              <a:spcBef>
                <a:spcPct val="0"/>
              </a:spcBef>
              <a:spcAft>
                <a:spcPct val="0"/>
              </a:spcAft>
            </a:pPr>
            <a:endParaRPr lang="en-US" sz="934">
              <a:gradFill>
                <a:gsLst>
                  <a:gs pos="0">
                    <a:srgbClr val="FFFFFF"/>
                  </a:gs>
                  <a:gs pos="100000">
                    <a:srgbClr val="FFFFFF"/>
                  </a:gs>
                </a:gsLst>
                <a:lin ang="5400000" scaled="0"/>
              </a:gradFill>
              <a:ea typeface="Segoe UI" pitchFamily="34" charset="0"/>
              <a:cs typeface="Segoe UI" pitchFamily="34" charset="0"/>
            </a:endParaRPr>
          </a:p>
        </p:txBody>
      </p:sp>
      <p:sp>
        <p:nvSpPr>
          <p:cNvPr id="103" name="Freeform 102"/>
          <p:cNvSpPr>
            <a:spLocks noChangeAspect="1"/>
          </p:cNvSpPr>
          <p:nvPr/>
        </p:nvSpPr>
        <p:spPr bwMode="black">
          <a:xfrm>
            <a:off x="242762" y="5803220"/>
            <a:ext cx="365760" cy="320928"/>
          </a:xfrm>
          <a:custGeom>
            <a:avLst/>
            <a:gdLst/>
            <a:ahLst/>
            <a:cxnLst/>
            <a:rect l="l" t="t" r="r" b="b"/>
            <a:pathLst>
              <a:path w="4740335" h="4048081">
                <a:moveTo>
                  <a:pt x="3683614" y="1098549"/>
                </a:moveTo>
                <a:cubicBezTo>
                  <a:pt x="3683654" y="1098549"/>
                  <a:pt x="3689354" y="1098549"/>
                  <a:pt x="4502870" y="1098549"/>
                </a:cubicBezTo>
                <a:cubicBezTo>
                  <a:pt x="4633477" y="1098549"/>
                  <a:pt x="4740335" y="1205183"/>
                  <a:pt x="4740335" y="1335514"/>
                </a:cubicBezTo>
                <a:cubicBezTo>
                  <a:pt x="4740335" y="1335569"/>
                  <a:pt x="4740335" y="1343335"/>
                  <a:pt x="4740335" y="2449249"/>
                </a:cubicBezTo>
                <a:cubicBezTo>
                  <a:pt x="4740335" y="2579580"/>
                  <a:pt x="4633477" y="2686214"/>
                  <a:pt x="4502870" y="2686214"/>
                </a:cubicBezTo>
                <a:cubicBezTo>
                  <a:pt x="4502870" y="2686253"/>
                  <a:pt x="4502870" y="2691777"/>
                  <a:pt x="4502870" y="3480046"/>
                </a:cubicBezTo>
                <a:cubicBezTo>
                  <a:pt x="4502870" y="3610377"/>
                  <a:pt x="4396011" y="3717011"/>
                  <a:pt x="4265405" y="3717011"/>
                </a:cubicBezTo>
                <a:cubicBezTo>
                  <a:pt x="4265376" y="3717011"/>
                  <a:pt x="4262133" y="3717011"/>
                  <a:pt x="3909206" y="3717011"/>
                </a:cubicBezTo>
                <a:cubicBezTo>
                  <a:pt x="3790473" y="3717011"/>
                  <a:pt x="3683614" y="3610377"/>
                  <a:pt x="3683614" y="3480046"/>
                </a:cubicBezTo>
                <a:cubicBezTo>
                  <a:pt x="3683614" y="3480010"/>
                  <a:pt x="3683614" y="3474701"/>
                  <a:pt x="3683614" y="2686214"/>
                </a:cubicBezTo>
                <a:cubicBezTo>
                  <a:pt x="3553008" y="2686214"/>
                  <a:pt x="3446148" y="2579580"/>
                  <a:pt x="3446148" y="2449249"/>
                </a:cubicBezTo>
                <a:cubicBezTo>
                  <a:pt x="3446148" y="2449192"/>
                  <a:pt x="3446148" y="2441288"/>
                  <a:pt x="3446148" y="1335514"/>
                </a:cubicBezTo>
                <a:cubicBezTo>
                  <a:pt x="3446148" y="1205183"/>
                  <a:pt x="3553008" y="1098549"/>
                  <a:pt x="3683614" y="1098549"/>
                </a:cubicBezTo>
                <a:close/>
                <a:moveTo>
                  <a:pt x="236546" y="1098549"/>
                </a:moveTo>
                <a:cubicBezTo>
                  <a:pt x="236570" y="1098549"/>
                  <a:pt x="240947" y="1098549"/>
                  <a:pt x="1052628" y="1098549"/>
                </a:cubicBezTo>
                <a:cubicBezTo>
                  <a:pt x="1182728" y="1098549"/>
                  <a:pt x="1289174" y="1205183"/>
                  <a:pt x="1289174" y="1335514"/>
                </a:cubicBezTo>
                <a:cubicBezTo>
                  <a:pt x="1289174" y="1335532"/>
                  <a:pt x="1289174" y="1340039"/>
                  <a:pt x="1289174" y="2449249"/>
                </a:cubicBezTo>
                <a:cubicBezTo>
                  <a:pt x="1289174" y="2579580"/>
                  <a:pt x="1182728" y="2686214"/>
                  <a:pt x="1052628" y="2686214"/>
                </a:cubicBezTo>
                <a:cubicBezTo>
                  <a:pt x="1052628" y="2686235"/>
                  <a:pt x="1052628" y="2690268"/>
                  <a:pt x="1052628" y="3480046"/>
                </a:cubicBezTo>
                <a:cubicBezTo>
                  <a:pt x="1052628" y="3610377"/>
                  <a:pt x="946183" y="3717011"/>
                  <a:pt x="827910" y="3717011"/>
                </a:cubicBezTo>
                <a:cubicBezTo>
                  <a:pt x="827894" y="3717011"/>
                  <a:pt x="825508" y="3717011"/>
                  <a:pt x="473091" y="3717011"/>
                </a:cubicBezTo>
                <a:cubicBezTo>
                  <a:pt x="342991" y="3717011"/>
                  <a:pt x="236546" y="3610377"/>
                  <a:pt x="236546" y="3480046"/>
                </a:cubicBezTo>
                <a:cubicBezTo>
                  <a:pt x="236546" y="3480026"/>
                  <a:pt x="236546" y="3476021"/>
                  <a:pt x="236546" y="2686214"/>
                </a:cubicBezTo>
                <a:cubicBezTo>
                  <a:pt x="106446" y="2686214"/>
                  <a:pt x="0" y="2579580"/>
                  <a:pt x="0" y="2449249"/>
                </a:cubicBezTo>
                <a:cubicBezTo>
                  <a:pt x="0" y="2449230"/>
                  <a:pt x="0" y="2444630"/>
                  <a:pt x="0" y="1335514"/>
                </a:cubicBezTo>
                <a:cubicBezTo>
                  <a:pt x="0" y="1205183"/>
                  <a:pt x="106446" y="1098549"/>
                  <a:pt x="236546" y="1098549"/>
                </a:cubicBezTo>
                <a:close/>
                <a:moveTo>
                  <a:pt x="1895194" y="993211"/>
                </a:moveTo>
                <a:cubicBezTo>
                  <a:pt x="1895245" y="993211"/>
                  <a:pt x="1902161" y="993211"/>
                  <a:pt x="2845141" y="993211"/>
                </a:cubicBezTo>
                <a:cubicBezTo>
                  <a:pt x="2999507" y="993211"/>
                  <a:pt x="3130125" y="1123457"/>
                  <a:pt x="3130125" y="1277385"/>
                </a:cubicBezTo>
                <a:cubicBezTo>
                  <a:pt x="3130125" y="1277420"/>
                  <a:pt x="3130125" y="1284134"/>
                  <a:pt x="3130125" y="2568008"/>
                </a:cubicBezTo>
                <a:cubicBezTo>
                  <a:pt x="3130125" y="2721936"/>
                  <a:pt x="2999507" y="2852182"/>
                  <a:pt x="2845141" y="2852182"/>
                </a:cubicBezTo>
                <a:cubicBezTo>
                  <a:pt x="2845141" y="2852231"/>
                  <a:pt x="2845141" y="2858826"/>
                  <a:pt x="2845141" y="3763907"/>
                </a:cubicBezTo>
                <a:cubicBezTo>
                  <a:pt x="2845141" y="3917835"/>
                  <a:pt x="2726398" y="4048081"/>
                  <a:pt x="2572031" y="4048081"/>
                </a:cubicBezTo>
                <a:cubicBezTo>
                  <a:pt x="2571992" y="4048081"/>
                  <a:pt x="2568051" y="4048081"/>
                  <a:pt x="2168304" y="4048081"/>
                </a:cubicBezTo>
                <a:cubicBezTo>
                  <a:pt x="2013937" y="4048081"/>
                  <a:pt x="1895194" y="3917835"/>
                  <a:pt x="1895194" y="3763907"/>
                </a:cubicBezTo>
                <a:cubicBezTo>
                  <a:pt x="1895194" y="3763858"/>
                  <a:pt x="1895194" y="3757193"/>
                  <a:pt x="1895194" y="2852182"/>
                </a:cubicBezTo>
                <a:cubicBezTo>
                  <a:pt x="1740828" y="2852182"/>
                  <a:pt x="1610210" y="2721936"/>
                  <a:pt x="1610210" y="2568008"/>
                </a:cubicBezTo>
                <a:cubicBezTo>
                  <a:pt x="1610210" y="2567966"/>
                  <a:pt x="1610210" y="2560581"/>
                  <a:pt x="1610210" y="1277385"/>
                </a:cubicBezTo>
                <a:cubicBezTo>
                  <a:pt x="1610210" y="1123457"/>
                  <a:pt x="1740828" y="993211"/>
                  <a:pt x="1895194" y="993211"/>
                </a:cubicBezTo>
                <a:close/>
                <a:moveTo>
                  <a:pt x="4093246" y="245790"/>
                </a:moveTo>
                <a:cubicBezTo>
                  <a:pt x="4306565" y="245790"/>
                  <a:pt x="4479495" y="420965"/>
                  <a:pt x="4479495" y="637055"/>
                </a:cubicBezTo>
                <a:cubicBezTo>
                  <a:pt x="4479495" y="853145"/>
                  <a:pt x="4306565" y="1028320"/>
                  <a:pt x="4093246" y="1028320"/>
                </a:cubicBezTo>
                <a:cubicBezTo>
                  <a:pt x="3879927" y="1028320"/>
                  <a:pt x="3706997" y="853145"/>
                  <a:pt x="3706997" y="637055"/>
                </a:cubicBezTo>
                <a:cubicBezTo>
                  <a:pt x="3706997" y="420965"/>
                  <a:pt x="3879927" y="245790"/>
                  <a:pt x="4093246" y="245790"/>
                </a:cubicBezTo>
                <a:close/>
                <a:moveTo>
                  <a:pt x="644584" y="245790"/>
                </a:moveTo>
                <a:cubicBezTo>
                  <a:pt x="856519" y="245790"/>
                  <a:pt x="1028326" y="420965"/>
                  <a:pt x="1028326" y="637055"/>
                </a:cubicBezTo>
                <a:cubicBezTo>
                  <a:pt x="1028326" y="853145"/>
                  <a:pt x="856519" y="1028320"/>
                  <a:pt x="644584" y="1028320"/>
                </a:cubicBezTo>
                <a:cubicBezTo>
                  <a:pt x="432649" y="1028320"/>
                  <a:pt x="260842" y="853145"/>
                  <a:pt x="260842" y="637055"/>
                </a:cubicBezTo>
                <a:cubicBezTo>
                  <a:pt x="260842" y="420965"/>
                  <a:pt x="432649" y="245790"/>
                  <a:pt x="644584" y="245790"/>
                </a:cubicBezTo>
                <a:close/>
                <a:moveTo>
                  <a:pt x="2367657" y="0"/>
                </a:moveTo>
                <a:cubicBezTo>
                  <a:pt x="2616992" y="0"/>
                  <a:pt x="2819118" y="203249"/>
                  <a:pt x="2819118" y="453969"/>
                </a:cubicBezTo>
                <a:cubicBezTo>
                  <a:pt x="2819118" y="704689"/>
                  <a:pt x="2616992" y="907938"/>
                  <a:pt x="2367657" y="907938"/>
                </a:cubicBezTo>
                <a:cubicBezTo>
                  <a:pt x="2118322" y="907938"/>
                  <a:pt x="1916196" y="704689"/>
                  <a:pt x="1916196" y="453969"/>
                </a:cubicBezTo>
                <a:cubicBezTo>
                  <a:pt x="1916196" y="203249"/>
                  <a:pt x="2118322" y="0"/>
                  <a:pt x="2367657"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37148" tIns="109719" rIns="137148" bIns="109719"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699261" fontAlgn="base">
              <a:lnSpc>
                <a:spcPct val="90000"/>
              </a:lnSpc>
              <a:spcBef>
                <a:spcPct val="0"/>
              </a:spcBef>
              <a:spcAft>
                <a:spcPct val="0"/>
              </a:spcAft>
            </a:pPr>
            <a:endParaRPr lang="en-US">
              <a:gradFill>
                <a:gsLst>
                  <a:gs pos="0">
                    <a:srgbClr val="FFFFFF"/>
                  </a:gs>
                  <a:gs pos="100000">
                    <a:srgbClr val="FFFFFF"/>
                  </a:gs>
                </a:gsLst>
                <a:lin ang="5400000" scaled="0"/>
              </a:gradFill>
              <a:ea typeface="Segoe UI" pitchFamily="34" charset="0"/>
              <a:cs typeface="Segoe UI" pitchFamily="34" charset="0"/>
            </a:endParaRPr>
          </a:p>
        </p:txBody>
      </p:sp>
      <p:sp>
        <p:nvSpPr>
          <p:cNvPr id="104" name="Rectangle 103"/>
          <p:cNvSpPr/>
          <p:nvPr/>
        </p:nvSpPr>
        <p:spPr bwMode="auto">
          <a:xfrm>
            <a:off x="-1464" y="1520549"/>
            <a:ext cx="2816907" cy="5337451"/>
          </a:xfrm>
          <a:prstGeom prst="rect">
            <a:avLst/>
          </a:prstGeom>
          <a:solidFill>
            <a:schemeClr val="tx1">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8786298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solidFill>
            <a:schemeClr val="bg1"/>
          </a:solidFill>
        </p:spPr>
        <p:txBody>
          <a:bodyPr/>
          <a:lstStyle/>
          <a:p>
            <a:r>
              <a:rPr lang="pt-PT">
                <a:solidFill>
                  <a:schemeClr val="tx1"/>
                </a:solidFill>
              </a:rPr>
              <a:t>Visualisations – Filled Map Chart</a:t>
            </a:r>
            <a:endParaRPr lang="en-US" sz="3600">
              <a:solidFill>
                <a:schemeClr val="tx1"/>
              </a:solidFill>
            </a:endParaRPr>
          </a:p>
        </p:txBody>
      </p:sp>
      <p:grpSp>
        <p:nvGrpSpPr>
          <p:cNvPr id="52" name="Group 51"/>
          <p:cNvGrpSpPr/>
          <p:nvPr/>
        </p:nvGrpSpPr>
        <p:grpSpPr>
          <a:xfrm>
            <a:off x="2" y="1"/>
            <a:ext cx="2849058" cy="6858000"/>
            <a:chOff x="2" y="1"/>
            <a:chExt cx="2849058" cy="6858000"/>
          </a:xfrm>
        </p:grpSpPr>
        <p:sp>
          <p:nvSpPr>
            <p:cNvPr id="71" name="Rectangle 70"/>
            <p:cNvSpPr/>
            <p:nvPr/>
          </p:nvSpPr>
          <p:spPr bwMode="auto">
            <a:xfrm>
              <a:off x="2" y="1"/>
              <a:ext cx="2849058"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3" name="Oval 70"/>
            <p:cNvSpPr/>
            <p:nvPr/>
          </p:nvSpPr>
          <p:spPr>
            <a:xfrm>
              <a:off x="1413521" y="4951537"/>
              <a:ext cx="1119626" cy="1119626"/>
            </a:xfrm>
            <a:prstGeom prst="ellipse">
              <a:avLst/>
            </a:prstGeom>
            <a:solidFill>
              <a:srgbClr val="F2C812"/>
            </a:solidFill>
            <a:ln w="3175" cap="flat" cmpd="sng" algn="ctr">
              <a:noFill/>
              <a:prstDash val="solid"/>
            </a:ln>
            <a:effectLst/>
          </p:spPr>
          <p:txBody>
            <a:bodyPr vert="horz" wrap="none" lIns="0" tIns="45720" rIns="0" bIns="0" rtlCol="0" anchor="t"/>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Segoe UI"/>
                  <a:ea typeface="Segoe UI" pitchFamily="34" charset="0"/>
                  <a:cs typeface="Segoe UI" pitchFamily="34" charset="0"/>
                </a:rPr>
                <a:t>Share &amp;</a:t>
              </a:r>
            </a:p>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Segoe UI"/>
                  <a:ea typeface="Segoe UI" pitchFamily="34" charset="0"/>
                  <a:cs typeface="Segoe UI" pitchFamily="34" charset="0"/>
                </a:rPr>
                <a:t>collaborate </a:t>
              </a:r>
            </a:p>
          </p:txBody>
        </p:sp>
        <p:grpSp>
          <p:nvGrpSpPr>
            <p:cNvPr id="76" name="Group 38"/>
            <p:cNvGrpSpPr>
              <a:grpSpLocks noChangeAspect="1"/>
            </p:cNvGrpSpPr>
            <p:nvPr/>
          </p:nvGrpSpPr>
          <p:grpSpPr>
            <a:xfrm>
              <a:off x="676996" y="3930692"/>
              <a:ext cx="383905" cy="351536"/>
              <a:chOff x="4363684" y="5330386"/>
              <a:chExt cx="1409956" cy="1291077"/>
            </a:xfrm>
            <a:solidFill>
              <a:srgbClr val="217346"/>
            </a:solidFill>
          </p:grpSpPr>
          <p:sp>
            <p:nvSpPr>
              <p:cNvPr id="102" name="Donut 3"/>
              <p:cNvSpPr/>
              <p:nvPr/>
            </p:nvSpPr>
            <p:spPr bwMode="auto">
              <a:xfrm>
                <a:off x="4363684" y="5330386"/>
                <a:ext cx="1409956" cy="1291077"/>
              </a:xfrm>
              <a:custGeom>
                <a:avLst/>
                <a:gdLst/>
                <a:ahLst/>
                <a:cxnLst/>
                <a:rect l="l" t="t" r="r" b="b"/>
                <a:pathLst>
                  <a:path w="1409956" h="1291077">
                    <a:moveTo>
                      <a:pt x="956401" y="78410"/>
                    </a:moveTo>
                    <a:cubicBezTo>
                      <a:pt x="747518" y="78410"/>
                      <a:pt x="578184" y="247744"/>
                      <a:pt x="578184" y="456627"/>
                    </a:cubicBezTo>
                    <a:cubicBezTo>
                      <a:pt x="578184" y="665510"/>
                      <a:pt x="747518" y="834844"/>
                      <a:pt x="956401" y="834844"/>
                    </a:cubicBezTo>
                    <a:cubicBezTo>
                      <a:pt x="1165284" y="834844"/>
                      <a:pt x="1334618" y="665510"/>
                      <a:pt x="1334618" y="456627"/>
                    </a:cubicBezTo>
                    <a:cubicBezTo>
                      <a:pt x="1334618" y="247744"/>
                      <a:pt x="1165284" y="78410"/>
                      <a:pt x="956401" y="78410"/>
                    </a:cubicBezTo>
                    <a:close/>
                    <a:moveTo>
                      <a:pt x="952756" y="0"/>
                    </a:moveTo>
                    <a:cubicBezTo>
                      <a:pt x="1205261" y="0"/>
                      <a:pt x="1409956" y="204695"/>
                      <a:pt x="1409956" y="457200"/>
                    </a:cubicBezTo>
                    <a:cubicBezTo>
                      <a:pt x="1409956" y="709705"/>
                      <a:pt x="1205261" y="914400"/>
                      <a:pt x="952756" y="914400"/>
                    </a:cubicBezTo>
                    <a:cubicBezTo>
                      <a:pt x="862133" y="914400"/>
                      <a:pt x="777669" y="888034"/>
                      <a:pt x="707132" y="841746"/>
                    </a:cubicBezTo>
                    <a:lnTo>
                      <a:pt x="136495" y="1280102"/>
                    </a:lnTo>
                    <a:cubicBezTo>
                      <a:pt x="21896" y="1327168"/>
                      <a:pt x="-44029" y="1213730"/>
                      <a:pt x="33797" y="1113182"/>
                    </a:cubicBezTo>
                    <a:lnTo>
                      <a:pt x="568587" y="703518"/>
                    </a:lnTo>
                    <a:cubicBezTo>
                      <a:pt x="522087" y="632814"/>
                      <a:pt x="495556" y="548105"/>
                      <a:pt x="495556" y="457200"/>
                    </a:cubicBezTo>
                    <a:cubicBezTo>
                      <a:pt x="495556" y="204695"/>
                      <a:pt x="700251" y="0"/>
                      <a:pt x="952756" y="0"/>
                    </a:cubicBezTo>
                    <a:close/>
                  </a:path>
                </a:pathLst>
              </a:custGeom>
              <a:grpFill/>
              <a:ln>
                <a:solidFill>
                  <a:srgbClr val="21734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sp>
            <p:nvSpPr>
              <p:cNvPr id="103" name="Rectangle 4"/>
              <p:cNvSpPr/>
              <p:nvPr/>
            </p:nvSpPr>
            <p:spPr>
              <a:xfrm>
                <a:off x="5058389" y="5528247"/>
                <a:ext cx="490885" cy="490020"/>
              </a:xfrm>
              <a:custGeom>
                <a:avLst/>
                <a:gdLst/>
                <a:ahLst/>
                <a:cxnLst/>
                <a:rect l="l" t="t" r="r" b="b"/>
                <a:pathLst>
                  <a:path w="490885" h="490020">
                    <a:moveTo>
                      <a:pt x="240752" y="0"/>
                    </a:moveTo>
                    <a:cubicBezTo>
                      <a:pt x="253961" y="11844"/>
                      <a:pt x="293310" y="49692"/>
                      <a:pt x="337332" y="92439"/>
                    </a:cubicBezTo>
                    <a:lnTo>
                      <a:pt x="328342" y="81259"/>
                    </a:lnTo>
                    <a:cubicBezTo>
                      <a:pt x="356946" y="111282"/>
                      <a:pt x="377251" y="107167"/>
                      <a:pt x="382515" y="87941"/>
                    </a:cubicBezTo>
                    <a:cubicBezTo>
                      <a:pt x="383951" y="76921"/>
                      <a:pt x="384595" y="68732"/>
                      <a:pt x="396997" y="52239"/>
                    </a:cubicBezTo>
                    <a:cubicBezTo>
                      <a:pt x="420362" y="32084"/>
                      <a:pt x="442294" y="41736"/>
                      <a:pt x="454920" y="51330"/>
                    </a:cubicBezTo>
                    <a:cubicBezTo>
                      <a:pt x="467834" y="62761"/>
                      <a:pt x="477920" y="86882"/>
                      <a:pt x="460392" y="109714"/>
                    </a:cubicBezTo>
                    <a:cubicBezTo>
                      <a:pt x="451128" y="121912"/>
                      <a:pt x="437554" y="126838"/>
                      <a:pt x="425922" y="126505"/>
                    </a:cubicBezTo>
                    <a:cubicBezTo>
                      <a:pt x="424301" y="127609"/>
                      <a:pt x="382890" y="134974"/>
                      <a:pt x="427348" y="177672"/>
                    </a:cubicBezTo>
                    <a:lnTo>
                      <a:pt x="416886" y="169735"/>
                    </a:lnTo>
                    <a:cubicBezTo>
                      <a:pt x="450207" y="202177"/>
                      <a:pt x="478424" y="229744"/>
                      <a:pt x="490885" y="241900"/>
                    </a:cubicBezTo>
                    <a:lnTo>
                      <a:pt x="417150" y="317347"/>
                    </a:lnTo>
                    <a:cubicBezTo>
                      <a:pt x="417744" y="316535"/>
                      <a:pt x="418443" y="316123"/>
                      <a:pt x="419047" y="315822"/>
                    </a:cubicBezTo>
                    <a:cubicBezTo>
                      <a:pt x="389023" y="344426"/>
                      <a:pt x="393138" y="364731"/>
                      <a:pt x="412364" y="369995"/>
                    </a:cubicBezTo>
                    <a:cubicBezTo>
                      <a:pt x="423384" y="371431"/>
                      <a:pt x="431574" y="372075"/>
                      <a:pt x="448067" y="384477"/>
                    </a:cubicBezTo>
                    <a:cubicBezTo>
                      <a:pt x="468221" y="407842"/>
                      <a:pt x="458569" y="429774"/>
                      <a:pt x="448975" y="442400"/>
                    </a:cubicBezTo>
                    <a:cubicBezTo>
                      <a:pt x="437545" y="455314"/>
                      <a:pt x="413423" y="465400"/>
                      <a:pt x="390591" y="447872"/>
                    </a:cubicBezTo>
                    <a:cubicBezTo>
                      <a:pt x="378394" y="438608"/>
                      <a:pt x="373468" y="425034"/>
                      <a:pt x="373800" y="413402"/>
                    </a:cubicBezTo>
                    <a:cubicBezTo>
                      <a:pt x="372696" y="411781"/>
                      <a:pt x="365332" y="370370"/>
                      <a:pt x="322634" y="414828"/>
                    </a:cubicBezTo>
                    <a:lnTo>
                      <a:pt x="325243" y="411388"/>
                    </a:lnTo>
                    <a:lnTo>
                      <a:pt x="248395" y="490020"/>
                    </a:lnTo>
                    <a:cubicBezTo>
                      <a:pt x="208939" y="451897"/>
                      <a:pt x="199129" y="442073"/>
                      <a:pt x="174192" y="418236"/>
                    </a:cubicBezTo>
                    <a:cubicBezTo>
                      <a:pt x="145587" y="388212"/>
                      <a:pt x="125282" y="392327"/>
                      <a:pt x="120018" y="411553"/>
                    </a:cubicBezTo>
                    <a:cubicBezTo>
                      <a:pt x="118582" y="422573"/>
                      <a:pt x="117938" y="430763"/>
                      <a:pt x="105536" y="447256"/>
                    </a:cubicBezTo>
                    <a:cubicBezTo>
                      <a:pt x="82171" y="467410"/>
                      <a:pt x="60239" y="457758"/>
                      <a:pt x="47614" y="448164"/>
                    </a:cubicBezTo>
                    <a:cubicBezTo>
                      <a:pt x="34699" y="436734"/>
                      <a:pt x="24614" y="412612"/>
                      <a:pt x="42141" y="389780"/>
                    </a:cubicBezTo>
                    <a:cubicBezTo>
                      <a:pt x="51405" y="377583"/>
                      <a:pt x="64979" y="372657"/>
                      <a:pt x="76612" y="372989"/>
                    </a:cubicBezTo>
                    <a:cubicBezTo>
                      <a:pt x="78232" y="371886"/>
                      <a:pt x="119644" y="364521"/>
                      <a:pt x="75186" y="321823"/>
                    </a:cubicBezTo>
                    <a:cubicBezTo>
                      <a:pt x="58767" y="305402"/>
                      <a:pt x="23648" y="271235"/>
                      <a:pt x="0" y="248738"/>
                    </a:cubicBezTo>
                    <a:lnTo>
                      <a:pt x="77303" y="168146"/>
                    </a:lnTo>
                    <a:cubicBezTo>
                      <a:pt x="104269" y="140313"/>
                      <a:pt x="122130" y="156409"/>
                      <a:pt x="124388" y="175543"/>
                    </a:cubicBezTo>
                    <a:cubicBezTo>
                      <a:pt x="124457" y="182466"/>
                      <a:pt x="127106" y="193106"/>
                      <a:pt x="137575" y="203052"/>
                    </a:cubicBezTo>
                    <a:cubicBezTo>
                      <a:pt x="153931" y="220277"/>
                      <a:pt x="181252" y="217451"/>
                      <a:pt x="196721" y="201951"/>
                    </a:cubicBezTo>
                    <a:cubicBezTo>
                      <a:pt x="211961" y="185740"/>
                      <a:pt x="213057" y="157882"/>
                      <a:pt x="196146" y="142797"/>
                    </a:cubicBezTo>
                    <a:cubicBezTo>
                      <a:pt x="184301" y="132637"/>
                      <a:pt x="177155" y="131453"/>
                      <a:pt x="166513" y="129894"/>
                    </a:cubicBezTo>
                    <a:cubicBezTo>
                      <a:pt x="154522" y="129013"/>
                      <a:pt x="131185" y="112953"/>
                      <a:pt x="157905" y="85228"/>
                    </a:cubicBezTo>
                    <a:close/>
                  </a:path>
                </a:pathLst>
              </a:custGeom>
              <a:grpFill/>
              <a:ln>
                <a:solidFill>
                  <a:srgbClr val="21734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grpSp>
        <p:sp>
          <p:nvSpPr>
            <p:cNvPr id="77" name="Oval 47"/>
            <p:cNvSpPr/>
            <p:nvPr/>
          </p:nvSpPr>
          <p:spPr>
            <a:xfrm>
              <a:off x="388608" y="3710471"/>
              <a:ext cx="1119626" cy="1119626"/>
            </a:xfrm>
            <a:prstGeom prst="ellipse">
              <a:avLst/>
            </a:prstGeom>
            <a:solidFill>
              <a:srgbClr val="F2C812"/>
            </a:solidFill>
            <a:ln w="3175" cap="flat" cmpd="sng" algn="ctr">
              <a:noFill/>
              <a:prstDash val="solid"/>
            </a:ln>
            <a:effectLst/>
          </p:spPr>
          <p:txBody>
            <a:bodyPr vert="horz" wrap="none" lIns="0" tIns="45720" rIns="0" bIns="0" rtlCol="0" anchor="t"/>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Segoe UI"/>
                  <a:ea typeface="Segoe UI" pitchFamily="34" charset="0"/>
                  <a:cs typeface="Segoe UI" pitchFamily="34" charset="0"/>
                </a:rPr>
                <a:t>Report</a:t>
              </a:r>
            </a:p>
          </p:txBody>
        </p:sp>
        <p:sp>
          <p:nvSpPr>
            <p:cNvPr id="78" name="Oval 950"/>
            <p:cNvSpPr/>
            <p:nvPr/>
          </p:nvSpPr>
          <p:spPr>
            <a:xfrm>
              <a:off x="388608" y="1252295"/>
              <a:ext cx="1119626" cy="1119626"/>
            </a:xfrm>
            <a:prstGeom prst="ellipse">
              <a:avLst/>
            </a:prstGeom>
            <a:solidFill>
              <a:srgbClr val="F2C812"/>
            </a:solidFill>
            <a:ln w="3175" cap="flat" cmpd="sng" algn="ctr">
              <a:noFill/>
              <a:prstDash val="solid"/>
            </a:ln>
            <a:effectLst/>
          </p:spPr>
          <p:txBody>
            <a:bodyPr vert="horz" wrap="none" lIns="0" tIns="45720" rIns="0" bIns="0" rtlCol="0" anchor="t"/>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1" i="0" u="none" strike="noStrike" kern="1200" cap="none" spc="0" normalizeH="0" baseline="0" noProof="0">
                <a:ln>
                  <a:noFill/>
                </a:ln>
                <a:solidFill>
                  <a:srgbClr val="217346"/>
                </a:solidFill>
                <a:effectLst/>
                <a:uLnTx/>
                <a:uFillTx/>
                <a:latin typeface="Segoe UI"/>
                <a:ea typeface="Segoe UI" pitchFamily="34" charset="0"/>
                <a:cs typeface="Segoe UI" pitchFamily="34" charset="0"/>
              </a:endParaRPr>
            </a:p>
          </p:txBody>
        </p:sp>
        <p:grpSp>
          <p:nvGrpSpPr>
            <p:cNvPr id="79" name="Group 78"/>
            <p:cNvGrpSpPr/>
            <p:nvPr/>
          </p:nvGrpSpPr>
          <p:grpSpPr>
            <a:xfrm>
              <a:off x="1264851" y="3482890"/>
              <a:ext cx="292254" cy="354906"/>
              <a:chOff x="1296521" y="3253388"/>
              <a:chExt cx="292254" cy="354906"/>
            </a:xfrm>
            <a:solidFill>
              <a:srgbClr val="F2C812"/>
            </a:solidFill>
          </p:grpSpPr>
          <p:sp>
            <p:nvSpPr>
              <p:cNvPr id="99" name="Isosceles Triangle 98"/>
              <p:cNvSpPr/>
              <p:nvPr/>
            </p:nvSpPr>
            <p:spPr bwMode="auto">
              <a:xfrm rot="13636515">
                <a:off x="1461362" y="328936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0" name="Isosceles Triangle 99"/>
              <p:cNvSpPr/>
              <p:nvPr/>
            </p:nvSpPr>
            <p:spPr bwMode="auto">
              <a:xfrm rot="13636515">
                <a:off x="1357669" y="338258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1" name="Isosceles Triangle 100"/>
              <p:cNvSpPr/>
              <p:nvPr/>
            </p:nvSpPr>
            <p:spPr bwMode="auto">
              <a:xfrm rot="13636515">
                <a:off x="1260548" y="3480882"/>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80" name="Group 79"/>
            <p:cNvGrpSpPr/>
            <p:nvPr/>
          </p:nvGrpSpPr>
          <p:grpSpPr>
            <a:xfrm rot="15940603">
              <a:off x="1334576" y="2204404"/>
              <a:ext cx="292254" cy="354906"/>
              <a:chOff x="1296521" y="3253388"/>
              <a:chExt cx="292254" cy="354906"/>
            </a:xfrm>
            <a:solidFill>
              <a:srgbClr val="F2C812"/>
            </a:solidFill>
          </p:grpSpPr>
          <p:sp>
            <p:nvSpPr>
              <p:cNvPr id="96" name="Isosceles Triangle 95"/>
              <p:cNvSpPr/>
              <p:nvPr/>
            </p:nvSpPr>
            <p:spPr bwMode="auto">
              <a:xfrm rot="13636515">
                <a:off x="1461362" y="328936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7" name="Isosceles Triangle 96"/>
              <p:cNvSpPr/>
              <p:nvPr/>
            </p:nvSpPr>
            <p:spPr bwMode="auto">
              <a:xfrm rot="13636515">
                <a:off x="1357669" y="338258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8" name="Isosceles Triangle 97"/>
              <p:cNvSpPr/>
              <p:nvPr/>
            </p:nvSpPr>
            <p:spPr bwMode="auto">
              <a:xfrm rot="13636515">
                <a:off x="1260548" y="3480882"/>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81" name="Group 80"/>
            <p:cNvGrpSpPr/>
            <p:nvPr/>
          </p:nvGrpSpPr>
          <p:grpSpPr>
            <a:xfrm rot="16043978">
              <a:off x="1317220" y="4717577"/>
              <a:ext cx="292254" cy="354906"/>
              <a:chOff x="1296521" y="3253388"/>
              <a:chExt cx="292254" cy="354906"/>
            </a:xfrm>
            <a:solidFill>
              <a:srgbClr val="F2C812"/>
            </a:solidFill>
          </p:grpSpPr>
          <p:sp>
            <p:nvSpPr>
              <p:cNvPr id="93" name="Isosceles Triangle 92"/>
              <p:cNvSpPr/>
              <p:nvPr/>
            </p:nvSpPr>
            <p:spPr bwMode="auto">
              <a:xfrm rot="13636515">
                <a:off x="1461362" y="328936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4" name="Isosceles Triangle 93"/>
              <p:cNvSpPr/>
              <p:nvPr/>
            </p:nvSpPr>
            <p:spPr bwMode="auto">
              <a:xfrm rot="13636515">
                <a:off x="1357669" y="338258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5" name="Isosceles Triangle 94"/>
              <p:cNvSpPr/>
              <p:nvPr/>
            </p:nvSpPr>
            <p:spPr bwMode="auto">
              <a:xfrm rot="13636515">
                <a:off x="1260548" y="3480882"/>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82" name="Oval 36"/>
            <p:cNvSpPr/>
            <p:nvPr/>
          </p:nvSpPr>
          <p:spPr>
            <a:xfrm>
              <a:off x="1413521" y="2481383"/>
              <a:ext cx="1119626" cy="1119626"/>
            </a:xfrm>
            <a:prstGeom prst="ellipse">
              <a:avLst/>
            </a:prstGeom>
            <a:solidFill>
              <a:srgbClr val="F2C812"/>
            </a:solidFill>
            <a:ln w="3175" cap="flat" cmpd="sng" algn="ctr">
              <a:noFill/>
              <a:prstDash val="solid"/>
            </a:ln>
            <a:effectLst/>
          </p:spPr>
          <p:txBody>
            <a:bodyPr vert="horz" wrap="none" lIns="0" tIns="0" rIns="0" bIns="0" rtlCol="0" anchor="t"/>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400" b="1" i="0" u="none" strike="noStrike" kern="1200" cap="none" spc="0" normalizeH="0" baseline="0" noProof="0">
                <a:ln>
                  <a:noFill/>
                </a:ln>
                <a:solidFill>
                  <a:srgbClr val="217346"/>
                </a:solidFill>
                <a:effectLst/>
                <a:uLnTx/>
                <a:uFillTx/>
                <a:latin typeface="Segoe UI"/>
                <a:ea typeface="Segoe UI" pitchFamily="34" charset="0"/>
                <a:cs typeface="Segoe UI" pitchFamily="34" charset="0"/>
              </a:endParaRPr>
            </a:p>
          </p:txBody>
        </p:sp>
        <p:sp>
          <p:nvSpPr>
            <p:cNvPr id="83" name="Donut 3"/>
            <p:cNvSpPr/>
            <p:nvPr/>
          </p:nvSpPr>
          <p:spPr bwMode="auto">
            <a:xfrm>
              <a:off x="1742065" y="3002355"/>
              <a:ext cx="383905" cy="351537"/>
            </a:xfrm>
            <a:custGeom>
              <a:avLst/>
              <a:gdLst/>
              <a:ahLst/>
              <a:cxnLst/>
              <a:rect l="l" t="t" r="r" b="b"/>
              <a:pathLst>
                <a:path w="1409956" h="1291077">
                  <a:moveTo>
                    <a:pt x="956401" y="78410"/>
                  </a:moveTo>
                  <a:cubicBezTo>
                    <a:pt x="747518" y="78410"/>
                    <a:pt x="578184" y="247744"/>
                    <a:pt x="578184" y="456627"/>
                  </a:cubicBezTo>
                  <a:cubicBezTo>
                    <a:pt x="578184" y="665510"/>
                    <a:pt x="747518" y="834844"/>
                    <a:pt x="956401" y="834844"/>
                  </a:cubicBezTo>
                  <a:cubicBezTo>
                    <a:pt x="1165284" y="834844"/>
                    <a:pt x="1334618" y="665510"/>
                    <a:pt x="1334618" y="456627"/>
                  </a:cubicBezTo>
                  <a:cubicBezTo>
                    <a:pt x="1334618" y="247744"/>
                    <a:pt x="1165284" y="78410"/>
                    <a:pt x="956401" y="78410"/>
                  </a:cubicBezTo>
                  <a:close/>
                  <a:moveTo>
                    <a:pt x="952756" y="0"/>
                  </a:moveTo>
                  <a:cubicBezTo>
                    <a:pt x="1205261" y="0"/>
                    <a:pt x="1409956" y="204695"/>
                    <a:pt x="1409956" y="457200"/>
                  </a:cubicBezTo>
                  <a:cubicBezTo>
                    <a:pt x="1409956" y="709705"/>
                    <a:pt x="1205261" y="914400"/>
                    <a:pt x="952756" y="914400"/>
                  </a:cubicBezTo>
                  <a:cubicBezTo>
                    <a:pt x="862133" y="914400"/>
                    <a:pt x="777669" y="888034"/>
                    <a:pt x="707132" y="841746"/>
                  </a:cubicBezTo>
                  <a:lnTo>
                    <a:pt x="136495" y="1280102"/>
                  </a:lnTo>
                  <a:cubicBezTo>
                    <a:pt x="21896" y="1327168"/>
                    <a:pt x="-44029" y="1213730"/>
                    <a:pt x="33797" y="1113182"/>
                  </a:cubicBezTo>
                  <a:lnTo>
                    <a:pt x="568587" y="703518"/>
                  </a:lnTo>
                  <a:cubicBezTo>
                    <a:pt x="522087" y="632814"/>
                    <a:pt x="495556" y="548105"/>
                    <a:pt x="495556" y="457200"/>
                  </a:cubicBezTo>
                  <a:cubicBezTo>
                    <a:pt x="495556" y="204695"/>
                    <a:pt x="700251" y="0"/>
                    <a:pt x="952756" y="0"/>
                  </a:cubicBezTo>
                  <a:close/>
                </a:path>
              </a:pathLst>
            </a:cu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sp>
          <p:nvSpPr>
            <p:cNvPr id="84" name="Rectangle 83"/>
            <p:cNvSpPr/>
            <p:nvPr/>
          </p:nvSpPr>
          <p:spPr>
            <a:xfrm>
              <a:off x="1600398" y="2677430"/>
              <a:ext cx="820353" cy="307777"/>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Segoe UI"/>
                  <a:ea typeface="Segoe UI" pitchFamily="34" charset="0"/>
                  <a:cs typeface="Segoe UI" pitchFamily="34" charset="0"/>
                </a:rPr>
                <a:t>Explore</a:t>
              </a:r>
              <a:endParaRPr kumimoji="0" lang="en-US" sz="1600" b="0" i="0" u="none" strike="noStrike" kern="1200" cap="none" spc="0" normalizeH="0" baseline="0" noProof="0">
                <a:ln>
                  <a:noFill/>
                </a:ln>
                <a:solidFill>
                  <a:srgbClr val="000000"/>
                </a:solidFill>
                <a:effectLst/>
                <a:uLnTx/>
                <a:uFillTx/>
                <a:latin typeface="Segoe UI"/>
                <a:ea typeface="+mn-ea"/>
                <a:cs typeface="+mn-cs"/>
              </a:endParaRPr>
            </a:p>
          </p:txBody>
        </p:sp>
        <p:sp>
          <p:nvSpPr>
            <p:cNvPr id="85" name="Rectangle 84"/>
            <p:cNvSpPr/>
            <p:nvPr/>
          </p:nvSpPr>
          <p:spPr>
            <a:xfrm>
              <a:off x="509174" y="1475232"/>
              <a:ext cx="838756" cy="307777"/>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Segoe UI"/>
                  <a:ea typeface="Segoe UI" pitchFamily="34" charset="0"/>
                  <a:cs typeface="Segoe UI" pitchFamily="34" charset="0"/>
                </a:rPr>
                <a:t>Prepare</a:t>
              </a: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86" name="Freeform 85"/>
            <p:cNvSpPr>
              <a:spLocks noChangeAspect="1"/>
            </p:cNvSpPr>
            <p:nvPr/>
          </p:nvSpPr>
          <p:spPr bwMode="black">
            <a:xfrm>
              <a:off x="1836174" y="5643069"/>
              <a:ext cx="274320" cy="284173"/>
            </a:xfrm>
            <a:custGeom>
              <a:avLst/>
              <a:gdLst>
                <a:gd name="T0" fmla="*/ 539 w 669"/>
                <a:gd name="T1" fmla="*/ 5 h 693"/>
                <a:gd name="T2" fmla="*/ 640 w 669"/>
                <a:gd name="T3" fmla="*/ 55 h 693"/>
                <a:gd name="T4" fmla="*/ 603 w 669"/>
                <a:gd name="T5" fmla="*/ 195 h 693"/>
                <a:gd name="T6" fmla="*/ 490 w 669"/>
                <a:gd name="T7" fmla="*/ 188 h 693"/>
                <a:gd name="T8" fmla="*/ 479 w 669"/>
                <a:gd name="T9" fmla="*/ 176 h 693"/>
                <a:gd name="T10" fmla="*/ 213 w 669"/>
                <a:gd name="T11" fmla="*/ 330 h 693"/>
                <a:gd name="T12" fmla="*/ 218 w 669"/>
                <a:gd name="T13" fmla="*/ 345 h 693"/>
                <a:gd name="T14" fmla="*/ 218 w 669"/>
                <a:gd name="T15" fmla="*/ 375 h 693"/>
                <a:gd name="T16" fmla="*/ 209 w 669"/>
                <a:gd name="T17" fmla="*/ 402 h 693"/>
                <a:gd name="T18" fmla="*/ 369 w 669"/>
                <a:gd name="T19" fmla="*/ 503 h 693"/>
                <a:gd name="T20" fmla="*/ 373 w 669"/>
                <a:gd name="T21" fmla="*/ 498 h 693"/>
                <a:gd name="T22" fmla="*/ 456 w 669"/>
                <a:gd name="T23" fmla="*/ 475 h 693"/>
                <a:gd name="T24" fmla="*/ 494 w 669"/>
                <a:gd name="T25" fmla="*/ 489 h 693"/>
                <a:gd name="T26" fmla="*/ 527 w 669"/>
                <a:gd name="T27" fmla="*/ 630 h 693"/>
                <a:gd name="T28" fmla="*/ 386 w 669"/>
                <a:gd name="T29" fmla="*/ 663 h 693"/>
                <a:gd name="T30" fmla="*/ 339 w 669"/>
                <a:gd name="T31" fmla="*/ 560 h 693"/>
                <a:gd name="T32" fmla="*/ 345 w 669"/>
                <a:gd name="T33" fmla="*/ 544 h 693"/>
                <a:gd name="T34" fmla="*/ 177 w 669"/>
                <a:gd name="T35" fmla="*/ 439 h 693"/>
                <a:gd name="T36" fmla="*/ 168 w 669"/>
                <a:gd name="T37" fmla="*/ 446 h 693"/>
                <a:gd name="T38" fmla="*/ 28 w 669"/>
                <a:gd name="T39" fmla="*/ 409 h 693"/>
                <a:gd name="T40" fmla="*/ 65 w 669"/>
                <a:gd name="T41" fmla="*/ 269 h 693"/>
                <a:gd name="T42" fmla="*/ 178 w 669"/>
                <a:gd name="T43" fmla="*/ 276 h 693"/>
                <a:gd name="T44" fmla="*/ 189 w 669"/>
                <a:gd name="T45" fmla="*/ 288 h 693"/>
                <a:gd name="T46" fmla="*/ 455 w 669"/>
                <a:gd name="T47" fmla="*/ 134 h 693"/>
                <a:gd name="T48" fmla="*/ 450 w 669"/>
                <a:gd name="T49" fmla="*/ 119 h 693"/>
                <a:gd name="T50" fmla="*/ 501 w 669"/>
                <a:gd name="T51" fmla="*/ 18 h 693"/>
                <a:gd name="T52" fmla="*/ 539 w 669"/>
                <a:gd name="T53" fmla="*/ 5 h 6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69" h="693">
                  <a:moveTo>
                    <a:pt x="539" y="5"/>
                  </a:moveTo>
                  <a:cubicBezTo>
                    <a:pt x="579" y="0"/>
                    <a:pt x="619" y="19"/>
                    <a:pt x="640" y="55"/>
                  </a:cubicBezTo>
                  <a:cubicBezTo>
                    <a:pt x="669" y="104"/>
                    <a:pt x="652" y="167"/>
                    <a:pt x="603" y="195"/>
                  </a:cubicBezTo>
                  <a:cubicBezTo>
                    <a:pt x="566" y="216"/>
                    <a:pt x="522" y="212"/>
                    <a:pt x="490" y="188"/>
                  </a:cubicBezTo>
                  <a:cubicBezTo>
                    <a:pt x="479" y="176"/>
                    <a:pt x="479" y="176"/>
                    <a:pt x="479" y="176"/>
                  </a:cubicBezTo>
                  <a:cubicBezTo>
                    <a:pt x="213" y="330"/>
                    <a:pt x="213" y="330"/>
                    <a:pt x="213" y="330"/>
                  </a:cubicBezTo>
                  <a:cubicBezTo>
                    <a:pt x="218" y="345"/>
                    <a:pt x="218" y="345"/>
                    <a:pt x="218" y="345"/>
                  </a:cubicBezTo>
                  <a:cubicBezTo>
                    <a:pt x="219" y="355"/>
                    <a:pt x="219" y="365"/>
                    <a:pt x="218" y="375"/>
                  </a:cubicBezTo>
                  <a:cubicBezTo>
                    <a:pt x="209" y="402"/>
                    <a:pt x="209" y="402"/>
                    <a:pt x="209" y="402"/>
                  </a:cubicBezTo>
                  <a:cubicBezTo>
                    <a:pt x="369" y="503"/>
                    <a:pt x="369" y="503"/>
                    <a:pt x="369" y="503"/>
                  </a:cubicBezTo>
                  <a:cubicBezTo>
                    <a:pt x="373" y="498"/>
                    <a:pt x="373" y="498"/>
                    <a:pt x="373" y="498"/>
                  </a:cubicBezTo>
                  <a:cubicBezTo>
                    <a:pt x="396" y="479"/>
                    <a:pt x="427" y="470"/>
                    <a:pt x="456" y="475"/>
                  </a:cubicBezTo>
                  <a:cubicBezTo>
                    <a:pt x="470" y="477"/>
                    <a:pt x="482" y="482"/>
                    <a:pt x="494" y="489"/>
                  </a:cubicBezTo>
                  <a:cubicBezTo>
                    <a:pt x="542" y="519"/>
                    <a:pt x="557" y="583"/>
                    <a:pt x="527" y="630"/>
                  </a:cubicBezTo>
                  <a:cubicBezTo>
                    <a:pt x="497" y="678"/>
                    <a:pt x="433" y="693"/>
                    <a:pt x="386" y="663"/>
                  </a:cubicBezTo>
                  <a:cubicBezTo>
                    <a:pt x="350" y="640"/>
                    <a:pt x="333" y="599"/>
                    <a:pt x="339" y="560"/>
                  </a:cubicBezTo>
                  <a:cubicBezTo>
                    <a:pt x="345" y="544"/>
                    <a:pt x="345" y="544"/>
                    <a:pt x="345" y="544"/>
                  </a:cubicBezTo>
                  <a:cubicBezTo>
                    <a:pt x="177" y="439"/>
                    <a:pt x="177" y="439"/>
                    <a:pt x="177" y="439"/>
                  </a:cubicBezTo>
                  <a:cubicBezTo>
                    <a:pt x="168" y="446"/>
                    <a:pt x="168" y="446"/>
                    <a:pt x="168" y="446"/>
                  </a:cubicBezTo>
                  <a:cubicBezTo>
                    <a:pt x="119" y="475"/>
                    <a:pt x="56" y="458"/>
                    <a:pt x="28" y="409"/>
                  </a:cubicBezTo>
                  <a:cubicBezTo>
                    <a:pt x="0" y="360"/>
                    <a:pt x="16" y="297"/>
                    <a:pt x="65" y="269"/>
                  </a:cubicBezTo>
                  <a:cubicBezTo>
                    <a:pt x="102" y="248"/>
                    <a:pt x="147" y="252"/>
                    <a:pt x="178" y="276"/>
                  </a:cubicBezTo>
                  <a:cubicBezTo>
                    <a:pt x="189" y="288"/>
                    <a:pt x="189" y="288"/>
                    <a:pt x="189" y="288"/>
                  </a:cubicBezTo>
                  <a:cubicBezTo>
                    <a:pt x="455" y="134"/>
                    <a:pt x="455" y="134"/>
                    <a:pt x="455" y="134"/>
                  </a:cubicBezTo>
                  <a:cubicBezTo>
                    <a:pt x="450" y="119"/>
                    <a:pt x="450" y="119"/>
                    <a:pt x="450" y="119"/>
                  </a:cubicBezTo>
                  <a:cubicBezTo>
                    <a:pt x="445" y="80"/>
                    <a:pt x="464" y="39"/>
                    <a:pt x="501" y="18"/>
                  </a:cubicBezTo>
                  <a:cubicBezTo>
                    <a:pt x="513" y="11"/>
                    <a:pt x="526" y="6"/>
                    <a:pt x="539" y="5"/>
                  </a:cubicBezTo>
                  <a:close/>
                </a:path>
              </a:pathLst>
            </a:custGeom>
            <a:solidFill>
              <a:schemeClr val="tx1"/>
            </a:solidFill>
            <a:ln>
              <a:noFill/>
            </a:ln>
          </p:spPr>
          <p:txBody>
            <a:bodyPr vert="horz" wrap="square" lIns="68574" tIns="34287" rIns="68574" bIns="34287"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0000"/>
                </a:solidFill>
                <a:effectLst/>
                <a:uLnTx/>
                <a:uFillTx/>
                <a:latin typeface="Segoe UI"/>
                <a:ea typeface="+mn-ea"/>
                <a:cs typeface="+mn-cs"/>
              </a:endParaRPr>
            </a:p>
          </p:txBody>
        </p:sp>
        <p:sp>
          <p:nvSpPr>
            <p:cNvPr id="87" name="Freeform 86"/>
            <p:cNvSpPr>
              <a:spLocks noChangeAspect="1" noEditPoints="1"/>
            </p:cNvSpPr>
            <p:nvPr/>
          </p:nvSpPr>
          <p:spPr bwMode="black">
            <a:xfrm>
              <a:off x="722320" y="1783009"/>
              <a:ext cx="452202" cy="366660"/>
            </a:xfrm>
            <a:custGeom>
              <a:avLst/>
              <a:gdLst>
                <a:gd name="T0" fmla="*/ 600 w 1107"/>
                <a:gd name="T1" fmla="*/ 625 h 897"/>
                <a:gd name="T2" fmla="*/ 649 w 1107"/>
                <a:gd name="T3" fmla="*/ 567 h 897"/>
                <a:gd name="T4" fmla="*/ 727 w 1107"/>
                <a:gd name="T5" fmla="*/ 482 h 897"/>
                <a:gd name="T6" fmla="*/ 601 w 1107"/>
                <a:gd name="T7" fmla="*/ 434 h 897"/>
                <a:gd name="T8" fmla="*/ 628 w 1107"/>
                <a:gd name="T9" fmla="*/ 305 h 897"/>
                <a:gd name="T10" fmla="*/ 547 w 1107"/>
                <a:gd name="T11" fmla="*/ 240 h 897"/>
                <a:gd name="T12" fmla="*/ 427 w 1107"/>
                <a:gd name="T13" fmla="*/ 287 h 897"/>
                <a:gd name="T14" fmla="*/ 368 w 1107"/>
                <a:gd name="T15" fmla="*/ 170 h 897"/>
                <a:gd name="T16" fmla="*/ 285 w 1107"/>
                <a:gd name="T17" fmla="*/ 263 h 897"/>
                <a:gd name="T18" fmla="*/ 241 w 1107"/>
                <a:gd name="T19" fmla="*/ 313 h 897"/>
                <a:gd name="T20" fmla="*/ 139 w 1107"/>
                <a:gd name="T21" fmla="*/ 281 h 897"/>
                <a:gd name="T22" fmla="*/ 79 w 1107"/>
                <a:gd name="T23" fmla="*/ 355 h 897"/>
                <a:gd name="T24" fmla="*/ 132 w 1107"/>
                <a:gd name="T25" fmla="*/ 446 h 897"/>
                <a:gd name="T26" fmla="*/ 83 w 1107"/>
                <a:gd name="T27" fmla="*/ 505 h 897"/>
                <a:gd name="T28" fmla="*/ 5 w 1107"/>
                <a:gd name="T29" fmla="*/ 590 h 897"/>
                <a:gd name="T30" fmla="*/ 132 w 1107"/>
                <a:gd name="T31" fmla="*/ 638 h 897"/>
                <a:gd name="T32" fmla="*/ 145 w 1107"/>
                <a:gd name="T33" fmla="*/ 669 h 897"/>
                <a:gd name="T34" fmla="*/ 110 w 1107"/>
                <a:gd name="T35" fmla="*/ 793 h 897"/>
                <a:gd name="T36" fmla="*/ 230 w 1107"/>
                <a:gd name="T37" fmla="*/ 781 h 897"/>
                <a:gd name="T38" fmla="*/ 306 w 1107"/>
                <a:gd name="T39" fmla="*/ 785 h 897"/>
                <a:gd name="T40" fmla="*/ 346 w 1107"/>
                <a:gd name="T41" fmla="*/ 878 h 897"/>
                <a:gd name="T42" fmla="*/ 440 w 1107"/>
                <a:gd name="T43" fmla="*/ 872 h 897"/>
                <a:gd name="T44" fmla="*/ 466 w 1107"/>
                <a:gd name="T45" fmla="*/ 764 h 897"/>
                <a:gd name="T46" fmla="*/ 539 w 1107"/>
                <a:gd name="T47" fmla="*/ 755 h 897"/>
                <a:gd name="T48" fmla="*/ 659 w 1107"/>
                <a:gd name="T49" fmla="*/ 743 h 897"/>
                <a:gd name="T50" fmla="*/ 263 w 1107"/>
                <a:gd name="T51" fmla="*/ 452 h 897"/>
                <a:gd name="T52" fmla="*/ 281 w 1107"/>
                <a:gd name="T53" fmla="*/ 633 h 897"/>
                <a:gd name="T54" fmla="*/ 1002 w 1107"/>
                <a:gd name="T55" fmla="*/ 332 h 897"/>
                <a:gd name="T56" fmla="*/ 1043 w 1107"/>
                <a:gd name="T57" fmla="*/ 304 h 897"/>
                <a:gd name="T58" fmla="*/ 1107 w 1107"/>
                <a:gd name="T59" fmla="*/ 266 h 897"/>
                <a:gd name="T60" fmla="*/ 1037 w 1107"/>
                <a:gd name="T61" fmla="*/ 213 h 897"/>
                <a:gd name="T62" fmla="*/ 1077 w 1107"/>
                <a:gd name="T63" fmla="*/ 138 h 897"/>
                <a:gd name="T64" fmla="*/ 1038 w 1107"/>
                <a:gd name="T65" fmla="*/ 83 h 897"/>
                <a:gd name="T66" fmla="*/ 956 w 1107"/>
                <a:gd name="T67" fmla="*/ 91 h 897"/>
                <a:gd name="T68" fmla="*/ 940 w 1107"/>
                <a:gd name="T69" fmla="*/ 7 h 897"/>
                <a:gd name="T70" fmla="*/ 872 w 1107"/>
                <a:gd name="T71" fmla="*/ 50 h 897"/>
                <a:gd name="T72" fmla="*/ 836 w 1107"/>
                <a:gd name="T73" fmla="*/ 74 h 897"/>
                <a:gd name="T74" fmla="*/ 778 w 1107"/>
                <a:gd name="T75" fmla="*/ 35 h 897"/>
                <a:gd name="T76" fmla="*/ 728 w 1107"/>
                <a:gd name="T77" fmla="*/ 70 h 897"/>
                <a:gd name="T78" fmla="*/ 744 w 1107"/>
                <a:gd name="T79" fmla="*/ 136 h 897"/>
                <a:gd name="T80" fmla="*/ 703 w 1107"/>
                <a:gd name="T81" fmla="*/ 164 h 897"/>
                <a:gd name="T82" fmla="*/ 640 w 1107"/>
                <a:gd name="T83" fmla="*/ 203 h 897"/>
                <a:gd name="T84" fmla="*/ 710 w 1107"/>
                <a:gd name="T85" fmla="*/ 255 h 897"/>
                <a:gd name="T86" fmla="*/ 712 w 1107"/>
                <a:gd name="T87" fmla="*/ 277 h 897"/>
                <a:gd name="T88" fmla="*/ 668 w 1107"/>
                <a:gd name="T89" fmla="*/ 347 h 897"/>
                <a:gd name="T90" fmla="*/ 745 w 1107"/>
                <a:gd name="T91" fmla="*/ 361 h 897"/>
                <a:gd name="T92" fmla="*/ 791 w 1107"/>
                <a:gd name="T93" fmla="*/ 377 h 897"/>
                <a:gd name="T94" fmla="*/ 799 w 1107"/>
                <a:gd name="T95" fmla="*/ 443 h 897"/>
                <a:gd name="T96" fmla="*/ 859 w 1107"/>
                <a:gd name="T97" fmla="*/ 456 h 897"/>
                <a:gd name="T98" fmla="*/ 894 w 1107"/>
                <a:gd name="T99" fmla="*/ 393 h 897"/>
                <a:gd name="T100" fmla="*/ 941 w 1107"/>
                <a:gd name="T101" fmla="*/ 401 h 897"/>
                <a:gd name="T102" fmla="*/ 1018 w 1107"/>
                <a:gd name="T103" fmla="*/ 415 h 897"/>
                <a:gd name="T104" fmla="*/ 825 w 1107"/>
                <a:gd name="T105" fmla="*/ 164 h 897"/>
                <a:gd name="T106" fmla="*/ 803 w 1107"/>
                <a:gd name="T107" fmla="*/ 279 h 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107" h="897">
                  <a:moveTo>
                    <a:pt x="654" y="716"/>
                  </a:moveTo>
                  <a:cubicBezTo>
                    <a:pt x="616" y="670"/>
                    <a:pt x="616" y="670"/>
                    <a:pt x="616" y="670"/>
                  </a:cubicBezTo>
                  <a:cubicBezTo>
                    <a:pt x="593" y="654"/>
                    <a:pt x="603" y="638"/>
                    <a:pt x="600" y="625"/>
                  </a:cubicBezTo>
                  <a:cubicBezTo>
                    <a:pt x="600" y="625"/>
                    <a:pt x="600" y="625"/>
                    <a:pt x="600" y="625"/>
                  </a:cubicBezTo>
                  <a:cubicBezTo>
                    <a:pt x="605" y="617"/>
                    <a:pt x="611" y="609"/>
                    <a:pt x="608" y="596"/>
                  </a:cubicBezTo>
                  <a:cubicBezTo>
                    <a:pt x="618" y="580"/>
                    <a:pt x="623" y="572"/>
                    <a:pt x="649" y="567"/>
                  </a:cubicBezTo>
                  <a:cubicBezTo>
                    <a:pt x="715" y="553"/>
                    <a:pt x="715" y="553"/>
                    <a:pt x="715" y="553"/>
                  </a:cubicBezTo>
                  <a:cubicBezTo>
                    <a:pt x="728" y="550"/>
                    <a:pt x="733" y="542"/>
                    <a:pt x="730" y="529"/>
                  </a:cubicBezTo>
                  <a:cubicBezTo>
                    <a:pt x="727" y="482"/>
                    <a:pt x="727" y="482"/>
                    <a:pt x="727" y="482"/>
                  </a:cubicBezTo>
                  <a:cubicBezTo>
                    <a:pt x="724" y="469"/>
                    <a:pt x="717" y="463"/>
                    <a:pt x="701" y="453"/>
                  </a:cubicBezTo>
                  <a:cubicBezTo>
                    <a:pt x="641" y="459"/>
                    <a:pt x="641" y="459"/>
                    <a:pt x="641" y="459"/>
                  </a:cubicBezTo>
                  <a:cubicBezTo>
                    <a:pt x="620" y="457"/>
                    <a:pt x="604" y="447"/>
                    <a:pt x="601" y="434"/>
                  </a:cubicBezTo>
                  <a:cubicBezTo>
                    <a:pt x="598" y="421"/>
                    <a:pt x="590" y="416"/>
                    <a:pt x="580" y="397"/>
                  </a:cubicBezTo>
                  <a:cubicBezTo>
                    <a:pt x="577" y="384"/>
                    <a:pt x="574" y="371"/>
                    <a:pt x="584" y="355"/>
                  </a:cubicBezTo>
                  <a:cubicBezTo>
                    <a:pt x="628" y="305"/>
                    <a:pt x="628" y="305"/>
                    <a:pt x="628" y="305"/>
                  </a:cubicBezTo>
                  <a:cubicBezTo>
                    <a:pt x="634" y="297"/>
                    <a:pt x="631" y="284"/>
                    <a:pt x="623" y="279"/>
                  </a:cubicBezTo>
                  <a:cubicBezTo>
                    <a:pt x="581" y="240"/>
                    <a:pt x="581" y="240"/>
                    <a:pt x="581" y="240"/>
                  </a:cubicBezTo>
                  <a:cubicBezTo>
                    <a:pt x="573" y="235"/>
                    <a:pt x="560" y="238"/>
                    <a:pt x="547" y="240"/>
                  </a:cubicBezTo>
                  <a:cubicBezTo>
                    <a:pt x="503" y="291"/>
                    <a:pt x="503" y="291"/>
                    <a:pt x="503" y="291"/>
                  </a:cubicBezTo>
                  <a:cubicBezTo>
                    <a:pt x="484" y="302"/>
                    <a:pt x="471" y="304"/>
                    <a:pt x="463" y="299"/>
                  </a:cubicBezTo>
                  <a:cubicBezTo>
                    <a:pt x="456" y="294"/>
                    <a:pt x="435" y="292"/>
                    <a:pt x="427" y="287"/>
                  </a:cubicBezTo>
                  <a:cubicBezTo>
                    <a:pt x="419" y="282"/>
                    <a:pt x="403" y="271"/>
                    <a:pt x="400" y="258"/>
                  </a:cubicBezTo>
                  <a:cubicBezTo>
                    <a:pt x="386" y="193"/>
                    <a:pt x="386" y="193"/>
                    <a:pt x="386" y="193"/>
                  </a:cubicBezTo>
                  <a:cubicBezTo>
                    <a:pt x="384" y="180"/>
                    <a:pt x="368" y="170"/>
                    <a:pt x="368" y="170"/>
                  </a:cubicBezTo>
                  <a:cubicBezTo>
                    <a:pt x="308" y="176"/>
                    <a:pt x="308" y="176"/>
                    <a:pt x="308" y="176"/>
                  </a:cubicBezTo>
                  <a:cubicBezTo>
                    <a:pt x="308" y="176"/>
                    <a:pt x="289" y="187"/>
                    <a:pt x="292" y="200"/>
                  </a:cubicBezTo>
                  <a:cubicBezTo>
                    <a:pt x="285" y="263"/>
                    <a:pt x="285" y="263"/>
                    <a:pt x="285" y="263"/>
                  </a:cubicBezTo>
                  <a:cubicBezTo>
                    <a:pt x="291" y="289"/>
                    <a:pt x="277" y="292"/>
                    <a:pt x="272" y="300"/>
                  </a:cubicBezTo>
                  <a:cubicBezTo>
                    <a:pt x="272" y="300"/>
                    <a:pt x="272" y="300"/>
                    <a:pt x="267" y="308"/>
                  </a:cubicBezTo>
                  <a:cubicBezTo>
                    <a:pt x="259" y="302"/>
                    <a:pt x="246" y="305"/>
                    <a:pt x="241" y="313"/>
                  </a:cubicBezTo>
                  <a:cubicBezTo>
                    <a:pt x="236" y="321"/>
                    <a:pt x="236" y="321"/>
                    <a:pt x="236" y="321"/>
                  </a:cubicBezTo>
                  <a:cubicBezTo>
                    <a:pt x="223" y="324"/>
                    <a:pt x="210" y="327"/>
                    <a:pt x="194" y="317"/>
                  </a:cubicBezTo>
                  <a:cubicBezTo>
                    <a:pt x="139" y="281"/>
                    <a:pt x="139" y="281"/>
                    <a:pt x="139" y="281"/>
                  </a:cubicBezTo>
                  <a:cubicBezTo>
                    <a:pt x="131" y="276"/>
                    <a:pt x="110" y="273"/>
                    <a:pt x="104" y="281"/>
                  </a:cubicBezTo>
                  <a:cubicBezTo>
                    <a:pt x="79" y="321"/>
                    <a:pt x="79" y="321"/>
                    <a:pt x="79" y="321"/>
                  </a:cubicBezTo>
                  <a:cubicBezTo>
                    <a:pt x="66" y="324"/>
                    <a:pt x="68" y="337"/>
                    <a:pt x="79" y="355"/>
                  </a:cubicBezTo>
                  <a:cubicBezTo>
                    <a:pt x="121" y="394"/>
                    <a:pt x="121" y="394"/>
                    <a:pt x="121" y="394"/>
                  </a:cubicBezTo>
                  <a:cubicBezTo>
                    <a:pt x="140" y="417"/>
                    <a:pt x="135" y="425"/>
                    <a:pt x="132" y="446"/>
                  </a:cubicBezTo>
                  <a:cubicBezTo>
                    <a:pt x="132" y="446"/>
                    <a:pt x="132" y="446"/>
                    <a:pt x="132" y="446"/>
                  </a:cubicBezTo>
                  <a:cubicBezTo>
                    <a:pt x="127" y="454"/>
                    <a:pt x="122" y="462"/>
                    <a:pt x="117" y="470"/>
                  </a:cubicBezTo>
                  <a:cubicBezTo>
                    <a:pt x="117" y="470"/>
                    <a:pt x="117" y="470"/>
                    <a:pt x="117" y="470"/>
                  </a:cubicBezTo>
                  <a:cubicBezTo>
                    <a:pt x="120" y="483"/>
                    <a:pt x="109" y="499"/>
                    <a:pt x="83" y="505"/>
                  </a:cubicBezTo>
                  <a:cubicBezTo>
                    <a:pt x="23" y="511"/>
                    <a:pt x="23" y="511"/>
                    <a:pt x="23" y="511"/>
                  </a:cubicBezTo>
                  <a:cubicBezTo>
                    <a:pt x="10" y="514"/>
                    <a:pt x="0" y="529"/>
                    <a:pt x="2" y="543"/>
                  </a:cubicBezTo>
                  <a:cubicBezTo>
                    <a:pt x="5" y="590"/>
                    <a:pt x="5" y="590"/>
                    <a:pt x="5" y="590"/>
                  </a:cubicBezTo>
                  <a:cubicBezTo>
                    <a:pt x="8" y="603"/>
                    <a:pt x="16" y="608"/>
                    <a:pt x="37" y="610"/>
                  </a:cubicBezTo>
                  <a:cubicBezTo>
                    <a:pt x="92" y="612"/>
                    <a:pt x="92" y="612"/>
                    <a:pt x="92" y="612"/>
                  </a:cubicBezTo>
                  <a:cubicBezTo>
                    <a:pt x="113" y="614"/>
                    <a:pt x="129" y="625"/>
                    <a:pt x="132" y="638"/>
                  </a:cubicBezTo>
                  <a:cubicBezTo>
                    <a:pt x="132" y="638"/>
                    <a:pt x="132" y="638"/>
                    <a:pt x="132" y="638"/>
                  </a:cubicBezTo>
                  <a:cubicBezTo>
                    <a:pt x="140" y="643"/>
                    <a:pt x="142" y="656"/>
                    <a:pt x="150" y="661"/>
                  </a:cubicBezTo>
                  <a:cubicBezTo>
                    <a:pt x="145" y="669"/>
                    <a:pt x="145" y="669"/>
                    <a:pt x="145" y="669"/>
                  </a:cubicBezTo>
                  <a:cubicBezTo>
                    <a:pt x="153" y="674"/>
                    <a:pt x="156" y="687"/>
                    <a:pt x="140" y="711"/>
                  </a:cubicBezTo>
                  <a:cubicBezTo>
                    <a:pt x="109" y="759"/>
                    <a:pt x="109" y="759"/>
                    <a:pt x="109" y="759"/>
                  </a:cubicBezTo>
                  <a:cubicBezTo>
                    <a:pt x="99" y="775"/>
                    <a:pt x="102" y="788"/>
                    <a:pt x="110" y="793"/>
                  </a:cubicBezTo>
                  <a:cubicBezTo>
                    <a:pt x="152" y="832"/>
                    <a:pt x="152" y="832"/>
                    <a:pt x="152" y="832"/>
                  </a:cubicBezTo>
                  <a:cubicBezTo>
                    <a:pt x="160" y="837"/>
                    <a:pt x="173" y="834"/>
                    <a:pt x="178" y="826"/>
                  </a:cubicBezTo>
                  <a:cubicBezTo>
                    <a:pt x="230" y="781"/>
                    <a:pt x="230" y="781"/>
                    <a:pt x="230" y="781"/>
                  </a:cubicBezTo>
                  <a:cubicBezTo>
                    <a:pt x="248" y="770"/>
                    <a:pt x="261" y="767"/>
                    <a:pt x="269" y="772"/>
                  </a:cubicBezTo>
                  <a:cubicBezTo>
                    <a:pt x="269" y="772"/>
                    <a:pt x="269" y="772"/>
                    <a:pt x="269" y="772"/>
                  </a:cubicBezTo>
                  <a:cubicBezTo>
                    <a:pt x="282" y="769"/>
                    <a:pt x="298" y="779"/>
                    <a:pt x="306" y="785"/>
                  </a:cubicBezTo>
                  <a:cubicBezTo>
                    <a:pt x="306" y="785"/>
                    <a:pt x="306" y="785"/>
                    <a:pt x="306" y="785"/>
                  </a:cubicBezTo>
                  <a:cubicBezTo>
                    <a:pt x="319" y="782"/>
                    <a:pt x="327" y="787"/>
                    <a:pt x="332" y="813"/>
                  </a:cubicBezTo>
                  <a:cubicBezTo>
                    <a:pt x="346" y="878"/>
                    <a:pt x="346" y="878"/>
                    <a:pt x="346" y="878"/>
                  </a:cubicBezTo>
                  <a:cubicBezTo>
                    <a:pt x="349" y="892"/>
                    <a:pt x="357" y="897"/>
                    <a:pt x="370" y="894"/>
                  </a:cubicBezTo>
                  <a:cubicBezTo>
                    <a:pt x="425" y="896"/>
                    <a:pt x="425" y="896"/>
                    <a:pt x="425" y="896"/>
                  </a:cubicBezTo>
                  <a:cubicBezTo>
                    <a:pt x="430" y="888"/>
                    <a:pt x="443" y="885"/>
                    <a:pt x="440" y="872"/>
                  </a:cubicBezTo>
                  <a:cubicBezTo>
                    <a:pt x="440" y="804"/>
                    <a:pt x="440" y="804"/>
                    <a:pt x="440" y="804"/>
                  </a:cubicBezTo>
                  <a:cubicBezTo>
                    <a:pt x="442" y="783"/>
                    <a:pt x="460" y="772"/>
                    <a:pt x="466" y="764"/>
                  </a:cubicBezTo>
                  <a:cubicBezTo>
                    <a:pt x="466" y="764"/>
                    <a:pt x="466" y="764"/>
                    <a:pt x="466" y="764"/>
                  </a:cubicBezTo>
                  <a:cubicBezTo>
                    <a:pt x="479" y="761"/>
                    <a:pt x="492" y="758"/>
                    <a:pt x="497" y="750"/>
                  </a:cubicBezTo>
                  <a:cubicBezTo>
                    <a:pt x="497" y="750"/>
                    <a:pt x="497" y="750"/>
                    <a:pt x="497" y="750"/>
                  </a:cubicBezTo>
                  <a:cubicBezTo>
                    <a:pt x="510" y="747"/>
                    <a:pt x="523" y="745"/>
                    <a:pt x="539" y="755"/>
                  </a:cubicBezTo>
                  <a:cubicBezTo>
                    <a:pt x="594" y="791"/>
                    <a:pt x="594" y="791"/>
                    <a:pt x="594" y="791"/>
                  </a:cubicBezTo>
                  <a:cubicBezTo>
                    <a:pt x="602" y="796"/>
                    <a:pt x="623" y="798"/>
                    <a:pt x="628" y="790"/>
                  </a:cubicBezTo>
                  <a:cubicBezTo>
                    <a:pt x="659" y="743"/>
                    <a:pt x="659" y="743"/>
                    <a:pt x="659" y="743"/>
                  </a:cubicBezTo>
                  <a:cubicBezTo>
                    <a:pt x="659" y="743"/>
                    <a:pt x="669" y="727"/>
                    <a:pt x="654" y="716"/>
                  </a:cubicBezTo>
                  <a:close/>
                  <a:moveTo>
                    <a:pt x="281" y="633"/>
                  </a:moveTo>
                  <a:cubicBezTo>
                    <a:pt x="223" y="584"/>
                    <a:pt x="219" y="502"/>
                    <a:pt x="263" y="452"/>
                  </a:cubicBezTo>
                  <a:cubicBezTo>
                    <a:pt x="313" y="393"/>
                    <a:pt x="399" y="382"/>
                    <a:pt x="457" y="431"/>
                  </a:cubicBezTo>
                  <a:cubicBezTo>
                    <a:pt x="507" y="475"/>
                    <a:pt x="518" y="561"/>
                    <a:pt x="469" y="619"/>
                  </a:cubicBezTo>
                  <a:cubicBezTo>
                    <a:pt x="420" y="678"/>
                    <a:pt x="339" y="682"/>
                    <a:pt x="281" y="633"/>
                  </a:cubicBezTo>
                  <a:close/>
                  <a:moveTo>
                    <a:pt x="1019" y="398"/>
                  </a:moveTo>
                  <a:cubicBezTo>
                    <a:pt x="1004" y="362"/>
                    <a:pt x="1004" y="362"/>
                    <a:pt x="1004" y="362"/>
                  </a:cubicBezTo>
                  <a:cubicBezTo>
                    <a:pt x="992" y="348"/>
                    <a:pt x="1002" y="340"/>
                    <a:pt x="1002" y="332"/>
                  </a:cubicBezTo>
                  <a:cubicBezTo>
                    <a:pt x="1002" y="332"/>
                    <a:pt x="1002" y="332"/>
                    <a:pt x="1002" y="332"/>
                  </a:cubicBezTo>
                  <a:cubicBezTo>
                    <a:pt x="1007" y="328"/>
                    <a:pt x="1011" y="324"/>
                    <a:pt x="1012" y="315"/>
                  </a:cubicBezTo>
                  <a:cubicBezTo>
                    <a:pt x="1021" y="307"/>
                    <a:pt x="1026" y="303"/>
                    <a:pt x="1043" y="304"/>
                  </a:cubicBezTo>
                  <a:cubicBezTo>
                    <a:pt x="1086" y="307"/>
                    <a:pt x="1086" y="307"/>
                    <a:pt x="1086" y="307"/>
                  </a:cubicBezTo>
                  <a:cubicBezTo>
                    <a:pt x="1095" y="308"/>
                    <a:pt x="1099" y="304"/>
                    <a:pt x="1100" y="295"/>
                  </a:cubicBezTo>
                  <a:cubicBezTo>
                    <a:pt x="1107" y="266"/>
                    <a:pt x="1107" y="266"/>
                    <a:pt x="1107" y="266"/>
                  </a:cubicBezTo>
                  <a:cubicBezTo>
                    <a:pt x="1107" y="257"/>
                    <a:pt x="1103" y="252"/>
                    <a:pt x="1095" y="243"/>
                  </a:cubicBezTo>
                  <a:cubicBezTo>
                    <a:pt x="1057" y="236"/>
                    <a:pt x="1057" y="236"/>
                    <a:pt x="1057" y="236"/>
                  </a:cubicBezTo>
                  <a:cubicBezTo>
                    <a:pt x="1044" y="231"/>
                    <a:pt x="1036" y="222"/>
                    <a:pt x="1037" y="213"/>
                  </a:cubicBezTo>
                  <a:cubicBezTo>
                    <a:pt x="1038" y="205"/>
                    <a:pt x="1034" y="200"/>
                    <a:pt x="1030" y="187"/>
                  </a:cubicBezTo>
                  <a:cubicBezTo>
                    <a:pt x="1031" y="178"/>
                    <a:pt x="1032" y="170"/>
                    <a:pt x="1041" y="162"/>
                  </a:cubicBezTo>
                  <a:cubicBezTo>
                    <a:pt x="1077" y="138"/>
                    <a:pt x="1077" y="138"/>
                    <a:pt x="1077" y="138"/>
                  </a:cubicBezTo>
                  <a:cubicBezTo>
                    <a:pt x="1082" y="134"/>
                    <a:pt x="1083" y="126"/>
                    <a:pt x="1079" y="121"/>
                  </a:cubicBezTo>
                  <a:cubicBezTo>
                    <a:pt x="1059" y="89"/>
                    <a:pt x="1059" y="89"/>
                    <a:pt x="1059" y="89"/>
                  </a:cubicBezTo>
                  <a:cubicBezTo>
                    <a:pt x="1055" y="85"/>
                    <a:pt x="1047" y="84"/>
                    <a:pt x="1038" y="83"/>
                  </a:cubicBezTo>
                  <a:cubicBezTo>
                    <a:pt x="1002" y="107"/>
                    <a:pt x="1002" y="107"/>
                    <a:pt x="1002" y="107"/>
                  </a:cubicBezTo>
                  <a:cubicBezTo>
                    <a:pt x="989" y="110"/>
                    <a:pt x="980" y="110"/>
                    <a:pt x="976" y="105"/>
                  </a:cubicBezTo>
                  <a:cubicBezTo>
                    <a:pt x="972" y="100"/>
                    <a:pt x="960" y="95"/>
                    <a:pt x="956" y="91"/>
                  </a:cubicBezTo>
                  <a:cubicBezTo>
                    <a:pt x="952" y="86"/>
                    <a:pt x="944" y="77"/>
                    <a:pt x="944" y="68"/>
                  </a:cubicBezTo>
                  <a:cubicBezTo>
                    <a:pt x="948" y="25"/>
                    <a:pt x="948" y="25"/>
                    <a:pt x="948" y="25"/>
                  </a:cubicBezTo>
                  <a:cubicBezTo>
                    <a:pt x="948" y="17"/>
                    <a:pt x="940" y="7"/>
                    <a:pt x="940" y="7"/>
                  </a:cubicBezTo>
                  <a:cubicBezTo>
                    <a:pt x="902" y="0"/>
                    <a:pt x="902" y="0"/>
                    <a:pt x="902" y="0"/>
                  </a:cubicBezTo>
                  <a:cubicBezTo>
                    <a:pt x="902" y="0"/>
                    <a:pt x="889" y="4"/>
                    <a:pt x="888" y="12"/>
                  </a:cubicBezTo>
                  <a:cubicBezTo>
                    <a:pt x="872" y="50"/>
                    <a:pt x="872" y="50"/>
                    <a:pt x="872" y="50"/>
                  </a:cubicBezTo>
                  <a:cubicBezTo>
                    <a:pt x="871" y="67"/>
                    <a:pt x="862" y="67"/>
                    <a:pt x="858" y="71"/>
                  </a:cubicBezTo>
                  <a:cubicBezTo>
                    <a:pt x="858" y="71"/>
                    <a:pt x="858" y="71"/>
                    <a:pt x="853" y="75"/>
                  </a:cubicBezTo>
                  <a:cubicBezTo>
                    <a:pt x="849" y="70"/>
                    <a:pt x="840" y="70"/>
                    <a:pt x="836" y="74"/>
                  </a:cubicBezTo>
                  <a:cubicBezTo>
                    <a:pt x="831" y="78"/>
                    <a:pt x="831" y="78"/>
                    <a:pt x="831" y="78"/>
                  </a:cubicBezTo>
                  <a:cubicBezTo>
                    <a:pt x="822" y="77"/>
                    <a:pt x="814" y="76"/>
                    <a:pt x="806" y="67"/>
                  </a:cubicBezTo>
                  <a:cubicBezTo>
                    <a:pt x="778" y="35"/>
                    <a:pt x="778" y="35"/>
                    <a:pt x="778" y="35"/>
                  </a:cubicBezTo>
                  <a:cubicBezTo>
                    <a:pt x="774" y="30"/>
                    <a:pt x="762" y="25"/>
                    <a:pt x="757" y="29"/>
                  </a:cubicBezTo>
                  <a:cubicBezTo>
                    <a:pt x="734" y="49"/>
                    <a:pt x="734" y="49"/>
                    <a:pt x="734" y="49"/>
                  </a:cubicBezTo>
                  <a:cubicBezTo>
                    <a:pt x="725" y="49"/>
                    <a:pt x="725" y="57"/>
                    <a:pt x="728" y="70"/>
                  </a:cubicBezTo>
                  <a:cubicBezTo>
                    <a:pt x="747" y="102"/>
                    <a:pt x="747" y="102"/>
                    <a:pt x="747" y="102"/>
                  </a:cubicBezTo>
                  <a:cubicBezTo>
                    <a:pt x="754" y="120"/>
                    <a:pt x="750" y="124"/>
                    <a:pt x="744" y="136"/>
                  </a:cubicBezTo>
                  <a:cubicBezTo>
                    <a:pt x="744" y="136"/>
                    <a:pt x="744" y="136"/>
                    <a:pt x="744" y="136"/>
                  </a:cubicBezTo>
                  <a:cubicBezTo>
                    <a:pt x="740" y="140"/>
                    <a:pt x="735" y="144"/>
                    <a:pt x="731" y="148"/>
                  </a:cubicBezTo>
                  <a:cubicBezTo>
                    <a:pt x="731" y="148"/>
                    <a:pt x="731" y="148"/>
                    <a:pt x="731" y="148"/>
                  </a:cubicBezTo>
                  <a:cubicBezTo>
                    <a:pt x="730" y="157"/>
                    <a:pt x="721" y="165"/>
                    <a:pt x="703" y="164"/>
                  </a:cubicBezTo>
                  <a:cubicBezTo>
                    <a:pt x="665" y="157"/>
                    <a:pt x="665" y="157"/>
                    <a:pt x="665" y="157"/>
                  </a:cubicBezTo>
                  <a:cubicBezTo>
                    <a:pt x="656" y="156"/>
                    <a:pt x="647" y="164"/>
                    <a:pt x="647" y="173"/>
                  </a:cubicBezTo>
                  <a:cubicBezTo>
                    <a:pt x="640" y="203"/>
                    <a:pt x="640" y="203"/>
                    <a:pt x="640" y="203"/>
                  </a:cubicBezTo>
                  <a:cubicBezTo>
                    <a:pt x="639" y="211"/>
                    <a:pt x="643" y="216"/>
                    <a:pt x="656" y="221"/>
                  </a:cubicBezTo>
                  <a:cubicBezTo>
                    <a:pt x="690" y="232"/>
                    <a:pt x="690" y="232"/>
                    <a:pt x="690" y="232"/>
                  </a:cubicBezTo>
                  <a:cubicBezTo>
                    <a:pt x="702" y="237"/>
                    <a:pt x="710" y="246"/>
                    <a:pt x="710" y="255"/>
                  </a:cubicBezTo>
                  <a:cubicBezTo>
                    <a:pt x="710" y="255"/>
                    <a:pt x="710" y="255"/>
                    <a:pt x="710" y="255"/>
                  </a:cubicBezTo>
                  <a:cubicBezTo>
                    <a:pt x="714" y="260"/>
                    <a:pt x="713" y="268"/>
                    <a:pt x="717" y="273"/>
                  </a:cubicBezTo>
                  <a:cubicBezTo>
                    <a:pt x="712" y="277"/>
                    <a:pt x="712" y="277"/>
                    <a:pt x="712" y="277"/>
                  </a:cubicBezTo>
                  <a:cubicBezTo>
                    <a:pt x="716" y="281"/>
                    <a:pt x="716" y="290"/>
                    <a:pt x="702" y="302"/>
                  </a:cubicBezTo>
                  <a:cubicBezTo>
                    <a:pt x="674" y="326"/>
                    <a:pt x="674" y="326"/>
                    <a:pt x="674" y="326"/>
                  </a:cubicBezTo>
                  <a:cubicBezTo>
                    <a:pt x="665" y="334"/>
                    <a:pt x="664" y="343"/>
                    <a:pt x="668" y="347"/>
                  </a:cubicBezTo>
                  <a:cubicBezTo>
                    <a:pt x="687" y="379"/>
                    <a:pt x="687" y="379"/>
                    <a:pt x="687" y="379"/>
                  </a:cubicBezTo>
                  <a:cubicBezTo>
                    <a:pt x="691" y="383"/>
                    <a:pt x="700" y="384"/>
                    <a:pt x="704" y="380"/>
                  </a:cubicBezTo>
                  <a:cubicBezTo>
                    <a:pt x="745" y="361"/>
                    <a:pt x="745" y="361"/>
                    <a:pt x="745" y="361"/>
                  </a:cubicBezTo>
                  <a:cubicBezTo>
                    <a:pt x="758" y="358"/>
                    <a:pt x="767" y="358"/>
                    <a:pt x="771" y="363"/>
                  </a:cubicBezTo>
                  <a:cubicBezTo>
                    <a:pt x="771" y="363"/>
                    <a:pt x="771" y="363"/>
                    <a:pt x="771" y="363"/>
                  </a:cubicBezTo>
                  <a:cubicBezTo>
                    <a:pt x="779" y="364"/>
                    <a:pt x="787" y="373"/>
                    <a:pt x="791" y="377"/>
                  </a:cubicBezTo>
                  <a:cubicBezTo>
                    <a:pt x="791" y="377"/>
                    <a:pt x="791" y="377"/>
                    <a:pt x="791" y="377"/>
                  </a:cubicBezTo>
                  <a:cubicBezTo>
                    <a:pt x="800" y="378"/>
                    <a:pt x="804" y="383"/>
                    <a:pt x="802" y="400"/>
                  </a:cubicBezTo>
                  <a:cubicBezTo>
                    <a:pt x="799" y="443"/>
                    <a:pt x="799" y="443"/>
                    <a:pt x="799" y="443"/>
                  </a:cubicBezTo>
                  <a:cubicBezTo>
                    <a:pt x="798" y="451"/>
                    <a:pt x="802" y="456"/>
                    <a:pt x="811" y="457"/>
                  </a:cubicBezTo>
                  <a:cubicBezTo>
                    <a:pt x="845" y="468"/>
                    <a:pt x="845" y="468"/>
                    <a:pt x="845" y="468"/>
                  </a:cubicBezTo>
                  <a:cubicBezTo>
                    <a:pt x="849" y="464"/>
                    <a:pt x="858" y="464"/>
                    <a:pt x="859" y="456"/>
                  </a:cubicBezTo>
                  <a:cubicBezTo>
                    <a:pt x="871" y="413"/>
                    <a:pt x="871" y="413"/>
                    <a:pt x="871" y="413"/>
                  </a:cubicBezTo>
                  <a:cubicBezTo>
                    <a:pt x="876" y="401"/>
                    <a:pt x="889" y="397"/>
                    <a:pt x="894" y="393"/>
                  </a:cubicBezTo>
                  <a:cubicBezTo>
                    <a:pt x="894" y="393"/>
                    <a:pt x="894" y="393"/>
                    <a:pt x="894" y="393"/>
                  </a:cubicBezTo>
                  <a:cubicBezTo>
                    <a:pt x="902" y="394"/>
                    <a:pt x="911" y="395"/>
                    <a:pt x="916" y="391"/>
                  </a:cubicBezTo>
                  <a:cubicBezTo>
                    <a:pt x="916" y="391"/>
                    <a:pt x="916" y="391"/>
                    <a:pt x="916" y="391"/>
                  </a:cubicBezTo>
                  <a:cubicBezTo>
                    <a:pt x="924" y="391"/>
                    <a:pt x="933" y="392"/>
                    <a:pt x="941" y="401"/>
                  </a:cubicBezTo>
                  <a:cubicBezTo>
                    <a:pt x="969" y="433"/>
                    <a:pt x="969" y="433"/>
                    <a:pt x="969" y="433"/>
                  </a:cubicBezTo>
                  <a:cubicBezTo>
                    <a:pt x="973" y="438"/>
                    <a:pt x="985" y="443"/>
                    <a:pt x="990" y="439"/>
                  </a:cubicBezTo>
                  <a:cubicBezTo>
                    <a:pt x="1018" y="415"/>
                    <a:pt x="1018" y="415"/>
                    <a:pt x="1018" y="415"/>
                  </a:cubicBezTo>
                  <a:cubicBezTo>
                    <a:pt x="1018" y="415"/>
                    <a:pt x="1027" y="407"/>
                    <a:pt x="1019" y="398"/>
                  </a:cubicBezTo>
                  <a:close/>
                  <a:moveTo>
                    <a:pt x="803" y="279"/>
                  </a:moveTo>
                  <a:cubicBezTo>
                    <a:pt x="776" y="238"/>
                    <a:pt x="788" y="187"/>
                    <a:pt x="825" y="164"/>
                  </a:cubicBezTo>
                  <a:cubicBezTo>
                    <a:pt x="866" y="136"/>
                    <a:pt x="921" y="144"/>
                    <a:pt x="948" y="185"/>
                  </a:cubicBezTo>
                  <a:cubicBezTo>
                    <a:pt x="972" y="221"/>
                    <a:pt x="963" y="277"/>
                    <a:pt x="922" y="304"/>
                  </a:cubicBezTo>
                  <a:cubicBezTo>
                    <a:pt x="881" y="332"/>
                    <a:pt x="830" y="320"/>
                    <a:pt x="803" y="279"/>
                  </a:cubicBezTo>
                  <a:close/>
                </a:path>
              </a:pathLst>
            </a:custGeom>
            <a:solidFill>
              <a:schemeClr val="tx1"/>
            </a:solidFill>
            <a:ln>
              <a:noFill/>
            </a:ln>
          </p:spPr>
          <p:txBody>
            <a:bodyPr vert="horz" wrap="square" lIns="68574" tIns="34287" rIns="68574" bIns="34287"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17346"/>
                </a:solidFill>
                <a:effectLst/>
                <a:uLnTx/>
                <a:uFillTx/>
                <a:latin typeface="Segoe UI"/>
                <a:ea typeface="+mn-ea"/>
                <a:cs typeface="+mn-cs"/>
              </a:endParaRPr>
            </a:p>
          </p:txBody>
        </p:sp>
        <p:sp>
          <p:nvSpPr>
            <p:cNvPr id="88" name="Freeform 87"/>
            <p:cNvSpPr>
              <a:spLocks noChangeAspect="1"/>
            </p:cNvSpPr>
            <p:nvPr/>
          </p:nvSpPr>
          <p:spPr bwMode="black">
            <a:xfrm>
              <a:off x="776985" y="4213905"/>
              <a:ext cx="342871" cy="335728"/>
            </a:xfrm>
            <a:custGeom>
              <a:avLst/>
              <a:gdLst>
                <a:gd name="connsiteX0" fmla="*/ 3713863 w 4893730"/>
                <a:gd name="connsiteY0" fmla="*/ 2130808 h 4791777"/>
                <a:gd name="connsiteX1" fmla="*/ 4426142 w 4893730"/>
                <a:gd name="connsiteY1" fmla="*/ 2130808 h 4791777"/>
                <a:gd name="connsiteX2" fmla="*/ 4598071 w 4893730"/>
                <a:gd name="connsiteY2" fmla="*/ 2301547 h 4791777"/>
                <a:gd name="connsiteX3" fmla="*/ 4598071 w 4893730"/>
                <a:gd name="connsiteY3" fmla="*/ 3886978 h 4791777"/>
                <a:gd name="connsiteX4" fmla="*/ 4426142 w 4893730"/>
                <a:gd name="connsiteY4" fmla="*/ 4057717 h 4791777"/>
                <a:gd name="connsiteX5" fmla="*/ 3713863 w 4893730"/>
                <a:gd name="connsiteY5" fmla="*/ 4057717 h 4791777"/>
                <a:gd name="connsiteX6" fmla="*/ 3517372 w 4893730"/>
                <a:gd name="connsiteY6" fmla="*/ 3886978 h 4791777"/>
                <a:gd name="connsiteX7" fmla="*/ 3517372 w 4893730"/>
                <a:gd name="connsiteY7" fmla="*/ 2301547 h 4791777"/>
                <a:gd name="connsiteX8" fmla="*/ 3713863 w 4893730"/>
                <a:gd name="connsiteY8" fmla="*/ 2130808 h 4791777"/>
                <a:gd name="connsiteX9" fmla="*/ 904368 w 4893730"/>
                <a:gd name="connsiteY9" fmla="*/ 1223432 h 4791777"/>
                <a:gd name="connsiteX10" fmla="*/ 1609930 w 4893730"/>
                <a:gd name="connsiteY10" fmla="*/ 1223432 h 4791777"/>
                <a:gd name="connsiteX11" fmla="*/ 1804567 w 4893730"/>
                <a:gd name="connsiteY11" fmla="*/ 1394467 h 4791777"/>
                <a:gd name="connsiteX12" fmla="*/ 1804567 w 4893730"/>
                <a:gd name="connsiteY12" fmla="*/ 3886683 h 4791777"/>
                <a:gd name="connsiteX13" fmla="*/ 1609930 w 4893730"/>
                <a:gd name="connsiteY13" fmla="*/ 4057717 h 4791777"/>
                <a:gd name="connsiteX14" fmla="*/ 904368 w 4893730"/>
                <a:gd name="connsiteY14" fmla="*/ 4057717 h 4791777"/>
                <a:gd name="connsiteX15" fmla="*/ 734060 w 4893730"/>
                <a:gd name="connsiteY15" fmla="*/ 3886683 h 4791777"/>
                <a:gd name="connsiteX16" fmla="*/ 734060 w 4893730"/>
                <a:gd name="connsiteY16" fmla="*/ 1394467 h 4791777"/>
                <a:gd name="connsiteX17" fmla="*/ 904368 w 4893730"/>
                <a:gd name="connsiteY17" fmla="*/ 1223432 h 4791777"/>
                <a:gd name="connsiteX18" fmla="*/ 2325453 w 4893730"/>
                <a:gd name="connsiteY18" fmla="*/ 316050 h 4791777"/>
                <a:gd name="connsiteX19" fmla="*/ 3031014 w 4893730"/>
                <a:gd name="connsiteY19" fmla="*/ 316050 h 4791777"/>
                <a:gd name="connsiteX20" fmla="*/ 3201322 w 4893730"/>
                <a:gd name="connsiteY20" fmla="*/ 487238 h 4791777"/>
                <a:gd name="connsiteX21" fmla="*/ 3201322 w 4893730"/>
                <a:gd name="connsiteY21" fmla="*/ 3886530 h 4791777"/>
                <a:gd name="connsiteX22" fmla="*/ 3031014 w 4893730"/>
                <a:gd name="connsiteY22" fmla="*/ 4057717 h 4791777"/>
                <a:gd name="connsiteX23" fmla="*/ 2325453 w 4893730"/>
                <a:gd name="connsiteY23" fmla="*/ 4057717 h 4791777"/>
                <a:gd name="connsiteX24" fmla="*/ 2130815 w 4893730"/>
                <a:gd name="connsiteY24" fmla="*/ 3886530 h 4791777"/>
                <a:gd name="connsiteX25" fmla="*/ 2130815 w 4893730"/>
                <a:gd name="connsiteY25" fmla="*/ 487238 h 4791777"/>
                <a:gd name="connsiteX26" fmla="*/ 2325453 w 4893730"/>
                <a:gd name="connsiteY26" fmla="*/ 316050 h 4791777"/>
                <a:gd name="connsiteX27" fmla="*/ 269155 w 4893730"/>
                <a:gd name="connsiteY27" fmla="*/ 0 h 4791777"/>
                <a:gd name="connsiteX28" fmla="*/ 538311 w 4893730"/>
                <a:gd name="connsiteY28" fmla="*/ 268927 h 4791777"/>
                <a:gd name="connsiteX29" fmla="*/ 538311 w 4893730"/>
                <a:gd name="connsiteY29" fmla="*/ 4253925 h 4791777"/>
                <a:gd name="connsiteX30" fmla="*/ 4624575 w 4893730"/>
                <a:gd name="connsiteY30" fmla="*/ 4253925 h 4791777"/>
                <a:gd name="connsiteX31" fmla="*/ 4893730 w 4893730"/>
                <a:gd name="connsiteY31" fmla="*/ 4522851 h 4791777"/>
                <a:gd name="connsiteX32" fmla="*/ 4624575 w 4893730"/>
                <a:gd name="connsiteY32" fmla="*/ 4791777 h 4791777"/>
                <a:gd name="connsiteX33" fmla="*/ 269155 w 4893730"/>
                <a:gd name="connsiteY33" fmla="*/ 4791777 h 4791777"/>
                <a:gd name="connsiteX34" fmla="*/ 0 w 4893730"/>
                <a:gd name="connsiteY34" fmla="*/ 4522851 h 4791777"/>
                <a:gd name="connsiteX35" fmla="*/ 0 w 4893730"/>
                <a:gd name="connsiteY35" fmla="*/ 268927 h 4791777"/>
                <a:gd name="connsiteX36" fmla="*/ 269155 w 4893730"/>
                <a:gd name="connsiteY36" fmla="*/ 0 h 4791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4893730" h="4791777">
                  <a:moveTo>
                    <a:pt x="3713863" y="2130808"/>
                  </a:moveTo>
                  <a:cubicBezTo>
                    <a:pt x="3713863" y="2130808"/>
                    <a:pt x="3713863" y="2130808"/>
                    <a:pt x="4426142" y="2130808"/>
                  </a:cubicBezTo>
                  <a:cubicBezTo>
                    <a:pt x="4524387" y="2130808"/>
                    <a:pt x="4598071" y="2203982"/>
                    <a:pt x="4598071" y="2301547"/>
                  </a:cubicBezTo>
                  <a:cubicBezTo>
                    <a:pt x="4598071" y="2301547"/>
                    <a:pt x="4598071" y="2301547"/>
                    <a:pt x="4598071" y="3886978"/>
                  </a:cubicBezTo>
                  <a:cubicBezTo>
                    <a:pt x="4598071" y="3984543"/>
                    <a:pt x="4524387" y="4057717"/>
                    <a:pt x="4426142" y="4057717"/>
                  </a:cubicBezTo>
                  <a:cubicBezTo>
                    <a:pt x="4426142" y="4057717"/>
                    <a:pt x="4426142" y="4057717"/>
                    <a:pt x="3713863" y="4057717"/>
                  </a:cubicBezTo>
                  <a:cubicBezTo>
                    <a:pt x="3615618" y="4057717"/>
                    <a:pt x="3517372" y="3984543"/>
                    <a:pt x="3517372" y="3886978"/>
                  </a:cubicBezTo>
                  <a:cubicBezTo>
                    <a:pt x="3517372" y="3886978"/>
                    <a:pt x="3517372" y="3886978"/>
                    <a:pt x="3517372" y="2301547"/>
                  </a:cubicBezTo>
                  <a:cubicBezTo>
                    <a:pt x="3517372" y="2203982"/>
                    <a:pt x="3615618" y="2130808"/>
                    <a:pt x="3713863" y="2130808"/>
                  </a:cubicBezTo>
                  <a:close/>
                  <a:moveTo>
                    <a:pt x="904368" y="1223432"/>
                  </a:moveTo>
                  <a:cubicBezTo>
                    <a:pt x="904368" y="1223432"/>
                    <a:pt x="904368" y="1223432"/>
                    <a:pt x="1609930" y="1223432"/>
                  </a:cubicBezTo>
                  <a:cubicBezTo>
                    <a:pt x="1731578" y="1223432"/>
                    <a:pt x="1804567" y="1296733"/>
                    <a:pt x="1804567" y="1394467"/>
                  </a:cubicBezTo>
                  <a:cubicBezTo>
                    <a:pt x="1804567" y="1394467"/>
                    <a:pt x="1804567" y="1394467"/>
                    <a:pt x="1804567" y="3886683"/>
                  </a:cubicBezTo>
                  <a:cubicBezTo>
                    <a:pt x="1804567" y="3984417"/>
                    <a:pt x="1731578" y="4057717"/>
                    <a:pt x="1609930" y="4057717"/>
                  </a:cubicBezTo>
                  <a:cubicBezTo>
                    <a:pt x="1609930" y="4057717"/>
                    <a:pt x="1609930" y="4057717"/>
                    <a:pt x="904368" y="4057717"/>
                  </a:cubicBezTo>
                  <a:cubicBezTo>
                    <a:pt x="807049" y="4057717"/>
                    <a:pt x="734060" y="3984417"/>
                    <a:pt x="734060" y="3886683"/>
                  </a:cubicBezTo>
                  <a:cubicBezTo>
                    <a:pt x="734060" y="3886683"/>
                    <a:pt x="734060" y="3886683"/>
                    <a:pt x="734060" y="1394467"/>
                  </a:cubicBezTo>
                  <a:cubicBezTo>
                    <a:pt x="734060" y="1296733"/>
                    <a:pt x="807049" y="1223432"/>
                    <a:pt x="904368" y="1223432"/>
                  </a:cubicBezTo>
                  <a:close/>
                  <a:moveTo>
                    <a:pt x="2325453" y="316050"/>
                  </a:moveTo>
                  <a:cubicBezTo>
                    <a:pt x="2325453" y="316050"/>
                    <a:pt x="2325453" y="316050"/>
                    <a:pt x="3031014" y="316050"/>
                  </a:cubicBezTo>
                  <a:cubicBezTo>
                    <a:pt x="3128333" y="316050"/>
                    <a:pt x="3201322" y="389416"/>
                    <a:pt x="3201322" y="487238"/>
                  </a:cubicBezTo>
                  <a:cubicBezTo>
                    <a:pt x="3201322" y="487238"/>
                    <a:pt x="3201322" y="487238"/>
                    <a:pt x="3201322" y="3886530"/>
                  </a:cubicBezTo>
                  <a:cubicBezTo>
                    <a:pt x="3201322" y="3984351"/>
                    <a:pt x="3128333" y="4057717"/>
                    <a:pt x="3031014" y="4057717"/>
                  </a:cubicBezTo>
                  <a:cubicBezTo>
                    <a:pt x="3031014" y="4057717"/>
                    <a:pt x="3031014" y="4057717"/>
                    <a:pt x="2325453" y="4057717"/>
                  </a:cubicBezTo>
                  <a:cubicBezTo>
                    <a:pt x="2203804" y="4057717"/>
                    <a:pt x="2130815" y="3984351"/>
                    <a:pt x="2130815" y="3886530"/>
                  </a:cubicBezTo>
                  <a:cubicBezTo>
                    <a:pt x="2130815" y="3886530"/>
                    <a:pt x="2130815" y="3886530"/>
                    <a:pt x="2130815" y="487238"/>
                  </a:cubicBezTo>
                  <a:cubicBezTo>
                    <a:pt x="2130815" y="389416"/>
                    <a:pt x="2203804" y="316050"/>
                    <a:pt x="2325453" y="316050"/>
                  </a:cubicBezTo>
                  <a:close/>
                  <a:moveTo>
                    <a:pt x="269155" y="0"/>
                  </a:moveTo>
                  <a:cubicBezTo>
                    <a:pt x="415967" y="0"/>
                    <a:pt x="538311" y="122239"/>
                    <a:pt x="538311" y="268927"/>
                  </a:cubicBezTo>
                  <a:cubicBezTo>
                    <a:pt x="538311" y="268927"/>
                    <a:pt x="538311" y="268927"/>
                    <a:pt x="538311" y="4253925"/>
                  </a:cubicBezTo>
                  <a:cubicBezTo>
                    <a:pt x="538311" y="4253925"/>
                    <a:pt x="538311" y="4253925"/>
                    <a:pt x="4624575" y="4253925"/>
                  </a:cubicBezTo>
                  <a:cubicBezTo>
                    <a:pt x="4771387" y="4253925"/>
                    <a:pt x="4893730" y="4376164"/>
                    <a:pt x="4893730" y="4522851"/>
                  </a:cubicBezTo>
                  <a:cubicBezTo>
                    <a:pt x="4893730" y="4669538"/>
                    <a:pt x="4771387" y="4791777"/>
                    <a:pt x="4624575" y="4791777"/>
                  </a:cubicBezTo>
                  <a:cubicBezTo>
                    <a:pt x="4624575" y="4791777"/>
                    <a:pt x="4624575" y="4791777"/>
                    <a:pt x="269155" y="4791777"/>
                  </a:cubicBezTo>
                  <a:cubicBezTo>
                    <a:pt x="122344" y="4791777"/>
                    <a:pt x="0" y="4669538"/>
                    <a:pt x="0" y="4522851"/>
                  </a:cubicBezTo>
                  <a:cubicBezTo>
                    <a:pt x="0" y="4522851"/>
                    <a:pt x="0" y="4522851"/>
                    <a:pt x="0" y="268927"/>
                  </a:cubicBezTo>
                  <a:cubicBezTo>
                    <a:pt x="0" y="122239"/>
                    <a:pt x="122344" y="0"/>
                    <a:pt x="269155"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37148" tIns="109719" rIns="137148" bIns="109719"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699261"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9" name="Rectangle 88"/>
            <p:cNvSpPr/>
            <p:nvPr/>
          </p:nvSpPr>
          <p:spPr bwMode="auto">
            <a:xfrm rot="2745734">
              <a:off x="279530" y="1141266"/>
              <a:ext cx="1260714" cy="1255193"/>
            </a:xfrm>
            <a:prstGeom prst="rect">
              <a:avLst/>
            </a:prstGeom>
            <a:solidFill>
              <a:schemeClr val="tx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0" name="Rectangle 89"/>
            <p:cNvSpPr/>
            <p:nvPr/>
          </p:nvSpPr>
          <p:spPr bwMode="auto">
            <a:xfrm rot="2745734">
              <a:off x="292433" y="3819160"/>
              <a:ext cx="1610349" cy="1235003"/>
            </a:xfrm>
            <a:prstGeom prst="rect">
              <a:avLst/>
            </a:prstGeom>
            <a:solidFill>
              <a:schemeClr val="tx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2" name="Rectangle 91"/>
            <p:cNvSpPr/>
            <p:nvPr/>
          </p:nvSpPr>
          <p:spPr bwMode="auto">
            <a:xfrm rot="2745734">
              <a:off x="1315610" y="4915701"/>
              <a:ext cx="1263370" cy="1255989"/>
            </a:xfrm>
            <a:prstGeom prst="rect">
              <a:avLst/>
            </a:prstGeom>
            <a:solidFill>
              <a:schemeClr val="tx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40" name="TextBox 39"/>
          <p:cNvSpPr txBox="1"/>
          <p:nvPr/>
        </p:nvSpPr>
        <p:spPr>
          <a:xfrm>
            <a:off x="3" y="51415"/>
            <a:ext cx="2849058" cy="430887"/>
          </a:xfrm>
          <a:prstGeom prst="rect">
            <a:avLst/>
          </a:prstGeom>
        </p:spPr>
        <p:txBody>
          <a:bodyPr wrap="square">
            <a:spAutoFit/>
          </a:bodyPr>
          <a:lstStyle>
            <a:defPPr>
              <a:defRPr lang="en-US"/>
            </a:defPPr>
            <a:lvl1pPr defTabSz="914192">
              <a:defRPr sz="2800" b="1" spc="-100">
                <a:ln w="3175">
                  <a:noFill/>
                </a:ln>
                <a:solidFill>
                  <a:srgbClr val="F2C812"/>
                </a:solidFill>
                <a:latin typeface="Segoe UI" panose="020B0502040204020203" pitchFamily="34" charset="0"/>
                <a:ea typeface="ＭＳ Ｐゴシック" charset="0"/>
                <a:cs typeface="Segoe UI" panose="020B0502040204020203" pitchFamily="34" charset="0"/>
              </a:defRPr>
            </a:lvl1pPr>
          </a:lstStyle>
          <a:p>
            <a:pPr marL="0" marR="0" lvl="0" indent="0" algn="l" defTabSz="914192" rtl="0" eaLnBrk="1" fontAlgn="auto" latinLnBrk="0" hangingPunct="1">
              <a:lnSpc>
                <a:spcPct val="100000"/>
              </a:lnSpc>
              <a:spcBef>
                <a:spcPts val="0"/>
              </a:spcBef>
              <a:spcAft>
                <a:spcPts val="0"/>
              </a:spcAft>
              <a:buClrTx/>
              <a:buSzTx/>
              <a:buFontTx/>
              <a:buNone/>
              <a:tabLst/>
              <a:defRPr/>
            </a:pPr>
            <a:r>
              <a:rPr kumimoji="0" lang="en-US" sz="2200" b="1" i="0" u="none" strike="noStrike" kern="1200" cap="none" spc="-100" normalizeH="0" baseline="0" noProof="0">
                <a:ln w="3175">
                  <a:noFill/>
                </a:ln>
                <a:solidFill>
                  <a:srgbClr val="F2C812"/>
                </a:solidFill>
                <a:effectLst/>
                <a:uLnTx/>
                <a:uFillTx/>
                <a:latin typeface="Segoe UI Light"/>
                <a:ea typeface="ＭＳ Ｐゴシック" charset="0"/>
                <a:cs typeface="Segoe UI" panose="020B0502040204020203" pitchFamily="34" charset="0"/>
              </a:rPr>
              <a:t>Power BI Desktop</a:t>
            </a:r>
          </a:p>
        </p:txBody>
      </p:sp>
      <p:sp>
        <p:nvSpPr>
          <p:cNvPr id="41" name="Rectangle 40"/>
          <p:cNvSpPr/>
          <p:nvPr/>
        </p:nvSpPr>
        <p:spPr bwMode="auto">
          <a:xfrm rot="2745734">
            <a:off x="825067" y="3494250"/>
            <a:ext cx="1260714" cy="370170"/>
          </a:xfrm>
          <a:prstGeom prst="rect">
            <a:avLst/>
          </a:prstGeom>
          <a:solidFill>
            <a:schemeClr val="tx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3" name="Picture 2"/>
          <p:cNvPicPr>
            <a:picLocks noChangeAspect="1"/>
          </p:cNvPicPr>
          <p:nvPr/>
        </p:nvPicPr>
        <p:blipFill>
          <a:blip r:embed="rId3"/>
          <a:stretch>
            <a:fillRect/>
          </a:stretch>
        </p:blipFill>
        <p:spPr>
          <a:xfrm>
            <a:off x="3801112" y="1558049"/>
            <a:ext cx="7401790" cy="4513114"/>
          </a:xfrm>
          <a:prstGeom prst="rect">
            <a:avLst/>
          </a:prstGeom>
          <a:ln>
            <a:noFill/>
          </a:ln>
          <a:effectLst>
            <a:outerShdw blurRad="190500" algn="tl" rotWithShape="0">
              <a:srgbClr val="000000">
                <a:alpha val="70000"/>
              </a:srgbClr>
            </a:outerShdw>
          </a:effectLst>
        </p:spPr>
      </p:pic>
    </p:spTree>
    <p:extLst>
      <p:ext uri="{BB962C8B-B14F-4D97-AF65-F5344CB8AC3E}">
        <p14:creationId xmlns:p14="http://schemas.microsoft.com/office/powerpoint/2010/main" val="37041193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solidFill>
            <a:schemeClr val="bg1"/>
          </a:solidFill>
        </p:spPr>
        <p:txBody>
          <a:bodyPr/>
          <a:lstStyle/>
          <a:p>
            <a:r>
              <a:rPr lang="pt-PT">
                <a:solidFill>
                  <a:schemeClr val="tx1"/>
                </a:solidFill>
              </a:rPr>
              <a:t>Visualisations – ArcGIS Maps (Preview)</a:t>
            </a:r>
            <a:endParaRPr lang="en-US" sz="3600" b="1">
              <a:solidFill>
                <a:schemeClr val="tx1"/>
              </a:solidFill>
            </a:endParaRPr>
          </a:p>
        </p:txBody>
      </p:sp>
      <p:grpSp>
        <p:nvGrpSpPr>
          <p:cNvPr id="52" name="Group 51"/>
          <p:cNvGrpSpPr/>
          <p:nvPr/>
        </p:nvGrpSpPr>
        <p:grpSpPr>
          <a:xfrm>
            <a:off x="2" y="1"/>
            <a:ext cx="2849058" cy="6858000"/>
            <a:chOff x="2" y="1"/>
            <a:chExt cx="2849058" cy="6858000"/>
          </a:xfrm>
        </p:grpSpPr>
        <p:sp>
          <p:nvSpPr>
            <p:cNvPr id="71" name="Rectangle 70"/>
            <p:cNvSpPr/>
            <p:nvPr/>
          </p:nvSpPr>
          <p:spPr bwMode="auto">
            <a:xfrm>
              <a:off x="2" y="1"/>
              <a:ext cx="2849058"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3" name="Oval 70"/>
            <p:cNvSpPr/>
            <p:nvPr/>
          </p:nvSpPr>
          <p:spPr>
            <a:xfrm>
              <a:off x="1413521" y="4951537"/>
              <a:ext cx="1119626" cy="1119626"/>
            </a:xfrm>
            <a:prstGeom prst="ellipse">
              <a:avLst/>
            </a:prstGeom>
            <a:solidFill>
              <a:srgbClr val="F2C812"/>
            </a:solidFill>
            <a:ln w="3175" cap="flat" cmpd="sng" algn="ctr">
              <a:noFill/>
              <a:prstDash val="solid"/>
            </a:ln>
            <a:effectLst/>
          </p:spPr>
          <p:txBody>
            <a:bodyPr vert="horz" wrap="none" lIns="0" tIns="45720" rIns="0" bIns="0" rtlCol="0" anchor="t"/>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Segoe UI"/>
                  <a:ea typeface="Segoe UI" pitchFamily="34" charset="0"/>
                  <a:cs typeface="Segoe UI" pitchFamily="34" charset="0"/>
                </a:rPr>
                <a:t>Share &amp;</a:t>
              </a:r>
            </a:p>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Segoe UI"/>
                  <a:ea typeface="Segoe UI" pitchFamily="34" charset="0"/>
                  <a:cs typeface="Segoe UI" pitchFamily="34" charset="0"/>
                </a:rPr>
                <a:t>collaborate </a:t>
              </a:r>
            </a:p>
          </p:txBody>
        </p:sp>
        <p:grpSp>
          <p:nvGrpSpPr>
            <p:cNvPr id="76" name="Group 38"/>
            <p:cNvGrpSpPr>
              <a:grpSpLocks noChangeAspect="1"/>
            </p:cNvGrpSpPr>
            <p:nvPr/>
          </p:nvGrpSpPr>
          <p:grpSpPr>
            <a:xfrm>
              <a:off x="676996" y="3930692"/>
              <a:ext cx="383905" cy="351536"/>
              <a:chOff x="4363684" y="5330386"/>
              <a:chExt cx="1409956" cy="1291077"/>
            </a:xfrm>
            <a:solidFill>
              <a:srgbClr val="217346"/>
            </a:solidFill>
          </p:grpSpPr>
          <p:sp>
            <p:nvSpPr>
              <p:cNvPr id="102" name="Donut 3"/>
              <p:cNvSpPr/>
              <p:nvPr/>
            </p:nvSpPr>
            <p:spPr bwMode="auto">
              <a:xfrm>
                <a:off x="4363684" y="5330386"/>
                <a:ext cx="1409956" cy="1291077"/>
              </a:xfrm>
              <a:custGeom>
                <a:avLst/>
                <a:gdLst/>
                <a:ahLst/>
                <a:cxnLst/>
                <a:rect l="l" t="t" r="r" b="b"/>
                <a:pathLst>
                  <a:path w="1409956" h="1291077">
                    <a:moveTo>
                      <a:pt x="956401" y="78410"/>
                    </a:moveTo>
                    <a:cubicBezTo>
                      <a:pt x="747518" y="78410"/>
                      <a:pt x="578184" y="247744"/>
                      <a:pt x="578184" y="456627"/>
                    </a:cubicBezTo>
                    <a:cubicBezTo>
                      <a:pt x="578184" y="665510"/>
                      <a:pt x="747518" y="834844"/>
                      <a:pt x="956401" y="834844"/>
                    </a:cubicBezTo>
                    <a:cubicBezTo>
                      <a:pt x="1165284" y="834844"/>
                      <a:pt x="1334618" y="665510"/>
                      <a:pt x="1334618" y="456627"/>
                    </a:cubicBezTo>
                    <a:cubicBezTo>
                      <a:pt x="1334618" y="247744"/>
                      <a:pt x="1165284" y="78410"/>
                      <a:pt x="956401" y="78410"/>
                    </a:cubicBezTo>
                    <a:close/>
                    <a:moveTo>
                      <a:pt x="952756" y="0"/>
                    </a:moveTo>
                    <a:cubicBezTo>
                      <a:pt x="1205261" y="0"/>
                      <a:pt x="1409956" y="204695"/>
                      <a:pt x="1409956" y="457200"/>
                    </a:cubicBezTo>
                    <a:cubicBezTo>
                      <a:pt x="1409956" y="709705"/>
                      <a:pt x="1205261" y="914400"/>
                      <a:pt x="952756" y="914400"/>
                    </a:cubicBezTo>
                    <a:cubicBezTo>
                      <a:pt x="862133" y="914400"/>
                      <a:pt x="777669" y="888034"/>
                      <a:pt x="707132" y="841746"/>
                    </a:cubicBezTo>
                    <a:lnTo>
                      <a:pt x="136495" y="1280102"/>
                    </a:lnTo>
                    <a:cubicBezTo>
                      <a:pt x="21896" y="1327168"/>
                      <a:pt x="-44029" y="1213730"/>
                      <a:pt x="33797" y="1113182"/>
                    </a:cubicBezTo>
                    <a:lnTo>
                      <a:pt x="568587" y="703518"/>
                    </a:lnTo>
                    <a:cubicBezTo>
                      <a:pt x="522087" y="632814"/>
                      <a:pt x="495556" y="548105"/>
                      <a:pt x="495556" y="457200"/>
                    </a:cubicBezTo>
                    <a:cubicBezTo>
                      <a:pt x="495556" y="204695"/>
                      <a:pt x="700251" y="0"/>
                      <a:pt x="952756" y="0"/>
                    </a:cubicBezTo>
                    <a:close/>
                  </a:path>
                </a:pathLst>
              </a:custGeom>
              <a:grpFill/>
              <a:ln>
                <a:solidFill>
                  <a:srgbClr val="21734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sp>
            <p:nvSpPr>
              <p:cNvPr id="103" name="Rectangle 4"/>
              <p:cNvSpPr/>
              <p:nvPr/>
            </p:nvSpPr>
            <p:spPr>
              <a:xfrm>
                <a:off x="5058389" y="5528247"/>
                <a:ext cx="490885" cy="490020"/>
              </a:xfrm>
              <a:custGeom>
                <a:avLst/>
                <a:gdLst/>
                <a:ahLst/>
                <a:cxnLst/>
                <a:rect l="l" t="t" r="r" b="b"/>
                <a:pathLst>
                  <a:path w="490885" h="490020">
                    <a:moveTo>
                      <a:pt x="240752" y="0"/>
                    </a:moveTo>
                    <a:cubicBezTo>
                      <a:pt x="253961" y="11844"/>
                      <a:pt x="293310" y="49692"/>
                      <a:pt x="337332" y="92439"/>
                    </a:cubicBezTo>
                    <a:lnTo>
                      <a:pt x="328342" y="81259"/>
                    </a:lnTo>
                    <a:cubicBezTo>
                      <a:pt x="356946" y="111282"/>
                      <a:pt x="377251" y="107167"/>
                      <a:pt x="382515" y="87941"/>
                    </a:cubicBezTo>
                    <a:cubicBezTo>
                      <a:pt x="383951" y="76921"/>
                      <a:pt x="384595" y="68732"/>
                      <a:pt x="396997" y="52239"/>
                    </a:cubicBezTo>
                    <a:cubicBezTo>
                      <a:pt x="420362" y="32084"/>
                      <a:pt x="442294" y="41736"/>
                      <a:pt x="454920" y="51330"/>
                    </a:cubicBezTo>
                    <a:cubicBezTo>
                      <a:pt x="467834" y="62761"/>
                      <a:pt x="477920" y="86882"/>
                      <a:pt x="460392" y="109714"/>
                    </a:cubicBezTo>
                    <a:cubicBezTo>
                      <a:pt x="451128" y="121912"/>
                      <a:pt x="437554" y="126838"/>
                      <a:pt x="425922" y="126505"/>
                    </a:cubicBezTo>
                    <a:cubicBezTo>
                      <a:pt x="424301" y="127609"/>
                      <a:pt x="382890" y="134974"/>
                      <a:pt x="427348" y="177672"/>
                    </a:cubicBezTo>
                    <a:lnTo>
                      <a:pt x="416886" y="169735"/>
                    </a:lnTo>
                    <a:cubicBezTo>
                      <a:pt x="450207" y="202177"/>
                      <a:pt x="478424" y="229744"/>
                      <a:pt x="490885" y="241900"/>
                    </a:cubicBezTo>
                    <a:lnTo>
                      <a:pt x="417150" y="317347"/>
                    </a:lnTo>
                    <a:cubicBezTo>
                      <a:pt x="417744" y="316535"/>
                      <a:pt x="418443" y="316123"/>
                      <a:pt x="419047" y="315822"/>
                    </a:cubicBezTo>
                    <a:cubicBezTo>
                      <a:pt x="389023" y="344426"/>
                      <a:pt x="393138" y="364731"/>
                      <a:pt x="412364" y="369995"/>
                    </a:cubicBezTo>
                    <a:cubicBezTo>
                      <a:pt x="423384" y="371431"/>
                      <a:pt x="431574" y="372075"/>
                      <a:pt x="448067" y="384477"/>
                    </a:cubicBezTo>
                    <a:cubicBezTo>
                      <a:pt x="468221" y="407842"/>
                      <a:pt x="458569" y="429774"/>
                      <a:pt x="448975" y="442400"/>
                    </a:cubicBezTo>
                    <a:cubicBezTo>
                      <a:pt x="437545" y="455314"/>
                      <a:pt x="413423" y="465400"/>
                      <a:pt x="390591" y="447872"/>
                    </a:cubicBezTo>
                    <a:cubicBezTo>
                      <a:pt x="378394" y="438608"/>
                      <a:pt x="373468" y="425034"/>
                      <a:pt x="373800" y="413402"/>
                    </a:cubicBezTo>
                    <a:cubicBezTo>
                      <a:pt x="372696" y="411781"/>
                      <a:pt x="365332" y="370370"/>
                      <a:pt x="322634" y="414828"/>
                    </a:cubicBezTo>
                    <a:lnTo>
                      <a:pt x="325243" y="411388"/>
                    </a:lnTo>
                    <a:lnTo>
                      <a:pt x="248395" y="490020"/>
                    </a:lnTo>
                    <a:cubicBezTo>
                      <a:pt x="208939" y="451897"/>
                      <a:pt x="199129" y="442073"/>
                      <a:pt x="174192" y="418236"/>
                    </a:cubicBezTo>
                    <a:cubicBezTo>
                      <a:pt x="145587" y="388212"/>
                      <a:pt x="125282" y="392327"/>
                      <a:pt x="120018" y="411553"/>
                    </a:cubicBezTo>
                    <a:cubicBezTo>
                      <a:pt x="118582" y="422573"/>
                      <a:pt x="117938" y="430763"/>
                      <a:pt x="105536" y="447256"/>
                    </a:cubicBezTo>
                    <a:cubicBezTo>
                      <a:pt x="82171" y="467410"/>
                      <a:pt x="60239" y="457758"/>
                      <a:pt x="47614" y="448164"/>
                    </a:cubicBezTo>
                    <a:cubicBezTo>
                      <a:pt x="34699" y="436734"/>
                      <a:pt x="24614" y="412612"/>
                      <a:pt x="42141" y="389780"/>
                    </a:cubicBezTo>
                    <a:cubicBezTo>
                      <a:pt x="51405" y="377583"/>
                      <a:pt x="64979" y="372657"/>
                      <a:pt x="76612" y="372989"/>
                    </a:cubicBezTo>
                    <a:cubicBezTo>
                      <a:pt x="78232" y="371886"/>
                      <a:pt x="119644" y="364521"/>
                      <a:pt x="75186" y="321823"/>
                    </a:cubicBezTo>
                    <a:cubicBezTo>
                      <a:pt x="58767" y="305402"/>
                      <a:pt x="23648" y="271235"/>
                      <a:pt x="0" y="248738"/>
                    </a:cubicBezTo>
                    <a:lnTo>
                      <a:pt x="77303" y="168146"/>
                    </a:lnTo>
                    <a:cubicBezTo>
                      <a:pt x="104269" y="140313"/>
                      <a:pt x="122130" y="156409"/>
                      <a:pt x="124388" y="175543"/>
                    </a:cubicBezTo>
                    <a:cubicBezTo>
                      <a:pt x="124457" y="182466"/>
                      <a:pt x="127106" y="193106"/>
                      <a:pt x="137575" y="203052"/>
                    </a:cubicBezTo>
                    <a:cubicBezTo>
                      <a:pt x="153931" y="220277"/>
                      <a:pt x="181252" y="217451"/>
                      <a:pt x="196721" y="201951"/>
                    </a:cubicBezTo>
                    <a:cubicBezTo>
                      <a:pt x="211961" y="185740"/>
                      <a:pt x="213057" y="157882"/>
                      <a:pt x="196146" y="142797"/>
                    </a:cubicBezTo>
                    <a:cubicBezTo>
                      <a:pt x="184301" y="132637"/>
                      <a:pt x="177155" y="131453"/>
                      <a:pt x="166513" y="129894"/>
                    </a:cubicBezTo>
                    <a:cubicBezTo>
                      <a:pt x="154522" y="129013"/>
                      <a:pt x="131185" y="112953"/>
                      <a:pt x="157905" y="85228"/>
                    </a:cubicBezTo>
                    <a:close/>
                  </a:path>
                </a:pathLst>
              </a:custGeom>
              <a:grpFill/>
              <a:ln>
                <a:solidFill>
                  <a:srgbClr val="21734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grpSp>
        <p:sp>
          <p:nvSpPr>
            <p:cNvPr id="77" name="Oval 47"/>
            <p:cNvSpPr/>
            <p:nvPr/>
          </p:nvSpPr>
          <p:spPr>
            <a:xfrm>
              <a:off x="388608" y="3710471"/>
              <a:ext cx="1119626" cy="1119626"/>
            </a:xfrm>
            <a:prstGeom prst="ellipse">
              <a:avLst/>
            </a:prstGeom>
            <a:solidFill>
              <a:srgbClr val="F2C812"/>
            </a:solidFill>
            <a:ln w="3175" cap="flat" cmpd="sng" algn="ctr">
              <a:noFill/>
              <a:prstDash val="solid"/>
            </a:ln>
            <a:effectLst/>
          </p:spPr>
          <p:txBody>
            <a:bodyPr vert="horz" wrap="none" lIns="0" tIns="45720" rIns="0" bIns="0" rtlCol="0" anchor="t"/>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Segoe UI"/>
                  <a:ea typeface="Segoe UI" pitchFamily="34" charset="0"/>
                  <a:cs typeface="Segoe UI" pitchFamily="34" charset="0"/>
                </a:rPr>
                <a:t>Report</a:t>
              </a:r>
            </a:p>
          </p:txBody>
        </p:sp>
        <p:sp>
          <p:nvSpPr>
            <p:cNvPr id="78" name="Oval 950"/>
            <p:cNvSpPr/>
            <p:nvPr/>
          </p:nvSpPr>
          <p:spPr>
            <a:xfrm>
              <a:off x="388608" y="1252295"/>
              <a:ext cx="1119626" cy="1119626"/>
            </a:xfrm>
            <a:prstGeom prst="ellipse">
              <a:avLst/>
            </a:prstGeom>
            <a:solidFill>
              <a:srgbClr val="F2C812"/>
            </a:solidFill>
            <a:ln w="3175" cap="flat" cmpd="sng" algn="ctr">
              <a:noFill/>
              <a:prstDash val="solid"/>
            </a:ln>
            <a:effectLst/>
          </p:spPr>
          <p:txBody>
            <a:bodyPr vert="horz" wrap="none" lIns="0" tIns="45720" rIns="0" bIns="0" rtlCol="0" anchor="t"/>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1" i="0" u="none" strike="noStrike" kern="1200" cap="none" spc="0" normalizeH="0" baseline="0" noProof="0">
                <a:ln>
                  <a:noFill/>
                </a:ln>
                <a:solidFill>
                  <a:srgbClr val="217346"/>
                </a:solidFill>
                <a:effectLst/>
                <a:uLnTx/>
                <a:uFillTx/>
                <a:latin typeface="Segoe UI"/>
                <a:ea typeface="Segoe UI" pitchFamily="34" charset="0"/>
                <a:cs typeface="Segoe UI" pitchFamily="34" charset="0"/>
              </a:endParaRPr>
            </a:p>
          </p:txBody>
        </p:sp>
        <p:grpSp>
          <p:nvGrpSpPr>
            <p:cNvPr id="79" name="Group 78"/>
            <p:cNvGrpSpPr/>
            <p:nvPr/>
          </p:nvGrpSpPr>
          <p:grpSpPr>
            <a:xfrm>
              <a:off x="1264851" y="3482890"/>
              <a:ext cx="292254" cy="354906"/>
              <a:chOff x="1296521" y="3253388"/>
              <a:chExt cx="292254" cy="354906"/>
            </a:xfrm>
            <a:solidFill>
              <a:srgbClr val="F2C812"/>
            </a:solidFill>
          </p:grpSpPr>
          <p:sp>
            <p:nvSpPr>
              <p:cNvPr id="99" name="Isosceles Triangle 98"/>
              <p:cNvSpPr/>
              <p:nvPr/>
            </p:nvSpPr>
            <p:spPr bwMode="auto">
              <a:xfrm rot="13636515">
                <a:off x="1461362" y="328936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0" name="Isosceles Triangle 99"/>
              <p:cNvSpPr/>
              <p:nvPr/>
            </p:nvSpPr>
            <p:spPr bwMode="auto">
              <a:xfrm rot="13636515">
                <a:off x="1357669" y="338258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1" name="Isosceles Triangle 100"/>
              <p:cNvSpPr/>
              <p:nvPr/>
            </p:nvSpPr>
            <p:spPr bwMode="auto">
              <a:xfrm rot="13636515">
                <a:off x="1260548" y="3480882"/>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80" name="Group 79"/>
            <p:cNvGrpSpPr/>
            <p:nvPr/>
          </p:nvGrpSpPr>
          <p:grpSpPr>
            <a:xfrm rot="15940603">
              <a:off x="1334576" y="2204404"/>
              <a:ext cx="292254" cy="354906"/>
              <a:chOff x="1296521" y="3253388"/>
              <a:chExt cx="292254" cy="354906"/>
            </a:xfrm>
            <a:solidFill>
              <a:srgbClr val="F2C812"/>
            </a:solidFill>
          </p:grpSpPr>
          <p:sp>
            <p:nvSpPr>
              <p:cNvPr id="96" name="Isosceles Triangle 95"/>
              <p:cNvSpPr/>
              <p:nvPr/>
            </p:nvSpPr>
            <p:spPr bwMode="auto">
              <a:xfrm rot="13636515">
                <a:off x="1461362" y="328936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7" name="Isosceles Triangle 96"/>
              <p:cNvSpPr/>
              <p:nvPr/>
            </p:nvSpPr>
            <p:spPr bwMode="auto">
              <a:xfrm rot="13636515">
                <a:off x="1357669" y="338258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8" name="Isosceles Triangle 97"/>
              <p:cNvSpPr/>
              <p:nvPr/>
            </p:nvSpPr>
            <p:spPr bwMode="auto">
              <a:xfrm rot="13636515">
                <a:off x="1260548" y="3480882"/>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81" name="Group 80"/>
            <p:cNvGrpSpPr/>
            <p:nvPr/>
          </p:nvGrpSpPr>
          <p:grpSpPr>
            <a:xfrm rot="16043978">
              <a:off x="1317220" y="4717577"/>
              <a:ext cx="292254" cy="354906"/>
              <a:chOff x="1296521" y="3253388"/>
              <a:chExt cx="292254" cy="354906"/>
            </a:xfrm>
            <a:solidFill>
              <a:srgbClr val="F2C812"/>
            </a:solidFill>
          </p:grpSpPr>
          <p:sp>
            <p:nvSpPr>
              <p:cNvPr id="93" name="Isosceles Triangle 92"/>
              <p:cNvSpPr/>
              <p:nvPr/>
            </p:nvSpPr>
            <p:spPr bwMode="auto">
              <a:xfrm rot="13636515">
                <a:off x="1461362" y="328936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4" name="Isosceles Triangle 93"/>
              <p:cNvSpPr/>
              <p:nvPr/>
            </p:nvSpPr>
            <p:spPr bwMode="auto">
              <a:xfrm rot="13636515">
                <a:off x="1357669" y="338258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5" name="Isosceles Triangle 94"/>
              <p:cNvSpPr/>
              <p:nvPr/>
            </p:nvSpPr>
            <p:spPr bwMode="auto">
              <a:xfrm rot="13636515">
                <a:off x="1260548" y="3480882"/>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82" name="Oval 36"/>
            <p:cNvSpPr/>
            <p:nvPr/>
          </p:nvSpPr>
          <p:spPr>
            <a:xfrm>
              <a:off x="1413521" y="2481383"/>
              <a:ext cx="1119626" cy="1119626"/>
            </a:xfrm>
            <a:prstGeom prst="ellipse">
              <a:avLst/>
            </a:prstGeom>
            <a:solidFill>
              <a:srgbClr val="F2C812"/>
            </a:solidFill>
            <a:ln w="3175" cap="flat" cmpd="sng" algn="ctr">
              <a:noFill/>
              <a:prstDash val="solid"/>
            </a:ln>
            <a:effectLst/>
          </p:spPr>
          <p:txBody>
            <a:bodyPr vert="horz" wrap="none" lIns="0" tIns="0" rIns="0" bIns="0" rtlCol="0" anchor="t"/>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400" b="1" i="0" u="none" strike="noStrike" kern="1200" cap="none" spc="0" normalizeH="0" baseline="0" noProof="0">
                <a:ln>
                  <a:noFill/>
                </a:ln>
                <a:solidFill>
                  <a:srgbClr val="217346"/>
                </a:solidFill>
                <a:effectLst/>
                <a:uLnTx/>
                <a:uFillTx/>
                <a:latin typeface="Segoe UI"/>
                <a:ea typeface="Segoe UI" pitchFamily="34" charset="0"/>
                <a:cs typeface="Segoe UI" pitchFamily="34" charset="0"/>
              </a:endParaRPr>
            </a:p>
          </p:txBody>
        </p:sp>
        <p:sp>
          <p:nvSpPr>
            <p:cNvPr id="83" name="Donut 3"/>
            <p:cNvSpPr/>
            <p:nvPr/>
          </p:nvSpPr>
          <p:spPr bwMode="auto">
            <a:xfrm>
              <a:off x="1742065" y="3002355"/>
              <a:ext cx="383905" cy="351537"/>
            </a:xfrm>
            <a:custGeom>
              <a:avLst/>
              <a:gdLst/>
              <a:ahLst/>
              <a:cxnLst/>
              <a:rect l="l" t="t" r="r" b="b"/>
              <a:pathLst>
                <a:path w="1409956" h="1291077">
                  <a:moveTo>
                    <a:pt x="956401" y="78410"/>
                  </a:moveTo>
                  <a:cubicBezTo>
                    <a:pt x="747518" y="78410"/>
                    <a:pt x="578184" y="247744"/>
                    <a:pt x="578184" y="456627"/>
                  </a:cubicBezTo>
                  <a:cubicBezTo>
                    <a:pt x="578184" y="665510"/>
                    <a:pt x="747518" y="834844"/>
                    <a:pt x="956401" y="834844"/>
                  </a:cubicBezTo>
                  <a:cubicBezTo>
                    <a:pt x="1165284" y="834844"/>
                    <a:pt x="1334618" y="665510"/>
                    <a:pt x="1334618" y="456627"/>
                  </a:cubicBezTo>
                  <a:cubicBezTo>
                    <a:pt x="1334618" y="247744"/>
                    <a:pt x="1165284" y="78410"/>
                    <a:pt x="956401" y="78410"/>
                  </a:cubicBezTo>
                  <a:close/>
                  <a:moveTo>
                    <a:pt x="952756" y="0"/>
                  </a:moveTo>
                  <a:cubicBezTo>
                    <a:pt x="1205261" y="0"/>
                    <a:pt x="1409956" y="204695"/>
                    <a:pt x="1409956" y="457200"/>
                  </a:cubicBezTo>
                  <a:cubicBezTo>
                    <a:pt x="1409956" y="709705"/>
                    <a:pt x="1205261" y="914400"/>
                    <a:pt x="952756" y="914400"/>
                  </a:cubicBezTo>
                  <a:cubicBezTo>
                    <a:pt x="862133" y="914400"/>
                    <a:pt x="777669" y="888034"/>
                    <a:pt x="707132" y="841746"/>
                  </a:cubicBezTo>
                  <a:lnTo>
                    <a:pt x="136495" y="1280102"/>
                  </a:lnTo>
                  <a:cubicBezTo>
                    <a:pt x="21896" y="1327168"/>
                    <a:pt x="-44029" y="1213730"/>
                    <a:pt x="33797" y="1113182"/>
                  </a:cubicBezTo>
                  <a:lnTo>
                    <a:pt x="568587" y="703518"/>
                  </a:lnTo>
                  <a:cubicBezTo>
                    <a:pt x="522087" y="632814"/>
                    <a:pt x="495556" y="548105"/>
                    <a:pt x="495556" y="457200"/>
                  </a:cubicBezTo>
                  <a:cubicBezTo>
                    <a:pt x="495556" y="204695"/>
                    <a:pt x="700251" y="0"/>
                    <a:pt x="952756" y="0"/>
                  </a:cubicBezTo>
                  <a:close/>
                </a:path>
              </a:pathLst>
            </a:cu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sp>
          <p:nvSpPr>
            <p:cNvPr id="84" name="Rectangle 83"/>
            <p:cNvSpPr/>
            <p:nvPr/>
          </p:nvSpPr>
          <p:spPr>
            <a:xfrm>
              <a:off x="1600398" y="2677430"/>
              <a:ext cx="820353" cy="307777"/>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Segoe UI"/>
                  <a:ea typeface="Segoe UI" pitchFamily="34" charset="0"/>
                  <a:cs typeface="Segoe UI" pitchFamily="34" charset="0"/>
                </a:rPr>
                <a:t>Explore</a:t>
              </a:r>
              <a:endParaRPr kumimoji="0" lang="en-US" sz="1600" b="0" i="0" u="none" strike="noStrike" kern="1200" cap="none" spc="0" normalizeH="0" baseline="0" noProof="0">
                <a:ln>
                  <a:noFill/>
                </a:ln>
                <a:solidFill>
                  <a:srgbClr val="000000"/>
                </a:solidFill>
                <a:effectLst/>
                <a:uLnTx/>
                <a:uFillTx/>
                <a:latin typeface="Segoe UI"/>
                <a:ea typeface="+mn-ea"/>
                <a:cs typeface="+mn-cs"/>
              </a:endParaRPr>
            </a:p>
          </p:txBody>
        </p:sp>
        <p:sp>
          <p:nvSpPr>
            <p:cNvPr id="85" name="Rectangle 84"/>
            <p:cNvSpPr/>
            <p:nvPr/>
          </p:nvSpPr>
          <p:spPr>
            <a:xfrm>
              <a:off x="509174" y="1475232"/>
              <a:ext cx="838756" cy="307777"/>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Segoe UI"/>
                  <a:ea typeface="Segoe UI" pitchFamily="34" charset="0"/>
                  <a:cs typeface="Segoe UI" pitchFamily="34" charset="0"/>
                </a:rPr>
                <a:t>Prepare</a:t>
              </a: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86" name="Freeform 85"/>
            <p:cNvSpPr>
              <a:spLocks noChangeAspect="1"/>
            </p:cNvSpPr>
            <p:nvPr/>
          </p:nvSpPr>
          <p:spPr bwMode="black">
            <a:xfrm>
              <a:off x="1836174" y="5643069"/>
              <a:ext cx="274320" cy="284173"/>
            </a:xfrm>
            <a:custGeom>
              <a:avLst/>
              <a:gdLst>
                <a:gd name="T0" fmla="*/ 539 w 669"/>
                <a:gd name="T1" fmla="*/ 5 h 693"/>
                <a:gd name="T2" fmla="*/ 640 w 669"/>
                <a:gd name="T3" fmla="*/ 55 h 693"/>
                <a:gd name="T4" fmla="*/ 603 w 669"/>
                <a:gd name="T5" fmla="*/ 195 h 693"/>
                <a:gd name="T6" fmla="*/ 490 w 669"/>
                <a:gd name="T7" fmla="*/ 188 h 693"/>
                <a:gd name="T8" fmla="*/ 479 w 669"/>
                <a:gd name="T9" fmla="*/ 176 h 693"/>
                <a:gd name="T10" fmla="*/ 213 w 669"/>
                <a:gd name="T11" fmla="*/ 330 h 693"/>
                <a:gd name="T12" fmla="*/ 218 w 669"/>
                <a:gd name="T13" fmla="*/ 345 h 693"/>
                <a:gd name="T14" fmla="*/ 218 w 669"/>
                <a:gd name="T15" fmla="*/ 375 h 693"/>
                <a:gd name="T16" fmla="*/ 209 w 669"/>
                <a:gd name="T17" fmla="*/ 402 h 693"/>
                <a:gd name="T18" fmla="*/ 369 w 669"/>
                <a:gd name="T19" fmla="*/ 503 h 693"/>
                <a:gd name="T20" fmla="*/ 373 w 669"/>
                <a:gd name="T21" fmla="*/ 498 h 693"/>
                <a:gd name="T22" fmla="*/ 456 w 669"/>
                <a:gd name="T23" fmla="*/ 475 h 693"/>
                <a:gd name="T24" fmla="*/ 494 w 669"/>
                <a:gd name="T25" fmla="*/ 489 h 693"/>
                <a:gd name="T26" fmla="*/ 527 w 669"/>
                <a:gd name="T27" fmla="*/ 630 h 693"/>
                <a:gd name="T28" fmla="*/ 386 w 669"/>
                <a:gd name="T29" fmla="*/ 663 h 693"/>
                <a:gd name="T30" fmla="*/ 339 w 669"/>
                <a:gd name="T31" fmla="*/ 560 h 693"/>
                <a:gd name="T32" fmla="*/ 345 w 669"/>
                <a:gd name="T33" fmla="*/ 544 h 693"/>
                <a:gd name="T34" fmla="*/ 177 w 669"/>
                <a:gd name="T35" fmla="*/ 439 h 693"/>
                <a:gd name="T36" fmla="*/ 168 w 669"/>
                <a:gd name="T37" fmla="*/ 446 h 693"/>
                <a:gd name="T38" fmla="*/ 28 w 669"/>
                <a:gd name="T39" fmla="*/ 409 h 693"/>
                <a:gd name="T40" fmla="*/ 65 w 669"/>
                <a:gd name="T41" fmla="*/ 269 h 693"/>
                <a:gd name="T42" fmla="*/ 178 w 669"/>
                <a:gd name="T43" fmla="*/ 276 h 693"/>
                <a:gd name="T44" fmla="*/ 189 w 669"/>
                <a:gd name="T45" fmla="*/ 288 h 693"/>
                <a:gd name="T46" fmla="*/ 455 w 669"/>
                <a:gd name="T47" fmla="*/ 134 h 693"/>
                <a:gd name="T48" fmla="*/ 450 w 669"/>
                <a:gd name="T49" fmla="*/ 119 h 693"/>
                <a:gd name="T50" fmla="*/ 501 w 669"/>
                <a:gd name="T51" fmla="*/ 18 h 693"/>
                <a:gd name="T52" fmla="*/ 539 w 669"/>
                <a:gd name="T53" fmla="*/ 5 h 6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69" h="693">
                  <a:moveTo>
                    <a:pt x="539" y="5"/>
                  </a:moveTo>
                  <a:cubicBezTo>
                    <a:pt x="579" y="0"/>
                    <a:pt x="619" y="19"/>
                    <a:pt x="640" y="55"/>
                  </a:cubicBezTo>
                  <a:cubicBezTo>
                    <a:pt x="669" y="104"/>
                    <a:pt x="652" y="167"/>
                    <a:pt x="603" y="195"/>
                  </a:cubicBezTo>
                  <a:cubicBezTo>
                    <a:pt x="566" y="216"/>
                    <a:pt x="522" y="212"/>
                    <a:pt x="490" y="188"/>
                  </a:cubicBezTo>
                  <a:cubicBezTo>
                    <a:pt x="479" y="176"/>
                    <a:pt x="479" y="176"/>
                    <a:pt x="479" y="176"/>
                  </a:cubicBezTo>
                  <a:cubicBezTo>
                    <a:pt x="213" y="330"/>
                    <a:pt x="213" y="330"/>
                    <a:pt x="213" y="330"/>
                  </a:cubicBezTo>
                  <a:cubicBezTo>
                    <a:pt x="218" y="345"/>
                    <a:pt x="218" y="345"/>
                    <a:pt x="218" y="345"/>
                  </a:cubicBezTo>
                  <a:cubicBezTo>
                    <a:pt x="219" y="355"/>
                    <a:pt x="219" y="365"/>
                    <a:pt x="218" y="375"/>
                  </a:cubicBezTo>
                  <a:cubicBezTo>
                    <a:pt x="209" y="402"/>
                    <a:pt x="209" y="402"/>
                    <a:pt x="209" y="402"/>
                  </a:cubicBezTo>
                  <a:cubicBezTo>
                    <a:pt x="369" y="503"/>
                    <a:pt x="369" y="503"/>
                    <a:pt x="369" y="503"/>
                  </a:cubicBezTo>
                  <a:cubicBezTo>
                    <a:pt x="373" y="498"/>
                    <a:pt x="373" y="498"/>
                    <a:pt x="373" y="498"/>
                  </a:cubicBezTo>
                  <a:cubicBezTo>
                    <a:pt x="396" y="479"/>
                    <a:pt x="427" y="470"/>
                    <a:pt x="456" y="475"/>
                  </a:cubicBezTo>
                  <a:cubicBezTo>
                    <a:pt x="470" y="477"/>
                    <a:pt x="482" y="482"/>
                    <a:pt x="494" y="489"/>
                  </a:cubicBezTo>
                  <a:cubicBezTo>
                    <a:pt x="542" y="519"/>
                    <a:pt x="557" y="583"/>
                    <a:pt x="527" y="630"/>
                  </a:cubicBezTo>
                  <a:cubicBezTo>
                    <a:pt x="497" y="678"/>
                    <a:pt x="433" y="693"/>
                    <a:pt x="386" y="663"/>
                  </a:cubicBezTo>
                  <a:cubicBezTo>
                    <a:pt x="350" y="640"/>
                    <a:pt x="333" y="599"/>
                    <a:pt x="339" y="560"/>
                  </a:cubicBezTo>
                  <a:cubicBezTo>
                    <a:pt x="345" y="544"/>
                    <a:pt x="345" y="544"/>
                    <a:pt x="345" y="544"/>
                  </a:cubicBezTo>
                  <a:cubicBezTo>
                    <a:pt x="177" y="439"/>
                    <a:pt x="177" y="439"/>
                    <a:pt x="177" y="439"/>
                  </a:cubicBezTo>
                  <a:cubicBezTo>
                    <a:pt x="168" y="446"/>
                    <a:pt x="168" y="446"/>
                    <a:pt x="168" y="446"/>
                  </a:cubicBezTo>
                  <a:cubicBezTo>
                    <a:pt x="119" y="475"/>
                    <a:pt x="56" y="458"/>
                    <a:pt x="28" y="409"/>
                  </a:cubicBezTo>
                  <a:cubicBezTo>
                    <a:pt x="0" y="360"/>
                    <a:pt x="16" y="297"/>
                    <a:pt x="65" y="269"/>
                  </a:cubicBezTo>
                  <a:cubicBezTo>
                    <a:pt x="102" y="248"/>
                    <a:pt x="147" y="252"/>
                    <a:pt x="178" y="276"/>
                  </a:cubicBezTo>
                  <a:cubicBezTo>
                    <a:pt x="189" y="288"/>
                    <a:pt x="189" y="288"/>
                    <a:pt x="189" y="288"/>
                  </a:cubicBezTo>
                  <a:cubicBezTo>
                    <a:pt x="455" y="134"/>
                    <a:pt x="455" y="134"/>
                    <a:pt x="455" y="134"/>
                  </a:cubicBezTo>
                  <a:cubicBezTo>
                    <a:pt x="450" y="119"/>
                    <a:pt x="450" y="119"/>
                    <a:pt x="450" y="119"/>
                  </a:cubicBezTo>
                  <a:cubicBezTo>
                    <a:pt x="445" y="80"/>
                    <a:pt x="464" y="39"/>
                    <a:pt x="501" y="18"/>
                  </a:cubicBezTo>
                  <a:cubicBezTo>
                    <a:pt x="513" y="11"/>
                    <a:pt x="526" y="6"/>
                    <a:pt x="539" y="5"/>
                  </a:cubicBezTo>
                  <a:close/>
                </a:path>
              </a:pathLst>
            </a:custGeom>
            <a:solidFill>
              <a:schemeClr val="tx1"/>
            </a:solidFill>
            <a:ln>
              <a:noFill/>
            </a:ln>
          </p:spPr>
          <p:txBody>
            <a:bodyPr vert="horz" wrap="square" lIns="68574" tIns="34287" rIns="68574" bIns="34287"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0000"/>
                </a:solidFill>
                <a:effectLst/>
                <a:uLnTx/>
                <a:uFillTx/>
                <a:latin typeface="Segoe UI"/>
                <a:ea typeface="+mn-ea"/>
                <a:cs typeface="+mn-cs"/>
              </a:endParaRPr>
            </a:p>
          </p:txBody>
        </p:sp>
        <p:sp>
          <p:nvSpPr>
            <p:cNvPr id="87" name="Freeform 86"/>
            <p:cNvSpPr>
              <a:spLocks noChangeAspect="1" noEditPoints="1"/>
            </p:cNvSpPr>
            <p:nvPr/>
          </p:nvSpPr>
          <p:spPr bwMode="black">
            <a:xfrm>
              <a:off x="722320" y="1783009"/>
              <a:ext cx="452202" cy="366660"/>
            </a:xfrm>
            <a:custGeom>
              <a:avLst/>
              <a:gdLst>
                <a:gd name="T0" fmla="*/ 600 w 1107"/>
                <a:gd name="T1" fmla="*/ 625 h 897"/>
                <a:gd name="T2" fmla="*/ 649 w 1107"/>
                <a:gd name="T3" fmla="*/ 567 h 897"/>
                <a:gd name="T4" fmla="*/ 727 w 1107"/>
                <a:gd name="T5" fmla="*/ 482 h 897"/>
                <a:gd name="T6" fmla="*/ 601 w 1107"/>
                <a:gd name="T7" fmla="*/ 434 h 897"/>
                <a:gd name="T8" fmla="*/ 628 w 1107"/>
                <a:gd name="T9" fmla="*/ 305 h 897"/>
                <a:gd name="T10" fmla="*/ 547 w 1107"/>
                <a:gd name="T11" fmla="*/ 240 h 897"/>
                <a:gd name="T12" fmla="*/ 427 w 1107"/>
                <a:gd name="T13" fmla="*/ 287 h 897"/>
                <a:gd name="T14" fmla="*/ 368 w 1107"/>
                <a:gd name="T15" fmla="*/ 170 h 897"/>
                <a:gd name="T16" fmla="*/ 285 w 1107"/>
                <a:gd name="T17" fmla="*/ 263 h 897"/>
                <a:gd name="T18" fmla="*/ 241 w 1107"/>
                <a:gd name="T19" fmla="*/ 313 h 897"/>
                <a:gd name="T20" fmla="*/ 139 w 1107"/>
                <a:gd name="T21" fmla="*/ 281 h 897"/>
                <a:gd name="T22" fmla="*/ 79 w 1107"/>
                <a:gd name="T23" fmla="*/ 355 h 897"/>
                <a:gd name="T24" fmla="*/ 132 w 1107"/>
                <a:gd name="T25" fmla="*/ 446 h 897"/>
                <a:gd name="T26" fmla="*/ 83 w 1107"/>
                <a:gd name="T27" fmla="*/ 505 h 897"/>
                <a:gd name="T28" fmla="*/ 5 w 1107"/>
                <a:gd name="T29" fmla="*/ 590 h 897"/>
                <a:gd name="T30" fmla="*/ 132 w 1107"/>
                <a:gd name="T31" fmla="*/ 638 h 897"/>
                <a:gd name="T32" fmla="*/ 145 w 1107"/>
                <a:gd name="T33" fmla="*/ 669 h 897"/>
                <a:gd name="T34" fmla="*/ 110 w 1107"/>
                <a:gd name="T35" fmla="*/ 793 h 897"/>
                <a:gd name="T36" fmla="*/ 230 w 1107"/>
                <a:gd name="T37" fmla="*/ 781 h 897"/>
                <a:gd name="T38" fmla="*/ 306 w 1107"/>
                <a:gd name="T39" fmla="*/ 785 h 897"/>
                <a:gd name="T40" fmla="*/ 346 w 1107"/>
                <a:gd name="T41" fmla="*/ 878 h 897"/>
                <a:gd name="T42" fmla="*/ 440 w 1107"/>
                <a:gd name="T43" fmla="*/ 872 h 897"/>
                <a:gd name="T44" fmla="*/ 466 w 1107"/>
                <a:gd name="T45" fmla="*/ 764 h 897"/>
                <a:gd name="T46" fmla="*/ 539 w 1107"/>
                <a:gd name="T47" fmla="*/ 755 h 897"/>
                <a:gd name="T48" fmla="*/ 659 w 1107"/>
                <a:gd name="T49" fmla="*/ 743 h 897"/>
                <a:gd name="T50" fmla="*/ 263 w 1107"/>
                <a:gd name="T51" fmla="*/ 452 h 897"/>
                <a:gd name="T52" fmla="*/ 281 w 1107"/>
                <a:gd name="T53" fmla="*/ 633 h 897"/>
                <a:gd name="T54" fmla="*/ 1002 w 1107"/>
                <a:gd name="T55" fmla="*/ 332 h 897"/>
                <a:gd name="T56" fmla="*/ 1043 w 1107"/>
                <a:gd name="T57" fmla="*/ 304 h 897"/>
                <a:gd name="T58" fmla="*/ 1107 w 1107"/>
                <a:gd name="T59" fmla="*/ 266 h 897"/>
                <a:gd name="T60" fmla="*/ 1037 w 1107"/>
                <a:gd name="T61" fmla="*/ 213 h 897"/>
                <a:gd name="T62" fmla="*/ 1077 w 1107"/>
                <a:gd name="T63" fmla="*/ 138 h 897"/>
                <a:gd name="T64" fmla="*/ 1038 w 1107"/>
                <a:gd name="T65" fmla="*/ 83 h 897"/>
                <a:gd name="T66" fmla="*/ 956 w 1107"/>
                <a:gd name="T67" fmla="*/ 91 h 897"/>
                <a:gd name="T68" fmla="*/ 940 w 1107"/>
                <a:gd name="T69" fmla="*/ 7 h 897"/>
                <a:gd name="T70" fmla="*/ 872 w 1107"/>
                <a:gd name="T71" fmla="*/ 50 h 897"/>
                <a:gd name="T72" fmla="*/ 836 w 1107"/>
                <a:gd name="T73" fmla="*/ 74 h 897"/>
                <a:gd name="T74" fmla="*/ 778 w 1107"/>
                <a:gd name="T75" fmla="*/ 35 h 897"/>
                <a:gd name="T76" fmla="*/ 728 w 1107"/>
                <a:gd name="T77" fmla="*/ 70 h 897"/>
                <a:gd name="T78" fmla="*/ 744 w 1107"/>
                <a:gd name="T79" fmla="*/ 136 h 897"/>
                <a:gd name="T80" fmla="*/ 703 w 1107"/>
                <a:gd name="T81" fmla="*/ 164 h 897"/>
                <a:gd name="T82" fmla="*/ 640 w 1107"/>
                <a:gd name="T83" fmla="*/ 203 h 897"/>
                <a:gd name="T84" fmla="*/ 710 w 1107"/>
                <a:gd name="T85" fmla="*/ 255 h 897"/>
                <a:gd name="T86" fmla="*/ 712 w 1107"/>
                <a:gd name="T87" fmla="*/ 277 h 897"/>
                <a:gd name="T88" fmla="*/ 668 w 1107"/>
                <a:gd name="T89" fmla="*/ 347 h 897"/>
                <a:gd name="T90" fmla="*/ 745 w 1107"/>
                <a:gd name="T91" fmla="*/ 361 h 897"/>
                <a:gd name="T92" fmla="*/ 791 w 1107"/>
                <a:gd name="T93" fmla="*/ 377 h 897"/>
                <a:gd name="T94" fmla="*/ 799 w 1107"/>
                <a:gd name="T95" fmla="*/ 443 h 897"/>
                <a:gd name="T96" fmla="*/ 859 w 1107"/>
                <a:gd name="T97" fmla="*/ 456 h 897"/>
                <a:gd name="T98" fmla="*/ 894 w 1107"/>
                <a:gd name="T99" fmla="*/ 393 h 897"/>
                <a:gd name="T100" fmla="*/ 941 w 1107"/>
                <a:gd name="T101" fmla="*/ 401 h 897"/>
                <a:gd name="T102" fmla="*/ 1018 w 1107"/>
                <a:gd name="T103" fmla="*/ 415 h 897"/>
                <a:gd name="T104" fmla="*/ 825 w 1107"/>
                <a:gd name="T105" fmla="*/ 164 h 897"/>
                <a:gd name="T106" fmla="*/ 803 w 1107"/>
                <a:gd name="T107" fmla="*/ 279 h 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107" h="897">
                  <a:moveTo>
                    <a:pt x="654" y="716"/>
                  </a:moveTo>
                  <a:cubicBezTo>
                    <a:pt x="616" y="670"/>
                    <a:pt x="616" y="670"/>
                    <a:pt x="616" y="670"/>
                  </a:cubicBezTo>
                  <a:cubicBezTo>
                    <a:pt x="593" y="654"/>
                    <a:pt x="603" y="638"/>
                    <a:pt x="600" y="625"/>
                  </a:cubicBezTo>
                  <a:cubicBezTo>
                    <a:pt x="600" y="625"/>
                    <a:pt x="600" y="625"/>
                    <a:pt x="600" y="625"/>
                  </a:cubicBezTo>
                  <a:cubicBezTo>
                    <a:pt x="605" y="617"/>
                    <a:pt x="611" y="609"/>
                    <a:pt x="608" y="596"/>
                  </a:cubicBezTo>
                  <a:cubicBezTo>
                    <a:pt x="618" y="580"/>
                    <a:pt x="623" y="572"/>
                    <a:pt x="649" y="567"/>
                  </a:cubicBezTo>
                  <a:cubicBezTo>
                    <a:pt x="715" y="553"/>
                    <a:pt x="715" y="553"/>
                    <a:pt x="715" y="553"/>
                  </a:cubicBezTo>
                  <a:cubicBezTo>
                    <a:pt x="728" y="550"/>
                    <a:pt x="733" y="542"/>
                    <a:pt x="730" y="529"/>
                  </a:cubicBezTo>
                  <a:cubicBezTo>
                    <a:pt x="727" y="482"/>
                    <a:pt x="727" y="482"/>
                    <a:pt x="727" y="482"/>
                  </a:cubicBezTo>
                  <a:cubicBezTo>
                    <a:pt x="724" y="469"/>
                    <a:pt x="717" y="463"/>
                    <a:pt x="701" y="453"/>
                  </a:cubicBezTo>
                  <a:cubicBezTo>
                    <a:pt x="641" y="459"/>
                    <a:pt x="641" y="459"/>
                    <a:pt x="641" y="459"/>
                  </a:cubicBezTo>
                  <a:cubicBezTo>
                    <a:pt x="620" y="457"/>
                    <a:pt x="604" y="447"/>
                    <a:pt x="601" y="434"/>
                  </a:cubicBezTo>
                  <a:cubicBezTo>
                    <a:pt x="598" y="421"/>
                    <a:pt x="590" y="416"/>
                    <a:pt x="580" y="397"/>
                  </a:cubicBezTo>
                  <a:cubicBezTo>
                    <a:pt x="577" y="384"/>
                    <a:pt x="574" y="371"/>
                    <a:pt x="584" y="355"/>
                  </a:cubicBezTo>
                  <a:cubicBezTo>
                    <a:pt x="628" y="305"/>
                    <a:pt x="628" y="305"/>
                    <a:pt x="628" y="305"/>
                  </a:cubicBezTo>
                  <a:cubicBezTo>
                    <a:pt x="634" y="297"/>
                    <a:pt x="631" y="284"/>
                    <a:pt x="623" y="279"/>
                  </a:cubicBezTo>
                  <a:cubicBezTo>
                    <a:pt x="581" y="240"/>
                    <a:pt x="581" y="240"/>
                    <a:pt x="581" y="240"/>
                  </a:cubicBezTo>
                  <a:cubicBezTo>
                    <a:pt x="573" y="235"/>
                    <a:pt x="560" y="238"/>
                    <a:pt x="547" y="240"/>
                  </a:cubicBezTo>
                  <a:cubicBezTo>
                    <a:pt x="503" y="291"/>
                    <a:pt x="503" y="291"/>
                    <a:pt x="503" y="291"/>
                  </a:cubicBezTo>
                  <a:cubicBezTo>
                    <a:pt x="484" y="302"/>
                    <a:pt x="471" y="304"/>
                    <a:pt x="463" y="299"/>
                  </a:cubicBezTo>
                  <a:cubicBezTo>
                    <a:pt x="456" y="294"/>
                    <a:pt x="435" y="292"/>
                    <a:pt x="427" y="287"/>
                  </a:cubicBezTo>
                  <a:cubicBezTo>
                    <a:pt x="419" y="282"/>
                    <a:pt x="403" y="271"/>
                    <a:pt x="400" y="258"/>
                  </a:cubicBezTo>
                  <a:cubicBezTo>
                    <a:pt x="386" y="193"/>
                    <a:pt x="386" y="193"/>
                    <a:pt x="386" y="193"/>
                  </a:cubicBezTo>
                  <a:cubicBezTo>
                    <a:pt x="384" y="180"/>
                    <a:pt x="368" y="170"/>
                    <a:pt x="368" y="170"/>
                  </a:cubicBezTo>
                  <a:cubicBezTo>
                    <a:pt x="308" y="176"/>
                    <a:pt x="308" y="176"/>
                    <a:pt x="308" y="176"/>
                  </a:cubicBezTo>
                  <a:cubicBezTo>
                    <a:pt x="308" y="176"/>
                    <a:pt x="289" y="187"/>
                    <a:pt x="292" y="200"/>
                  </a:cubicBezTo>
                  <a:cubicBezTo>
                    <a:pt x="285" y="263"/>
                    <a:pt x="285" y="263"/>
                    <a:pt x="285" y="263"/>
                  </a:cubicBezTo>
                  <a:cubicBezTo>
                    <a:pt x="291" y="289"/>
                    <a:pt x="277" y="292"/>
                    <a:pt x="272" y="300"/>
                  </a:cubicBezTo>
                  <a:cubicBezTo>
                    <a:pt x="272" y="300"/>
                    <a:pt x="272" y="300"/>
                    <a:pt x="267" y="308"/>
                  </a:cubicBezTo>
                  <a:cubicBezTo>
                    <a:pt x="259" y="302"/>
                    <a:pt x="246" y="305"/>
                    <a:pt x="241" y="313"/>
                  </a:cubicBezTo>
                  <a:cubicBezTo>
                    <a:pt x="236" y="321"/>
                    <a:pt x="236" y="321"/>
                    <a:pt x="236" y="321"/>
                  </a:cubicBezTo>
                  <a:cubicBezTo>
                    <a:pt x="223" y="324"/>
                    <a:pt x="210" y="327"/>
                    <a:pt x="194" y="317"/>
                  </a:cubicBezTo>
                  <a:cubicBezTo>
                    <a:pt x="139" y="281"/>
                    <a:pt x="139" y="281"/>
                    <a:pt x="139" y="281"/>
                  </a:cubicBezTo>
                  <a:cubicBezTo>
                    <a:pt x="131" y="276"/>
                    <a:pt x="110" y="273"/>
                    <a:pt x="104" y="281"/>
                  </a:cubicBezTo>
                  <a:cubicBezTo>
                    <a:pt x="79" y="321"/>
                    <a:pt x="79" y="321"/>
                    <a:pt x="79" y="321"/>
                  </a:cubicBezTo>
                  <a:cubicBezTo>
                    <a:pt x="66" y="324"/>
                    <a:pt x="68" y="337"/>
                    <a:pt x="79" y="355"/>
                  </a:cubicBezTo>
                  <a:cubicBezTo>
                    <a:pt x="121" y="394"/>
                    <a:pt x="121" y="394"/>
                    <a:pt x="121" y="394"/>
                  </a:cubicBezTo>
                  <a:cubicBezTo>
                    <a:pt x="140" y="417"/>
                    <a:pt x="135" y="425"/>
                    <a:pt x="132" y="446"/>
                  </a:cubicBezTo>
                  <a:cubicBezTo>
                    <a:pt x="132" y="446"/>
                    <a:pt x="132" y="446"/>
                    <a:pt x="132" y="446"/>
                  </a:cubicBezTo>
                  <a:cubicBezTo>
                    <a:pt x="127" y="454"/>
                    <a:pt x="122" y="462"/>
                    <a:pt x="117" y="470"/>
                  </a:cubicBezTo>
                  <a:cubicBezTo>
                    <a:pt x="117" y="470"/>
                    <a:pt x="117" y="470"/>
                    <a:pt x="117" y="470"/>
                  </a:cubicBezTo>
                  <a:cubicBezTo>
                    <a:pt x="120" y="483"/>
                    <a:pt x="109" y="499"/>
                    <a:pt x="83" y="505"/>
                  </a:cubicBezTo>
                  <a:cubicBezTo>
                    <a:pt x="23" y="511"/>
                    <a:pt x="23" y="511"/>
                    <a:pt x="23" y="511"/>
                  </a:cubicBezTo>
                  <a:cubicBezTo>
                    <a:pt x="10" y="514"/>
                    <a:pt x="0" y="529"/>
                    <a:pt x="2" y="543"/>
                  </a:cubicBezTo>
                  <a:cubicBezTo>
                    <a:pt x="5" y="590"/>
                    <a:pt x="5" y="590"/>
                    <a:pt x="5" y="590"/>
                  </a:cubicBezTo>
                  <a:cubicBezTo>
                    <a:pt x="8" y="603"/>
                    <a:pt x="16" y="608"/>
                    <a:pt x="37" y="610"/>
                  </a:cubicBezTo>
                  <a:cubicBezTo>
                    <a:pt x="92" y="612"/>
                    <a:pt x="92" y="612"/>
                    <a:pt x="92" y="612"/>
                  </a:cubicBezTo>
                  <a:cubicBezTo>
                    <a:pt x="113" y="614"/>
                    <a:pt x="129" y="625"/>
                    <a:pt x="132" y="638"/>
                  </a:cubicBezTo>
                  <a:cubicBezTo>
                    <a:pt x="132" y="638"/>
                    <a:pt x="132" y="638"/>
                    <a:pt x="132" y="638"/>
                  </a:cubicBezTo>
                  <a:cubicBezTo>
                    <a:pt x="140" y="643"/>
                    <a:pt x="142" y="656"/>
                    <a:pt x="150" y="661"/>
                  </a:cubicBezTo>
                  <a:cubicBezTo>
                    <a:pt x="145" y="669"/>
                    <a:pt x="145" y="669"/>
                    <a:pt x="145" y="669"/>
                  </a:cubicBezTo>
                  <a:cubicBezTo>
                    <a:pt x="153" y="674"/>
                    <a:pt x="156" y="687"/>
                    <a:pt x="140" y="711"/>
                  </a:cubicBezTo>
                  <a:cubicBezTo>
                    <a:pt x="109" y="759"/>
                    <a:pt x="109" y="759"/>
                    <a:pt x="109" y="759"/>
                  </a:cubicBezTo>
                  <a:cubicBezTo>
                    <a:pt x="99" y="775"/>
                    <a:pt x="102" y="788"/>
                    <a:pt x="110" y="793"/>
                  </a:cubicBezTo>
                  <a:cubicBezTo>
                    <a:pt x="152" y="832"/>
                    <a:pt x="152" y="832"/>
                    <a:pt x="152" y="832"/>
                  </a:cubicBezTo>
                  <a:cubicBezTo>
                    <a:pt x="160" y="837"/>
                    <a:pt x="173" y="834"/>
                    <a:pt x="178" y="826"/>
                  </a:cubicBezTo>
                  <a:cubicBezTo>
                    <a:pt x="230" y="781"/>
                    <a:pt x="230" y="781"/>
                    <a:pt x="230" y="781"/>
                  </a:cubicBezTo>
                  <a:cubicBezTo>
                    <a:pt x="248" y="770"/>
                    <a:pt x="261" y="767"/>
                    <a:pt x="269" y="772"/>
                  </a:cubicBezTo>
                  <a:cubicBezTo>
                    <a:pt x="269" y="772"/>
                    <a:pt x="269" y="772"/>
                    <a:pt x="269" y="772"/>
                  </a:cubicBezTo>
                  <a:cubicBezTo>
                    <a:pt x="282" y="769"/>
                    <a:pt x="298" y="779"/>
                    <a:pt x="306" y="785"/>
                  </a:cubicBezTo>
                  <a:cubicBezTo>
                    <a:pt x="306" y="785"/>
                    <a:pt x="306" y="785"/>
                    <a:pt x="306" y="785"/>
                  </a:cubicBezTo>
                  <a:cubicBezTo>
                    <a:pt x="319" y="782"/>
                    <a:pt x="327" y="787"/>
                    <a:pt x="332" y="813"/>
                  </a:cubicBezTo>
                  <a:cubicBezTo>
                    <a:pt x="346" y="878"/>
                    <a:pt x="346" y="878"/>
                    <a:pt x="346" y="878"/>
                  </a:cubicBezTo>
                  <a:cubicBezTo>
                    <a:pt x="349" y="892"/>
                    <a:pt x="357" y="897"/>
                    <a:pt x="370" y="894"/>
                  </a:cubicBezTo>
                  <a:cubicBezTo>
                    <a:pt x="425" y="896"/>
                    <a:pt x="425" y="896"/>
                    <a:pt x="425" y="896"/>
                  </a:cubicBezTo>
                  <a:cubicBezTo>
                    <a:pt x="430" y="888"/>
                    <a:pt x="443" y="885"/>
                    <a:pt x="440" y="872"/>
                  </a:cubicBezTo>
                  <a:cubicBezTo>
                    <a:pt x="440" y="804"/>
                    <a:pt x="440" y="804"/>
                    <a:pt x="440" y="804"/>
                  </a:cubicBezTo>
                  <a:cubicBezTo>
                    <a:pt x="442" y="783"/>
                    <a:pt x="460" y="772"/>
                    <a:pt x="466" y="764"/>
                  </a:cubicBezTo>
                  <a:cubicBezTo>
                    <a:pt x="466" y="764"/>
                    <a:pt x="466" y="764"/>
                    <a:pt x="466" y="764"/>
                  </a:cubicBezTo>
                  <a:cubicBezTo>
                    <a:pt x="479" y="761"/>
                    <a:pt x="492" y="758"/>
                    <a:pt x="497" y="750"/>
                  </a:cubicBezTo>
                  <a:cubicBezTo>
                    <a:pt x="497" y="750"/>
                    <a:pt x="497" y="750"/>
                    <a:pt x="497" y="750"/>
                  </a:cubicBezTo>
                  <a:cubicBezTo>
                    <a:pt x="510" y="747"/>
                    <a:pt x="523" y="745"/>
                    <a:pt x="539" y="755"/>
                  </a:cubicBezTo>
                  <a:cubicBezTo>
                    <a:pt x="594" y="791"/>
                    <a:pt x="594" y="791"/>
                    <a:pt x="594" y="791"/>
                  </a:cubicBezTo>
                  <a:cubicBezTo>
                    <a:pt x="602" y="796"/>
                    <a:pt x="623" y="798"/>
                    <a:pt x="628" y="790"/>
                  </a:cubicBezTo>
                  <a:cubicBezTo>
                    <a:pt x="659" y="743"/>
                    <a:pt x="659" y="743"/>
                    <a:pt x="659" y="743"/>
                  </a:cubicBezTo>
                  <a:cubicBezTo>
                    <a:pt x="659" y="743"/>
                    <a:pt x="669" y="727"/>
                    <a:pt x="654" y="716"/>
                  </a:cubicBezTo>
                  <a:close/>
                  <a:moveTo>
                    <a:pt x="281" y="633"/>
                  </a:moveTo>
                  <a:cubicBezTo>
                    <a:pt x="223" y="584"/>
                    <a:pt x="219" y="502"/>
                    <a:pt x="263" y="452"/>
                  </a:cubicBezTo>
                  <a:cubicBezTo>
                    <a:pt x="313" y="393"/>
                    <a:pt x="399" y="382"/>
                    <a:pt x="457" y="431"/>
                  </a:cubicBezTo>
                  <a:cubicBezTo>
                    <a:pt x="507" y="475"/>
                    <a:pt x="518" y="561"/>
                    <a:pt x="469" y="619"/>
                  </a:cubicBezTo>
                  <a:cubicBezTo>
                    <a:pt x="420" y="678"/>
                    <a:pt x="339" y="682"/>
                    <a:pt x="281" y="633"/>
                  </a:cubicBezTo>
                  <a:close/>
                  <a:moveTo>
                    <a:pt x="1019" y="398"/>
                  </a:moveTo>
                  <a:cubicBezTo>
                    <a:pt x="1004" y="362"/>
                    <a:pt x="1004" y="362"/>
                    <a:pt x="1004" y="362"/>
                  </a:cubicBezTo>
                  <a:cubicBezTo>
                    <a:pt x="992" y="348"/>
                    <a:pt x="1002" y="340"/>
                    <a:pt x="1002" y="332"/>
                  </a:cubicBezTo>
                  <a:cubicBezTo>
                    <a:pt x="1002" y="332"/>
                    <a:pt x="1002" y="332"/>
                    <a:pt x="1002" y="332"/>
                  </a:cubicBezTo>
                  <a:cubicBezTo>
                    <a:pt x="1007" y="328"/>
                    <a:pt x="1011" y="324"/>
                    <a:pt x="1012" y="315"/>
                  </a:cubicBezTo>
                  <a:cubicBezTo>
                    <a:pt x="1021" y="307"/>
                    <a:pt x="1026" y="303"/>
                    <a:pt x="1043" y="304"/>
                  </a:cubicBezTo>
                  <a:cubicBezTo>
                    <a:pt x="1086" y="307"/>
                    <a:pt x="1086" y="307"/>
                    <a:pt x="1086" y="307"/>
                  </a:cubicBezTo>
                  <a:cubicBezTo>
                    <a:pt x="1095" y="308"/>
                    <a:pt x="1099" y="304"/>
                    <a:pt x="1100" y="295"/>
                  </a:cubicBezTo>
                  <a:cubicBezTo>
                    <a:pt x="1107" y="266"/>
                    <a:pt x="1107" y="266"/>
                    <a:pt x="1107" y="266"/>
                  </a:cubicBezTo>
                  <a:cubicBezTo>
                    <a:pt x="1107" y="257"/>
                    <a:pt x="1103" y="252"/>
                    <a:pt x="1095" y="243"/>
                  </a:cubicBezTo>
                  <a:cubicBezTo>
                    <a:pt x="1057" y="236"/>
                    <a:pt x="1057" y="236"/>
                    <a:pt x="1057" y="236"/>
                  </a:cubicBezTo>
                  <a:cubicBezTo>
                    <a:pt x="1044" y="231"/>
                    <a:pt x="1036" y="222"/>
                    <a:pt x="1037" y="213"/>
                  </a:cubicBezTo>
                  <a:cubicBezTo>
                    <a:pt x="1038" y="205"/>
                    <a:pt x="1034" y="200"/>
                    <a:pt x="1030" y="187"/>
                  </a:cubicBezTo>
                  <a:cubicBezTo>
                    <a:pt x="1031" y="178"/>
                    <a:pt x="1032" y="170"/>
                    <a:pt x="1041" y="162"/>
                  </a:cubicBezTo>
                  <a:cubicBezTo>
                    <a:pt x="1077" y="138"/>
                    <a:pt x="1077" y="138"/>
                    <a:pt x="1077" y="138"/>
                  </a:cubicBezTo>
                  <a:cubicBezTo>
                    <a:pt x="1082" y="134"/>
                    <a:pt x="1083" y="126"/>
                    <a:pt x="1079" y="121"/>
                  </a:cubicBezTo>
                  <a:cubicBezTo>
                    <a:pt x="1059" y="89"/>
                    <a:pt x="1059" y="89"/>
                    <a:pt x="1059" y="89"/>
                  </a:cubicBezTo>
                  <a:cubicBezTo>
                    <a:pt x="1055" y="85"/>
                    <a:pt x="1047" y="84"/>
                    <a:pt x="1038" y="83"/>
                  </a:cubicBezTo>
                  <a:cubicBezTo>
                    <a:pt x="1002" y="107"/>
                    <a:pt x="1002" y="107"/>
                    <a:pt x="1002" y="107"/>
                  </a:cubicBezTo>
                  <a:cubicBezTo>
                    <a:pt x="989" y="110"/>
                    <a:pt x="980" y="110"/>
                    <a:pt x="976" y="105"/>
                  </a:cubicBezTo>
                  <a:cubicBezTo>
                    <a:pt x="972" y="100"/>
                    <a:pt x="960" y="95"/>
                    <a:pt x="956" y="91"/>
                  </a:cubicBezTo>
                  <a:cubicBezTo>
                    <a:pt x="952" y="86"/>
                    <a:pt x="944" y="77"/>
                    <a:pt x="944" y="68"/>
                  </a:cubicBezTo>
                  <a:cubicBezTo>
                    <a:pt x="948" y="25"/>
                    <a:pt x="948" y="25"/>
                    <a:pt x="948" y="25"/>
                  </a:cubicBezTo>
                  <a:cubicBezTo>
                    <a:pt x="948" y="17"/>
                    <a:pt x="940" y="7"/>
                    <a:pt x="940" y="7"/>
                  </a:cubicBezTo>
                  <a:cubicBezTo>
                    <a:pt x="902" y="0"/>
                    <a:pt x="902" y="0"/>
                    <a:pt x="902" y="0"/>
                  </a:cubicBezTo>
                  <a:cubicBezTo>
                    <a:pt x="902" y="0"/>
                    <a:pt x="889" y="4"/>
                    <a:pt x="888" y="12"/>
                  </a:cubicBezTo>
                  <a:cubicBezTo>
                    <a:pt x="872" y="50"/>
                    <a:pt x="872" y="50"/>
                    <a:pt x="872" y="50"/>
                  </a:cubicBezTo>
                  <a:cubicBezTo>
                    <a:pt x="871" y="67"/>
                    <a:pt x="862" y="67"/>
                    <a:pt x="858" y="71"/>
                  </a:cubicBezTo>
                  <a:cubicBezTo>
                    <a:pt x="858" y="71"/>
                    <a:pt x="858" y="71"/>
                    <a:pt x="853" y="75"/>
                  </a:cubicBezTo>
                  <a:cubicBezTo>
                    <a:pt x="849" y="70"/>
                    <a:pt x="840" y="70"/>
                    <a:pt x="836" y="74"/>
                  </a:cubicBezTo>
                  <a:cubicBezTo>
                    <a:pt x="831" y="78"/>
                    <a:pt x="831" y="78"/>
                    <a:pt x="831" y="78"/>
                  </a:cubicBezTo>
                  <a:cubicBezTo>
                    <a:pt x="822" y="77"/>
                    <a:pt x="814" y="76"/>
                    <a:pt x="806" y="67"/>
                  </a:cubicBezTo>
                  <a:cubicBezTo>
                    <a:pt x="778" y="35"/>
                    <a:pt x="778" y="35"/>
                    <a:pt x="778" y="35"/>
                  </a:cubicBezTo>
                  <a:cubicBezTo>
                    <a:pt x="774" y="30"/>
                    <a:pt x="762" y="25"/>
                    <a:pt x="757" y="29"/>
                  </a:cubicBezTo>
                  <a:cubicBezTo>
                    <a:pt x="734" y="49"/>
                    <a:pt x="734" y="49"/>
                    <a:pt x="734" y="49"/>
                  </a:cubicBezTo>
                  <a:cubicBezTo>
                    <a:pt x="725" y="49"/>
                    <a:pt x="725" y="57"/>
                    <a:pt x="728" y="70"/>
                  </a:cubicBezTo>
                  <a:cubicBezTo>
                    <a:pt x="747" y="102"/>
                    <a:pt x="747" y="102"/>
                    <a:pt x="747" y="102"/>
                  </a:cubicBezTo>
                  <a:cubicBezTo>
                    <a:pt x="754" y="120"/>
                    <a:pt x="750" y="124"/>
                    <a:pt x="744" y="136"/>
                  </a:cubicBezTo>
                  <a:cubicBezTo>
                    <a:pt x="744" y="136"/>
                    <a:pt x="744" y="136"/>
                    <a:pt x="744" y="136"/>
                  </a:cubicBezTo>
                  <a:cubicBezTo>
                    <a:pt x="740" y="140"/>
                    <a:pt x="735" y="144"/>
                    <a:pt x="731" y="148"/>
                  </a:cubicBezTo>
                  <a:cubicBezTo>
                    <a:pt x="731" y="148"/>
                    <a:pt x="731" y="148"/>
                    <a:pt x="731" y="148"/>
                  </a:cubicBezTo>
                  <a:cubicBezTo>
                    <a:pt x="730" y="157"/>
                    <a:pt x="721" y="165"/>
                    <a:pt x="703" y="164"/>
                  </a:cubicBezTo>
                  <a:cubicBezTo>
                    <a:pt x="665" y="157"/>
                    <a:pt x="665" y="157"/>
                    <a:pt x="665" y="157"/>
                  </a:cubicBezTo>
                  <a:cubicBezTo>
                    <a:pt x="656" y="156"/>
                    <a:pt x="647" y="164"/>
                    <a:pt x="647" y="173"/>
                  </a:cubicBezTo>
                  <a:cubicBezTo>
                    <a:pt x="640" y="203"/>
                    <a:pt x="640" y="203"/>
                    <a:pt x="640" y="203"/>
                  </a:cubicBezTo>
                  <a:cubicBezTo>
                    <a:pt x="639" y="211"/>
                    <a:pt x="643" y="216"/>
                    <a:pt x="656" y="221"/>
                  </a:cubicBezTo>
                  <a:cubicBezTo>
                    <a:pt x="690" y="232"/>
                    <a:pt x="690" y="232"/>
                    <a:pt x="690" y="232"/>
                  </a:cubicBezTo>
                  <a:cubicBezTo>
                    <a:pt x="702" y="237"/>
                    <a:pt x="710" y="246"/>
                    <a:pt x="710" y="255"/>
                  </a:cubicBezTo>
                  <a:cubicBezTo>
                    <a:pt x="710" y="255"/>
                    <a:pt x="710" y="255"/>
                    <a:pt x="710" y="255"/>
                  </a:cubicBezTo>
                  <a:cubicBezTo>
                    <a:pt x="714" y="260"/>
                    <a:pt x="713" y="268"/>
                    <a:pt x="717" y="273"/>
                  </a:cubicBezTo>
                  <a:cubicBezTo>
                    <a:pt x="712" y="277"/>
                    <a:pt x="712" y="277"/>
                    <a:pt x="712" y="277"/>
                  </a:cubicBezTo>
                  <a:cubicBezTo>
                    <a:pt x="716" y="281"/>
                    <a:pt x="716" y="290"/>
                    <a:pt x="702" y="302"/>
                  </a:cubicBezTo>
                  <a:cubicBezTo>
                    <a:pt x="674" y="326"/>
                    <a:pt x="674" y="326"/>
                    <a:pt x="674" y="326"/>
                  </a:cubicBezTo>
                  <a:cubicBezTo>
                    <a:pt x="665" y="334"/>
                    <a:pt x="664" y="343"/>
                    <a:pt x="668" y="347"/>
                  </a:cubicBezTo>
                  <a:cubicBezTo>
                    <a:pt x="687" y="379"/>
                    <a:pt x="687" y="379"/>
                    <a:pt x="687" y="379"/>
                  </a:cubicBezTo>
                  <a:cubicBezTo>
                    <a:pt x="691" y="383"/>
                    <a:pt x="700" y="384"/>
                    <a:pt x="704" y="380"/>
                  </a:cubicBezTo>
                  <a:cubicBezTo>
                    <a:pt x="745" y="361"/>
                    <a:pt x="745" y="361"/>
                    <a:pt x="745" y="361"/>
                  </a:cubicBezTo>
                  <a:cubicBezTo>
                    <a:pt x="758" y="358"/>
                    <a:pt x="767" y="358"/>
                    <a:pt x="771" y="363"/>
                  </a:cubicBezTo>
                  <a:cubicBezTo>
                    <a:pt x="771" y="363"/>
                    <a:pt x="771" y="363"/>
                    <a:pt x="771" y="363"/>
                  </a:cubicBezTo>
                  <a:cubicBezTo>
                    <a:pt x="779" y="364"/>
                    <a:pt x="787" y="373"/>
                    <a:pt x="791" y="377"/>
                  </a:cubicBezTo>
                  <a:cubicBezTo>
                    <a:pt x="791" y="377"/>
                    <a:pt x="791" y="377"/>
                    <a:pt x="791" y="377"/>
                  </a:cubicBezTo>
                  <a:cubicBezTo>
                    <a:pt x="800" y="378"/>
                    <a:pt x="804" y="383"/>
                    <a:pt x="802" y="400"/>
                  </a:cubicBezTo>
                  <a:cubicBezTo>
                    <a:pt x="799" y="443"/>
                    <a:pt x="799" y="443"/>
                    <a:pt x="799" y="443"/>
                  </a:cubicBezTo>
                  <a:cubicBezTo>
                    <a:pt x="798" y="451"/>
                    <a:pt x="802" y="456"/>
                    <a:pt x="811" y="457"/>
                  </a:cubicBezTo>
                  <a:cubicBezTo>
                    <a:pt x="845" y="468"/>
                    <a:pt x="845" y="468"/>
                    <a:pt x="845" y="468"/>
                  </a:cubicBezTo>
                  <a:cubicBezTo>
                    <a:pt x="849" y="464"/>
                    <a:pt x="858" y="464"/>
                    <a:pt x="859" y="456"/>
                  </a:cubicBezTo>
                  <a:cubicBezTo>
                    <a:pt x="871" y="413"/>
                    <a:pt x="871" y="413"/>
                    <a:pt x="871" y="413"/>
                  </a:cubicBezTo>
                  <a:cubicBezTo>
                    <a:pt x="876" y="401"/>
                    <a:pt x="889" y="397"/>
                    <a:pt x="894" y="393"/>
                  </a:cubicBezTo>
                  <a:cubicBezTo>
                    <a:pt x="894" y="393"/>
                    <a:pt x="894" y="393"/>
                    <a:pt x="894" y="393"/>
                  </a:cubicBezTo>
                  <a:cubicBezTo>
                    <a:pt x="902" y="394"/>
                    <a:pt x="911" y="395"/>
                    <a:pt x="916" y="391"/>
                  </a:cubicBezTo>
                  <a:cubicBezTo>
                    <a:pt x="916" y="391"/>
                    <a:pt x="916" y="391"/>
                    <a:pt x="916" y="391"/>
                  </a:cubicBezTo>
                  <a:cubicBezTo>
                    <a:pt x="924" y="391"/>
                    <a:pt x="933" y="392"/>
                    <a:pt x="941" y="401"/>
                  </a:cubicBezTo>
                  <a:cubicBezTo>
                    <a:pt x="969" y="433"/>
                    <a:pt x="969" y="433"/>
                    <a:pt x="969" y="433"/>
                  </a:cubicBezTo>
                  <a:cubicBezTo>
                    <a:pt x="973" y="438"/>
                    <a:pt x="985" y="443"/>
                    <a:pt x="990" y="439"/>
                  </a:cubicBezTo>
                  <a:cubicBezTo>
                    <a:pt x="1018" y="415"/>
                    <a:pt x="1018" y="415"/>
                    <a:pt x="1018" y="415"/>
                  </a:cubicBezTo>
                  <a:cubicBezTo>
                    <a:pt x="1018" y="415"/>
                    <a:pt x="1027" y="407"/>
                    <a:pt x="1019" y="398"/>
                  </a:cubicBezTo>
                  <a:close/>
                  <a:moveTo>
                    <a:pt x="803" y="279"/>
                  </a:moveTo>
                  <a:cubicBezTo>
                    <a:pt x="776" y="238"/>
                    <a:pt x="788" y="187"/>
                    <a:pt x="825" y="164"/>
                  </a:cubicBezTo>
                  <a:cubicBezTo>
                    <a:pt x="866" y="136"/>
                    <a:pt x="921" y="144"/>
                    <a:pt x="948" y="185"/>
                  </a:cubicBezTo>
                  <a:cubicBezTo>
                    <a:pt x="972" y="221"/>
                    <a:pt x="963" y="277"/>
                    <a:pt x="922" y="304"/>
                  </a:cubicBezTo>
                  <a:cubicBezTo>
                    <a:pt x="881" y="332"/>
                    <a:pt x="830" y="320"/>
                    <a:pt x="803" y="279"/>
                  </a:cubicBezTo>
                  <a:close/>
                </a:path>
              </a:pathLst>
            </a:custGeom>
            <a:solidFill>
              <a:schemeClr val="tx1"/>
            </a:solidFill>
            <a:ln>
              <a:noFill/>
            </a:ln>
          </p:spPr>
          <p:txBody>
            <a:bodyPr vert="horz" wrap="square" lIns="68574" tIns="34287" rIns="68574" bIns="34287"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17346"/>
                </a:solidFill>
                <a:effectLst/>
                <a:uLnTx/>
                <a:uFillTx/>
                <a:latin typeface="Segoe UI"/>
                <a:ea typeface="+mn-ea"/>
                <a:cs typeface="+mn-cs"/>
              </a:endParaRPr>
            </a:p>
          </p:txBody>
        </p:sp>
        <p:sp>
          <p:nvSpPr>
            <p:cNvPr id="88" name="Freeform 87"/>
            <p:cNvSpPr>
              <a:spLocks noChangeAspect="1"/>
            </p:cNvSpPr>
            <p:nvPr/>
          </p:nvSpPr>
          <p:spPr bwMode="black">
            <a:xfrm>
              <a:off x="776985" y="4213905"/>
              <a:ext cx="342871" cy="335728"/>
            </a:xfrm>
            <a:custGeom>
              <a:avLst/>
              <a:gdLst>
                <a:gd name="connsiteX0" fmla="*/ 3713863 w 4893730"/>
                <a:gd name="connsiteY0" fmla="*/ 2130808 h 4791777"/>
                <a:gd name="connsiteX1" fmla="*/ 4426142 w 4893730"/>
                <a:gd name="connsiteY1" fmla="*/ 2130808 h 4791777"/>
                <a:gd name="connsiteX2" fmla="*/ 4598071 w 4893730"/>
                <a:gd name="connsiteY2" fmla="*/ 2301547 h 4791777"/>
                <a:gd name="connsiteX3" fmla="*/ 4598071 w 4893730"/>
                <a:gd name="connsiteY3" fmla="*/ 3886978 h 4791777"/>
                <a:gd name="connsiteX4" fmla="*/ 4426142 w 4893730"/>
                <a:gd name="connsiteY4" fmla="*/ 4057717 h 4791777"/>
                <a:gd name="connsiteX5" fmla="*/ 3713863 w 4893730"/>
                <a:gd name="connsiteY5" fmla="*/ 4057717 h 4791777"/>
                <a:gd name="connsiteX6" fmla="*/ 3517372 w 4893730"/>
                <a:gd name="connsiteY6" fmla="*/ 3886978 h 4791777"/>
                <a:gd name="connsiteX7" fmla="*/ 3517372 w 4893730"/>
                <a:gd name="connsiteY7" fmla="*/ 2301547 h 4791777"/>
                <a:gd name="connsiteX8" fmla="*/ 3713863 w 4893730"/>
                <a:gd name="connsiteY8" fmla="*/ 2130808 h 4791777"/>
                <a:gd name="connsiteX9" fmla="*/ 904368 w 4893730"/>
                <a:gd name="connsiteY9" fmla="*/ 1223432 h 4791777"/>
                <a:gd name="connsiteX10" fmla="*/ 1609930 w 4893730"/>
                <a:gd name="connsiteY10" fmla="*/ 1223432 h 4791777"/>
                <a:gd name="connsiteX11" fmla="*/ 1804567 w 4893730"/>
                <a:gd name="connsiteY11" fmla="*/ 1394467 h 4791777"/>
                <a:gd name="connsiteX12" fmla="*/ 1804567 w 4893730"/>
                <a:gd name="connsiteY12" fmla="*/ 3886683 h 4791777"/>
                <a:gd name="connsiteX13" fmla="*/ 1609930 w 4893730"/>
                <a:gd name="connsiteY13" fmla="*/ 4057717 h 4791777"/>
                <a:gd name="connsiteX14" fmla="*/ 904368 w 4893730"/>
                <a:gd name="connsiteY14" fmla="*/ 4057717 h 4791777"/>
                <a:gd name="connsiteX15" fmla="*/ 734060 w 4893730"/>
                <a:gd name="connsiteY15" fmla="*/ 3886683 h 4791777"/>
                <a:gd name="connsiteX16" fmla="*/ 734060 w 4893730"/>
                <a:gd name="connsiteY16" fmla="*/ 1394467 h 4791777"/>
                <a:gd name="connsiteX17" fmla="*/ 904368 w 4893730"/>
                <a:gd name="connsiteY17" fmla="*/ 1223432 h 4791777"/>
                <a:gd name="connsiteX18" fmla="*/ 2325453 w 4893730"/>
                <a:gd name="connsiteY18" fmla="*/ 316050 h 4791777"/>
                <a:gd name="connsiteX19" fmla="*/ 3031014 w 4893730"/>
                <a:gd name="connsiteY19" fmla="*/ 316050 h 4791777"/>
                <a:gd name="connsiteX20" fmla="*/ 3201322 w 4893730"/>
                <a:gd name="connsiteY20" fmla="*/ 487238 h 4791777"/>
                <a:gd name="connsiteX21" fmla="*/ 3201322 w 4893730"/>
                <a:gd name="connsiteY21" fmla="*/ 3886530 h 4791777"/>
                <a:gd name="connsiteX22" fmla="*/ 3031014 w 4893730"/>
                <a:gd name="connsiteY22" fmla="*/ 4057717 h 4791777"/>
                <a:gd name="connsiteX23" fmla="*/ 2325453 w 4893730"/>
                <a:gd name="connsiteY23" fmla="*/ 4057717 h 4791777"/>
                <a:gd name="connsiteX24" fmla="*/ 2130815 w 4893730"/>
                <a:gd name="connsiteY24" fmla="*/ 3886530 h 4791777"/>
                <a:gd name="connsiteX25" fmla="*/ 2130815 w 4893730"/>
                <a:gd name="connsiteY25" fmla="*/ 487238 h 4791777"/>
                <a:gd name="connsiteX26" fmla="*/ 2325453 w 4893730"/>
                <a:gd name="connsiteY26" fmla="*/ 316050 h 4791777"/>
                <a:gd name="connsiteX27" fmla="*/ 269155 w 4893730"/>
                <a:gd name="connsiteY27" fmla="*/ 0 h 4791777"/>
                <a:gd name="connsiteX28" fmla="*/ 538311 w 4893730"/>
                <a:gd name="connsiteY28" fmla="*/ 268927 h 4791777"/>
                <a:gd name="connsiteX29" fmla="*/ 538311 w 4893730"/>
                <a:gd name="connsiteY29" fmla="*/ 4253925 h 4791777"/>
                <a:gd name="connsiteX30" fmla="*/ 4624575 w 4893730"/>
                <a:gd name="connsiteY30" fmla="*/ 4253925 h 4791777"/>
                <a:gd name="connsiteX31" fmla="*/ 4893730 w 4893730"/>
                <a:gd name="connsiteY31" fmla="*/ 4522851 h 4791777"/>
                <a:gd name="connsiteX32" fmla="*/ 4624575 w 4893730"/>
                <a:gd name="connsiteY32" fmla="*/ 4791777 h 4791777"/>
                <a:gd name="connsiteX33" fmla="*/ 269155 w 4893730"/>
                <a:gd name="connsiteY33" fmla="*/ 4791777 h 4791777"/>
                <a:gd name="connsiteX34" fmla="*/ 0 w 4893730"/>
                <a:gd name="connsiteY34" fmla="*/ 4522851 h 4791777"/>
                <a:gd name="connsiteX35" fmla="*/ 0 w 4893730"/>
                <a:gd name="connsiteY35" fmla="*/ 268927 h 4791777"/>
                <a:gd name="connsiteX36" fmla="*/ 269155 w 4893730"/>
                <a:gd name="connsiteY36" fmla="*/ 0 h 4791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4893730" h="4791777">
                  <a:moveTo>
                    <a:pt x="3713863" y="2130808"/>
                  </a:moveTo>
                  <a:cubicBezTo>
                    <a:pt x="3713863" y="2130808"/>
                    <a:pt x="3713863" y="2130808"/>
                    <a:pt x="4426142" y="2130808"/>
                  </a:cubicBezTo>
                  <a:cubicBezTo>
                    <a:pt x="4524387" y="2130808"/>
                    <a:pt x="4598071" y="2203982"/>
                    <a:pt x="4598071" y="2301547"/>
                  </a:cubicBezTo>
                  <a:cubicBezTo>
                    <a:pt x="4598071" y="2301547"/>
                    <a:pt x="4598071" y="2301547"/>
                    <a:pt x="4598071" y="3886978"/>
                  </a:cubicBezTo>
                  <a:cubicBezTo>
                    <a:pt x="4598071" y="3984543"/>
                    <a:pt x="4524387" y="4057717"/>
                    <a:pt x="4426142" y="4057717"/>
                  </a:cubicBezTo>
                  <a:cubicBezTo>
                    <a:pt x="4426142" y="4057717"/>
                    <a:pt x="4426142" y="4057717"/>
                    <a:pt x="3713863" y="4057717"/>
                  </a:cubicBezTo>
                  <a:cubicBezTo>
                    <a:pt x="3615618" y="4057717"/>
                    <a:pt x="3517372" y="3984543"/>
                    <a:pt x="3517372" y="3886978"/>
                  </a:cubicBezTo>
                  <a:cubicBezTo>
                    <a:pt x="3517372" y="3886978"/>
                    <a:pt x="3517372" y="3886978"/>
                    <a:pt x="3517372" y="2301547"/>
                  </a:cubicBezTo>
                  <a:cubicBezTo>
                    <a:pt x="3517372" y="2203982"/>
                    <a:pt x="3615618" y="2130808"/>
                    <a:pt x="3713863" y="2130808"/>
                  </a:cubicBezTo>
                  <a:close/>
                  <a:moveTo>
                    <a:pt x="904368" y="1223432"/>
                  </a:moveTo>
                  <a:cubicBezTo>
                    <a:pt x="904368" y="1223432"/>
                    <a:pt x="904368" y="1223432"/>
                    <a:pt x="1609930" y="1223432"/>
                  </a:cubicBezTo>
                  <a:cubicBezTo>
                    <a:pt x="1731578" y="1223432"/>
                    <a:pt x="1804567" y="1296733"/>
                    <a:pt x="1804567" y="1394467"/>
                  </a:cubicBezTo>
                  <a:cubicBezTo>
                    <a:pt x="1804567" y="1394467"/>
                    <a:pt x="1804567" y="1394467"/>
                    <a:pt x="1804567" y="3886683"/>
                  </a:cubicBezTo>
                  <a:cubicBezTo>
                    <a:pt x="1804567" y="3984417"/>
                    <a:pt x="1731578" y="4057717"/>
                    <a:pt x="1609930" y="4057717"/>
                  </a:cubicBezTo>
                  <a:cubicBezTo>
                    <a:pt x="1609930" y="4057717"/>
                    <a:pt x="1609930" y="4057717"/>
                    <a:pt x="904368" y="4057717"/>
                  </a:cubicBezTo>
                  <a:cubicBezTo>
                    <a:pt x="807049" y="4057717"/>
                    <a:pt x="734060" y="3984417"/>
                    <a:pt x="734060" y="3886683"/>
                  </a:cubicBezTo>
                  <a:cubicBezTo>
                    <a:pt x="734060" y="3886683"/>
                    <a:pt x="734060" y="3886683"/>
                    <a:pt x="734060" y="1394467"/>
                  </a:cubicBezTo>
                  <a:cubicBezTo>
                    <a:pt x="734060" y="1296733"/>
                    <a:pt x="807049" y="1223432"/>
                    <a:pt x="904368" y="1223432"/>
                  </a:cubicBezTo>
                  <a:close/>
                  <a:moveTo>
                    <a:pt x="2325453" y="316050"/>
                  </a:moveTo>
                  <a:cubicBezTo>
                    <a:pt x="2325453" y="316050"/>
                    <a:pt x="2325453" y="316050"/>
                    <a:pt x="3031014" y="316050"/>
                  </a:cubicBezTo>
                  <a:cubicBezTo>
                    <a:pt x="3128333" y="316050"/>
                    <a:pt x="3201322" y="389416"/>
                    <a:pt x="3201322" y="487238"/>
                  </a:cubicBezTo>
                  <a:cubicBezTo>
                    <a:pt x="3201322" y="487238"/>
                    <a:pt x="3201322" y="487238"/>
                    <a:pt x="3201322" y="3886530"/>
                  </a:cubicBezTo>
                  <a:cubicBezTo>
                    <a:pt x="3201322" y="3984351"/>
                    <a:pt x="3128333" y="4057717"/>
                    <a:pt x="3031014" y="4057717"/>
                  </a:cubicBezTo>
                  <a:cubicBezTo>
                    <a:pt x="3031014" y="4057717"/>
                    <a:pt x="3031014" y="4057717"/>
                    <a:pt x="2325453" y="4057717"/>
                  </a:cubicBezTo>
                  <a:cubicBezTo>
                    <a:pt x="2203804" y="4057717"/>
                    <a:pt x="2130815" y="3984351"/>
                    <a:pt x="2130815" y="3886530"/>
                  </a:cubicBezTo>
                  <a:cubicBezTo>
                    <a:pt x="2130815" y="3886530"/>
                    <a:pt x="2130815" y="3886530"/>
                    <a:pt x="2130815" y="487238"/>
                  </a:cubicBezTo>
                  <a:cubicBezTo>
                    <a:pt x="2130815" y="389416"/>
                    <a:pt x="2203804" y="316050"/>
                    <a:pt x="2325453" y="316050"/>
                  </a:cubicBezTo>
                  <a:close/>
                  <a:moveTo>
                    <a:pt x="269155" y="0"/>
                  </a:moveTo>
                  <a:cubicBezTo>
                    <a:pt x="415967" y="0"/>
                    <a:pt x="538311" y="122239"/>
                    <a:pt x="538311" y="268927"/>
                  </a:cubicBezTo>
                  <a:cubicBezTo>
                    <a:pt x="538311" y="268927"/>
                    <a:pt x="538311" y="268927"/>
                    <a:pt x="538311" y="4253925"/>
                  </a:cubicBezTo>
                  <a:cubicBezTo>
                    <a:pt x="538311" y="4253925"/>
                    <a:pt x="538311" y="4253925"/>
                    <a:pt x="4624575" y="4253925"/>
                  </a:cubicBezTo>
                  <a:cubicBezTo>
                    <a:pt x="4771387" y="4253925"/>
                    <a:pt x="4893730" y="4376164"/>
                    <a:pt x="4893730" y="4522851"/>
                  </a:cubicBezTo>
                  <a:cubicBezTo>
                    <a:pt x="4893730" y="4669538"/>
                    <a:pt x="4771387" y="4791777"/>
                    <a:pt x="4624575" y="4791777"/>
                  </a:cubicBezTo>
                  <a:cubicBezTo>
                    <a:pt x="4624575" y="4791777"/>
                    <a:pt x="4624575" y="4791777"/>
                    <a:pt x="269155" y="4791777"/>
                  </a:cubicBezTo>
                  <a:cubicBezTo>
                    <a:pt x="122344" y="4791777"/>
                    <a:pt x="0" y="4669538"/>
                    <a:pt x="0" y="4522851"/>
                  </a:cubicBezTo>
                  <a:cubicBezTo>
                    <a:pt x="0" y="4522851"/>
                    <a:pt x="0" y="4522851"/>
                    <a:pt x="0" y="268927"/>
                  </a:cubicBezTo>
                  <a:cubicBezTo>
                    <a:pt x="0" y="122239"/>
                    <a:pt x="122344" y="0"/>
                    <a:pt x="269155"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37148" tIns="109719" rIns="137148" bIns="109719"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699261"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9" name="Rectangle 88"/>
            <p:cNvSpPr/>
            <p:nvPr/>
          </p:nvSpPr>
          <p:spPr bwMode="auto">
            <a:xfrm rot="2745734">
              <a:off x="279530" y="1141266"/>
              <a:ext cx="1260714" cy="1255193"/>
            </a:xfrm>
            <a:prstGeom prst="rect">
              <a:avLst/>
            </a:prstGeom>
            <a:solidFill>
              <a:schemeClr val="tx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0" name="Rectangle 89"/>
            <p:cNvSpPr/>
            <p:nvPr/>
          </p:nvSpPr>
          <p:spPr bwMode="auto">
            <a:xfrm rot="2745734">
              <a:off x="292433" y="3819160"/>
              <a:ext cx="1610349" cy="1235003"/>
            </a:xfrm>
            <a:prstGeom prst="rect">
              <a:avLst/>
            </a:prstGeom>
            <a:solidFill>
              <a:schemeClr val="tx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2" name="Rectangle 91"/>
            <p:cNvSpPr/>
            <p:nvPr/>
          </p:nvSpPr>
          <p:spPr bwMode="auto">
            <a:xfrm rot="2745734">
              <a:off x="1315610" y="4915701"/>
              <a:ext cx="1263370" cy="1255989"/>
            </a:xfrm>
            <a:prstGeom prst="rect">
              <a:avLst/>
            </a:prstGeom>
            <a:solidFill>
              <a:schemeClr val="tx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40" name="TextBox 39"/>
          <p:cNvSpPr txBox="1"/>
          <p:nvPr/>
        </p:nvSpPr>
        <p:spPr>
          <a:xfrm>
            <a:off x="3" y="51415"/>
            <a:ext cx="2849058" cy="430887"/>
          </a:xfrm>
          <a:prstGeom prst="rect">
            <a:avLst/>
          </a:prstGeom>
        </p:spPr>
        <p:txBody>
          <a:bodyPr wrap="square">
            <a:spAutoFit/>
          </a:bodyPr>
          <a:lstStyle>
            <a:defPPr>
              <a:defRPr lang="en-US"/>
            </a:defPPr>
            <a:lvl1pPr defTabSz="914192">
              <a:defRPr sz="2800" b="1" spc="-100">
                <a:ln w="3175">
                  <a:noFill/>
                </a:ln>
                <a:solidFill>
                  <a:srgbClr val="F2C812"/>
                </a:solidFill>
                <a:latin typeface="Segoe UI" panose="020B0502040204020203" pitchFamily="34" charset="0"/>
                <a:ea typeface="ＭＳ Ｐゴシック" charset="0"/>
                <a:cs typeface="Segoe UI" panose="020B0502040204020203" pitchFamily="34" charset="0"/>
              </a:defRPr>
            </a:lvl1pPr>
          </a:lstStyle>
          <a:p>
            <a:pPr marL="0" marR="0" lvl="0" indent="0" algn="l" defTabSz="914192" rtl="0" eaLnBrk="1" fontAlgn="auto" latinLnBrk="0" hangingPunct="1">
              <a:lnSpc>
                <a:spcPct val="100000"/>
              </a:lnSpc>
              <a:spcBef>
                <a:spcPts val="0"/>
              </a:spcBef>
              <a:spcAft>
                <a:spcPts val="0"/>
              </a:spcAft>
              <a:buClrTx/>
              <a:buSzTx/>
              <a:buFontTx/>
              <a:buNone/>
              <a:tabLst/>
              <a:defRPr/>
            </a:pPr>
            <a:r>
              <a:rPr kumimoji="0" lang="en-US" sz="2200" b="1" i="0" u="none" strike="noStrike" kern="1200" cap="none" spc="-100" normalizeH="0" baseline="0" noProof="0">
                <a:ln w="3175">
                  <a:noFill/>
                </a:ln>
                <a:solidFill>
                  <a:srgbClr val="F2C812"/>
                </a:solidFill>
                <a:effectLst/>
                <a:uLnTx/>
                <a:uFillTx/>
                <a:latin typeface="Segoe UI Light"/>
                <a:ea typeface="ＭＳ Ｐゴシック" charset="0"/>
                <a:cs typeface="Segoe UI" panose="020B0502040204020203" pitchFamily="34" charset="0"/>
              </a:rPr>
              <a:t>Power BI Desktop</a:t>
            </a:r>
          </a:p>
        </p:txBody>
      </p:sp>
      <p:sp>
        <p:nvSpPr>
          <p:cNvPr id="41" name="Rectangle 40"/>
          <p:cNvSpPr/>
          <p:nvPr/>
        </p:nvSpPr>
        <p:spPr bwMode="auto">
          <a:xfrm rot="2745734">
            <a:off x="825067" y="3494250"/>
            <a:ext cx="1260714" cy="370170"/>
          </a:xfrm>
          <a:prstGeom prst="rect">
            <a:avLst/>
          </a:prstGeom>
          <a:solidFill>
            <a:schemeClr val="tx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7" name="Text Placeholder 2"/>
          <p:cNvSpPr txBox="1">
            <a:spLocks/>
          </p:cNvSpPr>
          <p:nvPr/>
        </p:nvSpPr>
        <p:spPr>
          <a:xfrm>
            <a:off x="3094188" y="1391581"/>
            <a:ext cx="5016659" cy="2357256"/>
          </a:xfrm>
          <a:prstGeom prst="rect">
            <a:avLst/>
          </a:prstGeom>
        </p:spPr>
        <p:txBody>
          <a:bodyPr vert="horz" wrap="square" lIns="182880" tIns="146304" rIns="182880" bIns="146304" rtlCol="0">
            <a:noAutofit/>
          </a:bodyPr>
          <a:lstStyle>
            <a:lvl1pPr marL="182845" marR="0"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3921" kern="1200" spc="0" baseline="0">
                <a:gradFill>
                  <a:gsLst>
                    <a:gs pos="1250">
                      <a:schemeClr val="tx2"/>
                    </a:gs>
                    <a:gs pos="99000">
                      <a:schemeClr val="tx2"/>
                    </a:gs>
                  </a:gsLst>
                  <a:lin ang="5400000" scaled="0"/>
                </a:gradFill>
                <a:latin typeface="+mj-lt"/>
                <a:ea typeface="+mn-ea"/>
                <a:cs typeface="+mn-cs"/>
              </a:defRPr>
            </a:lvl1pPr>
            <a:lvl2pPr marL="365690" marR="0"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2400" kern="1200" spc="0" baseline="0">
                <a:solidFill>
                  <a:schemeClr val="tx2"/>
                </a:solidFill>
                <a:latin typeface="+mj-lt"/>
                <a:ea typeface="+mn-ea"/>
                <a:cs typeface="+mn-cs"/>
              </a:defRPr>
            </a:lvl2pPr>
            <a:lvl3pPr marL="548535" marR="0"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2000" kern="1200" spc="0" baseline="0">
                <a:solidFill>
                  <a:schemeClr val="tx2"/>
                </a:solidFill>
                <a:latin typeface="+mj-lt"/>
                <a:ea typeface="+mn-ea"/>
                <a:cs typeface="+mn-cs"/>
              </a:defRPr>
            </a:lvl3pPr>
            <a:lvl4pPr marL="733802" marR="0" indent="-28569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1765" kern="1200" spc="0" baseline="0">
                <a:solidFill>
                  <a:schemeClr val="tx2"/>
                </a:solidFill>
                <a:latin typeface="+mn-lt"/>
                <a:ea typeface="+mn-ea"/>
                <a:cs typeface="+mn-cs"/>
              </a:defRPr>
            </a:lvl4pPr>
            <a:lvl5pPr marL="957856" marR="0" indent="-28569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1765" kern="1200" spc="0" baseline="0">
                <a:solidFill>
                  <a:schemeClr val="tx2"/>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r>
              <a:rPr kumimoji="0" lang="en-US" sz="2000" b="0" i="0" u="none" strike="noStrike" kern="1200" cap="none" spc="0" normalizeH="0" baseline="0" noProof="0">
                <a:ln>
                  <a:noFill/>
                </a:ln>
                <a:solidFill>
                  <a:srgbClr val="000000"/>
                </a:solidFill>
                <a:effectLst/>
                <a:uLnTx/>
                <a:uFillTx/>
                <a:latin typeface="Segoe UI Light"/>
                <a:ea typeface="+mn-ea"/>
                <a:cs typeface="+mn-cs"/>
              </a:rPr>
              <a:t>Use </a:t>
            </a:r>
            <a:r>
              <a:rPr kumimoji="0" lang="en-US" sz="2000" b="1" i="0" u="none" strike="noStrike" kern="1200" cap="none" spc="0" normalizeH="0" baseline="0" noProof="0">
                <a:ln>
                  <a:noFill/>
                </a:ln>
                <a:solidFill>
                  <a:srgbClr val="000000"/>
                </a:solidFill>
                <a:effectLst/>
                <a:uLnTx/>
                <a:uFillTx/>
                <a:latin typeface="Segoe UI Light"/>
                <a:ea typeface="+mn-ea"/>
                <a:cs typeface="+mn-cs"/>
              </a:rPr>
              <a:t>ArcGIS Maps</a:t>
            </a:r>
            <a:r>
              <a:rPr kumimoji="0" lang="en-US" sz="2000" b="0" i="0" u="none" strike="noStrike" kern="1200" cap="none" spc="0" normalizeH="0" baseline="0" noProof="0">
                <a:ln>
                  <a:noFill/>
                </a:ln>
                <a:solidFill>
                  <a:srgbClr val="000000"/>
                </a:solidFill>
                <a:effectLst/>
                <a:uLnTx/>
                <a:uFillTx/>
                <a:latin typeface="Segoe UI Light"/>
                <a:ea typeface="+mn-ea"/>
                <a:cs typeface="+mn-cs"/>
              </a:rPr>
              <a:t> for Power BI visual</a:t>
            </a: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0" i="0" u="none" strike="noStrike" kern="1200" cap="none" spc="0" normalizeH="0" baseline="0" noProof="0">
              <a:ln>
                <a:noFill/>
              </a:ln>
              <a:solidFill>
                <a:srgbClr val="000000"/>
              </a:solidFill>
              <a:effectLst/>
              <a:uLnTx/>
              <a:uFillTx/>
              <a:latin typeface="Segoe UI Light"/>
              <a:ea typeface="+mn-ea"/>
              <a:cs typeface="+mn-cs"/>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r>
              <a:rPr kumimoji="0" lang="en-US" sz="2000" b="0" i="0" u="none" strike="noStrike" kern="1200" cap="none" spc="0" normalizeH="0" baseline="0" noProof="0">
                <a:ln>
                  <a:noFill/>
                </a:ln>
                <a:solidFill>
                  <a:srgbClr val="000000"/>
                </a:solidFill>
                <a:effectLst/>
                <a:uLnTx/>
                <a:uFillTx/>
                <a:latin typeface="Segoe UI Light"/>
                <a:ea typeface="+mn-ea"/>
                <a:cs typeface="+mn-cs"/>
              </a:rPr>
              <a:t>To start using this </a:t>
            </a:r>
            <a:r>
              <a:rPr kumimoji="0" lang="en-US" sz="2000" b="1" i="0" u="none" strike="noStrike" kern="1200" cap="none" spc="0" normalizeH="0" baseline="0" noProof="0">
                <a:ln>
                  <a:noFill/>
                </a:ln>
                <a:solidFill>
                  <a:srgbClr val="000000"/>
                </a:solidFill>
                <a:effectLst/>
                <a:uLnTx/>
                <a:uFillTx/>
                <a:latin typeface="Segoe UI Light"/>
                <a:ea typeface="+mn-ea"/>
                <a:cs typeface="+mn-cs"/>
              </a:rPr>
              <a:t>preview feature</a:t>
            </a:r>
            <a:r>
              <a:rPr kumimoji="0" lang="en-US" sz="2000" b="0" i="0" u="none" strike="noStrike" kern="1200" cap="none" spc="0" normalizeH="0" baseline="0" noProof="0">
                <a:ln>
                  <a:noFill/>
                </a:ln>
                <a:solidFill>
                  <a:srgbClr val="000000"/>
                </a:solidFill>
                <a:effectLst/>
                <a:uLnTx/>
                <a:uFillTx/>
                <a:latin typeface="Segoe UI Light"/>
                <a:ea typeface="+mn-ea"/>
                <a:cs typeface="+mn-cs"/>
              </a:rPr>
              <a:t>, turn on ArcGIS Maps for Power BI</a:t>
            </a: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0" i="0" u="none" strike="noStrike" kern="1200" cap="none" spc="0" normalizeH="0" baseline="0" noProof="0">
              <a:ln>
                <a:noFill/>
              </a:ln>
              <a:solidFill>
                <a:srgbClr val="000000"/>
              </a:solidFill>
              <a:effectLst/>
              <a:uLnTx/>
              <a:uFillTx/>
              <a:latin typeface="Segoe UI Light"/>
              <a:ea typeface="+mn-ea"/>
              <a:cs typeface="+mn-cs"/>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r>
              <a:rPr kumimoji="0" lang="en-US" sz="2000" b="1" i="0" u="none" strike="noStrike" kern="1200" cap="none" spc="0" normalizeH="0" baseline="0" noProof="0">
                <a:ln>
                  <a:noFill/>
                </a:ln>
                <a:solidFill>
                  <a:srgbClr val="000000"/>
                </a:solidFill>
                <a:effectLst/>
                <a:uLnTx/>
                <a:uFillTx/>
                <a:latin typeface="Segoe UI Light"/>
                <a:ea typeface="+mn-ea"/>
                <a:cs typeface="+mn-cs"/>
              </a:rPr>
              <a:t>ESRI map icon </a:t>
            </a:r>
            <a:r>
              <a:rPr kumimoji="0" lang="en-US" sz="2000" b="0" i="0" u="none" strike="noStrike" kern="1200" cap="none" spc="0" normalizeH="0" baseline="0" noProof="0">
                <a:ln>
                  <a:noFill/>
                </a:ln>
                <a:solidFill>
                  <a:srgbClr val="000000"/>
                </a:solidFill>
                <a:effectLst/>
                <a:uLnTx/>
                <a:uFillTx/>
                <a:latin typeface="Segoe UI Light"/>
                <a:ea typeface="+mn-ea"/>
                <a:cs typeface="+mn-cs"/>
              </a:rPr>
              <a:t>on the visualization pane</a:t>
            </a: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0" i="0" u="none" strike="noStrike" kern="1200" cap="none" spc="0" normalizeH="0" baseline="0" noProof="0">
              <a:ln>
                <a:noFill/>
              </a:ln>
              <a:solidFill>
                <a:srgbClr val="000000"/>
              </a:solidFill>
              <a:effectLst/>
              <a:uLnTx/>
              <a:uFillTx/>
              <a:latin typeface="Segoe UI Light"/>
              <a:ea typeface="+mn-ea"/>
              <a:cs typeface="+mn-cs"/>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0" i="0" u="none" strike="noStrike" kern="1200" cap="none" spc="0" normalizeH="0" baseline="0" noProof="0">
              <a:ln>
                <a:noFill/>
              </a:ln>
              <a:solidFill>
                <a:srgbClr val="000000"/>
              </a:solidFill>
              <a:effectLst/>
              <a:uLnTx/>
              <a:uFillTx/>
              <a:latin typeface="Segoe UI Light"/>
              <a:ea typeface="+mn-ea"/>
              <a:cs typeface="+mn-cs"/>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0" i="0" u="none" strike="noStrike" kern="1200" cap="none" spc="0" normalizeH="0" baseline="0" noProof="0">
              <a:ln>
                <a:noFill/>
              </a:ln>
              <a:solidFill>
                <a:srgbClr val="000000"/>
              </a:solidFill>
              <a:effectLst/>
              <a:uLnTx/>
              <a:uFillTx/>
              <a:latin typeface="Segoe UI Light"/>
              <a:ea typeface="+mn-ea"/>
              <a:cs typeface="+mn-cs"/>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0" i="0" u="none" strike="noStrike" kern="1200" cap="none" spc="0" normalizeH="0" baseline="0" noProof="0">
              <a:ln>
                <a:noFill/>
              </a:ln>
              <a:solidFill>
                <a:srgbClr val="000000"/>
              </a:solidFill>
              <a:effectLst/>
              <a:uLnTx/>
              <a:uFillTx/>
              <a:latin typeface="Segoe UI Light"/>
              <a:ea typeface="+mn-ea"/>
              <a:cs typeface="+mn-cs"/>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0" i="0" u="none" strike="noStrike" kern="1200" cap="none" spc="0" normalizeH="0" baseline="0" noProof="0">
              <a:ln>
                <a:noFill/>
              </a:ln>
              <a:solidFill>
                <a:srgbClr val="000000"/>
              </a:solidFill>
              <a:effectLst/>
              <a:uLnTx/>
              <a:uFillTx/>
              <a:latin typeface="Segoe UI Light"/>
              <a:ea typeface="+mn-ea"/>
              <a:cs typeface="+mn-cs"/>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0" i="0" u="none" strike="noStrike" kern="1200" cap="none" spc="0" normalizeH="0" baseline="0" noProof="0">
              <a:ln>
                <a:noFill/>
              </a:ln>
              <a:solidFill>
                <a:srgbClr val="000000"/>
              </a:solidFill>
              <a:effectLst/>
              <a:uLnTx/>
              <a:uFillTx/>
              <a:latin typeface="Segoe UI Light"/>
              <a:ea typeface="+mn-ea"/>
              <a:cs typeface="+mn-cs"/>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0" i="0" u="none" strike="noStrike" kern="1200" cap="none" spc="0" normalizeH="0" baseline="0" noProof="0">
              <a:ln>
                <a:noFill/>
              </a:ln>
              <a:solidFill>
                <a:srgbClr val="000000"/>
              </a:solidFill>
              <a:effectLst/>
              <a:uLnTx/>
              <a:uFillTx/>
              <a:latin typeface="Segoe UI Light"/>
              <a:ea typeface="+mn-ea"/>
              <a:cs typeface="+mn-cs"/>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r>
              <a:rPr kumimoji="0" lang="en-US" sz="2000" b="1" i="0" u="none" strike="noStrike" kern="1200" cap="none" spc="0" normalizeH="0" baseline="0" noProof="0">
                <a:ln>
                  <a:noFill/>
                </a:ln>
                <a:solidFill>
                  <a:srgbClr val="000000"/>
                </a:solidFill>
                <a:effectLst/>
                <a:uLnTx/>
                <a:uFillTx/>
                <a:latin typeface="Segoe UI Light"/>
                <a:ea typeface="+mn-ea"/>
                <a:cs typeface="+mn-cs"/>
              </a:rPr>
              <a:t>Edit</a:t>
            </a:r>
            <a:r>
              <a:rPr kumimoji="0" lang="en-US" sz="2000" b="0" i="0" u="none" strike="noStrike" kern="1200" cap="none" spc="0" normalizeH="0" baseline="0" noProof="0">
                <a:ln>
                  <a:noFill/>
                </a:ln>
                <a:solidFill>
                  <a:srgbClr val="000000"/>
                </a:solidFill>
                <a:effectLst/>
                <a:uLnTx/>
                <a:uFillTx/>
                <a:latin typeface="Segoe UI Light"/>
                <a:ea typeface="+mn-ea"/>
                <a:cs typeface="+mn-cs"/>
              </a:rPr>
              <a:t> ESRI map</a:t>
            </a:r>
          </a:p>
        </p:txBody>
      </p:sp>
      <p:pic>
        <p:nvPicPr>
          <p:cNvPr id="5" name="Picture 4"/>
          <p:cNvPicPr>
            <a:picLocks noChangeAspect="1"/>
          </p:cNvPicPr>
          <p:nvPr/>
        </p:nvPicPr>
        <p:blipFill>
          <a:blip r:embed="rId3"/>
          <a:stretch>
            <a:fillRect/>
          </a:stretch>
        </p:blipFill>
        <p:spPr>
          <a:xfrm>
            <a:off x="4269149" y="3429001"/>
            <a:ext cx="2442197" cy="1964056"/>
          </a:xfrm>
          <a:prstGeom prst="rect">
            <a:avLst/>
          </a:prstGeom>
        </p:spPr>
      </p:pic>
      <p:sp>
        <p:nvSpPr>
          <p:cNvPr id="42" name="Rectangle 41"/>
          <p:cNvSpPr/>
          <p:nvPr/>
        </p:nvSpPr>
        <p:spPr bwMode="auto">
          <a:xfrm>
            <a:off x="5329803" y="4700113"/>
            <a:ext cx="322948" cy="288553"/>
          </a:xfrm>
          <a:prstGeom prst="rect">
            <a:avLst/>
          </a:prstGeom>
          <a:noFill/>
          <a:ln w="38100">
            <a:solidFill>
              <a:srgbClr val="FF00F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6" name="Picture 5"/>
          <p:cNvPicPr>
            <a:picLocks noChangeAspect="1"/>
          </p:cNvPicPr>
          <p:nvPr/>
        </p:nvPicPr>
        <p:blipFill>
          <a:blip r:embed="rId4"/>
          <a:stretch>
            <a:fillRect/>
          </a:stretch>
        </p:blipFill>
        <p:spPr>
          <a:xfrm>
            <a:off x="5652751" y="5486190"/>
            <a:ext cx="988234" cy="997385"/>
          </a:xfrm>
          <a:prstGeom prst="rect">
            <a:avLst/>
          </a:prstGeom>
        </p:spPr>
      </p:pic>
      <p:pic>
        <p:nvPicPr>
          <p:cNvPr id="7" name="Picture 6"/>
          <p:cNvPicPr>
            <a:picLocks noChangeAspect="1"/>
          </p:cNvPicPr>
          <p:nvPr/>
        </p:nvPicPr>
        <p:blipFill>
          <a:blip r:embed="rId5"/>
          <a:stretch>
            <a:fillRect/>
          </a:stretch>
        </p:blipFill>
        <p:spPr>
          <a:xfrm>
            <a:off x="7303513" y="3564583"/>
            <a:ext cx="4837657" cy="3204264"/>
          </a:xfrm>
          <a:prstGeom prst="rect">
            <a:avLst/>
          </a:prstGeom>
        </p:spPr>
      </p:pic>
      <p:sp>
        <p:nvSpPr>
          <p:cNvPr id="44" name="Right Arrow 43"/>
          <p:cNvSpPr/>
          <p:nvPr/>
        </p:nvSpPr>
        <p:spPr bwMode="auto">
          <a:xfrm>
            <a:off x="6666007" y="5785155"/>
            <a:ext cx="637506" cy="472838"/>
          </a:xfrm>
          <a:prstGeom prst="rightArrow">
            <a:avLst/>
          </a:prstGeom>
          <a:solidFill>
            <a:srgbClr val="FF00FF"/>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pt-PT"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8" name="Picture 7"/>
          <p:cNvPicPr>
            <a:picLocks noChangeAspect="1"/>
          </p:cNvPicPr>
          <p:nvPr/>
        </p:nvPicPr>
        <p:blipFill>
          <a:blip r:embed="rId6"/>
          <a:stretch>
            <a:fillRect/>
          </a:stretch>
        </p:blipFill>
        <p:spPr>
          <a:xfrm>
            <a:off x="8003968" y="890623"/>
            <a:ext cx="3929981" cy="2510568"/>
          </a:xfrm>
          <a:prstGeom prst="rect">
            <a:avLst/>
          </a:prstGeom>
        </p:spPr>
      </p:pic>
      <p:sp>
        <p:nvSpPr>
          <p:cNvPr id="46" name="Rectangle 45"/>
          <p:cNvSpPr/>
          <p:nvPr/>
        </p:nvSpPr>
        <p:spPr bwMode="auto">
          <a:xfrm>
            <a:off x="8926694" y="2726535"/>
            <a:ext cx="1591293" cy="258672"/>
          </a:xfrm>
          <a:prstGeom prst="rect">
            <a:avLst/>
          </a:prstGeom>
          <a:noFill/>
          <a:ln w="38100">
            <a:solidFill>
              <a:srgbClr val="FF00F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42735016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solidFill>
            <a:schemeClr val="bg1"/>
          </a:solidFill>
        </p:spPr>
        <p:txBody>
          <a:bodyPr/>
          <a:lstStyle/>
          <a:p>
            <a:r>
              <a:rPr lang="pt-PT">
                <a:solidFill>
                  <a:schemeClr val="tx1"/>
                </a:solidFill>
              </a:rPr>
              <a:t>Visualisations – Shape Maps (Preview)</a:t>
            </a:r>
            <a:endParaRPr lang="en-US" sz="3600">
              <a:solidFill>
                <a:schemeClr val="tx1"/>
              </a:solidFill>
            </a:endParaRPr>
          </a:p>
        </p:txBody>
      </p:sp>
      <p:grpSp>
        <p:nvGrpSpPr>
          <p:cNvPr id="52" name="Group 51"/>
          <p:cNvGrpSpPr/>
          <p:nvPr/>
        </p:nvGrpSpPr>
        <p:grpSpPr>
          <a:xfrm>
            <a:off x="2" y="1"/>
            <a:ext cx="2849058" cy="6858000"/>
            <a:chOff x="2" y="1"/>
            <a:chExt cx="2849058" cy="6858000"/>
          </a:xfrm>
        </p:grpSpPr>
        <p:sp>
          <p:nvSpPr>
            <p:cNvPr id="71" name="Rectangle 70"/>
            <p:cNvSpPr/>
            <p:nvPr/>
          </p:nvSpPr>
          <p:spPr bwMode="auto">
            <a:xfrm>
              <a:off x="2" y="1"/>
              <a:ext cx="2849058"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3" name="Oval 70"/>
            <p:cNvSpPr/>
            <p:nvPr/>
          </p:nvSpPr>
          <p:spPr>
            <a:xfrm>
              <a:off x="1413521" y="4951537"/>
              <a:ext cx="1119626" cy="1119626"/>
            </a:xfrm>
            <a:prstGeom prst="ellipse">
              <a:avLst/>
            </a:prstGeom>
            <a:solidFill>
              <a:srgbClr val="F2C812"/>
            </a:solidFill>
            <a:ln w="3175" cap="flat" cmpd="sng" algn="ctr">
              <a:noFill/>
              <a:prstDash val="solid"/>
            </a:ln>
            <a:effectLst/>
          </p:spPr>
          <p:txBody>
            <a:bodyPr vert="horz" wrap="none" lIns="0" tIns="45720" rIns="0" bIns="0" rtlCol="0" anchor="t"/>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Segoe UI"/>
                  <a:ea typeface="Segoe UI" pitchFamily="34" charset="0"/>
                  <a:cs typeface="Segoe UI" pitchFamily="34" charset="0"/>
                </a:rPr>
                <a:t>Share &amp;</a:t>
              </a:r>
            </a:p>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Segoe UI"/>
                  <a:ea typeface="Segoe UI" pitchFamily="34" charset="0"/>
                  <a:cs typeface="Segoe UI" pitchFamily="34" charset="0"/>
                </a:rPr>
                <a:t>collaborate </a:t>
              </a:r>
            </a:p>
          </p:txBody>
        </p:sp>
        <p:grpSp>
          <p:nvGrpSpPr>
            <p:cNvPr id="76" name="Group 38"/>
            <p:cNvGrpSpPr>
              <a:grpSpLocks noChangeAspect="1"/>
            </p:cNvGrpSpPr>
            <p:nvPr/>
          </p:nvGrpSpPr>
          <p:grpSpPr>
            <a:xfrm>
              <a:off x="676996" y="3930692"/>
              <a:ext cx="383905" cy="351536"/>
              <a:chOff x="4363684" y="5330386"/>
              <a:chExt cx="1409956" cy="1291077"/>
            </a:xfrm>
            <a:solidFill>
              <a:srgbClr val="217346"/>
            </a:solidFill>
          </p:grpSpPr>
          <p:sp>
            <p:nvSpPr>
              <p:cNvPr id="102" name="Donut 3"/>
              <p:cNvSpPr/>
              <p:nvPr/>
            </p:nvSpPr>
            <p:spPr bwMode="auto">
              <a:xfrm>
                <a:off x="4363684" y="5330386"/>
                <a:ext cx="1409956" cy="1291077"/>
              </a:xfrm>
              <a:custGeom>
                <a:avLst/>
                <a:gdLst/>
                <a:ahLst/>
                <a:cxnLst/>
                <a:rect l="l" t="t" r="r" b="b"/>
                <a:pathLst>
                  <a:path w="1409956" h="1291077">
                    <a:moveTo>
                      <a:pt x="956401" y="78410"/>
                    </a:moveTo>
                    <a:cubicBezTo>
                      <a:pt x="747518" y="78410"/>
                      <a:pt x="578184" y="247744"/>
                      <a:pt x="578184" y="456627"/>
                    </a:cubicBezTo>
                    <a:cubicBezTo>
                      <a:pt x="578184" y="665510"/>
                      <a:pt x="747518" y="834844"/>
                      <a:pt x="956401" y="834844"/>
                    </a:cubicBezTo>
                    <a:cubicBezTo>
                      <a:pt x="1165284" y="834844"/>
                      <a:pt x="1334618" y="665510"/>
                      <a:pt x="1334618" y="456627"/>
                    </a:cubicBezTo>
                    <a:cubicBezTo>
                      <a:pt x="1334618" y="247744"/>
                      <a:pt x="1165284" y="78410"/>
                      <a:pt x="956401" y="78410"/>
                    </a:cubicBezTo>
                    <a:close/>
                    <a:moveTo>
                      <a:pt x="952756" y="0"/>
                    </a:moveTo>
                    <a:cubicBezTo>
                      <a:pt x="1205261" y="0"/>
                      <a:pt x="1409956" y="204695"/>
                      <a:pt x="1409956" y="457200"/>
                    </a:cubicBezTo>
                    <a:cubicBezTo>
                      <a:pt x="1409956" y="709705"/>
                      <a:pt x="1205261" y="914400"/>
                      <a:pt x="952756" y="914400"/>
                    </a:cubicBezTo>
                    <a:cubicBezTo>
                      <a:pt x="862133" y="914400"/>
                      <a:pt x="777669" y="888034"/>
                      <a:pt x="707132" y="841746"/>
                    </a:cubicBezTo>
                    <a:lnTo>
                      <a:pt x="136495" y="1280102"/>
                    </a:lnTo>
                    <a:cubicBezTo>
                      <a:pt x="21896" y="1327168"/>
                      <a:pt x="-44029" y="1213730"/>
                      <a:pt x="33797" y="1113182"/>
                    </a:cubicBezTo>
                    <a:lnTo>
                      <a:pt x="568587" y="703518"/>
                    </a:lnTo>
                    <a:cubicBezTo>
                      <a:pt x="522087" y="632814"/>
                      <a:pt x="495556" y="548105"/>
                      <a:pt x="495556" y="457200"/>
                    </a:cubicBezTo>
                    <a:cubicBezTo>
                      <a:pt x="495556" y="204695"/>
                      <a:pt x="700251" y="0"/>
                      <a:pt x="952756" y="0"/>
                    </a:cubicBezTo>
                    <a:close/>
                  </a:path>
                </a:pathLst>
              </a:custGeom>
              <a:grpFill/>
              <a:ln>
                <a:solidFill>
                  <a:srgbClr val="21734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sp>
            <p:nvSpPr>
              <p:cNvPr id="103" name="Rectangle 4"/>
              <p:cNvSpPr/>
              <p:nvPr/>
            </p:nvSpPr>
            <p:spPr>
              <a:xfrm>
                <a:off x="5058389" y="5528247"/>
                <a:ext cx="490885" cy="490020"/>
              </a:xfrm>
              <a:custGeom>
                <a:avLst/>
                <a:gdLst/>
                <a:ahLst/>
                <a:cxnLst/>
                <a:rect l="l" t="t" r="r" b="b"/>
                <a:pathLst>
                  <a:path w="490885" h="490020">
                    <a:moveTo>
                      <a:pt x="240752" y="0"/>
                    </a:moveTo>
                    <a:cubicBezTo>
                      <a:pt x="253961" y="11844"/>
                      <a:pt x="293310" y="49692"/>
                      <a:pt x="337332" y="92439"/>
                    </a:cubicBezTo>
                    <a:lnTo>
                      <a:pt x="328342" y="81259"/>
                    </a:lnTo>
                    <a:cubicBezTo>
                      <a:pt x="356946" y="111282"/>
                      <a:pt x="377251" y="107167"/>
                      <a:pt x="382515" y="87941"/>
                    </a:cubicBezTo>
                    <a:cubicBezTo>
                      <a:pt x="383951" y="76921"/>
                      <a:pt x="384595" y="68732"/>
                      <a:pt x="396997" y="52239"/>
                    </a:cubicBezTo>
                    <a:cubicBezTo>
                      <a:pt x="420362" y="32084"/>
                      <a:pt x="442294" y="41736"/>
                      <a:pt x="454920" y="51330"/>
                    </a:cubicBezTo>
                    <a:cubicBezTo>
                      <a:pt x="467834" y="62761"/>
                      <a:pt x="477920" y="86882"/>
                      <a:pt x="460392" y="109714"/>
                    </a:cubicBezTo>
                    <a:cubicBezTo>
                      <a:pt x="451128" y="121912"/>
                      <a:pt x="437554" y="126838"/>
                      <a:pt x="425922" y="126505"/>
                    </a:cubicBezTo>
                    <a:cubicBezTo>
                      <a:pt x="424301" y="127609"/>
                      <a:pt x="382890" y="134974"/>
                      <a:pt x="427348" y="177672"/>
                    </a:cubicBezTo>
                    <a:lnTo>
                      <a:pt x="416886" y="169735"/>
                    </a:lnTo>
                    <a:cubicBezTo>
                      <a:pt x="450207" y="202177"/>
                      <a:pt x="478424" y="229744"/>
                      <a:pt x="490885" y="241900"/>
                    </a:cubicBezTo>
                    <a:lnTo>
                      <a:pt x="417150" y="317347"/>
                    </a:lnTo>
                    <a:cubicBezTo>
                      <a:pt x="417744" y="316535"/>
                      <a:pt x="418443" y="316123"/>
                      <a:pt x="419047" y="315822"/>
                    </a:cubicBezTo>
                    <a:cubicBezTo>
                      <a:pt x="389023" y="344426"/>
                      <a:pt x="393138" y="364731"/>
                      <a:pt x="412364" y="369995"/>
                    </a:cubicBezTo>
                    <a:cubicBezTo>
                      <a:pt x="423384" y="371431"/>
                      <a:pt x="431574" y="372075"/>
                      <a:pt x="448067" y="384477"/>
                    </a:cubicBezTo>
                    <a:cubicBezTo>
                      <a:pt x="468221" y="407842"/>
                      <a:pt x="458569" y="429774"/>
                      <a:pt x="448975" y="442400"/>
                    </a:cubicBezTo>
                    <a:cubicBezTo>
                      <a:pt x="437545" y="455314"/>
                      <a:pt x="413423" y="465400"/>
                      <a:pt x="390591" y="447872"/>
                    </a:cubicBezTo>
                    <a:cubicBezTo>
                      <a:pt x="378394" y="438608"/>
                      <a:pt x="373468" y="425034"/>
                      <a:pt x="373800" y="413402"/>
                    </a:cubicBezTo>
                    <a:cubicBezTo>
                      <a:pt x="372696" y="411781"/>
                      <a:pt x="365332" y="370370"/>
                      <a:pt x="322634" y="414828"/>
                    </a:cubicBezTo>
                    <a:lnTo>
                      <a:pt x="325243" y="411388"/>
                    </a:lnTo>
                    <a:lnTo>
                      <a:pt x="248395" y="490020"/>
                    </a:lnTo>
                    <a:cubicBezTo>
                      <a:pt x="208939" y="451897"/>
                      <a:pt x="199129" y="442073"/>
                      <a:pt x="174192" y="418236"/>
                    </a:cubicBezTo>
                    <a:cubicBezTo>
                      <a:pt x="145587" y="388212"/>
                      <a:pt x="125282" y="392327"/>
                      <a:pt x="120018" y="411553"/>
                    </a:cubicBezTo>
                    <a:cubicBezTo>
                      <a:pt x="118582" y="422573"/>
                      <a:pt x="117938" y="430763"/>
                      <a:pt x="105536" y="447256"/>
                    </a:cubicBezTo>
                    <a:cubicBezTo>
                      <a:pt x="82171" y="467410"/>
                      <a:pt x="60239" y="457758"/>
                      <a:pt x="47614" y="448164"/>
                    </a:cubicBezTo>
                    <a:cubicBezTo>
                      <a:pt x="34699" y="436734"/>
                      <a:pt x="24614" y="412612"/>
                      <a:pt x="42141" y="389780"/>
                    </a:cubicBezTo>
                    <a:cubicBezTo>
                      <a:pt x="51405" y="377583"/>
                      <a:pt x="64979" y="372657"/>
                      <a:pt x="76612" y="372989"/>
                    </a:cubicBezTo>
                    <a:cubicBezTo>
                      <a:pt x="78232" y="371886"/>
                      <a:pt x="119644" y="364521"/>
                      <a:pt x="75186" y="321823"/>
                    </a:cubicBezTo>
                    <a:cubicBezTo>
                      <a:pt x="58767" y="305402"/>
                      <a:pt x="23648" y="271235"/>
                      <a:pt x="0" y="248738"/>
                    </a:cubicBezTo>
                    <a:lnTo>
                      <a:pt x="77303" y="168146"/>
                    </a:lnTo>
                    <a:cubicBezTo>
                      <a:pt x="104269" y="140313"/>
                      <a:pt x="122130" y="156409"/>
                      <a:pt x="124388" y="175543"/>
                    </a:cubicBezTo>
                    <a:cubicBezTo>
                      <a:pt x="124457" y="182466"/>
                      <a:pt x="127106" y="193106"/>
                      <a:pt x="137575" y="203052"/>
                    </a:cubicBezTo>
                    <a:cubicBezTo>
                      <a:pt x="153931" y="220277"/>
                      <a:pt x="181252" y="217451"/>
                      <a:pt x="196721" y="201951"/>
                    </a:cubicBezTo>
                    <a:cubicBezTo>
                      <a:pt x="211961" y="185740"/>
                      <a:pt x="213057" y="157882"/>
                      <a:pt x="196146" y="142797"/>
                    </a:cubicBezTo>
                    <a:cubicBezTo>
                      <a:pt x="184301" y="132637"/>
                      <a:pt x="177155" y="131453"/>
                      <a:pt x="166513" y="129894"/>
                    </a:cubicBezTo>
                    <a:cubicBezTo>
                      <a:pt x="154522" y="129013"/>
                      <a:pt x="131185" y="112953"/>
                      <a:pt x="157905" y="85228"/>
                    </a:cubicBezTo>
                    <a:close/>
                  </a:path>
                </a:pathLst>
              </a:custGeom>
              <a:grpFill/>
              <a:ln>
                <a:solidFill>
                  <a:srgbClr val="21734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grpSp>
        <p:sp>
          <p:nvSpPr>
            <p:cNvPr id="77" name="Oval 47"/>
            <p:cNvSpPr/>
            <p:nvPr/>
          </p:nvSpPr>
          <p:spPr>
            <a:xfrm>
              <a:off x="388608" y="3710471"/>
              <a:ext cx="1119626" cy="1119626"/>
            </a:xfrm>
            <a:prstGeom prst="ellipse">
              <a:avLst/>
            </a:prstGeom>
            <a:solidFill>
              <a:srgbClr val="F2C812"/>
            </a:solidFill>
            <a:ln w="3175" cap="flat" cmpd="sng" algn="ctr">
              <a:noFill/>
              <a:prstDash val="solid"/>
            </a:ln>
            <a:effectLst/>
          </p:spPr>
          <p:txBody>
            <a:bodyPr vert="horz" wrap="none" lIns="0" tIns="45720" rIns="0" bIns="0" rtlCol="0" anchor="t"/>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Segoe UI"/>
                  <a:ea typeface="Segoe UI" pitchFamily="34" charset="0"/>
                  <a:cs typeface="Segoe UI" pitchFamily="34" charset="0"/>
                </a:rPr>
                <a:t>Report</a:t>
              </a:r>
            </a:p>
          </p:txBody>
        </p:sp>
        <p:sp>
          <p:nvSpPr>
            <p:cNvPr id="78" name="Oval 950"/>
            <p:cNvSpPr/>
            <p:nvPr/>
          </p:nvSpPr>
          <p:spPr>
            <a:xfrm>
              <a:off x="388608" y="1252295"/>
              <a:ext cx="1119626" cy="1119626"/>
            </a:xfrm>
            <a:prstGeom prst="ellipse">
              <a:avLst/>
            </a:prstGeom>
            <a:solidFill>
              <a:srgbClr val="F2C812"/>
            </a:solidFill>
            <a:ln w="3175" cap="flat" cmpd="sng" algn="ctr">
              <a:noFill/>
              <a:prstDash val="solid"/>
            </a:ln>
            <a:effectLst/>
          </p:spPr>
          <p:txBody>
            <a:bodyPr vert="horz" wrap="none" lIns="0" tIns="45720" rIns="0" bIns="0" rtlCol="0" anchor="t"/>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1" i="0" u="none" strike="noStrike" kern="1200" cap="none" spc="0" normalizeH="0" baseline="0" noProof="0">
                <a:ln>
                  <a:noFill/>
                </a:ln>
                <a:solidFill>
                  <a:srgbClr val="217346"/>
                </a:solidFill>
                <a:effectLst/>
                <a:uLnTx/>
                <a:uFillTx/>
                <a:latin typeface="Segoe UI"/>
                <a:ea typeface="Segoe UI" pitchFamily="34" charset="0"/>
                <a:cs typeface="Segoe UI" pitchFamily="34" charset="0"/>
              </a:endParaRPr>
            </a:p>
          </p:txBody>
        </p:sp>
        <p:grpSp>
          <p:nvGrpSpPr>
            <p:cNvPr id="79" name="Group 78"/>
            <p:cNvGrpSpPr/>
            <p:nvPr/>
          </p:nvGrpSpPr>
          <p:grpSpPr>
            <a:xfrm>
              <a:off x="1264851" y="3482890"/>
              <a:ext cx="292254" cy="354906"/>
              <a:chOff x="1296521" y="3253388"/>
              <a:chExt cx="292254" cy="354906"/>
            </a:xfrm>
            <a:solidFill>
              <a:srgbClr val="F2C812"/>
            </a:solidFill>
          </p:grpSpPr>
          <p:sp>
            <p:nvSpPr>
              <p:cNvPr id="99" name="Isosceles Triangle 98"/>
              <p:cNvSpPr/>
              <p:nvPr/>
            </p:nvSpPr>
            <p:spPr bwMode="auto">
              <a:xfrm rot="13636515">
                <a:off x="1461362" y="328936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0" name="Isosceles Triangle 99"/>
              <p:cNvSpPr/>
              <p:nvPr/>
            </p:nvSpPr>
            <p:spPr bwMode="auto">
              <a:xfrm rot="13636515">
                <a:off x="1357669" y="338258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1" name="Isosceles Triangle 100"/>
              <p:cNvSpPr/>
              <p:nvPr/>
            </p:nvSpPr>
            <p:spPr bwMode="auto">
              <a:xfrm rot="13636515">
                <a:off x="1260548" y="3480882"/>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80" name="Group 79"/>
            <p:cNvGrpSpPr/>
            <p:nvPr/>
          </p:nvGrpSpPr>
          <p:grpSpPr>
            <a:xfrm rot="15940603">
              <a:off x="1334576" y="2204404"/>
              <a:ext cx="292254" cy="354906"/>
              <a:chOff x="1296521" y="3253388"/>
              <a:chExt cx="292254" cy="354906"/>
            </a:xfrm>
            <a:solidFill>
              <a:srgbClr val="F2C812"/>
            </a:solidFill>
          </p:grpSpPr>
          <p:sp>
            <p:nvSpPr>
              <p:cNvPr id="96" name="Isosceles Triangle 95"/>
              <p:cNvSpPr/>
              <p:nvPr/>
            </p:nvSpPr>
            <p:spPr bwMode="auto">
              <a:xfrm rot="13636515">
                <a:off x="1461362" y="328936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7" name="Isosceles Triangle 96"/>
              <p:cNvSpPr/>
              <p:nvPr/>
            </p:nvSpPr>
            <p:spPr bwMode="auto">
              <a:xfrm rot="13636515">
                <a:off x="1357669" y="338258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8" name="Isosceles Triangle 97"/>
              <p:cNvSpPr/>
              <p:nvPr/>
            </p:nvSpPr>
            <p:spPr bwMode="auto">
              <a:xfrm rot="13636515">
                <a:off x="1260548" y="3480882"/>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81" name="Group 80"/>
            <p:cNvGrpSpPr/>
            <p:nvPr/>
          </p:nvGrpSpPr>
          <p:grpSpPr>
            <a:xfrm rot="16043978">
              <a:off x="1317220" y="4717577"/>
              <a:ext cx="292254" cy="354906"/>
              <a:chOff x="1296521" y="3253388"/>
              <a:chExt cx="292254" cy="354906"/>
            </a:xfrm>
            <a:solidFill>
              <a:srgbClr val="F2C812"/>
            </a:solidFill>
          </p:grpSpPr>
          <p:sp>
            <p:nvSpPr>
              <p:cNvPr id="93" name="Isosceles Triangle 92"/>
              <p:cNvSpPr/>
              <p:nvPr/>
            </p:nvSpPr>
            <p:spPr bwMode="auto">
              <a:xfrm rot="13636515">
                <a:off x="1461362" y="328936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4" name="Isosceles Triangle 93"/>
              <p:cNvSpPr/>
              <p:nvPr/>
            </p:nvSpPr>
            <p:spPr bwMode="auto">
              <a:xfrm rot="13636515">
                <a:off x="1357669" y="338258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5" name="Isosceles Triangle 94"/>
              <p:cNvSpPr/>
              <p:nvPr/>
            </p:nvSpPr>
            <p:spPr bwMode="auto">
              <a:xfrm rot="13636515">
                <a:off x="1260548" y="3480882"/>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82" name="Oval 36"/>
            <p:cNvSpPr/>
            <p:nvPr/>
          </p:nvSpPr>
          <p:spPr>
            <a:xfrm>
              <a:off x="1413521" y="2481383"/>
              <a:ext cx="1119626" cy="1119626"/>
            </a:xfrm>
            <a:prstGeom prst="ellipse">
              <a:avLst/>
            </a:prstGeom>
            <a:solidFill>
              <a:srgbClr val="F2C812"/>
            </a:solidFill>
            <a:ln w="3175" cap="flat" cmpd="sng" algn="ctr">
              <a:noFill/>
              <a:prstDash val="solid"/>
            </a:ln>
            <a:effectLst/>
          </p:spPr>
          <p:txBody>
            <a:bodyPr vert="horz" wrap="none" lIns="0" tIns="0" rIns="0" bIns="0" rtlCol="0" anchor="t"/>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400" b="1" i="0" u="none" strike="noStrike" kern="1200" cap="none" spc="0" normalizeH="0" baseline="0" noProof="0">
                <a:ln>
                  <a:noFill/>
                </a:ln>
                <a:solidFill>
                  <a:srgbClr val="217346"/>
                </a:solidFill>
                <a:effectLst/>
                <a:uLnTx/>
                <a:uFillTx/>
                <a:latin typeface="Segoe UI"/>
                <a:ea typeface="Segoe UI" pitchFamily="34" charset="0"/>
                <a:cs typeface="Segoe UI" pitchFamily="34" charset="0"/>
              </a:endParaRPr>
            </a:p>
          </p:txBody>
        </p:sp>
        <p:sp>
          <p:nvSpPr>
            <p:cNvPr id="83" name="Donut 3"/>
            <p:cNvSpPr/>
            <p:nvPr/>
          </p:nvSpPr>
          <p:spPr bwMode="auto">
            <a:xfrm>
              <a:off x="1742065" y="3002355"/>
              <a:ext cx="383905" cy="351537"/>
            </a:xfrm>
            <a:custGeom>
              <a:avLst/>
              <a:gdLst/>
              <a:ahLst/>
              <a:cxnLst/>
              <a:rect l="l" t="t" r="r" b="b"/>
              <a:pathLst>
                <a:path w="1409956" h="1291077">
                  <a:moveTo>
                    <a:pt x="956401" y="78410"/>
                  </a:moveTo>
                  <a:cubicBezTo>
                    <a:pt x="747518" y="78410"/>
                    <a:pt x="578184" y="247744"/>
                    <a:pt x="578184" y="456627"/>
                  </a:cubicBezTo>
                  <a:cubicBezTo>
                    <a:pt x="578184" y="665510"/>
                    <a:pt x="747518" y="834844"/>
                    <a:pt x="956401" y="834844"/>
                  </a:cubicBezTo>
                  <a:cubicBezTo>
                    <a:pt x="1165284" y="834844"/>
                    <a:pt x="1334618" y="665510"/>
                    <a:pt x="1334618" y="456627"/>
                  </a:cubicBezTo>
                  <a:cubicBezTo>
                    <a:pt x="1334618" y="247744"/>
                    <a:pt x="1165284" y="78410"/>
                    <a:pt x="956401" y="78410"/>
                  </a:cubicBezTo>
                  <a:close/>
                  <a:moveTo>
                    <a:pt x="952756" y="0"/>
                  </a:moveTo>
                  <a:cubicBezTo>
                    <a:pt x="1205261" y="0"/>
                    <a:pt x="1409956" y="204695"/>
                    <a:pt x="1409956" y="457200"/>
                  </a:cubicBezTo>
                  <a:cubicBezTo>
                    <a:pt x="1409956" y="709705"/>
                    <a:pt x="1205261" y="914400"/>
                    <a:pt x="952756" y="914400"/>
                  </a:cubicBezTo>
                  <a:cubicBezTo>
                    <a:pt x="862133" y="914400"/>
                    <a:pt x="777669" y="888034"/>
                    <a:pt x="707132" y="841746"/>
                  </a:cubicBezTo>
                  <a:lnTo>
                    <a:pt x="136495" y="1280102"/>
                  </a:lnTo>
                  <a:cubicBezTo>
                    <a:pt x="21896" y="1327168"/>
                    <a:pt x="-44029" y="1213730"/>
                    <a:pt x="33797" y="1113182"/>
                  </a:cubicBezTo>
                  <a:lnTo>
                    <a:pt x="568587" y="703518"/>
                  </a:lnTo>
                  <a:cubicBezTo>
                    <a:pt x="522087" y="632814"/>
                    <a:pt x="495556" y="548105"/>
                    <a:pt x="495556" y="457200"/>
                  </a:cubicBezTo>
                  <a:cubicBezTo>
                    <a:pt x="495556" y="204695"/>
                    <a:pt x="700251" y="0"/>
                    <a:pt x="952756" y="0"/>
                  </a:cubicBezTo>
                  <a:close/>
                </a:path>
              </a:pathLst>
            </a:cu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sp>
          <p:nvSpPr>
            <p:cNvPr id="84" name="Rectangle 83"/>
            <p:cNvSpPr/>
            <p:nvPr/>
          </p:nvSpPr>
          <p:spPr>
            <a:xfrm>
              <a:off x="1600398" y="2677430"/>
              <a:ext cx="820353" cy="307777"/>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Segoe UI"/>
                  <a:ea typeface="Segoe UI" pitchFamily="34" charset="0"/>
                  <a:cs typeface="Segoe UI" pitchFamily="34" charset="0"/>
                </a:rPr>
                <a:t>Explore</a:t>
              </a:r>
              <a:endParaRPr kumimoji="0" lang="en-US" sz="1600" b="0" i="0" u="none" strike="noStrike" kern="1200" cap="none" spc="0" normalizeH="0" baseline="0" noProof="0">
                <a:ln>
                  <a:noFill/>
                </a:ln>
                <a:solidFill>
                  <a:srgbClr val="000000"/>
                </a:solidFill>
                <a:effectLst/>
                <a:uLnTx/>
                <a:uFillTx/>
                <a:latin typeface="Segoe UI"/>
                <a:ea typeface="+mn-ea"/>
                <a:cs typeface="+mn-cs"/>
              </a:endParaRPr>
            </a:p>
          </p:txBody>
        </p:sp>
        <p:sp>
          <p:nvSpPr>
            <p:cNvPr id="85" name="Rectangle 84"/>
            <p:cNvSpPr/>
            <p:nvPr/>
          </p:nvSpPr>
          <p:spPr>
            <a:xfrm>
              <a:off x="509174" y="1475232"/>
              <a:ext cx="838756" cy="307777"/>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Segoe UI"/>
                  <a:ea typeface="Segoe UI" pitchFamily="34" charset="0"/>
                  <a:cs typeface="Segoe UI" pitchFamily="34" charset="0"/>
                </a:rPr>
                <a:t>Prepare</a:t>
              </a: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86" name="Freeform 85"/>
            <p:cNvSpPr>
              <a:spLocks noChangeAspect="1"/>
            </p:cNvSpPr>
            <p:nvPr/>
          </p:nvSpPr>
          <p:spPr bwMode="black">
            <a:xfrm>
              <a:off x="1836174" y="5643069"/>
              <a:ext cx="274320" cy="284173"/>
            </a:xfrm>
            <a:custGeom>
              <a:avLst/>
              <a:gdLst>
                <a:gd name="T0" fmla="*/ 539 w 669"/>
                <a:gd name="T1" fmla="*/ 5 h 693"/>
                <a:gd name="T2" fmla="*/ 640 w 669"/>
                <a:gd name="T3" fmla="*/ 55 h 693"/>
                <a:gd name="T4" fmla="*/ 603 w 669"/>
                <a:gd name="T5" fmla="*/ 195 h 693"/>
                <a:gd name="T6" fmla="*/ 490 w 669"/>
                <a:gd name="T7" fmla="*/ 188 h 693"/>
                <a:gd name="T8" fmla="*/ 479 w 669"/>
                <a:gd name="T9" fmla="*/ 176 h 693"/>
                <a:gd name="T10" fmla="*/ 213 w 669"/>
                <a:gd name="T11" fmla="*/ 330 h 693"/>
                <a:gd name="T12" fmla="*/ 218 w 669"/>
                <a:gd name="T13" fmla="*/ 345 h 693"/>
                <a:gd name="T14" fmla="*/ 218 w 669"/>
                <a:gd name="T15" fmla="*/ 375 h 693"/>
                <a:gd name="T16" fmla="*/ 209 w 669"/>
                <a:gd name="T17" fmla="*/ 402 h 693"/>
                <a:gd name="T18" fmla="*/ 369 w 669"/>
                <a:gd name="T19" fmla="*/ 503 h 693"/>
                <a:gd name="T20" fmla="*/ 373 w 669"/>
                <a:gd name="T21" fmla="*/ 498 h 693"/>
                <a:gd name="T22" fmla="*/ 456 w 669"/>
                <a:gd name="T23" fmla="*/ 475 h 693"/>
                <a:gd name="T24" fmla="*/ 494 w 669"/>
                <a:gd name="T25" fmla="*/ 489 h 693"/>
                <a:gd name="T26" fmla="*/ 527 w 669"/>
                <a:gd name="T27" fmla="*/ 630 h 693"/>
                <a:gd name="T28" fmla="*/ 386 w 669"/>
                <a:gd name="T29" fmla="*/ 663 h 693"/>
                <a:gd name="T30" fmla="*/ 339 w 669"/>
                <a:gd name="T31" fmla="*/ 560 h 693"/>
                <a:gd name="T32" fmla="*/ 345 w 669"/>
                <a:gd name="T33" fmla="*/ 544 h 693"/>
                <a:gd name="T34" fmla="*/ 177 w 669"/>
                <a:gd name="T35" fmla="*/ 439 h 693"/>
                <a:gd name="T36" fmla="*/ 168 w 669"/>
                <a:gd name="T37" fmla="*/ 446 h 693"/>
                <a:gd name="T38" fmla="*/ 28 w 669"/>
                <a:gd name="T39" fmla="*/ 409 h 693"/>
                <a:gd name="T40" fmla="*/ 65 w 669"/>
                <a:gd name="T41" fmla="*/ 269 h 693"/>
                <a:gd name="T42" fmla="*/ 178 w 669"/>
                <a:gd name="T43" fmla="*/ 276 h 693"/>
                <a:gd name="T44" fmla="*/ 189 w 669"/>
                <a:gd name="T45" fmla="*/ 288 h 693"/>
                <a:gd name="T46" fmla="*/ 455 w 669"/>
                <a:gd name="T47" fmla="*/ 134 h 693"/>
                <a:gd name="T48" fmla="*/ 450 w 669"/>
                <a:gd name="T49" fmla="*/ 119 h 693"/>
                <a:gd name="T50" fmla="*/ 501 w 669"/>
                <a:gd name="T51" fmla="*/ 18 h 693"/>
                <a:gd name="T52" fmla="*/ 539 w 669"/>
                <a:gd name="T53" fmla="*/ 5 h 6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69" h="693">
                  <a:moveTo>
                    <a:pt x="539" y="5"/>
                  </a:moveTo>
                  <a:cubicBezTo>
                    <a:pt x="579" y="0"/>
                    <a:pt x="619" y="19"/>
                    <a:pt x="640" y="55"/>
                  </a:cubicBezTo>
                  <a:cubicBezTo>
                    <a:pt x="669" y="104"/>
                    <a:pt x="652" y="167"/>
                    <a:pt x="603" y="195"/>
                  </a:cubicBezTo>
                  <a:cubicBezTo>
                    <a:pt x="566" y="216"/>
                    <a:pt x="522" y="212"/>
                    <a:pt x="490" y="188"/>
                  </a:cubicBezTo>
                  <a:cubicBezTo>
                    <a:pt x="479" y="176"/>
                    <a:pt x="479" y="176"/>
                    <a:pt x="479" y="176"/>
                  </a:cubicBezTo>
                  <a:cubicBezTo>
                    <a:pt x="213" y="330"/>
                    <a:pt x="213" y="330"/>
                    <a:pt x="213" y="330"/>
                  </a:cubicBezTo>
                  <a:cubicBezTo>
                    <a:pt x="218" y="345"/>
                    <a:pt x="218" y="345"/>
                    <a:pt x="218" y="345"/>
                  </a:cubicBezTo>
                  <a:cubicBezTo>
                    <a:pt x="219" y="355"/>
                    <a:pt x="219" y="365"/>
                    <a:pt x="218" y="375"/>
                  </a:cubicBezTo>
                  <a:cubicBezTo>
                    <a:pt x="209" y="402"/>
                    <a:pt x="209" y="402"/>
                    <a:pt x="209" y="402"/>
                  </a:cubicBezTo>
                  <a:cubicBezTo>
                    <a:pt x="369" y="503"/>
                    <a:pt x="369" y="503"/>
                    <a:pt x="369" y="503"/>
                  </a:cubicBezTo>
                  <a:cubicBezTo>
                    <a:pt x="373" y="498"/>
                    <a:pt x="373" y="498"/>
                    <a:pt x="373" y="498"/>
                  </a:cubicBezTo>
                  <a:cubicBezTo>
                    <a:pt x="396" y="479"/>
                    <a:pt x="427" y="470"/>
                    <a:pt x="456" y="475"/>
                  </a:cubicBezTo>
                  <a:cubicBezTo>
                    <a:pt x="470" y="477"/>
                    <a:pt x="482" y="482"/>
                    <a:pt x="494" y="489"/>
                  </a:cubicBezTo>
                  <a:cubicBezTo>
                    <a:pt x="542" y="519"/>
                    <a:pt x="557" y="583"/>
                    <a:pt x="527" y="630"/>
                  </a:cubicBezTo>
                  <a:cubicBezTo>
                    <a:pt x="497" y="678"/>
                    <a:pt x="433" y="693"/>
                    <a:pt x="386" y="663"/>
                  </a:cubicBezTo>
                  <a:cubicBezTo>
                    <a:pt x="350" y="640"/>
                    <a:pt x="333" y="599"/>
                    <a:pt x="339" y="560"/>
                  </a:cubicBezTo>
                  <a:cubicBezTo>
                    <a:pt x="345" y="544"/>
                    <a:pt x="345" y="544"/>
                    <a:pt x="345" y="544"/>
                  </a:cubicBezTo>
                  <a:cubicBezTo>
                    <a:pt x="177" y="439"/>
                    <a:pt x="177" y="439"/>
                    <a:pt x="177" y="439"/>
                  </a:cubicBezTo>
                  <a:cubicBezTo>
                    <a:pt x="168" y="446"/>
                    <a:pt x="168" y="446"/>
                    <a:pt x="168" y="446"/>
                  </a:cubicBezTo>
                  <a:cubicBezTo>
                    <a:pt x="119" y="475"/>
                    <a:pt x="56" y="458"/>
                    <a:pt x="28" y="409"/>
                  </a:cubicBezTo>
                  <a:cubicBezTo>
                    <a:pt x="0" y="360"/>
                    <a:pt x="16" y="297"/>
                    <a:pt x="65" y="269"/>
                  </a:cubicBezTo>
                  <a:cubicBezTo>
                    <a:pt x="102" y="248"/>
                    <a:pt x="147" y="252"/>
                    <a:pt x="178" y="276"/>
                  </a:cubicBezTo>
                  <a:cubicBezTo>
                    <a:pt x="189" y="288"/>
                    <a:pt x="189" y="288"/>
                    <a:pt x="189" y="288"/>
                  </a:cubicBezTo>
                  <a:cubicBezTo>
                    <a:pt x="455" y="134"/>
                    <a:pt x="455" y="134"/>
                    <a:pt x="455" y="134"/>
                  </a:cubicBezTo>
                  <a:cubicBezTo>
                    <a:pt x="450" y="119"/>
                    <a:pt x="450" y="119"/>
                    <a:pt x="450" y="119"/>
                  </a:cubicBezTo>
                  <a:cubicBezTo>
                    <a:pt x="445" y="80"/>
                    <a:pt x="464" y="39"/>
                    <a:pt x="501" y="18"/>
                  </a:cubicBezTo>
                  <a:cubicBezTo>
                    <a:pt x="513" y="11"/>
                    <a:pt x="526" y="6"/>
                    <a:pt x="539" y="5"/>
                  </a:cubicBezTo>
                  <a:close/>
                </a:path>
              </a:pathLst>
            </a:custGeom>
            <a:solidFill>
              <a:schemeClr val="tx1"/>
            </a:solidFill>
            <a:ln>
              <a:noFill/>
            </a:ln>
          </p:spPr>
          <p:txBody>
            <a:bodyPr vert="horz" wrap="square" lIns="68574" tIns="34287" rIns="68574" bIns="34287"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0000"/>
                </a:solidFill>
                <a:effectLst/>
                <a:uLnTx/>
                <a:uFillTx/>
                <a:latin typeface="Segoe UI"/>
                <a:ea typeface="+mn-ea"/>
                <a:cs typeface="+mn-cs"/>
              </a:endParaRPr>
            </a:p>
          </p:txBody>
        </p:sp>
        <p:sp>
          <p:nvSpPr>
            <p:cNvPr id="87" name="Freeform 86"/>
            <p:cNvSpPr>
              <a:spLocks noChangeAspect="1" noEditPoints="1"/>
            </p:cNvSpPr>
            <p:nvPr/>
          </p:nvSpPr>
          <p:spPr bwMode="black">
            <a:xfrm>
              <a:off x="722320" y="1783009"/>
              <a:ext cx="452202" cy="366660"/>
            </a:xfrm>
            <a:custGeom>
              <a:avLst/>
              <a:gdLst>
                <a:gd name="T0" fmla="*/ 600 w 1107"/>
                <a:gd name="T1" fmla="*/ 625 h 897"/>
                <a:gd name="T2" fmla="*/ 649 w 1107"/>
                <a:gd name="T3" fmla="*/ 567 h 897"/>
                <a:gd name="T4" fmla="*/ 727 w 1107"/>
                <a:gd name="T5" fmla="*/ 482 h 897"/>
                <a:gd name="T6" fmla="*/ 601 w 1107"/>
                <a:gd name="T7" fmla="*/ 434 h 897"/>
                <a:gd name="T8" fmla="*/ 628 w 1107"/>
                <a:gd name="T9" fmla="*/ 305 h 897"/>
                <a:gd name="T10" fmla="*/ 547 w 1107"/>
                <a:gd name="T11" fmla="*/ 240 h 897"/>
                <a:gd name="T12" fmla="*/ 427 w 1107"/>
                <a:gd name="T13" fmla="*/ 287 h 897"/>
                <a:gd name="T14" fmla="*/ 368 w 1107"/>
                <a:gd name="T15" fmla="*/ 170 h 897"/>
                <a:gd name="T16" fmla="*/ 285 w 1107"/>
                <a:gd name="T17" fmla="*/ 263 h 897"/>
                <a:gd name="T18" fmla="*/ 241 w 1107"/>
                <a:gd name="T19" fmla="*/ 313 h 897"/>
                <a:gd name="T20" fmla="*/ 139 w 1107"/>
                <a:gd name="T21" fmla="*/ 281 h 897"/>
                <a:gd name="T22" fmla="*/ 79 w 1107"/>
                <a:gd name="T23" fmla="*/ 355 h 897"/>
                <a:gd name="T24" fmla="*/ 132 w 1107"/>
                <a:gd name="T25" fmla="*/ 446 h 897"/>
                <a:gd name="T26" fmla="*/ 83 w 1107"/>
                <a:gd name="T27" fmla="*/ 505 h 897"/>
                <a:gd name="T28" fmla="*/ 5 w 1107"/>
                <a:gd name="T29" fmla="*/ 590 h 897"/>
                <a:gd name="T30" fmla="*/ 132 w 1107"/>
                <a:gd name="T31" fmla="*/ 638 h 897"/>
                <a:gd name="T32" fmla="*/ 145 w 1107"/>
                <a:gd name="T33" fmla="*/ 669 h 897"/>
                <a:gd name="T34" fmla="*/ 110 w 1107"/>
                <a:gd name="T35" fmla="*/ 793 h 897"/>
                <a:gd name="T36" fmla="*/ 230 w 1107"/>
                <a:gd name="T37" fmla="*/ 781 h 897"/>
                <a:gd name="T38" fmla="*/ 306 w 1107"/>
                <a:gd name="T39" fmla="*/ 785 h 897"/>
                <a:gd name="T40" fmla="*/ 346 w 1107"/>
                <a:gd name="T41" fmla="*/ 878 h 897"/>
                <a:gd name="T42" fmla="*/ 440 w 1107"/>
                <a:gd name="T43" fmla="*/ 872 h 897"/>
                <a:gd name="T44" fmla="*/ 466 w 1107"/>
                <a:gd name="T45" fmla="*/ 764 h 897"/>
                <a:gd name="T46" fmla="*/ 539 w 1107"/>
                <a:gd name="T47" fmla="*/ 755 h 897"/>
                <a:gd name="T48" fmla="*/ 659 w 1107"/>
                <a:gd name="T49" fmla="*/ 743 h 897"/>
                <a:gd name="T50" fmla="*/ 263 w 1107"/>
                <a:gd name="T51" fmla="*/ 452 h 897"/>
                <a:gd name="T52" fmla="*/ 281 w 1107"/>
                <a:gd name="T53" fmla="*/ 633 h 897"/>
                <a:gd name="T54" fmla="*/ 1002 w 1107"/>
                <a:gd name="T55" fmla="*/ 332 h 897"/>
                <a:gd name="T56" fmla="*/ 1043 w 1107"/>
                <a:gd name="T57" fmla="*/ 304 h 897"/>
                <a:gd name="T58" fmla="*/ 1107 w 1107"/>
                <a:gd name="T59" fmla="*/ 266 h 897"/>
                <a:gd name="T60" fmla="*/ 1037 w 1107"/>
                <a:gd name="T61" fmla="*/ 213 h 897"/>
                <a:gd name="T62" fmla="*/ 1077 w 1107"/>
                <a:gd name="T63" fmla="*/ 138 h 897"/>
                <a:gd name="T64" fmla="*/ 1038 w 1107"/>
                <a:gd name="T65" fmla="*/ 83 h 897"/>
                <a:gd name="T66" fmla="*/ 956 w 1107"/>
                <a:gd name="T67" fmla="*/ 91 h 897"/>
                <a:gd name="T68" fmla="*/ 940 w 1107"/>
                <a:gd name="T69" fmla="*/ 7 h 897"/>
                <a:gd name="T70" fmla="*/ 872 w 1107"/>
                <a:gd name="T71" fmla="*/ 50 h 897"/>
                <a:gd name="T72" fmla="*/ 836 w 1107"/>
                <a:gd name="T73" fmla="*/ 74 h 897"/>
                <a:gd name="T74" fmla="*/ 778 w 1107"/>
                <a:gd name="T75" fmla="*/ 35 h 897"/>
                <a:gd name="T76" fmla="*/ 728 w 1107"/>
                <a:gd name="T77" fmla="*/ 70 h 897"/>
                <a:gd name="T78" fmla="*/ 744 w 1107"/>
                <a:gd name="T79" fmla="*/ 136 h 897"/>
                <a:gd name="T80" fmla="*/ 703 w 1107"/>
                <a:gd name="T81" fmla="*/ 164 h 897"/>
                <a:gd name="T82" fmla="*/ 640 w 1107"/>
                <a:gd name="T83" fmla="*/ 203 h 897"/>
                <a:gd name="T84" fmla="*/ 710 w 1107"/>
                <a:gd name="T85" fmla="*/ 255 h 897"/>
                <a:gd name="T86" fmla="*/ 712 w 1107"/>
                <a:gd name="T87" fmla="*/ 277 h 897"/>
                <a:gd name="T88" fmla="*/ 668 w 1107"/>
                <a:gd name="T89" fmla="*/ 347 h 897"/>
                <a:gd name="T90" fmla="*/ 745 w 1107"/>
                <a:gd name="T91" fmla="*/ 361 h 897"/>
                <a:gd name="T92" fmla="*/ 791 w 1107"/>
                <a:gd name="T93" fmla="*/ 377 h 897"/>
                <a:gd name="T94" fmla="*/ 799 w 1107"/>
                <a:gd name="T95" fmla="*/ 443 h 897"/>
                <a:gd name="T96" fmla="*/ 859 w 1107"/>
                <a:gd name="T97" fmla="*/ 456 h 897"/>
                <a:gd name="T98" fmla="*/ 894 w 1107"/>
                <a:gd name="T99" fmla="*/ 393 h 897"/>
                <a:gd name="T100" fmla="*/ 941 w 1107"/>
                <a:gd name="T101" fmla="*/ 401 h 897"/>
                <a:gd name="T102" fmla="*/ 1018 w 1107"/>
                <a:gd name="T103" fmla="*/ 415 h 897"/>
                <a:gd name="T104" fmla="*/ 825 w 1107"/>
                <a:gd name="T105" fmla="*/ 164 h 897"/>
                <a:gd name="T106" fmla="*/ 803 w 1107"/>
                <a:gd name="T107" fmla="*/ 279 h 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107" h="897">
                  <a:moveTo>
                    <a:pt x="654" y="716"/>
                  </a:moveTo>
                  <a:cubicBezTo>
                    <a:pt x="616" y="670"/>
                    <a:pt x="616" y="670"/>
                    <a:pt x="616" y="670"/>
                  </a:cubicBezTo>
                  <a:cubicBezTo>
                    <a:pt x="593" y="654"/>
                    <a:pt x="603" y="638"/>
                    <a:pt x="600" y="625"/>
                  </a:cubicBezTo>
                  <a:cubicBezTo>
                    <a:pt x="600" y="625"/>
                    <a:pt x="600" y="625"/>
                    <a:pt x="600" y="625"/>
                  </a:cubicBezTo>
                  <a:cubicBezTo>
                    <a:pt x="605" y="617"/>
                    <a:pt x="611" y="609"/>
                    <a:pt x="608" y="596"/>
                  </a:cubicBezTo>
                  <a:cubicBezTo>
                    <a:pt x="618" y="580"/>
                    <a:pt x="623" y="572"/>
                    <a:pt x="649" y="567"/>
                  </a:cubicBezTo>
                  <a:cubicBezTo>
                    <a:pt x="715" y="553"/>
                    <a:pt x="715" y="553"/>
                    <a:pt x="715" y="553"/>
                  </a:cubicBezTo>
                  <a:cubicBezTo>
                    <a:pt x="728" y="550"/>
                    <a:pt x="733" y="542"/>
                    <a:pt x="730" y="529"/>
                  </a:cubicBezTo>
                  <a:cubicBezTo>
                    <a:pt x="727" y="482"/>
                    <a:pt x="727" y="482"/>
                    <a:pt x="727" y="482"/>
                  </a:cubicBezTo>
                  <a:cubicBezTo>
                    <a:pt x="724" y="469"/>
                    <a:pt x="717" y="463"/>
                    <a:pt x="701" y="453"/>
                  </a:cubicBezTo>
                  <a:cubicBezTo>
                    <a:pt x="641" y="459"/>
                    <a:pt x="641" y="459"/>
                    <a:pt x="641" y="459"/>
                  </a:cubicBezTo>
                  <a:cubicBezTo>
                    <a:pt x="620" y="457"/>
                    <a:pt x="604" y="447"/>
                    <a:pt x="601" y="434"/>
                  </a:cubicBezTo>
                  <a:cubicBezTo>
                    <a:pt x="598" y="421"/>
                    <a:pt x="590" y="416"/>
                    <a:pt x="580" y="397"/>
                  </a:cubicBezTo>
                  <a:cubicBezTo>
                    <a:pt x="577" y="384"/>
                    <a:pt x="574" y="371"/>
                    <a:pt x="584" y="355"/>
                  </a:cubicBezTo>
                  <a:cubicBezTo>
                    <a:pt x="628" y="305"/>
                    <a:pt x="628" y="305"/>
                    <a:pt x="628" y="305"/>
                  </a:cubicBezTo>
                  <a:cubicBezTo>
                    <a:pt x="634" y="297"/>
                    <a:pt x="631" y="284"/>
                    <a:pt x="623" y="279"/>
                  </a:cubicBezTo>
                  <a:cubicBezTo>
                    <a:pt x="581" y="240"/>
                    <a:pt x="581" y="240"/>
                    <a:pt x="581" y="240"/>
                  </a:cubicBezTo>
                  <a:cubicBezTo>
                    <a:pt x="573" y="235"/>
                    <a:pt x="560" y="238"/>
                    <a:pt x="547" y="240"/>
                  </a:cubicBezTo>
                  <a:cubicBezTo>
                    <a:pt x="503" y="291"/>
                    <a:pt x="503" y="291"/>
                    <a:pt x="503" y="291"/>
                  </a:cubicBezTo>
                  <a:cubicBezTo>
                    <a:pt x="484" y="302"/>
                    <a:pt x="471" y="304"/>
                    <a:pt x="463" y="299"/>
                  </a:cubicBezTo>
                  <a:cubicBezTo>
                    <a:pt x="456" y="294"/>
                    <a:pt x="435" y="292"/>
                    <a:pt x="427" y="287"/>
                  </a:cubicBezTo>
                  <a:cubicBezTo>
                    <a:pt x="419" y="282"/>
                    <a:pt x="403" y="271"/>
                    <a:pt x="400" y="258"/>
                  </a:cubicBezTo>
                  <a:cubicBezTo>
                    <a:pt x="386" y="193"/>
                    <a:pt x="386" y="193"/>
                    <a:pt x="386" y="193"/>
                  </a:cubicBezTo>
                  <a:cubicBezTo>
                    <a:pt x="384" y="180"/>
                    <a:pt x="368" y="170"/>
                    <a:pt x="368" y="170"/>
                  </a:cubicBezTo>
                  <a:cubicBezTo>
                    <a:pt x="308" y="176"/>
                    <a:pt x="308" y="176"/>
                    <a:pt x="308" y="176"/>
                  </a:cubicBezTo>
                  <a:cubicBezTo>
                    <a:pt x="308" y="176"/>
                    <a:pt x="289" y="187"/>
                    <a:pt x="292" y="200"/>
                  </a:cubicBezTo>
                  <a:cubicBezTo>
                    <a:pt x="285" y="263"/>
                    <a:pt x="285" y="263"/>
                    <a:pt x="285" y="263"/>
                  </a:cubicBezTo>
                  <a:cubicBezTo>
                    <a:pt x="291" y="289"/>
                    <a:pt x="277" y="292"/>
                    <a:pt x="272" y="300"/>
                  </a:cubicBezTo>
                  <a:cubicBezTo>
                    <a:pt x="272" y="300"/>
                    <a:pt x="272" y="300"/>
                    <a:pt x="267" y="308"/>
                  </a:cubicBezTo>
                  <a:cubicBezTo>
                    <a:pt x="259" y="302"/>
                    <a:pt x="246" y="305"/>
                    <a:pt x="241" y="313"/>
                  </a:cubicBezTo>
                  <a:cubicBezTo>
                    <a:pt x="236" y="321"/>
                    <a:pt x="236" y="321"/>
                    <a:pt x="236" y="321"/>
                  </a:cubicBezTo>
                  <a:cubicBezTo>
                    <a:pt x="223" y="324"/>
                    <a:pt x="210" y="327"/>
                    <a:pt x="194" y="317"/>
                  </a:cubicBezTo>
                  <a:cubicBezTo>
                    <a:pt x="139" y="281"/>
                    <a:pt x="139" y="281"/>
                    <a:pt x="139" y="281"/>
                  </a:cubicBezTo>
                  <a:cubicBezTo>
                    <a:pt x="131" y="276"/>
                    <a:pt x="110" y="273"/>
                    <a:pt x="104" y="281"/>
                  </a:cubicBezTo>
                  <a:cubicBezTo>
                    <a:pt x="79" y="321"/>
                    <a:pt x="79" y="321"/>
                    <a:pt x="79" y="321"/>
                  </a:cubicBezTo>
                  <a:cubicBezTo>
                    <a:pt x="66" y="324"/>
                    <a:pt x="68" y="337"/>
                    <a:pt x="79" y="355"/>
                  </a:cubicBezTo>
                  <a:cubicBezTo>
                    <a:pt x="121" y="394"/>
                    <a:pt x="121" y="394"/>
                    <a:pt x="121" y="394"/>
                  </a:cubicBezTo>
                  <a:cubicBezTo>
                    <a:pt x="140" y="417"/>
                    <a:pt x="135" y="425"/>
                    <a:pt x="132" y="446"/>
                  </a:cubicBezTo>
                  <a:cubicBezTo>
                    <a:pt x="132" y="446"/>
                    <a:pt x="132" y="446"/>
                    <a:pt x="132" y="446"/>
                  </a:cubicBezTo>
                  <a:cubicBezTo>
                    <a:pt x="127" y="454"/>
                    <a:pt x="122" y="462"/>
                    <a:pt x="117" y="470"/>
                  </a:cubicBezTo>
                  <a:cubicBezTo>
                    <a:pt x="117" y="470"/>
                    <a:pt x="117" y="470"/>
                    <a:pt x="117" y="470"/>
                  </a:cubicBezTo>
                  <a:cubicBezTo>
                    <a:pt x="120" y="483"/>
                    <a:pt x="109" y="499"/>
                    <a:pt x="83" y="505"/>
                  </a:cubicBezTo>
                  <a:cubicBezTo>
                    <a:pt x="23" y="511"/>
                    <a:pt x="23" y="511"/>
                    <a:pt x="23" y="511"/>
                  </a:cubicBezTo>
                  <a:cubicBezTo>
                    <a:pt x="10" y="514"/>
                    <a:pt x="0" y="529"/>
                    <a:pt x="2" y="543"/>
                  </a:cubicBezTo>
                  <a:cubicBezTo>
                    <a:pt x="5" y="590"/>
                    <a:pt x="5" y="590"/>
                    <a:pt x="5" y="590"/>
                  </a:cubicBezTo>
                  <a:cubicBezTo>
                    <a:pt x="8" y="603"/>
                    <a:pt x="16" y="608"/>
                    <a:pt x="37" y="610"/>
                  </a:cubicBezTo>
                  <a:cubicBezTo>
                    <a:pt x="92" y="612"/>
                    <a:pt x="92" y="612"/>
                    <a:pt x="92" y="612"/>
                  </a:cubicBezTo>
                  <a:cubicBezTo>
                    <a:pt x="113" y="614"/>
                    <a:pt x="129" y="625"/>
                    <a:pt x="132" y="638"/>
                  </a:cubicBezTo>
                  <a:cubicBezTo>
                    <a:pt x="132" y="638"/>
                    <a:pt x="132" y="638"/>
                    <a:pt x="132" y="638"/>
                  </a:cubicBezTo>
                  <a:cubicBezTo>
                    <a:pt x="140" y="643"/>
                    <a:pt x="142" y="656"/>
                    <a:pt x="150" y="661"/>
                  </a:cubicBezTo>
                  <a:cubicBezTo>
                    <a:pt x="145" y="669"/>
                    <a:pt x="145" y="669"/>
                    <a:pt x="145" y="669"/>
                  </a:cubicBezTo>
                  <a:cubicBezTo>
                    <a:pt x="153" y="674"/>
                    <a:pt x="156" y="687"/>
                    <a:pt x="140" y="711"/>
                  </a:cubicBezTo>
                  <a:cubicBezTo>
                    <a:pt x="109" y="759"/>
                    <a:pt x="109" y="759"/>
                    <a:pt x="109" y="759"/>
                  </a:cubicBezTo>
                  <a:cubicBezTo>
                    <a:pt x="99" y="775"/>
                    <a:pt x="102" y="788"/>
                    <a:pt x="110" y="793"/>
                  </a:cubicBezTo>
                  <a:cubicBezTo>
                    <a:pt x="152" y="832"/>
                    <a:pt x="152" y="832"/>
                    <a:pt x="152" y="832"/>
                  </a:cubicBezTo>
                  <a:cubicBezTo>
                    <a:pt x="160" y="837"/>
                    <a:pt x="173" y="834"/>
                    <a:pt x="178" y="826"/>
                  </a:cubicBezTo>
                  <a:cubicBezTo>
                    <a:pt x="230" y="781"/>
                    <a:pt x="230" y="781"/>
                    <a:pt x="230" y="781"/>
                  </a:cubicBezTo>
                  <a:cubicBezTo>
                    <a:pt x="248" y="770"/>
                    <a:pt x="261" y="767"/>
                    <a:pt x="269" y="772"/>
                  </a:cubicBezTo>
                  <a:cubicBezTo>
                    <a:pt x="269" y="772"/>
                    <a:pt x="269" y="772"/>
                    <a:pt x="269" y="772"/>
                  </a:cubicBezTo>
                  <a:cubicBezTo>
                    <a:pt x="282" y="769"/>
                    <a:pt x="298" y="779"/>
                    <a:pt x="306" y="785"/>
                  </a:cubicBezTo>
                  <a:cubicBezTo>
                    <a:pt x="306" y="785"/>
                    <a:pt x="306" y="785"/>
                    <a:pt x="306" y="785"/>
                  </a:cubicBezTo>
                  <a:cubicBezTo>
                    <a:pt x="319" y="782"/>
                    <a:pt x="327" y="787"/>
                    <a:pt x="332" y="813"/>
                  </a:cubicBezTo>
                  <a:cubicBezTo>
                    <a:pt x="346" y="878"/>
                    <a:pt x="346" y="878"/>
                    <a:pt x="346" y="878"/>
                  </a:cubicBezTo>
                  <a:cubicBezTo>
                    <a:pt x="349" y="892"/>
                    <a:pt x="357" y="897"/>
                    <a:pt x="370" y="894"/>
                  </a:cubicBezTo>
                  <a:cubicBezTo>
                    <a:pt x="425" y="896"/>
                    <a:pt x="425" y="896"/>
                    <a:pt x="425" y="896"/>
                  </a:cubicBezTo>
                  <a:cubicBezTo>
                    <a:pt x="430" y="888"/>
                    <a:pt x="443" y="885"/>
                    <a:pt x="440" y="872"/>
                  </a:cubicBezTo>
                  <a:cubicBezTo>
                    <a:pt x="440" y="804"/>
                    <a:pt x="440" y="804"/>
                    <a:pt x="440" y="804"/>
                  </a:cubicBezTo>
                  <a:cubicBezTo>
                    <a:pt x="442" y="783"/>
                    <a:pt x="460" y="772"/>
                    <a:pt x="466" y="764"/>
                  </a:cubicBezTo>
                  <a:cubicBezTo>
                    <a:pt x="466" y="764"/>
                    <a:pt x="466" y="764"/>
                    <a:pt x="466" y="764"/>
                  </a:cubicBezTo>
                  <a:cubicBezTo>
                    <a:pt x="479" y="761"/>
                    <a:pt x="492" y="758"/>
                    <a:pt x="497" y="750"/>
                  </a:cubicBezTo>
                  <a:cubicBezTo>
                    <a:pt x="497" y="750"/>
                    <a:pt x="497" y="750"/>
                    <a:pt x="497" y="750"/>
                  </a:cubicBezTo>
                  <a:cubicBezTo>
                    <a:pt x="510" y="747"/>
                    <a:pt x="523" y="745"/>
                    <a:pt x="539" y="755"/>
                  </a:cubicBezTo>
                  <a:cubicBezTo>
                    <a:pt x="594" y="791"/>
                    <a:pt x="594" y="791"/>
                    <a:pt x="594" y="791"/>
                  </a:cubicBezTo>
                  <a:cubicBezTo>
                    <a:pt x="602" y="796"/>
                    <a:pt x="623" y="798"/>
                    <a:pt x="628" y="790"/>
                  </a:cubicBezTo>
                  <a:cubicBezTo>
                    <a:pt x="659" y="743"/>
                    <a:pt x="659" y="743"/>
                    <a:pt x="659" y="743"/>
                  </a:cubicBezTo>
                  <a:cubicBezTo>
                    <a:pt x="659" y="743"/>
                    <a:pt x="669" y="727"/>
                    <a:pt x="654" y="716"/>
                  </a:cubicBezTo>
                  <a:close/>
                  <a:moveTo>
                    <a:pt x="281" y="633"/>
                  </a:moveTo>
                  <a:cubicBezTo>
                    <a:pt x="223" y="584"/>
                    <a:pt x="219" y="502"/>
                    <a:pt x="263" y="452"/>
                  </a:cubicBezTo>
                  <a:cubicBezTo>
                    <a:pt x="313" y="393"/>
                    <a:pt x="399" y="382"/>
                    <a:pt x="457" y="431"/>
                  </a:cubicBezTo>
                  <a:cubicBezTo>
                    <a:pt x="507" y="475"/>
                    <a:pt x="518" y="561"/>
                    <a:pt x="469" y="619"/>
                  </a:cubicBezTo>
                  <a:cubicBezTo>
                    <a:pt x="420" y="678"/>
                    <a:pt x="339" y="682"/>
                    <a:pt x="281" y="633"/>
                  </a:cubicBezTo>
                  <a:close/>
                  <a:moveTo>
                    <a:pt x="1019" y="398"/>
                  </a:moveTo>
                  <a:cubicBezTo>
                    <a:pt x="1004" y="362"/>
                    <a:pt x="1004" y="362"/>
                    <a:pt x="1004" y="362"/>
                  </a:cubicBezTo>
                  <a:cubicBezTo>
                    <a:pt x="992" y="348"/>
                    <a:pt x="1002" y="340"/>
                    <a:pt x="1002" y="332"/>
                  </a:cubicBezTo>
                  <a:cubicBezTo>
                    <a:pt x="1002" y="332"/>
                    <a:pt x="1002" y="332"/>
                    <a:pt x="1002" y="332"/>
                  </a:cubicBezTo>
                  <a:cubicBezTo>
                    <a:pt x="1007" y="328"/>
                    <a:pt x="1011" y="324"/>
                    <a:pt x="1012" y="315"/>
                  </a:cubicBezTo>
                  <a:cubicBezTo>
                    <a:pt x="1021" y="307"/>
                    <a:pt x="1026" y="303"/>
                    <a:pt x="1043" y="304"/>
                  </a:cubicBezTo>
                  <a:cubicBezTo>
                    <a:pt x="1086" y="307"/>
                    <a:pt x="1086" y="307"/>
                    <a:pt x="1086" y="307"/>
                  </a:cubicBezTo>
                  <a:cubicBezTo>
                    <a:pt x="1095" y="308"/>
                    <a:pt x="1099" y="304"/>
                    <a:pt x="1100" y="295"/>
                  </a:cubicBezTo>
                  <a:cubicBezTo>
                    <a:pt x="1107" y="266"/>
                    <a:pt x="1107" y="266"/>
                    <a:pt x="1107" y="266"/>
                  </a:cubicBezTo>
                  <a:cubicBezTo>
                    <a:pt x="1107" y="257"/>
                    <a:pt x="1103" y="252"/>
                    <a:pt x="1095" y="243"/>
                  </a:cubicBezTo>
                  <a:cubicBezTo>
                    <a:pt x="1057" y="236"/>
                    <a:pt x="1057" y="236"/>
                    <a:pt x="1057" y="236"/>
                  </a:cubicBezTo>
                  <a:cubicBezTo>
                    <a:pt x="1044" y="231"/>
                    <a:pt x="1036" y="222"/>
                    <a:pt x="1037" y="213"/>
                  </a:cubicBezTo>
                  <a:cubicBezTo>
                    <a:pt x="1038" y="205"/>
                    <a:pt x="1034" y="200"/>
                    <a:pt x="1030" y="187"/>
                  </a:cubicBezTo>
                  <a:cubicBezTo>
                    <a:pt x="1031" y="178"/>
                    <a:pt x="1032" y="170"/>
                    <a:pt x="1041" y="162"/>
                  </a:cubicBezTo>
                  <a:cubicBezTo>
                    <a:pt x="1077" y="138"/>
                    <a:pt x="1077" y="138"/>
                    <a:pt x="1077" y="138"/>
                  </a:cubicBezTo>
                  <a:cubicBezTo>
                    <a:pt x="1082" y="134"/>
                    <a:pt x="1083" y="126"/>
                    <a:pt x="1079" y="121"/>
                  </a:cubicBezTo>
                  <a:cubicBezTo>
                    <a:pt x="1059" y="89"/>
                    <a:pt x="1059" y="89"/>
                    <a:pt x="1059" y="89"/>
                  </a:cubicBezTo>
                  <a:cubicBezTo>
                    <a:pt x="1055" y="85"/>
                    <a:pt x="1047" y="84"/>
                    <a:pt x="1038" y="83"/>
                  </a:cubicBezTo>
                  <a:cubicBezTo>
                    <a:pt x="1002" y="107"/>
                    <a:pt x="1002" y="107"/>
                    <a:pt x="1002" y="107"/>
                  </a:cubicBezTo>
                  <a:cubicBezTo>
                    <a:pt x="989" y="110"/>
                    <a:pt x="980" y="110"/>
                    <a:pt x="976" y="105"/>
                  </a:cubicBezTo>
                  <a:cubicBezTo>
                    <a:pt x="972" y="100"/>
                    <a:pt x="960" y="95"/>
                    <a:pt x="956" y="91"/>
                  </a:cubicBezTo>
                  <a:cubicBezTo>
                    <a:pt x="952" y="86"/>
                    <a:pt x="944" y="77"/>
                    <a:pt x="944" y="68"/>
                  </a:cubicBezTo>
                  <a:cubicBezTo>
                    <a:pt x="948" y="25"/>
                    <a:pt x="948" y="25"/>
                    <a:pt x="948" y="25"/>
                  </a:cubicBezTo>
                  <a:cubicBezTo>
                    <a:pt x="948" y="17"/>
                    <a:pt x="940" y="7"/>
                    <a:pt x="940" y="7"/>
                  </a:cubicBezTo>
                  <a:cubicBezTo>
                    <a:pt x="902" y="0"/>
                    <a:pt x="902" y="0"/>
                    <a:pt x="902" y="0"/>
                  </a:cubicBezTo>
                  <a:cubicBezTo>
                    <a:pt x="902" y="0"/>
                    <a:pt x="889" y="4"/>
                    <a:pt x="888" y="12"/>
                  </a:cubicBezTo>
                  <a:cubicBezTo>
                    <a:pt x="872" y="50"/>
                    <a:pt x="872" y="50"/>
                    <a:pt x="872" y="50"/>
                  </a:cubicBezTo>
                  <a:cubicBezTo>
                    <a:pt x="871" y="67"/>
                    <a:pt x="862" y="67"/>
                    <a:pt x="858" y="71"/>
                  </a:cubicBezTo>
                  <a:cubicBezTo>
                    <a:pt x="858" y="71"/>
                    <a:pt x="858" y="71"/>
                    <a:pt x="853" y="75"/>
                  </a:cubicBezTo>
                  <a:cubicBezTo>
                    <a:pt x="849" y="70"/>
                    <a:pt x="840" y="70"/>
                    <a:pt x="836" y="74"/>
                  </a:cubicBezTo>
                  <a:cubicBezTo>
                    <a:pt x="831" y="78"/>
                    <a:pt x="831" y="78"/>
                    <a:pt x="831" y="78"/>
                  </a:cubicBezTo>
                  <a:cubicBezTo>
                    <a:pt x="822" y="77"/>
                    <a:pt x="814" y="76"/>
                    <a:pt x="806" y="67"/>
                  </a:cubicBezTo>
                  <a:cubicBezTo>
                    <a:pt x="778" y="35"/>
                    <a:pt x="778" y="35"/>
                    <a:pt x="778" y="35"/>
                  </a:cubicBezTo>
                  <a:cubicBezTo>
                    <a:pt x="774" y="30"/>
                    <a:pt x="762" y="25"/>
                    <a:pt x="757" y="29"/>
                  </a:cubicBezTo>
                  <a:cubicBezTo>
                    <a:pt x="734" y="49"/>
                    <a:pt x="734" y="49"/>
                    <a:pt x="734" y="49"/>
                  </a:cubicBezTo>
                  <a:cubicBezTo>
                    <a:pt x="725" y="49"/>
                    <a:pt x="725" y="57"/>
                    <a:pt x="728" y="70"/>
                  </a:cubicBezTo>
                  <a:cubicBezTo>
                    <a:pt x="747" y="102"/>
                    <a:pt x="747" y="102"/>
                    <a:pt x="747" y="102"/>
                  </a:cubicBezTo>
                  <a:cubicBezTo>
                    <a:pt x="754" y="120"/>
                    <a:pt x="750" y="124"/>
                    <a:pt x="744" y="136"/>
                  </a:cubicBezTo>
                  <a:cubicBezTo>
                    <a:pt x="744" y="136"/>
                    <a:pt x="744" y="136"/>
                    <a:pt x="744" y="136"/>
                  </a:cubicBezTo>
                  <a:cubicBezTo>
                    <a:pt x="740" y="140"/>
                    <a:pt x="735" y="144"/>
                    <a:pt x="731" y="148"/>
                  </a:cubicBezTo>
                  <a:cubicBezTo>
                    <a:pt x="731" y="148"/>
                    <a:pt x="731" y="148"/>
                    <a:pt x="731" y="148"/>
                  </a:cubicBezTo>
                  <a:cubicBezTo>
                    <a:pt x="730" y="157"/>
                    <a:pt x="721" y="165"/>
                    <a:pt x="703" y="164"/>
                  </a:cubicBezTo>
                  <a:cubicBezTo>
                    <a:pt x="665" y="157"/>
                    <a:pt x="665" y="157"/>
                    <a:pt x="665" y="157"/>
                  </a:cubicBezTo>
                  <a:cubicBezTo>
                    <a:pt x="656" y="156"/>
                    <a:pt x="647" y="164"/>
                    <a:pt x="647" y="173"/>
                  </a:cubicBezTo>
                  <a:cubicBezTo>
                    <a:pt x="640" y="203"/>
                    <a:pt x="640" y="203"/>
                    <a:pt x="640" y="203"/>
                  </a:cubicBezTo>
                  <a:cubicBezTo>
                    <a:pt x="639" y="211"/>
                    <a:pt x="643" y="216"/>
                    <a:pt x="656" y="221"/>
                  </a:cubicBezTo>
                  <a:cubicBezTo>
                    <a:pt x="690" y="232"/>
                    <a:pt x="690" y="232"/>
                    <a:pt x="690" y="232"/>
                  </a:cubicBezTo>
                  <a:cubicBezTo>
                    <a:pt x="702" y="237"/>
                    <a:pt x="710" y="246"/>
                    <a:pt x="710" y="255"/>
                  </a:cubicBezTo>
                  <a:cubicBezTo>
                    <a:pt x="710" y="255"/>
                    <a:pt x="710" y="255"/>
                    <a:pt x="710" y="255"/>
                  </a:cubicBezTo>
                  <a:cubicBezTo>
                    <a:pt x="714" y="260"/>
                    <a:pt x="713" y="268"/>
                    <a:pt x="717" y="273"/>
                  </a:cubicBezTo>
                  <a:cubicBezTo>
                    <a:pt x="712" y="277"/>
                    <a:pt x="712" y="277"/>
                    <a:pt x="712" y="277"/>
                  </a:cubicBezTo>
                  <a:cubicBezTo>
                    <a:pt x="716" y="281"/>
                    <a:pt x="716" y="290"/>
                    <a:pt x="702" y="302"/>
                  </a:cubicBezTo>
                  <a:cubicBezTo>
                    <a:pt x="674" y="326"/>
                    <a:pt x="674" y="326"/>
                    <a:pt x="674" y="326"/>
                  </a:cubicBezTo>
                  <a:cubicBezTo>
                    <a:pt x="665" y="334"/>
                    <a:pt x="664" y="343"/>
                    <a:pt x="668" y="347"/>
                  </a:cubicBezTo>
                  <a:cubicBezTo>
                    <a:pt x="687" y="379"/>
                    <a:pt x="687" y="379"/>
                    <a:pt x="687" y="379"/>
                  </a:cubicBezTo>
                  <a:cubicBezTo>
                    <a:pt x="691" y="383"/>
                    <a:pt x="700" y="384"/>
                    <a:pt x="704" y="380"/>
                  </a:cubicBezTo>
                  <a:cubicBezTo>
                    <a:pt x="745" y="361"/>
                    <a:pt x="745" y="361"/>
                    <a:pt x="745" y="361"/>
                  </a:cubicBezTo>
                  <a:cubicBezTo>
                    <a:pt x="758" y="358"/>
                    <a:pt x="767" y="358"/>
                    <a:pt x="771" y="363"/>
                  </a:cubicBezTo>
                  <a:cubicBezTo>
                    <a:pt x="771" y="363"/>
                    <a:pt x="771" y="363"/>
                    <a:pt x="771" y="363"/>
                  </a:cubicBezTo>
                  <a:cubicBezTo>
                    <a:pt x="779" y="364"/>
                    <a:pt x="787" y="373"/>
                    <a:pt x="791" y="377"/>
                  </a:cubicBezTo>
                  <a:cubicBezTo>
                    <a:pt x="791" y="377"/>
                    <a:pt x="791" y="377"/>
                    <a:pt x="791" y="377"/>
                  </a:cubicBezTo>
                  <a:cubicBezTo>
                    <a:pt x="800" y="378"/>
                    <a:pt x="804" y="383"/>
                    <a:pt x="802" y="400"/>
                  </a:cubicBezTo>
                  <a:cubicBezTo>
                    <a:pt x="799" y="443"/>
                    <a:pt x="799" y="443"/>
                    <a:pt x="799" y="443"/>
                  </a:cubicBezTo>
                  <a:cubicBezTo>
                    <a:pt x="798" y="451"/>
                    <a:pt x="802" y="456"/>
                    <a:pt x="811" y="457"/>
                  </a:cubicBezTo>
                  <a:cubicBezTo>
                    <a:pt x="845" y="468"/>
                    <a:pt x="845" y="468"/>
                    <a:pt x="845" y="468"/>
                  </a:cubicBezTo>
                  <a:cubicBezTo>
                    <a:pt x="849" y="464"/>
                    <a:pt x="858" y="464"/>
                    <a:pt x="859" y="456"/>
                  </a:cubicBezTo>
                  <a:cubicBezTo>
                    <a:pt x="871" y="413"/>
                    <a:pt x="871" y="413"/>
                    <a:pt x="871" y="413"/>
                  </a:cubicBezTo>
                  <a:cubicBezTo>
                    <a:pt x="876" y="401"/>
                    <a:pt x="889" y="397"/>
                    <a:pt x="894" y="393"/>
                  </a:cubicBezTo>
                  <a:cubicBezTo>
                    <a:pt x="894" y="393"/>
                    <a:pt x="894" y="393"/>
                    <a:pt x="894" y="393"/>
                  </a:cubicBezTo>
                  <a:cubicBezTo>
                    <a:pt x="902" y="394"/>
                    <a:pt x="911" y="395"/>
                    <a:pt x="916" y="391"/>
                  </a:cubicBezTo>
                  <a:cubicBezTo>
                    <a:pt x="916" y="391"/>
                    <a:pt x="916" y="391"/>
                    <a:pt x="916" y="391"/>
                  </a:cubicBezTo>
                  <a:cubicBezTo>
                    <a:pt x="924" y="391"/>
                    <a:pt x="933" y="392"/>
                    <a:pt x="941" y="401"/>
                  </a:cubicBezTo>
                  <a:cubicBezTo>
                    <a:pt x="969" y="433"/>
                    <a:pt x="969" y="433"/>
                    <a:pt x="969" y="433"/>
                  </a:cubicBezTo>
                  <a:cubicBezTo>
                    <a:pt x="973" y="438"/>
                    <a:pt x="985" y="443"/>
                    <a:pt x="990" y="439"/>
                  </a:cubicBezTo>
                  <a:cubicBezTo>
                    <a:pt x="1018" y="415"/>
                    <a:pt x="1018" y="415"/>
                    <a:pt x="1018" y="415"/>
                  </a:cubicBezTo>
                  <a:cubicBezTo>
                    <a:pt x="1018" y="415"/>
                    <a:pt x="1027" y="407"/>
                    <a:pt x="1019" y="398"/>
                  </a:cubicBezTo>
                  <a:close/>
                  <a:moveTo>
                    <a:pt x="803" y="279"/>
                  </a:moveTo>
                  <a:cubicBezTo>
                    <a:pt x="776" y="238"/>
                    <a:pt x="788" y="187"/>
                    <a:pt x="825" y="164"/>
                  </a:cubicBezTo>
                  <a:cubicBezTo>
                    <a:pt x="866" y="136"/>
                    <a:pt x="921" y="144"/>
                    <a:pt x="948" y="185"/>
                  </a:cubicBezTo>
                  <a:cubicBezTo>
                    <a:pt x="972" y="221"/>
                    <a:pt x="963" y="277"/>
                    <a:pt x="922" y="304"/>
                  </a:cubicBezTo>
                  <a:cubicBezTo>
                    <a:pt x="881" y="332"/>
                    <a:pt x="830" y="320"/>
                    <a:pt x="803" y="279"/>
                  </a:cubicBezTo>
                  <a:close/>
                </a:path>
              </a:pathLst>
            </a:custGeom>
            <a:solidFill>
              <a:schemeClr val="tx1"/>
            </a:solidFill>
            <a:ln>
              <a:noFill/>
            </a:ln>
          </p:spPr>
          <p:txBody>
            <a:bodyPr vert="horz" wrap="square" lIns="68574" tIns="34287" rIns="68574" bIns="34287"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17346"/>
                </a:solidFill>
                <a:effectLst/>
                <a:uLnTx/>
                <a:uFillTx/>
                <a:latin typeface="Segoe UI"/>
                <a:ea typeface="+mn-ea"/>
                <a:cs typeface="+mn-cs"/>
              </a:endParaRPr>
            </a:p>
          </p:txBody>
        </p:sp>
        <p:sp>
          <p:nvSpPr>
            <p:cNvPr id="88" name="Freeform 87"/>
            <p:cNvSpPr>
              <a:spLocks noChangeAspect="1"/>
            </p:cNvSpPr>
            <p:nvPr/>
          </p:nvSpPr>
          <p:spPr bwMode="black">
            <a:xfrm>
              <a:off x="776985" y="4213905"/>
              <a:ext cx="342871" cy="335728"/>
            </a:xfrm>
            <a:custGeom>
              <a:avLst/>
              <a:gdLst>
                <a:gd name="connsiteX0" fmla="*/ 3713863 w 4893730"/>
                <a:gd name="connsiteY0" fmla="*/ 2130808 h 4791777"/>
                <a:gd name="connsiteX1" fmla="*/ 4426142 w 4893730"/>
                <a:gd name="connsiteY1" fmla="*/ 2130808 h 4791777"/>
                <a:gd name="connsiteX2" fmla="*/ 4598071 w 4893730"/>
                <a:gd name="connsiteY2" fmla="*/ 2301547 h 4791777"/>
                <a:gd name="connsiteX3" fmla="*/ 4598071 w 4893730"/>
                <a:gd name="connsiteY3" fmla="*/ 3886978 h 4791777"/>
                <a:gd name="connsiteX4" fmla="*/ 4426142 w 4893730"/>
                <a:gd name="connsiteY4" fmla="*/ 4057717 h 4791777"/>
                <a:gd name="connsiteX5" fmla="*/ 3713863 w 4893730"/>
                <a:gd name="connsiteY5" fmla="*/ 4057717 h 4791777"/>
                <a:gd name="connsiteX6" fmla="*/ 3517372 w 4893730"/>
                <a:gd name="connsiteY6" fmla="*/ 3886978 h 4791777"/>
                <a:gd name="connsiteX7" fmla="*/ 3517372 w 4893730"/>
                <a:gd name="connsiteY7" fmla="*/ 2301547 h 4791777"/>
                <a:gd name="connsiteX8" fmla="*/ 3713863 w 4893730"/>
                <a:gd name="connsiteY8" fmla="*/ 2130808 h 4791777"/>
                <a:gd name="connsiteX9" fmla="*/ 904368 w 4893730"/>
                <a:gd name="connsiteY9" fmla="*/ 1223432 h 4791777"/>
                <a:gd name="connsiteX10" fmla="*/ 1609930 w 4893730"/>
                <a:gd name="connsiteY10" fmla="*/ 1223432 h 4791777"/>
                <a:gd name="connsiteX11" fmla="*/ 1804567 w 4893730"/>
                <a:gd name="connsiteY11" fmla="*/ 1394467 h 4791777"/>
                <a:gd name="connsiteX12" fmla="*/ 1804567 w 4893730"/>
                <a:gd name="connsiteY12" fmla="*/ 3886683 h 4791777"/>
                <a:gd name="connsiteX13" fmla="*/ 1609930 w 4893730"/>
                <a:gd name="connsiteY13" fmla="*/ 4057717 h 4791777"/>
                <a:gd name="connsiteX14" fmla="*/ 904368 w 4893730"/>
                <a:gd name="connsiteY14" fmla="*/ 4057717 h 4791777"/>
                <a:gd name="connsiteX15" fmla="*/ 734060 w 4893730"/>
                <a:gd name="connsiteY15" fmla="*/ 3886683 h 4791777"/>
                <a:gd name="connsiteX16" fmla="*/ 734060 w 4893730"/>
                <a:gd name="connsiteY16" fmla="*/ 1394467 h 4791777"/>
                <a:gd name="connsiteX17" fmla="*/ 904368 w 4893730"/>
                <a:gd name="connsiteY17" fmla="*/ 1223432 h 4791777"/>
                <a:gd name="connsiteX18" fmla="*/ 2325453 w 4893730"/>
                <a:gd name="connsiteY18" fmla="*/ 316050 h 4791777"/>
                <a:gd name="connsiteX19" fmla="*/ 3031014 w 4893730"/>
                <a:gd name="connsiteY19" fmla="*/ 316050 h 4791777"/>
                <a:gd name="connsiteX20" fmla="*/ 3201322 w 4893730"/>
                <a:gd name="connsiteY20" fmla="*/ 487238 h 4791777"/>
                <a:gd name="connsiteX21" fmla="*/ 3201322 w 4893730"/>
                <a:gd name="connsiteY21" fmla="*/ 3886530 h 4791777"/>
                <a:gd name="connsiteX22" fmla="*/ 3031014 w 4893730"/>
                <a:gd name="connsiteY22" fmla="*/ 4057717 h 4791777"/>
                <a:gd name="connsiteX23" fmla="*/ 2325453 w 4893730"/>
                <a:gd name="connsiteY23" fmla="*/ 4057717 h 4791777"/>
                <a:gd name="connsiteX24" fmla="*/ 2130815 w 4893730"/>
                <a:gd name="connsiteY24" fmla="*/ 3886530 h 4791777"/>
                <a:gd name="connsiteX25" fmla="*/ 2130815 w 4893730"/>
                <a:gd name="connsiteY25" fmla="*/ 487238 h 4791777"/>
                <a:gd name="connsiteX26" fmla="*/ 2325453 w 4893730"/>
                <a:gd name="connsiteY26" fmla="*/ 316050 h 4791777"/>
                <a:gd name="connsiteX27" fmla="*/ 269155 w 4893730"/>
                <a:gd name="connsiteY27" fmla="*/ 0 h 4791777"/>
                <a:gd name="connsiteX28" fmla="*/ 538311 w 4893730"/>
                <a:gd name="connsiteY28" fmla="*/ 268927 h 4791777"/>
                <a:gd name="connsiteX29" fmla="*/ 538311 w 4893730"/>
                <a:gd name="connsiteY29" fmla="*/ 4253925 h 4791777"/>
                <a:gd name="connsiteX30" fmla="*/ 4624575 w 4893730"/>
                <a:gd name="connsiteY30" fmla="*/ 4253925 h 4791777"/>
                <a:gd name="connsiteX31" fmla="*/ 4893730 w 4893730"/>
                <a:gd name="connsiteY31" fmla="*/ 4522851 h 4791777"/>
                <a:gd name="connsiteX32" fmla="*/ 4624575 w 4893730"/>
                <a:gd name="connsiteY32" fmla="*/ 4791777 h 4791777"/>
                <a:gd name="connsiteX33" fmla="*/ 269155 w 4893730"/>
                <a:gd name="connsiteY33" fmla="*/ 4791777 h 4791777"/>
                <a:gd name="connsiteX34" fmla="*/ 0 w 4893730"/>
                <a:gd name="connsiteY34" fmla="*/ 4522851 h 4791777"/>
                <a:gd name="connsiteX35" fmla="*/ 0 w 4893730"/>
                <a:gd name="connsiteY35" fmla="*/ 268927 h 4791777"/>
                <a:gd name="connsiteX36" fmla="*/ 269155 w 4893730"/>
                <a:gd name="connsiteY36" fmla="*/ 0 h 4791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4893730" h="4791777">
                  <a:moveTo>
                    <a:pt x="3713863" y="2130808"/>
                  </a:moveTo>
                  <a:cubicBezTo>
                    <a:pt x="3713863" y="2130808"/>
                    <a:pt x="3713863" y="2130808"/>
                    <a:pt x="4426142" y="2130808"/>
                  </a:cubicBezTo>
                  <a:cubicBezTo>
                    <a:pt x="4524387" y="2130808"/>
                    <a:pt x="4598071" y="2203982"/>
                    <a:pt x="4598071" y="2301547"/>
                  </a:cubicBezTo>
                  <a:cubicBezTo>
                    <a:pt x="4598071" y="2301547"/>
                    <a:pt x="4598071" y="2301547"/>
                    <a:pt x="4598071" y="3886978"/>
                  </a:cubicBezTo>
                  <a:cubicBezTo>
                    <a:pt x="4598071" y="3984543"/>
                    <a:pt x="4524387" y="4057717"/>
                    <a:pt x="4426142" y="4057717"/>
                  </a:cubicBezTo>
                  <a:cubicBezTo>
                    <a:pt x="4426142" y="4057717"/>
                    <a:pt x="4426142" y="4057717"/>
                    <a:pt x="3713863" y="4057717"/>
                  </a:cubicBezTo>
                  <a:cubicBezTo>
                    <a:pt x="3615618" y="4057717"/>
                    <a:pt x="3517372" y="3984543"/>
                    <a:pt x="3517372" y="3886978"/>
                  </a:cubicBezTo>
                  <a:cubicBezTo>
                    <a:pt x="3517372" y="3886978"/>
                    <a:pt x="3517372" y="3886978"/>
                    <a:pt x="3517372" y="2301547"/>
                  </a:cubicBezTo>
                  <a:cubicBezTo>
                    <a:pt x="3517372" y="2203982"/>
                    <a:pt x="3615618" y="2130808"/>
                    <a:pt x="3713863" y="2130808"/>
                  </a:cubicBezTo>
                  <a:close/>
                  <a:moveTo>
                    <a:pt x="904368" y="1223432"/>
                  </a:moveTo>
                  <a:cubicBezTo>
                    <a:pt x="904368" y="1223432"/>
                    <a:pt x="904368" y="1223432"/>
                    <a:pt x="1609930" y="1223432"/>
                  </a:cubicBezTo>
                  <a:cubicBezTo>
                    <a:pt x="1731578" y="1223432"/>
                    <a:pt x="1804567" y="1296733"/>
                    <a:pt x="1804567" y="1394467"/>
                  </a:cubicBezTo>
                  <a:cubicBezTo>
                    <a:pt x="1804567" y="1394467"/>
                    <a:pt x="1804567" y="1394467"/>
                    <a:pt x="1804567" y="3886683"/>
                  </a:cubicBezTo>
                  <a:cubicBezTo>
                    <a:pt x="1804567" y="3984417"/>
                    <a:pt x="1731578" y="4057717"/>
                    <a:pt x="1609930" y="4057717"/>
                  </a:cubicBezTo>
                  <a:cubicBezTo>
                    <a:pt x="1609930" y="4057717"/>
                    <a:pt x="1609930" y="4057717"/>
                    <a:pt x="904368" y="4057717"/>
                  </a:cubicBezTo>
                  <a:cubicBezTo>
                    <a:pt x="807049" y="4057717"/>
                    <a:pt x="734060" y="3984417"/>
                    <a:pt x="734060" y="3886683"/>
                  </a:cubicBezTo>
                  <a:cubicBezTo>
                    <a:pt x="734060" y="3886683"/>
                    <a:pt x="734060" y="3886683"/>
                    <a:pt x="734060" y="1394467"/>
                  </a:cubicBezTo>
                  <a:cubicBezTo>
                    <a:pt x="734060" y="1296733"/>
                    <a:pt x="807049" y="1223432"/>
                    <a:pt x="904368" y="1223432"/>
                  </a:cubicBezTo>
                  <a:close/>
                  <a:moveTo>
                    <a:pt x="2325453" y="316050"/>
                  </a:moveTo>
                  <a:cubicBezTo>
                    <a:pt x="2325453" y="316050"/>
                    <a:pt x="2325453" y="316050"/>
                    <a:pt x="3031014" y="316050"/>
                  </a:cubicBezTo>
                  <a:cubicBezTo>
                    <a:pt x="3128333" y="316050"/>
                    <a:pt x="3201322" y="389416"/>
                    <a:pt x="3201322" y="487238"/>
                  </a:cubicBezTo>
                  <a:cubicBezTo>
                    <a:pt x="3201322" y="487238"/>
                    <a:pt x="3201322" y="487238"/>
                    <a:pt x="3201322" y="3886530"/>
                  </a:cubicBezTo>
                  <a:cubicBezTo>
                    <a:pt x="3201322" y="3984351"/>
                    <a:pt x="3128333" y="4057717"/>
                    <a:pt x="3031014" y="4057717"/>
                  </a:cubicBezTo>
                  <a:cubicBezTo>
                    <a:pt x="3031014" y="4057717"/>
                    <a:pt x="3031014" y="4057717"/>
                    <a:pt x="2325453" y="4057717"/>
                  </a:cubicBezTo>
                  <a:cubicBezTo>
                    <a:pt x="2203804" y="4057717"/>
                    <a:pt x="2130815" y="3984351"/>
                    <a:pt x="2130815" y="3886530"/>
                  </a:cubicBezTo>
                  <a:cubicBezTo>
                    <a:pt x="2130815" y="3886530"/>
                    <a:pt x="2130815" y="3886530"/>
                    <a:pt x="2130815" y="487238"/>
                  </a:cubicBezTo>
                  <a:cubicBezTo>
                    <a:pt x="2130815" y="389416"/>
                    <a:pt x="2203804" y="316050"/>
                    <a:pt x="2325453" y="316050"/>
                  </a:cubicBezTo>
                  <a:close/>
                  <a:moveTo>
                    <a:pt x="269155" y="0"/>
                  </a:moveTo>
                  <a:cubicBezTo>
                    <a:pt x="415967" y="0"/>
                    <a:pt x="538311" y="122239"/>
                    <a:pt x="538311" y="268927"/>
                  </a:cubicBezTo>
                  <a:cubicBezTo>
                    <a:pt x="538311" y="268927"/>
                    <a:pt x="538311" y="268927"/>
                    <a:pt x="538311" y="4253925"/>
                  </a:cubicBezTo>
                  <a:cubicBezTo>
                    <a:pt x="538311" y="4253925"/>
                    <a:pt x="538311" y="4253925"/>
                    <a:pt x="4624575" y="4253925"/>
                  </a:cubicBezTo>
                  <a:cubicBezTo>
                    <a:pt x="4771387" y="4253925"/>
                    <a:pt x="4893730" y="4376164"/>
                    <a:pt x="4893730" y="4522851"/>
                  </a:cubicBezTo>
                  <a:cubicBezTo>
                    <a:pt x="4893730" y="4669538"/>
                    <a:pt x="4771387" y="4791777"/>
                    <a:pt x="4624575" y="4791777"/>
                  </a:cubicBezTo>
                  <a:cubicBezTo>
                    <a:pt x="4624575" y="4791777"/>
                    <a:pt x="4624575" y="4791777"/>
                    <a:pt x="269155" y="4791777"/>
                  </a:cubicBezTo>
                  <a:cubicBezTo>
                    <a:pt x="122344" y="4791777"/>
                    <a:pt x="0" y="4669538"/>
                    <a:pt x="0" y="4522851"/>
                  </a:cubicBezTo>
                  <a:cubicBezTo>
                    <a:pt x="0" y="4522851"/>
                    <a:pt x="0" y="4522851"/>
                    <a:pt x="0" y="268927"/>
                  </a:cubicBezTo>
                  <a:cubicBezTo>
                    <a:pt x="0" y="122239"/>
                    <a:pt x="122344" y="0"/>
                    <a:pt x="269155"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37148" tIns="109719" rIns="137148" bIns="109719"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699261"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9" name="Rectangle 88"/>
            <p:cNvSpPr/>
            <p:nvPr/>
          </p:nvSpPr>
          <p:spPr bwMode="auto">
            <a:xfrm rot="2745734">
              <a:off x="279530" y="1141266"/>
              <a:ext cx="1260714" cy="1255193"/>
            </a:xfrm>
            <a:prstGeom prst="rect">
              <a:avLst/>
            </a:prstGeom>
            <a:solidFill>
              <a:schemeClr val="tx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0" name="Rectangle 89"/>
            <p:cNvSpPr/>
            <p:nvPr/>
          </p:nvSpPr>
          <p:spPr bwMode="auto">
            <a:xfrm rot="2745734">
              <a:off x="292433" y="3819160"/>
              <a:ext cx="1610349" cy="1235003"/>
            </a:xfrm>
            <a:prstGeom prst="rect">
              <a:avLst/>
            </a:prstGeom>
            <a:solidFill>
              <a:schemeClr val="tx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2" name="Rectangle 91"/>
            <p:cNvSpPr/>
            <p:nvPr/>
          </p:nvSpPr>
          <p:spPr bwMode="auto">
            <a:xfrm rot="2745734">
              <a:off x="1315610" y="4915701"/>
              <a:ext cx="1263370" cy="1255989"/>
            </a:xfrm>
            <a:prstGeom prst="rect">
              <a:avLst/>
            </a:prstGeom>
            <a:solidFill>
              <a:schemeClr val="tx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40" name="TextBox 39"/>
          <p:cNvSpPr txBox="1"/>
          <p:nvPr/>
        </p:nvSpPr>
        <p:spPr>
          <a:xfrm>
            <a:off x="3" y="51415"/>
            <a:ext cx="2849058" cy="430887"/>
          </a:xfrm>
          <a:prstGeom prst="rect">
            <a:avLst/>
          </a:prstGeom>
        </p:spPr>
        <p:txBody>
          <a:bodyPr wrap="square">
            <a:spAutoFit/>
          </a:bodyPr>
          <a:lstStyle>
            <a:defPPr>
              <a:defRPr lang="en-US"/>
            </a:defPPr>
            <a:lvl1pPr defTabSz="914192">
              <a:defRPr sz="2800" b="1" spc="-100">
                <a:ln w="3175">
                  <a:noFill/>
                </a:ln>
                <a:solidFill>
                  <a:srgbClr val="F2C812"/>
                </a:solidFill>
                <a:latin typeface="Segoe UI" panose="020B0502040204020203" pitchFamily="34" charset="0"/>
                <a:ea typeface="ＭＳ Ｐゴシック" charset="0"/>
                <a:cs typeface="Segoe UI" panose="020B0502040204020203" pitchFamily="34" charset="0"/>
              </a:defRPr>
            </a:lvl1pPr>
          </a:lstStyle>
          <a:p>
            <a:pPr marL="0" marR="0" lvl="0" indent="0" algn="l" defTabSz="914192" rtl="0" eaLnBrk="1" fontAlgn="auto" latinLnBrk="0" hangingPunct="1">
              <a:lnSpc>
                <a:spcPct val="100000"/>
              </a:lnSpc>
              <a:spcBef>
                <a:spcPts val="0"/>
              </a:spcBef>
              <a:spcAft>
                <a:spcPts val="0"/>
              </a:spcAft>
              <a:buClrTx/>
              <a:buSzTx/>
              <a:buFontTx/>
              <a:buNone/>
              <a:tabLst/>
              <a:defRPr/>
            </a:pPr>
            <a:r>
              <a:rPr kumimoji="0" lang="en-US" sz="2200" b="1" i="0" u="none" strike="noStrike" kern="1200" cap="none" spc="-100" normalizeH="0" baseline="0" noProof="0">
                <a:ln w="3175">
                  <a:noFill/>
                </a:ln>
                <a:solidFill>
                  <a:srgbClr val="F2C812"/>
                </a:solidFill>
                <a:effectLst/>
                <a:uLnTx/>
                <a:uFillTx/>
                <a:latin typeface="Segoe UI Light"/>
                <a:ea typeface="ＭＳ Ｐゴシック" charset="0"/>
                <a:cs typeface="Segoe UI" panose="020B0502040204020203" pitchFamily="34" charset="0"/>
              </a:rPr>
              <a:t>Power BI Desktop</a:t>
            </a:r>
          </a:p>
        </p:txBody>
      </p:sp>
      <p:sp>
        <p:nvSpPr>
          <p:cNvPr id="41" name="Rectangle 40"/>
          <p:cNvSpPr/>
          <p:nvPr/>
        </p:nvSpPr>
        <p:spPr bwMode="auto">
          <a:xfrm rot="2745734">
            <a:off x="825067" y="3494250"/>
            <a:ext cx="1260714" cy="370170"/>
          </a:xfrm>
          <a:prstGeom prst="rect">
            <a:avLst/>
          </a:prstGeom>
          <a:solidFill>
            <a:schemeClr val="tx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7" name="Text Placeholder 2"/>
          <p:cNvSpPr txBox="1">
            <a:spLocks/>
          </p:cNvSpPr>
          <p:nvPr/>
        </p:nvSpPr>
        <p:spPr>
          <a:xfrm>
            <a:off x="3094188" y="1391581"/>
            <a:ext cx="5246252" cy="1962311"/>
          </a:xfrm>
          <a:prstGeom prst="rect">
            <a:avLst/>
          </a:prstGeom>
        </p:spPr>
        <p:txBody>
          <a:bodyPr vert="horz" wrap="square" lIns="182880" tIns="146304" rIns="182880" bIns="146304" rtlCol="0">
            <a:noAutofit/>
          </a:bodyPr>
          <a:lstStyle>
            <a:lvl1pPr marL="182845" marR="0"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3921" kern="1200" spc="0" baseline="0">
                <a:gradFill>
                  <a:gsLst>
                    <a:gs pos="1250">
                      <a:schemeClr val="tx2"/>
                    </a:gs>
                    <a:gs pos="99000">
                      <a:schemeClr val="tx2"/>
                    </a:gs>
                  </a:gsLst>
                  <a:lin ang="5400000" scaled="0"/>
                </a:gradFill>
                <a:latin typeface="+mj-lt"/>
                <a:ea typeface="+mn-ea"/>
                <a:cs typeface="+mn-cs"/>
              </a:defRPr>
            </a:lvl1pPr>
            <a:lvl2pPr marL="365690" marR="0"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2400" kern="1200" spc="0" baseline="0">
                <a:solidFill>
                  <a:schemeClr val="tx2"/>
                </a:solidFill>
                <a:latin typeface="+mj-lt"/>
                <a:ea typeface="+mn-ea"/>
                <a:cs typeface="+mn-cs"/>
              </a:defRPr>
            </a:lvl2pPr>
            <a:lvl3pPr marL="548535" marR="0"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2000" kern="1200" spc="0" baseline="0">
                <a:solidFill>
                  <a:schemeClr val="tx2"/>
                </a:solidFill>
                <a:latin typeface="+mj-lt"/>
                <a:ea typeface="+mn-ea"/>
                <a:cs typeface="+mn-cs"/>
              </a:defRPr>
            </a:lvl3pPr>
            <a:lvl4pPr marL="733802" marR="0" indent="-28569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1765" kern="1200" spc="0" baseline="0">
                <a:solidFill>
                  <a:schemeClr val="tx2"/>
                </a:solidFill>
                <a:latin typeface="+mn-lt"/>
                <a:ea typeface="+mn-ea"/>
                <a:cs typeface="+mn-cs"/>
              </a:defRPr>
            </a:lvl4pPr>
            <a:lvl5pPr marL="957856" marR="0" indent="-28569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1765" kern="1200" spc="0" baseline="0">
                <a:solidFill>
                  <a:schemeClr val="tx2"/>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r>
              <a:rPr kumimoji="0" lang="en-US" sz="1800" b="1" i="0" u="none" strike="noStrike" kern="1200" cap="none" spc="0" normalizeH="0" baseline="0" noProof="0">
                <a:ln>
                  <a:noFill/>
                </a:ln>
                <a:solidFill>
                  <a:srgbClr val="000000"/>
                </a:solidFill>
                <a:effectLst/>
                <a:uLnTx/>
                <a:uFillTx/>
                <a:latin typeface="Segoe UI Light"/>
                <a:ea typeface="+mn-ea"/>
                <a:cs typeface="+mn-cs"/>
              </a:rPr>
              <a:t>Shows relative comparisons of regions </a:t>
            </a:r>
            <a:r>
              <a:rPr kumimoji="0" lang="en-US" sz="1800" b="0" i="0" u="none" strike="noStrike" kern="1200" cap="none" spc="0" normalizeH="0" baseline="0" noProof="0">
                <a:ln>
                  <a:noFill/>
                </a:ln>
                <a:solidFill>
                  <a:srgbClr val="000000"/>
                </a:solidFill>
                <a:effectLst/>
                <a:uLnTx/>
                <a:uFillTx/>
                <a:latin typeface="Segoe UI Light"/>
                <a:ea typeface="+mn-ea"/>
                <a:cs typeface="+mn-cs"/>
              </a:rPr>
              <a:t>on a map by by coloring them differently</a:t>
            </a: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1800" b="0" i="0" u="none" strike="noStrike" kern="1200" cap="none" spc="0" normalizeH="0" baseline="0" noProof="0">
              <a:ln>
                <a:noFill/>
              </a:ln>
              <a:solidFill>
                <a:srgbClr val="000000"/>
              </a:solidFill>
              <a:effectLst/>
              <a:uLnTx/>
              <a:uFillTx/>
              <a:latin typeface="Segoe UI Light"/>
              <a:ea typeface="+mn-ea"/>
              <a:cs typeface="+mn-cs"/>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r>
              <a:rPr kumimoji="0" lang="en-US" sz="1800" b="0" i="0" u="none" strike="noStrike" kern="1200" cap="none" spc="0" normalizeH="0" baseline="0" noProof="0">
                <a:ln>
                  <a:noFill/>
                </a:ln>
                <a:solidFill>
                  <a:srgbClr val="000000"/>
                </a:solidFill>
                <a:effectLst/>
                <a:uLnTx/>
                <a:uFillTx/>
                <a:latin typeface="Segoe UI Light"/>
                <a:ea typeface="+mn-ea"/>
                <a:cs typeface="+mn-cs"/>
              </a:rPr>
              <a:t>Based on </a:t>
            </a:r>
            <a:r>
              <a:rPr kumimoji="0" lang="en-US" sz="1800" b="1" i="0" u="none" strike="noStrike" kern="1200" cap="none" spc="0" normalizeH="0" baseline="0" noProof="0">
                <a:ln>
                  <a:noFill/>
                </a:ln>
                <a:solidFill>
                  <a:srgbClr val="000000"/>
                </a:solidFill>
                <a:effectLst/>
                <a:uLnTx/>
                <a:uFillTx/>
                <a:latin typeface="Segoe UI Light"/>
                <a:ea typeface="+mn-ea"/>
                <a:cs typeface="+mn-cs"/>
              </a:rPr>
              <a:t>ESRI/</a:t>
            </a:r>
            <a:r>
              <a:rPr kumimoji="0" lang="en-US" sz="1800" b="1" i="0" u="none" strike="noStrike" kern="1200" cap="none" spc="0" normalizeH="0" baseline="0" noProof="0" err="1">
                <a:ln>
                  <a:noFill/>
                </a:ln>
                <a:solidFill>
                  <a:srgbClr val="000000"/>
                </a:solidFill>
                <a:effectLst/>
                <a:uLnTx/>
                <a:uFillTx/>
                <a:latin typeface="Segoe UI Light"/>
                <a:ea typeface="+mn-ea"/>
                <a:cs typeface="+mn-cs"/>
              </a:rPr>
              <a:t>TopoJSON</a:t>
            </a:r>
            <a:r>
              <a:rPr kumimoji="0" lang="en-US" sz="1800" b="1" i="0" u="none" strike="noStrike" kern="1200" cap="none" spc="0" normalizeH="0" baseline="0" noProof="0">
                <a:ln>
                  <a:noFill/>
                </a:ln>
                <a:solidFill>
                  <a:srgbClr val="000000"/>
                </a:solidFill>
                <a:effectLst/>
                <a:uLnTx/>
                <a:uFillTx/>
                <a:latin typeface="Segoe UI Light"/>
                <a:ea typeface="+mn-ea"/>
                <a:cs typeface="+mn-cs"/>
              </a:rPr>
              <a:t> </a:t>
            </a:r>
            <a:r>
              <a:rPr kumimoji="0" lang="en-US" sz="1800" b="0" i="0" u="none" strike="noStrike" kern="1200" cap="none" spc="0" normalizeH="0" baseline="0" noProof="0">
                <a:ln>
                  <a:noFill/>
                </a:ln>
                <a:solidFill>
                  <a:srgbClr val="000000"/>
                </a:solidFill>
                <a:effectLst/>
                <a:uLnTx/>
                <a:uFillTx/>
                <a:latin typeface="Segoe UI Light"/>
                <a:ea typeface="+mn-ea"/>
                <a:cs typeface="+mn-cs"/>
              </a:rPr>
              <a:t>maps </a:t>
            </a: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1800" b="0" i="0" u="none" strike="noStrike" kern="1200" cap="none" spc="0" normalizeH="0" baseline="0" noProof="0">
              <a:ln>
                <a:noFill/>
              </a:ln>
              <a:solidFill>
                <a:srgbClr val="000000"/>
              </a:solidFill>
              <a:effectLst/>
              <a:uLnTx/>
              <a:uFillTx/>
              <a:latin typeface="Segoe UI Light"/>
              <a:ea typeface="+mn-ea"/>
              <a:cs typeface="+mn-cs"/>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r>
              <a:rPr kumimoji="0" lang="en-US" sz="1800" b="0" i="0" u="none" strike="noStrike" kern="1200" cap="none" spc="0" normalizeH="0" baseline="0" noProof="0">
                <a:ln>
                  <a:noFill/>
                </a:ln>
                <a:solidFill>
                  <a:srgbClr val="000000"/>
                </a:solidFill>
                <a:effectLst/>
                <a:uLnTx/>
                <a:uFillTx/>
                <a:latin typeface="Segoe UI Light"/>
                <a:ea typeface="+mn-ea"/>
                <a:cs typeface="+mn-cs"/>
              </a:rPr>
              <a:t>Supports </a:t>
            </a:r>
            <a:r>
              <a:rPr kumimoji="0" lang="en-US" sz="1800" b="1" i="0" u="none" strike="noStrike" kern="1200" cap="none" spc="0" normalizeH="0" baseline="0" noProof="0">
                <a:ln>
                  <a:noFill/>
                </a:ln>
                <a:solidFill>
                  <a:srgbClr val="000000"/>
                </a:solidFill>
                <a:effectLst/>
                <a:uLnTx/>
                <a:uFillTx/>
                <a:latin typeface="Segoe UI Light"/>
                <a:ea typeface="+mn-ea"/>
                <a:cs typeface="+mn-cs"/>
              </a:rPr>
              <a:t>custom maps</a:t>
            </a: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1800" b="0" i="0" u="none" strike="noStrike" kern="1200" cap="none" spc="0" normalizeH="0" baseline="0" noProof="0">
              <a:ln>
                <a:noFill/>
              </a:ln>
              <a:solidFill>
                <a:srgbClr val="000000"/>
              </a:solidFill>
              <a:effectLst/>
              <a:uLnTx/>
              <a:uFillTx/>
              <a:latin typeface="Segoe UI Light"/>
              <a:ea typeface="+mn-ea"/>
              <a:cs typeface="+mn-cs"/>
            </a:endParaRPr>
          </a:p>
        </p:txBody>
      </p:sp>
      <p:pic>
        <p:nvPicPr>
          <p:cNvPr id="9" name="Picture 8"/>
          <p:cNvPicPr>
            <a:picLocks noChangeAspect="1"/>
          </p:cNvPicPr>
          <p:nvPr/>
        </p:nvPicPr>
        <p:blipFill>
          <a:blip r:embed="rId3"/>
          <a:stretch>
            <a:fillRect/>
          </a:stretch>
        </p:blipFill>
        <p:spPr>
          <a:xfrm>
            <a:off x="8340441" y="841393"/>
            <a:ext cx="3557869" cy="2348428"/>
          </a:xfrm>
          <a:prstGeom prst="rect">
            <a:avLst/>
          </a:prstGeom>
        </p:spPr>
      </p:pic>
      <p:sp>
        <p:nvSpPr>
          <p:cNvPr id="44" name="Rectangle 3"/>
          <p:cNvSpPr/>
          <p:nvPr/>
        </p:nvSpPr>
        <p:spPr bwMode="auto">
          <a:xfrm>
            <a:off x="3202216" y="893758"/>
            <a:ext cx="8105312" cy="44435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PT" sz="2000" b="0" i="1" u="none" strike="noStrike" kern="1200" cap="none" spc="0" normalizeH="0" baseline="0" noProof="0">
                <a:ln>
                  <a:noFill/>
                </a:ln>
                <a:solidFill>
                  <a:prstClr val="black"/>
                </a:solidFill>
                <a:effectLst/>
                <a:uLnTx/>
                <a:uFillTx/>
                <a:latin typeface="Segoe UI Light"/>
                <a:ea typeface="+mn-ea"/>
                <a:cs typeface="+mn-cs"/>
              </a:rPr>
              <a:t>Visualizations – Shape Maps (Preview)</a:t>
            </a:r>
            <a:endParaRPr kumimoji="0" lang="en-US" sz="2000" b="0" i="1" u="none" strike="noStrike" kern="1200" cap="none" spc="0" normalizeH="0" baseline="0" noProof="0">
              <a:ln>
                <a:noFill/>
              </a:ln>
              <a:solidFill>
                <a:prstClr val="black"/>
              </a:solidFill>
              <a:effectLst/>
              <a:uLnTx/>
              <a:uFillTx/>
              <a:latin typeface="Segoe UI Light"/>
              <a:ea typeface="+mn-ea"/>
              <a:cs typeface="+mn-cs"/>
            </a:endParaRPr>
          </a:p>
        </p:txBody>
      </p:sp>
      <p:pic>
        <p:nvPicPr>
          <p:cNvPr id="6" name="Picture 5"/>
          <p:cNvPicPr>
            <a:picLocks noChangeAspect="1"/>
          </p:cNvPicPr>
          <p:nvPr/>
        </p:nvPicPr>
        <p:blipFill>
          <a:blip r:embed="rId4"/>
          <a:stretch>
            <a:fillRect/>
          </a:stretch>
        </p:blipFill>
        <p:spPr>
          <a:xfrm>
            <a:off x="5464743" y="3410943"/>
            <a:ext cx="2468901" cy="3303583"/>
          </a:xfrm>
          <a:prstGeom prst="rect">
            <a:avLst/>
          </a:prstGeom>
        </p:spPr>
      </p:pic>
      <p:pic>
        <p:nvPicPr>
          <p:cNvPr id="7" name="Picture 6"/>
          <p:cNvPicPr>
            <a:picLocks noChangeAspect="1"/>
          </p:cNvPicPr>
          <p:nvPr/>
        </p:nvPicPr>
        <p:blipFill>
          <a:blip r:embed="rId5"/>
          <a:stretch>
            <a:fillRect/>
          </a:stretch>
        </p:blipFill>
        <p:spPr>
          <a:xfrm>
            <a:off x="9820353" y="3068906"/>
            <a:ext cx="2371647" cy="3813115"/>
          </a:xfrm>
          <a:prstGeom prst="rect">
            <a:avLst/>
          </a:prstGeom>
        </p:spPr>
      </p:pic>
      <p:pic>
        <p:nvPicPr>
          <p:cNvPr id="11" name="Picture 10"/>
          <p:cNvPicPr>
            <a:picLocks noChangeAspect="1"/>
          </p:cNvPicPr>
          <p:nvPr/>
        </p:nvPicPr>
        <p:blipFill>
          <a:blip r:embed="rId6"/>
          <a:stretch>
            <a:fillRect/>
          </a:stretch>
        </p:blipFill>
        <p:spPr>
          <a:xfrm>
            <a:off x="7853266" y="3277155"/>
            <a:ext cx="1967087" cy="2687631"/>
          </a:xfrm>
          <a:prstGeom prst="rect">
            <a:avLst/>
          </a:prstGeom>
        </p:spPr>
      </p:pic>
      <p:pic>
        <p:nvPicPr>
          <p:cNvPr id="12" name="Picture 11"/>
          <p:cNvPicPr>
            <a:picLocks noChangeAspect="1"/>
          </p:cNvPicPr>
          <p:nvPr/>
        </p:nvPicPr>
        <p:blipFill>
          <a:blip r:embed="rId7"/>
          <a:stretch>
            <a:fillRect/>
          </a:stretch>
        </p:blipFill>
        <p:spPr>
          <a:xfrm>
            <a:off x="3038215" y="3646107"/>
            <a:ext cx="2324100" cy="3181350"/>
          </a:xfrm>
          <a:prstGeom prst="rect">
            <a:avLst/>
          </a:prstGeom>
        </p:spPr>
      </p:pic>
      <p:sp>
        <p:nvSpPr>
          <p:cNvPr id="49" name="Rectangle 48"/>
          <p:cNvSpPr/>
          <p:nvPr/>
        </p:nvSpPr>
        <p:spPr bwMode="auto">
          <a:xfrm>
            <a:off x="3659250" y="4581882"/>
            <a:ext cx="237507" cy="213756"/>
          </a:xfrm>
          <a:prstGeom prst="rect">
            <a:avLst/>
          </a:prstGeom>
          <a:noFill/>
          <a:ln w="38100">
            <a:solidFill>
              <a:srgbClr val="FF00F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21999139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solidFill>
            <a:schemeClr val="bg1"/>
          </a:solidFill>
        </p:spPr>
        <p:txBody>
          <a:bodyPr/>
          <a:lstStyle/>
          <a:p>
            <a:r>
              <a:rPr lang="pt-PT">
                <a:solidFill>
                  <a:schemeClr val="tx1"/>
                </a:solidFill>
              </a:rPr>
              <a:t> Visualisations – Funnel Chart</a:t>
            </a:r>
            <a:endParaRPr lang="en-US" sz="3600">
              <a:solidFill>
                <a:schemeClr val="tx1"/>
              </a:solidFill>
            </a:endParaRPr>
          </a:p>
        </p:txBody>
      </p:sp>
      <p:grpSp>
        <p:nvGrpSpPr>
          <p:cNvPr id="52" name="Group 51"/>
          <p:cNvGrpSpPr/>
          <p:nvPr/>
        </p:nvGrpSpPr>
        <p:grpSpPr>
          <a:xfrm>
            <a:off x="2" y="1"/>
            <a:ext cx="2849058" cy="6858000"/>
            <a:chOff x="2" y="1"/>
            <a:chExt cx="2849058" cy="6858000"/>
          </a:xfrm>
        </p:grpSpPr>
        <p:sp>
          <p:nvSpPr>
            <p:cNvPr id="71" name="Rectangle 70"/>
            <p:cNvSpPr/>
            <p:nvPr/>
          </p:nvSpPr>
          <p:spPr bwMode="auto">
            <a:xfrm>
              <a:off x="2" y="1"/>
              <a:ext cx="2849058"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3" name="Oval 70"/>
            <p:cNvSpPr/>
            <p:nvPr/>
          </p:nvSpPr>
          <p:spPr>
            <a:xfrm>
              <a:off x="1413521" y="4951537"/>
              <a:ext cx="1119626" cy="1119626"/>
            </a:xfrm>
            <a:prstGeom prst="ellipse">
              <a:avLst/>
            </a:prstGeom>
            <a:solidFill>
              <a:srgbClr val="F2C812"/>
            </a:solidFill>
            <a:ln w="3175" cap="flat" cmpd="sng" algn="ctr">
              <a:noFill/>
              <a:prstDash val="solid"/>
            </a:ln>
            <a:effectLst/>
          </p:spPr>
          <p:txBody>
            <a:bodyPr vert="horz" wrap="none" lIns="0" tIns="45720" rIns="0" bIns="0" rtlCol="0" anchor="t"/>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Segoe UI"/>
                  <a:ea typeface="Segoe UI" pitchFamily="34" charset="0"/>
                  <a:cs typeface="Segoe UI" pitchFamily="34" charset="0"/>
                </a:rPr>
                <a:t>Share &amp;</a:t>
              </a:r>
            </a:p>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Segoe UI"/>
                  <a:ea typeface="Segoe UI" pitchFamily="34" charset="0"/>
                  <a:cs typeface="Segoe UI" pitchFamily="34" charset="0"/>
                </a:rPr>
                <a:t>collaborate </a:t>
              </a:r>
            </a:p>
          </p:txBody>
        </p:sp>
        <p:grpSp>
          <p:nvGrpSpPr>
            <p:cNvPr id="76" name="Group 38"/>
            <p:cNvGrpSpPr>
              <a:grpSpLocks noChangeAspect="1"/>
            </p:cNvGrpSpPr>
            <p:nvPr/>
          </p:nvGrpSpPr>
          <p:grpSpPr>
            <a:xfrm>
              <a:off x="676996" y="3930692"/>
              <a:ext cx="383905" cy="351536"/>
              <a:chOff x="4363684" y="5330386"/>
              <a:chExt cx="1409956" cy="1291077"/>
            </a:xfrm>
            <a:solidFill>
              <a:srgbClr val="217346"/>
            </a:solidFill>
          </p:grpSpPr>
          <p:sp>
            <p:nvSpPr>
              <p:cNvPr id="102" name="Donut 3"/>
              <p:cNvSpPr/>
              <p:nvPr/>
            </p:nvSpPr>
            <p:spPr bwMode="auto">
              <a:xfrm>
                <a:off x="4363684" y="5330386"/>
                <a:ext cx="1409956" cy="1291077"/>
              </a:xfrm>
              <a:custGeom>
                <a:avLst/>
                <a:gdLst/>
                <a:ahLst/>
                <a:cxnLst/>
                <a:rect l="l" t="t" r="r" b="b"/>
                <a:pathLst>
                  <a:path w="1409956" h="1291077">
                    <a:moveTo>
                      <a:pt x="956401" y="78410"/>
                    </a:moveTo>
                    <a:cubicBezTo>
                      <a:pt x="747518" y="78410"/>
                      <a:pt x="578184" y="247744"/>
                      <a:pt x="578184" y="456627"/>
                    </a:cubicBezTo>
                    <a:cubicBezTo>
                      <a:pt x="578184" y="665510"/>
                      <a:pt x="747518" y="834844"/>
                      <a:pt x="956401" y="834844"/>
                    </a:cubicBezTo>
                    <a:cubicBezTo>
                      <a:pt x="1165284" y="834844"/>
                      <a:pt x="1334618" y="665510"/>
                      <a:pt x="1334618" y="456627"/>
                    </a:cubicBezTo>
                    <a:cubicBezTo>
                      <a:pt x="1334618" y="247744"/>
                      <a:pt x="1165284" y="78410"/>
                      <a:pt x="956401" y="78410"/>
                    </a:cubicBezTo>
                    <a:close/>
                    <a:moveTo>
                      <a:pt x="952756" y="0"/>
                    </a:moveTo>
                    <a:cubicBezTo>
                      <a:pt x="1205261" y="0"/>
                      <a:pt x="1409956" y="204695"/>
                      <a:pt x="1409956" y="457200"/>
                    </a:cubicBezTo>
                    <a:cubicBezTo>
                      <a:pt x="1409956" y="709705"/>
                      <a:pt x="1205261" y="914400"/>
                      <a:pt x="952756" y="914400"/>
                    </a:cubicBezTo>
                    <a:cubicBezTo>
                      <a:pt x="862133" y="914400"/>
                      <a:pt x="777669" y="888034"/>
                      <a:pt x="707132" y="841746"/>
                    </a:cubicBezTo>
                    <a:lnTo>
                      <a:pt x="136495" y="1280102"/>
                    </a:lnTo>
                    <a:cubicBezTo>
                      <a:pt x="21896" y="1327168"/>
                      <a:pt x="-44029" y="1213730"/>
                      <a:pt x="33797" y="1113182"/>
                    </a:cubicBezTo>
                    <a:lnTo>
                      <a:pt x="568587" y="703518"/>
                    </a:lnTo>
                    <a:cubicBezTo>
                      <a:pt x="522087" y="632814"/>
                      <a:pt x="495556" y="548105"/>
                      <a:pt x="495556" y="457200"/>
                    </a:cubicBezTo>
                    <a:cubicBezTo>
                      <a:pt x="495556" y="204695"/>
                      <a:pt x="700251" y="0"/>
                      <a:pt x="952756" y="0"/>
                    </a:cubicBezTo>
                    <a:close/>
                  </a:path>
                </a:pathLst>
              </a:custGeom>
              <a:grpFill/>
              <a:ln>
                <a:solidFill>
                  <a:srgbClr val="21734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sp>
            <p:nvSpPr>
              <p:cNvPr id="103" name="Rectangle 4"/>
              <p:cNvSpPr/>
              <p:nvPr/>
            </p:nvSpPr>
            <p:spPr>
              <a:xfrm>
                <a:off x="5058389" y="5528247"/>
                <a:ext cx="490885" cy="490020"/>
              </a:xfrm>
              <a:custGeom>
                <a:avLst/>
                <a:gdLst/>
                <a:ahLst/>
                <a:cxnLst/>
                <a:rect l="l" t="t" r="r" b="b"/>
                <a:pathLst>
                  <a:path w="490885" h="490020">
                    <a:moveTo>
                      <a:pt x="240752" y="0"/>
                    </a:moveTo>
                    <a:cubicBezTo>
                      <a:pt x="253961" y="11844"/>
                      <a:pt x="293310" y="49692"/>
                      <a:pt x="337332" y="92439"/>
                    </a:cubicBezTo>
                    <a:lnTo>
                      <a:pt x="328342" y="81259"/>
                    </a:lnTo>
                    <a:cubicBezTo>
                      <a:pt x="356946" y="111282"/>
                      <a:pt x="377251" y="107167"/>
                      <a:pt x="382515" y="87941"/>
                    </a:cubicBezTo>
                    <a:cubicBezTo>
                      <a:pt x="383951" y="76921"/>
                      <a:pt x="384595" y="68732"/>
                      <a:pt x="396997" y="52239"/>
                    </a:cubicBezTo>
                    <a:cubicBezTo>
                      <a:pt x="420362" y="32084"/>
                      <a:pt x="442294" y="41736"/>
                      <a:pt x="454920" y="51330"/>
                    </a:cubicBezTo>
                    <a:cubicBezTo>
                      <a:pt x="467834" y="62761"/>
                      <a:pt x="477920" y="86882"/>
                      <a:pt x="460392" y="109714"/>
                    </a:cubicBezTo>
                    <a:cubicBezTo>
                      <a:pt x="451128" y="121912"/>
                      <a:pt x="437554" y="126838"/>
                      <a:pt x="425922" y="126505"/>
                    </a:cubicBezTo>
                    <a:cubicBezTo>
                      <a:pt x="424301" y="127609"/>
                      <a:pt x="382890" y="134974"/>
                      <a:pt x="427348" y="177672"/>
                    </a:cubicBezTo>
                    <a:lnTo>
                      <a:pt x="416886" y="169735"/>
                    </a:lnTo>
                    <a:cubicBezTo>
                      <a:pt x="450207" y="202177"/>
                      <a:pt x="478424" y="229744"/>
                      <a:pt x="490885" y="241900"/>
                    </a:cubicBezTo>
                    <a:lnTo>
                      <a:pt x="417150" y="317347"/>
                    </a:lnTo>
                    <a:cubicBezTo>
                      <a:pt x="417744" y="316535"/>
                      <a:pt x="418443" y="316123"/>
                      <a:pt x="419047" y="315822"/>
                    </a:cubicBezTo>
                    <a:cubicBezTo>
                      <a:pt x="389023" y="344426"/>
                      <a:pt x="393138" y="364731"/>
                      <a:pt x="412364" y="369995"/>
                    </a:cubicBezTo>
                    <a:cubicBezTo>
                      <a:pt x="423384" y="371431"/>
                      <a:pt x="431574" y="372075"/>
                      <a:pt x="448067" y="384477"/>
                    </a:cubicBezTo>
                    <a:cubicBezTo>
                      <a:pt x="468221" y="407842"/>
                      <a:pt x="458569" y="429774"/>
                      <a:pt x="448975" y="442400"/>
                    </a:cubicBezTo>
                    <a:cubicBezTo>
                      <a:pt x="437545" y="455314"/>
                      <a:pt x="413423" y="465400"/>
                      <a:pt x="390591" y="447872"/>
                    </a:cubicBezTo>
                    <a:cubicBezTo>
                      <a:pt x="378394" y="438608"/>
                      <a:pt x="373468" y="425034"/>
                      <a:pt x="373800" y="413402"/>
                    </a:cubicBezTo>
                    <a:cubicBezTo>
                      <a:pt x="372696" y="411781"/>
                      <a:pt x="365332" y="370370"/>
                      <a:pt x="322634" y="414828"/>
                    </a:cubicBezTo>
                    <a:lnTo>
                      <a:pt x="325243" y="411388"/>
                    </a:lnTo>
                    <a:lnTo>
                      <a:pt x="248395" y="490020"/>
                    </a:lnTo>
                    <a:cubicBezTo>
                      <a:pt x="208939" y="451897"/>
                      <a:pt x="199129" y="442073"/>
                      <a:pt x="174192" y="418236"/>
                    </a:cubicBezTo>
                    <a:cubicBezTo>
                      <a:pt x="145587" y="388212"/>
                      <a:pt x="125282" y="392327"/>
                      <a:pt x="120018" y="411553"/>
                    </a:cubicBezTo>
                    <a:cubicBezTo>
                      <a:pt x="118582" y="422573"/>
                      <a:pt x="117938" y="430763"/>
                      <a:pt x="105536" y="447256"/>
                    </a:cubicBezTo>
                    <a:cubicBezTo>
                      <a:pt x="82171" y="467410"/>
                      <a:pt x="60239" y="457758"/>
                      <a:pt x="47614" y="448164"/>
                    </a:cubicBezTo>
                    <a:cubicBezTo>
                      <a:pt x="34699" y="436734"/>
                      <a:pt x="24614" y="412612"/>
                      <a:pt x="42141" y="389780"/>
                    </a:cubicBezTo>
                    <a:cubicBezTo>
                      <a:pt x="51405" y="377583"/>
                      <a:pt x="64979" y="372657"/>
                      <a:pt x="76612" y="372989"/>
                    </a:cubicBezTo>
                    <a:cubicBezTo>
                      <a:pt x="78232" y="371886"/>
                      <a:pt x="119644" y="364521"/>
                      <a:pt x="75186" y="321823"/>
                    </a:cubicBezTo>
                    <a:cubicBezTo>
                      <a:pt x="58767" y="305402"/>
                      <a:pt x="23648" y="271235"/>
                      <a:pt x="0" y="248738"/>
                    </a:cubicBezTo>
                    <a:lnTo>
                      <a:pt x="77303" y="168146"/>
                    </a:lnTo>
                    <a:cubicBezTo>
                      <a:pt x="104269" y="140313"/>
                      <a:pt x="122130" y="156409"/>
                      <a:pt x="124388" y="175543"/>
                    </a:cubicBezTo>
                    <a:cubicBezTo>
                      <a:pt x="124457" y="182466"/>
                      <a:pt x="127106" y="193106"/>
                      <a:pt x="137575" y="203052"/>
                    </a:cubicBezTo>
                    <a:cubicBezTo>
                      <a:pt x="153931" y="220277"/>
                      <a:pt x="181252" y="217451"/>
                      <a:pt x="196721" y="201951"/>
                    </a:cubicBezTo>
                    <a:cubicBezTo>
                      <a:pt x="211961" y="185740"/>
                      <a:pt x="213057" y="157882"/>
                      <a:pt x="196146" y="142797"/>
                    </a:cubicBezTo>
                    <a:cubicBezTo>
                      <a:pt x="184301" y="132637"/>
                      <a:pt x="177155" y="131453"/>
                      <a:pt x="166513" y="129894"/>
                    </a:cubicBezTo>
                    <a:cubicBezTo>
                      <a:pt x="154522" y="129013"/>
                      <a:pt x="131185" y="112953"/>
                      <a:pt x="157905" y="85228"/>
                    </a:cubicBezTo>
                    <a:close/>
                  </a:path>
                </a:pathLst>
              </a:custGeom>
              <a:grpFill/>
              <a:ln>
                <a:solidFill>
                  <a:srgbClr val="21734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grpSp>
        <p:sp>
          <p:nvSpPr>
            <p:cNvPr id="77" name="Oval 47"/>
            <p:cNvSpPr/>
            <p:nvPr/>
          </p:nvSpPr>
          <p:spPr>
            <a:xfrm>
              <a:off x="388608" y="3710471"/>
              <a:ext cx="1119626" cy="1119626"/>
            </a:xfrm>
            <a:prstGeom prst="ellipse">
              <a:avLst/>
            </a:prstGeom>
            <a:solidFill>
              <a:srgbClr val="F2C812"/>
            </a:solidFill>
            <a:ln w="3175" cap="flat" cmpd="sng" algn="ctr">
              <a:noFill/>
              <a:prstDash val="solid"/>
            </a:ln>
            <a:effectLst/>
          </p:spPr>
          <p:txBody>
            <a:bodyPr vert="horz" wrap="none" lIns="0" tIns="45720" rIns="0" bIns="0" rtlCol="0" anchor="t"/>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Segoe UI"/>
                  <a:ea typeface="Segoe UI" pitchFamily="34" charset="0"/>
                  <a:cs typeface="Segoe UI" pitchFamily="34" charset="0"/>
                </a:rPr>
                <a:t>Report</a:t>
              </a:r>
            </a:p>
          </p:txBody>
        </p:sp>
        <p:sp>
          <p:nvSpPr>
            <p:cNvPr id="78" name="Oval 950"/>
            <p:cNvSpPr/>
            <p:nvPr/>
          </p:nvSpPr>
          <p:spPr>
            <a:xfrm>
              <a:off x="388608" y="1252295"/>
              <a:ext cx="1119626" cy="1119626"/>
            </a:xfrm>
            <a:prstGeom prst="ellipse">
              <a:avLst/>
            </a:prstGeom>
            <a:solidFill>
              <a:srgbClr val="F2C812"/>
            </a:solidFill>
            <a:ln w="3175" cap="flat" cmpd="sng" algn="ctr">
              <a:noFill/>
              <a:prstDash val="solid"/>
            </a:ln>
            <a:effectLst/>
          </p:spPr>
          <p:txBody>
            <a:bodyPr vert="horz" wrap="none" lIns="0" tIns="45720" rIns="0" bIns="0" rtlCol="0" anchor="t"/>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1" i="0" u="none" strike="noStrike" kern="1200" cap="none" spc="0" normalizeH="0" baseline="0" noProof="0">
                <a:ln>
                  <a:noFill/>
                </a:ln>
                <a:solidFill>
                  <a:srgbClr val="217346"/>
                </a:solidFill>
                <a:effectLst/>
                <a:uLnTx/>
                <a:uFillTx/>
                <a:latin typeface="Segoe UI"/>
                <a:ea typeface="Segoe UI" pitchFamily="34" charset="0"/>
                <a:cs typeface="Segoe UI" pitchFamily="34" charset="0"/>
              </a:endParaRPr>
            </a:p>
          </p:txBody>
        </p:sp>
        <p:grpSp>
          <p:nvGrpSpPr>
            <p:cNvPr id="79" name="Group 78"/>
            <p:cNvGrpSpPr/>
            <p:nvPr/>
          </p:nvGrpSpPr>
          <p:grpSpPr>
            <a:xfrm>
              <a:off x="1264851" y="3482890"/>
              <a:ext cx="292254" cy="354906"/>
              <a:chOff x="1296521" y="3253388"/>
              <a:chExt cx="292254" cy="354906"/>
            </a:xfrm>
            <a:solidFill>
              <a:srgbClr val="F2C812"/>
            </a:solidFill>
          </p:grpSpPr>
          <p:sp>
            <p:nvSpPr>
              <p:cNvPr id="99" name="Isosceles Triangle 98"/>
              <p:cNvSpPr/>
              <p:nvPr/>
            </p:nvSpPr>
            <p:spPr bwMode="auto">
              <a:xfrm rot="13636515">
                <a:off x="1461362" y="328936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0" name="Isosceles Triangle 99"/>
              <p:cNvSpPr/>
              <p:nvPr/>
            </p:nvSpPr>
            <p:spPr bwMode="auto">
              <a:xfrm rot="13636515">
                <a:off x="1357669" y="338258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1" name="Isosceles Triangle 100"/>
              <p:cNvSpPr/>
              <p:nvPr/>
            </p:nvSpPr>
            <p:spPr bwMode="auto">
              <a:xfrm rot="13636515">
                <a:off x="1260548" y="3480882"/>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80" name="Group 79"/>
            <p:cNvGrpSpPr/>
            <p:nvPr/>
          </p:nvGrpSpPr>
          <p:grpSpPr>
            <a:xfrm rot="15940603">
              <a:off x="1334576" y="2204404"/>
              <a:ext cx="292254" cy="354906"/>
              <a:chOff x="1296521" y="3253388"/>
              <a:chExt cx="292254" cy="354906"/>
            </a:xfrm>
            <a:solidFill>
              <a:srgbClr val="F2C812"/>
            </a:solidFill>
          </p:grpSpPr>
          <p:sp>
            <p:nvSpPr>
              <p:cNvPr id="96" name="Isosceles Triangle 95"/>
              <p:cNvSpPr/>
              <p:nvPr/>
            </p:nvSpPr>
            <p:spPr bwMode="auto">
              <a:xfrm rot="13636515">
                <a:off x="1461362" y="328936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7" name="Isosceles Triangle 96"/>
              <p:cNvSpPr/>
              <p:nvPr/>
            </p:nvSpPr>
            <p:spPr bwMode="auto">
              <a:xfrm rot="13636515">
                <a:off x="1357669" y="338258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8" name="Isosceles Triangle 97"/>
              <p:cNvSpPr/>
              <p:nvPr/>
            </p:nvSpPr>
            <p:spPr bwMode="auto">
              <a:xfrm rot="13636515">
                <a:off x="1260548" y="3480882"/>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81" name="Group 80"/>
            <p:cNvGrpSpPr/>
            <p:nvPr/>
          </p:nvGrpSpPr>
          <p:grpSpPr>
            <a:xfrm rot="16043978">
              <a:off x="1317220" y="4717577"/>
              <a:ext cx="292254" cy="354906"/>
              <a:chOff x="1296521" y="3253388"/>
              <a:chExt cx="292254" cy="354906"/>
            </a:xfrm>
            <a:solidFill>
              <a:srgbClr val="F2C812"/>
            </a:solidFill>
          </p:grpSpPr>
          <p:sp>
            <p:nvSpPr>
              <p:cNvPr id="93" name="Isosceles Triangle 92"/>
              <p:cNvSpPr/>
              <p:nvPr/>
            </p:nvSpPr>
            <p:spPr bwMode="auto">
              <a:xfrm rot="13636515">
                <a:off x="1461362" y="328936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4" name="Isosceles Triangle 93"/>
              <p:cNvSpPr/>
              <p:nvPr/>
            </p:nvSpPr>
            <p:spPr bwMode="auto">
              <a:xfrm rot="13636515">
                <a:off x="1357669" y="338258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5" name="Isosceles Triangle 94"/>
              <p:cNvSpPr/>
              <p:nvPr/>
            </p:nvSpPr>
            <p:spPr bwMode="auto">
              <a:xfrm rot="13636515">
                <a:off x="1260548" y="3480882"/>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82" name="Oval 36"/>
            <p:cNvSpPr/>
            <p:nvPr/>
          </p:nvSpPr>
          <p:spPr>
            <a:xfrm>
              <a:off x="1413521" y="2481383"/>
              <a:ext cx="1119626" cy="1119626"/>
            </a:xfrm>
            <a:prstGeom prst="ellipse">
              <a:avLst/>
            </a:prstGeom>
            <a:solidFill>
              <a:srgbClr val="F2C812"/>
            </a:solidFill>
            <a:ln w="3175" cap="flat" cmpd="sng" algn="ctr">
              <a:noFill/>
              <a:prstDash val="solid"/>
            </a:ln>
            <a:effectLst/>
          </p:spPr>
          <p:txBody>
            <a:bodyPr vert="horz" wrap="none" lIns="0" tIns="0" rIns="0" bIns="0" rtlCol="0" anchor="t"/>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400" b="1" i="0" u="none" strike="noStrike" kern="1200" cap="none" spc="0" normalizeH="0" baseline="0" noProof="0">
                <a:ln>
                  <a:noFill/>
                </a:ln>
                <a:solidFill>
                  <a:srgbClr val="217346"/>
                </a:solidFill>
                <a:effectLst/>
                <a:uLnTx/>
                <a:uFillTx/>
                <a:latin typeface="Segoe UI"/>
                <a:ea typeface="Segoe UI" pitchFamily="34" charset="0"/>
                <a:cs typeface="Segoe UI" pitchFamily="34" charset="0"/>
              </a:endParaRPr>
            </a:p>
          </p:txBody>
        </p:sp>
        <p:sp>
          <p:nvSpPr>
            <p:cNvPr id="83" name="Donut 3"/>
            <p:cNvSpPr/>
            <p:nvPr/>
          </p:nvSpPr>
          <p:spPr bwMode="auto">
            <a:xfrm>
              <a:off x="1742065" y="3002355"/>
              <a:ext cx="383905" cy="351537"/>
            </a:xfrm>
            <a:custGeom>
              <a:avLst/>
              <a:gdLst/>
              <a:ahLst/>
              <a:cxnLst/>
              <a:rect l="l" t="t" r="r" b="b"/>
              <a:pathLst>
                <a:path w="1409956" h="1291077">
                  <a:moveTo>
                    <a:pt x="956401" y="78410"/>
                  </a:moveTo>
                  <a:cubicBezTo>
                    <a:pt x="747518" y="78410"/>
                    <a:pt x="578184" y="247744"/>
                    <a:pt x="578184" y="456627"/>
                  </a:cubicBezTo>
                  <a:cubicBezTo>
                    <a:pt x="578184" y="665510"/>
                    <a:pt x="747518" y="834844"/>
                    <a:pt x="956401" y="834844"/>
                  </a:cubicBezTo>
                  <a:cubicBezTo>
                    <a:pt x="1165284" y="834844"/>
                    <a:pt x="1334618" y="665510"/>
                    <a:pt x="1334618" y="456627"/>
                  </a:cubicBezTo>
                  <a:cubicBezTo>
                    <a:pt x="1334618" y="247744"/>
                    <a:pt x="1165284" y="78410"/>
                    <a:pt x="956401" y="78410"/>
                  </a:cubicBezTo>
                  <a:close/>
                  <a:moveTo>
                    <a:pt x="952756" y="0"/>
                  </a:moveTo>
                  <a:cubicBezTo>
                    <a:pt x="1205261" y="0"/>
                    <a:pt x="1409956" y="204695"/>
                    <a:pt x="1409956" y="457200"/>
                  </a:cubicBezTo>
                  <a:cubicBezTo>
                    <a:pt x="1409956" y="709705"/>
                    <a:pt x="1205261" y="914400"/>
                    <a:pt x="952756" y="914400"/>
                  </a:cubicBezTo>
                  <a:cubicBezTo>
                    <a:pt x="862133" y="914400"/>
                    <a:pt x="777669" y="888034"/>
                    <a:pt x="707132" y="841746"/>
                  </a:cubicBezTo>
                  <a:lnTo>
                    <a:pt x="136495" y="1280102"/>
                  </a:lnTo>
                  <a:cubicBezTo>
                    <a:pt x="21896" y="1327168"/>
                    <a:pt x="-44029" y="1213730"/>
                    <a:pt x="33797" y="1113182"/>
                  </a:cubicBezTo>
                  <a:lnTo>
                    <a:pt x="568587" y="703518"/>
                  </a:lnTo>
                  <a:cubicBezTo>
                    <a:pt x="522087" y="632814"/>
                    <a:pt x="495556" y="548105"/>
                    <a:pt x="495556" y="457200"/>
                  </a:cubicBezTo>
                  <a:cubicBezTo>
                    <a:pt x="495556" y="204695"/>
                    <a:pt x="700251" y="0"/>
                    <a:pt x="952756" y="0"/>
                  </a:cubicBezTo>
                  <a:close/>
                </a:path>
              </a:pathLst>
            </a:cu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sp>
          <p:nvSpPr>
            <p:cNvPr id="84" name="Rectangle 83"/>
            <p:cNvSpPr/>
            <p:nvPr/>
          </p:nvSpPr>
          <p:spPr>
            <a:xfrm>
              <a:off x="1600398" y="2677430"/>
              <a:ext cx="820353" cy="307777"/>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Segoe UI"/>
                  <a:ea typeface="Segoe UI" pitchFamily="34" charset="0"/>
                  <a:cs typeface="Segoe UI" pitchFamily="34" charset="0"/>
                </a:rPr>
                <a:t>Explore</a:t>
              </a:r>
              <a:endParaRPr kumimoji="0" lang="en-US" sz="1600" b="0" i="0" u="none" strike="noStrike" kern="1200" cap="none" spc="0" normalizeH="0" baseline="0" noProof="0">
                <a:ln>
                  <a:noFill/>
                </a:ln>
                <a:solidFill>
                  <a:srgbClr val="000000"/>
                </a:solidFill>
                <a:effectLst/>
                <a:uLnTx/>
                <a:uFillTx/>
                <a:latin typeface="Segoe UI"/>
                <a:ea typeface="+mn-ea"/>
                <a:cs typeface="+mn-cs"/>
              </a:endParaRPr>
            </a:p>
          </p:txBody>
        </p:sp>
        <p:sp>
          <p:nvSpPr>
            <p:cNvPr id="85" name="Rectangle 84"/>
            <p:cNvSpPr/>
            <p:nvPr/>
          </p:nvSpPr>
          <p:spPr>
            <a:xfrm>
              <a:off x="509174" y="1475232"/>
              <a:ext cx="838756" cy="307777"/>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Segoe UI"/>
                  <a:ea typeface="Segoe UI" pitchFamily="34" charset="0"/>
                  <a:cs typeface="Segoe UI" pitchFamily="34" charset="0"/>
                </a:rPr>
                <a:t>Prepare</a:t>
              </a: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86" name="Freeform 85"/>
            <p:cNvSpPr>
              <a:spLocks noChangeAspect="1"/>
            </p:cNvSpPr>
            <p:nvPr/>
          </p:nvSpPr>
          <p:spPr bwMode="black">
            <a:xfrm>
              <a:off x="1836174" y="5643069"/>
              <a:ext cx="274320" cy="284173"/>
            </a:xfrm>
            <a:custGeom>
              <a:avLst/>
              <a:gdLst>
                <a:gd name="T0" fmla="*/ 539 w 669"/>
                <a:gd name="T1" fmla="*/ 5 h 693"/>
                <a:gd name="T2" fmla="*/ 640 w 669"/>
                <a:gd name="T3" fmla="*/ 55 h 693"/>
                <a:gd name="T4" fmla="*/ 603 w 669"/>
                <a:gd name="T5" fmla="*/ 195 h 693"/>
                <a:gd name="T6" fmla="*/ 490 w 669"/>
                <a:gd name="T7" fmla="*/ 188 h 693"/>
                <a:gd name="T8" fmla="*/ 479 w 669"/>
                <a:gd name="T9" fmla="*/ 176 h 693"/>
                <a:gd name="T10" fmla="*/ 213 w 669"/>
                <a:gd name="T11" fmla="*/ 330 h 693"/>
                <a:gd name="T12" fmla="*/ 218 w 669"/>
                <a:gd name="T13" fmla="*/ 345 h 693"/>
                <a:gd name="T14" fmla="*/ 218 w 669"/>
                <a:gd name="T15" fmla="*/ 375 h 693"/>
                <a:gd name="T16" fmla="*/ 209 w 669"/>
                <a:gd name="T17" fmla="*/ 402 h 693"/>
                <a:gd name="T18" fmla="*/ 369 w 669"/>
                <a:gd name="T19" fmla="*/ 503 h 693"/>
                <a:gd name="T20" fmla="*/ 373 w 669"/>
                <a:gd name="T21" fmla="*/ 498 h 693"/>
                <a:gd name="T22" fmla="*/ 456 w 669"/>
                <a:gd name="T23" fmla="*/ 475 h 693"/>
                <a:gd name="T24" fmla="*/ 494 w 669"/>
                <a:gd name="T25" fmla="*/ 489 h 693"/>
                <a:gd name="T26" fmla="*/ 527 w 669"/>
                <a:gd name="T27" fmla="*/ 630 h 693"/>
                <a:gd name="T28" fmla="*/ 386 w 669"/>
                <a:gd name="T29" fmla="*/ 663 h 693"/>
                <a:gd name="T30" fmla="*/ 339 w 669"/>
                <a:gd name="T31" fmla="*/ 560 h 693"/>
                <a:gd name="T32" fmla="*/ 345 w 669"/>
                <a:gd name="T33" fmla="*/ 544 h 693"/>
                <a:gd name="T34" fmla="*/ 177 w 669"/>
                <a:gd name="T35" fmla="*/ 439 h 693"/>
                <a:gd name="T36" fmla="*/ 168 w 669"/>
                <a:gd name="T37" fmla="*/ 446 h 693"/>
                <a:gd name="T38" fmla="*/ 28 w 669"/>
                <a:gd name="T39" fmla="*/ 409 h 693"/>
                <a:gd name="T40" fmla="*/ 65 w 669"/>
                <a:gd name="T41" fmla="*/ 269 h 693"/>
                <a:gd name="T42" fmla="*/ 178 w 669"/>
                <a:gd name="T43" fmla="*/ 276 h 693"/>
                <a:gd name="T44" fmla="*/ 189 w 669"/>
                <a:gd name="T45" fmla="*/ 288 h 693"/>
                <a:gd name="T46" fmla="*/ 455 w 669"/>
                <a:gd name="T47" fmla="*/ 134 h 693"/>
                <a:gd name="T48" fmla="*/ 450 w 669"/>
                <a:gd name="T49" fmla="*/ 119 h 693"/>
                <a:gd name="T50" fmla="*/ 501 w 669"/>
                <a:gd name="T51" fmla="*/ 18 h 693"/>
                <a:gd name="T52" fmla="*/ 539 w 669"/>
                <a:gd name="T53" fmla="*/ 5 h 6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69" h="693">
                  <a:moveTo>
                    <a:pt x="539" y="5"/>
                  </a:moveTo>
                  <a:cubicBezTo>
                    <a:pt x="579" y="0"/>
                    <a:pt x="619" y="19"/>
                    <a:pt x="640" y="55"/>
                  </a:cubicBezTo>
                  <a:cubicBezTo>
                    <a:pt x="669" y="104"/>
                    <a:pt x="652" y="167"/>
                    <a:pt x="603" y="195"/>
                  </a:cubicBezTo>
                  <a:cubicBezTo>
                    <a:pt x="566" y="216"/>
                    <a:pt x="522" y="212"/>
                    <a:pt x="490" y="188"/>
                  </a:cubicBezTo>
                  <a:cubicBezTo>
                    <a:pt x="479" y="176"/>
                    <a:pt x="479" y="176"/>
                    <a:pt x="479" y="176"/>
                  </a:cubicBezTo>
                  <a:cubicBezTo>
                    <a:pt x="213" y="330"/>
                    <a:pt x="213" y="330"/>
                    <a:pt x="213" y="330"/>
                  </a:cubicBezTo>
                  <a:cubicBezTo>
                    <a:pt x="218" y="345"/>
                    <a:pt x="218" y="345"/>
                    <a:pt x="218" y="345"/>
                  </a:cubicBezTo>
                  <a:cubicBezTo>
                    <a:pt x="219" y="355"/>
                    <a:pt x="219" y="365"/>
                    <a:pt x="218" y="375"/>
                  </a:cubicBezTo>
                  <a:cubicBezTo>
                    <a:pt x="209" y="402"/>
                    <a:pt x="209" y="402"/>
                    <a:pt x="209" y="402"/>
                  </a:cubicBezTo>
                  <a:cubicBezTo>
                    <a:pt x="369" y="503"/>
                    <a:pt x="369" y="503"/>
                    <a:pt x="369" y="503"/>
                  </a:cubicBezTo>
                  <a:cubicBezTo>
                    <a:pt x="373" y="498"/>
                    <a:pt x="373" y="498"/>
                    <a:pt x="373" y="498"/>
                  </a:cubicBezTo>
                  <a:cubicBezTo>
                    <a:pt x="396" y="479"/>
                    <a:pt x="427" y="470"/>
                    <a:pt x="456" y="475"/>
                  </a:cubicBezTo>
                  <a:cubicBezTo>
                    <a:pt x="470" y="477"/>
                    <a:pt x="482" y="482"/>
                    <a:pt x="494" y="489"/>
                  </a:cubicBezTo>
                  <a:cubicBezTo>
                    <a:pt x="542" y="519"/>
                    <a:pt x="557" y="583"/>
                    <a:pt x="527" y="630"/>
                  </a:cubicBezTo>
                  <a:cubicBezTo>
                    <a:pt x="497" y="678"/>
                    <a:pt x="433" y="693"/>
                    <a:pt x="386" y="663"/>
                  </a:cubicBezTo>
                  <a:cubicBezTo>
                    <a:pt x="350" y="640"/>
                    <a:pt x="333" y="599"/>
                    <a:pt x="339" y="560"/>
                  </a:cubicBezTo>
                  <a:cubicBezTo>
                    <a:pt x="345" y="544"/>
                    <a:pt x="345" y="544"/>
                    <a:pt x="345" y="544"/>
                  </a:cubicBezTo>
                  <a:cubicBezTo>
                    <a:pt x="177" y="439"/>
                    <a:pt x="177" y="439"/>
                    <a:pt x="177" y="439"/>
                  </a:cubicBezTo>
                  <a:cubicBezTo>
                    <a:pt x="168" y="446"/>
                    <a:pt x="168" y="446"/>
                    <a:pt x="168" y="446"/>
                  </a:cubicBezTo>
                  <a:cubicBezTo>
                    <a:pt x="119" y="475"/>
                    <a:pt x="56" y="458"/>
                    <a:pt x="28" y="409"/>
                  </a:cubicBezTo>
                  <a:cubicBezTo>
                    <a:pt x="0" y="360"/>
                    <a:pt x="16" y="297"/>
                    <a:pt x="65" y="269"/>
                  </a:cubicBezTo>
                  <a:cubicBezTo>
                    <a:pt x="102" y="248"/>
                    <a:pt x="147" y="252"/>
                    <a:pt x="178" y="276"/>
                  </a:cubicBezTo>
                  <a:cubicBezTo>
                    <a:pt x="189" y="288"/>
                    <a:pt x="189" y="288"/>
                    <a:pt x="189" y="288"/>
                  </a:cubicBezTo>
                  <a:cubicBezTo>
                    <a:pt x="455" y="134"/>
                    <a:pt x="455" y="134"/>
                    <a:pt x="455" y="134"/>
                  </a:cubicBezTo>
                  <a:cubicBezTo>
                    <a:pt x="450" y="119"/>
                    <a:pt x="450" y="119"/>
                    <a:pt x="450" y="119"/>
                  </a:cubicBezTo>
                  <a:cubicBezTo>
                    <a:pt x="445" y="80"/>
                    <a:pt x="464" y="39"/>
                    <a:pt x="501" y="18"/>
                  </a:cubicBezTo>
                  <a:cubicBezTo>
                    <a:pt x="513" y="11"/>
                    <a:pt x="526" y="6"/>
                    <a:pt x="539" y="5"/>
                  </a:cubicBezTo>
                  <a:close/>
                </a:path>
              </a:pathLst>
            </a:custGeom>
            <a:solidFill>
              <a:schemeClr val="tx1"/>
            </a:solidFill>
            <a:ln>
              <a:noFill/>
            </a:ln>
          </p:spPr>
          <p:txBody>
            <a:bodyPr vert="horz" wrap="square" lIns="68574" tIns="34287" rIns="68574" bIns="34287"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0000"/>
                </a:solidFill>
                <a:effectLst/>
                <a:uLnTx/>
                <a:uFillTx/>
                <a:latin typeface="Segoe UI"/>
                <a:ea typeface="+mn-ea"/>
                <a:cs typeface="+mn-cs"/>
              </a:endParaRPr>
            </a:p>
          </p:txBody>
        </p:sp>
        <p:sp>
          <p:nvSpPr>
            <p:cNvPr id="87" name="Freeform 86"/>
            <p:cNvSpPr>
              <a:spLocks noChangeAspect="1" noEditPoints="1"/>
            </p:cNvSpPr>
            <p:nvPr/>
          </p:nvSpPr>
          <p:spPr bwMode="black">
            <a:xfrm>
              <a:off x="722320" y="1783009"/>
              <a:ext cx="452202" cy="366660"/>
            </a:xfrm>
            <a:custGeom>
              <a:avLst/>
              <a:gdLst>
                <a:gd name="T0" fmla="*/ 600 w 1107"/>
                <a:gd name="T1" fmla="*/ 625 h 897"/>
                <a:gd name="T2" fmla="*/ 649 w 1107"/>
                <a:gd name="T3" fmla="*/ 567 h 897"/>
                <a:gd name="T4" fmla="*/ 727 w 1107"/>
                <a:gd name="T5" fmla="*/ 482 h 897"/>
                <a:gd name="T6" fmla="*/ 601 w 1107"/>
                <a:gd name="T7" fmla="*/ 434 h 897"/>
                <a:gd name="T8" fmla="*/ 628 w 1107"/>
                <a:gd name="T9" fmla="*/ 305 h 897"/>
                <a:gd name="T10" fmla="*/ 547 w 1107"/>
                <a:gd name="T11" fmla="*/ 240 h 897"/>
                <a:gd name="T12" fmla="*/ 427 w 1107"/>
                <a:gd name="T13" fmla="*/ 287 h 897"/>
                <a:gd name="T14" fmla="*/ 368 w 1107"/>
                <a:gd name="T15" fmla="*/ 170 h 897"/>
                <a:gd name="T16" fmla="*/ 285 w 1107"/>
                <a:gd name="T17" fmla="*/ 263 h 897"/>
                <a:gd name="T18" fmla="*/ 241 w 1107"/>
                <a:gd name="T19" fmla="*/ 313 h 897"/>
                <a:gd name="T20" fmla="*/ 139 w 1107"/>
                <a:gd name="T21" fmla="*/ 281 h 897"/>
                <a:gd name="T22" fmla="*/ 79 w 1107"/>
                <a:gd name="T23" fmla="*/ 355 h 897"/>
                <a:gd name="T24" fmla="*/ 132 w 1107"/>
                <a:gd name="T25" fmla="*/ 446 h 897"/>
                <a:gd name="T26" fmla="*/ 83 w 1107"/>
                <a:gd name="T27" fmla="*/ 505 h 897"/>
                <a:gd name="T28" fmla="*/ 5 w 1107"/>
                <a:gd name="T29" fmla="*/ 590 h 897"/>
                <a:gd name="T30" fmla="*/ 132 w 1107"/>
                <a:gd name="T31" fmla="*/ 638 h 897"/>
                <a:gd name="T32" fmla="*/ 145 w 1107"/>
                <a:gd name="T33" fmla="*/ 669 h 897"/>
                <a:gd name="T34" fmla="*/ 110 w 1107"/>
                <a:gd name="T35" fmla="*/ 793 h 897"/>
                <a:gd name="T36" fmla="*/ 230 w 1107"/>
                <a:gd name="T37" fmla="*/ 781 h 897"/>
                <a:gd name="T38" fmla="*/ 306 w 1107"/>
                <a:gd name="T39" fmla="*/ 785 h 897"/>
                <a:gd name="T40" fmla="*/ 346 w 1107"/>
                <a:gd name="T41" fmla="*/ 878 h 897"/>
                <a:gd name="T42" fmla="*/ 440 w 1107"/>
                <a:gd name="T43" fmla="*/ 872 h 897"/>
                <a:gd name="T44" fmla="*/ 466 w 1107"/>
                <a:gd name="T45" fmla="*/ 764 h 897"/>
                <a:gd name="T46" fmla="*/ 539 w 1107"/>
                <a:gd name="T47" fmla="*/ 755 h 897"/>
                <a:gd name="T48" fmla="*/ 659 w 1107"/>
                <a:gd name="T49" fmla="*/ 743 h 897"/>
                <a:gd name="T50" fmla="*/ 263 w 1107"/>
                <a:gd name="T51" fmla="*/ 452 h 897"/>
                <a:gd name="T52" fmla="*/ 281 w 1107"/>
                <a:gd name="T53" fmla="*/ 633 h 897"/>
                <a:gd name="T54" fmla="*/ 1002 w 1107"/>
                <a:gd name="T55" fmla="*/ 332 h 897"/>
                <a:gd name="T56" fmla="*/ 1043 w 1107"/>
                <a:gd name="T57" fmla="*/ 304 h 897"/>
                <a:gd name="T58" fmla="*/ 1107 w 1107"/>
                <a:gd name="T59" fmla="*/ 266 h 897"/>
                <a:gd name="T60" fmla="*/ 1037 w 1107"/>
                <a:gd name="T61" fmla="*/ 213 h 897"/>
                <a:gd name="T62" fmla="*/ 1077 w 1107"/>
                <a:gd name="T63" fmla="*/ 138 h 897"/>
                <a:gd name="T64" fmla="*/ 1038 w 1107"/>
                <a:gd name="T65" fmla="*/ 83 h 897"/>
                <a:gd name="T66" fmla="*/ 956 w 1107"/>
                <a:gd name="T67" fmla="*/ 91 h 897"/>
                <a:gd name="T68" fmla="*/ 940 w 1107"/>
                <a:gd name="T69" fmla="*/ 7 h 897"/>
                <a:gd name="T70" fmla="*/ 872 w 1107"/>
                <a:gd name="T71" fmla="*/ 50 h 897"/>
                <a:gd name="T72" fmla="*/ 836 w 1107"/>
                <a:gd name="T73" fmla="*/ 74 h 897"/>
                <a:gd name="T74" fmla="*/ 778 w 1107"/>
                <a:gd name="T75" fmla="*/ 35 h 897"/>
                <a:gd name="T76" fmla="*/ 728 w 1107"/>
                <a:gd name="T77" fmla="*/ 70 h 897"/>
                <a:gd name="T78" fmla="*/ 744 w 1107"/>
                <a:gd name="T79" fmla="*/ 136 h 897"/>
                <a:gd name="T80" fmla="*/ 703 w 1107"/>
                <a:gd name="T81" fmla="*/ 164 h 897"/>
                <a:gd name="T82" fmla="*/ 640 w 1107"/>
                <a:gd name="T83" fmla="*/ 203 h 897"/>
                <a:gd name="T84" fmla="*/ 710 w 1107"/>
                <a:gd name="T85" fmla="*/ 255 h 897"/>
                <a:gd name="T86" fmla="*/ 712 w 1107"/>
                <a:gd name="T87" fmla="*/ 277 h 897"/>
                <a:gd name="T88" fmla="*/ 668 w 1107"/>
                <a:gd name="T89" fmla="*/ 347 h 897"/>
                <a:gd name="T90" fmla="*/ 745 w 1107"/>
                <a:gd name="T91" fmla="*/ 361 h 897"/>
                <a:gd name="T92" fmla="*/ 791 w 1107"/>
                <a:gd name="T93" fmla="*/ 377 h 897"/>
                <a:gd name="T94" fmla="*/ 799 w 1107"/>
                <a:gd name="T95" fmla="*/ 443 h 897"/>
                <a:gd name="T96" fmla="*/ 859 w 1107"/>
                <a:gd name="T97" fmla="*/ 456 h 897"/>
                <a:gd name="T98" fmla="*/ 894 w 1107"/>
                <a:gd name="T99" fmla="*/ 393 h 897"/>
                <a:gd name="T100" fmla="*/ 941 w 1107"/>
                <a:gd name="T101" fmla="*/ 401 h 897"/>
                <a:gd name="T102" fmla="*/ 1018 w 1107"/>
                <a:gd name="T103" fmla="*/ 415 h 897"/>
                <a:gd name="T104" fmla="*/ 825 w 1107"/>
                <a:gd name="T105" fmla="*/ 164 h 897"/>
                <a:gd name="T106" fmla="*/ 803 w 1107"/>
                <a:gd name="T107" fmla="*/ 279 h 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107" h="897">
                  <a:moveTo>
                    <a:pt x="654" y="716"/>
                  </a:moveTo>
                  <a:cubicBezTo>
                    <a:pt x="616" y="670"/>
                    <a:pt x="616" y="670"/>
                    <a:pt x="616" y="670"/>
                  </a:cubicBezTo>
                  <a:cubicBezTo>
                    <a:pt x="593" y="654"/>
                    <a:pt x="603" y="638"/>
                    <a:pt x="600" y="625"/>
                  </a:cubicBezTo>
                  <a:cubicBezTo>
                    <a:pt x="600" y="625"/>
                    <a:pt x="600" y="625"/>
                    <a:pt x="600" y="625"/>
                  </a:cubicBezTo>
                  <a:cubicBezTo>
                    <a:pt x="605" y="617"/>
                    <a:pt x="611" y="609"/>
                    <a:pt x="608" y="596"/>
                  </a:cubicBezTo>
                  <a:cubicBezTo>
                    <a:pt x="618" y="580"/>
                    <a:pt x="623" y="572"/>
                    <a:pt x="649" y="567"/>
                  </a:cubicBezTo>
                  <a:cubicBezTo>
                    <a:pt x="715" y="553"/>
                    <a:pt x="715" y="553"/>
                    <a:pt x="715" y="553"/>
                  </a:cubicBezTo>
                  <a:cubicBezTo>
                    <a:pt x="728" y="550"/>
                    <a:pt x="733" y="542"/>
                    <a:pt x="730" y="529"/>
                  </a:cubicBezTo>
                  <a:cubicBezTo>
                    <a:pt x="727" y="482"/>
                    <a:pt x="727" y="482"/>
                    <a:pt x="727" y="482"/>
                  </a:cubicBezTo>
                  <a:cubicBezTo>
                    <a:pt x="724" y="469"/>
                    <a:pt x="717" y="463"/>
                    <a:pt x="701" y="453"/>
                  </a:cubicBezTo>
                  <a:cubicBezTo>
                    <a:pt x="641" y="459"/>
                    <a:pt x="641" y="459"/>
                    <a:pt x="641" y="459"/>
                  </a:cubicBezTo>
                  <a:cubicBezTo>
                    <a:pt x="620" y="457"/>
                    <a:pt x="604" y="447"/>
                    <a:pt x="601" y="434"/>
                  </a:cubicBezTo>
                  <a:cubicBezTo>
                    <a:pt x="598" y="421"/>
                    <a:pt x="590" y="416"/>
                    <a:pt x="580" y="397"/>
                  </a:cubicBezTo>
                  <a:cubicBezTo>
                    <a:pt x="577" y="384"/>
                    <a:pt x="574" y="371"/>
                    <a:pt x="584" y="355"/>
                  </a:cubicBezTo>
                  <a:cubicBezTo>
                    <a:pt x="628" y="305"/>
                    <a:pt x="628" y="305"/>
                    <a:pt x="628" y="305"/>
                  </a:cubicBezTo>
                  <a:cubicBezTo>
                    <a:pt x="634" y="297"/>
                    <a:pt x="631" y="284"/>
                    <a:pt x="623" y="279"/>
                  </a:cubicBezTo>
                  <a:cubicBezTo>
                    <a:pt x="581" y="240"/>
                    <a:pt x="581" y="240"/>
                    <a:pt x="581" y="240"/>
                  </a:cubicBezTo>
                  <a:cubicBezTo>
                    <a:pt x="573" y="235"/>
                    <a:pt x="560" y="238"/>
                    <a:pt x="547" y="240"/>
                  </a:cubicBezTo>
                  <a:cubicBezTo>
                    <a:pt x="503" y="291"/>
                    <a:pt x="503" y="291"/>
                    <a:pt x="503" y="291"/>
                  </a:cubicBezTo>
                  <a:cubicBezTo>
                    <a:pt x="484" y="302"/>
                    <a:pt x="471" y="304"/>
                    <a:pt x="463" y="299"/>
                  </a:cubicBezTo>
                  <a:cubicBezTo>
                    <a:pt x="456" y="294"/>
                    <a:pt x="435" y="292"/>
                    <a:pt x="427" y="287"/>
                  </a:cubicBezTo>
                  <a:cubicBezTo>
                    <a:pt x="419" y="282"/>
                    <a:pt x="403" y="271"/>
                    <a:pt x="400" y="258"/>
                  </a:cubicBezTo>
                  <a:cubicBezTo>
                    <a:pt x="386" y="193"/>
                    <a:pt x="386" y="193"/>
                    <a:pt x="386" y="193"/>
                  </a:cubicBezTo>
                  <a:cubicBezTo>
                    <a:pt x="384" y="180"/>
                    <a:pt x="368" y="170"/>
                    <a:pt x="368" y="170"/>
                  </a:cubicBezTo>
                  <a:cubicBezTo>
                    <a:pt x="308" y="176"/>
                    <a:pt x="308" y="176"/>
                    <a:pt x="308" y="176"/>
                  </a:cubicBezTo>
                  <a:cubicBezTo>
                    <a:pt x="308" y="176"/>
                    <a:pt x="289" y="187"/>
                    <a:pt x="292" y="200"/>
                  </a:cubicBezTo>
                  <a:cubicBezTo>
                    <a:pt x="285" y="263"/>
                    <a:pt x="285" y="263"/>
                    <a:pt x="285" y="263"/>
                  </a:cubicBezTo>
                  <a:cubicBezTo>
                    <a:pt x="291" y="289"/>
                    <a:pt x="277" y="292"/>
                    <a:pt x="272" y="300"/>
                  </a:cubicBezTo>
                  <a:cubicBezTo>
                    <a:pt x="272" y="300"/>
                    <a:pt x="272" y="300"/>
                    <a:pt x="267" y="308"/>
                  </a:cubicBezTo>
                  <a:cubicBezTo>
                    <a:pt x="259" y="302"/>
                    <a:pt x="246" y="305"/>
                    <a:pt x="241" y="313"/>
                  </a:cubicBezTo>
                  <a:cubicBezTo>
                    <a:pt x="236" y="321"/>
                    <a:pt x="236" y="321"/>
                    <a:pt x="236" y="321"/>
                  </a:cubicBezTo>
                  <a:cubicBezTo>
                    <a:pt x="223" y="324"/>
                    <a:pt x="210" y="327"/>
                    <a:pt x="194" y="317"/>
                  </a:cubicBezTo>
                  <a:cubicBezTo>
                    <a:pt x="139" y="281"/>
                    <a:pt x="139" y="281"/>
                    <a:pt x="139" y="281"/>
                  </a:cubicBezTo>
                  <a:cubicBezTo>
                    <a:pt x="131" y="276"/>
                    <a:pt x="110" y="273"/>
                    <a:pt x="104" y="281"/>
                  </a:cubicBezTo>
                  <a:cubicBezTo>
                    <a:pt x="79" y="321"/>
                    <a:pt x="79" y="321"/>
                    <a:pt x="79" y="321"/>
                  </a:cubicBezTo>
                  <a:cubicBezTo>
                    <a:pt x="66" y="324"/>
                    <a:pt x="68" y="337"/>
                    <a:pt x="79" y="355"/>
                  </a:cubicBezTo>
                  <a:cubicBezTo>
                    <a:pt x="121" y="394"/>
                    <a:pt x="121" y="394"/>
                    <a:pt x="121" y="394"/>
                  </a:cubicBezTo>
                  <a:cubicBezTo>
                    <a:pt x="140" y="417"/>
                    <a:pt x="135" y="425"/>
                    <a:pt x="132" y="446"/>
                  </a:cubicBezTo>
                  <a:cubicBezTo>
                    <a:pt x="132" y="446"/>
                    <a:pt x="132" y="446"/>
                    <a:pt x="132" y="446"/>
                  </a:cubicBezTo>
                  <a:cubicBezTo>
                    <a:pt x="127" y="454"/>
                    <a:pt x="122" y="462"/>
                    <a:pt x="117" y="470"/>
                  </a:cubicBezTo>
                  <a:cubicBezTo>
                    <a:pt x="117" y="470"/>
                    <a:pt x="117" y="470"/>
                    <a:pt x="117" y="470"/>
                  </a:cubicBezTo>
                  <a:cubicBezTo>
                    <a:pt x="120" y="483"/>
                    <a:pt x="109" y="499"/>
                    <a:pt x="83" y="505"/>
                  </a:cubicBezTo>
                  <a:cubicBezTo>
                    <a:pt x="23" y="511"/>
                    <a:pt x="23" y="511"/>
                    <a:pt x="23" y="511"/>
                  </a:cubicBezTo>
                  <a:cubicBezTo>
                    <a:pt x="10" y="514"/>
                    <a:pt x="0" y="529"/>
                    <a:pt x="2" y="543"/>
                  </a:cubicBezTo>
                  <a:cubicBezTo>
                    <a:pt x="5" y="590"/>
                    <a:pt x="5" y="590"/>
                    <a:pt x="5" y="590"/>
                  </a:cubicBezTo>
                  <a:cubicBezTo>
                    <a:pt x="8" y="603"/>
                    <a:pt x="16" y="608"/>
                    <a:pt x="37" y="610"/>
                  </a:cubicBezTo>
                  <a:cubicBezTo>
                    <a:pt x="92" y="612"/>
                    <a:pt x="92" y="612"/>
                    <a:pt x="92" y="612"/>
                  </a:cubicBezTo>
                  <a:cubicBezTo>
                    <a:pt x="113" y="614"/>
                    <a:pt x="129" y="625"/>
                    <a:pt x="132" y="638"/>
                  </a:cubicBezTo>
                  <a:cubicBezTo>
                    <a:pt x="132" y="638"/>
                    <a:pt x="132" y="638"/>
                    <a:pt x="132" y="638"/>
                  </a:cubicBezTo>
                  <a:cubicBezTo>
                    <a:pt x="140" y="643"/>
                    <a:pt x="142" y="656"/>
                    <a:pt x="150" y="661"/>
                  </a:cubicBezTo>
                  <a:cubicBezTo>
                    <a:pt x="145" y="669"/>
                    <a:pt x="145" y="669"/>
                    <a:pt x="145" y="669"/>
                  </a:cubicBezTo>
                  <a:cubicBezTo>
                    <a:pt x="153" y="674"/>
                    <a:pt x="156" y="687"/>
                    <a:pt x="140" y="711"/>
                  </a:cubicBezTo>
                  <a:cubicBezTo>
                    <a:pt x="109" y="759"/>
                    <a:pt x="109" y="759"/>
                    <a:pt x="109" y="759"/>
                  </a:cubicBezTo>
                  <a:cubicBezTo>
                    <a:pt x="99" y="775"/>
                    <a:pt x="102" y="788"/>
                    <a:pt x="110" y="793"/>
                  </a:cubicBezTo>
                  <a:cubicBezTo>
                    <a:pt x="152" y="832"/>
                    <a:pt x="152" y="832"/>
                    <a:pt x="152" y="832"/>
                  </a:cubicBezTo>
                  <a:cubicBezTo>
                    <a:pt x="160" y="837"/>
                    <a:pt x="173" y="834"/>
                    <a:pt x="178" y="826"/>
                  </a:cubicBezTo>
                  <a:cubicBezTo>
                    <a:pt x="230" y="781"/>
                    <a:pt x="230" y="781"/>
                    <a:pt x="230" y="781"/>
                  </a:cubicBezTo>
                  <a:cubicBezTo>
                    <a:pt x="248" y="770"/>
                    <a:pt x="261" y="767"/>
                    <a:pt x="269" y="772"/>
                  </a:cubicBezTo>
                  <a:cubicBezTo>
                    <a:pt x="269" y="772"/>
                    <a:pt x="269" y="772"/>
                    <a:pt x="269" y="772"/>
                  </a:cubicBezTo>
                  <a:cubicBezTo>
                    <a:pt x="282" y="769"/>
                    <a:pt x="298" y="779"/>
                    <a:pt x="306" y="785"/>
                  </a:cubicBezTo>
                  <a:cubicBezTo>
                    <a:pt x="306" y="785"/>
                    <a:pt x="306" y="785"/>
                    <a:pt x="306" y="785"/>
                  </a:cubicBezTo>
                  <a:cubicBezTo>
                    <a:pt x="319" y="782"/>
                    <a:pt x="327" y="787"/>
                    <a:pt x="332" y="813"/>
                  </a:cubicBezTo>
                  <a:cubicBezTo>
                    <a:pt x="346" y="878"/>
                    <a:pt x="346" y="878"/>
                    <a:pt x="346" y="878"/>
                  </a:cubicBezTo>
                  <a:cubicBezTo>
                    <a:pt x="349" y="892"/>
                    <a:pt x="357" y="897"/>
                    <a:pt x="370" y="894"/>
                  </a:cubicBezTo>
                  <a:cubicBezTo>
                    <a:pt x="425" y="896"/>
                    <a:pt x="425" y="896"/>
                    <a:pt x="425" y="896"/>
                  </a:cubicBezTo>
                  <a:cubicBezTo>
                    <a:pt x="430" y="888"/>
                    <a:pt x="443" y="885"/>
                    <a:pt x="440" y="872"/>
                  </a:cubicBezTo>
                  <a:cubicBezTo>
                    <a:pt x="440" y="804"/>
                    <a:pt x="440" y="804"/>
                    <a:pt x="440" y="804"/>
                  </a:cubicBezTo>
                  <a:cubicBezTo>
                    <a:pt x="442" y="783"/>
                    <a:pt x="460" y="772"/>
                    <a:pt x="466" y="764"/>
                  </a:cubicBezTo>
                  <a:cubicBezTo>
                    <a:pt x="466" y="764"/>
                    <a:pt x="466" y="764"/>
                    <a:pt x="466" y="764"/>
                  </a:cubicBezTo>
                  <a:cubicBezTo>
                    <a:pt x="479" y="761"/>
                    <a:pt x="492" y="758"/>
                    <a:pt x="497" y="750"/>
                  </a:cubicBezTo>
                  <a:cubicBezTo>
                    <a:pt x="497" y="750"/>
                    <a:pt x="497" y="750"/>
                    <a:pt x="497" y="750"/>
                  </a:cubicBezTo>
                  <a:cubicBezTo>
                    <a:pt x="510" y="747"/>
                    <a:pt x="523" y="745"/>
                    <a:pt x="539" y="755"/>
                  </a:cubicBezTo>
                  <a:cubicBezTo>
                    <a:pt x="594" y="791"/>
                    <a:pt x="594" y="791"/>
                    <a:pt x="594" y="791"/>
                  </a:cubicBezTo>
                  <a:cubicBezTo>
                    <a:pt x="602" y="796"/>
                    <a:pt x="623" y="798"/>
                    <a:pt x="628" y="790"/>
                  </a:cubicBezTo>
                  <a:cubicBezTo>
                    <a:pt x="659" y="743"/>
                    <a:pt x="659" y="743"/>
                    <a:pt x="659" y="743"/>
                  </a:cubicBezTo>
                  <a:cubicBezTo>
                    <a:pt x="659" y="743"/>
                    <a:pt x="669" y="727"/>
                    <a:pt x="654" y="716"/>
                  </a:cubicBezTo>
                  <a:close/>
                  <a:moveTo>
                    <a:pt x="281" y="633"/>
                  </a:moveTo>
                  <a:cubicBezTo>
                    <a:pt x="223" y="584"/>
                    <a:pt x="219" y="502"/>
                    <a:pt x="263" y="452"/>
                  </a:cubicBezTo>
                  <a:cubicBezTo>
                    <a:pt x="313" y="393"/>
                    <a:pt x="399" y="382"/>
                    <a:pt x="457" y="431"/>
                  </a:cubicBezTo>
                  <a:cubicBezTo>
                    <a:pt x="507" y="475"/>
                    <a:pt x="518" y="561"/>
                    <a:pt x="469" y="619"/>
                  </a:cubicBezTo>
                  <a:cubicBezTo>
                    <a:pt x="420" y="678"/>
                    <a:pt x="339" y="682"/>
                    <a:pt x="281" y="633"/>
                  </a:cubicBezTo>
                  <a:close/>
                  <a:moveTo>
                    <a:pt x="1019" y="398"/>
                  </a:moveTo>
                  <a:cubicBezTo>
                    <a:pt x="1004" y="362"/>
                    <a:pt x="1004" y="362"/>
                    <a:pt x="1004" y="362"/>
                  </a:cubicBezTo>
                  <a:cubicBezTo>
                    <a:pt x="992" y="348"/>
                    <a:pt x="1002" y="340"/>
                    <a:pt x="1002" y="332"/>
                  </a:cubicBezTo>
                  <a:cubicBezTo>
                    <a:pt x="1002" y="332"/>
                    <a:pt x="1002" y="332"/>
                    <a:pt x="1002" y="332"/>
                  </a:cubicBezTo>
                  <a:cubicBezTo>
                    <a:pt x="1007" y="328"/>
                    <a:pt x="1011" y="324"/>
                    <a:pt x="1012" y="315"/>
                  </a:cubicBezTo>
                  <a:cubicBezTo>
                    <a:pt x="1021" y="307"/>
                    <a:pt x="1026" y="303"/>
                    <a:pt x="1043" y="304"/>
                  </a:cubicBezTo>
                  <a:cubicBezTo>
                    <a:pt x="1086" y="307"/>
                    <a:pt x="1086" y="307"/>
                    <a:pt x="1086" y="307"/>
                  </a:cubicBezTo>
                  <a:cubicBezTo>
                    <a:pt x="1095" y="308"/>
                    <a:pt x="1099" y="304"/>
                    <a:pt x="1100" y="295"/>
                  </a:cubicBezTo>
                  <a:cubicBezTo>
                    <a:pt x="1107" y="266"/>
                    <a:pt x="1107" y="266"/>
                    <a:pt x="1107" y="266"/>
                  </a:cubicBezTo>
                  <a:cubicBezTo>
                    <a:pt x="1107" y="257"/>
                    <a:pt x="1103" y="252"/>
                    <a:pt x="1095" y="243"/>
                  </a:cubicBezTo>
                  <a:cubicBezTo>
                    <a:pt x="1057" y="236"/>
                    <a:pt x="1057" y="236"/>
                    <a:pt x="1057" y="236"/>
                  </a:cubicBezTo>
                  <a:cubicBezTo>
                    <a:pt x="1044" y="231"/>
                    <a:pt x="1036" y="222"/>
                    <a:pt x="1037" y="213"/>
                  </a:cubicBezTo>
                  <a:cubicBezTo>
                    <a:pt x="1038" y="205"/>
                    <a:pt x="1034" y="200"/>
                    <a:pt x="1030" y="187"/>
                  </a:cubicBezTo>
                  <a:cubicBezTo>
                    <a:pt x="1031" y="178"/>
                    <a:pt x="1032" y="170"/>
                    <a:pt x="1041" y="162"/>
                  </a:cubicBezTo>
                  <a:cubicBezTo>
                    <a:pt x="1077" y="138"/>
                    <a:pt x="1077" y="138"/>
                    <a:pt x="1077" y="138"/>
                  </a:cubicBezTo>
                  <a:cubicBezTo>
                    <a:pt x="1082" y="134"/>
                    <a:pt x="1083" y="126"/>
                    <a:pt x="1079" y="121"/>
                  </a:cubicBezTo>
                  <a:cubicBezTo>
                    <a:pt x="1059" y="89"/>
                    <a:pt x="1059" y="89"/>
                    <a:pt x="1059" y="89"/>
                  </a:cubicBezTo>
                  <a:cubicBezTo>
                    <a:pt x="1055" y="85"/>
                    <a:pt x="1047" y="84"/>
                    <a:pt x="1038" y="83"/>
                  </a:cubicBezTo>
                  <a:cubicBezTo>
                    <a:pt x="1002" y="107"/>
                    <a:pt x="1002" y="107"/>
                    <a:pt x="1002" y="107"/>
                  </a:cubicBezTo>
                  <a:cubicBezTo>
                    <a:pt x="989" y="110"/>
                    <a:pt x="980" y="110"/>
                    <a:pt x="976" y="105"/>
                  </a:cubicBezTo>
                  <a:cubicBezTo>
                    <a:pt x="972" y="100"/>
                    <a:pt x="960" y="95"/>
                    <a:pt x="956" y="91"/>
                  </a:cubicBezTo>
                  <a:cubicBezTo>
                    <a:pt x="952" y="86"/>
                    <a:pt x="944" y="77"/>
                    <a:pt x="944" y="68"/>
                  </a:cubicBezTo>
                  <a:cubicBezTo>
                    <a:pt x="948" y="25"/>
                    <a:pt x="948" y="25"/>
                    <a:pt x="948" y="25"/>
                  </a:cubicBezTo>
                  <a:cubicBezTo>
                    <a:pt x="948" y="17"/>
                    <a:pt x="940" y="7"/>
                    <a:pt x="940" y="7"/>
                  </a:cubicBezTo>
                  <a:cubicBezTo>
                    <a:pt x="902" y="0"/>
                    <a:pt x="902" y="0"/>
                    <a:pt x="902" y="0"/>
                  </a:cubicBezTo>
                  <a:cubicBezTo>
                    <a:pt x="902" y="0"/>
                    <a:pt x="889" y="4"/>
                    <a:pt x="888" y="12"/>
                  </a:cubicBezTo>
                  <a:cubicBezTo>
                    <a:pt x="872" y="50"/>
                    <a:pt x="872" y="50"/>
                    <a:pt x="872" y="50"/>
                  </a:cubicBezTo>
                  <a:cubicBezTo>
                    <a:pt x="871" y="67"/>
                    <a:pt x="862" y="67"/>
                    <a:pt x="858" y="71"/>
                  </a:cubicBezTo>
                  <a:cubicBezTo>
                    <a:pt x="858" y="71"/>
                    <a:pt x="858" y="71"/>
                    <a:pt x="853" y="75"/>
                  </a:cubicBezTo>
                  <a:cubicBezTo>
                    <a:pt x="849" y="70"/>
                    <a:pt x="840" y="70"/>
                    <a:pt x="836" y="74"/>
                  </a:cubicBezTo>
                  <a:cubicBezTo>
                    <a:pt x="831" y="78"/>
                    <a:pt x="831" y="78"/>
                    <a:pt x="831" y="78"/>
                  </a:cubicBezTo>
                  <a:cubicBezTo>
                    <a:pt x="822" y="77"/>
                    <a:pt x="814" y="76"/>
                    <a:pt x="806" y="67"/>
                  </a:cubicBezTo>
                  <a:cubicBezTo>
                    <a:pt x="778" y="35"/>
                    <a:pt x="778" y="35"/>
                    <a:pt x="778" y="35"/>
                  </a:cubicBezTo>
                  <a:cubicBezTo>
                    <a:pt x="774" y="30"/>
                    <a:pt x="762" y="25"/>
                    <a:pt x="757" y="29"/>
                  </a:cubicBezTo>
                  <a:cubicBezTo>
                    <a:pt x="734" y="49"/>
                    <a:pt x="734" y="49"/>
                    <a:pt x="734" y="49"/>
                  </a:cubicBezTo>
                  <a:cubicBezTo>
                    <a:pt x="725" y="49"/>
                    <a:pt x="725" y="57"/>
                    <a:pt x="728" y="70"/>
                  </a:cubicBezTo>
                  <a:cubicBezTo>
                    <a:pt x="747" y="102"/>
                    <a:pt x="747" y="102"/>
                    <a:pt x="747" y="102"/>
                  </a:cubicBezTo>
                  <a:cubicBezTo>
                    <a:pt x="754" y="120"/>
                    <a:pt x="750" y="124"/>
                    <a:pt x="744" y="136"/>
                  </a:cubicBezTo>
                  <a:cubicBezTo>
                    <a:pt x="744" y="136"/>
                    <a:pt x="744" y="136"/>
                    <a:pt x="744" y="136"/>
                  </a:cubicBezTo>
                  <a:cubicBezTo>
                    <a:pt x="740" y="140"/>
                    <a:pt x="735" y="144"/>
                    <a:pt x="731" y="148"/>
                  </a:cubicBezTo>
                  <a:cubicBezTo>
                    <a:pt x="731" y="148"/>
                    <a:pt x="731" y="148"/>
                    <a:pt x="731" y="148"/>
                  </a:cubicBezTo>
                  <a:cubicBezTo>
                    <a:pt x="730" y="157"/>
                    <a:pt x="721" y="165"/>
                    <a:pt x="703" y="164"/>
                  </a:cubicBezTo>
                  <a:cubicBezTo>
                    <a:pt x="665" y="157"/>
                    <a:pt x="665" y="157"/>
                    <a:pt x="665" y="157"/>
                  </a:cubicBezTo>
                  <a:cubicBezTo>
                    <a:pt x="656" y="156"/>
                    <a:pt x="647" y="164"/>
                    <a:pt x="647" y="173"/>
                  </a:cubicBezTo>
                  <a:cubicBezTo>
                    <a:pt x="640" y="203"/>
                    <a:pt x="640" y="203"/>
                    <a:pt x="640" y="203"/>
                  </a:cubicBezTo>
                  <a:cubicBezTo>
                    <a:pt x="639" y="211"/>
                    <a:pt x="643" y="216"/>
                    <a:pt x="656" y="221"/>
                  </a:cubicBezTo>
                  <a:cubicBezTo>
                    <a:pt x="690" y="232"/>
                    <a:pt x="690" y="232"/>
                    <a:pt x="690" y="232"/>
                  </a:cubicBezTo>
                  <a:cubicBezTo>
                    <a:pt x="702" y="237"/>
                    <a:pt x="710" y="246"/>
                    <a:pt x="710" y="255"/>
                  </a:cubicBezTo>
                  <a:cubicBezTo>
                    <a:pt x="710" y="255"/>
                    <a:pt x="710" y="255"/>
                    <a:pt x="710" y="255"/>
                  </a:cubicBezTo>
                  <a:cubicBezTo>
                    <a:pt x="714" y="260"/>
                    <a:pt x="713" y="268"/>
                    <a:pt x="717" y="273"/>
                  </a:cubicBezTo>
                  <a:cubicBezTo>
                    <a:pt x="712" y="277"/>
                    <a:pt x="712" y="277"/>
                    <a:pt x="712" y="277"/>
                  </a:cubicBezTo>
                  <a:cubicBezTo>
                    <a:pt x="716" y="281"/>
                    <a:pt x="716" y="290"/>
                    <a:pt x="702" y="302"/>
                  </a:cubicBezTo>
                  <a:cubicBezTo>
                    <a:pt x="674" y="326"/>
                    <a:pt x="674" y="326"/>
                    <a:pt x="674" y="326"/>
                  </a:cubicBezTo>
                  <a:cubicBezTo>
                    <a:pt x="665" y="334"/>
                    <a:pt x="664" y="343"/>
                    <a:pt x="668" y="347"/>
                  </a:cubicBezTo>
                  <a:cubicBezTo>
                    <a:pt x="687" y="379"/>
                    <a:pt x="687" y="379"/>
                    <a:pt x="687" y="379"/>
                  </a:cubicBezTo>
                  <a:cubicBezTo>
                    <a:pt x="691" y="383"/>
                    <a:pt x="700" y="384"/>
                    <a:pt x="704" y="380"/>
                  </a:cubicBezTo>
                  <a:cubicBezTo>
                    <a:pt x="745" y="361"/>
                    <a:pt x="745" y="361"/>
                    <a:pt x="745" y="361"/>
                  </a:cubicBezTo>
                  <a:cubicBezTo>
                    <a:pt x="758" y="358"/>
                    <a:pt x="767" y="358"/>
                    <a:pt x="771" y="363"/>
                  </a:cubicBezTo>
                  <a:cubicBezTo>
                    <a:pt x="771" y="363"/>
                    <a:pt x="771" y="363"/>
                    <a:pt x="771" y="363"/>
                  </a:cubicBezTo>
                  <a:cubicBezTo>
                    <a:pt x="779" y="364"/>
                    <a:pt x="787" y="373"/>
                    <a:pt x="791" y="377"/>
                  </a:cubicBezTo>
                  <a:cubicBezTo>
                    <a:pt x="791" y="377"/>
                    <a:pt x="791" y="377"/>
                    <a:pt x="791" y="377"/>
                  </a:cubicBezTo>
                  <a:cubicBezTo>
                    <a:pt x="800" y="378"/>
                    <a:pt x="804" y="383"/>
                    <a:pt x="802" y="400"/>
                  </a:cubicBezTo>
                  <a:cubicBezTo>
                    <a:pt x="799" y="443"/>
                    <a:pt x="799" y="443"/>
                    <a:pt x="799" y="443"/>
                  </a:cubicBezTo>
                  <a:cubicBezTo>
                    <a:pt x="798" y="451"/>
                    <a:pt x="802" y="456"/>
                    <a:pt x="811" y="457"/>
                  </a:cubicBezTo>
                  <a:cubicBezTo>
                    <a:pt x="845" y="468"/>
                    <a:pt x="845" y="468"/>
                    <a:pt x="845" y="468"/>
                  </a:cubicBezTo>
                  <a:cubicBezTo>
                    <a:pt x="849" y="464"/>
                    <a:pt x="858" y="464"/>
                    <a:pt x="859" y="456"/>
                  </a:cubicBezTo>
                  <a:cubicBezTo>
                    <a:pt x="871" y="413"/>
                    <a:pt x="871" y="413"/>
                    <a:pt x="871" y="413"/>
                  </a:cubicBezTo>
                  <a:cubicBezTo>
                    <a:pt x="876" y="401"/>
                    <a:pt x="889" y="397"/>
                    <a:pt x="894" y="393"/>
                  </a:cubicBezTo>
                  <a:cubicBezTo>
                    <a:pt x="894" y="393"/>
                    <a:pt x="894" y="393"/>
                    <a:pt x="894" y="393"/>
                  </a:cubicBezTo>
                  <a:cubicBezTo>
                    <a:pt x="902" y="394"/>
                    <a:pt x="911" y="395"/>
                    <a:pt x="916" y="391"/>
                  </a:cubicBezTo>
                  <a:cubicBezTo>
                    <a:pt x="916" y="391"/>
                    <a:pt x="916" y="391"/>
                    <a:pt x="916" y="391"/>
                  </a:cubicBezTo>
                  <a:cubicBezTo>
                    <a:pt x="924" y="391"/>
                    <a:pt x="933" y="392"/>
                    <a:pt x="941" y="401"/>
                  </a:cubicBezTo>
                  <a:cubicBezTo>
                    <a:pt x="969" y="433"/>
                    <a:pt x="969" y="433"/>
                    <a:pt x="969" y="433"/>
                  </a:cubicBezTo>
                  <a:cubicBezTo>
                    <a:pt x="973" y="438"/>
                    <a:pt x="985" y="443"/>
                    <a:pt x="990" y="439"/>
                  </a:cubicBezTo>
                  <a:cubicBezTo>
                    <a:pt x="1018" y="415"/>
                    <a:pt x="1018" y="415"/>
                    <a:pt x="1018" y="415"/>
                  </a:cubicBezTo>
                  <a:cubicBezTo>
                    <a:pt x="1018" y="415"/>
                    <a:pt x="1027" y="407"/>
                    <a:pt x="1019" y="398"/>
                  </a:cubicBezTo>
                  <a:close/>
                  <a:moveTo>
                    <a:pt x="803" y="279"/>
                  </a:moveTo>
                  <a:cubicBezTo>
                    <a:pt x="776" y="238"/>
                    <a:pt x="788" y="187"/>
                    <a:pt x="825" y="164"/>
                  </a:cubicBezTo>
                  <a:cubicBezTo>
                    <a:pt x="866" y="136"/>
                    <a:pt x="921" y="144"/>
                    <a:pt x="948" y="185"/>
                  </a:cubicBezTo>
                  <a:cubicBezTo>
                    <a:pt x="972" y="221"/>
                    <a:pt x="963" y="277"/>
                    <a:pt x="922" y="304"/>
                  </a:cubicBezTo>
                  <a:cubicBezTo>
                    <a:pt x="881" y="332"/>
                    <a:pt x="830" y="320"/>
                    <a:pt x="803" y="279"/>
                  </a:cubicBezTo>
                  <a:close/>
                </a:path>
              </a:pathLst>
            </a:custGeom>
            <a:solidFill>
              <a:schemeClr val="tx1"/>
            </a:solidFill>
            <a:ln>
              <a:noFill/>
            </a:ln>
          </p:spPr>
          <p:txBody>
            <a:bodyPr vert="horz" wrap="square" lIns="68574" tIns="34287" rIns="68574" bIns="34287"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17346"/>
                </a:solidFill>
                <a:effectLst/>
                <a:uLnTx/>
                <a:uFillTx/>
                <a:latin typeface="Segoe UI"/>
                <a:ea typeface="+mn-ea"/>
                <a:cs typeface="+mn-cs"/>
              </a:endParaRPr>
            </a:p>
          </p:txBody>
        </p:sp>
        <p:sp>
          <p:nvSpPr>
            <p:cNvPr id="88" name="Freeform 87"/>
            <p:cNvSpPr>
              <a:spLocks noChangeAspect="1"/>
            </p:cNvSpPr>
            <p:nvPr/>
          </p:nvSpPr>
          <p:spPr bwMode="black">
            <a:xfrm>
              <a:off x="776985" y="4213905"/>
              <a:ext cx="342871" cy="335728"/>
            </a:xfrm>
            <a:custGeom>
              <a:avLst/>
              <a:gdLst>
                <a:gd name="connsiteX0" fmla="*/ 3713863 w 4893730"/>
                <a:gd name="connsiteY0" fmla="*/ 2130808 h 4791777"/>
                <a:gd name="connsiteX1" fmla="*/ 4426142 w 4893730"/>
                <a:gd name="connsiteY1" fmla="*/ 2130808 h 4791777"/>
                <a:gd name="connsiteX2" fmla="*/ 4598071 w 4893730"/>
                <a:gd name="connsiteY2" fmla="*/ 2301547 h 4791777"/>
                <a:gd name="connsiteX3" fmla="*/ 4598071 w 4893730"/>
                <a:gd name="connsiteY3" fmla="*/ 3886978 h 4791777"/>
                <a:gd name="connsiteX4" fmla="*/ 4426142 w 4893730"/>
                <a:gd name="connsiteY4" fmla="*/ 4057717 h 4791777"/>
                <a:gd name="connsiteX5" fmla="*/ 3713863 w 4893730"/>
                <a:gd name="connsiteY5" fmla="*/ 4057717 h 4791777"/>
                <a:gd name="connsiteX6" fmla="*/ 3517372 w 4893730"/>
                <a:gd name="connsiteY6" fmla="*/ 3886978 h 4791777"/>
                <a:gd name="connsiteX7" fmla="*/ 3517372 w 4893730"/>
                <a:gd name="connsiteY7" fmla="*/ 2301547 h 4791777"/>
                <a:gd name="connsiteX8" fmla="*/ 3713863 w 4893730"/>
                <a:gd name="connsiteY8" fmla="*/ 2130808 h 4791777"/>
                <a:gd name="connsiteX9" fmla="*/ 904368 w 4893730"/>
                <a:gd name="connsiteY9" fmla="*/ 1223432 h 4791777"/>
                <a:gd name="connsiteX10" fmla="*/ 1609930 w 4893730"/>
                <a:gd name="connsiteY10" fmla="*/ 1223432 h 4791777"/>
                <a:gd name="connsiteX11" fmla="*/ 1804567 w 4893730"/>
                <a:gd name="connsiteY11" fmla="*/ 1394467 h 4791777"/>
                <a:gd name="connsiteX12" fmla="*/ 1804567 w 4893730"/>
                <a:gd name="connsiteY12" fmla="*/ 3886683 h 4791777"/>
                <a:gd name="connsiteX13" fmla="*/ 1609930 w 4893730"/>
                <a:gd name="connsiteY13" fmla="*/ 4057717 h 4791777"/>
                <a:gd name="connsiteX14" fmla="*/ 904368 w 4893730"/>
                <a:gd name="connsiteY14" fmla="*/ 4057717 h 4791777"/>
                <a:gd name="connsiteX15" fmla="*/ 734060 w 4893730"/>
                <a:gd name="connsiteY15" fmla="*/ 3886683 h 4791777"/>
                <a:gd name="connsiteX16" fmla="*/ 734060 w 4893730"/>
                <a:gd name="connsiteY16" fmla="*/ 1394467 h 4791777"/>
                <a:gd name="connsiteX17" fmla="*/ 904368 w 4893730"/>
                <a:gd name="connsiteY17" fmla="*/ 1223432 h 4791777"/>
                <a:gd name="connsiteX18" fmla="*/ 2325453 w 4893730"/>
                <a:gd name="connsiteY18" fmla="*/ 316050 h 4791777"/>
                <a:gd name="connsiteX19" fmla="*/ 3031014 w 4893730"/>
                <a:gd name="connsiteY19" fmla="*/ 316050 h 4791777"/>
                <a:gd name="connsiteX20" fmla="*/ 3201322 w 4893730"/>
                <a:gd name="connsiteY20" fmla="*/ 487238 h 4791777"/>
                <a:gd name="connsiteX21" fmla="*/ 3201322 w 4893730"/>
                <a:gd name="connsiteY21" fmla="*/ 3886530 h 4791777"/>
                <a:gd name="connsiteX22" fmla="*/ 3031014 w 4893730"/>
                <a:gd name="connsiteY22" fmla="*/ 4057717 h 4791777"/>
                <a:gd name="connsiteX23" fmla="*/ 2325453 w 4893730"/>
                <a:gd name="connsiteY23" fmla="*/ 4057717 h 4791777"/>
                <a:gd name="connsiteX24" fmla="*/ 2130815 w 4893730"/>
                <a:gd name="connsiteY24" fmla="*/ 3886530 h 4791777"/>
                <a:gd name="connsiteX25" fmla="*/ 2130815 w 4893730"/>
                <a:gd name="connsiteY25" fmla="*/ 487238 h 4791777"/>
                <a:gd name="connsiteX26" fmla="*/ 2325453 w 4893730"/>
                <a:gd name="connsiteY26" fmla="*/ 316050 h 4791777"/>
                <a:gd name="connsiteX27" fmla="*/ 269155 w 4893730"/>
                <a:gd name="connsiteY27" fmla="*/ 0 h 4791777"/>
                <a:gd name="connsiteX28" fmla="*/ 538311 w 4893730"/>
                <a:gd name="connsiteY28" fmla="*/ 268927 h 4791777"/>
                <a:gd name="connsiteX29" fmla="*/ 538311 w 4893730"/>
                <a:gd name="connsiteY29" fmla="*/ 4253925 h 4791777"/>
                <a:gd name="connsiteX30" fmla="*/ 4624575 w 4893730"/>
                <a:gd name="connsiteY30" fmla="*/ 4253925 h 4791777"/>
                <a:gd name="connsiteX31" fmla="*/ 4893730 w 4893730"/>
                <a:gd name="connsiteY31" fmla="*/ 4522851 h 4791777"/>
                <a:gd name="connsiteX32" fmla="*/ 4624575 w 4893730"/>
                <a:gd name="connsiteY32" fmla="*/ 4791777 h 4791777"/>
                <a:gd name="connsiteX33" fmla="*/ 269155 w 4893730"/>
                <a:gd name="connsiteY33" fmla="*/ 4791777 h 4791777"/>
                <a:gd name="connsiteX34" fmla="*/ 0 w 4893730"/>
                <a:gd name="connsiteY34" fmla="*/ 4522851 h 4791777"/>
                <a:gd name="connsiteX35" fmla="*/ 0 w 4893730"/>
                <a:gd name="connsiteY35" fmla="*/ 268927 h 4791777"/>
                <a:gd name="connsiteX36" fmla="*/ 269155 w 4893730"/>
                <a:gd name="connsiteY36" fmla="*/ 0 h 4791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4893730" h="4791777">
                  <a:moveTo>
                    <a:pt x="3713863" y="2130808"/>
                  </a:moveTo>
                  <a:cubicBezTo>
                    <a:pt x="3713863" y="2130808"/>
                    <a:pt x="3713863" y="2130808"/>
                    <a:pt x="4426142" y="2130808"/>
                  </a:cubicBezTo>
                  <a:cubicBezTo>
                    <a:pt x="4524387" y="2130808"/>
                    <a:pt x="4598071" y="2203982"/>
                    <a:pt x="4598071" y="2301547"/>
                  </a:cubicBezTo>
                  <a:cubicBezTo>
                    <a:pt x="4598071" y="2301547"/>
                    <a:pt x="4598071" y="2301547"/>
                    <a:pt x="4598071" y="3886978"/>
                  </a:cubicBezTo>
                  <a:cubicBezTo>
                    <a:pt x="4598071" y="3984543"/>
                    <a:pt x="4524387" y="4057717"/>
                    <a:pt x="4426142" y="4057717"/>
                  </a:cubicBezTo>
                  <a:cubicBezTo>
                    <a:pt x="4426142" y="4057717"/>
                    <a:pt x="4426142" y="4057717"/>
                    <a:pt x="3713863" y="4057717"/>
                  </a:cubicBezTo>
                  <a:cubicBezTo>
                    <a:pt x="3615618" y="4057717"/>
                    <a:pt x="3517372" y="3984543"/>
                    <a:pt x="3517372" y="3886978"/>
                  </a:cubicBezTo>
                  <a:cubicBezTo>
                    <a:pt x="3517372" y="3886978"/>
                    <a:pt x="3517372" y="3886978"/>
                    <a:pt x="3517372" y="2301547"/>
                  </a:cubicBezTo>
                  <a:cubicBezTo>
                    <a:pt x="3517372" y="2203982"/>
                    <a:pt x="3615618" y="2130808"/>
                    <a:pt x="3713863" y="2130808"/>
                  </a:cubicBezTo>
                  <a:close/>
                  <a:moveTo>
                    <a:pt x="904368" y="1223432"/>
                  </a:moveTo>
                  <a:cubicBezTo>
                    <a:pt x="904368" y="1223432"/>
                    <a:pt x="904368" y="1223432"/>
                    <a:pt x="1609930" y="1223432"/>
                  </a:cubicBezTo>
                  <a:cubicBezTo>
                    <a:pt x="1731578" y="1223432"/>
                    <a:pt x="1804567" y="1296733"/>
                    <a:pt x="1804567" y="1394467"/>
                  </a:cubicBezTo>
                  <a:cubicBezTo>
                    <a:pt x="1804567" y="1394467"/>
                    <a:pt x="1804567" y="1394467"/>
                    <a:pt x="1804567" y="3886683"/>
                  </a:cubicBezTo>
                  <a:cubicBezTo>
                    <a:pt x="1804567" y="3984417"/>
                    <a:pt x="1731578" y="4057717"/>
                    <a:pt x="1609930" y="4057717"/>
                  </a:cubicBezTo>
                  <a:cubicBezTo>
                    <a:pt x="1609930" y="4057717"/>
                    <a:pt x="1609930" y="4057717"/>
                    <a:pt x="904368" y="4057717"/>
                  </a:cubicBezTo>
                  <a:cubicBezTo>
                    <a:pt x="807049" y="4057717"/>
                    <a:pt x="734060" y="3984417"/>
                    <a:pt x="734060" y="3886683"/>
                  </a:cubicBezTo>
                  <a:cubicBezTo>
                    <a:pt x="734060" y="3886683"/>
                    <a:pt x="734060" y="3886683"/>
                    <a:pt x="734060" y="1394467"/>
                  </a:cubicBezTo>
                  <a:cubicBezTo>
                    <a:pt x="734060" y="1296733"/>
                    <a:pt x="807049" y="1223432"/>
                    <a:pt x="904368" y="1223432"/>
                  </a:cubicBezTo>
                  <a:close/>
                  <a:moveTo>
                    <a:pt x="2325453" y="316050"/>
                  </a:moveTo>
                  <a:cubicBezTo>
                    <a:pt x="2325453" y="316050"/>
                    <a:pt x="2325453" y="316050"/>
                    <a:pt x="3031014" y="316050"/>
                  </a:cubicBezTo>
                  <a:cubicBezTo>
                    <a:pt x="3128333" y="316050"/>
                    <a:pt x="3201322" y="389416"/>
                    <a:pt x="3201322" y="487238"/>
                  </a:cubicBezTo>
                  <a:cubicBezTo>
                    <a:pt x="3201322" y="487238"/>
                    <a:pt x="3201322" y="487238"/>
                    <a:pt x="3201322" y="3886530"/>
                  </a:cubicBezTo>
                  <a:cubicBezTo>
                    <a:pt x="3201322" y="3984351"/>
                    <a:pt x="3128333" y="4057717"/>
                    <a:pt x="3031014" y="4057717"/>
                  </a:cubicBezTo>
                  <a:cubicBezTo>
                    <a:pt x="3031014" y="4057717"/>
                    <a:pt x="3031014" y="4057717"/>
                    <a:pt x="2325453" y="4057717"/>
                  </a:cubicBezTo>
                  <a:cubicBezTo>
                    <a:pt x="2203804" y="4057717"/>
                    <a:pt x="2130815" y="3984351"/>
                    <a:pt x="2130815" y="3886530"/>
                  </a:cubicBezTo>
                  <a:cubicBezTo>
                    <a:pt x="2130815" y="3886530"/>
                    <a:pt x="2130815" y="3886530"/>
                    <a:pt x="2130815" y="487238"/>
                  </a:cubicBezTo>
                  <a:cubicBezTo>
                    <a:pt x="2130815" y="389416"/>
                    <a:pt x="2203804" y="316050"/>
                    <a:pt x="2325453" y="316050"/>
                  </a:cubicBezTo>
                  <a:close/>
                  <a:moveTo>
                    <a:pt x="269155" y="0"/>
                  </a:moveTo>
                  <a:cubicBezTo>
                    <a:pt x="415967" y="0"/>
                    <a:pt x="538311" y="122239"/>
                    <a:pt x="538311" y="268927"/>
                  </a:cubicBezTo>
                  <a:cubicBezTo>
                    <a:pt x="538311" y="268927"/>
                    <a:pt x="538311" y="268927"/>
                    <a:pt x="538311" y="4253925"/>
                  </a:cubicBezTo>
                  <a:cubicBezTo>
                    <a:pt x="538311" y="4253925"/>
                    <a:pt x="538311" y="4253925"/>
                    <a:pt x="4624575" y="4253925"/>
                  </a:cubicBezTo>
                  <a:cubicBezTo>
                    <a:pt x="4771387" y="4253925"/>
                    <a:pt x="4893730" y="4376164"/>
                    <a:pt x="4893730" y="4522851"/>
                  </a:cubicBezTo>
                  <a:cubicBezTo>
                    <a:pt x="4893730" y="4669538"/>
                    <a:pt x="4771387" y="4791777"/>
                    <a:pt x="4624575" y="4791777"/>
                  </a:cubicBezTo>
                  <a:cubicBezTo>
                    <a:pt x="4624575" y="4791777"/>
                    <a:pt x="4624575" y="4791777"/>
                    <a:pt x="269155" y="4791777"/>
                  </a:cubicBezTo>
                  <a:cubicBezTo>
                    <a:pt x="122344" y="4791777"/>
                    <a:pt x="0" y="4669538"/>
                    <a:pt x="0" y="4522851"/>
                  </a:cubicBezTo>
                  <a:cubicBezTo>
                    <a:pt x="0" y="4522851"/>
                    <a:pt x="0" y="4522851"/>
                    <a:pt x="0" y="268927"/>
                  </a:cubicBezTo>
                  <a:cubicBezTo>
                    <a:pt x="0" y="122239"/>
                    <a:pt x="122344" y="0"/>
                    <a:pt x="269155"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37148" tIns="109719" rIns="137148" bIns="109719"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699261"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9" name="Rectangle 88"/>
            <p:cNvSpPr/>
            <p:nvPr/>
          </p:nvSpPr>
          <p:spPr bwMode="auto">
            <a:xfrm rot="2745734">
              <a:off x="279530" y="1141266"/>
              <a:ext cx="1260714" cy="1255193"/>
            </a:xfrm>
            <a:prstGeom prst="rect">
              <a:avLst/>
            </a:prstGeom>
            <a:solidFill>
              <a:schemeClr val="tx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0" name="Rectangle 89"/>
            <p:cNvSpPr/>
            <p:nvPr/>
          </p:nvSpPr>
          <p:spPr bwMode="auto">
            <a:xfrm rot="2745734">
              <a:off x="292433" y="3819160"/>
              <a:ext cx="1610349" cy="1235003"/>
            </a:xfrm>
            <a:prstGeom prst="rect">
              <a:avLst/>
            </a:prstGeom>
            <a:solidFill>
              <a:schemeClr val="tx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2" name="Rectangle 91"/>
            <p:cNvSpPr/>
            <p:nvPr/>
          </p:nvSpPr>
          <p:spPr bwMode="auto">
            <a:xfrm rot="2745734">
              <a:off x="1315610" y="4915701"/>
              <a:ext cx="1263370" cy="1255989"/>
            </a:xfrm>
            <a:prstGeom prst="rect">
              <a:avLst/>
            </a:prstGeom>
            <a:solidFill>
              <a:schemeClr val="tx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40" name="TextBox 39"/>
          <p:cNvSpPr txBox="1"/>
          <p:nvPr/>
        </p:nvSpPr>
        <p:spPr>
          <a:xfrm>
            <a:off x="3" y="51415"/>
            <a:ext cx="2849058" cy="430887"/>
          </a:xfrm>
          <a:prstGeom prst="rect">
            <a:avLst/>
          </a:prstGeom>
        </p:spPr>
        <p:txBody>
          <a:bodyPr wrap="square">
            <a:spAutoFit/>
          </a:bodyPr>
          <a:lstStyle>
            <a:defPPr>
              <a:defRPr lang="en-US"/>
            </a:defPPr>
            <a:lvl1pPr defTabSz="914192">
              <a:defRPr sz="2800" b="1" spc="-100">
                <a:ln w="3175">
                  <a:noFill/>
                </a:ln>
                <a:solidFill>
                  <a:srgbClr val="F2C812"/>
                </a:solidFill>
                <a:latin typeface="Segoe UI" panose="020B0502040204020203" pitchFamily="34" charset="0"/>
                <a:ea typeface="ＭＳ Ｐゴシック" charset="0"/>
                <a:cs typeface="Segoe UI" panose="020B0502040204020203" pitchFamily="34" charset="0"/>
              </a:defRPr>
            </a:lvl1pPr>
          </a:lstStyle>
          <a:p>
            <a:pPr marL="0" marR="0" lvl="0" indent="0" algn="l" defTabSz="914192" rtl="0" eaLnBrk="1" fontAlgn="auto" latinLnBrk="0" hangingPunct="1">
              <a:lnSpc>
                <a:spcPct val="100000"/>
              </a:lnSpc>
              <a:spcBef>
                <a:spcPts val="0"/>
              </a:spcBef>
              <a:spcAft>
                <a:spcPts val="0"/>
              </a:spcAft>
              <a:buClrTx/>
              <a:buSzTx/>
              <a:buFontTx/>
              <a:buNone/>
              <a:tabLst/>
              <a:defRPr/>
            </a:pPr>
            <a:r>
              <a:rPr kumimoji="0" lang="en-US" sz="2200" b="1" i="0" u="none" strike="noStrike" kern="1200" cap="none" spc="-100" normalizeH="0" baseline="0" noProof="0">
                <a:ln w="3175">
                  <a:noFill/>
                </a:ln>
                <a:solidFill>
                  <a:srgbClr val="F2C812"/>
                </a:solidFill>
                <a:effectLst/>
                <a:uLnTx/>
                <a:uFillTx/>
                <a:latin typeface="Segoe UI Light"/>
                <a:ea typeface="ＭＳ Ｐゴシック" charset="0"/>
                <a:cs typeface="Segoe UI" panose="020B0502040204020203" pitchFamily="34" charset="0"/>
              </a:rPr>
              <a:t>Power BI Desktop</a:t>
            </a:r>
          </a:p>
        </p:txBody>
      </p:sp>
      <p:sp>
        <p:nvSpPr>
          <p:cNvPr id="41" name="Rectangle 40"/>
          <p:cNvSpPr/>
          <p:nvPr/>
        </p:nvSpPr>
        <p:spPr bwMode="auto">
          <a:xfrm rot="2745734">
            <a:off x="825067" y="3494250"/>
            <a:ext cx="1260714" cy="370170"/>
          </a:xfrm>
          <a:prstGeom prst="rect">
            <a:avLst/>
          </a:prstGeom>
          <a:solidFill>
            <a:schemeClr val="tx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4" name="Picture 3"/>
          <p:cNvPicPr>
            <a:picLocks noChangeAspect="1"/>
          </p:cNvPicPr>
          <p:nvPr/>
        </p:nvPicPr>
        <p:blipFill>
          <a:blip r:embed="rId3"/>
          <a:stretch>
            <a:fillRect/>
          </a:stretch>
        </p:blipFill>
        <p:spPr>
          <a:xfrm>
            <a:off x="4262579" y="1984882"/>
            <a:ext cx="6163898" cy="3005634"/>
          </a:xfrm>
          <a:prstGeom prst="rect">
            <a:avLst/>
          </a:prstGeom>
          <a:ln>
            <a:noFill/>
          </a:ln>
          <a:effectLst>
            <a:outerShdw blurRad="190500" algn="tl" rotWithShape="0">
              <a:srgbClr val="000000">
                <a:alpha val="70000"/>
              </a:srgbClr>
            </a:outerShdw>
          </a:effectLst>
        </p:spPr>
      </p:pic>
      <p:sp>
        <p:nvSpPr>
          <p:cNvPr id="39" name="TextBox 38"/>
          <p:cNvSpPr txBox="1"/>
          <p:nvPr/>
        </p:nvSpPr>
        <p:spPr>
          <a:xfrm>
            <a:off x="9940109" y="4759238"/>
            <a:ext cx="2049795" cy="1872000"/>
          </a:xfrm>
          <a:prstGeom prst="rect">
            <a:avLst/>
          </a:prstGeom>
          <a:solidFill>
            <a:schemeClr val="tx1">
              <a:lumMod val="65000"/>
              <a:lumOff val="35000"/>
            </a:schemeClr>
          </a:solidFill>
        </p:spPr>
        <p:txBody>
          <a:bodyPr wrap="square" lIns="182880" tIns="146304" rIns="182880" bIns="146304" rtlCol="0">
            <a:spAutoFit/>
          </a:bodyPr>
          <a:lstStyle/>
          <a:p>
            <a:pPr marL="0" marR="0" lvl="0" indent="0" algn="just" defTabSz="914400" rtl="0" eaLnBrk="1" fontAlgn="auto" latinLnBrk="0" hangingPunct="1">
              <a:lnSpc>
                <a:spcPct val="90000"/>
              </a:lnSpc>
              <a:spcBef>
                <a:spcPts val="0"/>
              </a:spcBef>
              <a:spcAft>
                <a:spcPts val="600"/>
              </a:spcAft>
              <a:buClrTx/>
              <a:buSzTx/>
              <a:buFontTx/>
              <a:buNone/>
              <a:tabLst/>
              <a:defRPr/>
            </a:pPr>
            <a:endParaRPr kumimoji="0" lang="en-US" sz="1100" b="0"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endParaRPr>
          </a:p>
          <a:p>
            <a:pPr marL="0" marR="0" lvl="0" indent="0" algn="just" defTabSz="914400" rtl="0" eaLnBrk="1" fontAlgn="auto" latinLnBrk="0" hangingPunct="1">
              <a:lnSpc>
                <a:spcPct val="90000"/>
              </a:lnSpc>
              <a:spcBef>
                <a:spcPts val="0"/>
              </a:spcBef>
              <a:spcAft>
                <a:spcPts val="600"/>
              </a:spcAft>
              <a:buClrTx/>
              <a:buSzTx/>
              <a:buFontTx/>
              <a:buNone/>
              <a:tabLst/>
              <a:defRPr/>
            </a:pPr>
            <a:endParaRPr kumimoji="0" lang="en-US" sz="1100" b="0"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endParaRPr>
          </a:p>
          <a:p>
            <a:pPr marL="0" marR="0" lvl="0" indent="0" algn="just" defTabSz="914400" rtl="0" eaLnBrk="1" fontAlgn="auto" latinLnBrk="0" hangingPunct="1">
              <a:lnSpc>
                <a:spcPct val="90000"/>
              </a:lnSpc>
              <a:spcBef>
                <a:spcPts val="0"/>
              </a:spcBef>
              <a:spcAft>
                <a:spcPts val="600"/>
              </a:spcAft>
              <a:buClrTx/>
              <a:buSzTx/>
              <a:buFontTx/>
              <a:buNone/>
              <a:tabLst/>
              <a:defRPr/>
            </a:pPr>
            <a:endParaRPr kumimoji="0" lang="en-US" sz="1100" b="0"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endParaRPr>
          </a:p>
          <a:p>
            <a:pPr marL="0" marR="0" lvl="0" indent="0" algn="just" defTabSz="914400" rtl="0" eaLnBrk="1" fontAlgn="auto" latinLnBrk="0" hangingPunct="1">
              <a:lnSpc>
                <a:spcPct val="90000"/>
              </a:lnSpc>
              <a:spcBef>
                <a:spcPts val="0"/>
              </a:spcBef>
              <a:spcAft>
                <a:spcPts val="600"/>
              </a:spcAft>
              <a:buClrTx/>
              <a:buSzTx/>
              <a:buFontTx/>
              <a:buNone/>
              <a:tabLst/>
              <a:defRPr/>
            </a:pPr>
            <a:endParaRPr kumimoji="0" lang="en-US" sz="1100" b="0"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endParaRPr>
          </a:p>
          <a:p>
            <a:pPr marL="0" marR="0" lvl="0" indent="0" algn="just" defTabSz="914400" rtl="0" eaLnBrk="1" fontAlgn="auto" latinLnBrk="0" hangingPunct="1">
              <a:lnSpc>
                <a:spcPct val="90000"/>
              </a:lnSpc>
              <a:spcBef>
                <a:spcPts val="0"/>
              </a:spcBef>
              <a:spcAft>
                <a:spcPts val="600"/>
              </a:spcAft>
              <a:buClrTx/>
              <a:buSzTx/>
              <a:buFontTx/>
              <a:buNone/>
              <a:tabLst/>
              <a:defRPr/>
            </a:pPr>
            <a:endParaRPr kumimoji="0" lang="en-US" sz="1100" b="0"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endParaRPr>
          </a:p>
          <a:p>
            <a:pPr marL="0" marR="0" lvl="0" indent="0" algn="just" defTabSz="914400" rtl="0" eaLnBrk="1" fontAlgn="auto" latinLnBrk="0" hangingPunct="1">
              <a:lnSpc>
                <a:spcPct val="90000"/>
              </a:lnSpc>
              <a:spcBef>
                <a:spcPts val="0"/>
              </a:spcBef>
              <a:spcAft>
                <a:spcPts val="600"/>
              </a:spcAft>
              <a:buClrTx/>
              <a:buSzTx/>
              <a:buFontTx/>
              <a:buNone/>
              <a:tabLst/>
              <a:defRPr/>
            </a:pPr>
            <a:r>
              <a:rPr kumimoji="0" lang="en-US" sz="1100" b="0"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rPr>
              <a:t>- Use a funnel chart to show completion of steps in a scenario</a:t>
            </a:r>
          </a:p>
        </p:txBody>
      </p:sp>
      <p:sp>
        <p:nvSpPr>
          <p:cNvPr id="42" name="TextBox 41"/>
          <p:cNvSpPr txBox="1"/>
          <p:nvPr/>
        </p:nvSpPr>
        <p:spPr>
          <a:xfrm>
            <a:off x="8783528" y="4759239"/>
            <a:ext cx="1250778" cy="1871282"/>
          </a:xfrm>
          <a:prstGeom prst="rect">
            <a:avLst/>
          </a:prstGeom>
          <a:solidFill>
            <a:schemeClr val="tx1">
              <a:lumMod val="65000"/>
              <a:lumOff val="35000"/>
            </a:schemeClr>
          </a:solid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endParaRPr kumimoji="0" lang="en-US" sz="1600" b="1"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endParaRPr>
          </a:p>
          <a:p>
            <a:pPr marL="0" marR="0" lvl="0" indent="0" algn="l" defTabSz="914400" rtl="0" eaLnBrk="1" fontAlgn="auto" latinLnBrk="0" hangingPunct="1">
              <a:lnSpc>
                <a:spcPct val="90000"/>
              </a:lnSpc>
              <a:spcBef>
                <a:spcPts val="0"/>
              </a:spcBef>
              <a:spcAft>
                <a:spcPts val="600"/>
              </a:spcAft>
              <a:buClrTx/>
              <a:buSzTx/>
              <a:buFontTx/>
              <a:buNone/>
              <a:tabLst/>
              <a:defRPr/>
            </a:pPr>
            <a:endParaRPr kumimoji="0" lang="en-US" sz="1600" b="1"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endParaRPr>
          </a:p>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600" b="1"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rPr>
              <a:t>FUNNEL</a:t>
            </a:r>
          </a:p>
          <a:p>
            <a:pPr marL="0" marR="0" lvl="0" indent="0" algn="l" defTabSz="914400" rtl="0" eaLnBrk="1" fontAlgn="auto" latinLnBrk="0" hangingPunct="1">
              <a:lnSpc>
                <a:spcPct val="90000"/>
              </a:lnSpc>
              <a:spcBef>
                <a:spcPts val="0"/>
              </a:spcBef>
              <a:spcAft>
                <a:spcPts val="600"/>
              </a:spcAft>
              <a:buClrTx/>
              <a:buSzTx/>
              <a:buFontTx/>
              <a:buNone/>
              <a:tabLst/>
              <a:defRPr/>
            </a:pPr>
            <a:endParaRPr kumimoji="0" lang="en-US" sz="1200" b="1"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endParaRPr>
          </a:p>
          <a:p>
            <a:pPr marL="0" marR="0" lvl="0" indent="0" algn="l" defTabSz="914400" rtl="0" eaLnBrk="1" fontAlgn="auto" latinLnBrk="0" hangingPunct="1">
              <a:lnSpc>
                <a:spcPct val="90000"/>
              </a:lnSpc>
              <a:spcBef>
                <a:spcPts val="0"/>
              </a:spcBef>
              <a:spcAft>
                <a:spcPts val="600"/>
              </a:spcAft>
              <a:buClrTx/>
              <a:buSzTx/>
              <a:buFontTx/>
              <a:buNone/>
              <a:tabLst/>
              <a:defRPr/>
            </a:pPr>
            <a:endParaRPr kumimoji="0" lang="en-US" sz="1200" b="1"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endParaRPr>
          </a:p>
          <a:p>
            <a:pPr marL="0" marR="0" lvl="0" indent="0" algn="l" defTabSz="914400" rtl="0" eaLnBrk="1" fontAlgn="auto" latinLnBrk="0" hangingPunct="1">
              <a:lnSpc>
                <a:spcPct val="90000"/>
              </a:lnSpc>
              <a:spcBef>
                <a:spcPts val="0"/>
              </a:spcBef>
              <a:spcAft>
                <a:spcPts val="600"/>
              </a:spcAft>
              <a:buClrTx/>
              <a:buSzTx/>
              <a:buFontTx/>
              <a:buNone/>
              <a:tabLst/>
              <a:defRPr/>
            </a:pPr>
            <a:endParaRPr kumimoji="0" lang="en-US" sz="1400" b="1"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endParaRPr>
          </a:p>
        </p:txBody>
      </p:sp>
      <p:pic>
        <p:nvPicPr>
          <p:cNvPr id="45" name="Picture 44"/>
          <p:cNvPicPr>
            <a:picLocks noChangeAspect="1"/>
          </p:cNvPicPr>
          <p:nvPr/>
        </p:nvPicPr>
        <p:blipFill>
          <a:blip r:embed="rId3">
            <a:duotone>
              <a:prstClr val="black"/>
              <a:schemeClr val="tx2">
                <a:tint val="45000"/>
                <a:satMod val="400000"/>
              </a:schemeClr>
            </a:duotone>
          </a:blip>
          <a:stretch>
            <a:fillRect/>
          </a:stretch>
        </p:blipFill>
        <p:spPr>
          <a:xfrm>
            <a:off x="8946357" y="5894528"/>
            <a:ext cx="993752" cy="484572"/>
          </a:xfrm>
          <a:prstGeom prst="rect">
            <a:avLst/>
          </a:prstGeom>
          <a:ln>
            <a:noFill/>
          </a:ln>
          <a:effectLst>
            <a:outerShdw blurRad="190500" algn="tl" rotWithShape="0">
              <a:srgbClr val="000000">
                <a:alpha val="70000"/>
              </a:srgbClr>
            </a:outerShdw>
          </a:effectLst>
        </p:spPr>
      </p:pic>
    </p:spTree>
    <p:extLst>
      <p:ext uri="{BB962C8B-B14F-4D97-AF65-F5344CB8AC3E}">
        <p14:creationId xmlns:p14="http://schemas.microsoft.com/office/powerpoint/2010/main" val="50821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solidFill>
            <a:schemeClr val="bg1"/>
          </a:solidFill>
        </p:spPr>
        <p:txBody>
          <a:bodyPr/>
          <a:lstStyle/>
          <a:p>
            <a:r>
              <a:rPr lang="pt-PT">
                <a:solidFill>
                  <a:schemeClr val="tx1"/>
                </a:solidFill>
              </a:rPr>
              <a:t> Visualisations – Card and Multi-Row Card</a:t>
            </a:r>
            <a:endParaRPr lang="en-US" sz="3600">
              <a:solidFill>
                <a:schemeClr val="tx1"/>
              </a:solidFill>
            </a:endParaRPr>
          </a:p>
        </p:txBody>
      </p:sp>
      <p:grpSp>
        <p:nvGrpSpPr>
          <p:cNvPr id="52" name="Group 51"/>
          <p:cNvGrpSpPr/>
          <p:nvPr/>
        </p:nvGrpSpPr>
        <p:grpSpPr>
          <a:xfrm>
            <a:off x="2" y="1"/>
            <a:ext cx="2849058" cy="6858000"/>
            <a:chOff x="2" y="1"/>
            <a:chExt cx="2849058" cy="6858000"/>
          </a:xfrm>
        </p:grpSpPr>
        <p:sp>
          <p:nvSpPr>
            <p:cNvPr id="71" name="Rectangle 70"/>
            <p:cNvSpPr/>
            <p:nvPr/>
          </p:nvSpPr>
          <p:spPr bwMode="auto">
            <a:xfrm>
              <a:off x="2" y="1"/>
              <a:ext cx="2849058"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3" name="Oval 70"/>
            <p:cNvSpPr/>
            <p:nvPr/>
          </p:nvSpPr>
          <p:spPr>
            <a:xfrm>
              <a:off x="1413521" y="4951537"/>
              <a:ext cx="1119626" cy="1119626"/>
            </a:xfrm>
            <a:prstGeom prst="ellipse">
              <a:avLst/>
            </a:prstGeom>
            <a:solidFill>
              <a:srgbClr val="F2C812"/>
            </a:solidFill>
            <a:ln w="3175" cap="flat" cmpd="sng" algn="ctr">
              <a:noFill/>
              <a:prstDash val="solid"/>
            </a:ln>
            <a:effectLst/>
          </p:spPr>
          <p:txBody>
            <a:bodyPr vert="horz" wrap="none" lIns="0" tIns="45720" rIns="0" bIns="0" rtlCol="0" anchor="t"/>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Segoe UI"/>
                  <a:ea typeface="Segoe UI" pitchFamily="34" charset="0"/>
                  <a:cs typeface="Segoe UI" pitchFamily="34" charset="0"/>
                </a:rPr>
                <a:t>Share &amp;</a:t>
              </a:r>
            </a:p>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Segoe UI"/>
                  <a:ea typeface="Segoe UI" pitchFamily="34" charset="0"/>
                  <a:cs typeface="Segoe UI" pitchFamily="34" charset="0"/>
                </a:rPr>
                <a:t>collaborate </a:t>
              </a:r>
            </a:p>
          </p:txBody>
        </p:sp>
        <p:grpSp>
          <p:nvGrpSpPr>
            <p:cNvPr id="76" name="Group 38"/>
            <p:cNvGrpSpPr>
              <a:grpSpLocks noChangeAspect="1"/>
            </p:cNvGrpSpPr>
            <p:nvPr/>
          </p:nvGrpSpPr>
          <p:grpSpPr>
            <a:xfrm>
              <a:off x="676996" y="3930692"/>
              <a:ext cx="383905" cy="351536"/>
              <a:chOff x="4363684" y="5330386"/>
              <a:chExt cx="1409956" cy="1291077"/>
            </a:xfrm>
            <a:solidFill>
              <a:srgbClr val="217346"/>
            </a:solidFill>
          </p:grpSpPr>
          <p:sp>
            <p:nvSpPr>
              <p:cNvPr id="102" name="Donut 3"/>
              <p:cNvSpPr/>
              <p:nvPr/>
            </p:nvSpPr>
            <p:spPr bwMode="auto">
              <a:xfrm>
                <a:off x="4363684" y="5330386"/>
                <a:ext cx="1409956" cy="1291077"/>
              </a:xfrm>
              <a:custGeom>
                <a:avLst/>
                <a:gdLst/>
                <a:ahLst/>
                <a:cxnLst/>
                <a:rect l="l" t="t" r="r" b="b"/>
                <a:pathLst>
                  <a:path w="1409956" h="1291077">
                    <a:moveTo>
                      <a:pt x="956401" y="78410"/>
                    </a:moveTo>
                    <a:cubicBezTo>
                      <a:pt x="747518" y="78410"/>
                      <a:pt x="578184" y="247744"/>
                      <a:pt x="578184" y="456627"/>
                    </a:cubicBezTo>
                    <a:cubicBezTo>
                      <a:pt x="578184" y="665510"/>
                      <a:pt x="747518" y="834844"/>
                      <a:pt x="956401" y="834844"/>
                    </a:cubicBezTo>
                    <a:cubicBezTo>
                      <a:pt x="1165284" y="834844"/>
                      <a:pt x="1334618" y="665510"/>
                      <a:pt x="1334618" y="456627"/>
                    </a:cubicBezTo>
                    <a:cubicBezTo>
                      <a:pt x="1334618" y="247744"/>
                      <a:pt x="1165284" y="78410"/>
                      <a:pt x="956401" y="78410"/>
                    </a:cubicBezTo>
                    <a:close/>
                    <a:moveTo>
                      <a:pt x="952756" y="0"/>
                    </a:moveTo>
                    <a:cubicBezTo>
                      <a:pt x="1205261" y="0"/>
                      <a:pt x="1409956" y="204695"/>
                      <a:pt x="1409956" y="457200"/>
                    </a:cubicBezTo>
                    <a:cubicBezTo>
                      <a:pt x="1409956" y="709705"/>
                      <a:pt x="1205261" y="914400"/>
                      <a:pt x="952756" y="914400"/>
                    </a:cubicBezTo>
                    <a:cubicBezTo>
                      <a:pt x="862133" y="914400"/>
                      <a:pt x="777669" y="888034"/>
                      <a:pt x="707132" y="841746"/>
                    </a:cubicBezTo>
                    <a:lnTo>
                      <a:pt x="136495" y="1280102"/>
                    </a:lnTo>
                    <a:cubicBezTo>
                      <a:pt x="21896" y="1327168"/>
                      <a:pt x="-44029" y="1213730"/>
                      <a:pt x="33797" y="1113182"/>
                    </a:cubicBezTo>
                    <a:lnTo>
                      <a:pt x="568587" y="703518"/>
                    </a:lnTo>
                    <a:cubicBezTo>
                      <a:pt x="522087" y="632814"/>
                      <a:pt x="495556" y="548105"/>
                      <a:pt x="495556" y="457200"/>
                    </a:cubicBezTo>
                    <a:cubicBezTo>
                      <a:pt x="495556" y="204695"/>
                      <a:pt x="700251" y="0"/>
                      <a:pt x="952756" y="0"/>
                    </a:cubicBezTo>
                    <a:close/>
                  </a:path>
                </a:pathLst>
              </a:custGeom>
              <a:grpFill/>
              <a:ln>
                <a:solidFill>
                  <a:srgbClr val="21734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sp>
            <p:nvSpPr>
              <p:cNvPr id="103" name="Rectangle 4"/>
              <p:cNvSpPr/>
              <p:nvPr/>
            </p:nvSpPr>
            <p:spPr>
              <a:xfrm>
                <a:off x="5058389" y="5528247"/>
                <a:ext cx="490885" cy="490020"/>
              </a:xfrm>
              <a:custGeom>
                <a:avLst/>
                <a:gdLst/>
                <a:ahLst/>
                <a:cxnLst/>
                <a:rect l="l" t="t" r="r" b="b"/>
                <a:pathLst>
                  <a:path w="490885" h="490020">
                    <a:moveTo>
                      <a:pt x="240752" y="0"/>
                    </a:moveTo>
                    <a:cubicBezTo>
                      <a:pt x="253961" y="11844"/>
                      <a:pt x="293310" y="49692"/>
                      <a:pt x="337332" y="92439"/>
                    </a:cubicBezTo>
                    <a:lnTo>
                      <a:pt x="328342" y="81259"/>
                    </a:lnTo>
                    <a:cubicBezTo>
                      <a:pt x="356946" y="111282"/>
                      <a:pt x="377251" y="107167"/>
                      <a:pt x="382515" y="87941"/>
                    </a:cubicBezTo>
                    <a:cubicBezTo>
                      <a:pt x="383951" y="76921"/>
                      <a:pt x="384595" y="68732"/>
                      <a:pt x="396997" y="52239"/>
                    </a:cubicBezTo>
                    <a:cubicBezTo>
                      <a:pt x="420362" y="32084"/>
                      <a:pt x="442294" y="41736"/>
                      <a:pt x="454920" y="51330"/>
                    </a:cubicBezTo>
                    <a:cubicBezTo>
                      <a:pt x="467834" y="62761"/>
                      <a:pt x="477920" y="86882"/>
                      <a:pt x="460392" y="109714"/>
                    </a:cubicBezTo>
                    <a:cubicBezTo>
                      <a:pt x="451128" y="121912"/>
                      <a:pt x="437554" y="126838"/>
                      <a:pt x="425922" y="126505"/>
                    </a:cubicBezTo>
                    <a:cubicBezTo>
                      <a:pt x="424301" y="127609"/>
                      <a:pt x="382890" y="134974"/>
                      <a:pt x="427348" y="177672"/>
                    </a:cubicBezTo>
                    <a:lnTo>
                      <a:pt x="416886" y="169735"/>
                    </a:lnTo>
                    <a:cubicBezTo>
                      <a:pt x="450207" y="202177"/>
                      <a:pt x="478424" y="229744"/>
                      <a:pt x="490885" y="241900"/>
                    </a:cubicBezTo>
                    <a:lnTo>
                      <a:pt x="417150" y="317347"/>
                    </a:lnTo>
                    <a:cubicBezTo>
                      <a:pt x="417744" y="316535"/>
                      <a:pt x="418443" y="316123"/>
                      <a:pt x="419047" y="315822"/>
                    </a:cubicBezTo>
                    <a:cubicBezTo>
                      <a:pt x="389023" y="344426"/>
                      <a:pt x="393138" y="364731"/>
                      <a:pt x="412364" y="369995"/>
                    </a:cubicBezTo>
                    <a:cubicBezTo>
                      <a:pt x="423384" y="371431"/>
                      <a:pt x="431574" y="372075"/>
                      <a:pt x="448067" y="384477"/>
                    </a:cubicBezTo>
                    <a:cubicBezTo>
                      <a:pt x="468221" y="407842"/>
                      <a:pt x="458569" y="429774"/>
                      <a:pt x="448975" y="442400"/>
                    </a:cubicBezTo>
                    <a:cubicBezTo>
                      <a:pt x="437545" y="455314"/>
                      <a:pt x="413423" y="465400"/>
                      <a:pt x="390591" y="447872"/>
                    </a:cubicBezTo>
                    <a:cubicBezTo>
                      <a:pt x="378394" y="438608"/>
                      <a:pt x="373468" y="425034"/>
                      <a:pt x="373800" y="413402"/>
                    </a:cubicBezTo>
                    <a:cubicBezTo>
                      <a:pt x="372696" y="411781"/>
                      <a:pt x="365332" y="370370"/>
                      <a:pt x="322634" y="414828"/>
                    </a:cubicBezTo>
                    <a:lnTo>
                      <a:pt x="325243" y="411388"/>
                    </a:lnTo>
                    <a:lnTo>
                      <a:pt x="248395" y="490020"/>
                    </a:lnTo>
                    <a:cubicBezTo>
                      <a:pt x="208939" y="451897"/>
                      <a:pt x="199129" y="442073"/>
                      <a:pt x="174192" y="418236"/>
                    </a:cubicBezTo>
                    <a:cubicBezTo>
                      <a:pt x="145587" y="388212"/>
                      <a:pt x="125282" y="392327"/>
                      <a:pt x="120018" y="411553"/>
                    </a:cubicBezTo>
                    <a:cubicBezTo>
                      <a:pt x="118582" y="422573"/>
                      <a:pt x="117938" y="430763"/>
                      <a:pt x="105536" y="447256"/>
                    </a:cubicBezTo>
                    <a:cubicBezTo>
                      <a:pt x="82171" y="467410"/>
                      <a:pt x="60239" y="457758"/>
                      <a:pt x="47614" y="448164"/>
                    </a:cubicBezTo>
                    <a:cubicBezTo>
                      <a:pt x="34699" y="436734"/>
                      <a:pt x="24614" y="412612"/>
                      <a:pt x="42141" y="389780"/>
                    </a:cubicBezTo>
                    <a:cubicBezTo>
                      <a:pt x="51405" y="377583"/>
                      <a:pt x="64979" y="372657"/>
                      <a:pt x="76612" y="372989"/>
                    </a:cubicBezTo>
                    <a:cubicBezTo>
                      <a:pt x="78232" y="371886"/>
                      <a:pt x="119644" y="364521"/>
                      <a:pt x="75186" y="321823"/>
                    </a:cubicBezTo>
                    <a:cubicBezTo>
                      <a:pt x="58767" y="305402"/>
                      <a:pt x="23648" y="271235"/>
                      <a:pt x="0" y="248738"/>
                    </a:cubicBezTo>
                    <a:lnTo>
                      <a:pt x="77303" y="168146"/>
                    </a:lnTo>
                    <a:cubicBezTo>
                      <a:pt x="104269" y="140313"/>
                      <a:pt x="122130" y="156409"/>
                      <a:pt x="124388" y="175543"/>
                    </a:cubicBezTo>
                    <a:cubicBezTo>
                      <a:pt x="124457" y="182466"/>
                      <a:pt x="127106" y="193106"/>
                      <a:pt x="137575" y="203052"/>
                    </a:cubicBezTo>
                    <a:cubicBezTo>
                      <a:pt x="153931" y="220277"/>
                      <a:pt x="181252" y="217451"/>
                      <a:pt x="196721" y="201951"/>
                    </a:cubicBezTo>
                    <a:cubicBezTo>
                      <a:pt x="211961" y="185740"/>
                      <a:pt x="213057" y="157882"/>
                      <a:pt x="196146" y="142797"/>
                    </a:cubicBezTo>
                    <a:cubicBezTo>
                      <a:pt x="184301" y="132637"/>
                      <a:pt x="177155" y="131453"/>
                      <a:pt x="166513" y="129894"/>
                    </a:cubicBezTo>
                    <a:cubicBezTo>
                      <a:pt x="154522" y="129013"/>
                      <a:pt x="131185" y="112953"/>
                      <a:pt x="157905" y="85228"/>
                    </a:cubicBezTo>
                    <a:close/>
                  </a:path>
                </a:pathLst>
              </a:custGeom>
              <a:grpFill/>
              <a:ln>
                <a:solidFill>
                  <a:srgbClr val="21734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grpSp>
        <p:sp>
          <p:nvSpPr>
            <p:cNvPr id="77" name="Oval 47"/>
            <p:cNvSpPr/>
            <p:nvPr/>
          </p:nvSpPr>
          <p:spPr>
            <a:xfrm>
              <a:off x="388608" y="3710471"/>
              <a:ext cx="1119626" cy="1119626"/>
            </a:xfrm>
            <a:prstGeom prst="ellipse">
              <a:avLst/>
            </a:prstGeom>
            <a:solidFill>
              <a:srgbClr val="F2C812"/>
            </a:solidFill>
            <a:ln w="3175" cap="flat" cmpd="sng" algn="ctr">
              <a:noFill/>
              <a:prstDash val="solid"/>
            </a:ln>
            <a:effectLst/>
          </p:spPr>
          <p:txBody>
            <a:bodyPr vert="horz" wrap="none" lIns="0" tIns="45720" rIns="0" bIns="0" rtlCol="0" anchor="t"/>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Segoe UI"/>
                  <a:ea typeface="Segoe UI" pitchFamily="34" charset="0"/>
                  <a:cs typeface="Segoe UI" pitchFamily="34" charset="0"/>
                </a:rPr>
                <a:t>Report</a:t>
              </a:r>
            </a:p>
          </p:txBody>
        </p:sp>
        <p:sp>
          <p:nvSpPr>
            <p:cNvPr id="78" name="Oval 950"/>
            <p:cNvSpPr/>
            <p:nvPr/>
          </p:nvSpPr>
          <p:spPr>
            <a:xfrm>
              <a:off x="388608" y="1252295"/>
              <a:ext cx="1119626" cy="1119626"/>
            </a:xfrm>
            <a:prstGeom prst="ellipse">
              <a:avLst/>
            </a:prstGeom>
            <a:solidFill>
              <a:srgbClr val="F2C812"/>
            </a:solidFill>
            <a:ln w="3175" cap="flat" cmpd="sng" algn="ctr">
              <a:noFill/>
              <a:prstDash val="solid"/>
            </a:ln>
            <a:effectLst/>
          </p:spPr>
          <p:txBody>
            <a:bodyPr vert="horz" wrap="none" lIns="0" tIns="45720" rIns="0" bIns="0" rtlCol="0" anchor="t"/>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1" i="0" u="none" strike="noStrike" kern="1200" cap="none" spc="0" normalizeH="0" baseline="0" noProof="0">
                <a:ln>
                  <a:noFill/>
                </a:ln>
                <a:solidFill>
                  <a:srgbClr val="217346"/>
                </a:solidFill>
                <a:effectLst/>
                <a:uLnTx/>
                <a:uFillTx/>
                <a:latin typeface="Segoe UI"/>
                <a:ea typeface="Segoe UI" pitchFamily="34" charset="0"/>
                <a:cs typeface="Segoe UI" pitchFamily="34" charset="0"/>
              </a:endParaRPr>
            </a:p>
          </p:txBody>
        </p:sp>
        <p:grpSp>
          <p:nvGrpSpPr>
            <p:cNvPr id="79" name="Group 78"/>
            <p:cNvGrpSpPr/>
            <p:nvPr/>
          </p:nvGrpSpPr>
          <p:grpSpPr>
            <a:xfrm>
              <a:off x="1264851" y="3482890"/>
              <a:ext cx="292254" cy="354906"/>
              <a:chOff x="1296521" y="3253388"/>
              <a:chExt cx="292254" cy="354906"/>
            </a:xfrm>
            <a:solidFill>
              <a:srgbClr val="F2C812"/>
            </a:solidFill>
          </p:grpSpPr>
          <p:sp>
            <p:nvSpPr>
              <p:cNvPr id="99" name="Isosceles Triangle 98"/>
              <p:cNvSpPr/>
              <p:nvPr/>
            </p:nvSpPr>
            <p:spPr bwMode="auto">
              <a:xfrm rot="13636515">
                <a:off x="1461362" y="328936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0" name="Isosceles Triangle 99"/>
              <p:cNvSpPr/>
              <p:nvPr/>
            </p:nvSpPr>
            <p:spPr bwMode="auto">
              <a:xfrm rot="13636515">
                <a:off x="1357669" y="338258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1" name="Isosceles Triangle 100"/>
              <p:cNvSpPr/>
              <p:nvPr/>
            </p:nvSpPr>
            <p:spPr bwMode="auto">
              <a:xfrm rot="13636515">
                <a:off x="1260548" y="3480882"/>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80" name="Group 79"/>
            <p:cNvGrpSpPr/>
            <p:nvPr/>
          </p:nvGrpSpPr>
          <p:grpSpPr>
            <a:xfrm rot="15940603">
              <a:off x="1334576" y="2204404"/>
              <a:ext cx="292254" cy="354906"/>
              <a:chOff x="1296521" y="3253388"/>
              <a:chExt cx="292254" cy="354906"/>
            </a:xfrm>
            <a:solidFill>
              <a:srgbClr val="F2C812"/>
            </a:solidFill>
          </p:grpSpPr>
          <p:sp>
            <p:nvSpPr>
              <p:cNvPr id="96" name="Isosceles Triangle 95"/>
              <p:cNvSpPr/>
              <p:nvPr/>
            </p:nvSpPr>
            <p:spPr bwMode="auto">
              <a:xfrm rot="13636515">
                <a:off x="1461362" y="328936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7" name="Isosceles Triangle 96"/>
              <p:cNvSpPr/>
              <p:nvPr/>
            </p:nvSpPr>
            <p:spPr bwMode="auto">
              <a:xfrm rot="13636515">
                <a:off x="1357669" y="338258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8" name="Isosceles Triangle 97"/>
              <p:cNvSpPr/>
              <p:nvPr/>
            </p:nvSpPr>
            <p:spPr bwMode="auto">
              <a:xfrm rot="13636515">
                <a:off x="1260548" y="3480882"/>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81" name="Group 80"/>
            <p:cNvGrpSpPr/>
            <p:nvPr/>
          </p:nvGrpSpPr>
          <p:grpSpPr>
            <a:xfrm rot="16043978">
              <a:off x="1317220" y="4717577"/>
              <a:ext cx="292254" cy="354906"/>
              <a:chOff x="1296521" y="3253388"/>
              <a:chExt cx="292254" cy="354906"/>
            </a:xfrm>
            <a:solidFill>
              <a:srgbClr val="F2C812"/>
            </a:solidFill>
          </p:grpSpPr>
          <p:sp>
            <p:nvSpPr>
              <p:cNvPr id="93" name="Isosceles Triangle 92"/>
              <p:cNvSpPr/>
              <p:nvPr/>
            </p:nvSpPr>
            <p:spPr bwMode="auto">
              <a:xfrm rot="13636515">
                <a:off x="1461362" y="328936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4" name="Isosceles Triangle 93"/>
              <p:cNvSpPr/>
              <p:nvPr/>
            </p:nvSpPr>
            <p:spPr bwMode="auto">
              <a:xfrm rot="13636515">
                <a:off x="1357669" y="338258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5" name="Isosceles Triangle 94"/>
              <p:cNvSpPr/>
              <p:nvPr/>
            </p:nvSpPr>
            <p:spPr bwMode="auto">
              <a:xfrm rot="13636515">
                <a:off x="1260548" y="3480882"/>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82" name="Oval 36"/>
            <p:cNvSpPr/>
            <p:nvPr/>
          </p:nvSpPr>
          <p:spPr>
            <a:xfrm>
              <a:off x="1413521" y="2481383"/>
              <a:ext cx="1119626" cy="1119626"/>
            </a:xfrm>
            <a:prstGeom prst="ellipse">
              <a:avLst/>
            </a:prstGeom>
            <a:solidFill>
              <a:srgbClr val="F2C812"/>
            </a:solidFill>
            <a:ln w="3175" cap="flat" cmpd="sng" algn="ctr">
              <a:noFill/>
              <a:prstDash val="solid"/>
            </a:ln>
            <a:effectLst/>
          </p:spPr>
          <p:txBody>
            <a:bodyPr vert="horz" wrap="none" lIns="0" tIns="0" rIns="0" bIns="0" rtlCol="0" anchor="t"/>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400" b="1" i="0" u="none" strike="noStrike" kern="1200" cap="none" spc="0" normalizeH="0" baseline="0" noProof="0">
                <a:ln>
                  <a:noFill/>
                </a:ln>
                <a:solidFill>
                  <a:srgbClr val="217346"/>
                </a:solidFill>
                <a:effectLst/>
                <a:uLnTx/>
                <a:uFillTx/>
                <a:latin typeface="Segoe UI"/>
                <a:ea typeface="Segoe UI" pitchFamily="34" charset="0"/>
                <a:cs typeface="Segoe UI" pitchFamily="34" charset="0"/>
              </a:endParaRPr>
            </a:p>
          </p:txBody>
        </p:sp>
        <p:sp>
          <p:nvSpPr>
            <p:cNvPr id="83" name="Donut 3"/>
            <p:cNvSpPr/>
            <p:nvPr/>
          </p:nvSpPr>
          <p:spPr bwMode="auto">
            <a:xfrm>
              <a:off x="1742065" y="3002355"/>
              <a:ext cx="383905" cy="351537"/>
            </a:xfrm>
            <a:custGeom>
              <a:avLst/>
              <a:gdLst/>
              <a:ahLst/>
              <a:cxnLst/>
              <a:rect l="l" t="t" r="r" b="b"/>
              <a:pathLst>
                <a:path w="1409956" h="1291077">
                  <a:moveTo>
                    <a:pt x="956401" y="78410"/>
                  </a:moveTo>
                  <a:cubicBezTo>
                    <a:pt x="747518" y="78410"/>
                    <a:pt x="578184" y="247744"/>
                    <a:pt x="578184" y="456627"/>
                  </a:cubicBezTo>
                  <a:cubicBezTo>
                    <a:pt x="578184" y="665510"/>
                    <a:pt x="747518" y="834844"/>
                    <a:pt x="956401" y="834844"/>
                  </a:cubicBezTo>
                  <a:cubicBezTo>
                    <a:pt x="1165284" y="834844"/>
                    <a:pt x="1334618" y="665510"/>
                    <a:pt x="1334618" y="456627"/>
                  </a:cubicBezTo>
                  <a:cubicBezTo>
                    <a:pt x="1334618" y="247744"/>
                    <a:pt x="1165284" y="78410"/>
                    <a:pt x="956401" y="78410"/>
                  </a:cubicBezTo>
                  <a:close/>
                  <a:moveTo>
                    <a:pt x="952756" y="0"/>
                  </a:moveTo>
                  <a:cubicBezTo>
                    <a:pt x="1205261" y="0"/>
                    <a:pt x="1409956" y="204695"/>
                    <a:pt x="1409956" y="457200"/>
                  </a:cubicBezTo>
                  <a:cubicBezTo>
                    <a:pt x="1409956" y="709705"/>
                    <a:pt x="1205261" y="914400"/>
                    <a:pt x="952756" y="914400"/>
                  </a:cubicBezTo>
                  <a:cubicBezTo>
                    <a:pt x="862133" y="914400"/>
                    <a:pt x="777669" y="888034"/>
                    <a:pt x="707132" y="841746"/>
                  </a:cubicBezTo>
                  <a:lnTo>
                    <a:pt x="136495" y="1280102"/>
                  </a:lnTo>
                  <a:cubicBezTo>
                    <a:pt x="21896" y="1327168"/>
                    <a:pt x="-44029" y="1213730"/>
                    <a:pt x="33797" y="1113182"/>
                  </a:cubicBezTo>
                  <a:lnTo>
                    <a:pt x="568587" y="703518"/>
                  </a:lnTo>
                  <a:cubicBezTo>
                    <a:pt x="522087" y="632814"/>
                    <a:pt x="495556" y="548105"/>
                    <a:pt x="495556" y="457200"/>
                  </a:cubicBezTo>
                  <a:cubicBezTo>
                    <a:pt x="495556" y="204695"/>
                    <a:pt x="700251" y="0"/>
                    <a:pt x="952756" y="0"/>
                  </a:cubicBezTo>
                  <a:close/>
                </a:path>
              </a:pathLst>
            </a:cu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sp>
          <p:nvSpPr>
            <p:cNvPr id="84" name="Rectangle 83"/>
            <p:cNvSpPr/>
            <p:nvPr/>
          </p:nvSpPr>
          <p:spPr>
            <a:xfrm>
              <a:off x="1600398" y="2677430"/>
              <a:ext cx="820353" cy="307777"/>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Segoe UI"/>
                  <a:ea typeface="Segoe UI" pitchFamily="34" charset="0"/>
                  <a:cs typeface="Segoe UI" pitchFamily="34" charset="0"/>
                </a:rPr>
                <a:t>Explore</a:t>
              </a:r>
              <a:endParaRPr kumimoji="0" lang="en-US" sz="1600" b="0" i="0" u="none" strike="noStrike" kern="1200" cap="none" spc="0" normalizeH="0" baseline="0" noProof="0">
                <a:ln>
                  <a:noFill/>
                </a:ln>
                <a:solidFill>
                  <a:srgbClr val="000000"/>
                </a:solidFill>
                <a:effectLst/>
                <a:uLnTx/>
                <a:uFillTx/>
                <a:latin typeface="Segoe UI"/>
                <a:ea typeface="+mn-ea"/>
                <a:cs typeface="+mn-cs"/>
              </a:endParaRPr>
            </a:p>
          </p:txBody>
        </p:sp>
        <p:sp>
          <p:nvSpPr>
            <p:cNvPr id="85" name="Rectangle 84"/>
            <p:cNvSpPr/>
            <p:nvPr/>
          </p:nvSpPr>
          <p:spPr>
            <a:xfrm>
              <a:off x="509174" y="1475232"/>
              <a:ext cx="838756" cy="307777"/>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Segoe UI"/>
                  <a:ea typeface="Segoe UI" pitchFamily="34" charset="0"/>
                  <a:cs typeface="Segoe UI" pitchFamily="34" charset="0"/>
                </a:rPr>
                <a:t>Prepare</a:t>
              </a: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86" name="Freeform 85"/>
            <p:cNvSpPr>
              <a:spLocks noChangeAspect="1"/>
            </p:cNvSpPr>
            <p:nvPr/>
          </p:nvSpPr>
          <p:spPr bwMode="black">
            <a:xfrm>
              <a:off x="1836174" y="5643069"/>
              <a:ext cx="274320" cy="284173"/>
            </a:xfrm>
            <a:custGeom>
              <a:avLst/>
              <a:gdLst>
                <a:gd name="T0" fmla="*/ 539 w 669"/>
                <a:gd name="T1" fmla="*/ 5 h 693"/>
                <a:gd name="T2" fmla="*/ 640 w 669"/>
                <a:gd name="T3" fmla="*/ 55 h 693"/>
                <a:gd name="T4" fmla="*/ 603 w 669"/>
                <a:gd name="T5" fmla="*/ 195 h 693"/>
                <a:gd name="T6" fmla="*/ 490 w 669"/>
                <a:gd name="T7" fmla="*/ 188 h 693"/>
                <a:gd name="T8" fmla="*/ 479 w 669"/>
                <a:gd name="T9" fmla="*/ 176 h 693"/>
                <a:gd name="T10" fmla="*/ 213 w 669"/>
                <a:gd name="T11" fmla="*/ 330 h 693"/>
                <a:gd name="T12" fmla="*/ 218 w 669"/>
                <a:gd name="T13" fmla="*/ 345 h 693"/>
                <a:gd name="T14" fmla="*/ 218 w 669"/>
                <a:gd name="T15" fmla="*/ 375 h 693"/>
                <a:gd name="T16" fmla="*/ 209 w 669"/>
                <a:gd name="T17" fmla="*/ 402 h 693"/>
                <a:gd name="T18" fmla="*/ 369 w 669"/>
                <a:gd name="T19" fmla="*/ 503 h 693"/>
                <a:gd name="T20" fmla="*/ 373 w 669"/>
                <a:gd name="T21" fmla="*/ 498 h 693"/>
                <a:gd name="T22" fmla="*/ 456 w 669"/>
                <a:gd name="T23" fmla="*/ 475 h 693"/>
                <a:gd name="T24" fmla="*/ 494 w 669"/>
                <a:gd name="T25" fmla="*/ 489 h 693"/>
                <a:gd name="T26" fmla="*/ 527 w 669"/>
                <a:gd name="T27" fmla="*/ 630 h 693"/>
                <a:gd name="T28" fmla="*/ 386 w 669"/>
                <a:gd name="T29" fmla="*/ 663 h 693"/>
                <a:gd name="T30" fmla="*/ 339 w 669"/>
                <a:gd name="T31" fmla="*/ 560 h 693"/>
                <a:gd name="T32" fmla="*/ 345 w 669"/>
                <a:gd name="T33" fmla="*/ 544 h 693"/>
                <a:gd name="T34" fmla="*/ 177 w 669"/>
                <a:gd name="T35" fmla="*/ 439 h 693"/>
                <a:gd name="T36" fmla="*/ 168 w 669"/>
                <a:gd name="T37" fmla="*/ 446 h 693"/>
                <a:gd name="T38" fmla="*/ 28 w 669"/>
                <a:gd name="T39" fmla="*/ 409 h 693"/>
                <a:gd name="T40" fmla="*/ 65 w 669"/>
                <a:gd name="T41" fmla="*/ 269 h 693"/>
                <a:gd name="T42" fmla="*/ 178 w 669"/>
                <a:gd name="T43" fmla="*/ 276 h 693"/>
                <a:gd name="T44" fmla="*/ 189 w 669"/>
                <a:gd name="T45" fmla="*/ 288 h 693"/>
                <a:gd name="T46" fmla="*/ 455 w 669"/>
                <a:gd name="T47" fmla="*/ 134 h 693"/>
                <a:gd name="T48" fmla="*/ 450 w 669"/>
                <a:gd name="T49" fmla="*/ 119 h 693"/>
                <a:gd name="T50" fmla="*/ 501 w 669"/>
                <a:gd name="T51" fmla="*/ 18 h 693"/>
                <a:gd name="T52" fmla="*/ 539 w 669"/>
                <a:gd name="T53" fmla="*/ 5 h 6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69" h="693">
                  <a:moveTo>
                    <a:pt x="539" y="5"/>
                  </a:moveTo>
                  <a:cubicBezTo>
                    <a:pt x="579" y="0"/>
                    <a:pt x="619" y="19"/>
                    <a:pt x="640" y="55"/>
                  </a:cubicBezTo>
                  <a:cubicBezTo>
                    <a:pt x="669" y="104"/>
                    <a:pt x="652" y="167"/>
                    <a:pt x="603" y="195"/>
                  </a:cubicBezTo>
                  <a:cubicBezTo>
                    <a:pt x="566" y="216"/>
                    <a:pt x="522" y="212"/>
                    <a:pt x="490" y="188"/>
                  </a:cubicBezTo>
                  <a:cubicBezTo>
                    <a:pt x="479" y="176"/>
                    <a:pt x="479" y="176"/>
                    <a:pt x="479" y="176"/>
                  </a:cubicBezTo>
                  <a:cubicBezTo>
                    <a:pt x="213" y="330"/>
                    <a:pt x="213" y="330"/>
                    <a:pt x="213" y="330"/>
                  </a:cubicBezTo>
                  <a:cubicBezTo>
                    <a:pt x="218" y="345"/>
                    <a:pt x="218" y="345"/>
                    <a:pt x="218" y="345"/>
                  </a:cubicBezTo>
                  <a:cubicBezTo>
                    <a:pt x="219" y="355"/>
                    <a:pt x="219" y="365"/>
                    <a:pt x="218" y="375"/>
                  </a:cubicBezTo>
                  <a:cubicBezTo>
                    <a:pt x="209" y="402"/>
                    <a:pt x="209" y="402"/>
                    <a:pt x="209" y="402"/>
                  </a:cubicBezTo>
                  <a:cubicBezTo>
                    <a:pt x="369" y="503"/>
                    <a:pt x="369" y="503"/>
                    <a:pt x="369" y="503"/>
                  </a:cubicBezTo>
                  <a:cubicBezTo>
                    <a:pt x="373" y="498"/>
                    <a:pt x="373" y="498"/>
                    <a:pt x="373" y="498"/>
                  </a:cubicBezTo>
                  <a:cubicBezTo>
                    <a:pt x="396" y="479"/>
                    <a:pt x="427" y="470"/>
                    <a:pt x="456" y="475"/>
                  </a:cubicBezTo>
                  <a:cubicBezTo>
                    <a:pt x="470" y="477"/>
                    <a:pt x="482" y="482"/>
                    <a:pt x="494" y="489"/>
                  </a:cubicBezTo>
                  <a:cubicBezTo>
                    <a:pt x="542" y="519"/>
                    <a:pt x="557" y="583"/>
                    <a:pt x="527" y="630"/>
                  </a:cubicBezTo>
                  <a:cubicBezTo>
                    <a:pt x="497" y="678"/>
                    <a:pt x="433" y="693"/>
                    <a:pt x="386" y="663"/>
                  </a:cubicBezTo>
                  <a:cubicBezTo>
                    <a:pt x="350" y="640"/>
                    <a:pt x="333" y="599"/>
                    <a:pt x="339" y="560"/>
                  </a:cubicBezTo>
                  <a:cubicBezTo>
                    <a:pt x="345" y="544"/>
                    <a:pt x="345" y="544"/>
                    <a:pt x="345" y="544"/>
                  </a:cubicBezTo>
                  <a:cubicBezTo>
                    <a:pt x="177" y="439"/>
                    <a:pt x="177" y="439"/>
                    <a:pt x="177" y="439"/>
                  </a:cubicBezTo>
                  <a:cubicBezTo>
                    <a:pt x="168" y="446"/>
                    <a:pt x="168" y="446"/>
                    <a:pt x="168" y="446"/>
                  </a:cubicBezTo>
                  <a:cubicBezTo>
                    <a:pt x="119" y="475"/>
                    <a:pt x="56" y="458"/>
                    <a:pt x="28" y="409"/>
                  </a:cubicBezTo>
                  <a:cubicBezTo>
                    <a:pt x="0" y="360"/>
                    <a:pt x="16" y="297"/>
                    <a:pt x="65" y="269"/>
                  </a:cubicBezTo>
                  <a:cubicBezTo>
                    <a:pt x="102" y="248"/>
                    <a:pt x="147" y="252"/>
                    <a:pt x="178" y="276"/>
                  </a:cubicBezTo>
                  <a:cubicBezTo>
                    <a:pt x="189" y="288"/>
                    <a:pt x="189" y="288"/>
                    <a:pt x="189" y="288"/>
                  </a:cubicBezTo>
                  <a:cubicBezTo>
                    <a:pt x="455" y="134"/>
                    <a:pt x="455" y="134"/>
                    <a:pt x="455" y="134"/>
                  </a:cubicBezTo>
                  <a:cubicBezTo>
                    <a:pt x="450" y="119"/>
                    <a:pt x="450" y="119"/>
                    <a:pt x="450" y="119"/>
                  </a:cubicBezTo>
                  <a:cubicBezTo>
                    <a:pt x="445" y="80"/>
                    <a:pt x="464" y="39"/>
                    <a:pt x="501" y="18"/>
                  </a:cubicBezTo>
                  <a:cubicBezTo>
                    <a:pt x="513" y="11"/>
                    <a:pt x="526" y="6"/>
                    <a:pt x="539" y="5"/>
                  </a:cubicBezTo>
                  <a:close/>
                </a:path>
              </a:pathLst>
            </a:custGeom>
            <a:solidFill>
              <a:schemeClr val="tx1"/>
            </a:solidFill>
            <a:ln>
              <a:noFill/>
            </a:ln>
          </p:spPr>
          <p:txBody>
            <a:bodyPr vert="horz" wrap="square" lIns="68574" tIns="34287" rIns="68574" bIns="34287"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0000"/>
                </a:solidFill>
                <a:effectLst/>
                <a:uLnTx/>
                <a:uFillTx/>
                <a:latin typeface="Segoe UI"/>
                <a:ea typeface="+mn-ea"/>
                <a:cs typeface="+mn-cs"/>
              </a:endParaRPr>
            </a:p>
          </p:txBody>
        </p:sp>
        <p:sp>
          <p:nvSpPr>
            <p:cNvPr id="87" name="Freeform 86"/>
            <p:cNvSpPr>
              <a:spLocks noChangeAspect="1" noEditPoints="1"/>
            </p:cNvSpPr>
            <p:nvPr/>
          </p:nvSpPr>
          <p:spPr bwMode="black">
            <a:xfrm>
              <a:off x="722320" y="1783009"/>
              <a:ext cx="452202" cy="366660"/>
            </a:xfrm>
            <a:custGeom>
              <a:avLst/>
              <a:gdLst>
                <a:gd name="T0" fmla="*/ 600 w 1107"/>
                <a:gd name="T1" fmla="*/ 625 h 897"/>
                <a:gd name="T2" fmla="*/ 649 w 1107"/>
                <a:gd name="T3" fmla="*/ 567 h 897"/>
                <a:gd name="T4" fmla="*/ 727 w 1107"/>
                <a:gd name="T5" fmla="*/ 482 h 897"/>
                <a:gd name="T6" fmla="*/ 601 w 1107"/>
                <a:gd name="T7" fmla="*/ 434 h 897"/>
                <a:gd name="T8" fmla="*/ 628 w 1107"/>
                <a:gd name="T9" fmla="*/ 305 h 897"/>
                <a:gd name="T10" fmla="*/ 547 w 1107"/>
                <a:gd name="T11" fmla="*/ 240 h 897"/>
                <a:gd name="T12" fmla="*/ 427 w 1107"/>
                <a:gd name="T13" fmla="*/ 287 h 897"/>
                <a:gd name="T14" fmla="*/ 368 w 1107"/>
                <a:gd name="T15" fmla="*/ 170 h 897"/>
                <a:gd name="T16" fmla="*/ 285 w 1107"/>
                <a:gd name="T17" fmla="*/ 263 h 897"/>
                <a:gd name="T18" fmla="*/ 241 w 1107"/>
                <a:gd name="T19" fmla="*/ 313 h 897"/>
                <a:gd name="T20" fmla="*/ 139 w 1107"/>
                <a:gd name="T21" fmla="*/ 281 h 897"/>
                <a:gd name="T22" fmla="*/ 79 w 1107"/>
                <a:gd name="T23" fmla="*/ 355 h 897"/>
                <a:gd name="T24" fmla="*/ 132 w 1107"/>
                <a:gd name="T25" fmla="*/ 446 h 897"/>
                <a:gd name="T26" fmla="*/ 83 w 1107"/>
                <a:gd name="T27" fmla="*/ 505 h 897"/>
                <a:gd name="T28" fmla="*/ 5 w 1107"/>
                <a:gd name="T29" fmla="*/ 590 h 897"/>
                <a:gd name="T30" fmla="*/ 132 w 1107"/>
                <a:gd name="T31" fmla="*/ 638 h 897"/>
                <a:gd name="T32" fmla="*/ 145 w 1107"/>
                <a:gd name="T33" fmla="*/ 669 h 897"/>
                <a:gd name="T34" fmla="*/ 110 w 1107"/>
                <a:gd name="T35" fmla="*/ 793 h 897"/>
                <a:gd name="T36" fmla="*/ 230 w 1107"/>
                <a:gd name="T37" fmla="*/ 781 h 897"/>
                <a:gd name="T38" fmla="*/ 306 w 1107"/>
                <a:gd name="T39" fmla="*/ 785 h 897"/>
                <a:gd name="T40" fmla="*/ 346 w 1107"/>
                <a:gd name="T41" fmla="*/ 878 h 897"/>
                <a:gd name="T42" fmla="*/ 440 w 1107"/>
                <a:gd name="T43" fmla="*/ 872 h 897"/>
                <a:gd name="T44" fmla="*/ 466 w 1107"/>
                <a:gd name="T45" fmla="*/ 764 h 897"/>
                <a:gd name="T46" fmla="*/ 539 w 1107"/>
                <a:gd name="T47" fmla="*/ 755 h 897"/>
                <a:gd name="T48" fmla="*/ 659 w 1107"/>
                <a:gd name="T49" fmla="*/ 743 h 897"/>
                <a:gd name="T50" fmla="*/ 263 w 1107"/>
                <a:gd name="T51" fmla="*/ 452 h 897"/>
                <a:gd name="T52" fmla="*/ 281 w 1107"/>
                <a:gd name="T53" fmla="*/ 633 h 897"/>
                <a:gd name="T54" fmla="*/ 1002 w 1107"/>
                <a:gd name="T55" fmla="*/ 332 h 897"/>
                <a:gd name="T56" fmla="*/ 1043 w 1107"/>
                <a:gd name="T57" fmla="*/ 304 h 897"/>
                <a:gd name="T58" fmla="*/ 1107 w 1107"/>
                <a:gd name="T59" fmla="*/ 266 h 897"/>
                <a:gd name="T60" fmla="*/ 1037 w 1107"/>
                <a:gd name="T61" fmla="*/ 213 h 897"/>
                <a:gd name="T62" fmla="*/ 1077 w 1107"/>
                <a:gd name="T63" fmla="*/ 138 h 897"/>
                <a:gd name="T64" fmla="*/ 1038 w 1107"/>
                <a:gd name="T65" fmla="*/ 83 h 897"/>
                <a:gd name="T66" fmla="*/ 956 w 1107"/>
                <a:gd name="T67" fmla="*/ 91 h 897"/>
                <a:gd name="T68" fmla="*/ 940 w 1107"/>
                <a:gd name="T69" fmla="*/ 7 h 897"/>
                <a:gd name="T70" fmla="*/ 872 w 1107"/>
                <a:gd name="T71" fmla="*/ 50 h 897"/>
                <a:gd name="T72" fmla="*/ 836 w 1107"/>
                <a:gd name="T73" fmla="*/ 74 h 897"/>
                <a:gd name="T74" fmla="*/ 778 w 1107"/>
                <a:gd name="T75" fmla="*/ 35 h 897"/>
                <a:gd name="T76" fmla="*/ 728 w 1107"/>
                <a:gd name="T77" fmla="*/ 70 h 897"/>
                <a:gd name="T78" fmla="*/ 744 w 1107"/>
                <a:gd name="T79" fmla="*/ 136 h 897"/>
                <a:gd name="T80" fmla="*/ 703 w 1107"/>
                <a:gd name="T81" fmla="*/ 164 h 897"/>
                <a:gd name="T82" fmla="*/ 640 w 1107"/>
                <a:gd name="T83" fmla="*/ 203 h 897"/>
                <a:gd name="T84" fmla="*/ 710 w 1107"/>
                <a:gd name="T85" fmla="*/ 255 h 897"/>
                <a:gd name="T86" fmla="*/ 712 w 1107"/>
                <a:gd name="T87" fmla="*/ 277 h 897"/>
                <a:gd name="T88" fmla="*/ 668 w 1107"/>
                <a:gd name="T89" fmla="*/ 347 h 897"/>
                <a:gd name="T90" fmla="*/ 745 w 1107"/>
                <a:gd name="T91" fmla="*/ 361 h 897"/>
                <a:gd name="T92" fmla="*/ 791 w 1107"/>
                <a:gd name="T93" fmla="*/ 377 h 897"/>
                <a:gd name="T94" fmla="*/ 799 w 1107"/>
                <a:gd name="T95" fmla="*/ 443 h 897"/>
                <a:gd name="T96" fmla="*/ 859 w 1107"/>
                <a:gd name="T97" fmla="*/ 456 h 897"/>
                <a:gd name="T98" fmla="*/ 894 w 1107"/>
                <a:gd name="T99" fmla="*/ 393 h 897"/>
                <a:gd name="T100" fmla="*/ 941 w 1107"/>
                <a:gd name="T101" fmla="*/ 401 h 897"/>
                <a:gd name="T102" fmla="*/ 1018 w 1107"/>
                <a:gd name="T103" fmla="*/ 415 h 897"/>
                <a:gd name="T104" fmla="*/ 825 w 1107"/>
                <a:gd name="T105" fmla="*/ 164 h 897"/>
                <a:gd name="T106" fmla="*/ 803 w 1107"/>
                <a:gd name="T107" fmla="*/ 279 h 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107" h="897">
                  <a:moveTo>
                    <a:pt x="654" y="716"/>
                  </a:moveTo>
                  <a:cubicBezTo>
                    <a:pt x="616" y="670"/>
                    <a:pt x="616" y="670"/>
                    <a:pt x="616" y="670"/>
                  </a:cubicBezTo>
                  <a:cubicBezTo>
                    <a:pt x="593" y="654"/>
                    <a:pt x="603" y="638"/>
                    <a:pt x="600" y="625"/>
                  </a:cubicBezTo>
                  <a:cubicBezTo>
                    <a:pt x="600" y="625"/>
                    <a:pt x="600" y="625"/>
                    <a:pt x="600" y="625"/>
                  </a:cubicBezTo>
                  <a:cubicBezTo>
                    <a:pt x="605" y="617"/>
                    <a:pt x="611" y="609"/>
                    <a:pt x="608" y="596"/>
                  </a:cubicBezTo>
                  <a:cubicBezTo>
                    <a:pt x="618" y="580"/>
                    <a:pt x="623" y="572"/>
                    <a:pt x="649" y="567"/>
                  </a:cubicBezTo>
                  <a:cubicBezTo>
                    <a:pt x="715" y="553"/>
                    <a:pt x="715" y="553"/>
                    <a:pt x="715" y="553"/>
                  </a:cubicBezTo>
                  <a:cubicBezTo>
                    <a:pt x="728" y="550"/>
                    <a:pt x="733" y="542"/>
                    <a:pt x="730" y="529"/>
                  </a:cubicBezTo>
                  <a:cubicBezTo>
                    <a:pt x="727" y="482"/>
                    <a:pt x="727" y="482"/>
                    <a:pt x="727" y="482"/>
                  </a:cubicBezTo>
                  <a:cubicBezTo>
                    <a:pt x="724" y="469"/>
                    <a:pt x="717" y="463"/>
                    <a:pt x="701" y="453"/>
                  </a:cubicBezTo>
                  <a:cubicBezTo>
                    <a:pt x="641" y="459"/>
                    <a:pt x="641" y="459"/>
                    <a:pt x="641" y="459"/>
                  </a:cubicBezTo>
                  <a:cubicBezTo>
                    <a:pt x="620" y="457"/>
                    <a:pt x="604" y="447"/>
                    <a:pt x="601" y="434"/>
                  </a:cubicBezTo>
                  <a:cubicBezTo>
                    <a:pt x="598" y="421"/>
                    <a:pt x="590" y="416"/>
                    <a:pt x="580" y="397"/>
                  </a:cubicBezTo>
                  <a:cubicBezTo>
                    <a:pt x="577" y="384"/>
                    <a:pt x="574" y="371"/>
                    <a:pt x="584" y="355"/>
                  </a:cubicBezTo>
                  <a:cubicBezTo>
                    <a:pt x="628" y="305"/>
                    <a:pt x="628" y="305"/>
                    <a:pt x="628" y="305"/>
                  </a:cubicBezTo>
                  <a:cubicBezTo>
                    <a:pt x="634" y="297"/>
                    <a:pt x="631" y="284"/>
                    <a:pt x="623" y="279"/>
                  </a:cubicBezTo>
                  <a:cubicBezTo>
                    <a:pt x="581" y="240"/>
                    <a:pt x="581" y="240"/>
                    <a:pt x="581" y="240"/>
                  </a:cubicBezTo>
                  <a:cubicBezTo>
                    <a:pt x="573" y="235"/>
                    <a:pt x="560" y="238"/>
                    <a:pt x="547" y="240"/>
                  </a:cubicBezTo>
                  <a:cubicBezTo>
                    <a:pt x="503" y="291"/>
                    <a:pt x="503" y="291"/>
                    <a:pt x="503" y="291"/>
                  </a:cubicBezTo>
                  <a:cubicBezTo>
                    <a:pt x="484" y="302"/>
                    <a:pt x="471" y="304"/>
                    <a:pt x="463" y="299"/>
                  </a:cubicBezTo>
                  <a:cubicBezTo>
                    <a:pt x="456" y="294"/>
                    <a:pt x="435" y="292"/>
                    <a:pt x="427" y="287"/>
                  </a:cubicBezTo>
                  <a:cubicBezTo>
                    <a:pt x="419" y="282"/>
                    <a:pt x="403" y="271"/>
                    <a:pt x="400" y="258"/>
                  </a:cubicBezTo>
                  <a:cubicBezTo>
                    <a:pt x="386" y="193"/>
                    <a:pt x="386" y="193"/>
                    <a:pt x="386" y="193"/>
                  </a:cubicBezTo>
                  <a:cubicBezTo>
                    <a:pt x="384" y="180"/>
                    <a:pt x="368" y="170"/>
                    <a:pt x="368" y="170"/>
                  </a:cubicBezTo>
                  <a:cubicBezTo>
                    <a:pt x="308" y="176"/>
                    <a:pt x="308" y="176"/>
                    <a:pt x="308" y="176"/>
                  </a:cubicBezTo>
                  <a:cubicBezTo>
                    <a:pt x="308" y="176"/>
                    <a:pt x="289" y="187"/>
                    <a:pt x="292" y="200"/>
                  </a:cubicBezTo>
                  <a:cubicBezTo>
                    <a:pt x="285" y="263"/>
                    <a:pt x="285" y="263"/>
                    <a:pt x="285" y="263"/>
                  </a:cubicBezTo>
                  <a:cubicBezTo>
                    <a:pt x="291" y="289"/>
                    <a:pt x="277" y="292"/>
                    <a:pt x="272" y="300"/>
                  </a:cubicBezTo>
                  <a:cubicBezTo>
                    <a:pt x="272" y="300"/>
                    <a:pt x="272" y="300"/>
                    <a:pt x="267" y="308"/>
                  </a:cubicBezTo>
                  <a:cubicBezTo>
                    <a:pt x="259" y="302"/>
                    <a:pt x="246" y="305"/>
                    <a:pt x="241" y="313"/>
                  </a:cubicBezTo>
                  <a:cubicBezTo>
                    <a:pt x="236" y="321"/>
                    <a:pt x="236" y="321"/>
                    <a:pt x="236" y="321"/>
                  </a:cubicBezTo>
                  <a:cubicBezTo>
                    <a:pt x="223" y="324"/>
                    <a:pt x="210" y="327"/>
                    <a:pt x="194" y="317"/>
                  </a:cubicBezTo>
                  <a:cubicBezTo>
                    <a:pt x="139" y="281"/>
                    <a:pt x="139" y="281"/>
                    <a:pt x="139" y="281"/>
                  </a:cubicBezTo>
                  <a:cubicBezTo>
                    <a:pt x="131" y="276"/>
                    <a:pt x="110" y="273"/>
                    <a:pt x="104" y="281"/>
                  </a:cubicBezTo>
                  <a:cubicBezTo>
                    <a:pt x="79" y="321"/>
                    <a:pt x="79" y="321"/>
                    <a:pt x="79" y="321"/>
                  </a:cubicBezTo>
                  <a:cubicBezTo>
                    <a:pt x="66" y="324"/>
                    <a:pt x="68" y="337"/>
                    <a:pt x="79" y="355"/>
                  </a:cubicBezTo>
                  <a:cubicBezTo>
                    <a:pt x="121" y="394"/>
                    <a:pt x="121" y="394"/>
                    <a:pt x="121" y="394"/>
                  </a:cubicBezTo>
                  <a:cubicBezTo>
                    <a:pt x="140" y="417"/>
                    <a:pt x="135" y="425"/>
                    <a:pt x="132" y="446"/>
                  </a:cubicBezTo>
                  <a:cubicBezTo>
                    <a:pt x="132" y="446"/>
                    <a:pt x="132" y="446"/>
                    <a:pt x="132" y="446"/>
                  </a:cubicBezTo>
                  <a:cubicBezTo>
                    <a:pt x="127" y="454"/>
                    <a:pt x="122" y="462"/>
                    <a:pt x="117" y="470"/>
                  </a:cubicBezTo>
                  <a:cubicBezTo>
                    <a:pt x="117" y="470"/>
                    <a:pt x="117" y="470"/>
                    <a:pt x="117" y="470"/>
                  </a:cubicBezTo>
                  <a:cubicBezTo>
                    <a:pt x="120" y="483"/>
                    <a:pt x="109" y="499"/>
                    <a:pt x="83" y="505"/>
                  </a:cubicBezTo>
                  <a:cubicBezTo>
                    <a:pt x="23" y="511"/>
                    <a:pt x="23" y="511"/>
                    <a:pt x="23" y="511"/>
                  </a:cubicBezTo>
                  <a:cubicBezTo>
                    <a:pt x="10" y="514"/>
                    <a:pt x="0" y="529"/>
                    <a:pt x="2" y="543"/>
                  </a:cubicBezTo>
                  <a:cubicBezTo>
                    <a:pt x="5" y="590"/>
                    <a:pt x="5" y="590"/>
                    <a:pt x="5" y="590"/>
                  </a:cubicBezTo>
                  <a:cubicBezTo>
                    <a:pt x="8" y="603"/>
                    <a:pt x="16" y="608"/>
                    <a:pt x="37" y="610"/>
                  </a:cubicBezTo>
                  <a:cubicBezTo>
                    <a:pt x="92" y="612"/>
                    <a:pt x="92" y="612"/>
                    <a:pt x="92" y="612"/>
                  </a:cubicBezTo>
                  <a:cubicBezTo>
                    <a:pt x="113" y="614"/>
                    <a:pt x="129" y="625"/>
                    <a:pt x="132" y="638"/>
                  </a:cubicBezTo>
                  <a:cubicBezTo>
                    <a:pt x="132" y="638"/>
                    <a:pt x="132" y="638"/>
                    <a:pt x="132" y="638"/>
                  </a:cubicBezTo>
                  <a:cubicBezTo>
                    <a:pt x="140" y="643"/>
                    <a:pt x="142" y="656"/>
                    <a:pt x="150" y="661"/>
                  </a:cubicBezTo>
                  <a:cubicBezTo>
                    <a:pt x="145" y="669"/>
                    <a:pt x="145" y="669"/>
                    <a:pt x="145" y="669"/>
                  </a:cubicBezTo>
                  <a:cubicBezTo>
                    <a:pt x="153" y="674"/>
                    <a:pt x="156" y="687"/>
                    <a:pt x="140" y="711"/>
                  </a:cubicBezTo>
                  <a:cubicBezTo>
                    <a:pt x="109" y="759"/>
                    <a:pt x="109" y="759"/>
                    <a:pt x="109" y="759"/>
                  </a:cubicBezTo>
                  <a:cubicBezTo>
                    <a:pt x="99" y="775"/>
                    <a:pt x="102" y="788"/>
                    <a:pt x="110" y="793"/>
                  </a:cubicBezTo>
                  <a:cubicBezTo>
                    <a:pt x="152" y="832"/>
                    <a:pt x="152" y="832"/>
                    <a:pt x="152" y="832"/>
                  </a:cubicBezTo>
                  <a:cubicBezTo>
                    <a:pt x="160" y="837"/>
                    <a:pt x="173" y="834"/>
                    <a:pt x="178" y="826"/>
                  </a:cubicBezTo>
                  <a:cubicBezTo>
                    <a:pt x="230" y="781"/>
                    <a:pt x="230" y="781"/>
                    <a:pt x="230" y="781"/>
                  </a:cubicBezTo>
                  <a:cubicBezTo>
                    <a:pt x="248" y="770"/>
                    <a:pt x="261" y="767"/>
                    <a:pt x="269" y="772"/>
                  </a:cubicBezTo>
                  <a:cubicBezTo>
                    <a:pt x="269" y="772"/>
                    <a:pt x="269" y="772"/>
                    <a:pt x="269" y="772"/>
                  </a:cubicBezTo>
                  <a:cubicBezTo>
                    <a:pt x="282" y="769"/>
                    <a:pt x="298" y="779"/>
                    <a:pt x="306" y="785"/>
                  </a:cubicBezTo>
                  <a:cubicBezTo>
                    <a:pt x="306" y="785"/>
                    <a:pt x="306" y="785"/>
                    <a:pt x="306" y="785"/>
                  </a:cubicBezTo>
                  <a:cubicBezTo>
                    <a:pt x="319" y="782"/>
                    <a:pt x="327" y="787"/>
                    <a:pt x="332" y="813"/>
                  </a:cubicBezTo>
                  <a:cubicBezTo>
                    <a:pt x="346" y="878"/>
                    <a:pt x="346" y="878"/>
                    <a:pt x="346" y="878"/>
                  </a:cubicBezTo>
                  <a:cubicBezTo>
                    <a:pt x="349" y="892"/>
                    <a:pt x="357" y="897"/>
                    <a:pt x="370" y="894"/>
                  </a:cubicBezTo>
                  <a:cubicBezTo>
                    <a:pt x="425" y="896"/>
                    <a:pt x="425" y="896"/>
                    <a:pt x="425" y="896"/>
                  </a:cubicBezTo>
                  <a:cubicBezTo>
                    <a:pt x="430" y="888"/>
                    <a:pt x="443" y="885"/>
                    <a:pt x="440" y="872"/>
                  </a:cubicBezTo>
                  <a:cubicBezTo>
                    <a:pt x="440" y="804"/>
                    <a:pt x="440" y="804"/>
                    <a:pt x="440" y="804"/>
                  </a:cubicBezTo>
                  <a:cubicBezTo>
                    <a:pt x="442" y="783"/>
                    <a:pt x="460" y="772"/>
                    <a:pt x="466" y="764"/>
                  </a:cubicBezTo>
                  <a:cubicBezTo>
                    <a:pt x="466" y="764"/>
                    <a:pt x="466" y="764"/>
                    <a:pt x="466" y="764"/>
                  </a:cubicBezTo>
                  <a:cubicBezTo>
                    <a:pt x="479" y="761"/>
                    <a:pt x="492" y="758"/>
                    <a:pt x="497" y="750"/>
                  </a:cubicBezTo>
                  <a:cubicBezTo>
                    <a:pt x="497" y="750"/>
                    <a:pt x="497" y="750"/>
                    <a:pt x="497" y="750"/>
                  </a:cubicBezTo>
                  <a:cubicBezTo>
                    <a:pt x="510" y="747"/>
                    <a:pt x="523" y="745"/>
                    <a:pt x="539" y="755"/>
                  </a:cubicBezTo>
                  <a:cubicBezTo>
                    <a:pt x="594" y="791"/>
                    <a:pt x="594" y="791"/>
                    <a:pt x="594" y="791"/>
                  </a:cubicBezTo>
                  <a:cubicBezTo>
                    <a:pt x="602" y="796"/>
                    <a:pt x="623" y="798"/>
                    <a:pt x="628" y="790"/>
                  </a:cubicBezTo>
                  <a:cubicBezTo>
                    <a:pt x="659" y="743"/>
                    <a:pt x="659" y="743"/>
                    <a:pt x="659" y="743"/>
                  </a:cubicBezTo>
                  <a:cubicBezTo>
                    <a:pt x="659" y="743"/>
                    <a:pt x="669" y="727"/>
                    <a:pt x="654" y="716"/>
                  </a:cubicBezTo>
                  <a:close/>
                  <a:moveTo>
                    <a:pt x="281" y="633"/>
                  </a:moveTo>
                  <a:cubicBezTo>
                    <a:pt x="223" y="584"/>
                    <a:pt x="219" y="502"/>
                    <a:pt x="263" y="452"/>
                  </a:cubicBezTo>
                  <a:cubicBezTo>
                    <a:pt x="313" y="393"/>
                    <a:pt x="399" y="382"/>
                    <a:pt x="457" y="431"/>
                  </a:cubicBezTo>
                  <a:cubicBezTo>
                    <a:pt x="507" y="475"/>
                    <a:pt x="518" y="561"/>
                    <a:pt x="469" y="619"/>
                  </a:cubicBezTo>
                  <a:cubicBezTo>
                    <a:pt x="420" y="678"/>
                    <a:pt x="339" y="682"/>
                    <a:pt x="281" y="633"/>
                  </a:cubicBezTo>
                  <a:close/>
                  <a:moveTo>
                    <a:pt x="1019" y="398"/>
                  </a:moveTo>
                  <a:cubicBezTo>
                    <a:pt x="1004" y="362"/>
                    <a:pt x="1004" y="362"/>
                    <a:pt x="1004" y="362"/>
                  </a:cubicBezTo>
                  <a:cubicBezTo>
                    <a:pt x="992" y="348"/>
                    <a:pt x="1002" y="340"/>
                    <a:pt x="1002" y="332"/>
                  </a:cubicBezTo>
                  <a:cubicBezTo>
                    <a:pt x="1002" y="332"/>
                    <a:pt x="1002" y="332"/>
                    <a:pt x="1002" y="332"/>
                  </a:cubicBezTo>
                  <a:cubicBezTo>
                    <a:pt x="1007" y="328"/>
                    <a:pt x="1011" y="324"/>
                    <a:pt x="1012" y="315"/>
                  </a:cubicBezTo>
                  <a:cubicBezTo>
                    <a:pt x="1021" y="307"/>
                    <a:pt x="1026" y="303"/>
                    <a:pt x="1043" y="304"/>
                  </a:cubicBezTo>
                  <a:cubicBezTo>
                    <a:pt x="1086" y="307"/>
                    <a:pt x="1086" y="307"/>
                    <a:pt x="1086" y="307"/>
                  </a:cubicBezTo>
                  <a:cubicBezTo>
                    <a:pt x="1095" y="308"/>
                    <a:pt x="1099" y="304"/>
                    <a:pt x="1100" y="295"/>
                  </a:cubicBezTo>
                  <a:cubicBezTo>
                    <a:pt x="1107" y="266"/>
                    <a:pt x="1107" y="266"/>
                    <a:pt x="1107" y="266"/>
                  </a:cubicBezTo>
                  <a:cubicBezTo>
                    <a:pt x="1107" y="257"/>
                    <a:pt x="1103" y="252"/>
                    <a:pt x="1095" y="243"/>
                  </a:cubicBezTo>
                  <a:cubicBezTo>
                    <a:pt x="1057" y="236"/>
                    <a:pt x="1057" y="236"/>
                    <a:pt x="1057" y="236"/>
                  </a:cubicBezTo>
                  <a:cubicBezTo>
                    <a:pt x="1044" y="231"/>
                    <a:pt x="1036" y="222"/>
                    <a:pt x="1037" y="213"/>
                  </a:cubicBezTo>
                  <a:cubicBezTo>
                    <a:pt x="1038" y="205"/>
                    <a:pt x="1034" y="200"/>
                    <a:pt x="1030" y="187"/>
                  </a:cubicBezTo>
                  <a:cubicBezTo>
                    <a:pt x="1031" y="178"/>
                    <a:pt x="1032" y="170"/>
                    <a:pt x="1041" y="162"/>
                  </a:cubicBezTo>
                  <a:cubicBezTo>
                    <a:pt x="1077" y="138"/>
                    <a:pt x="1077" y="138"/>
                    <a:pt x="1077" y="138"/>
                  </a:cubicBezTo>
                  <a:cubicBezTo>
                    <a:pt x="1082" y="134"/>
                    <a:pt x="1083" y="126"/>
                    <a:pt x="1079" y="121"/>
                  </a:cubicBezTo>
                  <a:cubicBezTo>
                    <a:pt x="1059" y="89"/>
                    <a:pt x="1059" y="89"/>
                    <a:pt x="1059" y="89"/>
                  </a:cubicBezTo>
                  <a:cubicBezTo>
                    <a:pt x="1055" y="85"/>
                    <a:pt x="1047" y="84"/>
                    <a:pt x="1038" y="83"/>
                  </a:cubicBezTo>
                  <a:cubicBezTo>
                    <a:pt x="1002" y="107"/>
                    <a:pt x="1002" y="107"/>
                    <a:pt x="1002" y="107"/>
                  </a:cubicBezTo>
                  <a:cubicBezTo>
                    <a:pt x="989" y="110"/>
                    <a:pt x="980" y="110"/>
                    <a:pt x="976" y="105"/>
                  </a:cubicBezTo>
                  <a:cubicBezTo>
                    <a:pt x="972" y="100"/>
                    <a:pt x="960" y="95"/>
                    <a:pt x="956" y="91"/>
                  </a:cubicBezTo>
                  <a:cubicBezTo>
                    <a:pt x="952" y="86"/>
                    <a:pt x="944" y="77"/>
                    <a:pt x="944" y="68"/>
                  </a:cubicBezTo>
                  <a:cubicBezTo>
                    <a:pt x="948" y="25"/>
                    <a:pt x="948" y="25"/>
                    <a:pt x="948" y="25"/>
                  </a:cubicBezTo>
                  <a:cubicBezTo>
                    <a:pt x="948" y="17"/>
                    <a:pt x="940" y="7"/>
                    <a:pt x="940" y="7"/>
                  </a:cubicBezTo>
                  <a:cubicBezTo>
                    <a:pt x="902" y="0"/>
                    <a:pt x="902" y="0"/>
                    <a:pt x="902" y="0"/>
                  </a:cubicBezTo>
                  <a:cubicBezTo>
                    <a:pt x="902" y="0"/>
                    <a:pt x="889" y="4"/>
                    <a:pt x="888" y="12"/>
                  </a:cubicBezTo>
                  <a:cubicBezTo>
                    <a:pt x="872" y="50"/>
                    <a:pt x="872" y="50"/>
                    <a:pt x="872" y="50"/>
                  </a:cubicBezTo>
                  <a:cubicBezTo>
                    <a:pt x="871" y="67"/>
                    <a:pt x="862" y="67"/>
                    <a:pt x="858" y="71"/>
                  </a:cubicBezTo>
                  <a:cubicBezTo>
                    <a:pt x="858" y="71"/>
                    <a:pt x="858" y="71"/>
                    <a:pt x="853" y="75"/>
                  </a:cubicBezTo>
                  <a:cubicBezTo>
                    <a:pt x="849" y="70"/>
                    <a:pt x="840" y="70"/>
                    <a:pt x="836" y="74"/>
                  </a:cubicBezTo>
                  <a:cubicBezTo>
                    <a:pt x="831" y="78"/>
                    <a:pt x="831" y="78"/>
                    <a:pt x="831" y="78"/>
                  </a:cubicBezTo>
                  <a:cubicBezTo>
                    <a:pt x="822" y="77"/>
                    <a:pt x="814" y="76"/>
                    <a:pt x="806" y="67"/>
                  </a:cubicBezTo>
                  <a:cubicBezTo>
                    <a:pt x="778" y="35"/>
                    <a:pt x="778" y="35"/>
                    <a:pt x="778" y="35"/>
                  </a:cubicBezTo>
                  <a:cubicBezTo>
                    <a:pt x="774" y="30"/>
                    <a:pt x="762" y="25"/>
                    <a:pt x="757" y="29"/>
                  </a:cubicBezTo>
                  <a:cubicBezTo>
                    <a:pt x="734" y="49"/>
                    <a:pt x="734" y="49"/>
                    <a:pt x="734" y="49"/>
                  </a:cubicBezTo>
                  <a:cubicBezTo>
                    <a:pt x="725" y="49"/>
                    <a:pt x="725" y="57"/>
                    <a:pt x="728" y="70"/>
                  </a:cubicBezTo>
                  <a:cubicBezTo>
                    <a:pt x="747" y="102"/>
                    <a:pt x="747" y="102"/>
                    <a:pt x="747" y="102"/>
                  </a:cubicBezTo>
                  <a:cubicBezTo>
                    <a:pt x="754" y="120"/>
                    <a:pt x="750" y="124"/>
                    <a:pt x="744" y="136"/>
                  </a:cubicBezTo>
                  <a:cubicBezTo>
                    <a:pt x="744" y="136"/>
                    <a:pt x="744" y="136"/>
                    <a:pt x="744" y="136"/>
                  </a:cubicBezTo>
                  <a:cubicBezTo>
                    <a:pt x="740" y="140"/>
                    <a:pt x="735" y="144"/>
                    <a:pt x="731" y="148"/>
                  </a:cubicBezTo>
                  <a:cubicBezTo>
                    <a:pt x="731" y="148"/>
                    <a:pt x="731" y="148"/>
                    <a:pt x="731" y="148"/>
                  </a:cubicBezTo>
                  <a:cubicBezTo>
                    <a:pt x="730" y="157"/>
                    <a:pt x="721" y="165"/>
                    <a:pt x="703" y="164"/>
                  </a:cubicBezTo>
                  <a:cubicBezTo>
                    <a:pt x="665" y="157"/>
                    <a:pt x="665" y="157"/>
                    <a:pt x="665" y="157"/>
                  </a:cubicBezTo>
                  <a:cubicBezTo>
                    <a:pt x="656" y="156"/>
                    <a:pt x="647" y="164"/>
                    <a:pt x="647" y="173"/>
                  </a:cubicBezTo>
                  <a:cubicBezTo>
                    <a:pt x="640" y="203"/>
                    <a:pt x="640" y="203"/>
                    <a:pt x="640" y="203"/>
                  </a:cubicBezTo>
                  <a:cubicBezTo>
                    <a:pt x="639" y="211"/>
                    <a:pt x="643" y="216"/>
                    <a:pt x="656" y="221"/>
                  </a:cubicBezTo>
                  <a:cubicBezTo>
                    <a:pt x="690" y="232"/>
                    <a:pt x="690" y="232"/>
                    <a:pt x="690" y="232"/>
                  </a:cubicBezTo>
                  <a:cubicBezTo>
                    <a:pt x="702" y="237"/>
                    <a:pt x="710" y="246"/>
                    <a:pt x="710" y="255"/>
                  </a:cubicBezTo>
                  <a:cubicBezTo>
                    <a:pt x="710" y="255"/>
                    <a:pt x="710" y="255"/>
                    <a:pt x="710" y="255"/>
                  </a:cubicBezTo>
                  <a:cubicBezTo>
                    <a:pt x="714" y="260"/>
                    <a:pt x="713" y="268"/>
                    <a:pt x="717" y="273"/>
                  </a:cubicBezTo>
                  <a:cubicBezTo>
                    <a:pt x="712" y="277"/>
                    <a:pt x="712" y="277"/>
                    <a:pt x="712" y="277"/>
                  </a:cubicBezTo>
                  <a:cubicBezTo>
                    <a:pt x="716" y="281"/>
                    <a:pt x="716" y="290"/>
                    <a:pt x="702" y="302"/>
                  </a:cubicBezTo>
                  <a:cubicBezTo>
                    <a:pt x="674" y="326"/>
                    <a:pt x="674" y="326"/>
                    <a:pt x="674" y="326"/>
                  </a:cubicBezTo>
                  <a:cubicBezTo>
                    <a:pt x="665" y="334"/>
                    <a:pt x="664" y="343"/>
                    <a:pt x="668" y="347"/>
                  </a:cubicBezTo>
                  <a:cubicBezTo>
                    <a:pt x="687" y="379"/>
                    <a:pt x="687" y="379"/>
                    <a:pt x="687" y="379"/>
                  </a:cubicBezTo>
                  <a:cubicBezTo>
                    <a:pt x="691" y="383"/>
                    <a:pt x="700" y="384"/>
                    <a:pt x="704" y="380"/>
                  </a:cubicBezTo>
                  <a:cubicBezTo>
                    <a:pt x="745" y="361"/>
                    <a:pt x="745" y="361"/>
                    <a:pt x="745" y="361"/>
                  </a:cubicBezTo>
                  <a:cubicBezTo>
                    <a:pt x="758" y="358"/>
                    <a:pt x="767" y="358"/>
                    <a:pt x="771" y="363"/>
                  </a:cubicBezTo>
                  <a:cubicBezTo>
                    <a:pt x="771" y="363"/>
                    <a:pt x="771" y="363"/>
                    <a:pt x="771" y="363"/>
                  </a:cubicBezTo>
                  <a:cubicBezTo>
                    <a:pt x="779" y="364"/>
                    <a:pt x="787" y="373"/>
                    <a:pt x="791" y="377"/>
                  </a:cubicBezTo>
                  <a:cubicBezTo>
                    <a:pt x="791" y="377"/>
                    <a:pt x="791" y="377"/>
                    <a:pt x="791" y="377"/>
                  </a:cubicBezTo>
                  <a:cubicBezTo>
                    <a:pt x="800" y="378"/>
                    <a:pt x="804" y="383"/>
                    <a:pt x="802" y="400"/>
                  </a:cubicBezTo>
                  <a:cubicBezTo>
                    <a:pt x="799" y="443"/>
                    <a:pt x="799" y="443"/>
                    <a:pt x="799" y="443"/>
                  </a:cubicBezTo>
                  <a:cubicBezTo>
                    <a:pt x="798" y="451"/>
                    <a:pt x="802" y="456"/>
                    <a:pt x="811" y="457"/>
                  </a:cubicBezTo>
                  <a:cubicBezTo>
                    <a:pt x="845" y="468"/>
                    <a:pt x="845" y="468"/>
                    <a:pt x="845" y="468"/>
                  </a:cubicBezTo>
                  <a:cubicBezTo>
                    <a:pt x="849" y="464"/>
                    <a:pt x="858" y="464"/>
                    <a:pt x="859" y="456"/>
                  </a:cubicBezTo>
                  <a:cubicBezTo>
                    <a:pt x="871" y="413"/>
                    <a:pt x="871" y="413"/>
                    <a:pt x="871" y="413"/>
                  </a:cubicBezTo>
                  <a:cubicBezTo>
                    <a:pt x="876" y="401"/>
                    <a:pt x="889" y="397"/>
                    <a:pt x="894" y="393"/>
                  </a:cubicBezTo>
                  <a:cubicBezTo>
                    <a:pt x="894" y="393"/>
                    <a:pt x="894" y="393"/>
                    <a:pt x="894" y="393"/>
                  </a:cubicBezTo>
                  <a:cubicBezTo>
                    <a:pt x="902" y="394"/>
                    <a:pt x="911" y="395"/>
                    <a:pt x="916" y="391"/>
                  </a:cubicBezTo>
                  <a:cubicBezTo>
                    <a:pt x="916" y="391"/>
                    <a:pt x="916" y="391"/>
                    <a:pt x="916" y="391"/>
                  </a:cubicBezTo>
                  <a:cubicBezTo>
                    <a:pt x="924" y="391"/>
                    <a:pt x="933" y="392"/>
                    <a:pt x="941" y="401"/>
                  </a:cubicBezTo>
                  <a:cubicBezTo>
                    <a:pt x="969" y="433"/>
                    <a:pt x="969" y="433"/>
                    <a:pt x="969" y="433"/>
                  </a:cubicBezTo>
                  <a:cubicBezTo>
                    <a:pt x="973" y="438"/>
                    <a:pt x="985" y="443"/>
                    <a:pt x="990" y="439"/>
                  </a:cubicBezTo>
                  <a:cubicBezTo>
                    <a:pt x="1018" y="415"/>
                    <a:pt x="1018" y="415"/>
                    <a:pt x="1018" y="415"/>
                  </a:cubicBezTo>
                  <a:cubicBezTo>
                    <a:pt x="1018" y="415"/>
                    <a:pt x="1027" y="407"/>
                    <a:pt x="1019" y="398"/>
                  </a:cubicBezTo>
                  <a:close/>
                  <a:moveTo>
                    <a:pt x="803" y="279"/>
                  </a:moveTo>
                  <a:cubicBezTo>
                    <a:pt x="776" y="238"/>
                    <a:pt x="788" y="187"/>
                    <a:pt x="825" y="164"/>
                  </a:cubicBezTo>
                  <a:cubicBezTo>
                    <a:pt x="866" y="136"/>
                    <a:pt x="921" y="144"/>
                    <a:pt x="948" y="185"/>
                  </a:cubicBezTo>
                  <a:cubicBezTo>
                    <a:pt x="972" y="221"/>
                    <a:pt x="963" y="277"/>
                    <a:pt x="922" y="304"/>
                  </a:cubicBezTo>
                  <a:cubicBezTo>
                    <a:pt x="881" y="332"/>
                    <a:pt x="830" y="320"/>
                    <a:pt x="803" y="279"/>
                  </a:cubicBezTo>
                  <a:close/>
                </a:path>
              </a:pathLst>
            </a:custGeom>
            <a:solidFill>
              <a:schemeClr val="tx1"/>
            </a:solidFill>
            <a:ln>
              <a:noFill/>
            </a:ln>
          </p:spPr>
          <p:txBody>
            <a:bodyPr vert="horz" wrap="square" lIns="68574" tIns="34287" rIns="68574" bIns="34287"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17346"/>
                </a:solidFill>
                <a:effectLst/>
                <a:uLnTx/>
                <a:uFillTx/>
                <a:latin typeface="Segoe UI"/>
                <a:ea typeface="+mn-ea"/>
                <a:cs typeface="+mn-cs"/>
              </a:endParaRPr>
            </a:p>
          </p:txBody>
        </p:sp>
        <p:sp>
          <p:nvSpPr>
            <p:cNvPr id="88" name="Freeform 87"/>
            <p:cNvSpPr>
              <a:spLocks noChangeAspect="1"/>
            </p:cNvSpPr>
            <p:nvPr/>
          </p:nvSpPr>
          <p:spPr bwMode="black">
            <a:xfrm>
              <a:off x="776985" y="4213905"/>
              <a:ext cx="342871" cy="335728"/>
            </a:xfrm>
            <a:custGeom>
              <a:avLst/>
              <a:gdLst>
                <a:gd name="connsiteX0" fmla="*/ 3713863 w 4893730"/>
                <a:gd name="connsiteY0" fmla="*/ 2130808 h 4791777"/>
                <a:gd name="connsiteX1" fmla="*/ 4426142 w 4893730"/>
                <a:gd name="connsiteY1" fmla="*/ 2130808 h 4791777"/>
                <a:gd name="connsiteX2" fmla="*/ 4598071 w 4893730"/>
                <a:gd name="connsiteY2" fmla="*/ 2301547 h 4791777"/>
                <a:gd name="connsiteX3" fmla="*/ 4598071 w 4893730"/>
                <a:gd name="connsiteY3" fmla="*/ 3886978 h 4791777"/>
                <a:gd name="connsiteX4" fmla="*/ 4426142 w 4893730"/>
                <a:gd name="connsiteY4" fmla="*/ 4057717 h 4791777"/>
                <a:gd name="connsiteX5" fmla="*/ 3713863 w 4893730"/>
                <a:gd name="connsiteY5" fmla="*/ 4057717 h 4791777"/>
                <a:gd name="connsiteX6" fmla="*/ 3517372 w 4893730"/>
                <a:gd name="connsiteY6" fmla="*/ 3886978 h 4791777"/>
                <a:gd name="connsiteX7" fmla="*/ 3517372 w 4893730"/>
                <a:gd name="connsiteY7" fmla="*/ 2301547 h 4791777"/>
                <a:gd name="connsiteX8" fmla="*/ 3713863 w 4893730"/>
                <a:gd name="connsiteY8" fmla="*/ 2130808 h 4791777"/>
                <a:gd name="connsiteX9" fmla="*/ 904368 w 4893730"/>
                <a:gd name="connsiteY9" fmla="*/ 1223432 h 4791777"/>
                <a:gd name="connsiteX10" fmla="*/ 1609930 w 4893730"/>
                <a:gd name="connsiteY10" fmla="*/ 1223432 h 4791777"/>
                <a:gd name="connsiteX11" fmla="*/ 1804567 w 4893730"/>
                <a:gd name="connsiteY11" fmla="*/ 1394467 h 4791777"/>
                <a:gd name="connsiteX12" fmla="*/ 1804567 w 4893730"/>
                <a:gd name="connsiteY12" fmla="*/ 3886683 h 4791777"/>
                <a:gd name="connsiteX13" fmla="*/ 1609930 w 4893730"/>
                <a:gd name="connsiteY13" fmla="*/ 4057717 h 4791777"/>
                <a:gd name="connsiteX14" fmla="*/ 904368 w 4893730"/>
                <a:gd name="connsiteY14" fmla="*/ 4057717 h 4791777"/>
                <a:gd name="connsiteX15" fmla="*/ 734060 w 4893730"/>
                <a:gd name="connsiteY15" fmla="*/ 3886683 h 4791777"/>
                <a:gd name="connsiteX16" fmla="*/ 734060 w 4893730"/>
                <a:gd name="connsiteY16" fmla="*/ 1394467 h 4791777"/>
                <a:gd name="connsiteX17" fmla="*/ 904368 w 4893730"/>
                <a:gd name="connsiteY17" fmla="*/ 1223432 h 4791777"/>
                <a:gd name="connsiteX18" fmla="*/ 2325453 w 4893730"/>
                <a:gd name="connsiteY18" fmla="*/ 316050 h 4791777"/>
                <a:gd name="connsiteX19" fmla="*/ 3031014 w 4893730"/>
                <a:gd name="connsiteY19" fmla="*/ 316050 h 4791777"/>
                <a:gd name="connsiteX20" fmla="*/ 3201322 w 4893730"/>
                <a:gd name="connsiteY20" fmla="*/ 487238 h 4791777"/>
                <a:gd name="connsiteX21" fmla="*/ 3201322 w 4893730"/>
                <a:gd name="connsiteY21" fmla="*/ 3886530 h 4791777"/>
                <a:gd name="connsiteX22" fmla="*/ 3031014 w 4893730"/>
                <a:gd name="connsiteY22" fmla="*/ 4057717 h 4791777"/>
                <a:gd name="connsiteX23" fmla="*/ 2325453 w 4893730"/>
                <a:gd name="connsiteY23" fmla="*/ 4057717 h 4791777"/>
                <a:gd name="connsiteX24" fmla="*/ 2130815 w 4893730"/>
                <a:gd name="connsiteY24" fmla="*/ 3886530 h 4791777"/>
                <a:gd name="connsiteX25" fmla="*/ 2130815 w 4893730"/>
                <a:gd name="connsiteY25" fmla="*/ 487238 h 4791777"/>
                <a:gd name="connsiteX26" fmla="*/ 2325453 w 4893730"/>
                <a:gd name="connsiteY26" fmla="*/ 316050 h 4791777"/>
                <a:gd name="connsiteX27" fmla="*/ 269155 w 4893730"/>
                <a:gd name="connsiteY27" fmla="*/ 0 h 4791777"/>
                <a:gd name="connsiteX28" fmla="*/ 538311 w 4893730"/>
                <a:gd name="connsiteY28" fmla="*/ 268927 h 4791777"/>
                <a:gd name="connsiteX29" fmla="*/ 538311 w 4893730"/>
                <a:gd name="connsiteY29" fmla="*/ 4253925 h 4791777"/>
                <a:gd name="connsiteX30" fmla="*/ 4624575 w 4893730"/>
                <a:gd name="connsiteY30" fmla="*/ 4253925 h 4791777"/>
                <a:gd name="connsiteX31" fmla="*/ 4893730 w 4893730"/>
                <a:gd name="connsiteY31" fmla="*/ 4522851 h 4791777"/>
                <a:gd name="connsiteX32" fmla="*/ 4624575 w 4893730"/>
                <a:gd name="connsiteY32" fmla="*/ 4791777 h 4791777"/>
                <a:gd name="connsiteX33" fmla="*/ 269155 w 4893730"/>
                <a:gd name="connsiteY33" fmla="*/ 4791777 h 4791777"/>
                <a:gd name="connsiteX34" fmla="*/ 0 w 4893730"/>
                <a:gd name="connsiteY34" fmla="*/ 4522851 h 4791777"/>
                <a:gd name="connsiteX35" fmla="*/ 0 w 4893730"/>
                <a:gd name="connsiteY35" fmla="*/ 268927 h 4791777"/>
                <a:gd name="connsiteX36" fmla="*/ 269155 w 4893730"/>
                <a:gd name="connsiteY36" fmla="*/ 0 h 4791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4893730" h="4791777">
                  <a:moveTo>
                    <a:pt x="3713863" y="2130808"/>
                  </a:moveTo>
                  <a:cubicBezTo>
                    <a:pt x="3713863" y="2130808"/>
                    <a:pt x="3713863" y="2130808"/>
                    <a:pt x="4426142" y="2130808"/>
                  </a:cubicBezTo>
                  <a:cubicBezTo>
                    <a:pt x="4524387" y="2130808"/>
                    <a:pt x="4598071" y="2203982"/>
                    <a:pt x="4598071" y="2301547"/>
                  </a:cubicBezTo>
                  <a:cubicBezTo>
                    <a:pt x="4598071" y="2301547"/>
                    <a:pt x="4598071" y="2301547"/>
                    <a:pt x="4598071" y="3886978"/>
                  </a:cubicBezTo>
                  <a:cubicBezTo>
                    <a:pt x="4598071" y="3984543"/>
                    <a:pt x="4524387" y="4057717"/>
                    <a:pt x="4426142" y="4057717"/>
                  </a:cubicBezTo>
                  <a:cubicBezTo>
                    <a:pt x="4426142" y="4057717"/>
                    <a:pt x="4426142" y="4057717"/>
                    <a:pt x="3713863" y="4057717"/>
                  </a:cubicBezTo>
                  <a:cubicBezTo>
                    <a:pt x="3615618" y="4057717"/>
                    <a:pt x="3517372" y="3984543"/>
                    <a:pt x="3517372" y="3886978"/>
                  </a:cubicBezTo>
                  <a:cubicBezTo>
                    <a:pt x="3517372" y="3886978"/>
                    <a:pt x="3517372" y="3886978"/>
                    <a:pt x="3517372" y="2301547"/>
                  </a:cubicBezTo>
                  <a:cubicBezTo>
                    <a:pt x="3517372" y="2203982"/>
                    <a:pt x="3615618" y="2130808"/>
                    <a:pt x="3713863" y="2130808"/>
                  </a:cubicBezTo>
                  <a:close/>
                  <a:moveTo>
                    <a:pt x="904368" y="1223432"/>
                  </a:moveTo>
                  <a:cubicBezTo>
                    <a:pt x="904368" y="1223432"/>
                    <a:pt x="904368" y="1223432"/>
                    <a:pt x="1609930" y="1223432"/>
                  </a:cubicBezTo>
                  <a:cubicBezTo>
                    <a:pt x="1731578" y="1223432"/>
                    <a:pt x="1804567" y="1296733"/>
                    <a:pt x="1804567" y="1394467"/>
                  </a:cubicBezTo>
                  <a:cubicBezTo>
                    <a:pt x="1804567" y="1394467"/>
                    <a:pt x="1804567" y="1394467"/>
                    <a:pt x="1804567" y="3886683"/>
                  </a:cubicBezTo>
                  <a:cubicBezTo>
                    <a:pt x="1804567" y="3984417"/>
                    <a:pt x="1731578" y="4057717"/>
                    <a:pt x="1609930" y="4057717"/>
                  </a:cubicBezTo>
                  <a:cubicBezTo>
                    <a:pt x="1609930" y="4057717"/>
                    <a:pt x="1609930" y="4057717"/>
                    <a:pt x="904368" y="4057717"/>
                  </a:cubicBezTo>
                  <a:cubicBezTo>
                    <a:pt x="807049" y="4057717"/>
                    <a:pt x="734060" y="3984417"/>
                    <a:pt x="734060" y="3886683"/>
                  </a:cubicBezTo>
                  <a:cubicBezTo>
                    <a:pt x="734060" y="3886683"/>
                    <a:pt x="734060" y="3886683"/>
                    <a:pt x="734060" y="1394467"/>
                  </a:cubicBezTo>
                  <a:cubicBezTo>
                    <a:pt x="734060" y="1296733"/>
                    <a:pt x="807049" y="1223432"/>
                    <a:pt x="904368" y="1223432"/>
                  </a:cubicBezTo>
                  <a:close/>
                  <a:moveTo>
                    <a:pt x="2325453" y="316050"/>
                  </a:moveTo>
                  <a:cubicBezTo>
                    <a:pt x="2325453" y="316050"/>
                    <a:pt x="2325453" y="316050"/>
                    <a:pt x="3031014" y="316050"/>
                  </a:cubicBezTo>
                  <a:cubicBezTo>
                    <a:pt x="3128333" y="316050"/>
                    <a:pt x="3201322" y="389416"/>
                    <a:pt x="3201322" y="487238"/>
                  </a:cubicBezTo>
                  <a:cubicBezTo>
                    <a:pt x="3201322" y="487238"/>
                    <a:pt x="3201322" y="487238"/>
                    <a:pt x="3201322" y="3886530"/>
                  </a:cubicBezTo>
                  <a:cubicBezTo>
                    <a:pt x="3201322" y="3984351"/>
                    <a:pt x="3128333" y="4057717"/>
                    <a:pt x="3031014" y="4057717"/>
                  </a:cubicBezTo>
                  <a:cubicBezTo>
                    <a:pt x="3031014" y="4057717"/>
                    <a:pt x="3031014" y="4057717"/>
                    <a:pt x="2325453" y="4057717"/>
                  </a:cubicBezTo>
                  <a:cubicBezTo>
                    <a:pt x="2203804" y="4057717"/>
                    <a:pt x="2130815" y="3984351"/>
                    <a:pt x="2130815" y="3886530"/>
                  </a:cubicBezTo>
                  <a:cubicBezTo>
                    <a:pt x="2130815" y="3886530"/>
                    <a:pt x="2130815" y="3886530"/>
                    <a:pt x="2130815" y="487238"/>
                  </a:cubicBezTo>
                  <a:cubicBezTo>
                    <a:pt x="2130815" y="389416"/>
                    <a:pt x="2203804" y="316050"/>
                    <a:pt x="2325453" y="316050"/>
                  </a:cubicBezTo>
                  <a:close/>
                  <a:moveTo>
                    <a:pt x="269155" y="0"/>
                  </a:moveTo>
                  <a:cubicBezTo>
                    <a:pt x="415967" y="0"/>
                    <a:pt x="538311" y="122239"/>
                    <a:pt x="538311" y="268927"/>
                  </a:cubicBezTo>
                  <a:cubicBezTo>
                    <a:pt x="538311" y="268927"/>
                    <a:pt x="538311" y="268927"/>
                    <a:pt x="538311" y="4253925"/>
                  </a:cubicBezTo>
                  <a:cubicBezTo>
                    <a:pt x="538311" y="4253925"/>
                    <a:pt x="538311" y="4253925"/>
                    <a:pt x="4624575" y="4253925"/>
                  </a:cubicBezTo>
                  <a:cubicBezTo>
                    <a:pt x="4771387" y="4253925"/>
                    <a:pt x="4893730" y="4376164"/>
                    <a:pt x="4893730" y="4522851"/>
                  </a:cubicBezTo>
                  <a:cubicBezTo>
                    <a:pt x="4893730" y="4669538"/>
                    <a:pt x="4771387" y="4791777"/>
                    <a:pt x="4624575" y="4791777"/>
                  </a:cubicBezTo>
                  <a:cubicBezTo>
                    <a:pt x="4624575" y="4791777"/>
                    <a:pt x="4624575" y="4791777"/>
                    <a:pt x="269155" y="4791777"/>
                  </a:cubicBezTo>
                  <a:cubicBezTo>
                    <a:pt x="122344" y="4791777"/>
                    <a:pt x="0" y="4669538"/>
                    <a:pt x="0" y="4522851"/>
                  </a:cubicBezTo>
                  <a:cubicBezTo>
                    <a:pt x="0" y="4522851"/>
                    <a:pt x="0" y="4522851"/>
                    <a:pt x="0" y="268927"/>
                  </a:cubicBezTo>
                  <a:cubicBezTo>
                    <a:pt x="0" y="122239"/>
                    <a:pt x="122344" y="0"/>
                    <a:pt x="269155"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37148" tIns="109719" rIns="137148" bIns="109719"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699261"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9" name="Rectangle 88"/>
            <p:cNvSpPr/>
            <p:nvPr/>
          </p:nvSpPr>
          <p:spPr bwMode="auto">
            <a:xfrm rot="2745734">
              <a:off x="279530" y="1141266"/>
              <a:ext cx="1260714" cy="1255193"/>
            </a:xfrm>
            <a:prstGeom prst="rect">
              <a:avLst/>
            </a:prstGeom>
            <a:solidFill>
              <a:schemeClr val="tx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0" name="Rectangle 89"/>
            <p:cNvSpPr/>
            <p:nvPr/>
          </p:nvSpPr>
          <p:spPr bwMode="auto">
            <a:xfrm rot="2745734">
              <a:off x="292433" y="3819160"/>
              <a:ext cx="1610349" cy="1235003"/>
            </a:xfrm>
            <a:prstGeom prst="rect">
              <a:avLst/>
            </a:prstGeom>
            <a:solidFill>
              <a:schemeClr val="tx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2" name="Rectangle 91"/>
            <p:cNvSpPr/>
            <p:nvPr/>
          </p:nvSpPr>
          <p:spPr bwMode="auto">
            <a:xfrm rot="2745734">
              <a:off x="1315610" y="4915701"/>
              <a:ext cx="1263370" cy="1255989"/>
            </a:xfrm>
            <a:prstGeom prst="rect">
              <a:avLst/>
            </a:prstGeom>
            <a:solidFill>
              <a:schemeClr val="tx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40" name="TextBox 39"/>
          <p:cNvSpPr txBox="1"/>
          <p:nvPr/>
        </p:nvSpPr>
        <p:spPr>
          <a:xfrm>
            <a:off x="3" y="51415"/>
            <a:ext cx="2849058" cy="430887"/>
          </a:xfrm>
          <a:prstGeom prst="rect">
            <a:avLst/>
          </a:prstGeom>
        </p:spPr>
        <p:txBody>
          <a:bodyPr wrap="square">
            <a:spAutoFit/>
          </a:bodyPr>
          <a:lstStyle>
            <a:defPPr>
              <a:defRPr lang="en-US"/>
            </a:defPPr>
            <a:lvl1pPr defTabSz="914192">
              <a:defRPr sz="2800" b="1" spc="-100">
                <a:ln w="3175">
                  <a:noFill/>
                </a:ln>
                <a:solidFill>
                  <a:srgbClr val="F2C812"/>
                </a:solidFill>
                <a:latin typeface="Segoe UI" panose="020B0502040204020203" pitchFamily="34" charset="0"/>
                <a:ea typeface="ＭＳ Ｐゴシック" charset="0"/>
                <a:cs typeface="Segoe UI" panose="020B0502040204020203" pitchFamily="34" charset="0"/>
              </a:defRPr>
            </a:lvl1pPr>
          </a:lstStyle>
          <a:p>
            <a:pPr marL="0" marR="0" lvl="0" indent="0" algn="l" defTabSz="914192" rtl="0" eaLnBrk="1" fontAlgn="auto" latinLnBrk="0" hangingPunct="1">
              <a:lnSpc>
                <a:spcPct val="100000"/>
              </a:lnSpc>
              <a:spcBef>
                <a:spcPts val="0"/>
              </a:spcBef>
              <a:spcAft>
                <a:spcPts val="0"/>
              </a:spcAft>
              <a:buClrTx/>
              <a:buSzTx/>
              <a:buFontTx/>
              <a:buNone/>
              <a:tabLst/>
              <a:defRPr/>
            </a:pPr>
            <a:r>
              <a:rPr kumimoji="0" lang="en-US" sz="2200" b="1" i="0" u="none" strike="noStrike" kern="1200" cap="none" spc="-100" normalizeH="0" baseline="0" noProof="0">
                <a:ln w="3175">
                  <a:noFill/>
                </a:ln>
                <a:solidFill>
                  <a:srgbClr val="F2C812"/>
                </a:solidFill>
                <a:effectLst/>
                <a:uLnTx/>
                <a:uFillTx/>
                <a:latin typeface="Segoe UI Light"/>
                <a:ea typeface="ＭＳ Ｐゴシック" charset="0"/>
                <a:cs typeface="Segoe UI" panose="020B0502040204020203" pitchFamily="34" charset="0"/>
              </a:rPr>
              <a:t>Power BI Desktop</a:t>
            </a:r>
          </a:p>
        </p:txBody>
      </p:sp>
      <p:sp>
        <p:nvSpPr>
          <p:cNvPr id="41" name="Rectangle 40"/>
          <p:cNvSpPr/>
          <p:nvPr/>
        </p:nvSpPr>
        <p:spPr bwMode="auto">
          <a:xfrm rot="2745734">
            <a:off x="825067" y="3494250"/>
            <a:ext cx="1260714" cy="370170"/>
          </a:xfrm>
          <a:prstGeom prst="rect">
            <a:avLst/>
          </a:prstGeom>
          <a:solidFill>
            <a:schemeClr val="tx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6" name="Picture 5"/>
          <p:cNvPicPr>
            <a:picLocks noChangeAspect="1"/>
          </p:cNvPicPr>
          <p:nvPr/>
        </p:nvPicPr>
        <p:blipFill>
          <a:blip r:embed="rId3"/>
          <a:stretch>
            <a:fillRect/>
          </a:stretch>
        </p:blipFill>
        <p:spPr>
          <a:xfrm>
            <a:off x="4049221" y="3172588"/>
            <a:ext cx="2209800" cy="904875"/>
          </a:xfrm>
          <a:prstGeom prst="rect">
            <a:avLst/>
          </a:prstGeom>
          <a:ln>
            <a:noFill/>
          </a:ln>
          <a:effectLst>
            <a:outerShdw blurRad="190500" algn="tl" rotWithShape="0">
              <a:srgbClr val="000000">
                <a:alpha val="70000"/>
              </a:srgbClr>
            </a:outerShdw>
          </a:effectLst>
        </p:spPr>
      </p:pic>
      <p:pic>
        <p:nvPicPr>
          <p:cNvPr id="3" name="Picture 2"/>
          <p:cNvPicPr>
            <a:picLocks noChangeAspect="1"/>
          </p:cNvPicPr>
          <p:nvPr/>
        </p:nvPicPr>
        <p:blipFill>
          <a:blip r:embed="rId4"/>
          <a:stretch>
            <a:fillRect/>
          </a:stretch>
        </p:blipFill>
        <p:spPr>
          <a:xfrm>
            <a:off x="6979725" y="2108185"/>
            <a:ext cx="4161241" cy="3033679"/>
          </a:xfrm>
          <a:prstGeom prst="rect">
            <a:avLst/>
          </a:prstGeom>
          <a:ln>
            <a:noFill/>
          </a:ln>
          <a:effectLst>
            <a:outerShdw blurRad="190500" algn="tl" rotWithShape="0">
              <a:srgbClr val="000000">
                <a:alpha val="70000"/>
              </a:srgbClr>
            </a:outerShdw>
          </a:effectLst>
        </p:spPr>
      </p:pic>
    </p:spTree>
    <p:extLst>
      <p:ext uri="{BB962C8B-B14F-4D97-AF65-F5344CB8AC3E}">
        <p14:creationId xmlns:p14="http://schemas.microsoft.com/office/powerpoint/2010/main" val="29094204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solidFill>
            <a:schemeClr val="bg1"/>
          </a:solidFill>
        </p:spPr>
        <p:txBody>
          <a:bodyPr/>
          <a:lstStyle/>
          <a:p>
            <a:r>
              <a:rPr lang="pt-PT">
                <a:solidFill>
                  <a:schemeClr val="tx1"/>
                </a:solidFill>
              </a:rPr>
              <a:t> Visualisations – Gauge and KPI</a:t>
            </a:r>
            <a:endParaRPr lang="en-US" sz="3600">
              <a:solidFill>
                <a:schemeClr val="tx1"/>
              </a:solidFill>
            </a:endParaRPr>
          </a:p>
        </p:txBody>
      </p:sp>
      <p:grpSp>
        <p:nvGrpSpPr>
          <p:cNvPr id="52" name="Group 51"/>
          <p:cNvGrpSpPr/>
          <p:nvPr/>
        </p:nvGrpSpPr>
        <p:grpSpPr>
          <a:xfrm>
            <a:off x="2" y="1"/>
            <a:ext cx="2849058" cy="6858000"/>
            <a:chOff x="2" y="1"/>
            <a:chExt cx="2849058" cy="6858000"/>
          </a:xfrm>
        </p:grpSpPr>
        <p:sp>
          <p:nvSpPr>
            <p:cNvPr id="71" name="Rectangle 70"/>
            <p:cNvSpPr/>
            <p:nvPr/>
          </p:nvSpPr>
          <p:spPr bwMode="auto">
            <a:xfrm>
              <a:off x="2" y="1"/>
              <a:ext cx="2849058"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3" name="Oval 70"/>
            <p:cNvSpPr/>
            <p:nvPr/>
          </p:nvSpPr>
          <p:spPr>
            <a:xfrm>
              <a:off x="1413521" y="4951537"/>
              <a:ext cx="1119626" cy="1119626"/>
            </a:xfrm>
            <a:prstGeom prst="ellipse">
              <a:avLst/>
            </a:prstGeom>
            <a:solidFill>
              <a:srgbClr val="F2C812"/>
            </a:solidFill>
            <a:ln w="3175" cap="flat" cmpd="sng" algn="ctr">
              <a:noFill/>
              <a:prstDash val="solid"/>
            </a:ln>
            <a:effectLst/>
          </p:spPr>
          <p:txBody>
            <a:bodyPr vert="horz" wrap="none" lIns="0" tIns="45720" rIns="0" bIns="0" rtlCol="0" anchor="t"/>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Segoe UI"/>
                  <a:ea typeface="Segoe UI" pitchFamily="34" charset="0"/>
                  <a:cs typeface="Segoe UI" pitchFamily="34" charset="0"/>
                </a:rPr>
                <a:t>Share &amp;</a:t>
              </a:r>
            </a:p>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Segoe UI"/>
                  <a:ea typeface="Segoe UI" pitchFamily="34" charset="0"/>
                  <a:cs typeface="Segoe UI" pitchFamily="34" charset="0"/>
                </a:rPr>
                <a:t>collaborate </a:t>
              </a:r>
            </a:p>
          </p:txBody>
        </p:sp>
        <p:grpSp>
          <p:nvGrpSpPr>
            <p:cNvPr id="76" name="Group 38"/>
            <p:cNvGrpSpPr>
              <a:grpSpLocks noChangeAspect="1"/>
            </p:cNvGrpSpPr>
            <p:nvPr/>
          </p:nvGrpSpPr>
          <p:grpSpPr>
            <a:xfrm>
              <a:off x="676996" y="3930692"/>
              <a:ext cx="383905" cy="351536"/>
              <a:chOff x="4363684" y="5330386"/>
              <a:chExt cx="1409956" cy="1291077"/>
            </a:xfrm>
            <a:solidFill>
              <a:srgbClr val="217346"/>
            </a:solidFill>
          </p:grpSpPr>
          <p:sp>
            <p:nvSpPr>
              <p:cNvPr id="102" name="Donut 3"/>
              <p:cNvSpPr/>
              <p:nvPr/>
            </p:nvSpPr>
            <p:spPr bwMode="auto">
              <a:xfrm>
                <a:off x="4363684" y="5330386"/>
                <a:ext cx="1409956" cy="1291077"/>
              </a:xfrm>
              <a:custGeom>
                <a:avLst/>
                <a:gdLst/>
                <a:ahLst/>
                <a:cxnLst/>
                <a:rect l="l" t="t" r="r" b="b"/>
                <a:pathLst>
                  <a:path w="1409956" h="1291077">
                    <a:moveTo>
                      <a:pt x="956401" y="78410"/>
                    </a:moveTo>
                    <a:cubicBezTo>
                      <a:pt x="747518" y="78410"/>
                      <a:pt x="578184" y="247744"/>
                      <a:pt x="578184" y="456627"/>
                    </a:cubicBezTo>
                    <a:cubicBezTo>
                      <a:pt x="578184" y="665510"/>
                      <a:pt x="747518" y="834844"/>
                      <a:pt x="956401" y="834844"/>
                    </a:cubicBezTo>
                    <a:cubicBezTo>
                      <a:pt x="1165284" y="834844"/>
                      <a:pt x="1334618" y="665510"/>
                      <a:pt x="1334618" y="456627"/>
                    </a:cubicBezTo>
                    <a:cubicBezTo>
                      <a:pt x="1334618" y="247744"/>
                      <a:pt x="1165284" y="78410"/>
                      <a:pt x="956401" y="78410"/>
                    </a:cubicBezTo>
                    <a:close/>
                    <a:moveTo>
                      <a:pt x="952756" y="0"/>
                    </a:moveTo>
                    <a:cubicBezTo>
                      <a:pt x="1205261" y="0"/>
                      <a:pt x="1409956" y="204695"/>
                      <a:pt x="1409956" y="457200"/>
                    </a:cubicBezTo>
                    <a:cubicBezTo>
                      <a:pt x="1409956" y="709705"/>
                      <a:pt x="1205261" y="914400"/>
                      <a:pt x="952756" y="914400"/>
                    </a:cubicBezTo>
                    <a:cubicBezTo>
                      <a:pt x="862133" y="914400"/>
                      <a:pt x="777669" y="888034"/>
                      <a:pt x="707132" y="841746"/>
                    </a:cubicBezTo>
                    <a:lnTo>
                      <a:pt x="136495" y="1280102"/>
                    </a:lnTo>
                    <a:cubicBezTo>
                      <a:pt x="21896" y="1327168"/>
                      <a:pt x="-44029" y="1213730"/>
                      <a:pt x="33797" y="1113182"/>
                    </a:cubicBezTo>
                    <a:lnTo>
                      <a:pt x="568587" y="703518"/>
                    </a:lnTo>
                    <a:cubicBezTo>
                      <a:pt x="522087" y="632814"/>
                      <a:pt x="495556" y="548105"/>
                      <a:pt x="495556" y="457200"/>
                    </a:cubicBezTo>
                    <a:cubicBezTo>
                      <a:pt x="495556" y="204695"/>
                      <a:pt x="700251" y="0"/>
                      <a:pt x="952756" y="0"/>
                    </a:cubicBezTo>
                    <a:close/>
                  </a:path>
                </a:pathLst>
              </a:custGeom>
              <a:grpFill/>
              <a:ln>
                <a:solidFill>
                  <a:srgbClr val="21734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sp>
            <p:nvSpPr>
              <p:cNvPr id="103" name="Rectangle 4"/>
              <p:cNvSpPr/>
              <p:nvPr/>
            </p:nvSpPr>
            <p:spPr>
              <a:xfrm>
                <a:off x="5058389" y="5528247"/>
                <a:ext cx="490885" cy="490020"/>
              </a:xfrm>
              <a:custGeom>
                <a:avLst/>
                <a:gdLst/>
                <a:ahLst/>
                <a:cxnLst/>
                <a:rect l="l" t="t" r="r" b="b"/>
                <a:pathLst>
                  <a:path w="490885" h="490020">
                    <a:moveTo>
                      <a:pt x="240752" y="0"/>
                    </a:moveTo>
                    <a:cubicBezTo>
                      <a:pt x="253961" y="11844"/>
                      <a:pt x="293310" y="49692"/>
                      <a:pt x="337332" y="92439"/>
                    </a:cubicBezTo>
                    <a:lnTo>
                      <a:pt x="328342" y="81259"/>
                    </a:lnTo>
                    <a:cubicBezTo>
                      <a:pt x="356946" y="111282"/>
                      <a:pt x="377251" y="107167"/>
                      <a:pt x="382515" y="87941"/>
                    </a:cubicBezTo>
                    <a:cubicBezTo>
                      <a:pt x="383951" y="76921"/>
                      <a:pt x="384595" y="68732"/>
                      <a:pt x="396997" y="52239"/>
                    </a:cubicBezTo>
                    <a:cubicBezTo>
                      <a:pt x="420362" y="32084"/>
                      <a:pt x="442294" y="41736"/>
                      <a:pt x="454920" y="51330"/>
                    </a:cubicBezTo>
                    <a:cubicBezTo>
                      <a:pt x="467834" y="62761"/>
                      <a:pt x="477920" y="86882"/>
                      <a:pt x="460392" y="109714"/>
                    </a:cubicBezTo>
                    <a:cubicBezTo>
                      <a:pt x="451128" y="121912"/>
                      <a:pt x="437554" y="126838"/>
                      <a:pt x="425922" y="126505"/>
                    </a:cubicBezTo>
                    <a:cubicBezTo>
                      <a:pt x="424301" y="127609"/>
                      <a:pt x="382890" y="134974"/>
                      <a:pt x="427348" y="177672"/>
                    </a:cubicBezTo>
                    <a:lnTo>
                      <a:pt x="416886" y="169735"/>
                    </a:lnTo>
                    <a:cubicBezTo>
                      <a:pt x="450207" y="202177"/>
                      <a:pt x="478424" y="229744"/>
                      <a:pt x="490885" y="241900"/>
                    </a:cubicBezTo>
                    <a:lnTo>
                      <a:pt x="417150" y="317347"/>
                    </a:lnTo>
                    <a:cubicBezTo>
                      <a:pt x="417744" y="316535"/>
                      <a:pt x="418443" y="316123"/>
                      <a:pt x="419047" y="315822"/>
                    </a:cubicBezTo>
                    <a:cubicBezTo>
                      <a:pt x="389023" y="344426"/>
                      <a:pt x="393138" y="364731"/>
                      <a:pt x="412364" y="369995"/>
                    </a:cubicBezTo>
                    <a:cubicBezTo>
                      <a:pt x="423384" y="371431"/>
                      <a:pt x="431574" y="372075"/>
                      <a:pt x="448067" y="384477"/>
                    </a:cubicBezTo>
                    <a:cubicBezTo>
                      <a:pt x="468221" y="407842"/>
                      <a:pt x="458569" y="429774"/>
                      <a:pt x="448975" y="442400"/>
                    </a:cubicBezTo>
                    <a:cubicBezTo>
                      <a:pt x="437545" y="455314"/>
                      <a:pt x="413423" y="465400"/>
                      <a:pt x="390591" y="447872"/>
                    </a:cubicBezTo>
                    <a:cubicBezTo>
                      <a:pt x="378394" y="438608"/>
                      <a:pt x="373468" y="425034"/>
                      <a:pt x="373800" y="413402"/>
                    </a:cubicBezTo>
                    <a:cubicBezTo>
                      <a:pt x="372696" y="411781"/>
                      <a:pt x="365332" y="370370"/>
                      <a:pt x="322634" y="414828"/>
                    </a:cubicBezTo>
                    <a:lnTo>
                      <a:pt x="325243" y="411388"/>
                    </a:lnTo>
                    <a:lnTo>
                      <a:pt x="248395" y="490020"/>
                    </a:lnTo>
                    <a:cubicBezTo>
                      <a:pt x="208939" y="451897"/>
                      <a:pt x="199129" y="442073"/>
                      <a:pt x="174192" y="418236"/>
                    </a:cubicBezTo>
                    <a:cubicBezTo>
                      <a:pt x="145587" y="388212"/>
                      <a:pt x="125282" y="392327"/>
                      <a:pt x="120018" y="411553"/>
                    </a:cubicBezTo>
                    <a:cubicBezTo>
                      <a:pt x="118582" y="422573"/>
                      <a:pt x="117938" y="430763"/>
                      <a:pt x="105536" y="447256"/>
                    </a:cubicBezTo>
                    <a:cubicBezTo>
                      <a:pt x="82171" y="467410"/>
                      <a:pt x="60239" y="457758"/>
                      <a:pt x="47614" y="448164"/>
                    </a:cubicBezTo>
                    <a:cubicBezTo>
                      <a:pt x="34699" y="436734"/>
                      <a:pt x="24614" y="412612"/>
                      <a:pt x="42141" y="389780"/>
                    </a:cubicBezTo>
                    <a:cubicBezTo>
                      <a:pt x="51405" y="377583"/>
                      <a:pt x="64979" y="372657"/>
                      <a:pt x="76612" y="372989"/>
                    </a:cubicBezTo>
                    <a:cubicBezTo>
                      <a:pt x="78232" y="371886"/>
                      <a:pt x="119644" y="364521"/>
                      <a:pt x="75186" y="321823"/>
                    </a:cubicBezTo>
                    <a:cubicBezTo>
                      <a:pt x="58767" y="305402"/>
                      <a:pt x="23648" y="271235"/>
                      <a:pt x="0" y="248738"/>
                    </a:cubicBezTo>
                    <a:lnTo>
                      <a:pt x="77303" y="168146"/>
                    </a:lnTo>
                    <a:cubicBezTo>
                      <a:pt x="104269" y="140313"/>
                      <a:pt x="122130" y="156409"/>
                      <a:pt x="124388" y="175543"/>
                    </a:cubicBezTo>
                    <a:cubicBezTo>
                      <a:pt x="124457" y="182466"/>
                      <a:pt x="127106" y="193106"/>
                      <a:pt x="137575" y="203052"/>
                    </a:cubicBezTo>
                    <a:cubicBezTo>
                      <a:pt x="153931" y="220277"/>
                      <a:pt x="181252" y="217451"/>
                      <a:pt x="196721" y="201951"/>
                    </a:cubicBezTo>
                    <a:cubicBezTo>
                      <a:pt x="211961" y="185740"/>
                      <a:pt x="213057" y="157882"/>
                      <a:pt x="196146" y="142797"/>
                    </a:cubicBezTo>
                    <a:cubicBezTo>
                      <a:pt x="184301" y="132637"/>
                      <a:pt x="177155" y="131453"/>
                      <a:pt x="166513" y="129894"/>
                    </a:cubicBezTo>
                    <a:cubicBezTo>
                      <a:pt x="154522" y="129013"/>
                      <a:pt x="131185" y="112953"/>
                      <a:pt x="157905" y="85228"/>
                    </a:cubicBezTo>
                    <a:close/>
                  </a:path>
                </a:pathLst>
              </a:custGeom>
              <a:grpFill/>
              <a:ln>
                <a:solidFill>
                  <a:srgbClr val="21734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grpSp>
        <p:sp>
          <p:nvSpPr>
            <p:cNvPr id="77" name="Oval 47"/>
            <p:cNvSpPr/>
            <p:nvPr/>
          </p:nvSpPr>
          <p:spPr>
            <a:xfrm>
              <a:off x="388608" y="3710471"/>
              <a:ext cx="1119626" cy="1119626"/>
            </a:xfrm>
            <a:prstGeom prst="ellipse">
              <a:avLst/>
            </a:prstGeom>
            <a:solidFill>
              <a:srgbClr val="F2C812"/>
            </a:solidFill>
            <a:ln w="3175" cap="flat" cmpd="sng" algn="ctr">
              <a:noFill/>
              <a:prstDash val="solid"/>
            </a:ln>
            <a:effectLst/>
          </p:spPr>
          <p:txBody>
            <a:bodyPr vert="horz" wrap="none" lIns="0" tIns="45720" rIns="0" bIns="0" rtlCol="0" anchor="t"/>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Segoe UI"/>
                  <a:ea typeface="Segoe UI" pitchFamily="34" charset="0"/>
                  <a:cs typeface="Segoe UI" pitchFamily="34" charset="0"/>
                </a:rPr>
                <a:t>Report</a:t>
              </a:r>
            </a:p>
          </p:txBody>
        </p:sp>
        <p:sp>
          <p:nvSpPr>
            <p:cNvPr id="78" name="Oval 950"/>
            <p:cNvSpPr/>
            <p:nvPr/>
          </p:nvSpPr>
          <p:spPr>
            <a:xfrm>
              <a:off x="388608" y="1252295"/>
              <a:ext cx="1119626" cy="1119626"/>
            </a:xfrm>
            <a:prstGeom prst="ellipse">
              <a:avLst/>
            </a:prstGeom>
            <a:solidFill>
              <a:srgbClr val="F2C812"/>
            </a:solidFill>
            <a:ln w="3175" cap="flat" cmpd="sng" algn="ctr">
              <a:noFill/>
              <a:prstDash val="solid"/>
            </a:ln>
            <a:effectLst/>
          </p:spPr>
          <p:txBody>
            <a:bodyPr vert="horz" wrap="none" lIns="0" tIns="45720" rIns="0" bIns="0" rtlCol="0" anchor="t"/>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1" i="0" u="none" strike="noStrike" kern="1200" cap="none" spc="0" normalizeH="0" baseline="0" noProof="0">
                <a:ln>
                  <a:noFill/>
                </a:ln>
                <a:solidFill>
                  <a:srgbClr val="217346"/>
                </a:solidFill>
                <a:effectLst/>
                <a:uLnTx/>
                <a:uFillTx/>
                <a:latin typeface="Segoe UI"/>
                <a:ea typeface="Segoe UI" pitchFamily="34" charset="0"/>
                <a:cs typeface="Segoe UI" pitchFamily="34" charset="0"/>
              </a:endParaRPr>
            </a:p>
          </p:txBody>
        </p:sp>
        <p:grpSp>
          <p:nvGrpSpPr>
            <p:cNvPr id="79" name="Group 78"/>
            <p:cNvGrpSpPr/>
            <p:nvPr/>
          </p:nvGrpSpPr>
          <p:grpSpPr>
            <a:xfrm>
              <a:off x="1264851" y="3482890"/>
              <a:ext cx="292254" cy="354906"/>
              <a:chOff x="1296521" y="3253388"/>
              <a:chExt cx="292254" cy="354906"/>
            </a:xfrm>
            <a:solidFill>
              <a:srgbClr val="F2C812"/>
            </a:solidFill>
          </p:grpSpPr>
          <p:sp>
            <p:nvSpPr>
              <p:cNvPr id="99" name="Isosceles Triangle 98"/>
              <p:cNvSpPr/>
              <p:nvPr/>
            </p:nvSpPr>
            <p:spPr bwMode="auto">
              <a:xfrm rot="13636515">
                <a:off x="1461362" y="328936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0" name="Isosceles Triangle 99"/>
              <p:cNvSpPr/>
              <p:nvPr/>
            </p:nvSpPr>
            <p:spPr bwMode="auto">
              <a:xfrm rot="13636515">
                <a:off x="1357669" y="338258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1" name="Isosceles Triangle 100"/>
              <p:cNvSpPr/>
              <p:nvPr/>
            </p:nvSpPr>
            <p:spPr bwMode="auto">
              <a:xfrm rot="13636515">
                <a:off x="1260548" y="3480882"/>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80" name="Group 79"/>
            <p:cNvGrpSpPr/>
            <p:nvPr/>
          </p:nvGrpSpPr>
          <p:grpSpPr>
            <a:xfrm rot="15940603">
              <a:off x="1334576" y="2204404"/>
              <a:ext cx="292254" cy="354906"/>
              <a:chOff x="1296521" y="3253388"/>
              <a:chExt cx="292254" cy="354906"/>
            </a:xfrm>
            <a:solidFill>
              <a:srgbClr val="F2C812"/>
            </a:solidFill>
          </p:grpSpPr>
          <p:sp>
            <p:nvSpPr>
              <p:cNvPr id="96" name="Isosceles Triangle 95"/>
              <p:cNvSpPr/>
              <p:nvPr/>
            </p:nvSpPr>
            <p:spPr bwMode="auto">
              <a:xfrm rot="13636515">
                <a:off x="1461362" y="328936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7" name="Isosceles Triangle 96"/>
              <p:cNvSpPr/>
              <p:nvPr/>
            </p:nvSpPr>
            <p:spPr bwMode="auto">
              <a:xfrm rot="13636515">
                <a:off x="1357669" y="338258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8" name="Isosceles Triangle 97"/>
              <p:cNvSpPr/>
              <p:nvPr/>
            </p:nvSpPr>
            <p:spPr bwMode="auto">
              <a:xfrm rot="13636515">
                <a:off x="1260548" y="3480882"/>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81" name="Group 80"/>
            <p:cNvGrpSpPr/>
            <p:nvPr/>
          </p:nvGrpSpPr>
          <p:grpSpPr>
            <a:xfrm rot="16043978">
              <a:off x="1317220" y="4717577"/>
              <a:ext cx="292254" cy="354906"/>
              <a:chOff x="1296521" y="3253388"/>
              <a:chExt cx="292254" cy="354906"/>
            </a:xfrm>
            <a:solidFill>
              <a:srgbClr val="F2C812"/>
            </a:solidFill>
          </p:grpSpPr>
          <p:sp>
            <p:nvSpPr>
              <p:cNvPr id="93" name="Isosceles Triangle 92"/>
              <p:cNvSpPr/>
              <p:nvPr/>
            </p:nvSpPr>
            <p:spPr bwMode="auto">
              <a:xfrm rot="13636515">
                <a:off x="1461362" y="328936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4" name="Isosceles Triangle 93"/>
              <p:cNvSpPr/>
              <p:nvPr/>
            </p:nvSpPr>
            <p:spPr bwMode="auto">
              <a:xfrm rot="13636515">
                <a:off x="1357669" y="338258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5" name="Isosceles Triangle 94"/>
              <p:cNvSpPr/>
              <p:nvPr/>
            </p:nvSpPr>
            <p:spPr bwMode="auto">
              <a:xfrm rot="13636515">
                <a:off x="1260548" y="3480882"/>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82" name="Oval 36"/>
            <p:cNvSpPr/>
            <p:nvPr/>
          </p:nvSpPr>
          <p:spPr>
            <a:xfrm>
              <a:off x="1413521" y="2481383"/>
              <a:ext cx="1119626" cy="1119626"/>
            </a:xfrm>
            <a:prstGeom prst="ellipse">
              <a:avLst/>
            </a:prstGeom>
            <a:solidFill>
              <a:srgbClr val="F2C812"/>
            </a:solidFill>
            <a:ln w="3175" cap="flat" cmpd="sng" algn="ctr">
              <a:noFill/>
              <a:prstDash val="solid"/>
            </a:ln>
            <a:effectLst/>
          </p:spPr>
          <p:txBody>
            <a:bodyPr vert="horz" wrap="none" lIns="0" tIns="0" rIns="0" bIns="0" rtlCol="0" anchor="t"/>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400" b="1" i="0" u="none" strike="noStrike" kern="1200" cap="none" spc="0" normalizeH="0" baseline="0" noProof="0">
                <a:ln>
                  <a:noFill/>
                </a:ln>
                <a:solidFill>
                  <a:srgbClr val="217346"/>
                </a:solidFill>
                <a:effectLst/>
                <a:uLnTx/>
                <a:uFillTx/>
                <a:latin typeface="Segoe UI"/>
                <a:ea typeface="Segoe UI" pitchFamily="34" charset="0"/>
                <a:cs typeface="Segoe UI" pitchFamily="34" charset="0"/>
              </a:endParaRPr>
            </a:p>
          </p:txBody>
        </p:sp>
        <p:sp>
          <p:nvSpPr>
            <p:cNvPr id="83" name="Donut 3"/>
            <p:cNvSpPr/>
            <p:nvPr/>
          </p:nvSpPr>
          <p:spPr bwMode="auto">
            <a:xfrm>
              <a:off x="1742065" y="3002355"/>
              <a:ext cx="383905" cy="351537"/>
            </a:xfrm>
            <a:custGeom>
              <a:avLst/>
              <a:gdLst/>
              <a:ahLst/>
              <a:cxnLst/>
              <a:rect l="l" t="t" r="r" b="b"/>
              <a:pathLst>
                <a:path w="1409956" h="1291077">
                  <a:moveTo>
                    <a:pt x="956401" y="78410"/>
                  </a:moveTo>
                  <a:cubicBezTo>
                    <a:pt x="747518" y="78410"/>
                    <a:pt x="578184" y="247744"/>
                    <a:pt x="578184" y="456627"/>
                  </a:cubicBezTo>
                  <a:cubicBezTo>
                    <a:pt x="578184" y="665510"/>
                    <a:pt x="747518" y="834844"/>
                    <a:pt x="956401" y="834844"/>
                  </a:cubicBezTo>
                  <a:cubicBezTo>
                    <a:pt x="1165284" y="834844"/>
                    <a:pt x="1334618" y="665510"/>
                    <a:pt x="1334618" y="456627"/>
                  </a:cubicBezTo>
                  <a:cubicBezTo>
                    <a:pt x="1334618" y="247744"/>
                    <a:pt x="1165284" y="78410"/>
                    <a:pt x="956401" y="78410"/>
                  </a:cubicBezTo>
                  <a:close/>
                  <a:moveTo>
                    <a:pt x="952756" y="0"/>
                  </a:moveTo>
                  <a:cubicBezTo>
                    <a:pt x="1205261" y="0"/>
                    <a:pt x="1409956" y="204695"/>
                    <a:pt x="1409956" y="457200"/>
                  </a:cubicBezTo>
                  <a:cubicBezTo>
                    <a:pt x="1409956" y="709705"/>
                    <a:pt x="1205261" y="914400"/>
                    <a:pt x="952756" y="914400"/>
                  </a:cubicBezTo>
                  <a:cubicBezTo>
                    <a:pt x="862133" y="914400"/>
                    <a:pt x="777669" y="888034"/>
                    <a:pt x="707132" y="841746"/>
                  </a:cubicBezTo>
                  <a:lnTo>
                    <a:pt x="136495" y="1280102"/>
                  </a:lnTo>
                  <a:cubicBezTo>
                    <a:pt x="21896" y="1327168"/>
                    <a:pt x="-44029" y="1213730"/>
                    <a:pt x="33797" y="1113182"/>
                  </a:cubicBezTo>
                  <a:lnTo>
                    <a:pt x="568587" y="703518"/>
                  </a:lnTo>
                  <a:cubicBezTo>
                    <a:pt x="522087" y="632814"/>
                    <a:pt x="495556" y="548105"/>
                    <a:pt x="495556" y="457200"/>
                  </a:cubicBezTo>
                  <a:cubicBezTo>
                    <a:pt x="495556" y="204695"/>
                    <a:pt x="700251" y="0"/>
                    <a:pt x="952756" y="0"/>
                  </a:cubicBezTo>
                  <a:close/>
                </a:path>
              </a:pathLst>
            </a:cu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sp>
          <p:nvSpPr>
            <p:cNvPr id="84" name="Rectangle 83"/>
            <p:cNvSpPr/>
            <p:nvPr/>
          </p:nvSpPr>
          <p:spPr>
            <a:xfrm>
              <a:off x="1600398" y="2677430"/>
              <a:ext cx="820353" cy="307777"/>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Segoe UI"/>
                  <a:ea typeface="Segoe UI" pitchFamily="34" charset="0"/>
                  <a:cs typeface="Segoe UI" pitchFamily="34" charset="0"/>
                </a:rPr>
                <a:t>Explore</a:t>
              </a:r>
              <a:endParaRPr kumimoji="0" lang="en-US" sz="1600" b="0" i="0" u="none" strike="noStrike" kern="1200" cap="none" spc="0" normalizeH="0" baseline="0" noProof="0">
                <a:ln>
                  <a:noFill/>
                </a:ln>
                <a:solidFill>
                  <a:srgbClr val="000000"/>
                </a:solidFill>
                <a:effectLst/>
                <a:uLnTx/>
                <a:uFillTx/>
                <a:latin typeface="Segoe UI"/>
                <a:ea typeface="+mn-ea"/>
                <a:cs typeface="+mn-cs"/>
              </a:endParaRPr>
            </a:p>
          </p:txBody>
        </p:sp>
        <p:sp>
          <p:nvSpPr>
            <p:cNvPr id="85" name="Rectangle 84"/>
            <p:cNvSpPr/>
            <p:nvPr/>
          </p:nvSpPr>
          <p:spPr>
            <a:xfrm>
              <a:off x="509174" y="1475232"/>
              <a:ext cx="838756" cy="307777"/>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Segoe UI"/>
                  <a:ea typeface="Segoe UI" pitchFamily="34" charset="0"/>
                  <a:cs typeface="Segoe UI" pitchFamily="34" charset="0"/>
                </a:rPr>
                <a:t>Prepare</a:t>
              </a: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86" name="Freeform 85"/>
            <p:cNvSpPr>
              <a:spLocks noChangeAspect="1"/>
            </p:cNvSpPr>
            <p:nvPr/>
          </p:nvSpPr>
          <p:spPr bwMode="black">
            <a:xfrm>
              <a:off x="1836174" y="5643069"/>
              <a:ext cx="274320" cy="284173"/>
            </a:xfrm>
            <a:custGeom>
              <a:avLst/>
              <a:gdLst>
                <a:gd name="T0" fmla="*/ 539 w 669"/>
                <a:gd name="T1" fmla="*/ 5 h 693"/>
                <a:gd name="T2" fmla="*/ 640 w 669"/>
                <a:gd name="T3" fmla="*/ 55 h 693"/>
                <a:gd name="T4" fmla="*/ 603 w 669"/>
                <a:gd name="T5" fmla="*/ 195 h 693"/>
                <a:gd name="T6" fmla="*/ 490 w 669"/>
                <a:gd name="T7" fmla="*/ 188 h 693"/>
                <a:gd name="T8" fmla="*/ 479 w 669"/>
                <a:gd name="T9" fmla="*/ 176 h 693"/>
                <a:gd name="T10" fmla="*/ 213 w 669"/>
                <a:gd name="T11" fmla="*/ 330 h 693"/>
                <a:gd name="T12" fmla="*/ 218 w 669"/>
                <a:gd name="T13" fmla="*/ 345 h 693"/>
                <a:gd name="T14" fmla="*/ 218 w 669"/>
                <a:gd name="T15" fmla="*/ 375 h 693"/>
                <a:gd name="T16" fmla="*/ 209 w 669"/>
                <a:gd name="T17" fmla="*/ 402 h 693"/>
                <a:gd name="T18" fmla="*/ 369 w 669"/>
                <a:gd name="T19" fmla="*/ 503 h 693"/>
                <a:gd name="T20" fmla="*/ 373 w 669"/>
                <a:gd name="T21" fmla="*/ 498 h 693"/>
                <a:gd name="T22" fmla="*/ 456 w 669"/>
                <a:gd name="T23" fmla="*/ 475 h 693"/>
                <a:gd name="T24" fmla="*/ 494 w 669"/>
                <a:gd name="T25" fmla="*/ 489 h 693"/>
                <a:gd name="T26" fmla="*/ 527 w 669"/>
                <a:gd name="T27" fmla="*/ 630 h 693"/>
                <a:gd name="T28" fmla="*/ 386 w 669"/>
                <a:gd name="T29" fmla="*/ 663 h 693"/>
                <a:gd name="T30" fmla="*/ 339 w 669"/>
                <a:gd name="T31" fmla="*/ 560 h 693"/>
                <a:gd name="T32" fmla="*/ 345 w 669"/>
                <a:gd name="T33" fmla="*/ 544 h 693"/>
                <a:gd name="T34" fmla="*/ 177 w 669"/>
                <a:gd name="T35" fmla="*/ 439 h 693"/>
                <a:gd name="T36" fmla="*/ 168 w 669"/>
                <a:gd name="T37" fmla="*/ 446 h 693"/>
                <a:gd name="T38" fmla="*/ 28 w 669"/>
                <a:gd name="T39" fmla="*/ 409 h 693"/>
                <a:gd name="T40" fmla="*/ 65 w 669"/>
                <a:gd name="T41" fmla="*/ 269 h 693"/>
                <a:gd name="T42" fmla="*/ 178 w 669"/>
                <a:gd name="T43" fmla="*/ 276 h 693"/>
                <a:gd name="T44" fmla="*/ 189 w 669"/>
                <a:gd name="T45" fmla="*/ 288 h 693"/>
                <a:gd name="T46" fmla="*/ 455 w 669"/>
                <a:gd name="T47" fmla="*/ 134 h 693"/>
                <a:gd name="T48" fmla="*/ 450 w 669"/>
                <a:gd name="T49" fmla="*/ 119 h 693"/>
                <a:gd name="T50" fmla="*/ 501 w 669"/>
                <a:gd name="T51" fmla="*/ 18 h 693"/>
                <a:gd name="T52" fmla="*/ 539 w 669"/>
                <a:gd name="T53" fmla="*/ 5 h 6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69" h="693">
                  <a:moveTo>
                    <a:pt x="539" y="5"/>
                  </a:moveTo>
                  <a:cubicBezTo>
                    <a:pt x="579" y="0"/>
                    <a:pt x="619" y="19"/>
                    <a:pt x="640" y="55"/>
                  </a:cubicBezTo>
                  <a:cubicBezTo>
                    <a:pt x="669" y="104"/>
                    <a:pt x="652" y="167"/>
                    <a:pt x="603" y="195"/>
                  </a:cubicBezTo>
                  <a:cubicBezTo>
                    <a:pt x="566" y="216"/>
                    <a:pt x="522" y="212"/>
                    <a:pt x="490" y="188"/>
                  </a:cubicBezTo>
                  <a:cubicBezTo>
                    <a:pt x="479" y="176"/>
                    <a:pt x="479" y="176"/>
                    <a:pt x="479" y="176"/>
                  </a:cubicBezTo>
                  <a:cubicBezTo>
                    <a:pt x="213" y="330"/>
                    <a:pt x="213" y="330"/>
                    <a:pt x="213" y="330"/>
                  </a:cubicBezTo>
                  <a:cubicBezTo>
                    <a:pt x="218" y="345"/>
                    <a:pt x="218" y="345"/>
                    <a:pt x="218" y="345"/>
                  </a:cubicBezTo>
                  <a:cubicBezTo>
                    <a:pt x="219" y="355"/>
                    <a:pt x="219" y="365"/>
                    <a:pt x="218" y="375"/>
                  </a:cubicBezTo>
                  <a:cubicBezTo>
                    <a:pt x="209" y="402"/>
                    <a:pt x="209" y="402"/>
                    <a:pt x="209" y="402"/>
                  </a:cubicBezTo>
                  <a:cubicBezTo>
                    <a:pt x="369" y="503"/>
                    <a:pt x="369" y="503"/>
                    <a:pt x="369" y="503"/>
                  </a:cubicBezTo>
                  <a:cubicBezTo>
                    <a:pt x="373" y="498"/>
                    <a:pt x="373" y="498"/>
                    <a:pt x="373" y="498"/>
                  </a:cubicBezTo>
                  <a:cubicBezTo>
                    <a:pt x="396" y="479"/>
                    <a:pt x="427" y="470"/>
                    <a:pt x="456" y="475"/>
                  </a:cubicBezTo>
                  <a:cubicBezTo>
                    <a:pt x="470" y="477"/>
                    <a:pt x="482" y="482"/>
                    <a:pt x="494" y="489"/>
                  </a:cubicBezTo>
                  <a:cubicBezTo>
                    <a:pt x="542" y="519"/>
                    <a:pt x="557" y="583"/>
                    <a:pt x="527" y="630"/>
                  </a:cubicBezTo>
                  <a:cubicBezTo>
                    <a:pt x="497" y="678"/>
                    <a:pt x="433" y="693"/>
                    <a:pt x="386" y="663"/>
                  </a:cubicBezTo>
                  <a:cubicBezTo>
                    <a:pt x="350" y="640"/>
                    <a:pt x="333" y="599"/>
                    <a:pt x="339" y="560"/>
                  </a:cubicBezTo>
                  <a:cubicBezTo>
                    <a:pt x="345" y="544"/>
                    <a:pt x="345" y="544"/>
                    <a:pt x="345" y="544"/>
                  </a:cubicBezTo>
                  <a:cubicBezTo>
                    <a:pt x="177" y="439"/>
                    <a:pt x="177" y="439"/>
                    <a:pt x="177" y="439"/>
                  </a:cubicBezTo>
                  <a:cubicBezTo>
                    <a:pt x="168" y="446"/>
                    <a:pt x="168" y="446"/>
                    <a:pt x="168" y="446"/>
                  </a:cubicBezTo>
                  <a:cubicBezTo>
                    <a:pt x="119" y="475"/>
                    <a:pt x="56" y="458"/>
                    <a:pt x="28" y="409"/>
                  </a:cubicBezTo>
                  <a:cubicBezTo>
                    <a:pt x="0" y="360"/>
                    <a:pt x="16" y="297"/>
                    <a:pt x="65" y="269"/>
                  </a:cubicBezTo>
                  <a:cubicBezTo>
                    <a:pt x="102" y="248"/>
                    <a:pt x="147" y="252"/>
                    <a:pt x="178" y="276"/>
                  </a:cubicBezTo>
                  <a:cubicBezTo>
                    <a:pt x="189" y="288"/>
                    <a:pt x="189" y="288"/>
                    <a:pt x="189" y="288"/>
                  </a:cubicBezTo>
                  <a:cubicBezTo>
                    <a:pt x="455" y="134"/>
                    <a:pt x="455" y="134"/>
                    <a:pt x="455" y="134"/>
                  </a:cubicBezTo>
                  <a:cubicBezTo>
                    <a:pt x="450" y="119"/>
                    <a:pt x="450" y="119"/>
                    <a:pt x="450" y="119"/>
                  </a:cubicBezTo>
                  <a:cubicBezTo>
                    <a:pt x="445" y="80"/>
                    <a:pt x="464" y="39"/>
                    <a:pt x="501" y="18"/>
                  </a:cubicBezTo>
                  <a:cubicBezTo>
                    <a:pt x="513" y="11"/>
                    <a:pt x="526" y="6"/>
                    <a:pt x="539" y="5"/>
                  </a:cubicBezTo>
                  <a:close/>
                </a:path>
              </a:pathLst>
            </a:custGeom>
            <a:solidFill>
              <a:schemeClr val="tx1"/>
            </a:solidFill>
            <a:ln>
              <a:noFill/>
            </a:ln>
          </p:spPr>
          <p:txBody>
            <a:bodyPr vert="horz" wrap="square" lIns="68574" tIns="34287" rIns="68574" bIns="34287"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0000"/>
                </a:solidFill>
                <a:effectLst/>
                <a:uLnTx/>
                <a:uFillTx/>
                <a:latin typeface="Segoe UI"/>
                <a:ea typeface="+mn-ea"/>
                <a:cs typeface="+mn-cs"/>
              </a:endParaRPr>
            </a:p>
          </p:txBody>
        </p:sp>
        <p:sp>
          <p:nvSpPr>
            <p:cNvPr id="87" name="Freeform 86"/>
            <p:cNvSpPr>
              <a:spLocks noChangeAspect="1" noEditPoints="1"/>
            </p:cNvSpPr>
            <p:nvPr/>
          </p:nvSpPr>
          <p:spPr bwMode="black">
            <a:xfrm>
              <a:off x="722320" y="1783009"/>
              <a:ext cx="452202" cy="366660"/>
            </a:xfrm>
            <a:custGeom>
              <a:avLst/>
              <a:gdLst>
                <a:gd name="T0" fmla="*/ 600 w 1107"/>
                <a:gd name="T1" fmla="*/ 625 h 897"/>
                <a:gd name="T2" fmla="*/ 649 w 1107"/>
                <a:gd name="T3" fmla="*/ 567 h 897"/>
                <a:gd name="T4" fmla="*/ 727 w 1107"/>
                <a:gd name="T5" fmla="*/ 482 h 897"/>
                <a:gd name="T6" fmla="*/ 601 w 1107"/>
                <a:gd name="T7" fmla="*/ 434 h 897"/>
                <a:gd name="T8" fmla="*/ 628 w 1107"/>
                <a:gd name="T9" fmla="*/ 305 h 897"/>
                <a:gd name="T10" fmla="*/ 547 w 1107"/>
                <a:gd name="T11" fmla="*/ 240 h 897"/>
                <a:gd name="T12" fmla="*/ 427 w 1107"/>
                <a:gd name="T13" fmla="*/ 287 h 897"/>
                <a:gd name="T14" fmla="*/ 368 w 1107"/>
                <a:gd name="T15" fmla="*/ 170 h 897"/>
                <a:gd name="T16" fmla="*/ 285 w 1107"/>
                <a:gd name="T17" fmla="*/ 263 h 897"/>
                <a:gd name="T18" fmla="*/ 241 w 1107"/>
                <a:gd name="T19" fmla="*/ 313 h 897"/>
                <a:gd name="T20" fmla="*/ 139 w 1107"/>
                <a:gd name="T21" fmla="*/ 281 h 897"/>
                <a:gd name="T22" fmla="*/ 79 w 1107"/>
                <a:gd name="T23" fmla="*/ 355 h 897"/>
                <a:gd name="T24" fmla="*/ 132 w 1107"/>
                <a:gd name="T25" fmla="*/ 446 h 897"/>
                <a:gd name="T26" fmla="*/ 83 w 1107"/>
                <a:gd name="T27" fmla="*/ 505 h 897"/>
                <a:gd name="T28" fmla="*/ 5 w 1107"/>
                <a:gd name="T29" fmla="*/ 590 h 897"/>
                <a:gd name="T30" fmla="*/ 132 w 1107"/>
                <a:gd name="T31" fmla="*/ 638 h 897"/>
                <a:gd name="T32" fmla="*/ 145 w 1107"/>
                <a:gd name="T33" fmla="*/ 669 h 897"/>
                <a:gd name="T34" fmla="*/ 110 w 1107"/>
                <a:gd name="T35" fmla="*/ 793 h 897"/>
                <a:gd name="T36" fmla="*/ 230 w 1107"/>
                <a:gd name="T37" fmla="*/ 781 h 897"/>
                <a:gd name="T38" fmla="*/ 306 w 1107"/>
                <a:gd name="T39" fmla="*/ 785 h 897"/>
                <a:gd name="T40" fmla="*/ 346 w 1107"/>
                <a:gd name="T41" fmla="*/ 878 h 897"/>
                <a:gd name="T42" fmla="*/ 440 w 1107"/>
                <a:gd name="T43" fmla="*/ 872 h 897"/>
                <a:gd name="T44" fmla="*/ 466 w 1107"/>
                <a:gd name="T45" fmla="*/ 764 h 897"/>
                <a:gd name="T46" fmla="*/ 539 w 1107"/>
                <a:gd name="T47" fmla="*/ 755 h 897"/>
                <a:gd name="T48" fmla="*/ 659 w 1107"/>
                <a:gd name="T49" fmla="*/ 743 h 897"/>
                <a:gd name="T50" fmla="*/ 263 w 1107"/>
                <a:gd name="T51" fmla="*/ 452 h 897"/>
                <a:gd name="T52" fmla="*/ 281 w 1107"/>
                <a:gd name="T53" fmla="*/ 633 h 897"/>
                <a:gd name="T54" fmla="*/ 1002 w 1107"/>
                <a:gd name="T55" fmla="*/ 332 h 897"/>
                <a:gd name="T56" fmla="*/ 1043 w 1107"/>
                <a:gd name="T57" fmla="*/ 304 h 897"/>
                <a:gd name="T58" fmla="*/ 1107 w 1107"/>
                <a:gd name="T59" fmla="*/ 266 h 897"/>
                <a:gd name="T60" fmla="*/ 1037 w 1107"/>
                <a:gd name="T61" fmla="*/ 213 h 897"/>
                <a:gd name="T62" fmla="*/ 1077 w 1107"/>
                <a:gd name="T63" fmla="*/ 138 h 897"/>
                <a:gd name="T64" fmla="*/ 1038 w 1107"/>
                <a:gd name="T65" fmla="*/ 83 h 897"/>
                <a:gd name="T66" fmla="*/ 956 w 1107"/>
                <a:gd name="T67" fmla="*/ 91 h 897"/>
                <a:gd name="T68" fmla="*/ 940 w 1107"/>
                <a:gd name="T69" fmla="*/ 7 h 897"/>
                <a:gd name="T70" fmla="*/ 872 w 1107"/>
                <a:gd name="T71" fmla="*/ 50 h 897"/>
                <a:gd name="T72" fmla="*/ 836 w 1107"/>
                <a:gd name="T73" fmla="*/ 74 h 897"/>
                <a:gd name="T74" fmla="*/ 778 w 1107"/>
                <a:gd name="T75" fmla="*/ 35 h 897"/>
                <a:gd name="T76" fmla="*/ 728 w 1107"/>
                <a:gd name="T77" fmla="*/ 70 h 897"/>
                <a:gd name="T78" fmla="*/ 744 w 1107"/>
                <a:gd name="T79" fmla="*/ 136 h 897"/>
                <a:gd name="T80" fmla="*/ 703 w 1107"/>
                <a:gd name="T81" fmla="*/ 164 h 897"/>
                <a:gd name="T82" fmla="*/ 640 w 1107"/>
                <a:gd name="T83" fmla="*/ 203 h 897"/>
                <a:gd name="T84" fmla="*/ 710 w 1107"/>
                <a:gd name="T85" fmla="*/ 255 h 897"/>
                <a:gd name="T86" fmla="*/ 712 w 1107"/>
                <a:gd name="T87" fmla="*/ 277 h 897"/>
                <a:gd name="T88" fmla="*/ 668 w 1107"/>
                <a:gd name="T89" fmla="*/ 347 h 897"/>
                <a:gd name="T90" fmla="*/ 745 w 1107"/>
                <a:gd name="T91" fmla="*/ 361 h 897"/>
                <a:gd name="T92" fmla="*/ 791 w 1107"/>
                <a:gd name="T93" fmla="*/ 377 h 897"/>
                <a:gd name="T94" fmla="*/ 799 w 1107"/>
                <a:gd name="T95" fmla="*/ 443 h 897"/>
                <a:gd name="T96" fmla="*/ 859 w 1107"/>
                <a:gd name="T97" fmla="*/ 456 h 897"/>
                <a:gd name="T98" fmla="*/ 894 w 1107"/>
                <a:gd name="T99" fmla="*/ 393 h 897"/>
                <a:gd name="T100" fmla="*/ 941 w 1107"/>
                <a:gd name="T101" fmla="*/ 401 h 897"/>
                <a:gd name="T102" fmla="*/ 1018 w 1107"/>
                <a:gd name="T103" fmla="*/ 415 h 897"/>
                <a:gd name="T104" fmla="*/ 825 w 1107"/>
                <a:gd name="T105" fmla="*/ 164 h 897"/>
                <a:gd name="T106" fmla="*/ 803 w 1107"/>
                <a:gd name="T107" fmla="*/ 279 h 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107" h="897">
                  <a:moveTo>
                    <a:pt x="654" y="716"/>
                  </a:moveTo>
                  <a:cubicBezTo>
                    <a:pt x="616" y="670"/>
                    <a:pt x="616" y="670"/>
                    <a:pt x="616" y="670"/>
                  </a:cubicBezTo>
                  <a:cubicBezTo>
                    <a:pt x="593" y="654"/>
                    <a:pt x="603" y="638"/>
                    <a:pt x="600" y="625"/>
                  </a:cubicBezTo>
                  <a:cubicBezTo>
                    <a:pt x="600" y="625"/>
                    <a:pt x="600" y="625"/>
                    <a:pt x="600" y="625"/>
                  </a:cubicBezTo>
                  <a:cubicBezTo>
                    <a:pt x="605" y="617"/>
                    <a:pt x="611" y="609"/>
                    <a:pt x="608" y="596"/>
                  </a:cubicBezTo>
                  <a:cubicBezTo>
                    <a:pt x="618" y="580"/>
                    <a:pt x="623" y="572"/>
                    <a:pt x="649" y="567"/>
                  </a:cubicBezTo>
                  <a:cubicBezTo>
                    <a:pt x="715" y="553"/>
                    <a:pt x="715" y="553"/>
                    <a:pt x="715" y="553"/>
                  </a:cubicBezTo>
                  <a:cubicBezTo>
                    <a:pt x="728" y="550"/>
                    <a:pt x="733" y="542"/>
                    <a:pt x="730" y="529"/>
                  </a:cubicBezTo>
                  <a:cubicBezTo>
                    <a:pt x="727" y="482"/>
                    <a:pt x="727" y="482"/>
                    <a:pt x="727" y="482"/>
                  </a:cubicBezTo>
                  <a:cubicBezTo>
                    <a:pt x="724" y="469"/>
                    <a:pt x="717" y="463"/>
                    <a:pt x="701" y="453"/>
                  </a:cubicBezTo>
                  <a:cubicBezTo>
                    <a:pt x="641" y="459"/>
                    <a:pt x="641" y="459"/>
                    <a:pt x="641" y="459"/>
                  </a:cubicBezTo>
                  <a:cubicBezTo>
                    <a:pt x="620" y="457"/>
                    <a:pt x="604" y="447"/>
                    <a:pt x="601" y="434"/>
                  </a:cubicBezTo>
                  <a:cubicBezTo>
                    <a:pt x="598" y="421"/>
                    <a:pt x="590" y="416"/>
                    <a:pt x="580" y="397"/>
                  </a:cubicBezTo>
                  <a:cubicBezTo>
                    <a:pt x="577" y="384"/>
                    <a:pt x="574" y="371"/>
                    <a:pt x="584" y="355"/>
                  </a:cubicBezTo>
                  <a:cubicBezTo>
                    <a:pt x="628" y="305"/>
                    <a:pt x="628" y="305"/>
                    <a:pt x="628" y="305"/>
                  </a:cubicBezTo>
                  <a:cubicBezTo>
                    <a:pt x="634" y="297"/>
                    <a:pt x="631" y="284"/>
                    <a:pt x="623" y="279"/>
                  </a:cubicBezTo>
                  <a:cubicBezTo>
                    <a:pt x="581" y="240"/>
                    <a:pt x="581" y="240"/>
                    <a:pt x="581" y="240"/>
                  </a:cubicBezTo>
                  <a:cubicBezTo>
                    <a:pt x="573" y="235"/>
                    <a:pt x="560" y="238"/>
                    <a:pt x="547" y="240"/>
                  </a:cubicBezTo>
                  <a:cubicBezTo>
                    <a:pt x="503" y="291"/>
                    <a:pt x="503" y="291"/>
                    <a:pt x="503" y="291"/>
                  </a:cubicBezTo>
                  <a:cubicBezTo>
                    <a:pt x="484" y="302"/>
                    <a:pt x="471" y="304"/>
                    <a:pt x="463" y="299"/>
                  </a:cubicBezTo>
                  <a:cubicBezTo>
                    <a:pt x="456" y="294"/>
                    <a:pt x="435" y="292"/>
                    <a:pt x="427" y="287"/>
                  </a:cubicBezTo>
                  <a:cubicBezTo>
                    <a:pt x="419" y="282"/>
                    <a:pt x="403" y="271"/>
                    <a:pt x="400" y="258"/>
                  </a:cubicBezTo>
                  <a:cubicBezTo>
                    <a:pt x="386" y="193"/>
                    <a:pt x="386" y="193"/>
                    <a:pt x="386" y="193"/>
                  </a:cubicBezTo>
                  <a:cubicBezTo>
                    <a:pt x="384" y="180"/>
                    <a:pt x="368" y="170"/>
                    <a:pt x="368" y="170"/>
                  </a:cubicBezTo>
                  <a:cubicBezTo>
                    <a:pt x="308" y="176"/>
                    <a:pt x="308" y="176"/>
                    <a:pt x="308" y="176"/>
                  </a:cubicBezTo>
                  <a:cubicBezTo>
                    <a:pt x="308" y="176"/>
                    <a:pt x="289" y="187"/>
                    <a:pt x="292" y="200"/>
                  </a:cubicBezTo>
                  <a:cubicBezTo>
                    <a:pt x="285" y="263"/>
                    <a:pt x="285" y="263"/>
                    <a:pt x="285" y="263"/>
                  </a:cubicBezTo>
                  <a:cubicBezTo>
                    <a:pt x="291" y="289"/>
                    <a:pt x="277" y="292"/>
                    <a:pt x="272" y="300"/>
                  </a:cubicBezTo>
                  <a:cubicBezTo>
                    <a:pt x="272" y="300"/>
                    <a:pt x="272" y="300"/>
                    <a:pt x="267" y="308"/>
                  </a:cubicBezTo>
                  <a:cubicBezTo>
                    <a:pt x="259" y="302"/>
                    <a:pt x="246" y="305"/>
                    <a:pt x="241" y="313"/>
                  </a:cubicBezTo>
                  <a:cubicBezTo>
                    <a:pt x="236" y="321"/>
                    <a:pt x="236" y="321"/>
                    <a:pt x="236" y="321"/>
                  </a:cubicBezTo>
                  <a:cubicBezTo>
                    <a:pt x="223" y="324"/>
                    <a:pt x="210" y="327"/>
                    <a:pt x="194" y="317"/>
                  </a:cubicBezTo>
                  <a:cubicBezTo>
                    <a:pt x="139" y="281"/>
                    <a:pt x="139" y="281"/>
                    <a:pt x="139" y="281"/>
                  </a:cubicBezTo>
                  <a:cubicBezTo>
                    <a:pt x="131" y="276"/>
                    <a:pt x="110" y="273"/>
                    <a:pt x="104" y="281"/>
                  </a:cubicBezTo>
                  <a:cubicBezTo>
                    <a:pt x="79" y="321"/>
                    <a:pt x="79" y="321"/>
                    <a:pt x="79" y="321"/>
                  </a:cubicBezTo>
                  <a:cubicBezTo>
                    <a:pt x="66" y="324"/>
                    <a:pt x="68" y="337"/>
                    <a:pt x="79" y="355"/>
                  </a:cubicBezTo>
                  <a:cubicBezTo>
                    <a:pt x="121" y="394"/>
                    <a:pt x="121" y="394"/>
                    <a:pt x="121" y="394"/>
                  </a:cubicBezTo>
                  <a:cubicBezTo>
                    <a:pt x="140" y="417"/>
                    <a:pt x="135" y="425"/>
                    <a:pt x="132" y="446"/>
                  </a:cubicBezTo>
                  <a:cubicBezTo>
                    <a:pt x="132" y="446"/>
                    <a:pt x="132" y="446"/>
                    <a:pt x="132" y="446"/>
                  </a:cubicBezTo>
                  <a:cubicBezTo>
                    <a:pt x="127" y="454"/>
                    <a:pt x="122" y="462"/>
                    <a:pt x="117" y="470"/>
                  </a:cubicBezTo>
                  <a:cubicBezTo>
                    <a:pt x="117" y="470"/>
                    <a:pt x="117" y="470"/>
                    <a:pt x="117" y="470"/>
                  </a:cubicBezTo>
                  <a:cubicBezTo>
                    <a:pt x="120" y="483"/>
                    <a:pt x="109" y="499"/>
                    <a:pt x="83" y="505"/>
                  </a:cubicBezTo>
                  <a:cubicBezTo>
                    <a:pt x="23" y="511"/>
                    <a:pt x="23" y="511"/>
                    <a:pt x="23" y="511"/>
                  </a:cubicBezTo>
                  <a:cubicBezTo>
                    <a:pt x="10" y="514"/>
                    <a:pt x="0" y="529"/>
                    <a:pt x="2" y="543"/>
                  </a:cubicBezTo>
                  <a:cubicBezTo>
                    <a:pt x="5" y="590"/>
                    <a:pt x="5" y="590"/>
                    <a:pt x="5" y="590"/>
                  </a:cubicBezTo>
                  <a:cubicBezTo>
                    <a:pt x="8" y="603"/>
                    <a:pt x="16" y="608"/>
                    <a:pt x="37" y="610"/>
                  </a:cubicBezTo>
                  <a:cubicBezTo>
                    <a:pt x="92" y="612"/>
                    <a:pt x="92" y="612"/>
                    <a:pt x="92" y="612"/>
                  </a:cubicBezTo>
                  <a:cubicBezTo>
                    <a:pt x="113" y="614"/>
                    <a:pt x="129" y="625"/>
                    <a:pt x="132" y="638"/>
                  </a:cubicBezTo>
                  <a:cubicBezTo>
                    <a:pt x="132" y="638"/>
                    <a:pt x="132" y="638"/>
                    <a:pt x="132" y="638"/>
                  </a:cubicBezTo>
                  <a:cubicBezTo>
                    <a:pt x="140" y="643"/>
                    <a:pt x="142" y="656"/>
                    <a:pt x="150" y="661"/>
                  </a:cubicBezTo>
                  <a:cubicBezTo>
                    <a:pt x="145" y="669"/>
                    <a:pt x="145" y="669"/>
                    <a:pt x="145" y="669"/>
                  </a:cubicBezTo>
                  <a:cubicBezTo>
                    <a:pt x="153" y="674"/>
                    <a:pt x="156" y="687"/>
                    <a:pt x="140" y="711"/>
                  </a:cubicBezTo>
                  <a:cubicBezTo>
                    <a:pt x="109" y="759"/>
                    <a:pt x="109" y="759"/>
                    <a:pt x="109" y="759"/>
                  </a:cubicBezTo>
                  <a:cubicBezTo>
                    <a:pt x="99" y="775"/>
                    <a:pt x="102" y="788"/>
                    <a:pt x="110" y="793"/>
                  </a:cubicBezTo>
                  <a:cubicBezTo>
                    <a:pt x="152" y="832"/>
                    <a:pt x="152" y="832"/>
                    <a:pt x="152" y="832"/>
                  </a:cubicBezTo>
                  <a:cubicBezTo>
                    <a:pt x="160" y="837"/>
                    <a:pt x="173" y="834"/>
                    <a:pt x="178" y="826"/>
                  </a:cubicBezTo>
                  <a:cubicBezTo>
                    <a:pt x="230" y="781"/>
                    <a:pt x="230" y="781"/>
                    <a:pt x="230" y="781"/>
                  </a:cubicBezTo>
                  <a:cubicBezTo>
                    <a:pt x="248" y="770"/>
                    <a:pt x="261" y="767"/>
                    <a:pt x="269" y="772"/>
                  </a:cubicBezTo>
                  <a:cubicBezTo>
                    <a:pt x="269" y="772"/>
                    <a:pt x="269" y="772"/>
                    <a:pt x="269" y="772"/>
                  </a:cubicBezTo>
                  <a:cubicBezTo>
                    <a:pt x="282" y="769"/>
                    <a:pt x="298" y="779"/>
                    <a:pt x="306" y="785"/>
                  </a:cubicBezTo>
                  <a:cubicBezTo>
                    <a:pt x="306" y="785"/>
                    <a:pt x="306" y="785"/>
                    <a:pt x="306" y="785"/>
                  </a:cubicBezTo>
                  <a:cubicBezTo>
                    <a:pt x="319" y="782"/>
                    <a:pt x="327" y="787"/>
                    <a:pt x="332" y="813"/>
                  </a:cubicBezTo>
                  <a:cubicBezTo>
                    <a:pt x="346" y="878"/>
                    <a:pt x="346" y="878"/>
                    <a:pt x="346" y="878"/>
                  </a:cubicBezTo>
                  <a:cubicBezTo>
                    <a:pt x="349" y="892"/>
                    <a:pt x="357" y="897"/>
                    <a:pt x="370" y="894"/>
                  </a:cubicBezTo>
                  <a:cubicBezTo>
                    <a:pt x="425" y="896"/>
                    <a:pt x="425" y="896"/>
                    <a:pt x="425" y="896"/>
                  </a:cubicBezTo>
                  <a:cubicBezTo>
                    <a:pt x="430" y="888"/>
                    <a:pt x="443" y="885"/>
                    <a:pt x="440" y="872"/>
                  </a:cubicBezTo>
                  <a:cubicBezTo>
                    <a:pt x="440" y="804"/>
                    <a:pt x="440" y="804"/>
                    <a:pt x="440" y="804"/>
                  </a:cubicBezTo>
                  <a:cubicBezTo>
                    <a:pt x="442" y="783"/>
                    <a:pt x="460" y="772"/>
                    <a:pt x="466" y="764"/>
                  </a:cubicBezTo>
                  <a:cubicBezTo>
                    <a:pt x="466" y="764"/>
                    <a:pt x="466" y="764"/>
                    <a:pt x="466" y="764"/>
                  </a:cubicBezTo>
                  <a:cubicBezTo>
                    <a:pt x="479" y="761"/>
                    <a:pt x="492" y="758"/>
                    <a:pt x="497" y="750"/>
                  </a:cubicBezTo>
                  <a:cubicBezTo>
                    <a:pt x="497" y="750"/>
                    <a:pt x="497" y="750"/>
                    <a:pt x="497" y="750"/>
                  </a:cubicBezTo>
                  <a:cubicBezTo>
                    <a:pt x="510" y="747"/>
                    <a:pt x="523" y="745"/>
                    <a:pt x="539" y="755"/>
                  </a:cubicBezTo>
                  <a:cubicBezTo>
                    <a:pt x="594" y="791"/>
                    <a:pt x="594" y="791"/>
                    <a:pt x="594" y="791"/>
                  </a:cubicBezTo>
                  <a:cubicBezTo>
                    <a:pt x="602" y="796"/>
                    <a:pt x="623" y="798"/>
                    <a:pt x="628" y="790"/>
                  </a:cubicBezTo>
                  <a:cubicBezTo>
                    <a:pt x="659" y="743"/>
                    <a:pt x="659" y="743"/>
                    <a:pt x="659" y="743"/>
                  </a:cubicBezTo>
                  <a:cubicBezTo>
                    <a:pt x="659" y="743"/>
                    <a:pt x="669" y="727"/>
                    <a:pt x="654" y="716"/>
                  </a:cubicBezTo>
                  <a:close/>
                  <a:moveTo>
                    <a:pt x="281" y="633"/>
                  </a:moveTo>
                  <a:cubicBezTo>
                    <a:pt x="223" y="584"/>
                    <a:pt x="219" y="502"/>
                    <a:pt x="263" y="452"/>
                  </a:cubicBezTo>
                  <a:cubicBezTo>
                    <a:pt x="313" y="393"/>
                    <a:pt x="399" y="382"/>
                    <a:pt x="457" y="431"/>
                  </a:cubicBezTo>
                  <a:cubicBezTo>
                    <a:pt x="507" y="475"/>
                    <a:pt x="518" y="561"/>
                    <a:pt x="469" y="619"/>
                  </a:cubicBezTo>
                  <a:cubicBezTo>
                    <a:pt x="420" y="678"/>
                    <a:pt x="339" y="682"/>
                    <a:pt x="281" y="633"/>
                  </a:cubicBezTo>
                  <a:close/>
                  <a:moveTo>
                    <a:pt x="1019" y="398"/>
                  </a:moveTo>
                  <a:cubicBezTo>
                    <a:pt x="1004" y="362"/>
                    <a:pt x="1004" y="362"/>
                    <a:pt x="1004" y="362"/>
                  </a:cubicBezTo>
                  <a:cubicBezTo>
                    <a:pt x="992" y="348"/>
                    <a:pt x="1002" y="340"/>
                    <a:pt x="1002" y="332"/>
                  </a:cubicBezTo>
                  <a:cubicBezTo>
                    <a:pt x="1002" y="332"/>
                    <a:pt x="1002" y="332"/>
                    <a:pt x="1002" y="332"/>
                  </a:cubicBezTo>
                  <a:cubicBezTo>
                    <a:pt x="1007" y="328"/>
                    <a:pt x="1011" y="324"/>
                    <a:pt x="1012" y="315"/>
                  </a:cubicBezTo>
                  <a:cubicBezTo>
                    <a:pt x="1021" y="307"/>
                    <a:pt x="1026" y="303"/>
                    <a:pt x="1043" y="304"/>
                  </a:cubicBezTo>
                  <a:cubicBezTo>
                    <a:pt x="1086" y="307"/>
                    <a:pt x="1086" y="307"/>
                    <a:pt x="1086" y="307"/>
                  </a:cubicBezTo>
                  <a:cubicBezTo>
                    <a:pt x="1095" y="308"/>
                    <a:pt x="1099" y="304"/>
                    <a:pt x="1100" y="295"/>
                  </a:cubicBezTo>
                  <a:cubicBezTo>
                    <a:pt x="1107" y="266"/>
                    <a:pt x="1107" y="266"/>
                    <a:pt x="1107" y="266"/>
                  </a:cubicBezTo>
                  <a:cubicBezTo>
                    <a:pt x="1107" y="257"/>
                    <a:pt x="1103" y="252"/>
                    <a:pt x="1095" y="243"/>
                  </a:cubicBezTo>
                  <a:cubicBezTo>
                    <a:pt x="1057" y="236"/>
                    <a:pt x="1057" y="236"/>
                    <a:pt x="1057" y="236"/>
                  </a:cubicBezTo>
                  <a:cubicBezTo>
                    <a:pt x="1044" y="231"/>
                    <a:pt x="1036" y="222"/>
                    <a:pt x="1037" y="213"/>
                  </a:cubicBezTo>
                  <a:cubicBezTo>
                    <a:pt x="1038" y="205"/>
                    <a:pt x="1034" y="200"/>
                    <a:pt x="1030" y="187"/>
                  </a:cubicBezTo>
                  <a:cubicBezTo>
                    <a:pt x="1031" y="178"/>
                    <a:pt x="1032" y="170"/>
                    <a:pt x="1041" y="162"/>
                  </a:cubicBezTo>
                  <a:cubicBezTo>
                    <a:pt x="1077" y="138"/>
                    <a:pt x="1077" y="138"/>
                    <a:pt x="1077" y="138"/>
                  </a:cubicBezTo>
                  <a:cubicBezTo>
                    <a:pt x="1082" y="134"/>
                    <a:pt x="1083" y="126"/>
                    <a:pt x="1079" y="121"/>
                  </a:cubicBezTo>
                  <a:cubicBezTo>
                    <a:pt x="1059" y="89"/>
                    <a:pt x="1059" y="89"/>
                    <a:pt x="1059" y="89"/>
                  </a:cubicBezTo>
                  <a:cubicBezTo>
                    <a:pt x="1055" y="85"/>
                    <a:pt x="1047" y="84"/>
                    <a:pt x="1038" y="83"/>
                  </a:cubicBezTo>
                  <a:cubicBezTo>
                    <a:pt x="1002" y="107"/>
                    <a:pt x="1002" y="107"/>
                    <a:pt x="1002" y="107"/>
                  </a:cubicBezTo>
                  <a:cubicBezTo>
                    <a:pt x="989" y="110"/>
                    <a:pt x="980" y="110"/>
                    <a:pt x="976" y="105"/>
                  </a:cubicBezTo>
                  <a:cubicBezTo>
                    <a:pt x="972" y="100"/>
                    <a:pt x="960" y="95"/>
                    <a:pt x="956" y="91"/>
                  </a:cubicBezTo>
                  <a:cubicBezTo>
                    <a:pt x="952" y="86"/>
                    <a:pt x="944" y="77"/>
                    <a:pt x="944" y="68"/>
                  </a:cubicBezTo>
                  <a:cubicBezTo>
                    <a:pt x="948" y="25"/>
                    <a:pt x="948" y="25"/>
                    <a:pt x="948" y="25"/>
                  </a:cubicBezTo>
                  <a:cubicBezTo>
                    <a:pt x="948" y="17"/>
                    <a:pt x="940" y="7"/>
                    <a:pt x="940" y="7"/>
                  </a:cubicBezTo>
                  <a:cubicBezTo>
                    <a:pt x="902" y="0"/>
                    <a:pt x="902" y="0"/>
                    <a:pt x="902" y="0"/>
                  </a:cubicBezTo>
                  <a:cubicBezTo>
                    <a:pt x="902" y="0"/>
                    <a:pt x="889" y="4"/>
                    <a:pt x="888" y="12"/>
                  </a:cubicBezTo>
                  <a:cubicBezTo>
                    <a:pt x="872" y="50"/>
                    <a:pt x="872" y="50"/>
                    <a:pt x="872" y="50"/>
                  </a:cubicBezTo>
                  <a:cubicBezTo>
                    <a:pt x="871" y="67"/>
                    <a:pt x="862" y="67"/>
                    <a:pt x="858" y="71"/>
                  </a:cubicBezTo>
                  <a:cubicBezTo>
                    <a:pt x="858" y="71"/>
                    <a:pt x="858" y="71"/>
                    <a:pt x="853" y="75"/>
                  </a:cubicBezTo>
                  <a:cubicBezTo>
                    <a:pt x="849" y="70"/>
                    <a:pt x="840" y="70"/>
                    <a:pt x="836" y="74"/>
                  </a:cubicBezTo>
                  <a:cubicBezTo>
                    <a:pt x="831" y="78"/>
                    <a:pt x="831" y="78"/>
                    <a:pt x="831" y="78"/>
                  </a:cubicBezTo>
                  <a:cubicBezTo>
                    <a:pt x="822" y="77"/>
                    <a:pt x="814" y="76"/>
                    <a:pt x="806" y="67"/>
                  </a:cubicBezTo>
                  <a:cubicBezTo>
                    <a:pt x="778" y="35"/>
                    <a:pt x="778" y="35"/>
                    <a:pt x="778" y="35"/>
                  </a:cubicBezTo>
                  <a:cubicBezTo>
                    <a:pt x="774" y="30"/>
                    <a:pt x="762" y="25"/>
                    <a:pt x="757" y="29"/>
                  </a:cubicBezTo>
                  <a:cubicBezTo>
                    <a:pt x="734" y="49"/>
                    <a:pt x="734" y="49"/>
                    <a:pt x="734" y="49"/>
                  </a:cubicBezTo>
                  <a:cubicBezTo>
                    <a:pt x="725" y="49"/>
                    <a:pt x="725" y="57"/>
                    <a:pt x="728" y="70"/>
                  </a:cubicBezTo>
                  <a:cubicBezTo>
                    <a:pt x="747" y="102"/>
                    <a:pt x="747" y="102"/>
                    <a:pt x="747" y="102"/>
                  </a:cubicBezTo>
                  <a:cubicBezTo>
                    <a:pt x="754" y="120"/>
                    <a:pt x="750" y="124"/>
                    <a:pt x="744" y="136"/>
                  </a:cubicBezTo>
                  <a:cubicBezTo>
                    <a:pt x="744" y="136"/>
                    <a:pt x="744" y="136"/>
                    <a:pt x="744" y="136"/>
                  </a:cubicBezTo>
                  <a:cubicBezTo>
                    <a:pt x="740" y="140"/>
                    <a:pt x="735" y="144"/>
                    <a:pt x="731" y="148"/>
                  </a:cubicBezTo>
                  <a:cubicBezTo>
                    <a:pt x="731" y="148"/>
                    <a:pt x="731" y="148"/>
                    <a:pt x="731" y="148"/>
                  </a:cubicBezTo>
                  <a:cubicBezTo>
                    <a:pt x="730" y="157"/>
                    <a:pt x="721" y="165"/>
                    <a:pt x="703" y="164"/>
                  </a:cubicBezTo>
                  <a:cubicBezTo>
                    <a:pt x="665" y="157"/>
                    <a:pt x="665" y="157"/>
                    <a:pt x="665" y="157"/>
                  </a:cubicBezTo>
                  <a:cubicBezTo>
                    <a:pt x="656" y="156"/>
                    <a:pt x="647" y="164"/>
                    <a:pt x="647" y="173"/>
                  </a:cubicBezTo>
                  <a:cubicBezTo>
                    <a:pt x="640" y="203"/>
                    <a:pt x="640" y="203"/>
                    <a:pt x="640" y="203"/>
                  </a:cubicBezTo>
                  <a:cubicBezTo>
                    <a:pt x="639" y="211"/>
                    <a:pt x="643" y="216"/>
                    <a:pt x="656" y="221"/>
                  </a:cubicBezTo>
                  <a:cubicBezTo>
                    <a:pt x="690" y="232"/>
                    <a:pt x="690" y="232"/>
                    <a:pt x="690" y="232"/>
                  </a:cubicBezTo>
                  <a:cubicBezTo>
                    <a:pt x="702" y="237"/>
                    <a:pt x="710" y="246"/>
                    <a:pt x="710" y="255"/>
                  </a:cubicBezTo>
                  <a:cubicBezTo>
                    <a:pt x="710" y="255"/>
                    <a:pt x="710" y="255"/>
                    <a:pt x="710" y="255"/>
                  </a:cubicBezTo>
                  <a:cubicBezTo>
                    <a:pt x="714" y="260"/>
                    <a:pt x="713" y="268"/>
                    <a:pt x="717" y="273"/>
                  </a:cubicBezTo>
                  <a:cubicBezTo>
                    <a:pt x="712" y="277"/>
                    <a:pt x="712" y="277"/>
                    <a:pt x="712" y="277"/>
                  </a:cubicBezTo>
                  <a:cubicBezTo>
                    <a:pt x="716" y="281"/>
                    <a:pt x="716" y="290"/>
                    <a:pt x="702" y="302"/>
                  </a:cubicBezTo>
                  <a:cubicBezTo>
                    <a:pt x="674" y="326"/>
                    <a:pt x="674" y="326"/>
                    <a:pt x="674" y="326"/>
                  </a:cubicBezTo>
                  <a:cubicBezTo>
                    <a:pt x="665" y="334"/>
                    <a:pt x="664" y="343"/>
                    <a:pt x="668" y="347"/>
                  </a:cubicBezTo>
                  <a:cubicBezTo>
                    <a:pt x="687" y="379"/>
                    <a:pt x="687" y="379"/>
                    <a:pt x="687" y="379"/>
                  </a:cubicBezTo>
                  <a:cubicBezTo>
                    <a:pt x="691" y="383"/>
                    <a:pt x="700" y="384"/>
                    <a:pt x="704" y="380"/>
                  </a:cubicBezTo>
                  <a:cubicBezTo>
                    <a:pt x="745" y="361"/>
                    <a:pt x="745" y="361"/>
                    <a:pt x="745" y="361"/>
                  </a:cubicBezTo>
                  <a:cubicBezTo>
                    <a:pt x="758" y="358"/>
                    <a:pt x="767" y="358"/>
                    <a:pt x="771" y="363"/>
                  </a:cubicBezTo>
                  <a:cubicBezTo>
                    <a:pt x="771" y="363"/>
                    <a:pt x="771" y="363"/>
                    <a:pt x="771" y="363"/>
                  </a:cubicBezTo>
                  <a:cubicBezTo>
                    <a:pt x="779" y="364"/>
                    <a:pt x="787" y="373"/>
                    <a:pt x="791" y="377"/>
                  </a:cubicBezTo>
                  <a:cubicBezTo>
                    <a:pt x="791" y="377"/>
                    <a:pt x="791" y="377"/>
                    <a:pt x="791" y="377"/>
                  </a:cubicBezTo>
                  <a:cubicBezTo>
                    <a:pt x="800" y="378"/>
                    <a:pt x="804" y="383"/>
                    <a:pt x="802" y="400"/>
                  </a:cubicBezTo>
                  <a:cubicBezTo>
                    <a:pt x="799" y="443"/>
                    <a:pt x="799" y="443"/>
                    <a:pt x="799" y="443"/>
                  </a:cubicBezTo>
                  <a:cubicBezTo>
                    <a:pt x="798" y="451"/>
                    <a:pt x="802" y="456"/>
                    <a:pt x="811" y="457"/>
                  </a:cubicBezTo>
                  <a:cubicBezTo>
                    <a:pt x="845" y="468"/>
                    <a:pt x="845" y="468"/>
                    <a:pt x="845" y="468"/>
                  </a:cubicBezTo>
                  <a:cubicBezTo>
                    <a:pt x="849" y="464"/>
                    <a:pt x="858" y="464"/>
                    <a:pt x="859" y="456"/>
                  </a:cubicBezTo>
                  <a:cubicBezTo>
                    <a:pt x="871" y="413"/>
                    <a:pt x="871" y="413"/>
                    <a:pt x="871" y="413"/>
                  </a:cubicBezTo>
                  <a:cubicBezTo>
                    <a:pt x="876" y="401"/>
                    <a:pt x="889" y="397"/>
                    <a:pt x="894" y="393"/>
                  </a:cubicBezTo>
                  <a:cubicBezTo>
                    <a:pt x="894" y="393"/>
                    <a:pt x="894" y="393"/>
                    <a:pt x="894" y="393"/>
                  </a:cubicBezTo>
                  <a:cubicBezTo>
                    <a:pt x="902" y="394"/>
                    <a:pt x="911" y="395"/>
                    <a:pt x="916" y="391"/>
                  </a:cubicBezTo>
                  <a:cubicBezTo>
                    <a:pt x="916" y="391"/>
                    <a:pt x="916" y="391"/>
                    <a:pt x="916" y="391"/>
                  </a:cubicBezTo>
                  <a:cubicBezTo>
                    <a:pt x="924" y="391"/>
                    <a:pt x="933" y="392"/>
                    <a:pt x="941" y="401"/>
                  </a:cubicBezTo>
                  <a:cubicBezTo>
                    <a:pt x="969" y="433"/>
                    <a:pt x="969" y="433"/>
                    <a:pt x="969" y="433"/>
                  </a:cubicBezTo>
                  <a:cubicBezTo>
                    <a:pt x="973" y="438"/>
                    <a:pt x="985" y="443"/>
                    <a:pt x="990" y="439"/>
                  </a:cubicBezTo>
                  <a:cubicBezTo>
                    <a:pt x="1018" y="415"/>
                    <a:pt x="1018" y="415"/>
                    <a:pt x="1018" y="415"/>
                  </a:cubicBezTo>
                  <a:cubicBezTo>
                    <a:pt x="1018" y="415"/>
                    <a:pt x="1027" y="407"/>
                    <a:pt x="1019" y="398"/>
                  </a:cubicBezTo>
                  <a:close/>
                  <a:moveTo>
                    <a:pt x="803" y="279"/>
                  </a:moveTo>
                  <a:cubicBezTo>
                    <a:pt x="776" y="238"/>
                    <a:pt x="788" y="187"/>
                    <a:pt x="825" y="164"/>
                  </a:cubicBezTo>
                  <a:cubicBezTo>
                    <a:pt x="866" y="136"/>
                    <a:pt x="921" y="144"/>
                    <a:pt x="948" y="185"/>
                  </a:cubicBezTo>
                  <a:cubicBezTo>
                    <a:pt x="972" y="221"/>
                    <a:pt x="963" y="277"/>
                    <a:pt x="922" y="304"/>
                  </a:cubicBezTo>
                  <a:cubicBezTo>
                    <a:pt x="881" y="332"/>
                    <a:pt x="830" y="320"/>
                    <a:pt x="803" y="279"/>
                  </a:cubicBezTo>
                  <a:close/>
                </a:path>
              </a:pathLst>
            </a:custGeom>
            <a:solidFill>
              <a:schemeClr val="tx1"/>
            </a:solidFill>
            <a:ln>
              <a:noFill/>
            </a:ln>
          </p:spPr>
          <p:txBody>
            <a:bodyPr vert="horz" wrap="square" lIns="68574" tIns="34287" rIns="68574" bIns="34287"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17346"/>
                </a:solidFill>
                <a:effectLst/>
                <a:uLnTx/>
                <a:uFillTx/>
                <a:latin typeface="Segoe UI"/>
                <a:ea typeface="+mn-ea"/>
                <a:cs typeface="+mn-cs"/>
              </a:endParaRPr>
            </a:p>
          </p:txBody>
        </p:sp>
        <p:sp>
          <p:nvSpPr>
            <p:cNvPr id="88" name="Freeform 87"/>
            <p:cNvSpPr>
              <a:spLocks noChangeAspect="1"/>
            </p:cNvSpPr>
            <p:nvPr/>
          </p:nvSpPr>
          <p:spPr bwMode="black">
            <a:xfrm>
              <a:off x="776985" y="4213905"/>
              <a:ext cx="342871" cy="335728"/>
            </a:xfrm>
            <a:custGeom>
              <a:avLst/>
              <a:gdLst>
                <a:gd name="connsiteX0" fmla="*/ 3713863 w 4893730"/>
                <a:gd name="connsiteY0" fmla="*/ 2130808 h 4791777"/>
                <a:gd name="connsiteX1" fmla="*/ 4426142 w 4893730"/>
                <a:gd name="connsiteY1" fmla="*/ 2130808 h 4791777"/>
                <a:gd name="connsiteX2" fmla="*/ 4598071 w 4893730"/>
                <a:gd name="connsiteY2" fmla="*/ 2301547 h 4791777"/>
                <a:gd name="connsiteX3" fmla="*/ 4598071 w 4893730"/>
                <a:gd name="connsiteY3" fmla="*/ 3886978 h 4791777"/>
                <a:gd name="connsiteX4" fmla="*/ 4426142 w 4893730"/>
                <a:gd name="connsiteY4" fmla="*/ 4057717 h 4791777"/>
                <a:gd name="connsiteX5" fmla="*/ 3713863 w 4893730"/>
                <a:gd name="connsiteY5" fmla="*/ 4057717 h 4791777"/>
                <a:gd name="connsiteX6" fmla="*/ 3517372 w 4893730"/>
                <a:gd name="connsiteY6" fmla="*/ 3886978 h 4791777"/>
                <a:gd name="connsiteX7" fmla="*/ 3517372 w 4893730"/>
                <a:gd name="connsiteY7" fmla="*/ 2301547 h 4791777"/>
                <a:gd name="connsiteX8" fmla="*/ 3713863 w 4893730"/>
                <a:gd name="connsiteY8" fmla="*/ 2130808 h 4791777"/>
                <a:gd name="connsiteX9" fmla="*/ 904368 w 4893730"/>
                <a:gd name="connsiteY9" fmla="*/ 1223432 h 4791777"/>
                <a:gd name="connsiteX10" fmla="*/ 1609930 w 4893730"/>
                <a:gd name="connsiteY10" fmla="*/ 1223432 h 4791777"/>
                <a:gd name="connsiteX11" fmla="*/ 1804567 w 4893730"/>
                <a:gd name="connsiteY11" fmla="*/ 1394467 h 4791777"/>
                <a:gd name="connsiteX12" fmla="*/ 1804567 w 4893730"/>
                <a:gd name="connsiteY12" fmla="*/ 3886683 h 4791777"/>
                <a:gd name="connsiteX13" fmla="*/ 1609930 w 4893730"/>
                <a:gd name="connsiteY13" fmla="*/ 4057717 h 4791777"/>
                <a:gd name="connsiteX14" fmla="*/ 904368 w 4893730"/>
                <a:gd name="connsiteY14" fmla="*/ 4057717 h 4791777"/>
                <a:gd name="connsiteX15" fmla="*/ 734060 w 4893730"/>
                <a:gd name="connsiteY15" fmla="*/ 3886683 h 4791777"/>
                <a:gd name="connsiteX16" fmla="*/ 734060 w 4893730"/>
                <a:gd name="connsiteY16" fmla="*/ 1394467 h 4791777"/>
                <a:gd name="connsiteX17" fmla="*/ 904368 w 4893730"/>
                <a:gd name="connsiteY17" fmla="*/ 1223432 h 4791777"/>
                <a:gd name="connsiteX18" fmla="*/ 2325453 w 4893730"/>
                <a:gd name="connsiteY18" fmla="*/ 316050 h 4791777"/>
                <a:gd name="connsiteX19" fmla="*/ 3031014 w 4893730"/>
                <a:gd name="connsiteY19" fmla="*/ 316050 h 4791777"/>
                <a:gd name="connsiteX20" fmla="*/ 3201322 w 4893730"/>
                <a:gd name="connsiteY20" fmla="*/ 487238 h 4791777"/>
                <a:gd name="connsiteX21" fmla="*/ 3201322 w 4893730"/>
                <a:gd name="connsiteY21" fmla="*/ 3886530 h 4791777"/>
                <a:gd name="connsiteX22" fmla="*/ 3031014 w 4893730"/>
                <a:gd name="connsiteY22" fmla="*/ 4057717 h 4791777"/>
                <a:gd name="connsiteX23" fmla="*/ 2325453 w 4893730"/>
                <a:gd name="connsiteY23" fmla="*/ 4057717 h 4791777"/>
                <a:gd name="connsiteX24" fmla="*/ 2130815 w 4893730"/>
                <a:gd name="connsiteY24" fmla="*/ 3886530 h 4791777"/>
                <a:gd name="connsiteX25" fmla="*/ 2130815 w 4893730"/>
                <a:gd name="connsiteY25" fmla="*/ 487238 h 4791777"/>
                <a:gd name="connsiteX26" fmla="*/ 2325453 w 4893730"/>
                <a:gd name="connsiteY26" fmla="*/ 316050 h 4791777"/>
                <a:gd name="connsiteX27" fmla="*/ 269155 w 4893730"/>
                <a:gd name="connsiteY27" fmla="*/ 0 h 4791777"/>
                <a:gd name="connsiteX28" fmla="*/ 538311 w 4893730"/>
                <a:gd name="connsiteY28" fmla="*/ 268927 h 4791777"/>
                <a:gd name="connsiteX29" fmla="*/ 538311 w 4893730"/>
                <a:gd name="connsiteY29" fmla="*/ 4253925 h 4791777"/>
                <a:gd name="connsiteX30" fmla="*/ 4624575 w 4893730"/>
                <a:gd name="connsiteY30" fmla="*/ 4253925 h 4791777"/>
                <a:gd name="connsiteX31" fmla="*/ 4893730 w 4893730"/>
                <a:gd name="connsiteY31" fmla="*/ 4522851 h 4791777"/>
                <a:gd name="connsiteX32" fmla="*/ 4624575 w 4893730"/>
                <a:gd name="connsiteY32" fmla="*/ 4791777 h 4791777"/>
                <a:gd name="connsiteX33" fmla="*/ 269155 w 4893730"/>
                <a:gd name="connsiteY33" fmla="*/ 4791777 h 4791777"/>
                <a:gd name="connsiteX34" fmla="*/ 0 w 4893730"/>
                <a:gd name="connsiteY34" fmla="*/ 4522851 h 4791777"/>
                <a:gd name="connsiteX35" fmla="*/ 0 w 4893730"/>
                <a:gd name="connsiteY35" fmla="*/ 268927 h 4791777"/>
                <a:gd name="connsiteX36" fmla="*/ 269155 w 4893730"/>
                <a:gd name="connsiteY36" fmla="*/ 0 h 4791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4893730" h="4791777">
                  <a:moveTo>
                    <a:pt x="3713863" y="2130808"/>
                  </a:moveTo>
                  <a:cubicBezTo>
                    <a:pt x="3713863" y="2130808"/>
                    <a:pt x="3713863" y="2130808"/>
                    <a:pt x="4426142" y="2130808"/>
                  </a:cubicBezTo>
                  <a:cubicBezTo>
                    <a:pt x="4524387" y="2130808"/>
                    <a:pt x="4598071" y="2203982"/>
                    <a:pt x="4598071" y="2301547"/>
                  </a:cubicBezTo>
                  <a:cubicBezTo>
                    <a:pt x="4598071" y="2301547"/>
                    <a:pt x="4598071" y="2301547"/>
                    <a:pt x="4598071" y="3886978"/>
                  </a:cubicBezTo>
                  <a:cubicBezTo>
                    <a:pt x="4598071" y="3984543"/>
                    <a:pt x="4524387" y="4057717"/>
                    <a:pt x="4426142" y="4057717"/>
                  </a:cubicBezTo>
                  <a:cubicBezTo>
                    <a:pt x="4426142" y="4057717"/>
                    <a:pt x="4426142" y="4057717"/>
                    <a:pt x="3713863" y="4057717"/>
                  </a:cubicBezTo>
                  <a:cubicBezTo>
                    <a:pt x="3615618" y="4057717"/>
                    <a:pt x="3517372" y="3984543"/>
                    <a:pt x="3517372" y="3886978"/>
                  </a:cubicBezTo>
                  <a:cubicBezTo>
                    <a:pt x="3517372" y="3886978"/>
                    <a:pt x="3517372" y="3886978"/>
                    <a:pt x="3517372" y="2301547"/>
                  </a:cubicBezTo>
                  <a:cubicBezTo>
                    <a:pt x="3517372" y="2203982"/>
                    <a:pt x="3615618" y="2130808"/>
                    <a:pt x="3713863" y="2130808"/>
                  </a:cubicBezTo>
                  <a:close/>
                  <a:moveTo>
                    <a:pt x="904368" y="1223432"/>
                  </a:moveTo>
                  <a:cubicBezTo>
                    <a:pt x="904368" y="1223432"/>
                    <a:pt x="904368" y="1223432"/>
                    <a:pt x="1609930" y="1223432"/>
                  </a:cubicBezTo>
                  <a:cubicBezTo>
                    <a:pt x="1731578" y="1223432"/>
                    <a:pt x="1804567" y="1296733"/>
                    <a:pt x="1804567" y="1394467"/>
                  </a:cubicBezTo>
                  <a:cubicBezTo>
                    <a:pt x="1804567" y="1394467"/>
                    <a:pt x="1804567" y="1394467"/>
                    <a:pt x="1804567" y="3886683"/>
                  </a:cubicBezTo>
                  <a:cubicBezTo>
                    <a:pt x="1804567" y="3984417"/>
                    <a:pt x="1731578" y="4057717"/>
                    <a:pt x="1609930" y="4057717"/>
                  </a:cubicBezTo>
                  <a:cubicBezTo>
                    <a:pt x="1609930" y="4057717"/>
                    <a:pt x="1609930" y="4057717"/>
                    <a:pt x="904368" y="4057717"/>
                  </a:cubicBezTo>
                  <a:cubicBezTo>
                    <a:pt x="807049" y="4057717"/>
                    <a:pt x="734060" y="3984417"/>
                    <a:pt x="734060" y="3886683"/>
                  </a:cubicBezTo>
                  <a:cubicBezTo>
                    <a:pt x="734060" y="3886683"/>
                    <a:pt x="734060" y="3886683"/>
                    <a:pt x="734060" y="1394467"/>
                  </a:cubicBezTo>
                  <a:cubicBezTo>
                    <a:pt x="734060" y="1296733"/>
                    <a:pt x="807049" y="1223432"/>
                    <a:pt x="904368" y="1223432"/>
                  </a:cubicBezTo>
                  <a:close/>
                  <a:moveTo>
                    <a:pt x="2325453" y="316050"/>
                  </a:moveTo>
                  <a:cubicBezTo>
                    <a:pt x="2325453" y="316050"/>
                    <a:pt x="2325453" y="316050"/>
                    <a:pt x="3031014" y="316050"/>
                  </a:cubicBezTo>
                  <a:cubicBezTo>
                    <a:pt x="3128333" y="316050"/>
                    <a:pt x="3201322" y="389416"/>
                    <a:pt x="3201322" y="487238"/>
                  </a:cubicBezTo>
                  <a:cubicBezTo>
                    <a:pt x="3201322" y="487238"/>
                    <a:pt x="3201322" y="487238"/>
                    <a:pt x="3201322" y="3886530"/>
                  </a:cubicBezTo>
                  <a:cubicBezTo>
                    <a:pt x="3201322" y="3984351"/>
                    <a:pt x="3128333" y="4057717"/>
                    <a:pt x="3031014" y="4057717"/>
                  </a:cubicBezTo>
                  <a:cubicBezTo>
                    <a:pt x="3031014" y="4057717"/>
                    <a:pt x="3031014" y="4057717"/>
                    <a:pt x="2325453" y="4057717"/>
                  </a:cubicBezTo>
                  <a:cubicBezTo>
                    <a:pt x="2203804" y="4057717"/>
                    <a:pt x="2130815" y="3984351"/>
                    <a:pt x="2130815" y="3886530"/>
                  </a:cubicBezTo>
                  <a:cubicBezTo>
                    <a:pt x="2130815" y="3886530"/>
                    <a:pt x="2130815" y="3886530"/>
                    <a:pt x="2130815" y="487238"/>
                  </a:cubicBezTo>
                  <a:cubicBezTo>
                    <a:pt x="2130815" y="389416"/>
                    <a:pt x="2203804" y="316050"/>
                    <a:pt x="2325453" y="316050"/>
                  </a:cubicBezTo>
                  <a:close/>
                  <a:moveTo>
                    <a:pt x="269155" y="0"/>
                  </a:moveTo>
                  <a:cubicBezTo>
                    <a:pt x="415967" y="0"/>
                    <a:pt x="538311" y="122239"/>
                    <a:pt x="538311" y="268927"/>
                  </a:cubicBezTo>
                  <a:cubicBezTo>
                    <a:pt x="538311" y="268927"/>
                    <a:pt x="538311" y="268927"/>
                    <a:pt x="538311" y="4253925"/>
                  </a:cubicBezTo>
                  <a:cubicBezTo>
                    <a:pt x="538311" y="4253925"/>
                    <a:pt x="538311" y="4253925"/>
                    <a:pt x="4624575" y="4253925"/>
                  </a:cubicBezTo>
                  <a:cubicBezTo>
                    <a:pt x="4771387" y="4253925"/>
                    <a:pt x="4893730" y="4376164"/>
                    <a:pt x="4893730" y="4522851"/>
                  </a:cubicBezTo>
                  <a:cubicBezTo>
                    <a:pt x="4893730" y="4669538"/>
                    <a:pt x="4771387" y="4791777"/>
                    <a:pt x="4624575" y="4791777"/>
                  </a:cubicBezTo>
                  <a:cubicBezTo>
                    <a:pt x="4624575" y="4791777"/>
                    <a:pt x="4624575" y="4791777"/>
                    <a:pt x="269155" y="4791777"/>
                  </a:cubicBezTo>
                  <a:cubicBezTo>
                    <a:pt x="122344" y="4791777"/>
                    <a:pt x="0" y="4669538"/>
                    <a:pt x="0" y="4522851"/>
                  </a:cubicBezTo>
                  <a:cubicBezTo>
                    <a:pt x="0" y="4522851"/>
                    <a:pt x="0" y="4522851"/>
                    <a:pt x="0" y="268927"/>
                  </a:cubicBezTo>
                  <a:cubicBezTo>
                    <a:pt x="0" y="122239"/>
                    <a:pt x="122344" y="0"/>
                    <a:pt x="269155"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37148" tIns="109719" rIns="137148" bIns="109719"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699261"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9" name="Rectangle 88"/>
            <p:cNvSpPr/>
            <p:nvPr/>
          </p:nvSpPr>
          <p:spPr bwMode="auto">
            <a:xfrm rot="2745734">
              <a:off x="279530" y="1141266"/>
              <a:ext cx="1260714" cy="1255193"/>
            </a:xfrm>
            <a:prstGeom prst="rect">
              <a:avLst/>
            </a:prstGeom>
            <a:solidFill>
              <a:schemeClr val="tx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0" name="Rectangle 89"/>
            <p:cNvSpPr/>
            <p:nvPr/>
          </p:nvSpPr>
          <p:spPr bwMode="auto">
            <a:xfrm rot="2745734">
              <a:off x="292433" y="3819160"/>
              <a:ext cx="1610349" cy="1235003"/>
            </a:xfrm>
            <a:prstGeom prst="rect">
              <a:avLst/>
            </a:prstGeom>
            <a:solidFill>
              <a:schemeClr val="tx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2" name="Rectangle 91"/>
            <p:cNvSpPr/>
            <p:nvPr/>
          </p:nvSpPr>
          <p:spPr bwMode="auto">
            <a:xfrm rot="2745734">
              <a:off x="1315610" y="4915701"/>
              <a:ext cx="1263370" cy="1255989"/>
            </a:xfrm>
            <a:prstGeom prst="rect">
              <a:avLst/>
            </a:prstGeom>
            <a:solidFill>
              <a:schemeClr val="tx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40" name="TextBox 39"/>
          <p:cNvSpPr txBox="1"/>
          <p:nvPr/>
        </p:nvSpPr>
        <p:spPr>
          <a:xfrm>
            <a:off x="3" y="51415"/>
            <a:ext cx="2849058" cy="430887"/>
          </a:xfrm>
          <a:prstGeom prst="rect">
            <a:avLst/>
          </a:prstGeom>
        </p:spPr>
        <p:txBody>
          <a:bodyPr wrap="square">
            <a:spAutoFit/>
          </a:bodyPr>
          <a:lstStyle>
            <a:defPPr>
              <a:defRPr lang="en-US"/>
            </a:defPPr>
            <a:lvl1pPr defTabSz="914192">
              <a:defRPr sz="2800" b="1" spc="-100">
                <a:ln w="3175">
                  <a:noFill/>
                </a:ln>
                <a:solidFill>
                  <a:srgbClr val="F2C812"/>
                </a:solidFill>
                <a:latin typeface="Segoe UI" panose="020B0502040204020203" pitchFamily="34" charset="0"/>
                <a:ea typeface="ＭＳ Ｐゴシック" charset="0"/>
                <a:cs typeface="Segoe UI" panose="020B0502040204020203" pitchFamily="34" charset="0"/>
              </a:defRPr>
            </a:lvl1pPr>
          </a:lstStyle>
          <a:p>
            <a:pPr marL="0" marR="0" lvl="0" indent="0" algn="l" defTabSz="914192" rtl="0" eaLnBrk="1" fontAlgn="auto" latinLnBrk="0" hangingPunct="1">
              <a:lnSpc>
                <a:spcPct val="100000"/>
              </a:lnSpc>
              <a:spcBef>
                <a:spcPts val="0"/>
              </a:spcBef>
              <a:spcAft>
                <a:spcPts val="0"/>
              </a:spcAft>
              <a:buClrTx/>
              <a:buSzTx/>
              <a:buFontTx/>
              <a:buNone/>
              <a:tabLst/>
              <a:defRPr/>
            </a:pPr>
            <a:r>
              <a:rPr kumimoji="0" lang="en-US" sz="2200" b="1" i="0" u="none" strike="noStrike" kern="1200" cap="none" spc="-100" normalizeH="0" baseline="0" noProof="0">
                <a:ln w="3175">
                  <a:noFill/>
                </a:ln>
                <a:solidFill>
                  <a:srgbClr val="F2C812"/>
                </a:solidFill>
                <a:effectLst/>
                <a:uLnTx/>
                <a:uFillTx/>
                <a:latin typeface="Segoe UI Light"/>
                <a:ea typeface="ＭＳ Ｐゴシック" charset="0"/>
                <a:cs typeface="Segoe UI" panose="020B0502040204020203" pitchFamily="34" charset="0"/>
              </a:rPr>
              <a:t>Power BI Desktop</a:t>
            </a:r>
          </a:p>
        </p:txBody>
      </p:sp>
      <p:sp>
        <p:nvSpPr>
          <p:cNvPr id="41" name="Rectangle 40"/>
          <p:cNvSpPr/>
          <p:nvPr/>
        </p:nvSpPr>
        <p:spPr bwMode="auto">
          <a:xfrm rot="2745734">
            <a:off x="825067" y="3494250"/>
            <a:ext cx="1260714" cy="370170"/>
          </a:xfrm>
          <a:prstGeom prst="rect">
            <a:avLst/>
          </a:prstGeom>
          <a:solidFill>
            <a:schemeClr val="tx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3" name="Picture 2"/>
          <p:cNvPicPr>
            <a:picLocks noChangeAspect="1"/>
          </p:cNvPicPr>
          <p:nvPr/>
        </p:nvPicPr>
        <p:blipFill>
          <a:blip r:embed="rId3"/>
          <a:stretch>
            <a:fillRect/>
          </a:stretch>
        </p:blipFill>
        <p:spPr>
          <a:xfrm>
            <a:off x="3187559" y="1475232"/>
            <a:ext cx="4927652" cy="2920358"/>
          </a:xfrm>
          <a:prstGeom prst="rect">
            <a:avLst/>
          </a:prstGeom>
          <a:ln>
            <a:noFill/>
          </a:ln>
          <a:effectLst>
            <a:outerShdw blurRad="190500" algn="tl" rotWithShape="0">
              <a:srgbClr val="000000">
                <a:alpha val="70000"/>
              </a:srgbClr>
            </a:outerShdw>
          </a:effectLst>
        </p:spPr>
      </p:pic>
      <p:pic>
        <p:nvPicPr>
          <p:cNvPr id="4" name="Picture 3"/>
          <p:cNvPicPr>
            <a:picLocks noChangeAspect="1"/>
          </p:cNvPicPr>
          <p:nvPr/>
        </p:nvPicPr>
        <p:blipFill>
          <a:blip r:embed="rId4"/>
          <a:stretch>
            <a:fillRect/>
          </a:stretch>
        </p:blipFill>
        <p:spPr>
          <a:xfrm>
            <a:off x="6957077" y="3429001"/>
            <a:ext cx="4839842" cy="3096296"/>
          </a:xfrm>
          <a:prstGeom prst="rect">
            <a:avLst/>
          </a:prstGeom>
          <a:ln>
            <a:noFill/>
          </a:ln>
          <a:effectLst>
            <a:outerShdw blurRad="190500" algn="tl" rotWithShape="0">
              <a:srgbClr val="000000">
                <a:alpha val="70000"/>
              </a:srgbClr>
            </a:outerShdw>
          </a:effectLst>
        </p:spPr>
      </p:pic>
    </p:spTree>
    <p:extLst>
      <p:ext uri="{BB962C8B-B14F-4D97-AF65-F5344CB8AC3E}">
        <p14:creationId xmlns:p14="http://schemas.microsoft.com/office/powerpoint/2010/main" val="8473907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solidFill>
            <a:schemeClr val="bg1"/>
          </a:solidFill>
        </p:spPr>
        <p:txBody>
          <a:bodyPr/>
          <a:lstStyle/>
          <a:p>
            <a:r>
              <a:rPr lang="pt-PT">
                <a:solidFill>
                  <a:schemeClr val="tx1"/>
                </a:solidFill>
              </a:rPr>
              <a:t> Visualisations – Table and Matrix</a:t>
            </a:r>
            <a:endParaRPr lang="en-US" sz="3600">
              <a:solidFill>
                <a:schemeClr val="tx1"/>
              </a:solidFill>
            </a:endParaRPr>
          </a:p>
        </p:txBody>
      </p:sp>
      <p:grpSp>
        <p:nvGrpSpPr>
          <p:cNvPr id="52" name="Group 51"/>
          <p:cNvGrpSpPr/>
          <p:nvPr/>
        </p:nvGrpSpPr>
        <p:grpSpPr>
          <a:xfrm>
            <a:off x="2" y="1"/>
            <a:ext cx="2849058" cy="6858000"/>
            <a:chOff x="2" y="1"/>
            <a:chExt cx="2849058" cy="6858000"/>
          </a:xfrm>
        </p:grpSpPr>
        <p:sp>
          <p:nvSpPr>
            <p:cNvPr id="71" name="Rectangle 70"/>
            <p:cNvSpPr/>
            <p:nvPr/>
          </p:nvSpPr>
          <p:spPr bwMode="auto">
            <a:xfrm>
              <a:off x="2" y="1"/>
              <a:ext cx="2849058"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3" name="Oval 70"/>
            <p:cNvSpPr/>
            <p:nvPr/>
          </p:nvSpPr>
          <p:spPr>
            <a:xfrm>
              <a:off x="1413521" y="4951537"/>
              <a:ext cx="1119626" cy="1119626"/>
            </a:xfrm>
            <a:prstGeom prst="ellipse">
              <a:avLst/>
            </a:prstGeom>
            <a:solidFill>
              <a:srgbClr val="F2C812"/>
            </a:solidFill>
            <a:ln w="3175" cap="flat" cmpd="sng" algn="ctr">
              <a:noFill/>
              <a:prstDash val="solid"/>
            </a:ln>
            <a:effectLst/>
          </p:spPr>
          <p:txBody>
            <a:bodyPr vert="horz" wrap="none" lIns="0" tIns="45720" rIns="0" bIns="0" rtlCol="0" anchor="t"/>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Segoe UI"/>
                  <a:ea typeface="Segoe UI" pitchFamily="34" charset="0"/>
                  <a:cs typeface="Segoe UI" pitchFamily="34" charset="0"/>
                </a:rPr>
                <a:t>Share &amp;</a:t>
              </a:r>
            </a:p>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Segoe UI"/>
                  <a:ea typeface="Segoe UI" pitchFamily="34" charset="0"/>
                  <a:cs typeface="Segoe UI" pitchFamily="34" charset="0"/>
                </a:rPr>
                <a:t>collaborate </a:t>
              </a:r>
            </a:p>
          </p:txBody>
        </p:sp>
        <p:grpSp>
          <p:nvGrpSpPr>
            <p:cNvPr id="76" name="Group 38"/>
            <p:cNvGrpSpPr>
              <a:grpSpLocks noChangeAspect="1"/>
            </p:cNvGrpSpPr>
            <p:nvPr/>
          </p:nvGrpSpPr>
          <p:grpSpPr>
            <a:xfrm>
              <a:off x="676996" y="3930692"/>
              <a:ext cx="383905" cy="351536"/>
              <a:chOff x="4363684" y="5330386"/>
              <a:chExt cx="1409956" cy="1291077"/>
            </a:xfrm>
            <a:solidFill>
              <a:srgbClr val="217346"/>
            </a:solidFill>
          </p:grpSpPr>
          <p:sp>
            <p:nvSpPr>
              <p:cNvPr id="102" name="Donut 3"/>
              <p:cNvSpPr/>
              <p:nvPr/>
            </p:nvSpPr>
            <p:spPr bwMode="auto">
              <a:xfrm>
                <a:off x="4363684" y="5330386"/>
                <a:ext cx="1409956" cy="1291077"/>
              </a:xfrm>
              <a:custGeom>
                <a:avLst/>
                <a:gdLst/>
                <a:ahLst/>
                <a:cxnLst/>
                <a:rect l="l" t="t" r="r" b="b"/>
                <a:pathLst>
                  <a:path w="1409956" h="1291077">
                    <a:moveTo>
                      <a:pt x="956401" y="78410"/>
                    </a:moveTo>
                    <a:cubicBezTo>
                      <a:pt x="747518" y="78410"/>
                      <a:pt x="578184" y="247744"/>
                      <a:pt x="578184" y="456627"/>
                    </a:cubicBezTo>
                    <a:cubicBezTo>
                      <a:pt x="578184" y="665510"/>
                      <a:pt x="747518" y="834844"/>
                      <a:pt x="956401" y="834844"/>
                    </a:cubicBezTo>
                    <a:cubicBezTo>
                      <a:pt x="1165284" y="834844"/>
                      <a:pt x="1334618" y="665510"/>
                      <a:pt x="1334618" y="456627"/>
                    </a:cubicBezTo>
                    <a:cubicBezTo>
                      <a:pt x="1334618" y="247744"/>
                      <a:pt x="1165284" y="78410"/>
                      <a:pt x="956401" y="78410"/>
                    </a:cubicBezTo>
                    <a:close/>
                    <a:moveTo>
                      <a:pt x="952756" y="0"/>
                    </a:moveTo>
                    <a:cubicBezTo>
                      <a:pt x="1205261" y="0"/>
                      <a:pt x="1409956" y="204695"/>
                      <a:pt x="1409956" y="457200"/>
                    </a:cubicBezTo>
                    <a:cubicBezTo>
                      <a:pt x="1409956" y="709705"/>
                      <a:pt x="1205261" y="914400"/>
                      <a:pt x="952756" y="914400"/>
                    </a:cubicBezTo>
                    <a:cubicBezTo>
                      <a:pt x="862133" y="914400"/>
                      <a:pt x="777669" y="888034"/>
                      <a:pt x="707132" y="841746"/>
                    </a:cubicBezTo>
                    <a:lnTo>
                      <a:pt x="136495" y="1280102"/>
                    </a:lnTo>
                    <a:cubicBezTo>
                      <a:pt x="21896" y="1327168"/>
                      <a:pt x="-44029" y="1213730"/>
                      <a:pt x="33797" y="1113182"/>
                    </a:cubicBezTo>
                    <a:lnTo>
                      <a:pt x="568587" y="703518"/>
                    </a:lnTo>
                    <a:cubicBezTo>
                      <a:pt x="522087" y="632814"/>
                      <a:pt x="495556" y="548105"/>
                      <a:pt x="495556" y="457200"/>
                    </a:cubicBezTo>
                    <a:cubicBezTo>
                      <a:pt x="495556" y="204695"/>
                      <a:pt x="700251" y="0"/>
                      <a:pt x="952756" y="0"/>
                    </a:cubicBezTo>
                    <a:close/>
                  </a:path>
                </a:pathLst>
              </a:custGeom>
              <a:grpFill/>
              <a:ln>
                <a:solidFill>
                  <a:srgbClr val="21734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sp>
            <p:nvSpPr>
              <p:cNvPr id="103" name="Rectangle 4"/>
              <p:cNvSpPr/>
              <p:nvPr/>
            </p:nvSpPr>
            <p:spPr>
              <a:xfrm>
                <a:off x="5058389" y="5528247"/>
                <a:ext cx="490885" cy="490020"/>
              </a:xfrm>
              <a:custGeom>
                <a:avLst/>
                <a:gdLst/>
                <a:ahLst/>
                <a:cxnLst/>
                <a:rect l="l" t="t" r="r" b="b"/>
                <a:pathLst>
                  <a:path w="490885" h="490020">
                    <a:moveTo>
                      <a:pt x="240752" y="0"/>
                    </a:moveTo>
                    <a:cubicBezTo>
                      <a:pt x="253961" y="11844"/>
                      <a:pt x="293310" y="49692"/>
                      <a:pt x="337332" y="92439"/>
                    </a:cubicBezTo>
                    <a:lnTo>
                      <a:pt x="328342" y="81259"/>
                    </a:lnTo>
                    <a:cubicBezTo>
                      <a:pt x="356946" y="111282"/>
                      <a:pt x="377251" y="107167"/>
                      <a:pt x="382515" y="87941"/>
                    </a:cubicBezTo>
                    <a:cubicBezTo>
                      <a:pt x="383951" y="76921"/>
                      <a:pt x="384595" y="68732"/>
                      <a:pt x="396997" y="52239"/>
                    </a:cubicBezTo>
                    <a:cubicBezTo>
                      <a:pt x="420362" y="32084"/>
                      <a:pt x="442294" y="41736"/>
                      <a:pt x="454920" y="51330"/>
                    </a:cubicBezTo>
                    <a:cubicBezTo>
                      <a:pt x="467834" y="62761"/>
                      <a:pt x="477920" y="86882"/>
                      <a:pt x="460392" y="109714"/>
                    </a:cubicBezTo>
                    <a:cubicBezTo>
                      <a:pt x="451128" y="121912"/>
                      <a:pt x="437554" y="126838"/>
                      <a:pt x="425922" y="126505"/>
                    </a:cubicBezTo>
                    <a:cubicBezTo>
                      <a:pt x="424301" y="127609"/>
                      <a:pt x="382890" y="134974"/>
                      <a:pt x="427348" y="177672"/>
                    </a:cubicBezTo>
                    <a:lnTo>
                      <a:pt x="416886" y="169735"/>
                    </a:lnTo>
                    <a:cubicBezTo>
                      <a:pt x="450207" y="202177"/>
                      <a:pt x="478424" y="229744"/>
                      <a:pt x="490885" y="241900"/>
                    </a:cubicBezTo>
                    <a:lnTo>
                      <a:pt x="417150" y="317347"/>
                    </a:lnTo>
                    <a:cubicBezTo>
                      <a:pt x="417744" y="316535"/>
                      <a:pt x="418443" y="316123"/>
                      <a:pt x="419047" y="315822"/>
                    </a:cubicBezTo>
                    <a:cubicBezTo>
                      <a:pt x="389023" y="344426"/>
                      <a:pt x="393138" y="364731"/>
                      <a:pt x="412364" y="369995"/>
                    </a:cubicBezTo>
                    <a:cubicBezTo>
                      <a:pt x="423384" y="371431"/>
                      <a:pt x="431574" y="372075"/>
                      <a:pt x="448067" y="384477"/>
                    </a:cubicBezTo>
                    <a:cubicBezTo>
                      <a:pt x="468221" y="407842"/>
                      <a:pt x="458569" y="429774"/>
                      <a:pt x="448975" y="442400"/>
                    </a:cubicBezTo>
                    <a:cubicBezTo>
                      <a:pt x="437545" y="455314"/>
                      <a:pt x="413423" y="465400"/>
                      <a:pt x="390591" y="447872"/>
                    </a:cubicBezTo>
                    <a:cubicBezTo>
                      <a:pt x="378394" y="438608"/>
                      <a:pt x="373468" y="425034"/>
                      <a:pt x="373800" y="413402"/>
                    </a:cubicBezTo>
                    <a:cubicBezTo>
                      <a:pt x="372696" y="411781"/>
                      <a:pt x="365332" y="370370"/>
                      <a:pt x="322634" y="414828"/>
                    </a:cubicBezTo>
                    <a:lnTo>
                      <a:pt x="325243" y="411388"/>
                    </a:lnTo>
                    <a:lnTo>
                      <a:pt x="248395" y="490020"/>
                    </a:lnTo>
                    <a:cubicBezTo>
                      <a:pt x="208939" y="451897"/>
                      <a:pt x="199129" y="442073"/>
                      <a:pt x="174192" y="418236"/>
                    </a:cubicBezTo>
                    <a:cubicBezTo>
                      <a:pt x="145587" y="388212"/>
                      <a:pt x="125282" y="392327"/>
                      <a:pt x="120018" y="411553"/>
                    </a:cubicBezTo>
                    <a:cubicBezTo>
                      <a:pt x="118582" y="422573"/>
                      <a:pt x="117938" y="430763"/>
                      <a:pt x="105536" y="447256"/>
                    </a:cubicBezTo>
                    <a:cubicBezTo>
                      <a:pt x="82171" y="467410"/>
                      <a:pt x="60239" y="457758"/>
                      <a:pt x="47614" y="448164"/>
                    </a:cubicBezTo>
                    <a:cubicBezTo>
                      <a:pt x="34699" y="436734"/>
                      <a:pt x="24614" y="412612"/>
                      <a:pt x="42141" y="389780"/>
                    </a:cubicBezTo>
                    <a:cubicBezTo>
                      <a:pt x="51405" y="377583"/>
                      <a:pt x="64979" y="372657"/>
                      <a:pt x="76612" y="372989"/>
                    </a:cubicBezTo>
                    <a:cubicBezTo>
                      <a:pt x="78232" y="371886"/>
                      <a:pt x="119644" y="364521"/>
                      <a:pt x="75186" y="321823"/>
                    </a:cubicBezTo>
                    <a:cubicBezTo>
                      <a:pt x="58767" y="305402"/>
                      <a:pt x="23648" y="271235"/>
                      <a:pt x="0" y="248738"/>
                    </a:cubicBezTo>
                    <a:lnTo>
                      <a:pt x="77303" y="168146"/>
                    </a:lnTo>
                    <a:cubicBezTo>
                      <a:pt x="104269" y="140313"/>
                      <a:pt x="122130" y="156409"/>
                      <a:pt x="124388" y="175543"/>
                    </a:cubicBezTo>
                    <a:cubicBezTo>
                      <a:pt x="124457" y="182466"/>
                      <a:pt x="127106" y="193106"/>
                      <a:pt x="137575" y="203052"/>
                    </a:cubicBezTo>
                    <a:cubicBezTo>
                      <a:pt x="153931" y="220277"/>
                      <a:pt x="181252" y="217451"/>
                      <a:pt x="196721" y="201951"/>
                    </a:cubicBezTo>
                    <a:cubicBezTo>
                      <a:pt x="211961" y="185740"/>
                      <a:pt x="213057" y="157882"/>
                      <a:pt x="196146" y="142797"/>
                    </a:cubicBezTo>
                    <a:cubicBezTo>
                      <a:pt x="184301" y="132637"/>
                      <a:pt x="177155" y="131453"/>
                      <a:pt x="166513" y="129894"/>
                    </a:cubicBezTo>
                    <a:cubicBezTo>
                      <a:pt x="154522" y="129013"/>
                      <a:pt x="131185" y="112953"/>
                      <a:pt x="157905" y="85228"/>
                    </a:cubicBezTo>
                    <a:close/>
                  </a:path>
                </a:pathLst>
              </a:custGeom>
              <a:grpFill/>
              <a:ln>
                <a:solidFill>
                  <a:srgbClr val="21734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grpSp>
        <p:sp>
          <p:nvSpPr>
            <p:cNvPr id="77" name="Oval 47"/>
            <p:cNvSpPr/>
            <p:nvPr/>
          </p:nvSpPr>
          <p:spPr>
            <a:xfrm>
              <a:off x="388608" y="3710471"/>
              <a:ext cx="1119626" cy="1119626"/>
            </a:xfrm>
            <a:prstGeom prst="ellipse">
              <a:avLst/>
            </a:prstGeom>
            <a:solidFill>
              <a:srgbClr val="F2C812"/>
            </a:solidFill>
            <a:ln w="3175" cap="flat" cmpd="sng" algn="ctr">
              <a:noFill/>
              <a:prstDash val="solid"/>
            </a:ln>
            <a:effectLst/>
          </p:spPr>
          <p:txBody>
            <a:bodyPr vert="horz" wrap="none" lIns="0" tIns="45720" rIns="0" bIns="0" rtlCol="0" anchor="t"/>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Segoe UI"/>
                  <a:ea typeface="Segoe UI" pitchFamily="34" charset="0"/>
                  <a:cs typeface="Segoe UI" pitchFamily="34" charset="0"/>
                </a:rPr>
                <a:t>Report</a:t>
              </a:r>
            </a:p>
          </p:txBody>
        </p:sp>
        <p:sp>
          <p:nvSpPr>
            <p:cNvPr id="78" name="Oval 950"/>
            <p:cNvSpPr/>
            <p:nvPr/>
          </p:nvSpPr>
          <p:spPr>
            <a:xfrm>
              <a:off x="388608" y="1252295"/>
              <a:ext cx="1119626" cy="1119626"/>
            </a:xfrm>
            <a:prstGeom prst="ellipse">
              <a:avLst/>
            </a:prstGeom>
            <a:solidFill>
              <a:srgbClr val="F2C812"/>
            </a:solidFill>
            <a:ln w="3175" cap="flat" cmpd="sng" algn="ctr">
              <a:noFill/>
              <a:prstDash val="solid"/>
            </a:ln>
            <a:effectLst/>
          </p:spPr>
          <p:txBody>
            <a:bodyPr vert="horz" wrap="none" lIns="0" tIns="45720" rIns="0" bIns="0" rtlCol="0" anchor="t"/>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1" i="0" u="none" strike="noStrike" kern="1200" cap="none" spc="0" normalizeH="0" baseline="0" noProof="0">
                <a:ln>
                  <a:noFill/>
                </a:ln>
                <a:solidFill>
                  <a:srgbClr val="217346"/>
                </a:solidFill>
                <a:effectLst/>
                <a:uLnTx/>
                <a:uFillTx/>
                <a:latin typeface="Segoe UI"/>
                <a:ea typeface="Segoe UI" pitchFamily="34" charset="0"/>
                <a:cs typeface="Segoe UI" pitchFamily="34" charset="0"/>
              </a:endParaRPr>
            </a:p>
          </p:txBody>
        </p:sp>
        <p:grpSp>
          <p:nvGrpSpPr>
            <p:cNvPr id="79" name="Group 78"/>
            <p:cNvGrpSpPr/>
            <p:nvPr/>
          </p:nvGrpSpPr>
          <p:grpSpPr>
            <a:xfrm>
              <a:off x="1264851" y="3482890"/>
              <a:ext cx="292254" cy="354906"/>
              <a:chOff x="1296521" y="3253388"/>
              <a:chExt cx="292254" cy="354906"/>
            </a:xfrm>
            <a:solidFill>
              <a:srgbClr val="F2C812"/>
            </a:solidFill>
          </p:grpSpPr>
          <p:sp>
            <p:nvSpPr>
              <p:cNvPr id="99" name="Isosceles Triangle 98"/>
              <p:cNvSpPr/>
              <p:nvPr/>
            </p:nvSpPr>
            <p:spPr bwMode="auto">
              <a:xfrm rot="13636515">
                <a:off x="1461362" y="328936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0" name="Isosceles Triangle 99"/>
              <p:cNvSpPr/>
              <p:nvPr/>
            </p:nvSpPr>
            <p:spPr bwMode="auto">
              <a:xfrm rot="13636515">
                <a:off x="1357669" y="338258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1" name="Isosceles Triangle 100"/>
              <p:cNvSpPr/>
              <p:nvPr/>
            </p:nvSpPr>
            <p:spPr bwMode="auto">
              <a:xfrm rot="13636515">
                <a:off x="1260548" y="3480882"/>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80" name="Group 79"/>
            <p:cNvGrpSpPr/>
            <p:nvPr/>
          </p:nvGrpSpPr>
          <p:grpSpPr>
            <a:xfrm rot="15940603">
              <a:off x="1334576" y="2204404"/>
              <a:ext cx="292254" cy="354906"/>
              <a:chOff x="1296521" y="3253388"/>
              <a:chExt cx="292254" cy="354906"/>
            </a:xfrm>
            <a:solidFill>
              <a:srgbClr val="F2C812"/>
            </a:solidFill>
          </p:grpSpPr>
          <p:sp>
            <p:nvSpPr>
              <p:cNvPr id="96" name="Isosceles Triangle 95"/>
              <p:cNvSpPr/>
              <p:nvPr/>
            </p:nvSpPr>
            <p:spPr bwMode="auto">
              <a:xfrm rot="13636515">
                <a:off x="1461362" y="328936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7" name="Isosceles Triangle 96"/>
              <p:cNvSpPr/>
              <p:nvPr/>
            </p:nvSpPr>
            <p:spPr bwMode="auto">
              <a:xfrm rot="13636515">
                <a:off x="1357669" y="338258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8" name="Isosceles Triangle 97"/>
              <p:cNvSpPr/>
              <p:nvPr/>
            </p:nvSpPr>
            <p:spPr bwMode="auto">
              <a:xfrm rot="13636515">
                <a:off x="1260548" y="3480882"/>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81" name="Group 80"/>
            <p:cNvGrpSpPr/>
            <p:nvPr/>
          </p:nvGrpSpPr>
          <p:grpSpPr>
            <a:xfrm rot="16043978">
              <a:off x="1317220" y="4717577"/>
              <a:ext cx="292254" cy="354906"/>
              <a:chOff x="1296521" y="3253388"/>
              <a:chExt cx="292254" cy="354906"/>
            </a:xfrm>
            <a:solidFill>
              <a:srgbClr val="F2C812"/>
            </a:solidFill>
          </p:grpSpPr>
          <p:sp>
            <p:nvSpPr>
              <p:cNvPr id="93" name="Isosceles Triangle 92"/>
              <p:cNvSpPr/>
              <p:nvPr/>
            </p:nvSpPr>
            <p:spPr bwMode="auto">
              <a:xfrm rot="13636515">
                <a:off x="1461362" y="328936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4" name="Isosceles Triangle 93"/>
              <p:cNvSpPr/>
              <p:nvPr/>
            </p:nvSpPr>
            <p:spPr bwMode="auto">
              <a:xfrm rot="13636515">
                <a:off x="1357669" y="338258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5" name="Isosceles Triangle 94"/>
              <p:cNvSpPr/>
              <p:nvPr/>
            </p:nvSpPr>
            <p:spPr bwMode="auto">
              <a:xfrm rot="13636515">
                <a:off x="1260548" y="3480882"/>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82" name="Oval 36"/>
            <p:cNvSpPr/>
            <p:nvPr/>
          </p:nvSpPr>
          <p:spPr>
            <a:xfrm>
              <a:off x="1413521" y="2481383"/>
              <a:ext cx="1119626" cy="1119626"/>
            </a:xfrm>
            <a:prstGeom prst="ellipse">
              <a:avLst/>
            </a:prstGeom>
            <a:solidFill>
              <a:srgbClr val="F2C812"/>
            </a:solidFill>
            <a:ln w="3175" cap="flat" cmpd="sng" algn="ctr">
              <a:noFill/>
              <a:prstDash val="solid"/>
            </a:ln>
            <a:effectLst/>
          </p:spPr>
          <p:txBody>
            <a:bodyPr vert="horz" wrap="none" lIns="0" tIns="0" rIns="0" bIns="0" rtlCol="0" anchor="t"/>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400" b="1" i="0" u="none" strike="noStrike" kern="1200" cap="none" spc="0" normalizeH="0" baseline="0" noProof="0">
                <a:ln>
                  <a:noFill/>
                </a:ln>
                <a:solidFill>
                  <a:srgbClr val="217346"/>
                </a:solidFill>
                <a:effectLst/>
                <a:uLnTx/>
                <a:uFillTx/>
                <a:latin typeface="Segoe UI"/>
                <a:ea typeface="Segoe UI" pitchFamily="34" charset="0"/>
                <a:cs typeface="Segoe UI" pitchFamily="34" charset="0"/>
              </a:endParaRPr>
            </a:p>
          </p:txBody>
        </p:sp>
        <p:sp>
          <p:nvSpPr>
            <p:cNvPr id="83" name="Donut 3"/>
            <p:cNvSpPr/>
            <p:nvPr/>
          </p:nvSpPr>
          <p:spPr bwMode="auto">
            <a:xfrm>
              <a:off x="1742065" y="3002355"/>
              <a:ext cx="383905" cy="351537"/>
            </a:xfrm>
            <a:custGeom>
              <a:avLst/>
              <a:gdLst/>
              <a:ahLst/>
              <a:cxnLst/>
              <a:rect l="l" t="t" r="r" b="b"/>
              <a:pathLst>
                <a:path w="1409956" h="1291077">
                  <a:moveTo>
                    <a:pt x="956401" y="78410"/>
                  </a:moveTo>
                  <a:cubicBezTo>
                    <a:pt x="747518" y="78410"/>
                    <a:pt x="578184" y="247744"/>
                    <a:pt x="578184" y="456627"/>
                  </a:cubicBezTo>
                  <a:cubicBezTo>
                    <a:pt x="578184" y="665510"/>
                    <a:pt x="747518" y="834844"/>
                    <a:pt x="956401" y="834844"/>
                  </a:cubicBezTo>
                  <a:cubicBezTo>
                    <a:pt x="1165284" y="834844"/>
                    <a:pt x="1334618" y="665510"/>
                    <a:pt x="1334618" y="456627"/>
                  </a:cubicBezTo>
                  <a:cubicBezTo>
                    <a:pt x="1334618" y="247744"/>
                    <a:pt x="1165284" y="78410"/>
                    <a:pt x="956401" y="78410"/>
                  </a:cubicBezTo>
                  <a:close/>
                  <a:moveTo>
                    <a:pt x="952756" y="0"/>
                  </a:moveTo>
                  <a:cubicBezTo>
                    <a:pt x="1205261" y="0"/>
                    <a:pt x="1409956" y="204695"/>
                    <a:pt x="1409956" y="457200"/>
                  </a:cubicBezTo>
                  <a:cubicBezTo>
                    <a:pt x="1409956" y="709705"/>
                    <a:pt x="1205261" y="914400"/>
                    <a:pt x="952756" y="914400"/>
                  </a:cubicBezTo>
                  <a:cubicBezTo>
                    <a:pt x="862133" y="914400"/>
                    <a:pt x="777669" y="888034"/>
                    <a:pt x="707132" y="841746"/>
                  </a:cubicBezTo>
                  <a:lnTo>
                    <a:pt x="136495" y="1280102"/>
                  </a:lnTo>
                  <a:cubicBezTo>
                    <a:pt x="21896" y="1327168"/>
                    <a:pt x="-44029" y="1213730"/>
                    <a:pt x="33797" y="1113182"/>
                  </a:cubicBezTo>
                  <a:lnTo>
                    <a:pt x="568587" y="703518"/>
                  </a:lnTo>
                  <a:cubicBezTo>
                    <a:pt x="522087" y="632814"/>
                    <a:pt x="495556" y="548105"/>
                    <a:pt x="495556" y="457200"/>
                  </a:cubicBezTo>
                  <a:cubicBezTo>
                    <a:pt x="495556" y="204695"/>
                    <a:pt x="700251" y="0"/>
                    <a:pt x="952756" y="0"/>
                  </a:cubicBezTo>
                  <a:close/>
                </a:path>
              </a:pathLst>
            </a:cu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sp>
          <p:nvSpPr>
            <p:cNvPr id="84" name="Rectangle 83"/>
            <p:cNvSpPr/>
            <p:nvPr/>
          </p:nvSpPr>
          <p:spPr>
            <a:xfrm>
              <a:off x="1600398" y="2677430"/>
              <a:ext cx="820353" cy="307777"/>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Segoe UI"/>
                  <a:ea typeface="Segoe UI" pitchFamily="34" charset="0"/>
                  <a:cs typeface="Segoe UI" pitchFamily="34" charset="0"/>
                </a:rPr>
                <a:t>Explore</a:t>
              </a:r>
              <a:endParaRPr kumimoji="0" lang="en-US" sz="1600" b="0" i="0" u="none" strike="noStrike" kern="1200" cap="none" spc="0" normalizeH="0" baseline="0" noProof="0">
                <a:ln>
                  <a:noFill/>
                </a:ln>
                <a:solidFill>
                  <a:srgbClr val="000000"/>
                </a:solidFill>
                <a:effectLst/>
                <a:uLnTx/>
                <a:uFillTx/>
                <a:latin typeface="Segoe UI"/>
                <a:ea typeface="+mn-ea"/>
                <a:cs typeface="+mn-cs"/>
              </a:endParaRPr>
            </a:p>
          </p:txBody>
        </p:sp>
        <p:sp>
          <p:nvSpPr>
            <p:cNvPr id="85" name="Rectangle 84"/>
            <p:cNvSpPr/>
            <p:nvPr/>
          </p:nvSpPr>
          <p:spPr>
            <a:xfrm>
              <a:off x="509174" y="1475232"/>
              <a:ext cx="838756" cy="307777"/>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Segoe UI"/>
                  <a:ea typeface="Segoe UI" pitchFamily="34" charset="0"/>
                  <a:cs typeface="Segoe UI" pitchFamily="34" charset="0"/>
                </a:rPr>
                <a:t>Prepare</a:t>
              </a: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86" name="Freeform 85"/>
            <p:cNvSpPr>
              <a:spLocks noChangeAspect="1"/>
            </p:cNvSpPr>
            <p:nvPr/>
          </p:nvSpPr>
          <p:spPr bwMode="black">
            <a:xfrm>
              <a:off x="1836174" y="5643069"/>
              <a:ext cx="274320" cy="284173"/>
            </a:xfrm>
            <a:custGeom>
              <a:avLst/>
              <a:gdLst>
                <a:gd name="T0" fmla="*/ 539 w 669"/>
                <a:gd name="T1" fmla="*/ 5 h 693"/>
                <a:gd name="T2" fmla="*/ 640 w 669"/>
                <a:gd name="T3" fmla="*/ 55 h 693"/>
                <a:gd name="T4" fmla="*/ 603 w 669"/>
                <a:gd name="T5" fmla="*/ 195 h 693"/>
                <a:gd name="T6" fmla="*/ 490 w 669"/>
                <a:gd name="T7" fmla="*/ 188 h 693"/>
                <a:gd name="T8" fmla="*/ 479 w 669"/>
                <a:gd name="T9" fmla="*/ 176 h 693"/>
                <a:gd name="T10" fmla="*/ 213 w 669"/>
                <a:gd name="T11" fmla="*/ 330 h 693"/>
                <a:gd name="T12" fmla="*/ 218 w 669"/>
                <a:gd name="T13" fmla="*/ 345 h 693"/>
                <a:gd name="T14" fmla="*/ 218 w 669"/>
                <a:gd name="T15" fmla="*/ 375 h 693"/>
                <a:gd name="T16" fmla="*/ 209 w 669"/>
                <a:gd name="T17" fmla="*/ 402 h 693"/>
                <a:gd name="T18" fmla="*/ 369 w 669"/>
                <a:gd name="T19" fmla="*/ 503 h 693"/>
                <a:gd name="T20" fmla="*/ 373 w 669"/>
                <a:gd name="T21" fmla="*/ 498 h 693"/>
                <a:gd name="T22" fmla="*/ 456 w 669"/>
                <a:gd name="T23" fmla="*/ 475 h 693"/>
                <a:gd name="T24" fmla="*/ 494 w 669"/>
                <a:gd name="T25" fmla="*/ 489 h 693"/>
                <a:gd name="T26" fmla="*/ 527 w 669"/>
                <a:gd name="T27" fmla="*/ 630 h 693"/>
                <a:gd name="T28" fmla="*/ 386 w 669"/>
                <a:gd name="T29" fmla="*/ 663 h 693"/>
                <a:gd name="T30" fmla="*/ 339 w 669"/>
                <a:gd name="T31" fmla="*/ 560 h 693"/>
                <a:gd name="T32" fmla="*/ 345 w 669"/>
                <a:gd name="T33" fmla="*/ 544 h 693"/>
                <a:gd name="T34" fmla="*/ 177 w 669"/>
                <a:gd name="T35" fmla="*/ 439 h 693"/>
                <a:gd name="T36" fmla="*/ 168 w 669"/>
                <a:gd name="T37" fmla="*/ 446 h 693"/>
                <a:gd name="T38" fmla="*/ 28 w 669"/>
                <a:gd name="T39" fmla="*/ 409 h 693"/>
                <a:gd name="T40" fmla="*/ 65 w 669"/>
                <a:gd name="T41" fmla="*/ 269 h 693"/>
                <a:gd name="T42" fmla="*/ 178 w 669"/>
                <a:gd name="T43" fmla="*/ 276 h 693"/>
                <a:gd name="T44" fmla="*/ 189 w 669"/>
                <a:gd name="T45" fmla="*/ 288 h 693"/>
                <a:gd name="T46" fmla="*/ 455 w 669"/>
                <a:gd name="T47" fmla="*/ 134 h 693"/>
                <a:gd name="T48" fmla="*/ 450 w 669"/>
                <a:gd name="T49" fmla="*/ 119 h 693"/>
                <a:gd name="T50" fmla="*/ 501 w 669"/>
                <a:gd name="T51" fmla="*/ 18 h 693"/>
                <a:gd name="T52" fmla="*/ 539 w 669"/>
                <a:gd name="T53" fmla="*/ 5 h 6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69" h="693">
                  <a:moveTo>
                    <a:pt x="539" y="5"/>
                  </a:moveTo>
                  <a:cubicBezTo>
                    <a:pt x="579" y="0"/>
                    <a:pt x="619" y="19"/>
                    <a:pt x="640" y="55"/>
                  </a:cubicBezTo>
                  <a:cubicBezTo>
                    <a:pt x="669" y="104"/>
                    <a:pt x="652" y="167"/>
                    <a:pt x="603" y="195"/>
                  </a:cubicBezTo>
                  <a:cubicBezTo>
                    <a:pt x="566" y="216"/>
                    <a:pt x="522" y="212"/>
                    <a:pt x="490" y="188"/>
                  </a:cubicBezTo>
                  <a:cubicBezTo>
                    <a:pt x="479" y="176"/>
                    <a:pt x="479" y="176"/>
                    <a:pt x="479" y="176"/>
                  </a:cubicBezTo>
                  <a:cubicBezTo>
                    <a:pt x="213" y="330"/>
                    <a:pt x="213" y="330"/>
                    <a:pt x="213" y="330"/>
                  </a:cubicBezTo>
                  <a:cubicBezTo>
                    <a:pt x="218" y="345"/>
                    <a:pt x="218" y="345"/>
                    <a:pt x="218" y="345"/>
                  </a:cubicBezTo>
                  <a:cubicBezTo>
                    <a:pt x="219" y="355"/>
                    <a:pt x="219" y="365"/>
                    <a:pt x="218" y="375"/>
                  </a:cubicBezTo>
                  <a:cubicBezTo>
                    <a:pt x="209" y="402"/>
                    <a:pt x="209" y="402"/>
                    <a:pt x="209" y="402"/>
                  </a:cubicBezTo>
                  <a:cubicBezTo>
                    <a:pt x="369" y="503"/>
                    <a:pt x="369" y="503"/>
                    <a:pt x="369" y="503"/>
                  </a:cubicBezTo>
                  <a:cubicBezTo>
                    <a:pt x="373" y="498"/>
                    <a:pt x="373" y="498"/>
                    <a:pt x="373" y="498"/>
                  </a:cubicBezTo>
                  <a:cubicBezTo>
                    <a:pt x="396" y="479"/>
                    <a:pt x="427" y="470"/>
                    <a:pt x="456" y="475"/>
                  </a:cubicBezTo>
                  <a:cubicBezTo>
                    <a:pt x="470" y="477"/>
                    <a:pt x="482" y="482"/>
                    <a:pt x="494" y="489"/>
                  </a:cubicBezTo>
                  <a:cubicBezTo>
                    <a:pt x="542" y="519"/>
                    <a:pt x="557" y="583"/>
                    <a:pt x="527" y="630"/>
                  </a:cubicBezTo>
                  <a:cubicBezTo>
                    <a:pt x="497" y="678"/>
                    <a:pt x="433" y="693"/>
                    <a:pt x="386" y="663"/>
                  </a:cubicBezTo>
                  <a:cubicBezTo>
                    <a:pt x="350" y="640"/>
                    <a:pt x="333" y="599"/>
                    <a:pt x="339" y="560"/>
                  </a:cubicBezTo>
                  <a:cubicBezTo>
                    <a:pt x="345" y="544"/>
                    <a:pt x="345" y="544"/>
                    <a:pt x="345" y="544"/>
                  </a:cubicBezTo>
                  <a:cubicBezTo>
                    <a:pt x="177" y="439"/>
                    <a:pt x="177" y="439"/>
                    <a:pt x="177" y="439"/>
                  </a:cubicBezTo>
                  <a:cubicBezTo>
                    <a:pt x="168" y="446"/>
                    <a:pt x="168" y="446"/>
                    <a:pt x="168" y="446"/>
                  </a:cubicBezTo>
                  <a:cubicBezTo>
                    <a:pt x="119" y="475"/>
                    <a:pt x="56" y="458"/>
                    <a:pt x="28" y="409"/>
                  </a:cubicBezTo>
                  <a:cubicBezTo>
                    <a:pt x="0" y="360"/>
                    <a:pt x="16" y="297"/>
                    <a:pt x="65" y="269"/>
                  </a:cubicBezTo>
                  <a:cubicBezTo>
                    <a:pt x="102" y="248"/>
                    <a:pt x="147" y="252"/>
                    <a:pt x="178" y="276"/>
                  </a:cubicBezTo>
                  <a:cubicBezTo>
                    <a:pt x="189" y="288"/>
                    <a:pt x="189" y="288"/>
                    <a:pt x="189" y="288"/>
                  </a:cubicBezTo>
                  <a:cubicBezTo>
                    <a:pt x="455" y="134"/>
                    <a:pt x="455" y="134"/>
                    <a:pt x="455" y="134"/>
                  </a:cubicBezTo>
                  <a:cubicBezTo>
                    <a:pt x="450" y="119"/>
                    <a:pt x="450" y="119"/>
                    <a:pt x="450" y="119"/>
                  </a:cubicBezTo>
                  <a:cubicBezTo>
                    <a:pt x="445" y="80"/>
                    <a:pt x="464" y="39"/>
                    <a:pt x="501" y="18"/>
                  </a:cubicBezTo>
                  <a:cubicBezTo>
                    <a:pt x="513" y="11"/>
                    <a:pt x="526" y="6"/>
                    <a:pt x="539" y="5"/>
                  </a:cubicBezTo>
                  <a:close/>
                </a:path>
              </a:pathLst>
            </a:custGeom>
            <a:solidFill>
              <a:schemeClr val="tx1"/>
            </a:solidFill>
            <a:ln>
              <a:noFill/>
            </a:ln>
          </p:spPr>
          <p:txBody>
            <a:bodyPr vert="horz" wrap="square" lIns="68574" tIns="34287" rIns="68574" bIns="34287"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0000"/>
                </a:solidFill>
                <a:effectLst/>
                <a:uLnTx/>
                <a:uFillTx/>
                <a:latin typeface="Segoe UI"/>
                <a:ea typeface="+mn-ea"/>
                <a:cs typeface="+mn-cs"/>
              </a:endParaRPr>
            </a:p>
          </p:txBody>
        </p:sp>
        <p:sp>
          <p:nvSpPr>
            <p:cNvPr id="87" name="Freeform 86"/>
            <p:cNvSpPr>
              <a:spLocks noChangeAspect="1" noEditPoints="1"/>
            </p:cNvSpPr>
            <p:nvPr/>
          </p:nvSpPr>
          <p:spPr bwMode="black">
            <a:xfrm>
              <a:off x="722320" y="1783009"/>
              <a:ext cx="452202" cy="366660"/>
            </a:xfrm>
            <a:custGeom>
              <a:avLst/>
              <a:gdLst>
                <a:gd name="T0" fmla="*/ 600 w 1107"/>
                <a:gd name="T1" fmla="*/ 625 h 897"/>
                <a:gd name="T2" fmla="*/ 649 w 1107"/>
                <a:gd name="T3" fmla="*/ 567 h 897"/>
                <a:gd name="T4" fmla="*/ 727 w 1107"/>
                <a:gd name="T5" fmla="*/ 482 h 897"/>
                <a:gd name="T6" fmla="*/ 601 w 1107"/>
                <a:gd name="T7" fmla="*/ 434 h 897"/>
                <a:gd name="T8" fmla="*/ 628 w 1107"/>
                <a:gd name="T9" fmla="*/ 305 h 897"/>
                <a:gd name="T10" fmla="*/ 547 w 1107"/>
                <a:gd name="T11" fmla="*/ 240 h 897"/>
                <a:gd name="T12" fmla="*/ 427 w 1107"/>
                <a:gd name="T13" fmla="*/ 287 h 897"/>
                <a:gd name="T14" fmla="*/ 368 w 1107"/>
                <a:gd name="T15" fmla="*/ 170 h 897"/>
                <a:gd name="T16" fmla="*/ 285 w 1107"/>
                <a:gd name="T17" fmla="*/ 263 h 897"/>
                <a:gd name="T18" fmla="*/ 241 w 1107"/>
                <a:gd name="T19" fmla="*/ 313 h 897"/>
                <a:gd name="T20" fmla="*/ 139 w 1107"/>
                <a:gd name="T21" fmla="*/ 281 h 897"/>
                <a:gd name="T22" fmla="*/ 79 w 1107"/>
                <a:gd name="T23" fmla="*/ 355 h 897"/>
                <a:gd name="T24" fmla="*/ 132 w 1107"/>
                <a:gd name="T25" fmla="*/ 446 h 897"/>
                <a:gd name="T26" fmla="*/ 83 w 1107"/>
                <a:gd name="T27" fmla="*/ 505 h 897"/>
                <a:gd name="T28" fmla="*/ 5 w 1107"/>
                <a:gd name="T29" fmla="*/ 590 h 897"/>
                <a:gd name="T30" fmla="*/ 132 w 1107"/>
                <a:gd name="T31" fmla="*/ 638 h 897"/>
                <a:gd name="T32" fmla="*/ 145 w 1107"/>
                <a:gd name="T33" fmla="*/ 669 h 897"/>
                <a:gd name="T34" fmla="*/ 110 w 1107"/>
                <a:gd name="T35" fmla="*/ 793 h 897"/>
                <a:gd name="T36" fmla="*/ 230 w 1107"/>
                <a:gd name="T37" fmla="*/ 781 h 897"/>
                <a:gd name="T38" fmla="*/ 306 w 1107"/>
                <a:gd name="T39" fmla="*/ 785 h 897"/>
                <a:gd name="T40" fmla="*/ 346 w 1107"/>
                <a:gd name="T41" fmla="*/ 878 h 897"/>
                <a:gd name="T42" fmla="*/ 440 w 1107"/>
                <a:gd name="T43" fmla="*/ 872 h 897"/>
                <a:gd name="T44" fmla="*/ 466 w 1107"/>
                <a:gd name="T45" fmla="*/ 764 h 897"/>
                <a:gd name="T46" fmla="*/ 539 w 1107"/>
                <a:gd name="T47" fmla="*/ 755 h 897"/>
                <a:gd name="T48" fmla="*/ 659 w 1107"/>
                <a:gd name="T49" fmla="*/ 743 h 897"/>
                <a:gd name="T50" fmla="*/ 263 w 1107"/>
                <a:gd name="T51" fmla="*/ 452 h 897"/>
                <a:gd name="T52" fmla="*/ 281 w 1107"/>
                <a:gd name="T53" fmla="*/ 633 h 897"/>
                <a:gd name="T54" fmla="*/ 1002 w 1107"/>
                <a:gd name="T55" fmla="*/ 332 h 897"/>
                <a:gd name="T56" fmla="*/ 1043 w 1107"/>
                <a:gd name="T57" fmla="*/ 304 h 897"/>
                <a:gd name="T58" fmla="*/ 1107 w 1107"/>
                <a:gd name="T59" fmla="*/ 266 h 897"/>
                <a:gd name="T60" fmla="*/ 1037 w 1107"/>
                <a:gd name="T61" fmla="*/ 213 h 897"/>
                <a:gd name="T62" fmla="*/ 1077 w 1107"/>
                <a:gd name="T63" fmla="*/ 138 h 897"/>
                <a:gd name="T64" fmla="*/ 1038 w 1107"/>
                <a:gd name="T65" fmla="*/ 83 h 897"/>
                <a:gd name="T66" fmla="*/ 956 w 1107"/>
                <a:gd name="T67" fmla="*/ 91 h 897"/>
                <a:gd name="T68" fmla="*/ 940 w 1107"/>
                <a:gd name="T69" fmla="*/ 7 h 897"/>
                <a:gd name="T70" fmla="*/ 872 w 1107"/>
                <a:gd name="T71" fmla="*/ 50 h 897"/>
                <a:gd name="T72" fmla="*/ 836 w 1107"/>
                <a:gd name="T73" fmla="*/ 74 h 897"/>
                <a:gd name="T74" fmla="*/ 778 w 1107"/>
                <a:gd name="T75" fmla="*/ 35 h 897"/>
                <a:gd name="T76" fmla="*/ 728 w 1107"/>
                <a:gd name="T77" fmla="*/ 70 h 897"/>
                <a:gd name="T78" fmla="*/ 744 w 1107"/>
                <a:gd name="T79" fmla="*/ 136 h 897"/>
                <a:gd name="T80" fmla="*/ 703 w 1107"/>
                <a:gd name="T81" fmla="*/ 164 h 897"/>
                <a:gd name="T82" fmla="*/ 640 w 1107"/>
                <a:gd name="T83" fmla="*/ 203 h 897"/>
                <a:gd name="T84" fmla="*/ 710 w 1107"/>
                <a:gd name="T85" fmla="*/ 255 h 897"/>
                <a:gd name="T86" fmla="*/ 712 w 1107"/>
                <a:gd name="T87" fmla="*/ 277 h 897"/>
                <a:gd name="T88" fmla="*/ 668 w 1107"/>
                <a:gd name="T89" fmla="*/ 347 h 897"/>
                <a:gd name="T90" fmla="*/ 745 w 1107"/>
                <a:gd name="T91" fmla="*/ 361 h 897"/>
                <a:gd name="T92" fmla="*/ 791 w 1107"/>
                <a:gd name="T93" fmla="*/ 377 h 897"/>
                <a:gd name="T94" fmla="*/ 799 w 1107"/>
                <a:gd name="T95" fmla="*/ 443 h 897"/>
                <a:gd name="T96" fmla="*/ 859 w 1107"/>
                <a:gd name="T97" fmla="*/ 456 h 897"/>
                <a:gd name="T98" fmla="*/ 894 w 1107"/>
                <a:gd name="T99" fmla="*/ 393 h 897"/>
                <a:gd name="T100" fmla="*/ 941 w 1107"/>
                <a:gd name="T101" fmla="*/ 401 h 897"/>
                <a:gd name="T102" fmla="*/ 1018 w 1107"/>
                <a:gd name="T103" fmla="*/ 415 h 897"/>
                <a:gd name="T104" fmla="*/ 825 w 1107"/>
                <a:gd name="T105" fmla="*/ 164 h 897"/>
                <a:gd name="T106" fmla="*/ 803 w 1107"/>
                <a:gd name="T107" fmla="*/ 279 h 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107" h="897">
                  <a:moveTo>
                    <a:pt x="654" y="716"/>
                  </a:moveTo>
                  <a:cubicBezTo>
                    <a:pt x="616" y="670"/>
                    <a:pt x="616" y="670"/>
                    <a:pt x="616" y="670"/>
                  </a:cubicBezTo>
                  <a:cubicBezTo>
                    <a:pt x="593" y="654"/>
                    <a:pt x="603" y="638"/>
                    <a:pt x="600" y="625"/>
                  </a:cubicBezTo>
                  <a:cubicBezTo>
                    <a:pt x="600" y="625"/>
                    <a:pt x="600" y="625"/>
                    <a:pt x="600" y="625"/>
                  </a:cubicBezTo>
                  <a:cubicBezTo>
                    <a:pt x="605" y="617"/>
                    <a:pt x="611" y="609"/>
                    <a:pt x="608" y="596"/>
                  </a:cubicBezTo>
                  <a:cubicBezTo>
                    <a:pt x="618" y="580"/>
                    <a:pt x="623" y="572"/>
                    <a:pt x="649" y="567"/>
                  </a:cubicBezTo>
                  <a:cubicBezTo>
                    <a:pt x="715" y="553"/>
                    <a:pt x="715" y="553"/>
                    <a:pt x="715" y="553"/>
                  </a:cubicBezTo>
                  <a:cubicBezTo>
                    <a:pt x="728" y="550"/>
                    <a:pt x="733" y="542"/>
                    <a:pt x="730" y="529"/>
                  </a:cubicBezTo>
                  <a:cubicBezTo>
                    <a:pt x="727" y="482"/>
                    <a:pt x="727" y="482"/>
                    <a:pt x="727" y="482"/>
                  </a:cubicBezTo>
                  <a:cubicBezTo>
                    <a:pt x="724" y="469"/>
                    <a:pt x="717" y="463"/>
                    <a:pt x="701" y="453"/>
                  </a:cubicBezTo>
                  <a:cubicBezTo>
                    <a:pt x="641" y="459"/>
                    <a:pt x="641" y="459"/>
                    <a:pt x="641" y="459"/>
                  </a:cubicBezTo>
                  <a:cubicBezTo>
                    <a:pt x="620" y="457"/>
                    <a:pt x="604" y="447"/>
                    <a:pt x="601" y="434"/>
                  </a:cubicBezTo>
                  <a:cubicBezTo>
                    <a:pt x="598" y="421"/>
                    <a:pt x="590" y="416"/>
                    <a:pt x="580" y="397"/>
                  </a:cubicBezTo>
                  <a:cubicBezTo>
                    <a:pt x="577" y="384"/>
                    <a:pt x="574" y="371"/>
                    <a:pt x="584" y="355"/>
                  </a:cubicBezTo>
                  <a:cubicBezTo>
                    <a:pt x="628" y="305"/>
                    <a:pt x="628" y="305"/>
                    <a:pt x="628" y="305"/>
                  </a:cubicBezTo>
                  <a:cubicBezTo>
                    <a:pt x="634" y="297"/>
                    <a:pt x="631" y="284"/>
                    <a:pt x="623" y="279"/>
                  </a:cubicBezTo>
                  <a:cubicBezTo>
                    <a:pt x="581" y="240"/>
                    <a:pt x="581" y="240"/>
                    <a:pt x="581" y="240"/>
                  </a:cubicBezTo>
                  <a:cubicBezTo>
                    <a:pt x="573" y="235"/>
                    <a:pt x="560" y="238"/>
                    <a:pt x="547" y="240"/>
                  </a:cubicBezTo>
                  <a:cubicBezTo>
                    <a:pt x="503" y="291"/>
                    <a:pt x="503" y="291"/>
                    <a:pt x="503" y="291"/>
                  </a:cubicBezTo>
                  <a:cubicBezTo>
                    <a:pt x="484" y="302"/>
                    <a:pt x="471" y="304"/>
                    <a:pt x="463" y="299"/>
                  </a:cubicBezTo>
                  <a:cubicBezTo>
                    <a:pt x="456" y="294"/>
                    <a:pt x="435" y="292"/>
                    <a:pt x="427" y="287"/>
                  </a:cubicBezTo>
                  <a:cubicBezTo>
                    <a:pt x="419" y="282"/>
                    <a:pt x="403" y="271"/>
                    <a:pt x="400" y="258"/>
                  </a:cubicBezTo>
                  <a:cubicBezTo>
                    <a:pt x="386" y="193"/>
                    <a:pt x="386" y="193"/>
                    <a:pt x="386" y="193"/>
                  </a:cubicBezTo>
                  <a:cubicBezTo>
                    <a:pt x="384" y="180"/>
                    <a:pt x="368" y="170"/>
                    <a:pt x="368" y="170"/>
                  </a:cubicBezTo>
                  <a:cubicBezTo>
                    <a:pt x="308" y="176"/>
                    <a:pt x="308" y="176"/>
                    <a:pt x="308" y="176"/>
                  </a:cubicBezTo>
                  <a:cubicBezTo>
                    <a:pt x="308" y="176"/>
                    <a:pt x="289" y="187"/>
                    <a:pt x="292" y="200"/>
                  </a:cubicBezTo>
                  <a:cubicBezTo>
                    <a:pt x="285" y="263"/>
                    <a:pt x="285" y="263"/>
                    <a:pt x="285" y="263"/>
                  </a:cubicBezTo>
                  <a:cubicBezTo>
                    <a:pt x="291" y="289"/>
                    <a:pt x="277" y="292"/>
                    <a:pt x="272" y="300"/>
                  </a:cubicBezTo>
                  <a:cubicBezTo>
                    <a:pt x="272" y="300"/>
                    <a:pt x="272" y="300"/>
                    <a:pt x="267" y="308"/>
                  </a:cubicBezTo>
                  <a:cubicBezTo>
                    <a:pt x="259" y="302"/>
                    <a:pt x="246" y="305"/>
                    <a:pt x="241" y="313"/>
                  </a:cubicBezTo>
                  <a:cubicBezTo>
                    <a:pt x="236" y="321"/>
                    <a:pt x="236" y="321"/>
                    <a:pt x="236" y="321"/>
                  </a:cubicBezTo>
                  <a:cubicBezTo>
                    <a:pt x="223" y="324"/>
                    <a:pt x="210" y="327"/>
                    <a:pt x="194" y="317"/>
                  </a:cubicBezTo>
                  <a:cubicBezTo>
                    <a:pt x="139" y="281"/>
                    <a:pt x="139" y="281"/>
                    <a:pt x="139" y="281"/>
                  </a:cubicBezTo>
                  <a:cubicBezTo>
                    <a:pt x="131" y="276"/>
                    <a:pt x="110" y="273"/>
                    <a:pt x="104" y="281"/>
                  </a:cubicBezTo>
                  <a:cubicBezTo>
                    <a:pt x="79" y="321"/>
                    <a:pt x="79" y="321"/>
                    <a:pt x="79" y="321"/>
                  </a:cubicBezTo>
                  <a:cubicBezTo>
                    <a:pt x="66" y="324"/>
                    <a:pt x="68" y="337"/>
                    <a:pt x="79" y="355"/>
                  </a:cubicBezTo>
                  <a:cubicBezTo>
                    <a:pt x="121" y="394"/>
                    <a:pt x="121" y="394"/>
                    <a:pt x="121" y="394"/>
                  </a:cubicBezTo>
                  <a:cubicBezTo>
                    <a:pt x="140" y="417"/>
                    <a:pt x="135" y="425"/>
                    <a:pt x="132" y="446"/>
                  </a:cubicBezTo>
                  <a:cubicBezTo>
                    <a:pt x="132" y="446"/>
                    <a:pt x="132" y="446"/>
                    <a:pt x="132" y="446"/>
                  </a:cubicBezTo>
                  <a:cubicBezTo>
                    <a:pt x="127" y="454"/>
                    <a:pt x="122" y="462"/>
                    <a:pt x="117" y="470"/>
                  </a:cubicBezTo>
                  <a:cubicBezTo>
                    <a:pt x="117" y="470"/>
                    <a:pt x="117" y="470"/>
                    <a:pt x="117" y="470"/>
                  </a:cubicBezTo>
                  <a:cubicBezTo>
                    <a:pt x="120" y="483"/>
                    <a:pt x="109" y="499"/>
                    <a:pt x="83" y="505"/>
                  </a:cubicBezTo>
                  <a:cubicBezTo>
                    <a:pt x="23" y="511"/>
                    <a:pt x="23" y="511"/>
                    <a:pt x="23" y="511"/>
                  </a:cubicBezTo>
                  <a:cubicBezTo>
                    <a:pt x="10" y="514"/>
                    <a:pt x="0" y="529"/>
                    <a:pt x="2" y="543"/>
                  </a:cubicBezTo>
                  <a:cubicBezTo>
                    <a:pt x="5" y="590"/>
                    <a:pt x="5" y="590"/>
                    <a:pt x="5" y="590"/>
                  </a:cubicBezTo>
                  <a:cubicBezTo>
                    <a:pt x="8" y="603"/>
                    <a:pt x="16" y="608"/>
                    <a:pt x="37" y="610"/>
                  </a:cubicBezTo>
                  <a:cubicBezTo>
                    <a:pt x="92" y="612"/>
                    <a:pt x="92" y="612"/>
                    <a:pt x="92" y="612"/>
                  </a:cubicBezTo>
                  <a:cubicBezTo>
                    <a:pt x="113" y="614"/>
                    <a:pt x="129" y="625"/>
                    <a:pt x="132" y="638"/>
                  </a:cubicBezTo>
                  <a:cubicBezTo>
                    <a:pt x="132" y="638"/>
                    <a:pt x="132" y="638"/>
                    <a:pt x="132" y="638"/>
                  </a:cubicBezTo>
                  <a:cubicBezTo>
                    <a:pt x="140" y="643"/>
                    <a:pt x="142" y="656"/>
                    <a:pt x="150" y="661"/>
                  </a:cubicBezTo>
                  <a:cubicBezTo>
                    <a:pt x="145" y="669"/>
                    <a:pt x="145" y="669"/>
                    <a:pt x="145" y="669"/>
                  </a:cubicBezTo>
                  <a:cubicBezTo>
                    <a:pt x="153" y="674"/>
                    <a:pt x="156" y="687"/>
                    <a:pt x="140" y="711"/>
                  </a:cubicBezTo>
                  <a:cubicBezTo>
                    <a:pt x="109" y="759"/>
                    <a:pt x="109" y="759"/>
                    <a:pt x="109" y="759"/>
                  </a:cubicBezTo>
                  <a:cubicBezTo>
                    <a:pt x="99" y="775"/>
                    <a:pt x="102" y="788"/>
                    <a:pt x="110" y="793"/>
                  </a:cubicBezTo>
                  <a:cubicBezTo>
                    <a:pt x="152" y="832"/>
                    <a:pt x="152" y="832"/>
                    <a:pt x="152" y="832"/>
                  </a:cubicBezTo>
                  <a:cubicBezTo>
                    <a:pt x="160" y="837"/>
                    <a:pt x="173" y="834"/>
                    <a:pt x="178" y="826"/>
                  </a:cubicBezTo>
                  <a:cubicBezTo>
                    <a:pt x="230" y="781"/>
                    <a:pt x="230" y="781"/>
                    <a:pt x="230" y="781"/>
                  </a:cubicBezTo>
                  <a:cubicBezTo>
                    <a:pt x="248" y="770"/>
                    <a:pt x="261" y="767"/>
                    <a:pt x="269" y="772"/>
                  </a:cubicBezTo>
                  <a:cubicBezTo>
                    <a:pt x="269" y="772"/>
                    <a:pt x="269" y="772"/>
                    <a:pt x="269" y="772"/>
                  </a:cubicBezTo>
                  <a:cubicBezTo>
                    <a:pt x="282" y="769"/>
                    <a:pt x="298" y="779"/>
                    <a:pt x="306" y="785"/>
                  </a:cubicBezTo>
                  <a:cubicBezTo>
                    <a:pt x="306" y="785"/>
                    <a:pt x="306" y="785"/>
                    <a:pt x="306" y="785"/>
                  </a:cubicBezTo>
                  <a:cubicBezTo>
                    <a:pt x="319" y="782"/>
                    <a:pt x="327" y="787"/>
                    <a:pt x="332" y="813"/>
                  </a:cubicBezTo>
                  <a:cubicBezTo>
                    <a:pt x="346" y="878"/>
                    <a:pt x="346" y="878"/>
                    <a:pt x="346" y="878"/>
                  </a:cubicBezTo>
                  <a:cubicBezTo>
                    <a:pt x="349" y="892"/>
                    <a:pt x="357" y="897"/>
                    <a:pt x="370" y="894"/>
                  </a:cubicBezTo>
                  <a:cubicBezTo>
                    <a:pt x="425" y="896"/>
                    <a:pt x="425" y="896"/>
                    <a:pt x="425" y="896"/>
                  </a:cubicBezTo>
                  <a:cubicBezTo>
                    <a:pt x="430" y="888"/>
                    <a:pt x="443" y="885"/>
                    <a:pt x="440" y="872"/>
                  </a:cubicBezTo>
                  <a:cubicBezTo>
                    <a:pt x="440" y="804"/>
                    <a:pt x="440" y="804"/>
                    <a:pt x="440" y="804"/>
                  </a:cubicBezTo>
                  <a:cubicBezTo>
                    <a:pt x="442" y="783"/>
                    <a:pt x="460" y="772"/>
                    <a:pt x="466" y="764"/>
                  </a:cubicBezTo>
                  <a:cubicBezTo>
                    <a:pt x="466" y="764"/>
                    <a:pt x="466" y="764"/>
                    <a:pt x="466" y="764"/>
                  </a:cubicBezTo>
                  <a:cubicBezTo>
                    <a:pt x="479" y="761"/>
                    <a:pt x="492" y="758"/>
                    <a:pt x="497" y="750"/>
                  </a:cubicBezTo>
                  <a:cubicBezTo>
                    <a:pt x="497" y="750"/>
                    <a:pt x="497" y="750"/>
                    <a:pt x="497" y="750"/>
                  </a:cubicBezTo>
                  <a:cubicBezTo>
                    <a:pt x="510" y="747"/>
                    <a:pt x="523" y="745"/>
                    <a:pt x="539" y="755"/>
                  </a:cubicBezTo>
                  <a:cubicBezTo>
                    <a:pt x="594" y="791"/>
                    <a:pt x="594" y="791"/>
                    <a:pt x="594" y="791"/>
                  </a:cubicBezTo>
                  <a:cubicBezTo>
                    <a:pt x="602" y="796"/>
                    <a:pt x="623" y="798"/>
                    <a:pt x="628" y="790"/>
                  </a:cubicBezTo>
                  <a:cubicBezTo>
                    <a:pt x="659" y="743"/>
                    <a:pt x="659" y="743"/>
                    <a:pt x="659" y="743"/>
                  </a:cubicBezTo>
                  <a:cubicBezTo>
                    <a:pt x="659" y="743"/>
                    <a:pt x="669" y="727"/>
                    <a:pt x="654" y="716"/>
                  </a:cubicBezTo>
                  <a:close/>
                  <a:moveTo>
                    <a:pt x="281" y="633"/>
                  </a:moveTo>
                  <a:cubicBezTo>
                    <a:pt x="223" y="584"/>
                    <a:pt x="219" y="502"/>
                    <a:pt x="263" y="452"/>
                  </a:cubicBezTo>
                  <a:cubicBezTo>
                    <a:pt x="313" y="393"/>
                    <a:pt x="399" y="382"/>
                    <a:pt x="457" y="431"/>
                  </a:cubicBezTo>
                  <a:cubicBezTo>
                    <a:pt x="507" y="475"/>
                    <a:pt x="518" y="561"/>
                    <a:pt x="469" y="619"/>
                  </a:cubicBezTo>
                  <a:cubicBezTo>
                    <a:pt x="420" y="678"/>
                    <a:pt x="339" y="682"/>
                    <a:pt x="281" y="633"/>
                  </a:cubicBezTo>
                  <a:close/>
                  <a:moveTo>
                    <a:pt x="1019" y="398"/>
                  </a:moveTo>
                  <a:cubicBezTo>
                    <a:pt x="1004" y="362"/>
                    <a:pt x="1004" y="362"/>
                    <a:pt x="1004" y="362"/>
                  </a:cubicBezTo>
                  <a:cubicBezTo>
                    <a:pt x="992" y="348"/>
                    <a:pt x="1002" y="340"/>
                    <a:pt x="1002" y="332"/>
                  </a:cubicBezTo>
                  <a:cubicBezTo>
                    <a:pt x="1002" y="332"/>
                    <a:pt x="1002" y="332"/>
                    <a:pt x="1002" y="332"/>
                  </a:cubicBezTo>
                  <a:cubicBezTo>
                    <a:pt x="1007" y="328"/>
                    <a:pt x="1011" y="324"/>
                    <a:pt x="1012" y="315"/>
                  </a:cubicBezTo>
                  <a:cubicBezTo>
                    <a:pt x="1021" y="307"/>
                    <a:pt x="1026" y="303"/>
                    <a:pt x="1043" y="304"/>
                  </a:cubicBezTo>
                  <a:cubicBezTo>
                    <a:pt x="1086" y="307"/>
                    <a:pt x="1086" y="307"/>
                    <a:pt x="1086" y="307"/>
                  </a:cubicBezTo>
                  <a:cubicBezTo>
                    <a:pt x="1095" y="308"/>
                    <a:pt x="1099" y="304"/>
                    <a:pt x="1100" y="295"/>
                  </a:cubicBezTo>
                  <a:cubicBezTo>
                    <a:pt x="1107" y="266"/>
                    <a:pt x="1107" y="266"/>
                    <a:pt x="1107" y="266"/>
                  </a:cubicBezTo>
                  <a:cubicBezTo>
                    <a:pt x="1107" y="257"/>
                    <a:pt x="1103" y="252"/>
                    <a:pt x="1095" y="243"/>
                  </a:cubicBezTo>
                  <a:cubicBezTo>
                    <a:pt x="1057" y="236"/>
                    <a:pt x="1057" y="236"/>
                    <a:pt x="1057" y="236"/>
                  </a:cubicBezTo>
                  <a:cubicBezTo>
                    <a:pt x="1044" y="231"/>
                    <a:pt x="1036" y="222"/>
                    <a:pt x="1037" y="213"/>
                  </a:cubicBezTo>
                  <a:cubicBezTo>
                    <a:pt x="1038" y="205"/>
                    <a:pt x="1034" y="200"/>
                    <a:pt x="1030" y="187"/>
                  </a:cubicBezTo>
                  <a:cubicBezTo>
                    <a:pt x="1031" y="178"/>
                    <a:pt x="1032" y="170"/>
                    <a:pt x="1041" y="162"/>
                  </a:cubicBezTo>
                  <a:cubicBezTo>
                    <a:pt x="1077" y="138"/>
                    <a:pt x="1077" y="138"/>
                    <a:pt x="1077" y="138"/>
                  </a:cubicBezTo>
                  <a:cubicBezTo>
                    <a:pt x="1082" y="134"/>
                    <a:pt x="1083" y="126"/>
                    <a:pt x="1079" y="121"/>
                  </a:cubicBezTo>
                  <a:cubicBezTo>
                    <a:pt x="1059" y="89"/>
                    <a:pt x="1059" y="89"/>
                    <a:pt x="1059" y="89"/>
                  </a:cubicBezTo>
                  <a:cubicBezTo>
                    <a:pt x="1055" y="85"/>
                    <a:pt x="1047" y="84"/>
                    <a:pt x="1038" y="83"/>
                  </a:cubicBezTo>
                  <a:cubicBezTo>
                    <a:pt x="1002" y="107"/>
                    <a:pt x="1002" y="107"/>
                    <a:pt x="1002" y="107"/>
                  </a:cubicBezTo>
                  <a:cubicBezTo>
                    <a:pt x="989" y="110"/>
                    <a:pt x="980" y="110"/>
                    <a:pt x="976" y="105"/>
                  </a:cubicBezTo>
                  <a:cubicBezTo>
                    <a:pt x="972" y="100"/>
                    <a:pt x="960" y="95"/>
                    <a:pt x="956" y="91"/>
                  </a:cubicBezTo>
                  <a:cubicBezTo>
                    <a:pt x="952" y="86"/>
                    <a:pt x="944" y="77"/>
                    <a:pt x="944" y="68"/>
                  </a:cubicBezTo>
                  <a:cubicBezTo>
                    <a:pt x="948" y="25"/>
                    <a:pt x="948" y="25"/>
                    <a:pt x="948" y="25"/>
                  </a:cubicBezTo>
                  <a:cubicBezTo>
                    <a:pt x="948" y="17"/>
                    <a:pt x="940" y="7"/>
                    <a:pt x="940" y="7"/>
                  </a:cubicBezTo>
                  <a:cubicBezTo>
                    <a:pt x="902" y="0"/>
                    <a:pt x="902" y="0"/>
                    <a:pt x="902" y="0"/>
                  </a:cubicBezTo>
                  <a:cubicBezTo>
                    <a:pt x="902" y="0"/>
                    <a:pt x="889" y="4"/>
                    <a:pt x="888" y="12"/>
                  </a:cubicBezTo>
                  <a:cubicBezTo>
                    <a:pt x="872" y="50"/>
                    <a:pt x="872" y="50"/>
                    <a:pt x="872" y="50"/>
                  </a:cubicBezTo>
                  <a:cubicBezTo>
                    <a:pt x="871" y="67"/>
                    <a:pt x="862" y="67"/>
                    <a:pt x="858" y="71"/>
                  </a:cubicBezTo>
                  <a:cubicBezTo>
                    <a:pt x="858" y="71"/>
                    <a:pt x="858" y="71"/>
                    <a:pt x="853" y="75"/>
                  </a:cubicBezTo>
                  <a:cubicBezTo>
                    <a:pt x="849" y="70"/>
                    <a:pt x="840" y="70"/>
                    <a:pt x="836" y="74"/>
                  </a:cubicBezTo>
                  <a:cubicBezTo>
                    <a:pt x="831" y="78"/>
                    <a:pt x="831" y="78"/>
                    <a:pt x="831" y="78"/>
                  </a:cubicBezTo>
                  <a:cubicBezTo>
                    <a:pt x="822" y="77"/>
                    <a:pt x="814" y="76"/>
                    <a:pt x="806" y="67"/>
                  </a:cubicBezTo>
                  <a:cubicBezTo>
                    <a:pt x="778" y="35"/>
                    <a:pt x="778" y="35"/>
                    <a:pt x="778" y="35"/>
                  </a:cubicBezTo>
                  <a:cubicBezTo>
                    <a:pt x="774" y="30"/>
                    <a:pt x="762" y="25"/>
                    <a:pt x="757" y="29"/>
                  </a:cubicBezTo>
                  <a:cubicBezTo>
                    <a:pt x="734" y="49"/>
                    <a:pt x="734" y="49"/>
                    <a:pt x="734" y="49"/>
                  </a:cubicBezTo>
                  <a:cubicBezTo>
                    <a:pt x="725" y="49"/>
                    <a:pt x="725" y="57"/>
                    <a:pt x="728" y="70"/>
                  </a:cubicBezTo>
                  <a:cubicBezTo>
                    <a:pt x="747" y="102"/>
                    <a:pt x="747" y="102"/>
                    <a:pt x="747" y="102"/>
                  </a:cubicBezTo>
                  <a:cubicBezTo>
                    <a:pt x="754" y="120"/>
                    <a:pt x="750" y="124"/>
                    <a:pt x="744" y="136"/>
                  </a:cubicBezTo>
                  <a:cubicBezTo>
                    <a:pt x="744" y="136"/>
                    <a:pt x="744" y="136"/>
                    <a:pt x="744" y="136"/>
                  </a:cubicBezTo>
                  <a:cubicBezTo>
                    <a:pt x="740" y="140"/>
                    <a:pt x="735" y="144"/>
                    <a:pt x="731" y="148"/>
                  </a:cubicBezTo>
                  <a:cubicBezTo>
                    <a:pt x="731" y="148"/>
                    <a:pt x="731" y="148"/>
                    <a:pt x="731" y="148"/>
                  </a:cubicBezTo>
                  <a:cubicBezTo>
                    <a:pt x="730" y="157"/>
                    <a:pt x="721" y="165"/>
                    <a:pt x="703" y="164"/>
                  </a:cubicBezTo>
                  <a:cubicBezTo>
                    <a:pt x="665" y="157"/>
                    <a:pt x="665" y="157"/>
                    <a:pt x="665" y="157"/>
                  </a:cubicBezTo>
                  <a:cubicBezTo>
                    <a:pt x="656" y="156"/>
                    <a:pt x="647" y="164"/>
                    <a:pt x="647" y="173"/>
                  </a:cubicBezTo>
                  <a:cubicBezTo>
                    <a:pt x="640" y="203"/>
                    <a:pt x="640" y="203"/>
                    <a:pt x="640" y="203"/>
                  </a:cubicBezTo>
                  <a:cubicBezTo>
                    <a:pt x="639" y="211"/>
                    <a:pt x="643" y="216"/>
                    <a:pt x="656" y="221"/>
                  </a:cubicBezTo>
                  <a:cubicBezTo>
                    <a:pt x="690" y="232"/>
                    <a:pt x="690" y="232"/>
                    <a:pt x="690" y="232"/>
                  </a:cubicBezTo>
                  <a:cubicBezTo>
                    <a:pt x="702" y="237"/>
                    <a:pt x="710" y="246"/>
                    <a:pt x="710" y="255"/>
                  </a:cubicBezTo>
                  <a:cubicBezTo>
                    <a:pt x="710" y="255"/>
                    <a:pt x="710" y="255"/>
                    <a:pt x="710" y="255"/>
                  </a:cubicBezTo>
                  <a:cubicBezTo>
                    <a:pt x="714" y="260"/>
                    <a:pt x="713" y="268"/>
                    <a:pt x="717" y="273"/>
                  </a:cubicBezTo>
                  <a:cubicBezTo>
                    <a:pt x="712" y="277"/>
                    <a:pt x="712" y="277"/>
                    <a:pt x="712" y="277"/>
                  </a:cubicBezTo>
                  <a:cubicBezTo>
                    <a:pt x="716" y="281"/>
                    <a:pt x="716" y="290"/>
                    <a:pt x="702" y="302"/>
                  </a:cubicBezTo>
                  <a:cubicBezTo>
                    <a:pt x="674" y="326"/>
                    <a:pt x="674" y="326"/>
                    <a:pt x="674" y="326"/>
                  </a:cubicBezTo>
                  <a:cubicBezTo>
                    <a:pt x="665" y="334"/>
                    <a:pt x="664" y="343"/>
                    <a:pt x="668" y="347"/>
                  </a:cubicBezTo>
                  <a:cubicBezTo>
                    <a:pt x="687" y="379"/>
                    <a:pt x="687" y="379"/>
                    <a:pt x="687" y="379"/>
                  </a:cubicBezTo>
                  <a:cubicBezTo>
                    <a:pt x="691" y="383"/>
                    <a:pt x="700" y="384"/>
                    <a:pt x="704" y="380"/>
                  </a:cubicBezTo>
                  <a:cubicBezTo>
                    <a:pt x="745" y="361"/>
                    <a:pt x="745" y="361"/>
                    <a:pt x="745" y="361"/>
                  </a:cubicBezTo>
                  <a:cubicBezTo>
                    <a:pt x="758" y="358"/>
                    <a:pt x="767" y="358"/>
                    <a:pt x="771" y="363"/>
                  </a:cubicBezTo>
                  <a:cubicBezTo>
                    <a:pt x="771" y="363"/>
                    <a:pt x="771" y="363"/>
                    <a:pt x="771" y="363"/>
                  </a:cubicBezTo>
                  <a:cubicBezTo>
                    <a:pt x="779" y="364"/>
                    <a:pt x="787" y="373"/>
                    <a:pt x="791" y="377"/>
                  </a:cubicBezTo>
                  <a:cubicBezTo>
                    <a:pt x="791" y="377"/>
                    <a:pt x="791" y="377"/>
                    <a:pt x="791" y="377"/>
                  </a:cubicBezTo>
                  <a:cubicBezTo>
                    <a:pt x="800" y="378"/>
                    <a:pt x="804" y="383"/>
                    <a:pt x="802" y="400"/>
                  </a:cubicBezTo>
                  <a:cubicBezTo>
                    <a:pt x="799" y="443"/>
                    <a:pt x="799" y="443"/>
                    <a:pt x="799" y="443"/>
                  </a:cubicBezTo>
                  <a:cubicBezTo>
                    <a:pt x="798" y="451"/>
                    <a:pt x="802" y="456"/>
                    <a:pt x="811" y="457"/>
                  </a:cubicBezTo>
                  <a:cubicBezTo>
                    <a:pt x="845" y="468"/>
                    <a:pt x="845" y="468"/>
                    <a:pt x="845" y="468"/>
                  </a:cubicBezTo>
                  <a:cubicBezTo>
                    <a:pt x="849" y="464"/>
                    <a:pt x="858" y="464"/>
                    <a:pt x="859" y="456"/>
                  </a:cubicBezTo>
                  <a:cubicBezTo>
                    <a:pt x="871" y="413"/>
                    <a:pt x="871" y="413"/>
                    <a:pt x="871" y="413"/>
                  </a:cubicBezTo>
                  <a:cubicBezTo>
                    <a:pt x="876" y="401"/>
                    <a:pt x="889" y="397"/>
                    <a:pt x="894" y="393"/>
                  </a:cubicBezTo>
                  <a:cubicBezTo>
                    <a:pt x="894" y="393"/>
                    <a:pt x="894" y="393"/>
                    <a:pt x="894" y="393"/>
                  </a:cubicBezTo>
                  <a:cubicBezTo>
                    <a:pt x="902" y="394"/>
                    <a:pt x="911" y="395"/>
                    <a:pt x="916" y="391"/>
                  </a:cubicBezTo>
                  <a:cubicBezTo>
                    <a:pt x="916" y="391"/>
                    <a:pt x="916" y="391"/>
                    <a:pt x="916" y="391"/>
                  </a:cubicBezTo>
                  <a:cubicBezTo>
                    <a:pt x="924" y="391"/>
                    <a:pt x="933" y="392"/>
                    <a:pt x="941" y="401"/>
                  </a:cubicBezTo>
                  <a:cubicBezTo>
                    <a:pt x="969" y="433"/>
                    <a:pt x="969" y="433"/>
                    <a:pt x="969" y="433"/>
                  </a:cubicBezTo>
                  <a:cubicBezTo>
                    <a:pt x="973" y="438"/>
                    <a:pt x="985" y="443"/>
                    <a:pt x="990" y="439"/>
                  </a:cubicBezTo>
                  <a:cubicBezTo>
                    <a:pt x="1018" y="415"/>
                    <a:pt x="1018" y="415"/>
                    <a:pt x="1018" y="415"/>
                  </a:cubicBezTo>
                  <a:cubicBezTo>
                    <a:pt x="1018" y="415"/>
                    <a:pt x="1027" y="407"/>
                    <a:pt x="1019" y="398"/>
                  </a:cubicBezTo>
                  <a:close/>
                  <a:moveTo>
                    <a:pt x="803" y="279"/>
                  </a:moveTo>
                  <a:cubicBezTo>
                    <a:pt x="776" y="238"/>
                    <a:pt x="788" y="187"/>
                    <a:pt x="825" y="164"/>
                  </a:cubicBezTo>
                  <a:cubicBezTo>
                    <a:pt x="866" y="136"/>
                    <a:pt x="921" y="144"/>
                    <a:pt x="948" y="185"/>
                  </a:cubicBezTo>
                  <a:cubicBezTo>
                    <a:pt x="972" y="221"/>
                    <a:pt x="963" y="277"/>
                    <a:pt x="922" y="304"/>
                  </a:cubicBezTo>
                  <a:cubicBezTo>
                    <a:pt x="881" y="332"/>
                    <a:pt x="830" y="320"/>
                    <a:pt x="803" y="279"/>
                  </a:cubicBezTo>
                  <a:close/>
                </a:path>
              </a:pathLst>
            </a:custGeom>
            <a:solidFill>
              <a:schemeClr val="tx1"/>
            </a:solidFill>
            <a:ln>
              <a:noFill/>
            </a:ln>
          </p:spPr>
          <p:txBody>
            <a:bodyPr vert="horz" wrap="square" lIns="68574" tIns="34287" rIns="68574" bIns="34287"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17346"/>
                </a:solidFill>
                <a:effectLst/>
                <a:uLnTx/>
                <a:uFillTx/>
                <a:latin typeface="Segoe UI"/>
                <a:ea typeface="+mn-ea"/>
                <a:cs typeface="+mn-cs"/>
              </a:endParaRPr>
            </a:p>
          </p:txBody>
        </p:sp>
        <p:sp>
          <p:nvSpPr>
            <p:cNvPr id="88" name="Freeform 87"/>
            <p:cNvSpPr>
              <a:spLocks noChangeAspect="1"/>
            </p:cNvSpPr>
            <p:nvPr/>
          </p:nvSpPr>
          <p:spPr bwMode="black">
            <a:xfrm>
              <a:off x="776985" y="4213905"/>
              <a:ext cx="342871" cy="335728"/>
            </a:xfrm>
            <a:custGeom>
              <a:avLst/>
              <a:gdLst>
                <a:gd name="connsiteX0" fmla="*/ 3713863 w 4893730"/>
                <a:gd name="connsiteY0" fmla="*/ 2130808 h 4791777"/>
                <a:gd name="connsiteX1" fmla="*/ 4426142 w 4893730"/>
                <a:gd name="connsiteY1" fmla="*/ 2130808 h 4791777"/>
                <a:gd name="connsiteX2" fmla="*/ 4598071 w 4893730"/>
                <a:gd name="connsiteY2" fmla="*/ 2301547 h 4791777"/>
                <a:gd name="connsiteX3" fmla="*/ 4598071 w 4893730"/>
                <a:gd name="connsiteY3" fmla="*/ 3886978 h 4791777"/>
                <a:gd name="connsiteX4" fmla="*/ 4426142 w 4893730"/>
                <a:gd name="connsiteY4" fmla="*/ 4057717 h 4791777"/>
                <a:gd name="connsiteX5" fmla="*/ 3713863 w 4893730"/>
                <a:gd name="connsiteY5" fmla="*/ 4057717 h 4791777"/>
                <a:gd name="connsiteX6" fmla="*/ 3517372 w 4893730"/>
                <a:gd name="connsiteY6" fmla="*/ 3886978 h 4791777"/>
                <a:gd name="connsiteX7" fmla="*/ 3517372 w 4893730"/>
                <a:gd name="connsiteY7" fmla="*/ 2301547 h 4791777"/>
                <a:gd name="connsiteX8" fmla="*/ 3713863 w 4893730"/>
                <a:gd name="connsiteY8" fmla="*/ 2130808 h 4791777"/>
                <a:gd name="connsiteX9" fmla="*/ 904368 w 4893730"/>
                <a:gd name="connsiteY9" fmla="*/ 1223432 h 4791777"/>
                <a:gd name="connsiteX10" fmla="*/ 1609930 w 4893730"/>
                <a:gd name="connsiteY10" fmla="*/ 1223432 h 4791777"/>
                <a:gd name="connsiteX11" fmla="*/ 1804567 w 4893730"/>
                <a:gd name="connsiteY11" fmla="*/ 1394467 h 4791777"/>
                <a:gd name="connsiteX12" fmla="*/ 1804567 w 4893730"/>
                <a:gd name="connsiteY12" fmla="*/ 3886683 h 4791777"/>
                <a:gd name="connsiteX13" fmla="*/ 1609930 w 4893730"/>
                <a:gd name="connsiteY13" fmla="*/ 4057717 h 4791777"/>
                <a:gd name="connsiteX14" fmla="*/ 904368 w 4893730"/>
                <a:gd name="connsiteY14" fmla="*/ 4057717 h 4791777"/>
                <a:gd name="connsiteX15" fmla="*/ 734060 w 4893730"/>
                <a:gd name="connsiteY15" fmla="*/ 3886683 h 4791777"/>
                <a:gd name="connsiteX16" fmla="*/ 734060 w 4893730"/>
                <a:gd name="connsiteY16" fmla="*/ 1394467 h 4791777"/>
                <a:gd name="connsiteX17" fmla="*/ 904368 w 4893730"/>
                <a:gd name="connsiteY17" fmla="*/ 1223432 h 4791777"/>
                <a:gd name="connsiteX18" fmla="*/ 2325453 w 4893730"/>
                <a:gd name="connsiteY18" fmla="*/ 316050 h 4791777"/>
                <a:gd name="connsiteX19" fmla="*/ 3031014 w 4893730"/>
                <a:gd name="connsiteY19" fmla="*/ 316050 h 4791777"/>
                <a:gd name="connsiteX20" fmla="*/ 3201322 w 4893730"/>
                <a:gd name="connsiteY20" fmla="*/ 487238 h 4791777"/>
                <a:gd name="connsiteX21" fmla="*/ 3201322 w 4893730"/>
                <a:gd name="connsiteY21" fmla="*/ 3886530 h 4791777"/>
                <a:gd name="connsiteX22" fmla="*/ 3031014 w 4893730"/>
                <a:gd name="connsiteY22" fmla="*/ 4057717 h 4791777"/>
                <a:gd name="connsiteX23" fmla="*/ 2325453 w 4893730"/>
                <a:gd name="connsiteY23" fmla="*/ 4057717 h 4791777"/>
                <a:gd name="connsiteX24" fmla="*/ 2130815 w 4893730"/>
                <a:gd name="connsiteY24" fmla="*/ 3886530 h 4791777"/>
                <a:gd name="connsiteX25" fmla="*/ 2130815 w 4893730"/>
                <a:gd name="connsiteY25" fmla="*/ 487238 h 4791777"/>
                <a:gd name="connsiteX26" fmla="*/ 2325453 w 4893730"/>
                <a:gd name="connsiteY26" fmla="*/ 316050 h 4791777"/>
                <a:gd name="connsiteX27" fmla="*/ 269155 w 4893730"/>
                <a:gd name="connsiteY27" fmla="*/ 0 h 4791777"/>
                <a:gd name="connsiteX28" fmla="*/ 538311 w 4893730"/>
                <a:gd name="connsiteY28" fmla="*/ 268927 h 4791777"/>
                <a:gd name="connsiteX29" fmla="*/ 538311 w 4893730"/>
                <a:gd name="connsiteY29" fmla="*/ 4253925 h 4791777"/>
                <a:gd name="connsiteX30" fmla="*/ 4624575 w 4893730"/>
                <a:gd name="connsiteY30" fmla="*/ 4253925 h 4791777"/>
                <a:gd name="connsiteX31" fmla="*/ 4893730 w 4893730"/>
                <a:gd name="connsiteY31" fmla="*/ 4522851 h 4791777"/>
                <a:gd name="connsiteX32" fmla="*/ 4624575 w 4893730"/>
                <a:gd name="connsiteY32" fmla="*/ 4791777 h 4791777"/>
                <a:gd name="connsiteX33" fmla="*/ 269155 w 4893730"/>
                <a:gd name="connsiteY33" fmla="*/ 4791777 h 4791777"/>
                <a:gd name="connsiteX34" fmla="*/ 0 w 4893730"/>
                <a:gd name="connsiteY34" fmla="*/ 4522851 h 4791777"/>
                <a:gd name="connsiteX35" fmla="*/ 0 w 4893730"/>
                <a:gd name="connsiteY35" fmla="*/ 268927 h 4791777"/>
                <a:gd name="connsiteX36" fmla="*/ 269155 w 4893730"/>
                <a:gd name="connsiteY36" fmla="*/ 0 h 4791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4893730" h="4791777">
                  <a:moveTo>
                    <a:pt x="3713863" y="2130808"/>
                  </a:moveTo>
                  <a:cubicBezTo>
                    <a:pt x="3713863" y="2130808"/>
                    <a:pt x="3713863" y="2130808"/>
                    <a:pt x="4426142" y="2130808"/>
                  </a:cubicBezTo>
                  <a:cubicBezTo>
                    <a:pt x="4524387" y="2130808"/>
                    <a:pt x="4598071" y="2203982"/>
                    <a:pt x="4598071" y="2301547"/>
                  </a:cubicBezTo>
                  <a:cubicBezTo>
                    <a:pt x="4598071" y="2301547"/>
                    <a:pt x="4598071" y="2301547"/>
                    <a:pt x="4598071" y="3886978"/>
                  </a:cubicBezTo>
                  <a:cubicBezTo>
                    <a:pt x="4598071" y="3984543"/>
                    <a:pt x="4524387" y="4057717"/>
                    <a:pt x="4426142" y="4057717"/>
                  </a:cubicBezTo>
                  <a:cubicBezTo>
                    <a:pt x="4426142" y="4057717"/>
                    <a:pt x="4426142" y="4057717"/>
                    <a:pt x="3713863" y="4057717"/>
                  </a:cubicBezTo>
                  <a:cubicBezTo>
                    <a:pt x="3615618" y="4057717"/>
                    <a:pt x="3517372" y="3984543"/>
                    <a:pt x="3517372" y="3886978"/>
                  </a:cubicBezTo>
                  <a:cubicBezTo>
                    <a:pt x="3517372" y="3886978"/>
                    <a:pt x="3517372" y="3886978"/>
                    <a:pt x="3517372" y="2301547"/>
                  </a:cubicBezTo>
                  <a:cubicBezTo>
                    <a:pt x="3517372" y="2203982"/>
                    <a:pt x="3615618" y="2130808"/>
                    <a:pt x="3713863" y="2130808"/>
                  </a:cubicBezTo>
                  <a:close/>
                  <a:moveTo>
                    <a:pt x="904368" y="1223432"/>
                  </a:moveTo>
                  <a:cubicBezTo>
                    <a:pt x="904368" y="1223432"/>
                    <a:pt x="904368" y="1223432"/>
                    <a:pt x="1609930" y="1223432"/>
                  </a:cubicBezTo>
                  <a:cubicBezTo>
                    <a:pt x="1731578" y="1223432"/>
                    <a:pt x="1804567" y="1296733"/>
                    <a:pt x="1804567" y="1394467"/>
                  </a:cubicBezTo>
                  <a:cubicBezTo>
                    <a:pt x="1804567" y="1394467"/>
                    <a:pt x="1804567" y="1394467"/>
                    <a:pt x="1804567" y="3886683"/>
                  </a:cubicBezTo>
                  <a:cubicBezTo>
                    <a:pt x="1804567" y="3984417"/>
                    <a:pt x="1731578" y="4057717"/>
                    <a:pt x="1609930" y="4057717"/>
                  </a:cubicBezTo>
                  <a:cubicBezTo>
                    <a:pt x="1609930" y="4057717"/>
                    <a:pt x="1609930" y="4057717"/>
                    <a:pt x="904368" y="4057717"/>
                  </a:cubicBezTo>
                  <a:cubicBezTo>
                    <a:pt x="807049" y="4057717"/>
                    <a:pt x="734060" y="3984417"/>
                    <a:pt x="734060" y="3886683"/>
                  </a:cubicBezTo>
                  <a:cubicBezTo>
                    <a:pt x="734060" y="3886683"/>
                    <a:pt x="734060" y="3886683"/>
                    <a:pt x="734060" y="1394467"/>
                  </a:cubicBezTo>
                  <a:cubicBezTo>
                    <a:pt x="734060" y="1296733"/>
                    <a:pt x="807049" y="1223432"/>
                    <a:pt x="904368" y="1223432"/>
                  </a:cubicBezTo>
                  <a:close/>
                  <a:moveTo>
                    <a:pt x="2325453" y="316050"/>
                  </a:moveTo>
                  <a:cubicBezTo>
                    <a:pt x="2325453" y="316050"/>
                    <a:pt x="2325453" y="316050"/>
                    <a:pt x="3031014" y="316050"/>
                  </a:cubicBezTo>
                  <a:cubicBezTo>
                    <a:pt x="3128333" y="316050"/>
                    <a:pt x="3201322" y="389416"/>
                    <a:pt x="3201322" y="487238"/>
                  </a:cubicBezTo>
                  <a:cubicBezTo>
                    <a:pt x="3201322" y="487238"/>
                    <a:pt x="3201322" y="487238"/>
                    <a:pt x="3201322" y="3886530"/>
                  </a:cubicBezTo>
                  <a:cubicBezTo>
                    <a:pt x="3201322" y="3984351"/>
                    <a:pt x="3128333" y="4057717"/>
                    <a:pt x="3031014" y="4057717"/>
                  </a:cubicBezTo>
                  <a:cubicBezTo>
                    <a:pt x="3031014" y="4057717"/>
                    <a:pt x="3031014" y="4057717"/>
                    <a:pt x="2325453" y="4057717"/>
                  </a:cubicBezTo>
                  <a:cubicBezTo>
                    <a:pt x="2203804" y="4057717"/>
                    <a:pt x="2130815" y="3984351"/>
                    <a:pt x="2130815" y="3886530"/>
                  </a:cubicBezTo>
                  <a:cubicBezTo>
                    <a:pt x="2130815" y="3886530"/>
                    <a:pt x="2130815" y="3886530"/>
                    <a:pt x="2130815" y="487238"/>
                  </a:cubicBezTo>
                  <a:cubicBezTo>
                    <a:pt x="2130815" y="389416"/>
                    <a:pt x="2203804" y="316050"/>
                    <a:pt x="2325453" y="316050"/>
                  </a:cubicBezTo>
                  <a:close/>
                  <a:moveTo>
                    <a:pt x="269155" y="0"/>
                  </a:moveTo>
                  <a:cubicBezTo>
                    <a:pt x="415967" y="0"/>
                    <a:pt x="538311" y="122239"/>
                    <a:pt x="538311" y="268927"/>
                  </a:cubicBezTo>
                  <a:cubicBezTo>
                    <a:pt x="538311" y="268927"/>
                    <a:pt x="538311" y="268927"/>
                    <a:pt x="538311" y="4253925"/>
                  </a:cubicBezTo>
                  <a:cubicBezTo>
                    <a:pt x="538311" y="4253925"/>
                    <a:pt x="538311" y="4253925"/>
                    <a:pt x="4624575" y="4253925"/>
                  </a:cubicBezTo>
                  <a:cubicBezTo>
                    <a:pt x="4771387" y="4253925"/>
                    <a:pt x="4893730" y="4376164"/>
                    <a:pt x="4893730" y="4522851"/>
                  </a:cubicBezTo>
                  <a:cubicBezTo>
                    <a:pt x="4893730" y="4669538"/>
                    <a:pt x="4771387" y="4791777"/>
                    <a:pt x="4624575" y="4791777"/>
                  </a:cubicBezTo>
                  <a:cubicBezTo>
                    <a:pt x="4624575" y="4791777"/>
                    <a:pt x="4624575" y="4791777"/>
                    <a:pt x="269155" y="4791777"/>
                  </a:cubicBezTo>
                  <a:cubicBezTo>
                    <a:pt x="122344" y="4791777"/>
                    <a:pt x="0" y="4669538"/>
                    <a:pt x="0" y="4522851"/>
                  </a:cubicBezTo>
                  <a:cubicBezTo>
                    <a:pt x="0" y="4522851"/>
                    <a:pt x="0" y="4522851"/>
                    <a:pt x="0" y="268927"/>
                  </a:cubicBezTo>
                  <a:cubicBezTo>
                    <a:pt x="0" y="122239"/>
                    <a:pt x="122344" y="0"/>
                    <a:pt x="269155"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37148" tIns="109719" rIns="137148" bIns="109719"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699261"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9" name="Rectangle 88"/>
            <p:cNvSpPr/>
            <p:nvPr/>
          </p:nvSpPr>
          <p:spPr bwMode="auto">
            <a:xfrm rot="2745734">
              <a:off x="279530" y="1141266"/>
              <a:ext cx="1260714" cy="1255193"/>
            </a:xfrm>
            <a:prstGeom prst="rect">
              <a:avLst/>
            </a:prstGeom>
            <a:solidFill>
              <a:schemeClr val="tx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0" name="Rectangle 89"/>
            <p:cNvSpPr/>
            <p:nvPr/>
          </p:nvSpPr>
          <p:spPr bwMode="auto">
            <a:xfrm rot="2745734">
              <a:off x="292433" y="3819160"/>
              <a:ext cx="1610349" cy="1235003"/>
            </a:xfrm>
            <a:prstGeom prst="rect">
              <a:avLst/>
            </a:prstGeom>
            <a:solidFill>
              <a:schemeClr val="tx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2" name="Rectangle 91"/>
            <p:cNvSpPr/>
            <p:nvPr/>
          </p:nvSpPr>
          <p:spPr bwMode="auto">
            <a:xfrm rot="2745734">
              <a:off x="1315610" y="4915701"/>
              <a:ext cx="1263370" cy="1255989"/>
            </a:xfrm>
            <a:prstGeom prst="rect">
              <a:avLst/>
            </a:prstGeom>
            <a:solidFill>
              <a:schemeClr val="tx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40" name="TextBox 39"/>
          <p:cNvSpPr txBox="1"/>
          <p:nvPr/>
        </p:nvSpPr>
        <p:spPr>
          <a:xfrm>
            <a:off x="3" y="51415"/>
            <a:ext cx="2849058" cy="430887"/>
          </a:xfrm>
          <a:prstGeom prst="rect">
            <a:avLst/>
          </a:prstGeom>
        </p:spPr>
        <p:txBody>
          <a:bodyPr wrap="square">
            <a:spAutoFit/>
          </a:bodyPr>
          <a:lstStyle>
            <a:defPPr>
              <a:defRPr lang="en-US"/>
            </a:defPPr>
            <a:lvl1pPr defTabSz="914192">
              <a:defRPr sz="2800" b="1" spc="-100">
                <a:ln w="3175">
                  <a:noFill/>
                </a:ln>
                <a:solidFill>
                  <a:srgbClr val="F2C812"/>
                </a:solidFill>
                <a:latin typeface="Segoe UI" panose="020B0502040204020203" pitchFamily="34" charset="0"/>
                <a:ea typeface="ＭＳ Ｐゴシック" charset="0"/>
                <a:cs typeface="Segoe UI" panose="020B0502040204020203" pitchFamily="34" charset="0"/>
              </a:defRPr>
            </a:lvl1pPr>
          </a:lstStyle>
          <a:p>
            <a:pPr marL="0" marR="0" lvl="0" indent="0" algn="l" defTabSz="914192" rtl="0" eaLnBrk="1" fontAlgn="auto" latinLnBrk="0" hangingPunct="1">
              <a:lnSpc>
                <a:spcPct val="100000"/>
              </a:lnSpc>
              <a:spcBef>
                <a:spcPts val="0"/>
              </a:spcBef>
              <a:spcAft>
                <a:spcPts val="0"/>
              </a:spcAft>
              <a:buClrTx/>
              <a:buSzTx/>
              <a:buFontTx/>
              <a:buNone/>
              <a:tabLst/>
              <a:defRPr/>
            </a:pPr>
            <a:r>
              <a:rPr kumimoji="0" lang="en-US" sz="2200" b="1" i="0" u="none" strike="noStrike" kern="1200" cap="none" spc="-100" normalizeH="0" baseline="0" noProof="0">
                <a:ln w="3175">
                  <a:noFill/>
                </a:ln>
                <a:solidFill>
                  <a:srgbClr val="F2C812"/>
                </a:solidFill>
                <a:effectLst/>
                <a:uLnTx/>
                <a:uFillTx/>
                <a:latin typeface="Segoe UI Light"/>
                <a:ea typeface="ＭＳ Ｐゴシック" charset="0"/>
                <a:cs typeface="Segoe UI" panose="020B0502040204020203" pitchFamily="34" charset="0"/>
              </a:rPr>
              <a:t>Power BI Desktop</a:t>
            </a:r>
          </a:p>
        </p:txBody>
      </p:sp>
      <p:sp>
        <p:nvSpPr>
          <p:cNvPr id="41" name="Rectangle 40"/>
          <p:cNvSpPr/>
          <p:nvPr/>
        </p:nvSpPr>
        <p:spPr bwMode="auto">
          <a:xfrm rot="2745734">
            <a:off x="825067" y="3494250"/>
            <a:ext cx="1260714" cy="370170"/>
          </a:xfrm>
          <a:prstGeom prst="rect">
            <a:avLst/>
          </a:prstGeom>
          <a:solidFill>
            <a:schemeClr val="tx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4" name="Picture 3"/>
          <p:cNvPicPr>
            <a:picLocks noChangeAspect="1"/>
          </p:cNvPicPr>
          <p:nvPr/>
        </p:nvPicPr>
        <p:blipFill>
          <a:blip r:embed="rId3"/>
          <a:stretch>
            <a:fillRect/>
          </a:stretch>
        </p:blipFill>
        <p:spPr>
          <a:xfrm>
            <a:off x="3441309" y="1337113"/>
            <a:ext cx="4233837" cy="4804997"/>
          </a:xfrm>
          <a:prstGeom prst="rect">
            <a:avLst/>
          </a:prstGeom>
          <a:ln>
            <a:noFill/>
          </a:ln>
          <a:effectLst>
            <a:outerShdw blurRad="190500" algn="tl" rotWithShape="0">
              <a:srgbClr val="000000">
                <a:alpha val="70000"/>
              </a:srgbClr>
            </a:outerShdw>
          </a:effectLst>
        </p:spPr>
      </p:pic>
      <p:pic>
        <p:nvPicPr>
          <p:cNvPr id="5" name="Picture 4"/>
          <p:cNvPicPr>
            <a:picLocks noChangeAspect="1"/>
          </p:cNvPicPr>
          <p:nvPr/>
        </p:nvPicPr>
        <p:blipFill>
          <a:blip r:embed="rId4"/>
          <a:stretch>
            <a:fillRect/>
          </a:stretch>
        </p:blipFill>
        <p:spPr>
          <a:xfrm>
            <a:off x="6524643" y="3334027"/>
            <a:ext cx="5225923" cy="3270695"/>
          </a:xfrm>
          <a:prstGeom prst="rect">
            <a:avLst/>
          </a:prstGeom>
          <a:ln>
            <a:noFill/>
          </a:ln>
          <a:effectLst>
            <a:outerShdw blurRad="190500" algn="tl" rotWithShape="0">
              <a:srgbClr val="000000">
                <a:alpha val="70000"/>
              </a:srgbClr>
            </a:outerShdw>
          </a:effectLst>
        </p:spPr>
      </p:pic>
      <p:pic>
        <p:nvPicPr>
          <p:cNvPr id="6" name="Picture 5"/>
          <p:cNvPicPr>
            <a:picLocks noChangeAspect="1"/>
          </p:cNvPicPr>
          <p:nvPr/>
        </p:nvPicPr>
        <p:blipFill>
          <a:blip r:embed="rId5"/>
          <a:stretch>
            <a:fillRect/>
          </a:stretch>
        </p:blipFill>
        <p:spPr>
          <a:xfrm>
            <a:off x="7969717" y="1298052"/>
            <a:ext cx="2246338" cy="1663428"/>
          </a:xfrm>
          <a:prstGeom prst="rect">
            <a:avLst/>
          </a:prstGeom>
          <a:ln>
            <a:noFill/>
          </a:ln>
          <a:effectLst>
            <a:outerShdw blurRad="190500" algn="tl" rotWithShape="0">
              <a:srgbClr val="000000">
                <a:alpha val="70000"/>
              </a:srgbClr>
            </a:outerShdw>
          </a:effectLst>
        </p:spPr>
      </p:pic>
      <p:sp>
        <p:nvSpPr>
          <p:cNvPr id="42" name="Right Arrow 41"/>
          <p:cNvSpPr/>
          <p:nvPr/>
        </p:nvSpPr>
        <p:spPr bwMode="auto">
          <a:xfrm rot="20645022" flipV="1">
            <a:off x="7279779" y="2412003"/>
            <a:ext cx="689937" cy="135216"/>
          </a:xfrm>
          <a:prstGeom prst="rightArrow">
            <a:avLst/>
          </a:prstGeom>
          <a:solidFill>
            <a:srgbClr val="FF00FF"/>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pt-PT"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93407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solidFill>
            <a:schemeClr val="bg1"/>
          </a:solidFill>
        </p:spPr>
        <p:txBody>
          <a:bodyPr/>
          <a:lstStyle/>
          <a:p>
            <a:r>
              <a:rPr lang="pt-PT">
                <a:solidFill>
                  <a:schemeClr val="tx1"/>
                </a:solidFill>
              </a:rPr>
              <a:t> Visualisations – Table and Matrix</a:t>
            </a:r>
            <a:endParaRPr lang="en-US" sz="3600">
              <a:solidFill>
                <a:schemeClr val="tx1"/>
              </a:solidFill>
            </a:endParaRPr>
          </a:p>
        </p:txBody>
      </p:sp>
      <p:grpSp>
        <p:nvGrpSpPr>
          <p:cNvPr id="52" name="Group 51"/>
          <p:cNvGrpSpPr/>
          <p:nvPr/>
        </p:nvGrpSpPr>
        <p:grpSpPr>
          <a:xfrm>
            <a:off x="2" y="1"/>
            <a:ext cx="2849058" cy="6858000"/>
            <a:chOff x="2" y="1"/>
            <a:chExt cx="2849058" cy="6858000"/>
          </a:xfrm>
        </p:grpSpPr>
        <p:sp>
          <p:nvSpPr>
            <p:cNvPr id="71" name="Rectangle 70"/>
            <p:cNvSpPr/>
            <p:nvPr/>
          </p:nvSpPr>
          <p:spPr bwMode="auto">
            <a:xfrm>
              <a:off x="2" y="1"/>
              <a:ext cx="2849058"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3" name="Oval 70"/>
            <p:cNvSpPr/>
            <p:nvPr/>
          </p:nvSpPr>
          <p:spPr>
            <a:xfrm>
              <a:off x="1413521" y="4951537"/>
              <a:ext cx="1119626" cy="1119626"/>
            </a:xfrm>
            <a:prstGeom prst="ellipse">
              <a:avLst/>
            </a:prstGeom>
            <a:solidFill>
              <a:srgbClr val="F2C812"/>
            </a:solidFill>
            <a:ln w="3175" cap="flat" cmpd="sng" algn="ctr">
              <a:noFill/>
              <a:prstDash val="solid"/>
            </a:ln>
            <a:effectLst/>
          </p:spPr>
          <p:txBody>
            <a:bodyPr vert="horz" wrap="none" lIns="0" tIns="45720" rIns="0" bIns="0" rtlCol="0" anchor="t"/>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Segoe UI"/>
                  <a:ea typeface="Segoe UI" pitchFamily="34" charset="0"/>
                  <a:cs typeface="Segoe UI" pitchFamily="34" charset="0"/>
                </a:rPr>
                <a:t>Share &amp;</a:t>
              </a:r>
            </a:p>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Segoe UI"/>
                  <a:ea typeface="Segoe UI" pitchFamily="34" charset="0"/>
                  <a:cs typeface="Segoe UI" pitchFamily="34" charset="0"/>
                </a:rPr>
                <a:t>collaborate </a:t>
              </a:r>
            </a:p>
          </p:txBody>
        </p:sp>
        <p:grpSp>
          <p:nvGrpSpPr>
            <p:cNvPr id="76" name="Group 38"/>
            <p:cNvGrpSpPr>
              <a:grpSpLocks noChangeAspect="1"/>
            </p:cNvGrpSpPr>
            <p:nvPr/>
          </p:nvGrpSpPr>
          <p:grpSpPr>
            <a:xfrm>
              <a:off x="676996" y="3930692"/>
              <a:ext cx="383905" cy="351536"/>
              <a:chOff x="4363684" y="5330386"/>
              <a:chExt cx="1409956" cy="1291077"/>
            </a:xfrm>
            <a:solidFill>
              <a:srgbClr val="217346"/>
            </a:solidFill>
          </p:grpSpPr>
          <p:sp>
            <p:nvSpPr>
              <p:cNvPr id="102" name="Donut 3"/>
              <p:cNvSpPr/>
              <p:nvPr/>
            </p:nvSpPr>
            <p:spPr bwMode="auto">
              <a:xfrm>
                <a:off x="4363684" y="5330386"/>
                <a:ext cx="1409956" cy="1291077"/>
              </a:xfrm>
              <a:custGeom>
                <a:avLst/>
                <a:gdLst/>
                <a:ahLst/>
                <a:cxnLst/>
                <a:rect l="l" t="t" r="r" b="b"/>
                <a:pathLst>
                  <a:path w="1409956" h="1291077">
                    <a:moveTo>
                      <a:pt x="956401" y="78410"/>
                    </a:moveTo>
                    <a:cubicBezTo>
                      <a:pt x="747518" y="78410"/>
                      <a:pt x="578184" y="247744"/>
                      <a:pt x="578184" y="456627"/>
                    </a:cubicBezTo>
                    <a:cubicBezTo>
                      <a:pt x="578184" y="665510"/>
                      <a:pt x="747518" y="834844"/>
                      <a:pt x="956401" y="834844"/>
                    </a:cubicBezTo>
                    <a:cubicBezTo>
                      <a:pt x="1165284" y="834844"/>
                      <a:pt x="1334618" y="665510"/>
                      <a:pt x="1334618" y="456627"/>
                    </a:cubicBezTo>
                    <a:cubicBezTo>
                      <a:pt x="1334618" y="247744"/>
                      <a:pt x="1165284" y="78410"/>
                      <a:pt x="956401" y="78410"/>
                    </a:cubicBezTo>
                    <a:close/>
                    <a:moveTo>
                      <a:pt x="952756" y="0"/>
                    </a:moveTo>
                    <a:cubicBezTo>
                      <a:pt x="1205261" y="0"/>
                      <a:pt x="1409956" y="204695"/>
                      <a:pt x="1409956" y="457200"/>
                    </a:cubicBezTo>
                    <a:cubicBezTo>
                      <a:pt x="1409956" y="709705"/>
                      <a:pt x="1205261" y="914400"/>
                      <a:pt x="952756" y="914400"/>
                    </a:cubicBezTo>
                    <a:cubicBezTo>
                      <a:pt x="862133" y="914400"/>
                      <a:pt x="777669" y="888034"/>
                      <a:pt x="707132" y="841746"/>
                    </a:cubicBezTo>
                    <a:lnTo>
                      <a:pt x="136495" y="1280102"/>
                    </a:lnTo>
                    <a:cubicBezTo>
                      <a:pt x="21896" y="1327168"/>
                      <a:pt x="-44029" y="1213730"/>
                      <a:pt x="33797" y="1113182"/>
                    </a:cubicBezTo>
                    <a:lnTo>
                      <a:pt x="568587" y="703518"/>
                    </a:lnTo>
                    <a:cubicBezTo>
                      <a:pt x="522087" y="632814"/>
                      <a:pt x="495556" y="548105"/>
                      <a:pt x="495556" y="457200"/>
                    </a:cubicBezTo>
                    <a:cubicBezTo>
                      <a:pt x="495556" y="204695"/>
                      <a:pt x="700251" y="0"/>
                      <a:pt x="952756" y="0"/>
                    </a:cubicBezTo>
                    <a:close/>
                  </a:path>
                </a:pathLst>
              </a:custGeom>
              <a:grpFill/>
              <a:ln>
                <a:solidFill>
                  <a:srgbClr val="21734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sp>
            <p:nvSpPr>
              <p:cNvPr id="103" name="Rectangle 4"/>
              <p:cNvSpPr/>
              <p:nvPr/>
            </p:nvSpPr>
            <p:spPr>
              <a:xfrm>
                <a:off x="5058389" y="5528247"/>
                <a:ext cx="490885" cy="490020"/>
              </a:xfrm>
              <a:custGeom>
                <a:avLst/>
                <a:gdLst/>
                <a:ahLst/>
                <a:cxnLst/>
                <a:rect l="l" t="t" r="r" b="b"/>
                <a:pathLst>
                  <a:path w="490885" h="490020">
                    <a:moveTo>
                      <a:pt x="240752" y="0"/>
                    </a:moveTo>
                    <a:cubicBezTo>
                      <a:pt x="253961" y="11844"/>
                      <a:pt x="293310" y="49692"/>
                      <a:pt x="337332" y="92439"/>
                    </a:cubicBezTo>
                    <a:lnTo>
                      <a:pt x="328342" y="81259"/>
                    </a:lnTo>
                    <a:cubicBezTo>
                      <a:pt x="356946" y="111282"/>
                      <a:pt x="377251" y="107167"/>
                      <a:pt x="382515" y="87941"/>
                    </a:cubicBezTo>
                    <a:cubicBezTo>
                      <a:pt x="383951" y="76921"/>
                      <a:pt x="384595" y="68732"/>
                      <a:pt x="396997" y="52239"/>
                    </a:cubicBezTo>
                    <a:cubicBezTo>
                      <a:pt x="420362" y="32084"/>
                      <a:pt x="442294" y="41736"/>
                      <a:pt x="454920" y="51330"/>
                    </a:cubicBezTo>
                    <a:cubicBezTo>
                      <a:pt x="467834" y="62761"/>
                      <a:pt x="477920" y="86882"/>
                      <a:pt x="460392" y="109714"/>
                    </a:cubicBezTo>
                    <a:cubicBezTo>
                      <a:pt x="451128" y="121912"/>
                      <a:pt x="437554" y="126838"/>
                      <a:pt x="425922" y="126505"/>
                    </a:cubicBezTo>
                    <a:cubicBezTo>
                      <a:pt x="424301" y="127609"/>
                      <a:pt x="382890" y="134974"/>
                      <a:pt x="427348" y="177672"/>
                    </a:cubicBezTo>
                    <a:lnTo>
                      <a:pt x="416886" y="169735"/>
                    </a:lnTo>
                    <a:cubicBezTo>
                      <a:pt x="450207" y="202177"/>
                      <a:pt x="478424" y="229744"/>
                      <a:pt x="490885" y="241900"/>
                    </a:cubicBezTo>
                    <a:lnTo>
                      <a:pt x="417150" y="317347"/>
                    </a:lnTo>
                    <a:cubicBezTo>
                      <a:pt x="417744" y="316535"/>
                      <a:pt x="418443" y="316123"/>
                      <a:pt x="419047" y="315822"/>
                    </a:cubicBezTo>
                    <a:cubicBezTo>
                      <a:pt x="389023" y="344426"/>
                      <a:pt x="393138" y="364731"/>
                      <a:pt x="412364" y="369995"/>
                    </a:cubicBezTo>
                    <a:cubicBezTo>
                      <a:pt x="423384" y="371431"/>
                      <a:pt x="431574" y="372075"/>
                      <a:pt x="448067" y="384477"/>
                    </a:cubicBezTo>
                    <a:cubicBezTo>
                      <a:pt x="468221" y="407842"/>
                      <a:pt x="458569" y="429774"/>
                      <a:pt x="448975" y="442400"/>
                    </a:cubicBezTo>
                    <a:cubicBezTo>
                      <a:pt x="437545" y="455314"/>
                      <a:pt x="413423" y="465400"/>
                      <a:pt x="390591" y="447872"/>
                    </a:cubicBezTo>
                    <a:cubicBezTo>
                      <a:pt x="378394" y="438608"/>
                      <a:pt x="373468" y="425034"/>
                      <a:pt x="373800" y="413402"/>
                    </a:cubicBezTo>
                    <a:cubicBezTo>
                      <a:pt x="372696" y="411781"/>
                      <a:pt x="365332" y="370370"/>
                      <a:pt x="322634" y="414828"/>
                    </a:cubicBezTo>
                    <a:lnTo>
                      <a:pt x="325243" y="411388"/>
                    </a:lnTo>
                    <a:lnTo>
                      <a:pt x="248395" y="490020"/>
                    </a:lnTo>
                    <a:cubicBezTo>
                      <a:pt x="208939" y="451897"/>
                      <a:pt x="199129" y="442073"/>
                      <a:pt x="174192" y="418236"/>
                    </a:cubicBezTo>
                    <a:cubicBezTo>
                      <a:pt x="145587" y="388212"/>
                      <a:pt x="125282" y="392327"/>
                      <a:pt x="120018" y="411553"/>
                    </a:cubicBezTo>
                    <a:cubicBezTo>
                      <a:pt x="118582" y="422573"/>
                      <a:pt x="117938" y="430763"/>
                      <a:pt x="105536" y="447256"/>
                    </a:cubicBezTo>
                    <a:cubicBezTo>
                      <a:pt x="82171" y="467410"/>
                      <a:pt x="60239" y="457758"/>
                      <a:pt x="47614" y="448164"/>
                    </a:cubicBezTo>
                    <a:cubicBezTo>
                      <a:pt x="34699" y="436734"/>
                      <a:pt x="24614" y="412612"/>
                      <a:pt x="42141" y="389780"/>
                    </a:cubicBezTo>
                    <a:cubicBezTo>
                      <a:pt x="51405" y="377583"/>
                      <a:pt x="64979" y="372657"/>
                      <a:pt x="76612" y="372989"/>
                    </a:cubicBezTo>
                    <a:cubicBezTo>
                      <a:pt x="78232" y="371886"/>
                      <a:pt x="119644" y="364521"/>
                      <a:pt x="75186" y="321823"/>
                    </a:cubicBezTo>
                    <a:cubicBezTo>
                      <a:pt x="58767" y="305402"/>
                      <a:pt x="23648" y="271235"/>
                      <a:pt x="0" y="248738"/>
                    </a:cubicBezTo>
                    <a:lnTo>
                      <a:pt x="77303" y="168146"/>
                    </a:lnTo>
                    <a:cubicBezTo>
                      <a:pt x="104269" y="140313"/>
                      <a:pt x="122130" y="156409"/>
                      <a:pt x="124388" y="175543"/>
                    </a:cubicBezTo>
                    <a:cubicBezTo>
                      <a:pt x="124457" y="182466"/>
                      <a:pt x="127106" y="193106"/>
                      <a:pt x="137575" y="203052"/>
                    </a:cubicBezTo>
                    <a:cubicBezTo>
                      <a:pt x="153931" y="220277"/>
                      <a:pt x="181252" y="217451"/>
                      <a:pt x="196721" y="201951"/>
                    </a:cubicBezTo>
                    <a:cubicBezTo>
                      <a:pt x="211961" y="185740"/>
                      <a:pt x="213057" y="157882"/>
                      <a:pt x="196146" y="142797"/>
                    </a:cubicBezTo>
                    <a:cubicBezTo>
                      <a:pt x="184301" y="132637"/>
                      <a:pt x="177155" y="131453"/>
                      <a:pt x="166513" y="129894"/>
                    </a:cubicBezTo>
                    <a:cubicBezTo>
                      <a:pt x="154522" y="129013"/>
                      <a:pt x="131185" y="112953"/>
                      <a:pt x="157905" y="85228"/>
                    </a:cubicBezTo>
                    <a:close/>
                  </a:path>
                </a:pathLst>
              </a:custGeom>
              <a:grpFill/>
              <a:ln>
                <a:solidFill>
                  <a:srgbClr val="21734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grpSp>
        <p:sp>
          <p:nvSpPr>
            <p:cNvPr id="77" name="Oval 47"/>
            <p:cNvSpPr/>
            <p:nvPr/>
          </p:nvSpPr>
          <p:spPr>
            <a:xfrm>
              <a:off x="388608" y="3710471"/>
              <a:ext cx="1119626" cy="1119626"/>
            </a:xfrm>
            <a:prstGeom prst="ellipse">
              <a:avLst/>
            </a:prstGeom>
            <a:solidFill>
              <a:srgbClr val="F2C812"/>
            </a:solidFill>
            <a:ln w="3175" cap="flat" cmpd="sng" algn="ctr">
              <a:noFill/>
              <a:prstDash val="solid"/>
            </a:ln>
            <a:effectLst/>
          </p:spPr>
          <p:txBody>
            <a:bodyPr vert="horz" wrap="none" lIns="0" tIns="45720" rIns="0" bIns="0" rtlCol="0" anchor="t"/>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Segoe UI"/>
                  <a:ea typeface="Segoe UI" pitchFamily="34" charset="0"/>
                  <a:cs typeface="Segoe UI" pitchFamily="34" charset="0"/>
                </a:rPr>
                <a:t>Report</a:t>
              </a:r>
            </a:p>
          </p:txBody>
        </p:sp>
        <p:sp>
          <p:nvSpPr>
            <p:cNvPr id="78" name="Oval 950"/>
            <p:cNvSpPr/>
            <p:nvPr/>
          </p:nvSpPr>
          <p:spPr>
            <a:xfrm>
              <a:off x="388608" y="1252295"/>
              <a:ext cx="1119626" cy="1119626"/>
            </a:xfrm>
            <a:prstGeom prst="ellipse">
              <a:avLst/>
            </a:prstGeom>
            <a:solidFill>
              <a:srgbClr val="F2C812"/>
            </a:solidFill>
            <a:ln w="3175" cap="flat" cmpd="sng" algn="ctr">
              <a:noFill/>
              <a:prstDash val="solid"/>
            </a:ln>
            <a:effectLst/>
          </p:spPr>
          <p:txBody>
            <a:bodyPr vert="horz" wrap="none" lIns="0" tIns="45720" rIns="0" bIns="0" rtlCol="0" anchor="t"/>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1" i="0" u="none" strike="noStrike" kern="1200" cap="none" spc="0" normalizeH="0" baseline="0" noProof="0">
                <a:ln>
                  <a:noFill/>
                </a:ln>
                <a:solidFill>
                  <a:srgbClr val="217346"/>
                </a:solidFill>
                <a:effectLst/>
                <a:uLnTx/>
                <a:uFillTx/>
                <a:latin typeface="Segoe UI"/>
                <a:ea typeface="Segoe UI" pitchFamily="34" charset="0"/>
                <a:cs typeface="Segoe UI" pitchFamily="34" charset="0"/>
              </a:endParaRPr>
            </a:p>
          </p:txBody>
        </p:sp>
        <p:grpSp>
          <p:nvGrpSpPr>
            <p:cNvPr id="79" name="Group 78"/>
            <p:cNvGrpSpPr/>
            <p:nvPr/>
          </p:nvGrpSpPr>
          <p:grpSpPr>
            <a:xfrm>
              <a:off x="1264851" y="3482890"/>
              <a:ext cx="292254" cy="354906"/>
              <a:chOff x="1296521" y="3253388"/>
              <a:chExt cx="292254" cy="354906"/>
            </a:xfrm>
            <a:solidFill>
              <a:srgbClr val="F2C812"/>
            </a:solidFill>
          </p:grpSpPr>
          <p:sp>
            <p:nvSpPr>
              <p:cNvPr id="99" name="Isosceles Triangle 98"/>
              <p:cNvSpPr/>
              <p:nvPr/>
            </p:nvSpPr>
            <p:spPr bwMode="auto">
              <a:xfrm rot="13636515">
                <a:off x="1461362" y="328936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0" name="Isosceles Triangle 99"/>
              <p:cNvSpPr/>
              <p:nvPr/>
            </p:nvSpPr>
            <p:spPr bwMode="auto">
              <a:xfrm rot="13636515">
                <a:off x="1357669" y="338258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1" name="Isosceles Triangle 100"/>
              <p:cNvSpPr/>
              <p:nvPr/>
            </p:nvSpPr>
            <p:spPr bwMode="auto">
              <a:xfrm rot="13636515">
                <a:off x="1260548" y="3480882"/>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80" name="Group 79"/>
            <p:cNvGrpSpPr/>
            <p:nvPr/>
          </p:nvGrpSpPr>
          <p:grpSpPr>
            <a:xfrm rot="15940603">
              <a:off x="1334576" y="2204404"/>
              <a:ext cx="292254" cy="354906"/>
              <a:chOff x="1296521" y="3253388"/>
              <a:chExt cx="292254" cy="354906"/>
            </a:xfrm>
            <a:solidFill>
              <a:srgbClr val="F2C812"/>
            </a:solidFill>
          </p:grpSpPr>
          <p:sp>
            <p:nvSpPr>
              <p:cNvPr id="96" name="Isosceles Triangle 95"/>
              <p:cNvSpPr/>
              <p:nvPr/>
            </p:nvSpPr>
            <p:spPr bwMode="auto">
              <a:xfrm rot="13636515">
                <a:off x="1461362" y="328936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7" name="Isosceles Triangle 96"/>
              <p:cNvSpPr/>
              <p:nvPr/>
            </p:nvSpPr>
            <p:spPr bwMode="auto">
              <a:xfrm rot="13636515">
                <a:off x="1357669" y="338258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8" name="Isosceles Triangle 97"/>
              <p:cNvSpPr/>
              <p:nvPr/>
            </p:nvSpPr>
            <p:spPr bwMode="auto">
              <a:xfrm rot="13636515">
                <a:off x="1260548" y="3480882"/>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81" name="Group 80"/>
            <p:cNvGrpSpPr/>
            <p:nvPr/>
          </p:nvGrpSpPr>
          <p:grpSpPr>
            <a:xfrm rot="16043978">
              <a:off x="1317220" y="4717577"/>
              <a:ext cx="292254" cy="354906"/>
              <a:chOff x="1296521" y="3253388"/>
              <a:chExt cx="292254" cy="354906"/>
            </a:xfrm>
            <a:solidFill>
              <a:srgbClr val="F2C812"/>
            </a:solidFill>
          </p:grpSpPr>
          <p:sp>
            <p:nvSpPr>
              <p:cNvPr id="93" name="Isosceles Triangle 92"/>
              <p:cNvSpPr/>
              <p:nvPr/>
            </p:nvSpPr>
            <p:spPr bwMode="auto">
              <a:xfrm rot="13636515">
                <a:off x="1461362" y="328936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4" name="Isosceles Triangle 93"/>
              <p:cNvSpPr/>
              <p:nvPr/>
            </p:nvSpPr>
            <p:spPr bwMode="auto">
              <a:xfrm rot="13636515">
                <a:off x="1357669" y="338258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5" name="Isosceles Triangle 94"/>
              <p:cNvSpPr/>
              <p:nvPr/>
            </p:nvSpPr>
            <p:spPr bwMode="auto">
              <a:xfrm rot="13636515">
                <a:off x="1260548" y="3480882"/>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82" name="Oval 36"/>
            <p:cNvSpPr/>
            <p:nvPr/>
          </p:nvSpPr>
          <p:spPr>
            <a:xfrm>
              <a:off x="1413521" y="2481383"/>
              <a:ext cx="1119626" cy="1119626"/>
            </a:xfrm>
            <a:prstGeom prst="ellipse">
              <a:avLst/>
            </a:prstGeom>
            <a:solidFill>
              <a:srgbClr val="F2C812"/>
            </a:solidFill>
            <a:ln w="3175" cap="flat" cmpd="sng" algn="ctr">
              <a:noFill/>
              <a:prstDash val="solid"/>
            </a:ln>
            <a:effectLst/>
          </p:spPr>
          <p:txBody>
            <a:bodyPr vert="horz" wrap="none" lIns="0" tIns="0" rIns="0" bIns="0" rtlCol="0" anchor="t"/>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400" b="1" i="0" u="none" strike="noStrike" kern="1200" cap="none" spc="0" normalizeH="0" baseline="0" noProof="0">
                <a:ln>
                  <a:noFill/>
                </a:ln>
                <a:solidFill>
                  <a:srgbClr val="217346"/>
                </a:solidFill>
                <a:effectLst/>
                <a:uLnTx/>
                <a:uFillTx/>
                <a:latin typeface="Segoe UI"/>
                <a:ea typeface="Segoe UI" pitchFamily="34" charset="0"/>
                <a:cs typeface="Segoe UI" pitchFamily="34" charset="0"/>
              </a:endParaRPr>
            </a:p>
          </p:txBody>
        </p:sp>
        <p:sp>
          <p:nvSpPr>
            <p:cNvPr id="83" name="Donut 3"/>
            <p:cNvSpPr/>
            <p:nvPr/>
          </p:nvSpPr>
          <p:spPr bwMode="auto">
            <a:xfrm>
              <a:off x="1742065" y="3002355"/>
              <a:ext cx="383905" cy="351537"/>
            </a:xfrm>
            <a:custGeom>
              <a:avLst/>
              <a:gdLst/>
              <a:ahLst/>
              <a:cxnLst/>
              <a:rect l="l" t="t" r="r" b="b"/>
              <a:pathLst>
                <a:path w="1409956" h="1291077">
                  <a:moveTo>
                    <a:pt x="956401" y="78410"/>
                  </a:moveTo>
                  <a:cubicBezTo>
                    <a:pt x="747518" y="78410"/>
                    <a:pt x="578184" y="247744"/>
                    <a:pt x="578184" y="456627"/>
                  </a:cubicBezTo>
                  <a:cubicBezTo>
                    <a:pt x="578184" y="665510"/>
                    <a:pt x="747518" y="834844"/>
                    <a:pt x="956401" y="834844"/>
                  </a:cubicBezTo>
                  <a:cubicBezTo>
                    <a:pt x="1165284" y="834844"/>
                    <a:pt x="1334618" y="665510"/>
                    <a:pt x="1334618" y="456627"/>
                  </a:cubicBezTo>
                  <a:cubicBezTo>
                    <a:pt x="1334618" y="247744"/>
                    <a:pt x="1165284" y="78410"/>
                    <a:pt x="956401" y="78410"/>
                  </a:cubicBezTo>
                  <a:close/>
                  <a:moveTo>
                    <a:pt x="952756" y="0"/>
                  </a:moveTo>
                  <a:cubicBezTo>
                    <a:pt x="1205261" y="0"/>
                    <a:pt x="1409956" y="204695"/>
                    <a:pt x="1409956" y="457200"/>
                  </a:cubicBezTo>
                  <a:cubicBezTo>
                    <a:pt x="1409956" y="709705"/>
                    <a:pt x="1205261" y="914400"/>
                    <a:pt x="952756" y="914400"/>
                  </a:cubicBezTo>
                  <a:cubicBezTo>
                    <a:pt x="862133" y="914400"/>
                    <a:pt x="777669" y="888034"/>
                    <a:pt x="707132" y="841746"/>
                  </a:cubicBezTo>
                  <a:lnTo>
                    <a:pt x="136495" y="1280102"/>
                  </a:lnTo>
                  <a:cubicBezTo>
                    <a:pt x="21896" y="1327168"/>
                    <a:pt x="-44029" y="1213730"/>
                    <a:pt x="33797" y="1113182"/>
                  </a:cubicBezTo>
                  <a:lnTo>
                    <a:pt x="568587" y="703518"/>
                  </a:lnTo>
                  <a:cubicBezTo>
                    <a:pt x="522087" y="632814"/>
                    <a:pt x="495556" y="548105"/>
                    <a:pt x="495556" y="457200"/>
                  </a:cubicBezTo>
                  <a:cubicBezTo>
                    <a:pt x="495556" y="204695"/>
                    <a:pt x="700251" y="0"/>
                    <a:pt x="952756" y="0"/>
                  </a:cubicBezTo>
                  <a:close/>
                </a:path>
              </a:pathLst>
            </a:cu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sp>
          <p:nvSpPr>
            <p:cNvPr id="84" name="Rectangle 83"/>
            <p:cNvSpPr/>
            <p:nvPr/>
          </p:nvSpPr>
          <p:spPr>
            <a:xfrm>
              <a:off x="1600398" y="2677430"/>
              <a:ext cx="820353" cy="307777"/>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Segoe UI"/>
                  <a:ea typeface="Segoe UI" pitchFamily="34" charset="0"/>
                  <a:cs typeface="Segoe UI" pitchFamily="34" charset="0"/>
                </a:rPr>
                <a:t>Explore</a:t>
              </a:r>
              <a:endParaRPr kumimoji="0" lang="en-US" sz="1600" b="0" i="0" u="none" strike="noStrike" kern="1200" cap="none" spc="0" normalizeH="0" baseline="0" noProof="0">
                <a:ln>
                  <a:noFill/>
                </a:ln>
                <a:solidFill>
                  <a:srgbClr val="000000"/>
                </a:solidFill>
                <a:effectLst/>
                <a:uLnTx/>
                <a:uFillTx/>
                <a:latin typeface="Segoe UI"/>
                <a:ea typeface="+mn-ea"/>
                <a:cs typeface="+mn-cs"/>
              </a:endParaRPr>
            </a:p>
          </p:txBody>
        </p:sp>
        <p:sp>
          <p:nvSpPr>
            <p:cNvPr id="85" name="Rectangle 84"/>
            <p:cNvSpPr/>
            <p:nvPr/>
          </p:nvSpPr>
          <p:spPr>
            <a:xfrm>
              <a:off x="509174" y="1475232"/>
              <a:ext cx="838756" cy="307777"/>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Segoe UI"/>
                  <a:ea typeface="Segoe UI" pitchFamily="34" charset="0"/>
                  <a:cs typeface="Segoe UI" pitchFamily="34" charset="0"/>
                </a:rPr>
                <a:t>Prepare</a:t>
              </a: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86" name="Freeform 85"/>
            <p:cNvSpPr>
              <a:spLocks noChangeAspect="1"/>
            </p:cNvSpPr>
            <p:nvPr/>
          </p:nvSpPr>
          <p:spPr bwMode="black">
            <a:xfrm>
              <a:off x="1836174" y="5643069"/>
              <a:ext cx="274320" cy="284173"/>
            </a:xfrm>
            <a:custGeom>
              <a:avLst/>
              <a:gdLst>
                <a:gd name="T0" fmla="*/ 539 w 669"/>
                <a:gd name="T1" fmla="*/ 5 h 693"/>
                <a:gd name="T2" fmla="*/ 640 w 669"/>
                <a:gd name="T3" fmla="*/ 55 h 693"/>
                <a:gd name="T4" fmla="*/ 603 w 669"/>
                <a:gd name="T5" fmla="*/ 195 h 693"/>
                <a:gd name="T6" fmla="*/ 490 w 669"/>
                <a:gd name="T7" fmla="*/ 188 h 693"/>
                <a:gd name="T8" fmla="*/ 479 w 669"/>
                <a:gd name="T9" fmla="*/ 176 h 693"/>
                <a:gd name="T10" fmla="*/ 213 w 669"/>
                <a:gd name="T11" fmla="*/ 330 h 693"/>
                <a:gd name="T12" fmla="*/ 218 w 669"/>
                <a:gd name="T13" fmla="*/ 345 h 693"/>
                <a:gd name="T14" fmla="*/ 218 w 669"/>
                <a:gd name="T15" fmla="*/ 375 h 693"/>
                <a:gd name="T16" fmla="*/ 209 w 669"/>
                <a:gd name="T17" fmla="*/ 402 h 693"/>
                <a:gd name="T18" fmla="*/ 369 w 669"/>
                <a:gd name="T19" fmla="*/ 503 h 693"/>
                <a:gd name="T20" fmla="*/ 373 w 669"/>
                <a:gd name="T21" fmla="*/ 498 h 693"/>
                <a:gd name="T22" fmla="*/ 456 w 669"/>
                <a:gd name="T23" fmla="*/ 475 h 693"/>
                <a:gd name="T24" fmla="*/ 494 w 669"/>
                <a:gd name="T25" fmla="*/ 489 h 693"/>
                <a:gd name="T26" fmla="*/ 527 w 669"/>
                <a:gd name="T27" fmla="*/ 630 h 693"/>
                <a:gd name="T28" fmla="*/ 386 w 669"/>
                <a:gd name="T29" fmla="*/ 663 h 693"/>
                <a:gd name="T30" fmla="*/ 339 w 669"/>
                <a:gd name="T31" fmla="*/ 560 h 693"/>
                <a:gd name="T32" fmla="*/ 345 w 669"/>
                <a:gd name="T33" fmla="*/ 544 h 693"/>
                <a:gd name="T34" fmla="*/ 177 w 669"/>
                <a:gd name="T35" fmla="*/ 439 h 693"/>
                <a:gd name="T36" fmla="*/ 168 w 669"/>
                <a:gd name="T37" fmla="*/ 446 h 693"/>
                <a:gd name="T38" fmla="*/ 28 w 669"/>
                <a:gd name="T39" fmla="*/ 409 h 693"/>
                <a:gd name="T40" fmla="*/ 65 w 669"/>
                <a:gd name="T41" fmla="*/ 269 h 693"/>
                <a:gd name="T42" fmla="*/ 178 w 669"/>
                <a:gd name="T43" fmla="*/ 276 h 693"/>
                <a:gd name="T44" fmla="*/ 189 w 669"/>
                <a:gd name="T45" fmla="*/ 288 h 693"/>
                <a:gd name="T46" fmla="*/ 455 w 669"/>
                <a:gd name="T47" fmla="*/ 134 h 693"/>
                <a:gd name="T48" fmla="*/ 450 w 669"/>
                <a:gd name="T49" fmla="*/ 119 h 693"/>
                <a:gd name="T50" fmla="*/ 501 w 669"/>
                <a:gd name="T51" fmla="*/ 18 h 693"/>
                <a:gd name="T52" fmla="*/ 539 w 669"/>
                <a:gd name="T53" fmla="*/ 5 h 6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69" h="693">
                  <a:moveTo>
                    <a:pt x="539" y="5"/>
                  </a:moveTo>
                  <a:cubicBezTo>
                    <a:pt x="579" y="0"/>
                    <a:pt x="619" y="19"/>
                    <a:pt x="640" y="55"/>
                  </a:cubicBezTo>
                  <a:cubicBezTo>
                    <a:pt x="669" y="104"/>
                    <a:pt x="652" y="167"/>
                    <a:pt x="603" y="195"/>
                  </a:cubicBezTo>
                  <a:cubicBezTo>
                    <a:pt x="566" y="216"/>
                    <a:pt x="522" y="212"/>
                    <a:pt x="490" y="188"/>
                  </a:cubicBezTo>
                  <a:cubicBezTo>
                    <a:pt x="479" y="176"/>
                    <a:pt x="479" y="176"/>
                    <a:pt x="479" y="176"/>
                  </a:cubicBezTo>
                  <a:cubicBezTo>
                    <a:pt x="213" y="330"/>
                    <a:pt x="213" y="330"/>
                    <a:pt x="213" y="330"/>
                  </a:cubicBezTo>
                  <a:cubicBezTo>
                    <a:pt x="218" y="345"/>
                    <a:pt x="218" y="345"/>
                    <a:pt x="218" y="345"/>
                  </a:cubicBezTo>
                  <a:cubicBezTo>
                    <a:pt x="219" y="355"/>
                    <a:pt x="219" y="365"/>
                    <a:pt x="218" y="375"/>
                  </a:cubicBezTo>
                  <a:cubicBezTo>
                    <a:pt x="209" y="402"/>
                    <a:pt x="209" y="402"/>
                    <a:pt x="209" y="402"/>
                  </a:cubicBezTo>
                  <a:cubicBezTo>
                    <a:pt x="369" y="503"/>
                    <a:pt x="369" y="503"/>
                    <a:pt x="369" y="503"/>
                  </a:cubicBezTo>
                  <a:cubicBezTo>
                    <a:pt x="373" y="498"/>
                    <a:pt x="373" y="498"/>
                    <a:pt x="373" y="498"/>
                  </a:cubicBezTo>
                  <a:cubicBezTo>
                    <a:pt x="396" y="479"/>
                    <a:pt x="427" y="470"/>
                    <a:pt x="456" y="475"/>
                  </a:cubicBezTo>
                  <a:cubicBezTo>
                    <a:pt x="470" y="477"/>
                    <a:pt x="482" y="482"/>
                    <a:pt x="494" y="489"/>
                  </a:cubicBezTo>
                  <a:cubicBezTo>
                    <a:pt x="542" y="519"/>
                    <a:pt x="557" y="583"/>
                    <a:pt x="527" y="630"/>
                  </a:cubicBezTo>
                  <a:cubicBezTo>
                    <a:pt x="497" y="678"/>
                    <a:pt x="433" y="693"/>
                    <a:pt x="386" y="663"/>
                  </a:cubicBezTo>
                  <a:cubicBezTo>
                    <a:pt x="350" y="640"/>
                    <a:pt x="333" y="599"/>
                    <a:pt x="339" y="560"/>
                  </a:cubicBezTo>
                  <a:cubicBezTo>
                    <a:pt x="345" y="544"/>
                    <a:pt x="345" y="544"/>
                    <a:pt x="345" y="544"/>
                  </a:cubicBezTo>
                  <a:cubicBezTo>
                    <a:pt x="177" y="439"/>
                    <a:pt x="177" y="439"/>
                    <a:pt x="177" y="439"/>
                  </a:cubicBezTo>
                  <a:cubicBezTo>
                    <a:pt x="168" y="446"/>
                    <a:pt x="168" y="446"/>
                    <a:pt x="168" y="446"/>
                  </a:cubicBezTo>
                  <a:cubicBezTo>
                    <a:pt x="119" y="475"/>
                    <a:pt x="56" y="458"/>
                    <a:pt x="28" y="409"/>
                  </a:cubicBezTo>
                  <a:cubicBezTo>
                    <a:pt x="0" y="360"/>
                    <a:pt x="16" y="297"/>
                    <a:pt x="65" y="269"/>
                  </a:cubicBezTo>
                  <a:cubicBezTo>
                    <a:pt x="102" y="248"/>
                    <a:pt x="147" y="252"/>
                    <a:pt x="178" y="276"/>
                  </a:cubicBezTo>
                  <a:cubicBezTo>
                    <a:pt x="189" y="288"/>
                    <a:pt x="189" y="288"/>
                    <a:pt x="189" y="288"/>
                  </a:cubicBezTo>
                  <a:cubicBezTo>
                    <a:pt x="455" y="134"/>
                    <a:pt x="455" y="134"/>
                    <a:pt x="455" y="134"/>
                  </a:cubicBezTo>
                  <a:cubicBezTo>
                    <a:pt x="450" y="119"/>
                    <a:pt x="450" y="119"/>
                    <a:pt x="450" y="119"/>
                  </a:cubicBezTo>
                  <a:cubicBezTo>
                    <a:pt x="445" y="80"/>
                    <a:pt x="464" y="39"/>
                    <a:pt x="501" y="18"/>
                  </a:cubicBezTo>
                  <a:cubicBezTo>
                    <a:pt x="513" y="11"/>
                    <a:pt x="526" y="6"/>
                    <a:pt x="539" y="5"/>
                  </a:cubicBezTo>
                  <a:close/>
                </a:path>
              </a:pathLst>
            </a:custGeom>
            <a:solidFill>
              <a:schemeClr val="tx1"/>
            </a:solidFill>
            <a:ln>
              <a:noFill/>
            </a:ln>
          </p:spPr>
          <p:txBody>
            <a:bodyPr vert="horz" wrap="square" lIns="68574" tIns="34287" rIns="68574" bIns="34287"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0000"/>
                </a:solidFill>
                <a:effectLst/>
                <a:uLnTx/>
                <a:uFillTx/>
                <a:latin typeface="Segoe UI"/>
                <a:ea typeface="+mn-ea"/>
                <a:cs typeface="+mn-cs"/>
              </a:endParaRPr>
            </a:p>
          </p:txBody>
        </p:sp>
        <p:sp>
          <p:nvSpPr>
            <p:cNvPr id="87" name="Freeform 86"/>
            <p:cNvSpPr>
              <a:spLocks noChangeAspect="1" noEditPoints="1"/>
            </p:cNvSpPr>
            <p:nvPr/>
          </p:nvSpPr>
          <p:spPr bwMode="black">
            <a:xfrm>
              <a:off x="722320" y="1783009"/>
              <a:ext cx="452202" cy="366660"/>
            </a:xfrm>
            <a:custGeom>
              <a:avLst/>
              <a:gdLst>
                <a:gd name="T0" fmla="*/ 600 w 1107"/>
                <a:gd name="T1" fmla="*/ 625 h 897"/>
                <a:gd name="T2" fmla="*/ 649 w 1107"/>
                <a:gd name="T3" fmla="*/ 567 h 897"/>
                <a:gd name="T4" fmla="*/ 727 w 1107"/>
                <a:gd name="T5" fmla="*/ 482 h 897"/>
                <a:gd name="T6" fmla="*/ 601 w 1107"/>
                <a:gd name="T7" fmla="*/ 434 h 897"/>
                <a:gd name="T8" fmla="*/ 628 w 1107"/>
                <a:gd name="T9" fmla="*/ 305 h 897"/>
                <a:gd name="T10" fmla="*/ 547 w 1107"/>
                <a:gd name="T11" fmla="*/ 240 h 897"/>
                <a:gd name="T12" fmla="*/ 427 w 1107"/>
                <a:gd name="T13" fmla="*/ 287 h 897"/>
                <a:gd name="T14" fmla="*/ 368 w 1107"/>
                <a:gd name="T15" fmla="*/ 170 h 897"/>
                <a:gd name="T16" fmla="*/ 285 w 1107"/>
                <a:gd name="T17" fmla="*/ 263 h 897"/>
                <a:gd name="T18" fmla="*/ 241 w 1107"/>
                <a:gd name="T19" fmla="*/ 313 h 897"/>
                <a:gd name="T20" fmla="*/ 139 w 1107"/>
                <a:gd name="T21" fmla="*/ 281 h 897"/>
                <a:gd name="T22" fmla="*/ 79 w 1107"/>
                <a:gd name="T23" fmla="*/ 355 h 897"/>
                <a:gd name="T24" fmla="*/ 132 w 1107"/>
                <a:gd name="T25" fmla="*/ 446 h 897"/>
                <a:gd name="T26" fmla="*/ 83 w 1107"/>
                <a:gd name="T27" fmla="*/ 505 h 897"/>
                <a:gd name="T28" fmla="*/ 5 w 1107"/>
                <a:gd name="T29" fmla="*/ 590 h 897"/>
                <a:gd name="T30" fmla="*/ 132 w 1107"/>
                <a:gd name="T31" fmla="*/ 638 h 897"/>
                <a:gd name="T32" fmla="*/ 145 w 1107"/>
                <a:gd name="T33" fmla="*/ 669 h 897"/>
                <a:gd name="T34" fmla="*/ 110 w 1107"/>
                <a:gd name="T35" fmla="*/ 793 h 897"/>
                <a:gd name="T36" fmla="*/ 230 w 1107"/>
                <a:gd name="T37" fmla="*/ 781 h 897"/>
                <a:gd name="T38" fmla="*/ 306 w 1107"/>
                <a:gd name="T39" fmla="*/ 785 h 897"/>
                <a:gd name="T40" fmla="*/ 346 w 1107"/>
                <a:gd name="T41" fmla="*/ 878 h 897"/>
                <a:gd name="T42" fmla="*/ 440 w 1107"/>
                <a:gd name="T43" fmla="*/ 872 h 897"/>
                <a:gd name="T44" fmla="*/ 466 w 1107"/>
                <a:gd name="T45" fmla="*/ 764 h 897"/>
                <a:gd name="T46" fmla="*/ 539 w 1107"/>
                <a:gd name="T47" fmla="*/ 755 h 897"/>
                <a:gd name="T48" fmla="*/ 659 w 1107"/>
                <a:gd name="T49" fmla="*/ 743 h 897"/>
                <a:gd name="T50" fmla="*/ 263 w 1107"/>
                <a:gd name="T51" fmla="*/ 452 h 897"/>
                <a:gd name="T52" fmla="*/ 281 w 1107"/>
                <a:gd name="T53" fmla="*/ 633 h 897"/>
                <a:gd name="T54" fmla="*/ 1002 w 1107"/>
                <a:gd name="T55" fmla="*/ 332 h 897"/>
                <a:gd name="T56" fmla="*/ 1043 w 1107"/>
                <a:gd name="T57" fmla="*/ 304 h 897"/>
                <a:gd name="T58" fmla="*/ 1107 w 1107"/>
                <a:gd name="T59" fmla="*/ 266 h 897"/>
                <a:gd name="T60" fmla="*/ 1037 w 1107"/>
                <a:gd name="T61" fmla="*/ 213 h 897"/>
                <a:gd name="T62" fmla="*/ 1077 w 1107"/>
                <a:gd name="T63" fmla="*/ 138 h 897"/>
                <a:gd name="T64" fmla="*/ 1038 w 1107"/>
                <a:gd name="T65" fmla="*/ 83 h 897"/>
                <a:gd name="T66" fmla="*/ 956 w 1107"/>
                <a:gd name="T67" fmla="*/ 91 h 897"/>
                <a:gd name="T68" fmla="*/ 940 w 1107"/>
                <a:gd name="T69" fmla="*/ 7 h 897"/>
                <a:gd name="T70" fmla="*/ 872 w 1107"/>
                <a:gd name="T71" fmla="*/ 50 h 897"/>
                <a:gd name="T72" fmla="*/ 836 w 1107"/>
                <a:gd name="T73" fmla="*/ 74 h 897"/>
                <a:gd name="T74" fmla="*/ 778 w 1107"/>
                <a:gd name="T75" fmla="*/ 35 h 897"/>
                <a:gd name="T76" fmla="*/ 728 w 1107"/>
                <a:gd name="T77" fmla="*/ 70 h 897"/>
                <a:gd name="T78" fmla="*/ 744 w 1107"/>
                <a:gd name="T79" fmla="*/ 136 h 897"/>
                <a:gd name="T80" fmla="*/ 703 w 1107"/>
                <a:gd name="T81" fmla="*/ 164 h 897"/>
                <a:gd name="T82" fmla="*/ 640 w 1107"/>
                <a:gd name="T83" fmla="*/ 203 h 897"/>
                <a:gd name="T84" fmla="*/ 710 w 1107"/>
                <a:gd name="T85" fmla="*/ 255 h 897"/>
                <a:gd name="T86" fmla="*/ 712 w 1107"/>
                <a:gd name="T87" fmla="*/ 277 h 897"/>
                <a:gd name="T88" fmla="*/ 668 w 1107"/>
                <a:gd name="T89" fmla="*/ 347 h 897"/>
                <a:gd name="T90" fmla="*/ 745 w 1107"/>
                <a:gd name="T91" fmla="*/ 361 h 897"/>
                <a:gd name="T92" fmla="*/ 791 w 1107"/>
                <a:gd name="T93" fmla="*/ 377 h 897"/>
                <a:gd name="T94" fmla="*/ 799 w 1107"/>
                <a:gd name="T95" fmla="*/ 443 h 897"/>
                <a:gd name="T96" fmla="*/ 859 w 1107"/>
                <a:gd name="T97" fmla="*/ 456 h 897"/>
                <a:gd name="T98" fmla="*/ 894 w 1107"/>
                <a:gd name="T99" fmla="*/ 393 h 897"/>
                <a:gd name="T100" fmla="*/ 941 w 1107"/>
                <a:gd name="T101" fmla="*/ 401 h 897"/>
                <a:gd name="T102" fmla="*/ 1018 w 1107"/>
                <a:gd name="T103" fmla="*/ 415 h 897"/>
                <a:gd name="T104" fmla="*/ 825 w 1107"/>
                <a:gd name="T105" fmla="*/ 164 h 897"/>
                <a:gd name="T106" fmla="*/ 803 w 1107"/>
                <a:gd name="T107" fmla="*/ 279 h 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107" h="897">
                  <a:moveTo>
                    <a:pt x="654" y="716"/>
                  </a:moveTo>
                  <a:cubicBezTo>
                    <a:pt x="616" y="670"/>
                    <a:pt x="616" y="670"/>
                    <a:pt x="616" y="670"/>
                  </a:cubicBezTo>
                  <a:cubicBezTo>
                    <a:pt x="593" y="654"/>
                    <a:pt x="603" y="638"/>
                    <a:pt x="600" y="625"/>
                  </a:cubicBezTo>
                  <a:cubicBezTo>
                    <a:pt x="600" y="625"/>
                    <a:pt x="600" y="625"/>
                    <a:pt x="600" y="625"/>
                  </a:cubicBezTo>
                  <a:cubicBezTo>
                    <a:pt x="605" y="617"/>
                    <a:pt x="611" y="609"/>
                    <a:pt x="608" y="596"/>
                  </a:cubicBezTo>
                  <a:cubicBezTo>
                    <a:pt x="618" y="580"/>
                    <a:pt x="623" y="572"/>
                    <a:pt x="649" y="567"/>
                  </a:cubicBezTo>
                  <a:cubicBezTo>
                    <a:pt x="715" y="553"/>
                    <a:pt x="715" y="553"/>
                    <a:pt x="715" y="553"/>
                  </a:cubicBezTo>
                  <a:cubicBezTo>
                    <a:pt x="728" y="550"/>
                    <a:pt x="733" y="542"/>
                    <a:pt x="730" y="529"/>
                  </a:cubicBezTo>
                  <a:cubicBezTo>
                    <a:pt x="727" y="482"/>
                    <a:pt x="727" y="482"/>
                    <a:pt x="727" y="482"/>
                  </a:cubicBezTo>
                  <a:cubicBezTo>
                    <a:pt x="724" y="469"/>
                    <a:pt x="717" y="463"/>
                    <a:pt x="701" y="453"/>
                  </a:cubicBezTo>
                  <a:cubicBezTo>
                    <a:pt x="641" y="459"/>
                    <a:pt x="641" y="459"/>
                    <a:pt x="641" y="459"/>
                  </a:cubicBezTo>
                  <a:cubicBezTo>
                    <a:pt x="620" y="457"/>
                    <a:pt x="604" y="447"/>
                    <a:pt x="601" y="434"/>
                  </a:cubicBezTo>
                  <a:cubicBezTo>
                    <a:pt x="598" y="421"/>
                    <a:pt x="590" y="416"/>
                    <a:pt x="580" y="397"/>
                  </a:cubicBezTo>
                  <a:cubicBezTo>
                    <a:pt x="577" y="384"/>
                    <a:pt x="574" y="371"/>
                    <a:pt x="584" y="355"/>
                  </a:cubicBezTo>
                  <a:cubicBezTo>
                    <a:pt x="628" y="305"/>
                    <a:pt x="628" y="305"/>
                    <a:pt x="628" y="305"/>
                  </a:cubicBezTo>
                  <a:cubicBezTo>
                    <a:pt x="634" y="297"/>
                    <a:pt x="631" y="284"/>
                    <a:pt x="623" y="279"/>
                  </a:cubicBezTo>
                  <a:cubicBezTo>
                    <a:pt x="581" y="240"/>
                    <a:pt x="581" y="240"/>
                    <a:pt x="581" y="240"/>
                  </a:cubicBezTo>
                  <a:cubicBezTo>
                    <a:pt x="573" y="235"/>
                    <a:pt x="560" y="238"/>
                    <a:pt x="547" y="240"/>
                  </a:cubicBezTo>
                  <a:cubicBezTo>
                    <a:pt x="503" y="291"/>
                    <a:pt x="503" y="291"/>
                    <a:pt x="503" y="291"/>
                  </a:cubicBezTo>
                  <a:cubicBezTo>
                    <a:pt x="484" y="302"/>
                    <a:pt x="471" y="304"/>
                    <a:pt x="463" y="299"/>
                  </a:cubicBezTo>
                  <a:cubicBezTo>
                    <a:pt x="456" y="294"/>
                    <a:pt x="435" y="292"/>
                    <a:pt x="427" y="287"/>
                  </a:cubicBezTo>
                  <a:cubicBezTo>
                    <a:pt x="419" y="282"/>
                    <a:pt x="403" y="271"/>
                    <a:pt x="400" y="258"/>
                  </a:cubicBezTo>
                  <a:cubicBezTo>
                    <a:pt x="386" y="193"/>
                    <a:pt x="386" y="193"/>
                    <a:pt x="386" y="193"/>
                  </a:cubicBezTo>
                  <a:cubicBezTo>
                    <a:pt x="384" y="180"/>
                    <a:pt x="368" y="170"/>
                    <a:pt x="368" y="170"/>
                  </a:cubicBezTo>
                  <a:cubicBezTo>
                    <a:pt x="308" y="176"/>
                    <a:pt x="308" y="176"/>
                    <a:pt x="308" y="176"/>
                  </a:cubicBezTo>
                  <a:cubicBezTo>
                    <a:pt x="308" y="176"/>
                    <a:pt x="289" y="187"/>
                    <a:pt x="292" y="200"/>
                  </a:cubicBezTo>
                  <a:cubicBezTo>
                    <a:pt x="285" y="263"/>
                    <a:pt x="285" y="263"/>
                    <a:pt x="285" y="263"/>
                  </a:cubicBezTo>
                  <a:cubicBezTo>
                    <a:pt x="291" y="289"/>
                    <a:pt x="277" y="292"/>
                    <a:pt x="272" y="300"/>
                  </a:cubicBezTo>
                  <a:cubicBezTo>
                    <a:pt x="272" y="300"/>
                    <a:pt x="272" y="300"/>
                    <a:pt x="267" y="308"/>
                  </a:cubicBezTo>
                  <a:cubicBezTo>
                    <a:pt x="259" y="302"/>
                    <a:pt x="246" y="305"/>
                    <a:pt x="241" y="313"/>
                  </a:cubicBezTo>
                  <a:cubicBezTo>
                    <a:pt x="236" y="321"/>
                    <a:pt x="236" y="321"/>
                    <a:pt x="236" y="321"/>
                  </a:cubicBezTo>
                  <a:cubicBezTo>
                    <a:pt x="223" y="324"/>
                    <a:pt x="210" y="327"/>
                    <a:pt x="194" y="317"/>
                  </a:cubicBezTo>
                  <a:cubicBezTo>
                    <a:pt x="139" y="281"/>
                    <a:pt x="139" y="281"/>
                    <a:pt x="139" y="281"/>
                  </a:cubicBezTo>
                  <a:cubicBezTo>
                    <a:pt x="131" y="276"/>
                    <a:pt x="110" y="273"/>
                    <a:pt x="104" y="281"/>
                  </a:cubicBezTo>
                  <a:cubicBezTo>
                    <a:pt x="79" y="321"/>
                    <a:pt x="79" y="321"/>
                    <a:pt x="79" y="321"/>
                  </a:cubicBezTo>
                  <a:cubicBezTo>
                    <a:pt x="66" y="324"/>
                    <a:pt x="68" y="337"/>
                    <a:pt x="79" y="355"/>
                  </a:cubicBezTo>
                  <a:cubicBezTo>
                    <a:pt x="121" y="394"/>
                    <a:pt x="121" y="394"/>
                    <a:pt x="121" y="394"/>
                  </a:cubicBezTo>
                  <a:cubicBezTo>
                    <a:pt x="140" y="417"/>
                    <a:pt x="135" y="425"/>
                    <a:pt x="132" y="446"/>
                  </a:cubicBezTo>
                  <a:cubicBezTo>
                    <a:pt x="132" y="446"/>
                    <a:pt x="132" y="446"/>
                    <a:pt x="132" y="446"/>
                  </a:cubicBezTo>
                  <a:cubicBezTo>
                    <a:pt x="127" y="454"/>
                    <a:pt x="122" y="462"/>
                    <a:pt x="117" y="470"/>
                  </a:cubicBezTo>
                  <a:cubicBezTo>
                    <a:pt x="117" y="470"/>
                    <a:pt x="117" y="470"/>
                    <a:pt x="117" y="470"/>
                  </a:cubicBezTo>
                  <a:cubicBezTo>
                    <a:pt x="120" y="483"/>
                    <a:pt x="109" y="499"/>
                    <a:pt x="83" y="505"/>
                  </a:cubicBezTo>
                  <a:cubicBezTo>
                    <a:pt x="23" y="511"/>
                    <a:pt x="23" y="511"/>
                    <a:pt x="23" y="511"/>
                  </a:cubicBezTo>
                  <a:cubicBezTo>
                    <a:pt x="10" y="514"/>
                    <a:pt x="0" y="529"/>
                    <a:pt x="2" y="543"/>
                  </a:cubicBezTo>
                  <a:cubicBezTo>
                    <a:pt x="5" y="590"/>
                    <a:pt x="5" y="590"/>
                    <a:pt x="5" y="590"/>
                  </a:cubicBezTo>
                  <a:cubicBezTo>
                    <a:pt x="8" y="603"/>
                    <a:pt x="16" y="608"/>
                    <a:pt x="37" y="610"/>
                  </a:cubicBezTo>
                  <a:cubicBezTo>
                    <a:pt x="92" y="612"/>
                    <a:pt x="92" y="612"/>
                    <a:pt x="92" y="612"/>
                  </a:cubicBezTo>
                  <a:cubicBezTo>
                    <a:pt x="113" y="614"/>
                    <a:pt x="129" y="625"/>
                    <a:pt x="132" y="638"/>
                  </a:cubicBezTo>
                  <a:cubicBezTo>
                    <a:pt x="132" y="638"/>
                    <a:pt x="132" y="638"/>
                    <a:pt x="132" y="638"/>
                  </a:cubicBezTo>
                  <a:cubicBezTo>
                    <a:pt x="140" y="643"/>
                    <a:pt x="142" y="656"/>
                    <a:pt x="150" y="661"/>
                  </a:cubicBezTo>
                  <a:cubicBezTo>
                    <a:pt x="145" y="669"/>
                    <a:pt x="145" y="669"/>
                    <a:pt x="145" y="669"/>
                  </a:cubicBezTo>
                  <a:cubicBezTo>
                    <a:pt x="153" y="674"/>
                    <a:pt x="156" y="687"/>
                    <a:pt x="140" y="711"/>
                  </a:cubicBezTo>
                  <a:cubicBezTo>
                    <a:pt x="109" y="759"/>
                    <a:pt x="109" y="759"/>
                    <a:pt x="109" y="759"/>
                  </a:cubicBezTo>
                  <a:cubicBezTo>
                    <a:pt x="99" y="775"/>
                    <a:pt x="102" y="788"/>
                    <a:pt x="110" y="793"/>
                  </a:cubicBezTo>
                  <a:cubicBezTo>
                    <a:pt x="152" y="832"/>
                    <a:pt x="152" y="832"/>
                    <a:pt x="152" y="832"/>
                  </a:cubicBezTo>
                  <a:cubicBezTo>
                    <a:pt x="160" y="837"/>
                    <a:pt x="173" y="834"/>
                    <a:pt x="178" y="826"/>
                  </a:cubicBezTo>
                  <a:cubicBezTo>
                    <a:pt x="230" y="781"/>
                    <a:pt x="230" y="781"/>
                    <a:pt x="230" y="781"/>
                  </a:cubicBezTo>
                  <a:cubicBezTo>
                    <a:pt x="248" y="770"/>
                    <a:pt x="261" y="767"/>
                    <a:pt x="269" y="772"/>
                  </a:cubicBezTo>
                  <a:cubicBezTo>
                    <a:pt x="269" y="772"/>
                    <a:pt x="269" y="772"/>
                    <a:pt x="269" y="772"/>
                  </a:cubicBezTo>
                  <a:cubicBezTo>
                    <a:pt x="282" y="769"/>
                    <a:pt x="298" y="779"/>
                    <a:pt x="306" y="785"/>
                  </a:cubicBezTo>
                  <a:cubicBezTo>
                    <a:pt x="306" y="785"/>
                    <a:pt x="306" y="785"/>
                    <a:pt x="306" y="785"/>
                  </a:cubicBezTo>
                  <a:cubicBezTo>
                    <a:pt x="319" y="782"/>
                    <a:pt x="327" y="787"/>
                    <a:pt x="332" y="813"/>
                  </a:cubicBezTo>
                  <a:cubicBezTo>
                    <a:pt x="346" y="878"/>
                    <a:pt x="346" y="878"/>
                    <a:pt x="346" y="878"/>
                  </a:cubicBezTo>
                  <a:cubicBezTo>
                    <a:pt x="349" y="892"/>
                    <a:pt x="357" y="897"/>
                    <a:pt x="370" y="894"/>
                  </a:cubicBezTo>
                  <a:cubicBezTo>
                    <a:pt x="425" y="896"/>
                    <a:pt x="425" y="896"/>
                    <a:pt x="425" y="896"/>
                  </a:cubicBezTo>
                  <a:cubicBezTo>
                    <a:pt x="430" y="888"/>
                    <a:pt x="443" y="885"/>
                    <a:pt x="440" y="872"/>
                  </a:cubicBezTo>
                  <a:cubicBezTo>
                    <a:pt x="440" y="804"/>
                    <a:pt x="440" y="804"/>
                    <a:pt x="440" y="804"/>
                  </a:cubicBezTo>
                  <a:cubicBezTo>
                    <a:pt x="442" y="783"/>
                    <a:pt x="460" y="772"/>
                    <a:pt x="466" y="764"/>
                  </a:cubicBezTo>
                  <a:cubicBezTo>
                    <a:pt x="466" y="764"/>
                    <a:pt x="466" y="764"/>
                    <a:pt x="466" y="764"/>
                  </a:cubicBezTo>
                  <a:cubicBezTo>
                    <a:pt x="479" y="761"/>
                    <a:pt x="492" y="758"/>
                    <a:pt x="497" y="750"/>
                  </a:cubicBezTo>
                  <a:cubicBezTo>
                    <a:pt x="497" y="750"/>
                    <a:pt x="497" y="750"/>
                    <a:pt x="497" y="750"/>
                  </a:cubicBezTo>
                  <a:cubicBezTo>
                    <a:pt x="510" y="747"/>
                    <a:pt x="523" y="745"/>
                    <a:pt x="539" y="755"/>
                  </a:cubicBezTo>
                  <a:cubicBezTo>
                    <a:pt x="594" y="791"/>
                    <a:pt x="594" y="791"/>
                    <a:pt x="594" y="791"/>
                  </a:cubicBezTo>
                  <a:cubicBezTo>
                    <a:pt x="602" y="796"/>
                    <a:pt x="623" y="798"/>
                    <a:pt x="628" y="790"/>
                  </a:cubicBezTo>
                  <a:cubicBezTo>
                    <a:pt x="659" y="743"/>
                    <a:pt x="659" y="743"/>
                    <a:pt x="659" y="743"/>
                  </a:cubicBezTo>
                  <a:cubicBezTo>
                    <a:pt x="659" y="743"/>
                    <a:pt x="669" y="727"/>
                    <a:pt x="654" y="716"/>
                  </a:cubicBezTo>
                  <a:close/>
                  <a:moveTo>
                    <a:pt x="281" y="633"/>
                  </a:moveTo>
                  <a:cubicBezTo>
                    <a:pt x="223" y="584"/>
                    <a:pt x="219" y="502"/>
                    <a:pt x="263" y="452"/>
                  </a:cubicBezTo>
                  <a:cubicBezTo>
                    <a:pt x="313" y="393"/>
                    <a:pt x="399" y="382"/>
                    <a:pt x="457" y="431"/>
                  </a:cubicBezTo>
                  <a:cubicBezTo>
                    <a:pt x="507" y="475"/>
                    <a:pt x="518" y="561"/>
                    <a:pt x="469" y="619"/>
                  </a:cubicBezTo>
                  <a:cubicBezTo>
                    <a:pt x="420" y="678"/>
                    <a:pt x="339" y="682"/>
                    <a:pt x="281" y="633"/>
                  </a:cubicBezTo>
                  <a:close/>
                  <a:moveTo>
                    <a:pt x="1019" y="398"/>
                  </a:moveTo>
                  <a:cubicBezTo>
                    <a:pt x="1004" y="362"/>
                    <a:pt x="1004" y="362"/>
                    <a:pt x="1004" y="362"/>
                  </a:cubicBezTo>
                  <a:cubicBezTo>
                    <a:pt x="992" y="348"/>
                    <a:pt x="1002" y="340"/>
                    <a:pt x="1002" y="332"/>
                  </a:cubicBezTo>
                  <a:cubicBezTo>
                    <a:pt x="1002" y="332"/>
                    <a:pt x="1002" y="332"/>
                    <a:pt x="1002" y="332"/>
                  </a:cubicBezTo>
                  <a:cubicBezTo>
                    <a:pt x="1007" y="328"/>
                    <a:pt x="1011" y="324"/>
                    <a:pt x="1012" y="315"/>
                  </a:cubicBezTo>
                  <a:cubicBezTo>
                    <a:pt x="1021" y="307"/>
                    <a:pt x="1026" y="303"/>
                    <a:pt x="1043" y="304"/>
                  </a:cubicBezTo>
                  <a:cubicBezTo>
                    <a:pt x="1086" y="307"/>
                    <a:pt x="1086" y="307"/>
                    <a:pt x="1086" y="307"/>
                  </a:cubicBezTo>
                  <a:cubicBezTo>
                    <a:pt x="1095" y="308"/>
                    <a:pt x="1099" y="304"/>
                    <a:pt x="1100" y="295"/>
                  </a:cubicBezTo>
                  <a:cubicBezTo>
                    <a:pt x="1107" y="266"/>
                    <a:pt x="1107" y="266"/>
                    <a:pt x="1107" y="266"/>
                  </a:cubicBezTo>
                  <a:cubicBezTo>
                    <a:pt x="1107" y="257"/>
                    <a:pt x="1103" y="252"/>
                    <a:pt x="1095" y="243"/>
                  </a:cubicBezTo>
                  <a:cubicBezTo>
                    <a:pt x="1057" y="236"/>
                    <a:pt x="1057" y="236"/>
                    <a:pt x="1057" y="236"/>
                  </a:cubicBezTo>
                  <a:cubicBezTo>
                    <a:pt x="1044" y="231"/>
                    <a:pt x="1036" y="222"/>
                    <a:pt x="1037" y="213"/>
                  </a:cubicBezTo>
                  <a:cubicBezTo>
                    <a:pt x="1038" y="205"/>
                    <a:pt x="1034" y="200"/>
                    <a:pt x="1030" y="187"/>
                  </a:cubicBezTo>
                  <a:cubicBezTo>
                    <a:pt x="1031" y="178"/>
                    <a:pt x="1032" y="170"/>
                    <a:pt x="1041" y="162"/>
                  </a:cubicBezTo>
                  <a:cubicBezTo>
                    <a:pt x="1077" y="138"/>
                    <a:pt x="1077" y="138"/>
                    <a:pt x="1077" y="138"/>
                  </a:cubicBezTo>
                  <a:cubicBezTo>
                    <a:pt x="1082" y="134"/>
                    <a:pt x="1083" y="126"/>
                    <a:pt x="1079" y="121"/>
                  </a:cubicBezTo>
                  <a:cubicBezTo>
                    <a:pt x="1059" y="89"/>
                    <a:pt x="1059" y="89"/>
                    <a:pt x="1059" y="89"/>
                  </a:cubicBezTo>
                  <a:cubicBezTo>
                    <a:pt x="1055" y="85"/>
                    <a:pt x="1047" y="84"/>
                    <a:pt x="1038" y="83"/>
                  </a:cubicBezTo>
                  <a:cubicBezTo>
                    <a:pt x="1002" y="107"/>
                    <a:pt x="1002" y="107"/>
                    <a:pt x="1002" y="107"/>
                  </a:cubicBezTo>
                  <a:cubicBezTo>
                    <a:pt x="989" y="110"/>
                    <a:pt x="980" y="110"/>
                    <a:pt x="976" y="105"/>
                  </a:cubicBezTo>
                  <a:cubicBezTo>
                    <a:pt x="972" y="100"/>
                    <a:pt x="960" y="95"/>
                    <a:pt x="956" y="91"/>
                  </a:cubicBezTo>
                  <a:cubicBezTo>
                    <a:pt x="952" y="86"/>
                    <a:pt x="944" y="77"/>
                    <a:pt x="944" y="68"/>
                  </a:cubicBezTo>
                  <a:cubicBezTo>
                    <a:pt x="948" y="25"/>
                    <a:pt x="948" y="25"/>
                    <a:pt x="948" y="25"/>
                  </a:cubicBezTo>
                  <a:cubicBezTo>
                    <a:pt x="948" y="17"/>
                    <a:pt x="940" y="7"/>
                    <a:pt x="940" y="7"/>
                  </a:cubicBezTo>
                  <a:cubicBezTo>
                    <a:pt x="902" y="0"/>
                    <a:pt x="902" y="0"/>
                    <a:pt x="902" y="0"/>
                  </a:cubicBezTo>
                  <a:cubicBezTo>
                    <a:pt x="902" y="0"/>
                    <a:pt x="889" y="4"/>
                    <a:pt x="888" y="12"/>
                  </a:cubicBezTo>
                  <a:cubicBezTo>
                    <a:pt x="872" y="50"/>
                    <a:pt x="872" y="50"/>
                    <a:pt x="872" y="50"/>
                  </a:cubicBezTo>
                  <a:cubicBezTo>
                    <a:pt x="871" y="67"/>
                    <a:pt x="862" y="67"/>
                    <a:pt x="858" y="71"/>
                  </a:cubicBezTo>
                  <a:cubicBezTo>
                    <a:pt x="858" y="71"/>
                    <a:pt x="858" y="71"/>
                    <a:pt x="853" y="75"/>
                  </a:cubicBezTo>
                  <a:cubicBezTo>
                    <a:pt x="849" y="70"/>
                    <a:pt x="840" y="70"/>
                    <a:pt x="836" y="74"/>
                  </a:cubicBezTo>
                  <a:cubicBezTo>
                    <a:pt x="831" y="78"/>
                    <a:pt x="831" y="78"/>
                    <a:pt x="831" y="78"/>
                  </a:cubicBezTo>
                  <a:cubicBezTo>
                    <a:pt x="822" y="77"/>
                    <a:pt x="814" y="76"/>
                    <a:pt x="806" y="67"/>
                  </a:cubicBezTo>
                  <a:cubicBezTo>
                    <a:pt x="778" y="35"/>
                    <a:pt x="778" y="35"/>
                    <a:pt x="778" y="35"/>
                  </a:cubicBezTo>
                  <a:cubicBezTo>
                    <a:pt x="774" y="30"/>
                    <a:pt x="762" y="25"/>
                    <a:pt x="757" y="29"/>
                  </a:cubicBezTo>
                  <a:cubicBezTo>
                    <a:pt x="734" y="49"/>
                    <a:pt x="734" y="49"/>
                    <a:pt x="734" y="49"/>
                  </a:cubicBezTo>
                  <a:cubicBezTo>
                    <a:pt x="725" y="49"/>
                    <a:pt x="725" y="57"/>
                    <a:pt x="728" y="70"/>
                  </a:cubicBezTo>
                  <a:cubicBezTo>
                    <a:pt x="747" y="102"/>
                    <a:pt x="747" y="102"/>
                    <a:pt x="747" y="102"/>
                  </a:cubicBezTo>
                  <a:cubicBezTo>
                    <a:pt x="754" y="120"/>
                    <a:pt x="750" y="124"/>
                    <a:pt x="744" y="136"/>
                  </a:cubicBezTo>
                  <a:cubicBezTo>
                    <a:pt x="744" y="136"/>
                    <a:pt x="744" y="136"/>
                    <a:pt x="744" y="136"/>
                  </a:cubicBezTo>
                  <a:cubicBezTo>
                    <a:pt x="740" y="140"/>
                    <a:pt x="735" y="144"/>
                    <a:pt x="731" y="148"/>
                  </a:cubicBezTo>
                  <a:cubicBezTo>
                    <a:pt x="731" y="148"/>
                    <a:pt x="731" y="148"/>
                    <a:pt x="731" y="148"/>
                  </a:cubicBezTo>
                  <a:cubicBezTo>
                    <a:pt x="730" y="157"/>
                    <a:pt x="721" y="165"/>
                    <a:pt x="703" y="164"/>
                  </a:cubicBezTo>
                  <a:cubicBezTo>
                    <a:pt x="665" y="157"/>
                    <a:pt x="665" y="157"/>
                    <a:pt x="665" y="157"/>
                  </a:cubicBezTo>
                  <a:cubicBezTo>
                    <a:pt x="656" y="156"/>
                    <a:pt x="647" y="164"/>
                    <a:pt x="647" y="173"/>
                  </a:cubicBezTo>
                  <a:cubicBezTo>
                    <a:pt x="640" y="203"/>
                    <a:pt x="640" y="203"/>
                    <a:pt x="640" y="203"/>
                  </a:cubicBezTo>
                  <a:cubicBezTo>
                    <a:pt x="639" y="211"/>
                    <a:pt x="643" y="216"/>
                    <a:pt x="656" y="221"/>
                  </a:cubicBezTo>
                  <a:cubicBezTo>
                    <a:pt x="690" y="232"/>
                    <a:pt x="690" y="232"/>
                    <a:pt x="690" y="232"/>
                  </a:cubicBezTo>
                  <a:cubicBezTo>
                    <a:pt x="702" y="237"/>
                    <a:pt x="710" y="246"/>
                    <a:pt x="710" y="255"/>
                  </a:cubicBezTo>
                  <a:cubicBezTo>
                    <a:pt x="710" y="255"/>
                    <a:pt x="710" y="255"/>
                    <a:pt x="710" y="255"/>
                  </a:cubicBezTo>
                  <a:cubicBezTo>
                    <a:pt x="714" y="260"/>
                    <a:pt x="713" y="268"/>
                    <a:pt x="717" y="273"/>
                  </a:cubicBezTo>
                  <a:cubicBezTo>
                    <a:pt x="712" y="277"/>
                    <a:pt x="712" y="277"/>
                    <a:pt x="712" y="277"/>
                  </a:cubicBezTo>
                  <a:cubicBezTo>
                    <a:pt x="716" y="281"/>
                    <a:pt x="716" y="290"/>
                    <a:pt x="702" y="302"/>
                  </a:cubicBezTo>
                  <a:cubicBezTo>
                    <a:pt x="674" y="326"/>
                    <a:pt x="674" y="326"/>
                    <a:pt x="674" y="326"/>
                  </a:cubicBezTo>
                  <a:cubicBezTo>
                    <a:pt x="665" y="334"/>
                    <a:pt x="664" y="343"/>
                    <a:pt x="668" y="347"/>
                  </a:cubicBezTo>
                  <a:cubicBezTo>
                    <a:pt x="687" y="379"/>
                    <a:pt x="687" y="379"/>
                    <a:pt x="687" y="379"/>
                  </a:cubicBezTo>
                  <a:cubicBezTo>
                    <a:pt x="691" y="383"/>
                    <a:pt x="700" y="384"/>
                    <a:pt x="704" y="380"/>
                  </a:cubicBezTo>
                  <a:cubicBezTo>
                    <a:pt x="745" y="361"/>
                    <a:pt x="745" y="361"/>
                    <a:pt x="745" y="361"/>
                  </a:cubicBezTo>
                  <a:cubicBezTo>
                    <a:pt x="758" y="358"/>
                    <a:pt x="767" y="358"/>
                    <a:pt x="771" y="363"/>
                  </a:cubicBezTo>
                  <a:cubicBezTo>
                    <a:pt x="771" y="363"/>
                    <a:pt x="771" y="363"/>
                    <a:pt x="771" y="363"/>
                  </a:cubicBezTo>
                  <a:cubicBezTo>
                    <a:pt x="779" y="364"/>
                    <a:pt x="787" y="373"/>
                    <a:pt x="791" y="377"/>
                  </a:cubicBezTo>
                  <a:cubicBezTo>
                    <a:pt x="791" y="377"/>
                    <a:pt x="791" y="377"/>
                    <a:pt x="791" y="377"/>
                  </a:cubicBezTo>
                  <a:cubicBezTo>
                    <a:pt x="800" y="378"/>
                    <a:pt x="804" y="383"/>
                    <a:pt x="802" y="400"/>
                  </a:cubicBezTo>
                  <a:cubicBezTo>
                    <a:pt x="799" y="443"/>
                    <a:pt x="799" y="443"/>
                    <a:pt x="799" y="443"/>
                  </a:cubicBezTo>
                  <a:cubicBezTo>
                    <a:pt x="798" y="451"/>
                    <a:pt x="802" y="456"/>
                    <a:pt x="811" y="457"/>
                  </a:cubicBezTo>
                  <a:cubicBezTo>
                    <a:pt x="845" y="468"/>
                    <a:pt x="845" y="468"/>
                    <a:pt x="845" y="468"/>
                  </a:cubicBezTo>
                  <a:cubicBezTo>
                    <a:pt x="849" y="464"/>
                    <a:pt x="858" y="464"/>
                    <a:pt x="859" y="456"/>
                  </a:cubicBezTo>
                  <a:cubicBezTo>
                    <a:pt x="871" y="413"/>
                    <a:pt x="871" y="413"/>
                    <a:pt x="871" y="413"/>
                  </a:cubicBezTo>
                  <a:cubicBezTo>
                    <a:pt x="876" y="401"/>
                    <a:pt x="889" y="397"/>
                    <a:pt x="894" y="393"/>
                  </a:cubicBezTo>
                  <a:cubicBezTo>
                    <a:pt x="894" y="393"/>
                    <a:pt x="894" y="393"/>
                    <a:pt x="894" y="393"/>
                  </a:cubicBezTo>
                  <a:cubicBezTo>
                    <a:pt x="902" y="394"/>
                    <a:pt x="911" y="395"/>
                    <a:pt x="916" y="391"/>
                  </a:cubicBezTo>
                  <a:cubicBezTo>
                    <a:pt x="916" y="391"/>
                    <a:pt x="916" y="391"/>
                    <a:pt x="916" y="391"/>
                  </a:cubicBezTo>
                  <a:cubicBezTo>
                    <a:pt x="924" y="391"/>
                    <a:pt x="933" y="392"/>
                    <a:pt x="941" y="401"/>
                  </a:cubicBezTo>
                  <a:cubicBezTo>
                    <a:pt x="969" y="433"/>
                    <a:pt x="969" y="433"/>
                    <a:pt x="969" y="433"/>
                  </a:cubicBezTo>
                  <a:cubicBezTo>
                    <a:pt x="973" y="438"/>
                    <a:pt x="985" y="443"/>
                    <a:pt x="990" y="439"/>
                  </a:cubicBezTo>
                  <a:cubicBezTo>
                    <a:pt x="1018" y="415"/>
                    <a:pt x="1018" y="415"/>
                    <a:pt x="1018" y="415"/>
                  </a:cubicBezTo>
                  <a:cubicBezTo>
                    <a:pt x="1018" y="415"/>
                    <a:pt x="1027" y="407"/>
                    <a:pt x="1019" y="398"/>
                  </a:cubicBezTo>
                  <a:close/>
                  <a:moveTo>
                    <a:pt x="803" y="279"/>
                  </a:moveTo>
                  <a:cubicBezTo>
                    <a:pt x="776" y="238"/>
                    <a:pt x="788" y="187"/>
                    <a:pt x="825" y="164"/>
                  </a:cubicBezTo>
                  <a:cubicBezTo>
                    <a:pt x="866" y="136"/>
                    <a:pt x="921" y="144"/>
                    <a:pt x="948" y="185"/>
                  </a:cubicBezTo>
                  <a:cubicBezTo>
                    <a:pt x="972" y="221"/>
                    <a:pt x="963" y="277"/>
                    <a:pt x="922" y="304"/>
                  </a:cubicBezTo>
                  <a:cubicBezTo>
                    <a:pt x="881" y="332"/>
                    <a:pt x="830" y="320"/>
                    <a:pt x="803" y="279"/>
                  </a:cubicBezTo>
                  <a:close/>
                </a:path>
              </a:pathLst>
            </a:custGeom>
            <a:solidFill>
              <a:schemeClr val="tx1"/>
            </a:solidFill>
            <a:ln>
              <a:noFill/>
            </a:ln>
          </p:spPr>
          <p:txBody>
            <a:bodyPr vert="horz" wrap="square" lIns="68574" tIns="34287" rIns="68574" bIns="34287"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17346"/>
                </a:solidFill>
                <a:effectLst/>
                <a:uLnTx/>
                <a:uFillTx/>
                <a:latin typeface="Segoe UI"/>
                <a:ea typeface="+mn-ea"/>
                <a:cs typeface="+mn-cs"/>
              </a:endParaRPr>
            </a:p>
          </p:txBody>
        </p:sp>
        <p:sp>
          <p:nvSpPr>
            <p:cNvPr id="88" name="Freeform 87"/>
            <p:cNvSpPr>
              <a:spLocks noChangeAspect="1"/>
            </p:cNvSpPr>
            <p:nvPr/>
          </p:nvSpPr>
          <p:spPr bwMode="black">
            <a:xfrm>
              <a:off x="776985" y="4213905"/>
              <a:ext cx="342871" cy="335728"/>
            </a:xfrm>
            <a:custGeom>
              <a:avLst/>
              <a:gdLst>
                <a:gd name="connsiteX0" fmla="*/ 3713863 w 4893730"/>
                <a:gd name="connsiteY0" fmla="*/ 2130808 h 4791777"/>
                <a:gd name="connsiteX1" fmla="*/ 4426142 w 4893730"/>
                <a:gd name="connsiteY1" fmla="*/ 2130808 h 4791777"/>
                <a:gd name="connsiteX2" fmla="*/ 4598071 w 4893730"/>
                <a:gd name="connsiteY2" fmla="*/ 2301547 h 4791777"/>
                <a:gd name="connsiteX3" fmla="*/ 4598071 w 4893730"/>
                <a:gd name="connsiteY3" fmla="*/ 3886978 h 4791777"/>
                <a:gd name="connsiteX4" fmla="*/ 4426142 w 4893730"/>
                <a:gd name="connsiteY4" fmla="*/ 4057717 h 4791777"/>
                <a:gd name="connsiteX5" fmla="*/ 3713863 w 4893730"/>
                <a:gd name="connsiteY5" fmla="*/ 4057717 h 4791777"/>
                <a:gd name="connsiteX6" fmla="*/ 3517372 w 4893730"/>
                <a:gd name="connsiteY6" fmla="*/ 3886978 h 4791777"/>
                <a:gd name="connsiteX7" fmla="*/ 3517372 w 4893730"/>
                <a:gd name="connsiteY7" fmla="*/ 2301547 h 4791777"/>
                <a:gd name="connsiteX8" fmla="*/ 3713863 w 4893730"/>
                <a:gd name="connsiteY8" fmla="*/ 2130808 h 4791777"/>
                <a:gd name="connsiteX9" fmla="*/ 904368 w 4893730"/>
                <a:gd name="connsiteY9" fmla="*/ 1223432 h 4791777"/>
                <a:gd name="connsiteX10" fmla="*/ 1609930 w 4893730"/>
                <a:gd name="connsiteY10" fmla="*/ 1223432 h 4791777"/>
                <a:gd name="connsiteX11" fmla="*/ 1804567 w 4893730"/>
                <a:gd name="connsiteY11" fmla="*/ 1394467 h 4791777"/>
                <a:gd name="connsiteX12" fmla="*/ 1804567 w 4893730"/>
                <a:gd name="connsiteY12" fmla="*/ 3886683 h 4791777"/>
                <a:gd name="connsiteX13" fmla="*/ 1609930 w 4893730"/>
                <a:gd name="connsiteY13" fmla="*/ 4057717 h 4791777"/>
                <a:gd name="connsiteX14" fmla="*/ 904368 w 4893730"/>
                <a:gd name="connsiteY14" fmla="*/ 4057717 h 4791777"/>
                <a:gd name="connsiteX15" fmla="*/ 734060 w 4893730"/>
                <a:gd name="connsiteY15" fmla="*/ 3886683 h 4791777"/>
                <a:gd name="connsiteX16" fmla="*/ 734060 w 4893730"/>
                <a:gd name="connsiteY16" fmla="*/ 1394467 h 4791777"/>
                <a:gd name="connsiteX17" fmla="*/ 904368 w 4893730"/>
                <a:gd name="connsiteY17" fmla="*/ 1223432 h 4791777"/>
                <a:gd name="connsiteX18" fmla="*/ 2325453 w 4893730"/>
                <a:gd name="connsiteY18" fmla="*/ 316050 h 4791777"/>
                <a:gd name="connsiteX19" fmla="*/ 3031014 w 4893730"/>
                <a:gd name="connsiteY19" fmla="*/ 316050 h 4791777"/>
                <a:gd name="connsiteX20" fmla="*/ 3201322 w 4893730"/>
                <a:gd name="connsiteY20" fmla="*/ 487238 h 4791777"/>
                <a:gd name="connsiteX21" fmla="*/ 3201322 w 4893730"/>
                <a:gd name="connsiteY21" fmla="*/ 3886530 h 4791777"/>
                <a:gd name="connsiteX22" fmla="*/ 3031014 w 4893730"/>
                <a:gd name="connsiteY22" fmla="*/ 4057717 h 4791777"/>
                <a:gd name="connsiteX23" fmla="*/ 2325453 w 4893730"/>
                <a:gd name="connsiteY23" fmla="*/ 4057717 h 4791777"/>
                <a:gd name="connsiteX24" fmla="*/ 2130815 w 4893730"/>
                <a:gd name="connsiteY24" fmla="*/ 3886530 h 4791777"/>
                <a:gd name="connsiteX25" fmla="*/ 2130815 w 4893730"/>
                <a:gd name="connsiteY25" fmla="*/ 487238 h 4791777"/>
                <a:gd name="connsiteX26" fmla="*/ 2325453 w 4893730"/>
                <a:gd name="connsiteY26" fmla="*/ 316050 h 4791777"/>
                <a:gd name="connsiteX27" fmla="*/ 269155 w 4893730"/>
                <a:gd name="connsiteY27" fmla="*/ 0 h 4791777"/>
                <a:gd name="connsiteX28" fmla="*/ 538311 w 4893730"/>
                <a:gd name="connsiteY28" fmla="*/ 268927 h 4791777"/>
                <a:gd name="connsiteX29" fmla="*/ 538311 w 4893730"/>
                <a:gd name="connsiteY29" fmla="*/ 4253925 h 4791777"/>
                <a:gd name="connsiteX30" fmla="*/ 4624575 w 4893730"/>
                <a:gd name="connsiteY30" fmla="*/ 4253925 h 4791777"/>
                <a:gd name="connsiteX31" fmla="*/ 4893730 w 4893730"/>
                <a:gd name="connsiteY31" fmla="*/ 4522851 h 4791777"/>
                <a:gd name="connsiteX32" fmla="*/ 4624575 w 4893730"/>
                <a:gd name="connsiteY32" fmla="*/ 4791777 h 4791777"/>
                <a:gd name="connsiteX33" fmla="*/ 269155 w 4893730"/>
                <a:gd name="connsiteY33" fmla="*/ 4791777 h 4791777"/>
                <a:gd name="connsiteX34" fmla="*/ 0 w 4893730"/>
                <a:gd name="connsiteY34" fmla="*/ 4522851 h 4791777"/>
                <a:gd name="connsiteX35" fmla="*/ 0 w 4893730"/>
                <a:gd name="connsiteY35" fmla="*/ 268927 h 4791777"/>
                <a:gd name="connsiteX36" fmla="*/ 269155 w 4893730"/>
                <a:gd name="connsiteY36" fmla="*/ 0 h 4791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4893730" h="4791777">
                  <a:moveTo>
                    <a:pt x="3713863" y="2130808"/>
                  </a:moveTo>
                  <a:cubicBezTo>
                    <a:pt x="3713863" y="2130808"/>
                    <a:pt x="3713863" y="2130808"/>
                    <a:pt x="4426142" y="2130808"/>
                  </a:cubicBezTo>
                  <a:cubicBezTo>
                    <a:pt x="4524387" y="2130808"/>
                    <a:pt x="4598071" y="2203982"/>
                    <a:pt x="4598071" y="2301547"/>
                  </a:cubicBezTo>
                  <a:cubicBezTo>
                    <a:pt x="4598071" y="2301547"/>
                    <a:pt x="4598071" y="2301547"/>
                    <a:pt x="4598071" y="3886978"/>
                  </a:cubicBezTo>
                  <a:cubicBezTo>
                    <a:pt x="4598071" y="3984543"/>
                    <a:pt x="4524387" y="4057717"/>
                    <a:pt x="4426142" y="4057717"/>
                  </a:cubicBezTo>
                  <a:cubicBezTo>
                    <a:pt x="4426142" y="4057717"/>
                    <a:pt x="4426142" y="4057717"/>
                    <a:pt x="3713863" y="4057717"/>
                  </a:cubicBezTo>
                  <a:cubicBezTo>
                    <a:pt x="3615618" y="4057717"/>
                    <a:pt x="3517372" y="3984543"/>
                    <a:pt x="3517372" y="3886978"/>
                  </a:cubicBezTo>
                  <a:cubicBezTo>
                    <a:pt x="3517372" y="3886978"/>
                    <a:pt x="3517372" y="3886978"/>
                    <a:pt x="3517372" y="2301547"/>
                  </a:cubicBezTo>
                  <a:cubicBezTo>
                    <a:pt x="3517372" y="2203982"/>
                    <a:pt x="3615618" y="2130808"/>
                    <a:pt x="3713863" y="2130808"/>
                  </a:cubicBezTo>
                  <a:close/>
                  <a:moveTo>
                    <a:pt x="904368" y="1223432"/>
                  </a:moveTo>
                  <a:cubicBezTo>
                    <a:pt x="904368" y="1223432"/>
                    <a:pt x="904368" y="1223432"/>
                    <a:pt x="1609930" y="1223432"/>
                  </a:cubicBezTo>
                  <a:cubicBezTo>
                    <a:pt x="1731578" y="1223432"/>
                    <a:pt x="1804567" y="1296733"/>
                    <a:pt x="1804567" y="1394467"/>
                  </a:cubicBezTo>
                  <a:cubicBezTo>
                    <a:pt x="1804567" y="1394467"/>
                    <a:pt x="1804567" y="1394467"/>
                    <a:pt x="1804567" y="3886683"/>
                  </a:cubicBezTo>
                  <a:cubicBezTo>
                    <a:pt x="1804567" y="3984417"/>
                    <a:pt x="1731578" y="4057717"/>
                    <a:pt x="1609930" y="4057717"/>
                  </a:cubicBezTo>
                  <a:cubicBezTo>
                    <a:pt x="1609930" y="4057717"/>
                    <a:pt x="1609930" y="4057717"/>
                    <a:pt x="904368" y="4057717"/>
                  </a:cubicBezTo>
                  <a:cubicBezTo>
                    <a:pt x="807049" y="4057717"/>
                    <a:pt x="734060" y="3984417"/>
                    <a:pt x="734060" y="3886683"/>
                  </a:cubicBezTo>
                  <a:cubicBezTo>
                    <a:pt x="734060" y="3886683"/>
                    <a:pt x="734060" y="3886683"/>
                    <a:pt x="734060" y="1394467"/>
                  </a:cubicBezTo>
                  <a:cubicBezTo>
                    <a:pt x="734060" y="1296733"/>
                    <a:pt x="807049" y="1223432"/>
                    <a:pt x="904368" y="1223432"/>
                  </a:cubicBezTo>
                  <a:close/>
                  <a:moveTo>
                    <a:pt x="2325453" y="316050"/>
                  </a:moveTo>
                  <a:cubicBezTo>
                    <a:pt x="2325453" y="316050"/>
                    <a:pt x="2325453" y="316050"/>
                    <a:pt x="3031014" y="316050"/>
                  </a:cubicBezTo>
                  <a:cubicBezTo>
                    <a:pt x="3128333" y="316050"/>
                    <a:pt x="3201322" y="389416"/>
                    <a:pt x="3201322" y="487238"/>
                  </a:cubicBezTo>
                  <a:cubicBezTo>
                    <a:pt x="3201322" y="487238"/>
                    <a:pt x="3201322" y="487238"/>
                    <a:pt x="3201322" y="3886530"/>
                  </a:cubicBezTo>
                  <a:cubicBezTo>
                    <a:pt x="3201322" y="3984351"/>
                    <a:pt x="3128333" y="4057717"/>
                    <a:pt x="3031014" y="4057717"/>
                  </a:cubicBezTo>
                  <a:cubicBezTo>
                    <a:pt x="3031014" y="4057717"/>
                    <a:pt x="3031014" y="4057717"/>
                    <a:pt x="2325453" y="4057717"/>
                  </a:cubicBezTo>
                  <a:cubicBezTo>
                    <a:pt x="2203804" y="4057717"/>
                    <a:pt x="2130815" y="3984351"/>
                    <a:pt x="2130815" y="3886530"/>
                  </a:cubicBezTo>
                  <a:cubicBezTo>
                    <a:pt x="2130815" y="3886530"/>
                    <a:pt x="2130815" y="3886530"/>
                    <a:pt x="2130815" y="487238"/>
                  </a:cubicBezTo>
                  <a:cubicBezTo>
                    <a:pt x="2130815" y="389416"/>
                    <a:pt x="2203804" y="316050"/>
                    <a:pt x="2325453" y="316050"/>
                  </a:cubicBezTo>
                  <a:close/>
                  <a:moveTo>
                    <a:pt x="269155" y="0"/>
                  </a:moveTo>
                  <a:cubicBezTo>
                    <a:pt x="415967" y="0"/>
                    <a:pt x="538311" y="122239"/>
                    <a:pt x="538311" y="268927"/>
                  </a:cubicBezTo>
                  <a:cubicBezTo>
                    <a:pt x="538311" y="268927"/>
                    <a:pt x="538311" y="268927"/>
                    <a:pt x="538311" y="4253925"/>
                  </a:cubicBezTo>
                  <a:cubicBezTo>
                    <a:pt x="538311" y="4253925"/>
                    <a:pt x="538311" y="4253925"/>
                    <a:pt x="4624575" y="4253925"/>
                  </a:cubicBezTo>
                  <a:cubicBezTo>
                    <a:pt x="4771387" y="4253925"/>
                    <a:pt x="4893730" y="4376164"/>
                    <a:pt x="4893730" y="4522851"/>
                  </a:cubicBezTo>
                  <a:cubicBezTo>
                    <a:pt x="4893730" y="4669538"/>
                    <a:pt x="4771387" y="4791777"/>
                    <a:pt x="4624575" y="4791777"/>
                  </a:cubicBezTo>
                  <a:cubicBezTo>
                    <a:pt x="4624575" y="4791777"/>
                    <a:pt x="4624575" y="4791777"/>
                    <a:pt x="269155" y="4791777"/>
                  </a:cubicBezTo>
                  <a:cubicBezTo>
                    <a:pt x="122344" y="4791777"/>
                    <a:pt x="0" y="4669538"/>
                    <a:pt x="0" y="4522851"/>
                  </a:cubicBezTo>
                  <a:cubicBezTo>
                    <a:pt x="0" y="4522851"/>
                    <a:pt x="0" y="4522851"/>
                    <a:pt x="0" y="268927"/>
                  </a:cubicBezTo>
                  <a:cubicBezTo>
                    <a:pt x="0" y="122239"/>
                    <a:pt x="122344" y="0"/>
                    <a:pt x="269155"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37148" tIns="109719" rIns="137148" bIns="109719"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699261"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9" name="Rectangle 88"/>
            <p:cNvSpPr/>
            <p:nvPr/>
          </p:nvSpPr>
          <p:spPr bwMode="auto">
            <a:xfrm rot="2745734">
              <a:off x="279530" y="1141266"/>
              <a:ext cx="1260714" cy="1255193"/>
            </a:xfrm>
            <a:prstGeom prst="rect">
              <a:avLst/>
            </a:prstGeom>
            <a:solidFill>
              <a:schemeClr val="tx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0" name="Rectangle 89"/>
            <p:cNvSpPr/>
            <p:nvPr/>
          </p:nvSpPr>
          <p:spPr bwMode="auto">
            <a:xfrm rot="2745734">
              <a:off x="292433" y="3819160"/>
              <a:ext cx="1610349" cy="1235003"/>
            </a:xfrm>
            <a:prstGeom prst="rect">
              <a:avLst/>
            </a:prstGeom>
            <a:solidFill>
              <a:schemeClr val="tx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2" name="Rectangle 91"/>
            <p:cNvSpPr/>
            <p:nvPr/>
          </p:nvSpPr>
          <p:spPr bwMode="auto">
            <a:xfrm rot="2745734">
              <a:off x="1315610" y="4915701"/>
              <a:ext cx="1263370" cy="1255989"/>
            </a:xfrm>
            <a:prstGeom prst="rect">
              <a:avLst/>
            </a:prstGeom>
            <a:solidFill>
              <a:schemeClr val="tx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40" name="TextBox 39"/>
          <p:cNvSpPr txBox="1"/>
          <p:nvPr/>
        </p:nvSpPr>
        <p:spPr>
          <a:xfrm>
            <a:off x="3" y="51415"/>
            <a:ext cx="2849058" cy="430887"/>
          </a:xfrm>
          <a:prstGeom prst="rect">
            <a:avLst/>
          </a:prstGeom>
        </p:spPr>
        <p:txBody>
          <a:bodyPr wrap="square">
            <a:spAutoFit/>
          </a:bodyPr>
          <a:lstStyle>
            <a:defPPr>
              <a:defRPr lang="en-US"/>
            </a:defPPr>
            <a:lvl1pPr defTabSz="914192">
              <a:defRPr sz="2800" b="1" spc="-100">
                <a:ln w="3175">
                  <a:noFill/>
                </a:ln>
                <a:solidFill>
                  <a:srgbClr val="F2C812"/>
                </a:solidFill>
                <a:latin typeface="Segoe UI" panose="020B0502040204020203" pitchFamily="34" charset="0"/>
                <a:ea typeface="ＭＳ Ｐゴシック" charset="0"/>
                <a:cs typeface="Segoe UI" panose="020B0502040204020203" pitchFamily="34" charset="0"/>
              </a:defRPr>
            </a:lvl1pPr>
          </a:lstStyle>
          <a:p>
            <a:pPr marL="0" marR="0" lvl="0" indent="0" algn="l" defTabSz="914192" rtl="0" eaLnBrk="1" fontAlgn="auto" latinLnBrk="0" hangingPunct="1">
              <a:lnSpc>
                <a:spcPct val="100000"/>
              </a:lnSpc>
              <a:spcBef>
                <a:spcPts val="0"/>
              </a:spcBef>
              <a:spcAft>
                <a:spcPts val="0"/>
              </a:spcAft>
              <a:buClrTx/>
              <a:buSzTx/>
              <a:buFontTx/>
              <a:buNone/>
              <a:tabLst/>
              <a:defRPr/>
            </a:pPr>
            <a:r>
              <a:rPr kumimoji="0" lang="en-US" sz="2200" b="1" i="0" u="none" strike="noStrike" kern="1200" cap="none" spc="-100" normalizeH="0" baseline="0" noProof="0">
                <a:ln w="3175">
                  <a:noFill/>
                </a:ln>
                <a:solidFill>
                  <a:srgbClr val="F2C812"/>
                </a:solidFill>
                <a:effectLst/>
                <a:uLnTx/>
                <a:uFillTx/>
                <a:latin typeface="Segoe UI Light"/>
                <a:ea typeface="ＭＳ Ｐゴシック" charset="0"/>
                <a:cs typeface="Segoe UI" panose="020B0502040204020203" pitchFamily="34" charset="0"/>
              </a:rPr>
              <a:t>Power BI Desktop</a:t>
            </a:r>
          </a:p>
        </p:txBody>
      </p:sp>
      <p:sp>
        <p:nvSpPr>
          <p:cNvPr id="41" name="Rectangle 40"/>
          <p:cNvSpPr/>
          <p:nvPr/>
        </p:nvSpPr>
        <p:spPr bwMode="auto">
          <a:xfrm rot="2745734">
            <a:off x="825067" y="3494250"/>
            <a:ext cx="1260714" cy="370170"/>
          </a:xfrm>
          <a:prstGeom prst="rect">
            <a:avLst/>
          </a:prstGeom>
          <a:solidFill>
            <a:schemeClr val="tx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4" name="Text Placeholder 2"/>
          <p:cNvSpPr txBox="1">
            <a:spLocks/>
          </p:cNvSpPr>
          <p:nvPr/>
        </p:nvSpPr>
        <p:spPr>
          <a:xfrm>
            <a:off x="3062206" y="1435156"/>
            <a:ext cx="6307425" cy="714513"/>
          </a:xfrm>
          <a:prstGeom prst="rect">
            <a:avLst/>
          </a:prstGeom>
        </p:spPr>
        <p:txBody>
          <a:bodyPr vert="horz" wrap="square" lIns="182880" tIns="146304" rIns="182880" bIns="146304" rtlCol="0">
            <a:noAutofit/>
          </a:bodyPr>
          <a:lstStyle>
            <a:lvl1pPr marL="182845" marR="0"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3921" kern="1200" spc="0" baseline="0">
                <a:gradFill>
                  <a:gsLst>
                    <a:gs pos="1250">
                      <a:schemeClr val="tx2"/>
                    </a:gs>
                    <a:gs pos="99000">
                      <a:schemeClr val="tx2"/>
                    </a:gs>
                  </a:gsLst>
                  <a:lin ang="5400000" scaled="0"/>
                </a:gradFill>
                <a:latin typeface="+mj-lt"/>
                <a:ea typeface="+mn-ea"/>
                <a:cs typeface="+mn-cs"/>
              </a:defRPr>
            </a:lvl1pPr>
            <a:lvl2pPr marL="365690" marR="0"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2400" kern="1200" spc="0" baseline="0">
                <a:solidFill>
                  <a:schemeClr val="tx2"/>
                </a:solidFill>
                <a:latin typeface="+mj-lt"/>
                <a:ea typeface="+mn-ea"/>
                <a:cs typeface="+mn-cs"/>
              </a:defRPr>
            </a:lvl2pPr>
            <a:lvl3pPr marL="548535" marR="0"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2000" kern="1200" spc="0" baseline="0">
                <a:solidFill>
                  <a:schemeClr val="tx2"/>
                </a:solidFill>
                <a:latin typeface="+mj-lt"/>
                <a:ea typeface="+mn-ea"/>
                <a:cs typeface="+mn-cs"/>
              </a:defRPr>
            </a:lvl3pPr>
            <a:lvl4pPr marL="733802" marR="0" indent="-28569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1765" kern="1200" spc="0" baseline="0">
                <a:solidFill>
                  <a:schemeClr val="tx2"/>
                </a:solidFill>
                <a:latin typeface="+mn-lt"/>
                <a:ea typeface="+mn-ea"/>
                <a:cs typeface="+mn-cs"/>
              </a:defRPr>
            </a:lvl4pPr>
            <a:lvl5pPr marL="957856" marR="0" indent="-28569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1765" kern="1200" spc="0" baseline="0">
                <a:solidFill>
                  <a:schemeClr val="tx2"/>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r>
              <a:rPr kumimoji="0" lang="en-US" sz="2000" b="0" i="0" u="none" strike="noStrike" kern="1200" cap="none" spc="0" normalizeH="0" baseline="0" noProof="0">
                <a:ln>
                  <a:noFill/>
                </a:ln>
                <a:solidFill>
                  <a:srgbClr val="000000"/>
                </a:solidFill>
                <a:effectLst/>
                <a:uLnTx/>
                <a:uFillTx/>
                <a:latin typeface="Segoe UI Light"/>
                <a:ea typeface="+mn-ea"/>
                <a:cs typeface="+mn-cs"/>
              </a:rPr>
              <a:t>Contains </a:t>
            </a:r>
            <a:r>
              <a:rPr kumimoji="0" lang="en-US" sz="2000" b="1" i="0" u="none" strike="noStrike" kern="1200" cap="none" spc="0" normalizeH="0" baseline="0" noProof="0">
                <a:ln>
                  <a:noFill/>
                </a:ln>
                <a:solidFill>
                  <a:srgbClr val="000000"/>
                </a:solidFill>
                <a:effectLst/>
                <a:uLnTx/>
                <a:uFillTx/>
                <a:latin typeface="Segoe UI Light"/>
                <a:ea typeface="+mn-ea"/>
                <a:cs typeface="+mn-cs"/>
              </a:rPr>
              <a:t>predefined styles </a:t>
            </a:r>
            <a:r>
              <a:rPr kumimoji="0" lang="en-US" sz="2000" b="0" i="0" u="none" strike="noStrike" kern="1200" cap="none" spc="0" normalizeH="0" baseline="0" noProof="0">
                <a:ln>
                  <a:noFill/>
                </a:ln>
                <a:solidFill>
                  <a:srgbClr val="000000"/>
                </a:solidFill>
                <a:effectLst/>
                <a:uLnTx/>
                <a:uFillTx/>
                <a:latin typeface="Segoe UI Light"/>
                <a:ea typeface="+mn-ea"/>
                <a:cs typeface="+mn-cs"/>
              </a:rPr>
              <a:t>for Table and Matrix</a:t>
            </a:r>
            <a:endParaRPr kumimoji="0" lang="en-US" sz="2000" b="1" i="0" u="none" strike="noStrike" kern="1200" cap="none" spc="0" normalizeH="0" baseline="0" noProof="0">
              <a:ln>
                <a:noFill/>
              </a:ln>
              <a:solidFill>
                <a:srgbClr val="000000"/>
              </a:solidFill>
              <a:effectLst/>
              <a:uLnTx/>
              <a:uFillTx/>
              <a:latin typeface="Segoe UI Light"/>
              <a:ea typeface="+mn-ea"/>
              <a:cs typeface="+mn-cs"/>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1" i="0" u="none" strike="noStrike" kern="1200" cap="none" spc="0" normalizeH="0" baseline="0" noProof="0">
              <a:ln>
                <a:noFill/>
              </a:ln>
              <a:solidFill>
                <a:srgbClr val="000000"/>
              </a:solidFill>
              <a:effectLst/>
              <a:uLnTx/>
              <a:uFillTx/>
              <a:latin typeface="Segoe UI Light"/>
              <a:ea typeface="+mn-ea"/>
              <a:cs typeface="+mn-cs"/>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1" i="0" u="none" strike="noStrike" kern="1200" cap="none" spc="0" normalizeH="0" baseline="0" noProof="0">
              <a:ln>
                <a:noFill/>
              </a:ln>
              <a:solidFill>
                <a:srgbClr val="000000"/>
              </a:solidFill>
              <a:effectLst/>
              <a:uLnTx/>
              <a:uFillTx/>
              <a:latin typeface="Segoe UI Light"/>
              <a:ea typeface="+mn-ea"/>
              <a:cs typeface="+mn-cs"/>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1" i="0" u="none" strike="noStrike" kern="1200" cap="none" spc="0" normalizeH="0" baseline="0" noProof="0">
              <a:ln>
                <a:noFill/>
              </a:ln>
              <a:solidFill>
                <a:srgbClr val="000000"/>
              </a:solidFill>
              <a:effectLst/>
              <a:uLnTx/>
              <a:uFillTx/>
              <a:latin typeface="Segoe UI Light"/>
              <a:ea typeface="+mn-ea"/>
              <a:cs typeface="+mn-cs"/>
            </a:endParaRPr>
          </a:p>
        </p:txBody>
      </p:sp>
      <p:pic>
        <p:nvPicPr>
          <p:cNvPr id="7" name="Picture 6"/>
          <p:cNvPicPr>
            <a:picLocks noChangeAspect="1"/>
          </p:cNvPicPr>
          <p:nvPr/>
        </p:nvPicPr>
        <p:blipFill>
          <a:blip r:embed="rId3"/>
          <a:stretch>
            <a:fillRect/>
          </a:stretch>
        </p:blipFill>
        <p:spPr>
          <a:xfrm>
            <a:off x="3127661" y="1878663"/>
            <a:ext cx="5968244" cy="3371840"/>
          </a:xfrm>
          <a:prstGeom prst="rect">
            <a:avLst/>
          </a:prstGeom>
        </p:spPr>
      </p:pic>
      <p:pic>
        <p:nvPicPr>
          <p:cNvPr id="8" name="Picture 7"/>
          <p:cNvPicPr>
            <a:picLocks noChangeAspect="1"/>
          </p:cNvPicPr>
          <p:nvPr/>
        </p:nvPicPr>
        <p:blipFill>
          <a:blip r:embed="rId4"/>
          <a:stretch>
            <a:fillRect/>
          </a:stretch>
        </p:blipFill>
        <p:spPr>
          <a:xfrm>
            <a:off x="6742108" y="4653011"/>
            <a:ext cx="5387811" cy="2188253"/>
          </a:xfrm>
          <a:prstGeom prst="rect">
            <a:avLst/>
          </a:prstGeom>
        </p:spPr>
      </p:pic>
    </p:spTree>
    <p:extLst>
      <p:ext uri="{BB962C8B-B14F-4D97-AF65-F5344CB8AC3E}">
        <p14:creationId xmlns:p14="http://schemas.microsoft.com/office/powerpoint/2010/main" val="35566056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solidFill>
            <a:schemeClr val="bg1"/>
          </a:solidFill>
        </p:spPr>
        <p:txBody>
          <a:bodyPr/>
          <a:lstStyle/>
          <a:p>
            <a:r>
              <a:rPr lang="pt-PT">
                <a:solidFill>
                  <a:schemeClr val="tx1"/>
                </a:solidFill>
              </a:rPr>
              <a:t> Visualisations – Textboxes, Images and Shapes</a:t>
            </a:r>
            <a:endParaRPr lang="en-US" sz="3600">
              <a:solidFill>
                <a:schemeClr val="tx1"/>
              </a:solidFill>
            </a:endParaRPr>
          </a:p>
        </p:txBody>
      </p:sp>
      <p:grpSp>
        <p:nvGrpSpPr>
          <p:cNvPr id="52" name="Group 51"/>
          <p:cNvGrpSpPr/>
          <p:nvPr/>
        </p:nvGrpSpPr>
        <p:grpSpPr>
          <a:xfrm>
            <a:off x="2" y="1"/>
            <a:ext cx="2849058" cy="6858000"/>
            <a:chOff x="2" y="1"/>
            <a:chExt cx="2849058" cy="6858000"/>
          </a:xfrm>
        </p:grpSpPr>
        <p:sp>
          <p:nvSpPr>
            <p:cNvPr id="71" name="Rectangle 70"/>
            <p:cNvSpPr/>
            <p:nvPr/>
          </p:nvSpPr>
          <p:spPr bwMode="auto">
            <a:xfrm>
              <a:off x="2" y="1"/>
              <a:ext cx="2849058"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3" name="Oval 70"/>
            <p:cNvSpPr/>
            <p:nvPr/>
          </p:nvSpPr>
          <p:spPr>
            <a:xfrm>
              <a:off x="1413521" y="4951537"/>
              <a:ext cx="1119626" cy="1119626"/>
            </a:xfrm>
            <a:prstGeom prst="ellipse">
              <a:avLst/>
            </a:prstGeom>
            <a:solidFill>
              <a:srgbClr val="F2C812"/>
            </a:solidFill>
            <a:ln w="3175" cap="flat" cmpd="sng" algn="ctr">
              <a:noFill/>
              <a:prstDash val="solid"/>
            </a:ln>
            <a:effectLst/>
          </p:spPr>
          <p:txBody>
            <a:bodyPr vert="horz" wrap="none" lIns="0" tIns="45720" rIns="0" bIns="0" rtlCol="0" anchor="t"/>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Segoe UI"/>
                  <a:ea typeface="Segoe UI" pitchFamily="34" charset="0"/>
                  <a:cs typeface="Segoe UI" pitchFamily="34" charset="0"/>
                </a:rPr>
                <a:t>Share &amp;</a:t>
              </a:r>
            </a:p>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Segoe UI"/>
                  <a:ea typeface="Segoe UI" pitchFamily="34" charset="0"/>
                  <a:cs typeface="Segoe UI" pitchFamily="34" charset="0"/>
                </a:rPr>
                <a:t>collaborate </a:t>
              </a:r>
            </a:p>
          </p:txBody>
        </p:sp>
        <p:grpSp>
          <p:nvGrpSpPr>
            <p:cNvPr id="76" name="Group 38"/>
            <p:cNvGrpSpPr>
              <a:grpSpLocks noChangeAspect="1"/>
            </p:cNvGrpSpPr>
            <p:nvPr/>
          </p:nvGrpSpPr>
          <p:grpSpPr>
            <a:xfrm>
              <a:off x="676996" y="3930692"/>
              <a:ext cx="383905" cy="351536"/>
              <a:chOff x="4363684" y="5330386"/>
              <a:chExt cx="1409956" cy="1291077"/>
            </a:xfrm>
            <a:solidFill>
              <a:srgbClr val="217346"/>
            </a:solidFill>
          </p:grpSpPr>
          <p:sp>
            <p:nvSpPr>
              <p:cNvPr id="102" name="Donut 3"/>
              <p:cNvSpPr/>
              <p:nvPr/>
            </p:nvSpPr>
            <p:spPr bwMode="auto">
              <a:xfrm>
                <a:off x="4363684" y="5330386"/>
                <a:ext cx="1409956" cy="1291077"/>
              </a:xfrm>
              <a:custGeom>
                <a:avLst/>
                <a:gdLst/>
                <a:ahLst/>
                <a:cxnLst/>
                <a:rect l="l" t="t" r="r" b="b"/>
                <a:pathLst>
                  <a:path w="1409956" h="1291077">
                    <a:moveTo>
                      <a:pt x="956401" y="78410"/>
                    </a:moveTo>
                    <a:cubicBezTo>
                      <a:pt x="747518" y="78410"/>
                      <a:pt x="578184" y="247744"/>
                      <a:pt x="578184" y="456627"/>
                    </a:cubicBezTo>
                    <a:cubicBezTo>
                      <a:pt x="578184" y="665510"/>
                      <a:pt x="747518" y="834844"/>
                      <a:pt x="956401" y="834844"/>
                    </a:cubicBezTo>
                    <a:cubicBezTo>
                      <a:pt x="1165284" y="834844"/>
                      <a:pt x="1334618" y="665510"/>
                      <a:pt x="1334618" y="456627"/>
                    </a:cubicBezTo>
                    <a:cubicBezTo>
                      <a:pt x="1334618" y="247744"/>
                      <a:pt x="1165284" y="78410"/>
                      <a:pt x="956401" y="78410"/>
                    </a:cubicBezTo>
                    <a:close/>
                    <a:moveTo>
                      <a:pt x="952756" y="0"/>
                    </a:moveTo>
                    <a:cubicBezTo>
                      <a:pt x="1205261" y="0"/>
                      <a:pt x="1409956" y="204695"/>
                      <a:pt x="1409956" y="457200"/>
                    </a:cubicBezTo>
                    <a:cubicBezTo>
                      <a:pt x="1409956" y="709705"/>
                      <a:pt x="1205261" y="914400"/>
                      <a:pt x="952756" y="914400"/>
                    </a:cubicBezTo>
                    <a:cubicBezTo>
                      <a:pt x="862133" y="914400"/>
                      <a:pt x="777669" y="888034"/>
                      <a:pt x="707132" y="841746"/>
                    </a:cubicBezTo>
                    <a:lnTo>
                      <a:pt x="136495" y="1280102"/>
                    </a:lnTo>
                    <a:cubicBezTo>
                      <a:pt x="21896" y="1327168"/>
                      <a:pt x="-44029" y="1213730"/>
                      <a:pt x="33797" y="1113182"/>
                    </a:cubicBezTo>
                    <a:lnTo>
                      <a:pt x="568587" y="703518"/>
                    </a:lnTo>
                    <a:cubicBezTo>
                      <a:pt x="522087" y="632814"/>
                      <a:pt x="495556" y="548105"/>
                      <a:pt x="495556" y="457200"/>
                    </a:cubicBezTo>
                    <a:cubicBezTo>
                      <a:pt x="495556" y="204695"/>
                      <a:pt x="700251" y="0"/>
                      <a:pt x="952756" y="0"/>
                    </a:cubicBezTo>
                    <a:close/>
                  </a:path>
                </a:pathLst>
              </a:custGeom>
              <a:grpFill/>
              <a:ln>
                <a:solidFill>
                  <a:srgbClr val="21734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sp>
            <p:nvSpPr>
              <p:cNvPr id="103" name="Rectangle 4"/>
              <p:cNvSpPr/>
              <p:nvPr/>
            </p:nvSpPr>
            <p:spPr>
              <a:xfrm>
                <a:off x="5058389" y="5528247"/>
                <a:ext cx="490885" cy="490020"/>
              </a:xfrm>
              <a:custGeom>
                <a:avLst/>
                <a:gdLst/>
                <a:ahLst/>
                <a:cxnLst/>
                <a:rect l="l" t="t" r="r" b="b"/>
                <a:pathLst>
                  <a:path w="490885" h="490020">
                    <a:moveTo>
                      <a:pt x="240752" y="0"/>
                    </a:moveTo>
                    <a:cubicBezTo>
                      <a:pt x="253961" y="11844"/>
                      <a:pt x="293310" y="49692"/>
                      <a:pt x="337332" y="92439"/>
                    </a:cubicBezTo>
                    <a:lnTo>
                      <a:pt x="328342" y="81259"/>
                    </a:lnTo>
                    <a:cubicBezTo>
                      <a:pt x="356946" y="111282"/>
                      <a:pt x="377251" y="107167"/>
                      <a:pt x="382515" y="87941"/>
                    </a:cubicBezTo>
                    <a:cubicBezTo>
                      <a:pt x="383951" y="76921"/>
                      <a:pt x="384595" y="68732"/>
                      <a:pt x="396997" y="52239"/>
                    </a:cubicBezTo>
                    <a:cubicBezTo>
                      <a:pt x="420362" y="32084"/>
                      <a:pt x="442294" y="41736"/>
                      <a:pt x="454920" y="51330"/>
                    </a:cubicBezTo>
                    <a:cubicBezTo>
                      <a:pt x="467834" y="62761"/>
                      <a:pt x="477920" y="86882"/>
                      <a:pt x="460392" y="109714"/>
                    </a:cubicBezTo>
                    <a:cubicBezTo>
                      <a:pt x="451128" y="121912"/>
                      <a:pt x="437554" y="126838"/>
                      <a:pt x="425922" y="126505"/>
                    </a:cubicBezTo>
                    <a:cubicBezTo>
                      <a:pt x="424301" y="127609"/>
                      <a:pt x="382890" y="134974"/>
                      <a:pt x="427348" y="177672"/>
                    </a:cubicBezTo>
                    <a:lnTo>
                      <a:pt x="416886" y="169735"/>
                    </a:lnTo>
                    <a:cubicBezTo>
                      <a:pt x="450207" y="202177"/>
                      <a:pt x="478424" y="229744"/>
                      <a:pt x="490885" y="241900"/>
                    </a:cubicBezTo>
                    <a:lnTo>
                      <a:pt x="417150" y="317347"/>
                    </a:lnTo>
                    <a:cubicBezTo>
                      <a:pt x="417744" y="316535"/>
                      <a:pt x="418443" y="316123"/>
                      <a:pt x="419047" y="315822"/>
                    </a:cubicBezTo>
                    <a:cubicBezTo>
                      <a:pt x="389023" y="344426"/>
                      <a:pt x="393138" y="364731"/>
                      <a:pt x="412364" y="369995"/>
                    </a:cubicBezTo>
                    <a:cubicBezTo>
                      <a:pt x="423384" y="371431"/>
                      <a:pt x="431574" y="372075"/>
                      <a:pt x="448067" y="384477"/>
                    </a:cubicBezTo>
                    <a:cubicBezTo>
                      <a:pt x="468221" y="407842"/>
                      <a:pt x="458569" y="429774"/>
                      <a:pt x="448975" y="442400"/>
                    </a:cubicBezTo>
                    <a:cubicBezTo>
                      <a:pt x="437545" y="455314"/>
                      <a:pt x="413423" y="465400"/>
                      <a:pt x="390591" y="447872"/>
                    </a:cubicBezTo>
                    <a:cubicBezTo>
                      <a:pt x="378394" y="438608"/>
                      <a:pt x="373468" y="425034"/>
                      <a:pt x="373800" y="413402"/>
                    </a:cubicBezTo>
                    <a:cubicBezTo>
                      <a:pt x="372696" y="411781"/>
                      <a:pt x="365332" y="370370"/>
                      <a:pt x="322634" y="414828"/>
                    </a:cubicBezTo>
                    <a:lnTo>
                      <a:pt x="325243" y="411388"/>
                    </a:lnTo>
                    <a:lnTo>
                      <a:pt x="248395" y="490020"/>
                    </a:lnTo>
                    <a:cubicBezTo>
                      <a:pt x="208939" y="451897"/>
                      <a:pt x="199129" y="442073"/>
                      <a:pt x="174192" y="418236"/>
                    </a:cubicBezTo>
                    <a:cubicBezTo>
                      <a:pt x="145587" y="388212"/>
                      <a:pt x="125282" y="392327"/>
                      <a:pt x="120018" y="411553"/>
                    </a:cubicBezTo>
                    <a:cubicBezTo>
                      <a:pt x="118582" y="422573"/>
                      <a:pt x="117938" y="430763"/>
                      <a:pt x="105536" y="447256"/>
                    </a:cubicBezTo>
                    <a:cubicBezTo>
                      <a:pt x="82171" y="467410"/>
                      <a:pt x="60239" y="457758"/>
                      <a:pt x="47614" y="448164"/>
                    </a:cubicBezTo>
                    <a:cubicBezTo>
                      <a:pt x="34699" y="436734"/>
                      <a:pt x="24614" y="412612"/>
                      <a:pt x="42141" y="389780"/>
                    </a:cubicBezTo>
                    <a:cubicBezTo>
                      <a:pt x="51405" y="377583"/>
                      <a:pt x="64979" y="372657"/>
                      <a:pt x="76612" y="372989"/>
                    </a:cubicBezTo>
                    <a:cubicBezTo>
                      <a:pt x="78232" y="371886"/>
                      <a:pt x="119644" y="364521"/>
                      <a:pt x="75186" y="321823"/>
                    </a:cubicBezTo>
                    <a:cubicBezTo>
                      <a:pt x="58767" y="305402"/>
                      <a:pt x="23648" y="271235"/>
                      <a:pt x="0" y="248738"/>
                    </a:cubicBezTo>
                    <a:lnTo>
                      <a:pt x="77303" y="168146"/>
                    </a:lnTo>
                    <a:cubicBezTo>
                      <a:pt x="104269" y="140313"/>
                      <a:pt x="122130" y="156409"/>
                      <a:pt x="124388" y="175543"/>
                    </a:cubicBezTo>
                    <a:cubicBezTo>
                      <a:pt x="124457" y="182466"/>
                      <a:pt x="127106" y="193106"/>
                      <a:pt x="137575" y="203052"/>
                    </a:cubicBezTo>
                    <a:cubicBezTo>
                      <a:pt x="153931" y="220277"/>
                      <a:pt x="181252" y="217451"/>
                      <a:pt x="196721" y="201951"/>
                    </a:cubicBezTo>
                    <a:cubicBezTo>
                      <a:pt x="211961" y="185740"/>
                      <a:pt x="213057" y="157882"/>
                      <a:pt x="196146" y="142797"/>
                    </a:cubicBezTo>
                    <a:cubicBezTo>
                      <a:pt x="184301" y="132637"/>
                      <a:pt x="177155" y="131453"/>
                      <a:pt x="166513" y="129894"/>
                    </a:cubicBezTo>
                    <a:cubicBezTo>
                      <a:pt x="154522" y="129013"/>
                      <a:pt x="131185" y="112953"/>
                      <a:pt x="157905" y="85228"/>
                    </a:cubicBezTo>
                    <a:close/>
                  </a:path>
                </a:pathLst>
              </a:custGeom>
              <a:grpFill/>
              <a:ln>
                <a:solidFill>
                  <a:srgbClr val="21734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grpSp>
        <p:sp>
          <p:nvSpPr>
            <p:cNvPr id="77" name="Oval 47"/>
            <p:cNvSpPr/>
            <p:nvPr/>
          </p:nvSpPr>
          <p:spPr>
            <a:xfrm>
              <a:off x="388608" y="3710471"/>
              <a:ext cx="1119626" cy="1119626"/>
            </a:xfrm>
            <a:prstGeom prst="ellipse">
              <a:avLst/>
            </a:prstGeom>
            <a:solidFill>
              <a:srgbClr val="F2C812"/>
            </a:solidFill>
            <a:ln w="3175" cap="flat" cmpd="sng" algn="ctr">
              <a:noFill/>
              <a:prstDash val="solid"/>
            </a:ln>
            <a:effectLst/>
          </p:spPr>
          <p:txBody>
            <a:bodyPr vert="horz" wrap="none" lIns="0" tIns="45720" rIns="0" bIns="0" rtlCol="0" anchor="t"/>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Segoe UI"/>
                  <a:ea typeface="Segoe UI" pitchFamily="34" charset="0"/>
                  <a:cs typeface="Segoe UI" pitchFamily="34" charset="0"/>
                </a:rPr>
                <a:t>Report</a:t>
              </a:r>
            </a:p>
          </p:txBody>
        </p:sp>
        <p:sp>
          <p:nvSpPr>
            <p:cNvPr id="78" name="Oval 950"/>
            <p:cNvSpPr/>
            <p:nvPr/>
          </p:nvSpPr>
          <p:spPr>
            <a:xfrm>
              <a:off x="388608" y="1252295"/>
              <a:ext cx="1119626" cy="1119626"/>
            </a:xfrm>
            <a:prstGeom prst="ellipse">
              <a:avLst/>
            </a:prstGeom>
            <a:solidFill>
              <a:srgbClr val="F2C812"/>
            </a:solidFill>
            <a:ln w="3175" cap="flat" cmpd="sng" algn="ctr">
              <a:noFill/>
              <a:prstDash val="solid"/>
            </a:ln>
            <a:effectLst/>
          </p:spPr>
          <p:txBody>
            <a:bodyPr vert="horz" wrap="none" lIns="0" tIns="45720" rIns="0" bIns="0" rtlCol="0" anchor="t"/>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1" i="0" u="none" strike="noStrike" kern="1200" cap="none" spc="0" normalizeH="0" baseline="0" noProof="0">
                <a:ln>
                  <a:noFill/>
                </a:ln>
                <a:solidFill>
                  <a:srgbClr val="217346"/>
                </a:solidFill>
                <a:effectLst/>
                <a:uLnTx/>
                <a:uFillTx/>
                <a:latin typeface="Segoe UI"/>
                <a:ea typeface="Segoe UI" pitchFamily="34" charset="0"/>
                <a:cs typeface="Segoe UI" pitchFamily="34" charset="0"/>
              </a:endParaRPr>
            </a:p>
          </p:txBody>
        </p:sp>
        <p:grpSp>
          <p:nvGrpSpPr>
            <p:cNvPr id="79" name="Group 78"/>
            <p:cNvGrpSpPr/>
            <p:nvPr/>
          </p:nvGrpSpPr>
          <p:grpSpPr>
            <a:xfrm>
              <a:off x="1264851" y="3482890"/>
              <a:ext cx="292254" cy="354906"/>
              <a:chOff x="1296521" y="3253388"/>
              <a:chExt cx="292254" cy="354906"/>
            </a:xfrm>
            <a:solidFill>
              <a:srgbClr val="F2C812"/>
            </a:solidFill>
          </p:grpSpPr>
          <p:sp>
            <p:nvSpPr>
              <p:cNvPr id="99" name="Isosceles Triangle 98"/>
              <p:cNvSpPr/>
              <p:nvPr/>
            </p:nvSpPr>
            <p:spPr bwMode="auto">
              <a:xfrm rot="13636515">
                <a:off x="1461362" y="328936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0" name="Isosceles Triangle 99"/>
              <p:cNvSpPr/>
              <p:nvPr/>
            </p:nvSpPr>
            <p:spPr bwMode="auto">
              <a:xfrm rot="13636515">
                <a:off x="1357669" y="338258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1" name="Isosceles Triangle 100"/>
              <p:cNvSpPr/>
              <p:nvPr/>
            </p:nvSpPr>
            <p:spPr bwMode="auto">
              <a:xfrm rot="13636515">
                <a:off x="1260548" y="3480882"/>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80" name="Group 79"/>
            <p:cNvGrpSpPr/>
            <p:nvPr/>
          </p:nvGrpSpPr>
          <p:grpSpPr>
            <a:xfrm rot="15940603">
              <a:off x="1334576" y="2204404"/>
              <a:ext cx="292254" cy="354906"/>
              <a:chOff x="1296521" y="3253388"/>
              <a:chExt cx="292254" cy="354906"/>
            </a:xfrm>
            <a:solidFill>
              <a:srgbClr val="F2C812"/>
            </a:solidFill>
          </p:grpSpPr>
          <p:sp>
            <p:nvSpPr>
              <p:cNvPr id="96" name="Isosceles Triangle 95"/>
              <p:cNvSpPr/>
              <p:nvPr/>
            </p:nvSpPr>
            <p:spPr bwMode="auto">
              <a:xfrm rot="13636515">
                <a:off x="1461362" y="328936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7" name="Isosceles Triangle 96"/>
              <p:cNvSpPr/>
              <p:nvPr/>
            </p:nvSpPr>
            <p:spPr bwMode="auto">
              <a:xfrm rot="13636515">
                <a:off x="1357669" y="338258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8" name="Isosceles Triangle 97"/>
              <p:cNvSpPr/>
              <p:nvPr/>
            </p:nvSpPr>
            <p:spPr bwMode="auto">
              <a:xfrm rot="13636515">
                <a:off x="1260548" y="3480882"/>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81" name="Group 80"/>
            <p:cNvGrpSpPr/>
            <p:nvPr/>
          </p:nvGrpSpPr>
          <p:grpSpPr>
            <a:xfrm rot="16043978">
              <a:off x="1317220" y="4717577"/>
              <a:ext cx="292254" cy="354906"/>
              <a:chOff x="1296521" y="3253388"/>
              <a:chExt cx="292254" cy="354906"/>
            </a:xfrm>
            <a:solidFill>
              <a:srgbClr val="F2C812"/>
            </a:solidFill>
          </p:grpSpPr>
          <p:sp>
            <p:nvSpPr>
              <p:cNvPr id="93" name="Isosceles Triangle 92"/>
              <p:cNvSpPr/>
              <p:nvPr/>
            </p:nvSpPr>
            <p:spPr bwMode="auto">
              <a:xfrm rot="13636515">
                <a:off x="1461362" y="328936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4" name="Isosceles Triangle 93"/>
              <p:cNvSpPr/>
              <p:nvPr/>
            </p:nvSpPr>
            <p:spPr bwMode="auto">
              <a:xfrm rot="13636515">
                <a:off x="1357669" y="338258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5" name="Isosceles Triangle 94"/>
              <p:cNvSpPr/>
              <p:nvPr/>
            </p:nvSpPr>
            <p:spPr bwMode="auto">
              <a:xfrm rot="13636515">
                <a:off x="1260548" y="3480882"/>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82" name="Oval 36"/>
            <p:cNvSpPr/>
            <p:nvPr/>
          </p:nvSpPr>
          <p:spPr>
            <a:xfrm>
              <a:off x="1413521" y="2481383"/>
              <a:ext cx="1119626" cy="1119626"/>
            </a:xfrm>
            <a:prstGeom prst="ellipse">
              <a:avLst/>
            </a:prstGeom>
            <a:solidFill>
              <a:srgbClr val="F2C812"/>
            </a:solidFill>
            <a:ln w="3175" cap="flat" cmpd="sng" algn="ctr">
              <a:noFill/>
              <a:prstDash val="solid"/>
            </a:ln>
            <a:effectLst/>
          </p:spPr>
          <p:txBody>
            <a:bodyPr vert="horz" wrap="none" lIns="0" tIns="0" rIns="0" bIns="0" rtlCol="0" anchor="t"/>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400" b="1" i="0" u="none" strike="noStrike" kern="1200" cap="none" spc="0" normalizeH="0" baseline="0" noProof="0">
                <a:ln>
                  <a:noFill/>
                </a:ln>
                <a:solidFill>
                  <a:srgbClr val="217346"/>
                </a:solidFill>
                <a:effectLst/>
                <a:uLnTx/>
                <a:uFillTx/>
                <a:latin typeface="Segoe UI"/>
                <a:ea typeface="Segoe UI" pitchFamily="34" charset="0"/>
                <a:cs typeface="Segoe UI" pitchFamily="34" charset="0"/>
              </a:endParaRPr>
            </a:p>
          </p:txBody>
        </p:sp>
        <p:sp>
          <p:nvSpPr>
            <p:cNvPr id="83" name="Donut 3"/>
            <p:cNvSpPr/>
            <p:nvPr/>
          </p:nvSpPr>
          <p:spPr bwMode="auto">
            <a:xfrm>
              <a:off x="1742065" y="3002355"/>
              <a:ext cx="383905" cy="351537"/>
            </a:xfrm>
            <a:custGeom>
              <a:avLst/>
              <a:gdLst/>
              <a:ahLst/>
              <a:cxnLst/>
              <a:rect l="l" t="t" r="r" b="b"/>
              <a:pathLst>
                <a:path w="1409956" h="1291077">
                  <a:moveTo>
                    <a:pt x="956401" y="78410"/>
                  </a:moveTo>
                  <a:cubicBezTo>
                    <a:pt x="747518" y="78410"/>
                    <a:pt x="578184" y="247744"/>
                    <a:pt x="578184" y="456627"/>
                  </a:cubicBezTo>
                  <a:cubicBezTo>
                    <a:pt x="578184" y="665510"/>
                    <a:pt x="747518" y="834844"/>
                    <a:pt x="956401" y="834844"/>
                  </a:cubicBezTo>
                  <a:cubicBezTo>
                    <a:pt x="1165284" y="834844"/>
                    <a:pt x="1334618" y="665510"/>
                    <a:pt x="1334618" y="456627"/>
                  </a:cubicBezTo>
                  <a:cubicBezTo>
                    <a:pt x="1334618" y="247744"/>
                    <a:pt x="1165284" y="78410"/>
                    <a:pt x="956401" y="78410"/>
                  </a:cubicBezTo>
                  <a:close/>
                  <a:moveTo>
                    <a:pt x="952756" y="0"/>
                  </a:moveTo>
                  <a:cubicBezTo>
                    <a:pt x="1205261" y="0"/>
                    <a:pt x="1409956" y="204695"/>
                    <a:pt x="1409956" y="457200"/>
                  </a:cubicBezTo>
                  <a:cubicBezTo>
                    <a:pt x="1409956" y="709705"/>
                    <a:pt x="1205261" y="914400"/>
                    <a:pt x="952756" y="914400"/>
                  </a:cubicBezTo>
                  <a:cubicBezTo>
                    <a:pt x="862133" y="914400"/>
                    <a:pt x="777669" y="888034"/>
                    <a:pt x="707132" y="841746"/>
                  </a:cubicBezTo>
                  <a:lnTo>
                    <a:pt x="136495" y="1280102"/>
                  </a:lnTo>
                  <a:cubicBezTo>
                    <a:pt x="21896" y="1327168"/>
                    <a:pt x="-44029" y="1213730"/>
                    <a:pt x="33797" y="1113182"/>
                  </a:cubicBezTo>
                  <a:lnTo>
                    <a:pt x="568587" y="703518"/>
                  </a:lnTo>
                  <a:cubicBezTo>
                    <a:pt x="522087" y="632814"/>
                    <a:pt x="495556" y="548105"/>
                    <a:pt x="495556" y="457200"/>
                  </a:cubicBezTo>
                  <a:cubicBezTo>
                    <a:pt x="495556" y="204695"/>
                    <a:pt x="700251" y="0"/>
                    <a:pt x="952756" y="0"/>
                  </a:cubicBezTo>
                  <a:close/>
                </a:path>
              </a:pathLst>
            </a:cu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sp>
          <p:nvSpPr>
            <p:cNvPr id="84" name="Rectangle 83"/>
            <p:cNvSpPr/>
            <p:nvPr/>
          </p:nvSpPr>
          <p:spPr>
            <a:xfrm>
              <a:off x="1600398" y="2677430"/>
              <a:ext cx="820353" cy="307777"/>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Segoe UI"/>
                  <a:ea typeface="Segoe UI" pitchFamily="34" charset="0"/>
                  <a:cs typeface="Segoe UI" pitchFamily="34" charset="0"/>
                </a:rPr>
                <a:t>Explore</a:t>
              </a:r>
              <a:endParaRPr kumimoji="0" lang="en-US" sz="1600" b="0" i="0" u="none" strike="noStrike" kern="1200" cap="none" spc="0" normalizeH="0" baseline="0" noProof="0">
                <a:ln>
                  <a:noFill/>
                </a:ln>
                <a:solidFill>
                  <a:srgbClr val="000000"/>
                </a:solidFill>
                <a:effectLst/>
                <a:uLnTx/>
                <a:uFillTx/>
                <a:latin typeface="Segoe UI"/>
                <a:ea typeface="+mn-ea"/>
                <a:cs typeface="+mn-cs"/>
              </a:endParaRPr>
            </a:p>
          </p:txBody>
        </p:sp>
        <p:sp>
          <p:nvSpPr>
            <p:cNvPr id="85" name="Rectangle 84"/>
            <p:cNvSpPr/>
            <p:nvPr/>
          </p:nvSpPr>
          <p:spPr>
            <a:xfrm>
              <a:off x="509174" y="1475232"/>
              <a:ext cx="838756" cy="307777"/>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Segoe UI"/>
                  <a:ea typeface="Segoe UI" pitchFamily="34" charset="0"/>
                  <a:cs typeface="Segoe UI" pitchFamily="34" charset="0"/>
                </a:rPr>
                <a:t>Prepare</a:t>
              </a: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86" name="Freeform 85"/>
            <p:cNvSpPr>
              <a:spLocks noChangeAspect="1"/>
            </p:cNvSpPr>
            <p:nvPr/>
          </p:nvSpPr>
          <p:spPr bwMode="black">
            <a:xfrm>
              <a:off x="1836174" y="5643069"/>
              <a:ext cx="274320" cy="284173"/>
            </a:xfrm>
            <a:custGeom>
              <a:avLst/>
              <a:gdLst>
                <a:gd name="T0" fmla="*/ 539 w 669"/>
                <a:gd name="T1" fmla="*/ 5 h 693"/>
                <a:gd name="T2" fmla="*/ 640 w 669"/>
                <a:gd name="T3" fmla="*/ 55 h 693"/>
                <a:gd name="T4" fmla="*/ 603 w 669"/>
                <a:gd name="T5" fmla="*/ 195 h 693"/>
                <a:gd name="T6" fmla="*/ 490 w 669"/>
                <a:gd name="T7" fmla="*/ 188 h 693"/>
                <a:gd name="T8" fmla="*/ 479 w 669"/>
                <a:gd name="T9" fmla="*/ 176 h 693"/>
                <a:gd name="T10" fmla="*/ 213 w 669"/>
                <a:gd name="T11" fmla="*/ 330 h 693"/>
                <a:gd name="T12" fmla="*/ 218 w 669"/>
                <a:gd name="T13" fmla="*/ 345 h 693"/>
                <a:gd name="T14" fmla="*/ 218 w 669"/>
                <a:gd name="T15" fmla="*/ 375 h 693"/>
                <a:gd name="T16" fmla="*/ 209 w 669"/>
                <a:gd name="T17" fmla="*/ 402 h 693"/>
                <a:gd name="T18" fmla="*/ 369 w 669"/>
                <a:gd name="T19" fmla="*/ 503 h 693"/>
                <a:gd name="T20" fmla="*/ 373 w 669"/>
                <a:gd name="T21" fmla="*/ 498 h 693"/>
                <a:gd name="T22" fmla="*/ 456 w 669"/>
                <a:gd name="T23" fmla="*/ 475 h 693"/>
                <a:gd name="T24" fmla="*/ 494 w 669"/>
                <a:gd name="T25" fmla="*/ 489 h 693"/>
                <a:gd name="T26" fmla="*/ 527 w 669"/>
                <a:gd name="T27" fmla="*/ 630 h 693"/>
                <a:gd name="T28" fmla="*/ 386 w 669"/>
                <a:gd name="T29" fmla="*/ 663 h 693"/>
                <a:gd name="T30" fmla="*/ 339 w 669"/>
                <a:gd name="T31" fmla="*/ 560 h 693"/>
                <a:gd name="T32" fmla="*/ 345 w 669"/>
                <a:gd name="T33" fmla="*/ 544 h 693"/>
                <a:gd name="T34" fmla="*/ 177 w 669"/>
                <a:gd name="T35" fmla="*/ 439 h 693"/>
                <a:gd name="T36" fmla="*/ 168 w 669"/>
                <a:gd name="T37" fmla="*/ 446 h 693"/>
                <a:gd name="T38" fmla="*/ 28 w 669"/>
                <a:gd name="T39" fmla="*/ 409 h 693"/>
                <a:gd name="T40" fmla="*/ 65 w 669"/>
                <a:gd name="T41" fmla="*/ 269 h 693"/>
                <a:gd name="T42" fmla="*/ 178 w 669"/>
                <a:gd name="T43" fmla="*/ 276 h 693"/>
                <a:gd name="T44" fmla="*/ 189 w 669"/>
                <a:gd name="T45" fmla="*/ 288 h 693"/>
                <a:gd name="T46" fmla="*/ 455 w 669"/>
                <a:gd name="T47" fmla="*/ 134 h 693"/>
                <a:gd name="T48" fmla="*/ 450 w 669"/>
                <a:gd name="T49" fmla="*/ 119 h 693"/>
                <a:gd name="T50" fmla="*/ 501 w 669"/>
                <a:gd name="T51" fmla="*/ 18 h 693"/>
                <a:gd name="T52" fmla="*/ 539 w 669"/>
                <a:gd name="T53" fmla="*/ 5 h 6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69" h="693">
                  <a:moveTo>
                    <a:pt x="539" y="5"/>
                  </a:moveTo>
                  <a:cubicBezTo>
                    <a:pt x="579" y="0"/>
                    <a:pt x="619" y="19"/>
                    <a:pt x="640" y="55"/>
                  </a:cubicBezTo>
                  <a:cubicBezTo>
                    <a:pt x="669" y="104"/>
                    <a:pt x="652" y="167"/>
                    <a:pt x="603" y="195"/>
                  </a:cubicBezTo>
                  <a:cubicBezTo>
                    <a:pt x="566" y="216"/>
                    <a:pt x="522" y="212"/>
                    <a:pt x="490" y="188"/>
                  </a:cubicBezTo>
                  <a:cubicBezTo>
                    <a:pt x="479" y="176"/>
                    <a:pt x="479" y="176"/>
                    <a:pt x="479" y="176"/>
                  </a:cubicBezTo>
                  <a:cubicBezTo>
                    <a:pt x="213" y="330"/>
                    <a:pt x="213" y="330"/>
                    <a:pt x="213" y="330"/>
                  </a:cubicBezTo>
                  <a:cubicBezTo>
                    <a:pt x="218" y="345"/>
                    <a:pt x="218" y="345"/>
                    <a:pt x="218" y="345"/>
                  </a:cubicBezTo>
                  <a:cubicBezTo>
                    <a:pt x="219" y="355"/>
                    <a:pt x="219" y="365"/>
                    <a:pt x="218" y="375"/>
                  </a:cubicBezTo>
                  <a:cubicBezTo>
                    <a:pt x="209" y="402"/>
                    <a:pt x="209" y="402"/>
                    <a:pt x="209" y="402"/>
                  </a:cubicBezTo>
                  <a:cubicBezTo>
                    <a:pt x="369" y="503"/>
                    <a:pt x="369" y="503"/>
                    <a:pt x="369" y="503"/>
                  </a:cubicBezTo>
                  <a:cubicBezTo>
                    <a:pt x="373" y="498"/>
                    <a:pt x="373" y="498"/>
                    <a:pt x="373" y="498"/>
                  </a:cubicBezTo>
                  <a:cubicBezTo>
                    <a:pt x="396" y="479"/>
                    <a:pt x="427" y="470"/>
                    <a:pt x="456" y="475"/>
                  </a:cubicBezTo>
                  <a:cubicBezTo>
                    <a:pt x="470" y="477"/>
                    <a:pt x="482" y="482"/>
                    <a:pt x="494" y="489"/>
                  </a:cubicBezTo>
                  <a:cubicBezTo>
                    <a:pt x="542" y="519"/>
                    <a:pt x="557" y="583"/>
                    <a:pt x="527" y="630"/>
                  </a:cubicBezTo>
                  <a:cubicBezTo>
                    <a:pt x="497" y="678"/>
                    <a:pt x="433" y="693"/>
                    <a:pt x="386" y="663"/>
                  </a:cubicBezTo>
                  <a:cubicBezTo>
                    <a:pt x="350" y="640"/>
                    <a:pt x="333" y="599"/>
                    <a:pt x="339" y="560"/>
                  </a:cubicBezTo>
                  <a:cubicBezTo>
                    <a:pt x="345" y="544"/>
                    <a:pt x="345" y="544"/>
                    <a:pt x="345" y="544"/>
                  </a:cubicBezTo>
                  <a:cubicBezTo>
                    <a:pt x="177" y="439"/>
                    <a:pt x="177" y="439"/>
                    <a:pt x="177" y="439"/>
                  </a:cubicBezTo>
                  <a:cubicBezTo>
                    <a:pt x="168" y="446"/>
                    <a:pt x="168" y="446"/>
                    <a:pt x="168" y="446"/>
                  </a:cubicBezTo>
                  <a:cubicBezTo>
                    <a:pt x="119" y="475"/>
                    <a:pt x="56" y="458"/>
                    <a:pt x="28" y="409"/>
                  </a:cubicBezTo>
                  <a:cubicBezTo>
                    <a:pt x="0" y="360"/>
                    <a:pt x="16" y="297"/>
                    <a:pt x="65" y="269"/>
                  </a:cubicBezTo>
                  <a:cubicBezTo>
                    <a:pt x="102" y="248"/>
                    <a:pt x="147" y="252"/>
                    <a:pt x="178" y="276"/>
                  </a:cubicBezTo>
                  <a:cubicBezTo>
                    <a:pt x="189" y="288"/>
                    <a:pt x="189" y="288"/>
                    <a:pt x="189" y="288"/>
                  </a:cubicBezTo>
                  <a:cubicBezTo>
                    <a:pt x="455" y="134"/>
                    <a:pt x="455" y="134"/>
                    <a:pt x="455" y="134"/>
                  </a:cubicBezTo>
                  <a:cubicBezTo>
                    <a:pt x="450" y="119"/>
                    <a:pt x="450" y="119"/>
                    <a:pt x="450" y="119"/>
                  </a:cubicBezTo>
                  <a:cubicBezTo>
                    <a:pt x="445" y="80"/>
                    <a:pt x="464" y="39"/>
                    <a:pt x="501" y="18"/>
                  </a:cubicBezTo>
                  <a:cubicBezTo>
                    <a:pt x="513" y="11"/>
                    <a:pt x="526" y="6"/>
                    <a:pt x="539" y="5"/>
                  </a:cubicBezTo>
                  <a:close/>
                </a:path>
              </a:pathLst>
            </a:custGeom>
            <a:solidFill>
              <a:schemeClr val="tx1"/>
            </a:solidFill>
            <a:ln>
              <a:noFill/>
            </a:ln>
          </p:spPr>
          <p:txBody>
            <a:bodyPr vert="horz" wrap="square" lIns="68574" tIns="34287" rIns="68574" bIns="34287"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0000"/>
                </a:solidFill>
                <a:effectLst/>
                <a:uLnTx/>
                <a:uFillTx/>
                <a:latin typeface="Segoe UI"/>
                <a:ea typeface="+mn-ea"/>
                <a:cs typeface="+mn-cs"/>
              </a:endParaRPr>
            </a:p>
          </p:txBody>
        </p:sp>
        <p:sp>
          <p:nvSpPr>
            <p:cNvPr id="87" name="Freeform 86"/>
            <p:cNvSpPr>
              <a:spLocks noChangeAspect="1" noEditPoints="1"/>
            </p:cNvSpPr>
            <p:nvPr/>
          </p:nvSpPr>
          <p:spPr bwMode="black">
            <a:xfrm>
              <a:off x="722320" y="1783009"/>
              <a:ext cx="452202" cy="366660"/>
            </a:xfrm>
            <a:custGeom>
              <a:avLst/>
              <a:gdLst>
                <a:gd name="T0" fmla="*/ 600 w 1107"/>
                <a:gd name="T1" fmla="*/ 625 h 897"/>
                <a:gd name="T2" fmla="*/ 649 w 1107"/>
                <a:gd name="T3" fmla="*/ 567 h 897"/>
                <a:gd name="T4" fmla="*/ 727 w 1107"/>
                <a:gd name="T5" fmla="*/ 482 h 897"/>
                <a:gd name="T6" fmla="*/ 601 w 1107"/>
                <a:gd name="T7" fmla="*/ 434 h 897"/>
                <a:gd name="T8" fmla="*/ 628 w 1107"/>
                <a:gd name="T9" fmla="*/ 305 h 897"/>
                <a:gd name="T10" fmla="*/ 547 w 1107"/>
                <a:gd name="T11" fmla="*/ 240 h 897"/>
                <a:gd name="T12" fmla="*/ 427 w 1107"/>
                <a:gd name="T13" fmla="*/ 287 h 897"/>
                <a:gd name="T14" fmla="*/ 368 w 1107"/>
                <a:gd name="T15" fmla="*/ 170 h 897"/>
                <a:gd name="T16" fmla="*/ 285 w 1107"/>
                <a:gd name="T17" fmla="*/ 263 h 897"/>
                <a:gd name="T18" fmla="*/ 241 w 1107"/>
                <a:gd name="T19" fmla="*/ 313 h 897"/>
                <a:gd name="T20" fmla="*/ 139 w 1107"/>
                <a:gd name="T21" fmla="*/ 281 h 897"/>
                <a:gd name="T22" fmla="*/ 79 w 1107"/>
                <a:gd name="T23" fmla="*/ 355 h 897"/>
                <a:gd name="T24" fmla="*/ 132 w 1107"/>
                <a:gd name="T25" fmla="*/ 446 h 897"/>
                <a:gd name="T26" fmla="*/ 83 w 1107"/>
                <a:gd name="T27" fmla="*/ 505 h 897"/>
                <a:gd name="T28" fmla="*/ 5 w 1107"/>
                <a:gd name="T29" fmla="*/ 590 h 897"/>
                <a:gd name="T30" fmla="*/ 132 w 1107"/>
                <a:gd name="T31" fmla="*/ 638 h 897"/>
                <a:gd name="T32" fmla="*/ 145 w 1107"/>
                <a:gd name="T33" fmla="*/ 669 h 897"/>
                <a:gd name="T34" fmla="*/ 110 w 1107"/>
                <a:gd name="T35" fmla="*/ 793 h 897"/>
                <a:gd name="T36" fmla="*/ 230 w 1107"/>
                <a:gd name="T37" fmla="*/ 781 h 897"/>
                <a:gd name="T38" fmla="*/ 306 w 1107"/>
                <a:gd name="T39" fmla="*/ 785 h 897"/>
                <a:gd name="T40" fmla="*/ 346 w 1107"/>
                <a:gd name="T41" fmla="*/ 878 h 897"/>
                <a:gd name="T42" fmla="*/ 440 w 1107"/>
                <a:gd name="T43" fmla="*/ 872 h 897"/>
                <a:gd name="T44" fmla="*/ 466 w 1107"/>
                <a:gd name="T45" fmla="*/ 764 h 897"/>
                <a:gd name="T46" fmla="*/ 539 w 1107"/>
                <a:gd name="T47" fmla="*/ 755 h 897"/>
                <a:gd name="T48" fmla="*/ 659 w 1107"/>
                <a:gd name="T49" fmla="*/ 743 h 897"/>
                <a:gd name="T50" fmla="*/ 263 w 1107"/>
                <a:gd name="T51" fmla="*/ 452 h 897"/>
                <a:gd name="T52" fmla="*/ 281 w 1107"/>
                <a:gd name="T53" fmla="*/ 633 h 897"/>
                <a:gd name="T54" fmla="*/ 1002 w 1107"/>
                <a:gd name="T55" fmla="*/ 332 h 897"/>
                <a:gd name="T56" fmla="*/ 1043 w 1107"/>
                <a:gd name="T57" fmla="*/ 304 h 897"/>
                <a:gd name="T58" fmla="*/ 1107 w 1107"/>
                <a:gd name="T59" fmla="*/ 266 h 897"/>
                <a:gd name="T60" fmla="*/ 1037 w 1107"/>
                <a:gd name="T61" fmla="*/ 213 h 897"/>
                <a:gd name="T62" fmla="*/ 1077 w 1107"/>
                <a:gd name="T63" fmla="*/ 138 h 897"/>
                <a:gd name="T64" fmla="*/ 1038 w 1107"/>
                <a:gd name="T65" fmla="*/ 83 h 897"/>
                <a:gd name="T66" fmla="*/ 956 w 1107"/>
                <a:gd name="T67" fmla="*/ 91 h 897"/>
                <a:gd name="T68" fmla="*/ 940 w 1107"/>
                <a:gd name="T69" fmla="*/ 7 h 897"/>
                <a:gd name="T70" fmla="*/ 872 w 1107"/>
                <a:gd name="T71" fmla="*/ 50 h 897"/>
                <a:gd name="T72" fmla="*/ 836 w 1107"/>
                <a:gd name="T73" fmla="*/ 74 h 897"/>
                <a:gd name="T74" fmla="*/ 778 w 1107"/>
                <a:gd name="T75" fmla="*/ 35 h 897"/>
                <a:gd name="T76" fmla="*/ 728 w 1107"/>
                <a:gd name="T77" fmla="*/ 70 h 897"/>
                <a:gd name="T78" fmla="*/ 744 w 1107"/>
                <a:gd name="T79" fmla="*/ 136 h 897"/>
                <a:gd name="T80" fmla="*/ 703 w 1107"/>
                <a:gd name="T81" fmla="*/ 164 h 897"/>
                <a:gd name="T82" fmla="*/ 640 w 1107"/>
                <a:gd name="T83" fmla="*/ 203 h 897"/>
                <a:gd name="T84" fmla="*/ 710 w 1107"/>
                <a:gd name="T85" fmla="*/ 255 h 897"/>
                <a:gd name="T86" fmla="*/ 712 w 1107"/>
                <a:gd name="T87" fmla="*/ 277 h 897"/>
                <a:gd name="T88" fmla="*/ 668 w 1107"/>
                <a:gd name="T89" fmla="*/ 347 h 897"/>
                <a:gd name="T90" fmla="*/ 745 w 1107"/>
                <a:gd name="T91" fmla="*/ 361 h 897"/>
                <a:gd name="T92" fmla="*/ 791 w 1107"/>
                <a:gd name="T93" fmla="*/ 377 h 897"/>
                <a:gd name="T94" fmla="*/ 799 w 1107"/>
                <a:gd name="T95" fmla="*/ 443 h 897"/>
                <a:gd name="T96" fmla="*/ 859 w 1107"/>
                <a:gd name="T97" fmla="*/ 456 h 897"/>
                <a:gd name="T98" fmla="*/ 894 w 1107"/>
                <a:gd name="T99" fmla="*/ 393 h 897"/>
                <a:gd name="T100" fmla="*/ 941 w 1107"/>
                <a:gd name="T101" fmla="*/ 401 h 897"/>
                <a:gd name="T102" fmla="*/ 1018 w 1107"/>
                <a:gd name="T103" fmla="*/ 415 h 897"/>
                <a:gd name="T104" fmla="*/ 825 w 1107"/>
                <a:gd name="T105" fmla="*/ 164 h 897"/>
                <a:gd name="T106" fmla="*/ 803 w 1107"/>
                <a:gd name="T107" fmla="*/ 279 h 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107" h="897">
                  <a:moveTo>
                    <a:pt x="654" y="716"/>
                  </a:moveTo>
                  <a:cubicBezTo>
                    <a:pt x="616" y="670"/>
                    <a:pt x="616" y="670"/>
                    <a:pt x="616" y="670"/>
                  </a:cubicBezTo>
                  <a:cubicBezTo>
                    <a:pt x="593" y="654"/>
                    <a:pt x="603" y="638"/>
                    <a:pt x="600" y="625"/>
                  </a:cubicBezTo>
                  <a:cubicBezTo>
                    <a:pt x="600" y="625"/>
                    <a:pt x="600" y="625"/>
                    <a:pt x="600" y="625"/>
                  </a:cubicBezTo>
                  <a:cubicBezTo>
                    <a:pt x="605" y="617"/>
                    <a:pt x="611" y="609"/>
                    <a:pt x="608" y="596"/>
                  </a:cubicBezTo>
                  <a:cubicBezTo>
                    <a:pt x="618" y="580"/>
                    <a:pt x="623" y="572"/>
                    <a:pt x="649" y="567"/>
                  </a:cubicBezTo>
                  <a:cubicBezTo>
                    <a:pt x="715" y="553"/>
                    <a:pt x="715" y="553"/>
                    <a:pt x="715" y="553"/>
                  </a:cubicBezTo>
                  <a:cubicBezTo>
                    <a:pt x="728" y="550"/>
                    <a:pt x="733" y="542"/>
                    <a:pt x="730" y="529"/>
                  </a:cubicBezTo>
                  <a:cubicBezTo>
                    <a:pt x="727" y="482"/>
                    <a:pt x="727" y="482"/>
                    <a:pt x="727" y="482"/>
                  </a:cubicBezTo>
                  <a:cubicBezTo>
                    <a:pt x="724" y="469"/>
                    <a:pt x="717" y="463"/>
                    <a:pt x="701" y="453"/>
                  </a:cubicBezTo>
                  <a:cubicBezTo>
                    <a:pt x="641" y="459"/>
                    <a:pt x="641" y="459"/>
                    <a:pt x="641" y="459"/>
                  </a:cubicBezTo>
                  <a:cubicBezTo>
                    <a:pt x="620" y="457"/>
                    <a:pt x="604" y="447"/>
                    <a:pt x="601" y="434"/>
                  </a:cubicBezTo>
                  <a:cubicBezTo>
                    <a:pt x="598" y="421"/>
                    <a:pt x="590" y="416"/>
                    <a:pt x="580" y="397"/>
                  </a:cubicBezTo>
                  <a:cubicBezTo>
                    <a:pt x="577" y="384"/>
                    <a:pt x="574" y="371"/>
                    <a:pt x="584" y="355"/>
                  </a:cubicBezTo>
                  <a:cubicBezTo>
                    <a:pt x="628" y="305"/>
                    <a:pt x="628" y="305"/>
                    <a:pt x="628" y="305"/>
                  </a:cubicBezTo>
                  <a:cubicBezTo>
                    <a:pt x="634" y="297"/>
                    <a:pt x="631" y="284"/>
                    <a:pt x="623" y="279"/>
                  </a:cubicBezTo>
                  <a:cubicBezTo>
                    <a:pt x="581" y="240"/>
                    <a:pt x="581" y="240"/>
                    <a:pt x="581" y="240"/>
                  </a:cubicBezTo>
                  <a:cubicBezTo>
                    <a:pt x="573" y="235"/>
                    <a:pt x="560" y="238"/>
                    <a:pt x="547" y="240"/>
                  </a:cubicBezTo>
                  <a:cubicBezTo>
                    <a:pt x="503" y="291"/>
                    <a:pt x="503" y="291"/>
                    <a:pt x="503" y="291"/>
                  </a:cubicBezTo>
                  <a:cubicBezTo>
                    <a:pt x="484" y="302"/>
                    <a:pt x="471" y="304"/>
                    <a:pt x="463" y="299"/>
                  </a:cubicBezTo>
                  <a:cubicBezTo>
                    <a:pt x="456" y="294"/>
                    <a:pt x="435" y="292"/>
                    <a:pt x="427" y="287"/>
                  </a:cubicBezTo>
                  <a:cubicBezTo>
                    <a:pt x="419" y="282"/>
                    <a:pt x="403" y="271"/>
                    <a:pt x="400" y="258"/>
                  </a:cubicBezTo>
                  <a:cubicBezTo>
                    <a:pt x="386" y="193"/>
                    <a:pt x="386" y="193"/>
                    <a:pt x="386" y="193"/>
                  </a:cubicBezTo>
                  <a:cubicBezTo>
                    <a:pt x="384" y="180"/>
                    <a:pt x="368" y="170"/>
                    <a:pt x="368" y="170"/>
                  </a:cubicBezTo>
                  <a:cubicBezTo>
                    <a:pt x="308" y="176"/>
                    <a:pt x="308" y="176"/>
                    <a:pt x="308" y="176"/>
                  </a:cubicBezTo>
                  <a:cubicBezTo>
                    <a:pt x="308" y="176"/>
                    <a:pt x="289" y="187"/>
                    <a:pt x="292" y="200"/>
                  </a:cubicBezTo>
                  <a:cubicBezTo>
                    <a:pt x="285" y="263"/>
                    <a:pt x="285" y="263"/>
                    <a:pt x="285" y="263"/>
                  </a:cubicBezTo>
                  <a:cubicBezTo>
                    <a:pt x="291" y="289"/>
                    <a:pt x="277" y="292"/>
                    <a:pt x="272" y="300"/>
                  </a:cubicBezTo>
                  <a:cubicBezTo>
                    <a:pt x="272" y="300"/>
                    <a:pt x="272" y="300"/>
                    <a:pt x="267" y="308"/>
                  </a:cubicBezTo>
                  <a:cubicBezTo>
                    <a:pt x="259" y="302"/>
                    <a:pt x="246" y="305"/>
                    <a:pt x="241" y="313"/>
                  </a:cubicBezTo>
                  <a:cubicBezTo>
                    <a:pt x="236" y="321"/>
                    <a:pt x="236" y="321"/>
                    <a:pt x="236" y="321"/>
                  </a:cubicBezTo>
                  <a:cubicBezTo>
                    <a:pt x="223" y="324"/>
                    <a:pt x="210" y="327"/>
                    <a:pt x="194" y="317"/>
                  </a:cubicBezTo>
                  <a:cubicBezTo>
                    <a:pt x="139" y="281"/>
                    <a:pt x="139" y="281"/>
                    <a:pt x="139" y="281"/>
                  </a:cubicBezTo>
                  <a:cubicBezTo>
                    <a:pt x="131" y="276"/>
                    <a:pt x="110" y="273"/>
                    <a:pt x="104" y="281"/>
                  </a:cubicBezTo>
                  <a:cubicBezTo>
                    <a:pt x="79" y="321"/>
                    <a:pt x="79" y="321"/>
                    <a:pt x="79" y="321"/>
                  </a:cubicBezTo>
                  <a:cubicBezTo>
                    <a:pt x="66" y="324"/>
                    <a:pt x="68" y="337"/>
                    <a:pt x="79" y="355"/>
                  </a:cubicBezTo>
                  <a:cubicBezTo>
                    <a:pt x="121" y="394"/>
                    <a:pt x="121" y="394"/>
                    <a:pt x="121" y="394"/>
                  </a:cubicBezTo>
                  <a:cubicBezTo>
                    <a:pt x="140" y="417"/>
                    <a:pt x="135" y="425"/>
                    <a:pt x="132" y="446"/>
                  </a:cubicBezTo>
                  <a:cubicBezTo>
                    <a:pt x="132" y="446"/>
                    <a:pt x="132" y="446"/>
                    <a:pt x="132" y="446"/>
                  </a:cubicBezTo>
                  <a:cubicBezTo>
                    <a:pt x="127" y="454"/>
                    <a:pt x="122" y="462"/>
                    <a:pt x="117" y="470"/>
                  </a:cubicBezTo>
                  <a:cubicBezTo>
                    <a:pt x="117" y="470"/>
                    <a:pt x="117" y="470"/>
                    <a:pt x="117" y="470"/>
                  </a:cubicBezTo>
                  <a:cubicBezTo>
                    <a:pt x="120" y="483"/>
                    <a:pt x="109" y="499"/>
                    <a:pt x="83" y="505"/>
                  </a:cubicBezTo>
                  <a:cubicBezTo>
                    <a:pt x="23" y="511"/>
                    <a:pt x="23" y="511"/>
                    <a:pt x="23" y="511"/>
                  </a:cubicBezTo>
                  <a:cubicBezTo>
                    <a:pt x="10" y="514"/>
                    <a:pt x="0" y="529"/>
                    <a:pt x="2" y="543"/>
                  </a:cubicBezTo>
                  <a:cubicBezTo>
                    <a:pt x="5" y="590"/>
                    <a:pt x="5" y="590"/>
                    <a:pt x="5" y="590"/>
                  </a:cubicBezTo>
                  <a:cubicBezTo>
                    <a:pt x="8" y="603"/>
                    <a:pt x="16" y="608"/>
                    <a:pt x="37" y="610"/>
                  </a:cubicBezTo>
                  <a:cubicBezTo>
                    <a:pt x="92" y="612"/>
                    <a:pt x="92" y="612"/>
                    <a:pt x="92" y="612"/>
                  </a:cubicBezTo>
                  <a:cubicBezTo>
                    <a:pt x="113" y="614"/>
                    <a:pt x="129" y="625"/>
                    <a:pt x="132" y="638"/>
                  </a:cubicBezTo>
                  <a:cubicBezTo>
                    <a:pt x="132" y="638"/>
                    <a:pt x="132" y="638"/>
                    <a:pt x="132" y="638"/>
                  </a:cubicBezTo>
                  <a:cubicBezTo>
                    <a:pt x="140" y="643"/>
                    <a:pt x="142" y="656"/>
                    <a:pt x="150" y="661"/>
                  </a:cubicBezTo>
                  <a:cubicBezTo>
                    <a:pt x="145" y="669"/>
                    <a:pt x="145" y="669"/>
                    <a:pt x="145" y="669"/>
                  </a:cubicBezTo>
                  <a:cubicBezTo>
                    <a:pt x="153" y="674"/>
                    <a:pt x="156" y="687"/>
                    <a:pt x="140" y="711"/>
                  </a:cubicBezTo>
                  <a:cubicBezTo>
                    <a:pt x="109" y="759"/>
                    <a:pt x="109" y="759"/>
                    <a:pt x="109" y="759"/>
                  </a:cubicBezTo>
                  <a:cubicBezTo>
                    <a:pt x="99" y="775"/>
                    <a:pt x="102" y="788"/>
                    <a:pt x="110" y="793"/>
                  </a:cubicBezTo>
                  <a:cubicBezTo>
                    <a:pt x="152" y="832"/>
                    <a:pt x="152" y="832"/>
                    <a:pt x="152" y="832"/>
                  </a:cubicBezTo>
                  <a:cubicBezTo>
                    <a:pt x="160" y="837"/>
                    <a:pt x="173" y="834"/>
                    <a:pt x="178" y="826"/>
                  </a:cubicBezTo>
                  <a:cubicBezTo>
                    <a:pt x="230" y="781"/>
                    <a:pt x="230" y="781"/>
                    <a:pt x="230" y="781"/>
                  </a:cubicBezTo>
                  <a:cubicBezTo>
                    <a:pt x="248" y="770"/>
                    <a:pt x="261" y="767"/>
                    <a:pt x="269" y="772"/>
                  </a:cubicBezTo>
                  <a:cubicBezTo>
                    <a:pt x="269" y="772"/>
                    <a:pt x="269" y="772"/>
                    <a:pt x="269" y="772"/>
                  </a:cubicBezTo>
                  <a:cubicBezTo>
                    <a:pt x="282" y="769"/>
                    <a:pt x="298" y="779"/>
                    <a:pt x="306" y="785"/>
                  </a:cubicBezTo>
                  <a:cubicBezTo>
                    <a:pt x="306" y="785"/>
                    <a:pt x="306" y="785"/>
                    <a:pt x="306" y="785"/>
                  </a:cubicBezTo>
                  <a:cubicBezTo>
                    <a:pt x="319" y="782"/>
                    <a:pt x="327" y="787"/>
                    <a:pt x="332" y="813"/>
                  </a:cubicBezTo>
                  <a:cubicBezTo>
                    <a:pt x="346" y="878"/>
                    <a:pt x="346" y="878"/>
                    <a:pt x="346" y="878"/>
                  </a:cubicBezTo>
                  <a:cubicBezTo>
                    <a:pt x="349" y="892"/>
                    <a:pt x="357" y="897"/>
                    <a:pt x="370" y="894"/>
                  </a:cubicBezTo>
                  <a:cubicBezTo>
                    <a:pt x="425" y="896"/>
                    <a:pt x="425" y="896"/>
                    <a:pt x="425" y="896"/>
                  </a:cubicBezTo>
                  <a:cubicBezTo>
                    <a:pt x="430" y="888"/>
                    <a:pt x="443" y="885"/>
                    <a:pt x="440" y="872"/>
                  </a:cubicBezTo>
                  <a:cubicBezTo>
                    <a:pt x="440" y="804"/>
                    <a:pt x="440" y="804"/>
                    <a:pt x="440" y="804"/>
                  </a:cubicBezTo>
                  <a:cubicBezTo>
                    <a:pt x="442" y="783"/>
                    <a:pt x="460" y="772"/>
                    <a:pt x="466" y="764"/>
                  </a:cubicBezTo>
                  <a:cubicBezTo>
                    <a:pt x="466" y="764"/>
                    <a:pt x="466" y="764"/>
                    <a:pt x="466" y="764"/>
                  </a:cubicBezTo>
                  <a:cubicBezTo>
                    <a:pt x="479" y="761"/>
                    <a:pt x="492" y="758"/>
                    <a:pt x="497" y="750"/>
                  </a:cubicBezTo>
                  <a:cubicBezTo>
                    <a:pt x="497" y="750"/>
                    <a:pt x="497" y="750"/>
                    <a:pt x="497" y="750"/>
                  </a:cubicBezTo>
                  <a:cubicBezTo>
                    <a:pt x="510" y="747"/>
                    <a:pt x="523" y="745"/>
                    <a:pt x="539" y="755"/>
                  </a:cubicBezTo>
                  <a:cubicBezTo>
                    <a:pt x="594" y="791"/>
                    <a:pt x="594" y="791"/>
                    <a:pt x="594" y="791"/>
                  </a:cubicBezTo>
                  <a:cubicBezTo>
                    <a:pt x="602" y="796"/>
                    <a:pt x="623" y="798"/>
                    <a:pt x="628" y="790"/>
                  </a:cubicBezTo>
                  <a:cubicBezTo>
                    <a:pt x="659" y="743"/>
                    <a:pt x="659" y="743"/>
                    <a:pt x="659" y="743"/>
                  </a:cubicBezTo>
                  <a:cubicBezTo>
                    <a:pt x="659" y="743"/>
                    <a:pt x="669" y="727"/>
                    <a:pt x="654" y="716"/>
                  </a:cubicBezTo>
                  <a:close/>
                  <a:moveTo>
                    <a:pt x="281" y="633"/>
                  </a:moveTo>
                  <a:cubicBezTo>
                    <a:pt x="223" y="584"/>
                    <a:pt x="219" y="502"/>
                    <a:pt x="263" y="452"/>
                  </a:cubicBezTo>
                  <a:cubicBezTo>
                    <a:pt x="313" y="393"/>
                    <a:pt x="399" y="382"/>
                    <a:pt x="457" y="431"/>
                  </a:cubicBezTo>
                  <a:cubicBezTo>
                    <a:pt x="507" y="475"/>
                    <a:pt x="518" y="561"/>
                    <a:pt x="469" y="619"/>
                  </a:cubicBezTo>
                  <a:cubicBezTo>
                    <a:pt x="420" y="678"/>
                    <a:pt x="339" y="682"/>
                    <a:pt x="281" y="633"/>
                  </a:cubicBezTo>
                  <a:close/>
                  <a:moveTo>
                    <a:pt x="1019" y="398"/>
                  </a:moveTo>
                  <a:cubicBezTo>
                    <a:pt x="1004" y="362"/>
                    <a:pt x="1004" y="362"/>
                    <a:pt x="1004" y="362"/>
                  </a:cubicBezTo>
                  <a:cubicBezTo>
                    <a:pt x="992" y="348"/>
                    <a:pt x="1002" y="340"/>
                    <a:pt x="1002" y="332"/>
                  </a:cubicBezTo>
                  <a:cubicBezTo>
                    <a:pt x="1002" y="332"/>
                    <a:pt x="1002" y="332"/>
                    <a:pt x="1002" y="332"/>
                  </a:cubicBezTo>
                  <a:cubicBezTo>
                    <a:pt x="1007" y="328"/>
                    <a:pt x="1011" y="324"/>
                    <a:pt x="1012" y="315"/>
                  </a:cubicBezTo>
                  <a:cubicBezTo>
                    <a:pt x="1021" y="307"/>
                    <a:pt x="1026" y="303"/>
                    <a:pt x="1043" y="304"/>
                  </a:cubicBezTo>
                  <a:cubicBezTo>
                    <a:pt x="1086" y="307"/>
                    <a:pt x="1086" y="307"/>
                    <a:pt x="1086" y="307"/>
                  </a:cubicBezTo>
                  <a:cubicBezTo>
                    <a:pt x="1095" y="308"/>
                    <a:pt x="1099" y="304"/>
                    <a:pt x="1100" y="295"/>
                  </a:cubicBezTo>
                  <a:cubicBezTo>
                    <a:pt x="1107" y="266"/>
                    <a:pt x="1107" y="266"/>
                    <a:pt x="1107" y="266"/>
                  </a:cubicBezTo>
                  <a:cubicBezTo>
                    <a:pt x="1107" y="257"/>
                    <a:pt x="1103" y="252"/>
                    <a:pt x="1095" y="243"/>
                  </a:cubicBezTo>
                  <a:cubicBezTo>
                    <a:pt x="1057" y="236"/>
                    <a:pt x="1057" y="236"/>
                    <a:pt x="1057" y="236"/>
                  </a:cubicBezTo>
                  <a:cubicBezTo>
                    <a:pt x="1044" y="231"/>
                    <a:pt x="1036" y="222"/>
                    <a:pt x="1037" y="213"/>
                  </a:cubicBezTo>
                  <a:cubicBezTo>
                    <a:pt x="1038" y="205"/>
                    <a:pt x="1034" y="200"/>
                    <a:pt x="1030" y="187"/>
                  </a:cubicBezTo>
                  <a:cubicBezTo>
                    <a:pt x="1031" y="178"/>
                    <a:pt x="1032" y="170"/>
                    <a:pt x="1041" y="162"/>
                  </a:cubicBezTo>
                  <a:cubicBezTo>
                    <a:pt x="1077" y="138"/>
                    <a:pt x="1077" y="138"/>
                    <a:pt x="1077" y="138"/>
                  </a:cubicBezTo>
                  <a:cubicBezTo>
                    <a:pt x="1082" y="134"/>
                    <a:pt x="1083" y="126"/>
                    <a:pt x="1079" y="121"/>
                  </a:cubicBezTo>
                  <a:cubicBezTo>
                    <a:pt x="1059" y="89"/>
                    <a:pt x="1059" y="89"/>
                    <a:pt x="1059" y="89"/>
                  </a:cubicBezTo>
                  <a:cubicBezTo>
                    <a:pt x="1055" y="85"/>
                    <a:pt x="1047" y="84"/>
                    <a:pt x="1038" y="83"/>
                  </a:cubicBezTo>
                  <a:cubicBezTo>
                    <a:pt x="1002" y="107"/>
                    <a:pt x="1002" y="107"/>
                    <a:pt x="1002" y="107"/>
                  </a:cubicBezTo>
                  <a:cubicBezTo>
                    <a:pt x="989" y="110"/>
                    <a:pt x="980" y="110"/>
                    <a:pt x="976" y="105"/>
                  </a:cubicBezTo>
                  <a:cubicBezTo>
                    <a:pt x="972" y="100"/>
                    <a:pt x="960" y="95"/>
                    <a:pt x="956" y="91"/>
                  </a:cubicBezTo>
                  <a:cubicBezTo>
                    <a:pt x="952" y="86"/>
                    <a:pt x="944" y="77"/>
                    <a:pt x="944" y="68"/>
                  </a:cubicBezTo>
                  <a:cubicBezTo>
                    <a:pt x="948" y="25"/>
                    <a:pt x="948" y="25"/>
                    <a:pt x="948" y="25"/>
                  </a:cubicBezTo>
                  <a:cubicBezTo>
                    <a:pt x="948" y="17"/>
                    <a:pt x="940" y="7"/>
                    <a:pt x="940" y="7"/>
                  </a:cubicBezTo>
                  <a:cubicBezTo>
                    <a:pt x="902" y="0"/>
                    <a:pt x="902" y="0"/>
                    <a:pt x="902" y="0"/>
                  </a:cubicBezTo>
                  <a:cubicBezTo>
                    <a:pt x="902" y="0"/>
                    <a:pt x="889" y="4"/>
                    <a:pt x="888" y="12"/>
                  </a:cubicBezTo>
                  <a:cubicBezTo>
                    <a:pt x="872" y="50"/>
                    <a:pt x="872" y="50"/>
                    <a:pt x="872" y="50"/>
                  </a:cubicBezTo>
                  <a:cubicBezTo>
                    <a:pt x="871" y="67"/>
                    <a:pt x="862" y="67"/>
                    <a:pt x="858" y="71"/>
                  </a:cubicBezTo>
                  <a:cubicBezTo>
                    <a:pt x="858" y="71"/>
                    <a:pt x="858" y="71"/>
                    <a:pt x="853" y="75"/>
                  </a:cubicBezTo>
                  <a:cubicBezTo>
                    <a:pt x="849" y="70"/>
                    <a:pt x="840" y="70"/>
                    <a:pt x="836" y="74"/>
                  </a:cubicBezTo>
                  <a:cubicBezTo>
                    <a:pt x="831" y="78"/>
                    <a:pt x="831" y="78"/>
                    <a:pt x="831" y="78"/>
                  </a:cubicBezTo>
                  <a:cubicBezTo>
                    <a:pt x="822" y="77"/>
                    <a:pt x="814" y="76"/>
                    <a:pt x="806" y="67"/>
                  </a:cubicBezTo>
                  <a:cubicBezTo>
                    <a:pt x="778" y="35"/>
                    <a:pt x="778" y="35"/>
                    <a:pt x="778" y="35"/>
                  </a:cubicBezTo>
                  <a:cubicBezTo>
                    <a:pt x="774" y="30"/>
                    <a:pt x="762" y="25"/>
                    <a:pt x="757" y="29"/>
                  </a:cubicBezTo>
                  <a:cubicBezTo>
                    <a:pt x="734" y="49"/>
                    <a:pt x="734" y="49"/>
                    <a:pt x="734" y="49"/>
                  </a:cubicBezTo>
                  <a:cubicBezTo>
                    <a:pt x="725" y="49"/>
                    <a:pt x="725" y="57"/>
                    <a:pt x="728" y="70"/>
                  </a:cubicBezTo>
                  <a:cubicBezTo>
                    <a:pt x="747" y="102"/>
                    <a:pt x="747" y="102"/>
                    <a:pt x="747" y="102"/>
                  </a:cubicBezTo>
                  <a:cubicBezTo>
                    <a:pt x="754" y="120"/>
                    <a:pt x="750" y="124"/>
                    <a:pt x="744" y="136"/>
                  </a:cubicBezTo>
                  <a:cubicBezTo>
                    <a:pt x="744" y="136"/>
                    <a:pt x="744" y="136"/>
                    <a:pt x="744" y="136"/>
                  </a:cubicBezTo>
                  <a:cubicBezTo>
                    <a:pt x="740" y="140"/>
                    <a:pt x="735" y="144"/>
                    <a:pt x="731" y="148"/>
                  </a:cubicBezTo>
                  <a:cubicBezTo>
                    <a:pt x="731" y="148"/>
                    <a:pt x="731" y="148"/>
                    <a:pt x="731" y="148"/>
                  </a:cubicBezTo>
                  <a:cubicBezTo>
                    <a:pt x="730" y="157"/>
                    <a:pt x="721" y="165"/>
                    <a:pt x="703" y="164"/>
                  </a:cubicBezTo>
                  <a:cubicBezTo>
                    <a:pt x="665" y="157"/>
                    <a:pt x="665" y="157"/>
                    <a:pt x="665" y="157"/>
                  </a:cubicBezTo>
                  <a:cubicBezTo>
                    <a:pt x="656" y="156"/>
                    <a:pt x="647" y="164"/>
                    <a:pt x="647" y="173"/>
                  </a:cubicBezTo>
                  <a:cubicBezTo>
                    <a:pt x="640" y="203"/>
                    <a:pt x="640" y="203"/>
                    <a:pt x="640" y="203"/>
                  </a:cubicBezTo>
                  <a:cubicBezTo>
                    <a:pt x="639" y="211"/>
                    <a:pt x="643" y="216"/>
                    <a:pt x="656" y="221"/>
                  </a:cubicBezTo>
                  <a:cubicBezTo>
                    <a:pt x="690" y="232"/>
                    <a:pt x="690" y="232"/>
                    <a:pt x="690" y="232"/>
                  </a:cubicBezTo>
                  <a:cubicBezTo>
                    <a:pt x="702" y="237"/>
                    <a:pt x="710" y="246"/>
                    <a:pt x="710" y="255"/>
                  </a:cubicBezTo>
                  <a:cubicBezTo>
                    <a:pt x="710" y="255"/>
                    <a:pt x="710" y="255"/>
                    <a:pt x="710" y="255"/>
                  </a:cubicBezTo>
                  <a:cubicBezTo>
                    <a:pt x="714" y="260"/>
                    <a:pt x="713" y="268"/>
                    <a:pt x="717" y="273"/>
                  </a:cubicBezTo>
                  <a:cubicBezTo>
                    <a:pt x="712" y="277"/>
                    <a:pt x="712" y="277"/>
                    <a:pt x="712" y="277"/>
                  </a:cubicBezTo>
                  <a:cubicBezTo>
                    <a:pt x="716" y="281"/>
                    <a:pt x="716" y="290"/>
                    <a:pt x="702" y="302"/>
                  </a:cubicBezTo>
                  <a:cubicBezTo>
                    <a:pt x="674" y="326"/>
                    <a:pt x="674" y="326"/>
                    <a:pt x="674" y="326"/>
                  </a:cubicBezTo>
                  <a:cubicBezTo>
                    <a:pt x="665" y="334"/>
                    <a:pt x="664" y="343"/>
                    <a:pt x="668" y="347"/>
                  </a:cubicBezTo>
                  <a:cubicBezTo>
                    <a:pt x="687" y="379"/>
                    <a:pt x="687" y="379"/>
                    <a:pt x="687" y="379"/>
                  </a:cubicBezTo>
                  <a:cubicBezTo>
                    <a:pt x="691" y="383"/>
                    <a:pt x="700" y="384"/>
                    <a:pt x="704" y="380"/>
                  </a:cubicBezTo>
                  <a:cubicBezTo>
                    <a:pt x="745" y="361"/>
                    <a:pt x="745" y="361"/>
                    <a:pt x="745" y="361"/>
                  </a:cubicBezTo>
                  <a:cubicBezTo>
                    <a:pt x="758" y="358"/>
                    <a:pt x="767" y="358"/>
                    <a:pt x="771" y="363"/>
                  </a:cubicBezTo>
                  <a:cubicBezTo>
                    <a:pt x="771" y="363"/>
                    <a:pt x="771" y="363"/>
                    <a:pt x="771" y="363"/>
                  </a:cubicBezTo>
                  <a:cubicBezTo>
                    <a:pt x="779" y="364"/>
                    <a:pt x="787" y="373"/>
                    <a:pt x="791" y="377"/>
                  </a:cubicBezTo>
                  <a:cubicBezTo>
                    <a:pt x="791" y="377"/>
                    <a:pt x="791" y="377"/>
                    <a:pt x="791" y="377"/>
                  </a:cubicBezTo>
                  <a:cubicBezTo>
                    <a:pt x="800" y="378"/>
                    <a:pt x="804" y="383"/>
                    <a:pt x="802" y="400"/>
                  </a:cubicBezTo>
                  <a:cubicBezTo>
                    <a:pt x="799" y="443"/>
                    <a:pt x="799" y="443"/>
                    <a:pt x="799" y="443"/>
                  </a:cubicBezTo>
                  <a:cubicBezTo>
                    <a:pt x="798" y="451"/>
                    <a:pt x="802" y="456"/>
                    <a:pt x="811" y="457"/>
                  </a:cubicBezTo>
                  <a:cubicBezTo>
                    <a:pt x="845" y="468"/>
                    <a:pt x="845" y="468"/>
                    <a:pt x="845" y="468"/>
                  </a:cubicBezTo>
                  <a:cubicBezTo>
                    <a:pt x="849" y="464"/>
                    <a:pt x="858" y="464"/>
                    <a:pt x="859" y="456"/>
                  </a:cubicBezTo>
                  <a:cubicBezTo>
                    <a:pt x="871" y="413"/>
                    <a:pt x="871" y="413"/>
                    <a:pt x="871" y="413"/>
                  </a:cubicBezTo>
                  <a:cubicBezTo>
                    <a:pt x="876" y="401"/>
                    <a:pt x="889" y="397"/>
                    <a:pt x="894" y="393"/>
                  </a:cubicBezTo>
                  <a:cubicBezTo>
                    <a:pt x="894" y="393"/>
                    <a:pt x="894" y="393"/>
                    <a:pt x="894" y="393"/>
                  </a:cubicBezTo>
                  <a:cubicBezTo>
                    <a:pt x="902" y="394"/>
                    <a:pt x="911" y="395"/>
                    <a:pt x="916" y="391"/>
                  </a:cubicBezTo>
                  <a:cubicBezTo>
                    <a:pt x="916" y="391"/>
                    <a:pt x="916" y="391"/>
                    <a:pt x="916" y="391"/>
                  </a:cubicBezTo>
                  <a:cubicBezTo>
                    <a:pt x="924" y="391"/>
                    <a:pt x="933" y="392"/>
                    <a:pt x="941" y="401"/>
                  </a:cubicBezTo>
                  <a:cubicBezTo>
                    <a:pt x="969" y="433"/>
                    <a:pt x="969" y="433"/>
                    <a:pt x="969" y="433"/>
                  </a:cubicBezTo>
                  <a:cubicBezTo>
                    <a:pt x="973" y="438"/>
                    <a:pt x="985" y="443"/>
                    <a:pt x="990" y="439"/>
                  </a:cubicBezTo>
                  <a:cubicBezTo>
                    <a:pt x="1018" y="415"/>
                    <a:pt x="1018" y="415"/>
                    <a:pt x="1018" y="415"/>
                  </a:cubicBezTo>
                  <a:cubicBezTo>
                    <a:pt x="1018" y="415"/>
                    <a:pt x="1027" y="407"/>
                    <a:pt x="1019" y="398"/>
                  </a:cubicBezTo>
                  <a:close/>
                  <a:moveTo>
                    <a:pt x="803" y="279"/>
                  </a:moveTo>
                  <a:cubicBezTo>
                    <a:pt x="776" y="238"/>
                    <a:pt x="788" y="187"/>
                    <a:pt x="825" y="164"/>
                  </a:cubicBezTo>
                  <a:cubicBezTo>
                    <a:pt x="866" y="136"/>
                    <a:pt x="921" y="144"/>
                    <a:pt x="948" y="185"/>
                  </a:cubicBezTo>
                  <a:cubicBezTo>
                    <a:pt x="972" y="221"/>
                    <a:pt x="963" y="277"/>
                    <a:pt x="922" y="304"/>
                  </a:cubicBezTo>
                  <a:cubicBezTo>
                    <a:pt x="881" y="332"/>
                    <a:pt x="830" y="320"/>
                    <a:pt x="803" y="279"/>
                  </a:cubicBezTo>
                  <a:close/>
                </a:path>
              </a:pathLst>
            </a:custGeom>
            <a:solidFill>
              <a:schemeClr val="tx1"/>
            </a:solidFill>
            <a:ln>
              <a:noFill/>
            </a:ln>
          </p:spPr>
          <p:txBody>
            <a:bodyPr vert="horz" wrap="square" lIns="68574" tIns="34287" rIns="68574" bIns="34287"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17346"/>
                </a:solidFill>
                <a:effectLst/>
                <a:uLnTx/>
                <a:uFillTx/>
                <a:latin typeface="Segoe UI"/>
                <a:ea typeface="+mn-ea"/>
                <a:cs typeface="+mn-cs"/>
              </a:endParaRPr>
            </a:p>
          </p:txBody>
        </p:sp>
        <p:sp>
          <p:nvSpPr>
            <p:cNvPr id="88" name="Freeform 87"/>
            <p:cNvSpPr>
              <a:spLocks noChangeAspect="1"/>
            </p:cNvSpPr>
            <p:nvPr/>
          </p:nvSpPr>
          <p:spPr bwMode="black">
            <a:xfrm>
              <a:off x="776985" y="4213905"/>
              <a:ext cx="342871" cy="335728"/>
            </a:xfrm>
            <a:custGeom>
              <a:avLst/>
              <a:gdLst>
                <a:gd name="connsiteX0" fmla="*/ 3713863 w 4893730"/>
                <a:gd name="connsiteY0" fmla="*/ 2130808 h 4791777"/>
                <a:gd name="connsiteX1" fmla="*/ 4426142 w 4893730"/>
                <a:gd name="connsiteY1" fmla="*/ 2130808 h 4791777"/>
                <a:gd name="connsiteX2" fmla="*/ 4598071 w 4893730"/>
                <a:gd name="connsiteY2" fmla="*/ 2301547 h 4791777"/>
                <a:gd name="connsiteX3" fmla="*/ 4598071 w 4893730"/>
                <a:gd name="connsiteY3" fmla="*/ 3886978 h 4791777"/>
                <a:gd name="connsiteX4" fmla="*/ 4426142 w 4893730"/>
                <a:gd name="connsiteY4" fmla="*/ 4057717 h 4791777"/>
                <a:gd name="connsiteX5" fmla="*/ 3713863 w 4893730"/>
                <a:gd name="connsiteY5" fmla="*/ 4057717 h 4791777"/>
                <a:gd name="connsiteX6" fmla="*/ 3517372 w 4893730"/>
                <a:gd name="connsiteY6" fmla="*/ 3886978 h 4791777"/>
                <a:gd name="connsiteX7" fmla="*/ 3517372 w 4893730"/>
                <a:gd name="connsiteY7" fmla="*/ 2301547 h 4791777"/>
                <a:gd name="connsiteX8" fmla="*/ 3713863 w 4893730"/>
                <a:gd name="connsiteY8" fmla="*/ 2130808 h 4791777"/>
                <a:gd name="connsiteX9" fmla="*/ 904368 w 4893730"/>
                <a:gd name="connsiteY9" fmla="*/ 1223432 h 4791777"/>
                <a:gd name="connsiteX10" fmla="*/ 1609930 w 4893730"/>
                <a:gd name="connsiteY10" fmla="*/ 1223432 h 4791777"/>
                <a:gd name="connsiteX11" fmla="*/ 1804567 w 4893730"/>
                <a:gd name="connsiteY11" fmla="*/ 1394467 h 4791777"/>
                <a:gd name="connsiteX12" fmla="*/ 1804567 w 4893730"/>
                <a:gd name="connsiteY12" fmla="*/ 3886683 h 4791777"/>
                <a:gd name="connsiteX13" fmla="*/ 1609930 w 4893730"/>
                <a:gd name="connsiteY13" fmla="*/ 4057717 h 4791777"/>
                <a:gd name="connsiteX14" fmla="*/ 904368 w 4893730"/>
                <a:gd name="connsiteY14" fmla="*/ 4057717 h 4791777"/>
                <a:gd name="connsiteX15" fmla="*/ 734060 w 4893730"/>
                <a:gd name="connsiteY15" fmla="*/ 3886683 h 4791777"/>
                <a:gd name="connsiteX16" fmla="*/ 734060 w 4893730"/>
                <a:gd name="connsiteY16" fmla="*/ 1394467 h 4791777"/>
                <a:gd name="connsiteX17" fmla="*/ 904368 w 4893730"/>
                <a:gd name="connsiteY17" fmla="*/ 1223432 h 4791777"/>
                <a:gd name="connsiteX18" fmla="*/ 2325453 w 4893730"/>
                <a:gd name="connsiteY18" fmla="*/ 316050 h 4791777"/>
                <a:gd name="connsiteX19" fmla="*/ 3031014 w 4893730"/>
                <a:gd name="connsiteY19" fmla="*/ 316050 h 4791777"/>
                <a:gd name="connsiteX20" fmla="*/ 3201322 w 4893730"/>
                <a:gd name="connsiteY20" fmla="*/ 487238 h 4791777"/>
                <a:gd name="connsiteX21" fmla="*/ 3201322 w 4893730"/>
                <a:gd name="connsiteY21" fmla="*/ 3886530 h 4791777"/>
                <a:gd name="connsiteX22" fmla="*/ 3031014 w 4893730"/>
                <a:gd name="connsiteY22" fmla="*/ 4057717 h 4791777"/>
                <a:gd name="connsiteX23" fmla="*/ 2325453 w 4893730"/>
                <a:gd name="connsiteY23" fmla="*/ 4057717 h 4791777"/>
                <a:gd name="connsiteX24" fmla="*/ 2130815 w 4893730"/>
                <a:gd name="connsiteY24" fmla="*/ 3886530 h 4791777"/>
                <a:gd name="connsiteX25" fmla="*/ 2130815 w 4893730"/>
                <a:gd name="connsiteY25" fmla="*/ 487238 h 4791777"/>
                <a:gd name="connsiteX26" fmla="*/ 2325453 w 4893730"/>
                <a:gd name="connsiteY26" fmla="*/ 316050 h 4791777"/>
                <a:gd name="connsiteX27" fmla="*/ 269155 w 4893730"/>
                <a:gd name="connsiteY27" fmla="*/ 0 h 4791777"/>
                <a:gd name="connsiteX28" fmla="*/ 538311 w 4893730"/>
                <a:gd name="connsiteY28" fmla="*/ 268927 h 4791777"/>
                <a:gd name="connsiteX29" fmla="*/ 538311 w 4893730"/>
                <a:gd name="connsiteY29" fmla="*/ 4253925 h 4791777"/>
                <a:gd name="connsiteX30" fmla="*/ 4624575 w 4893730"/>
                <a:gd name="connsiteY30" fmla="*/ 4253925 h 4791777"/>
                <a:gd name="connsiteX31" fmla="*/ 4893730 w 4893730"/>
                <a:gd name="connsiteY31" fmla="*/ 4522851 h 4791777"/>
                <a:gd name="connsiteX32" fmla="*/ 4624575 w 4893730"/>
                <a:gd name="connsiteY32" fmla="*/ 4791777 h 4791777"/>
                <a:gd name="connsiteX33" fmla="*/ 269155 w 4893730"/>
                <a:gd name="connsiteY33" fmla="*/ 4791777 h 4791777"/>
                <a:gd name="connsiteX34" fmla="*/ 0 w 4893730"/>
                <a:gd name="connsiteY34" fmla="*/ 4522851 h 4791777"/>
                <a:gd name="connsiteX35" fmla="*/ 0 w 4893730"/>
                <a:gd name="connsiteY35" fmla="*/ 268927 h 4791777"/>
                <a:gd name="connsiteX36" fmla="*/ 269155 w 4893730"/>
                <a:gd name="connsiteY36" fmla="*/ 0 h 4791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4893730" h="4791777">
                  <a:moveTo>
                    <a:pt x="3713863" y="2130808"/>
                  </a:moveTo>
                  <a:cubicBezTo>
                    <a:pt x="3713863" y="2130808"/>
                    <a:pt x="3713863" y="2130808"/>
                    <a:pt x="4426142" y="2130808"/>
                  </a:cubicBezTo>
                  <a:cubicBezTo>
                    <a:pt x="4524387" y="2130808"/>
                    <a:pt x="4598071" y="2203982"/>
                    <a:pt x="4598071" y="2301547"/>
                  </a:cubicBezTo>
                  <a:cubicBezTo>
                    <a:pt x="4598071" y="2301547"/>
                    <a:pt x="4598071" y="2301547"/>
                    <a:pt x="4598071" y="3886978"/>
                  </a:cubicBezTo>
                  <a:cubicBezTo>
                    <a:pt x="4598071" y="3984543"/>
                    <a:pt x="4524387" y="4057717"/>
                    <a:pt x="4426142" y="4057717"/>
                  </a:cubicBezTo>
                  <a:cubicBezTo>
                    <a:pt x="4426142" y="4057717"/>
                    <a:pt x="4426142" y="4057717"/>
                    <a:pt x="3713863" y="4057717"/>
                  </a:cubicBezTo>
                  <a:cubicBezTo>
                    <a:pt x="3615618" y="4057717"/>
                    <a:pt x="3517372" y="3984543"/>
                    <a:pt x="3517372" y="3886978"/>
                  </a:cubicBezTo>
                  <a:cubicBezTo>
                    <a:pt x="3517372" y="3886978"/>
                    <a:pt x="3517372" y="3886978"/>
                    <a:pt x="3517372" y="2301547"/>
                  </a:cubicBezTo>
                  <a:cubicBezTo>
                    <a:pt x="3517372" y="2203982"/>
                    <a:pt x="3615618" y="2130808"/>
                    <a:pt x="3713863" y="2130808"/>
                  </a:cubicBezTo>
                  <a:close/>
                  <a:moveTo>
                    <a:pt x="904368" y="1223432"/>
                  </a:moveTo>
                  <a:cubicBezTo>
                    <a:pt x="904368" y="1223432"/>
                    <a:pt x="904368" y="1223432"/>
                    <a:pt x="1609930" y="1223432"/>
                  </a:cubicBezTo>
                  <a:cubicBezTo>
                    <a:pt x="1731578" y="1223432"/>
                    <a:pt x="1804567" y="1296733"/>
                    <a:pt x="1804567" y="1394467"/>
                  </a:cubicBezTo>
                  <a:cubicBezTo>
                    <a:pt x="1804567" y="1394467"/>
                    <a:pt x="1804567" y="1394467"/>
                    <a:pt x="1804567" y="3886683"/>
                  </a:cubicBezTo>
                  <a:cubicBezTo>
                    <a:pt x="1804567" y="3984417"/>
                    <a:pt x="1731578" y="4057717"/>
                    <a:pt x="1609930" y="4057717"/>
                  </a:cubicBezTo>
                  <a:cubicBezTo>
                    <a:pt x="1609930" y="4057717"/>
                    <a:pt x="1609930" y="4057717"/>
                    <a:pt x="904368" y="4057717"/>
                  </a:cubicBezTo>
                  <a:cubicBezTo>
                    <a:pt x="807049" y="4057717"/>
                    <a:pt x="734060" y="3984417"/>
                    <a:pt x="734060" y="3886683"/>
                  </a:cubicBezTo>
                  <a:cubicBezTo>
                    <a:pt x="734060" y="3886683"/>
                    <a:pt x="734060" y="3886683"/>
                    <a:pt x="734060" y="1394467"/>
                  </a:cubicBezTo>
                  <a:cubicBezTo>
                    <a:pt x="734060" y="1296733"/>
                    <a:pt x="807049" y="1223432"/>
                    <a:pt x="904368" y="1223432"/>
                  </a:cubicBezTo>
                  <a:close/>
                  <a:moveTo>
                    <a:pt x="2325453" y="316050"/>
                  </a:moveTo>
                  <a:cubicBezTo>
                    <a:pt x="2325453" y="316050"/>
                    <a:pt x="2325453" y="316050"/>
                    <a:pt x="3031014" y="316050"/>
                  </a:cubicBezTo>
                  <a:cubicBezTo>
                    <a:pt x="3128333" y="316050"/>
                    <a:pt x="3201322" y="389416"/>
                    <a:pt x="3201322" y="487238"/>
                  </a:cubicBezTo>
                  <a:cubicBezTo>
                    <a:pt x="3201322" y="487238"/>
                    <a:pt x="3201322" y="487238"/>
                    <a:pt x="3201322" y="3886530"/>
                  </a:cubicBezTo>
                  <a:cubicBezTo>
                    <a:pt x="3201322" y="3984351"/>
                    <a:pt x="3128333" y="4057717"/>
                    <a:pt x="3031014" y="4057717"/>
                  </a:cubicBezTo>
                  <a:cubicBezTo>
                    <a:pt x="3031014" y="4057717"/>
                    <a:pt x="3031014" y="4057717"/>
                    <a:pt x="2325453" y="4057717"/>
                  </a:cubicBezTo>
                  <a:cubicBezTo>
                    <a:pt x="2203804" y="4057717"/>
                    <a:pt x="2130815" y="3984351"/>
                    <a:pt x="2130815" y="3886530"/>
                  </a:cubicBezTo>
                  <a:cubicBezTo>
                    <a:pt x="2130815" y="3886530"/>
                    <a:pt x="2130815" y="3886530"/>
                    <a:pt x="2130815" y="487238"/>
                  </a:cubicBezTo>
                  <a:cubicBezTo>
                    <a:pt x="2130815" y="389416"/>
                    <a:pt x="2203804" y="316050"/>
                    <a:pt x="2325453" y="316050"/>
                  </a:cubicBezTo>
                  <a:close/>
                  <a:moveTo>
                    <a:pt x="269155" y="0"/>
                  </a:moveTo>
                  <a:cubicBezTo>
                    <a:pt x="415967" y="0"/>
                    <a:pt x="538311" y="122239"/>
                    <a:pt x="538311" y="268927"/>
                  </a:cubicBezTo>
                  <a:cubicBezTo>
                    <a:pt x="538311" y="268927"/>
                    <a:pt x="538311" y="268927"/>
                    <a:pt x="538311" y="4253925"/>
                  </a:cubicBezTo>
                  <a:cubicBezTo>
                    <a:pt x="538311" y="4253925"/>
                    <a:pt x="538311" y="4253925"/>
                    <a:pt x="4624575" y="4253925"/>
                  </a:cubicBezTo>
                  <a:cubicBezTo>
                    <a:pt x="4771387" y="4253925"/>
                    <a:pt x="4893730" y="4376164"/>
                    <a:pt x="4893730" y="4522851"/>
                  </a:cubicBezTo>
                  <a:cubicBezTo>
                    <a:pt x="4893730" y="4669538"/>
                    <a:pt x="4771387" y="4791777"/>
                    <a:pt x="4624575" y="4791777"/>
                  </a:cubicBezTo>
                  <a:cubicBezTo>
                    <a:pt x="4624575" y="4791777"/>
                    <a:pt x="4624575" y="4791777"/>
                    <a:pt x="269155" y="4791777"/>
                  </a:cubicBezTo>
                  <a:cubicBezTo>
                    <a:pt x="122344" y="4791777"/>
                    <a:pt x="0" y="4669538"/>
                    <a:pt x="0" y="4522851"/>
                  </a:cubicBezTo>
                  <a:cubicBezTo>
                    <a:pt x="0" y="4522851"/>
                    <a:pt x="0" y="4522851"/>
                    <a:pt x="0" y="268927"/>
                  </a:cubicBezTo>
                  <a:cubicBezTo>
                    <a:pt x="0" y="122239"/>
                    <a:pt x="122344" y="0"/>
                    <a:pt x="269155"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37148" tIns="109719" rIns="137148" bIns="109719"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699261"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9" name="Rectangle 88"/>
            <p:cNvSpPr/>
            <p:nvPr/>
          </p:nvSpPr>
          <p:spPr bwMode="auto">
            <a:xfrm rot="2745734">
              <a:off x="279530" y="1141266"/>
              <a:ext cx="1260714" cy="1255193"/>
            </a:xfrm>
            <a:prstGeom prst="rect">
              <a:avLst/>
            </a:prstGeom>
            <a:solidFill>
              <a:schemeClr val="tx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0" name="Rectangle 89"/>
            <p:cNvSpPr/>
            <p:nvPr/>
          </p:nvSpPr>
          <p:spPr bwMode="auto">
            <a:xfrm rot="2745734">
              <a:off x="292433" y="3819160"/>
              <a:ext cx="1610349" cy="1235003"/>
            </a:xfrm>
            <a:prstGeom prst="rect">
              <a:avLst/>
            </a:prstGeom>
            <a:solidFill>
              <a:schemeClr val="tx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2" name="Rectangle 91"/>
            <p:cNvSpPr/>
            <p:nvPr/>
          </p:nvSpPr>
          <p:spPr bwMode="auto">
            <a:xfrm rot="2745734">
              <a:off x="1315610" y="4915701"/>
              <a:ext cx="1263370" cy="1255989"/>
            </a:xfrm>
            <a:prstGeom prst="rect">
              <a:avLst/>
            </a:prstGeom>
            <a:solidFill>
              <a:schemeClr val="tx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40" name="TextBox 39"/>
          <p:cNvSpPr txBox="1"/>
          <p:nvPr/>
        </p:nvSpPr>
        <p:spPr>
          <a:xfrm>
            <a:off x="3" y="51415"/>
            <a:ext cx="2849058" cy="430887"/>
          </a:xfrm>
          <a:prstGeom prst="rect">
            <a:avLst/>
          </a:prstGeom>
        </p:spPr>
        <p:txBody>
          <a:bodyPr wrap="square">
            <a:spAutoFit/>
          </a:bodyPr>
          <a:lstStyle>
            <a:defPPr>
              <a:defRPr lang="en-US"/>
            </a:defPPr>
            <a:lvl1pPr defTabSz="914192">
              <a:defRPr sz="2800" b="1" spc="-100">
                <a:ln w="3175">
                  <a:noFill/>
                </a:ln>
                <a:solidFill>
                  <a:srgbClr val="F2C812"/>
                </a:solidFill>
                <a:latin typeface="Segoe UI" panose="020B0502040204020203" pitchFamily="34" charset="0"/>
                <a:ea typeface="ＭＳ Ｐゴシック" charset="0"/>
                <a:cs typeface="Segoe UI" panose="020B0502040204020203" pitchFamily="34" charset="0"/>
              </a:defRPr>
            </a:lvl1pPr>
          </a:lstStyle>
          <a:p>
            <a:pPr marL="0" marR="0" lvl="0" indent="0" algn="l" defTabSz="914192" rtl="0" eaLnBrk="1" fontAlgn="auto" latinLnBrk="0" hangingPunct="1">
              <a:lnSpc>
                <a:spcPct val="100000"/>
              </a:lnSpc>
              <a:spcBef>
                <a:spcPts val="0"/>
              </a:spcBef>
              <a:spcAft>
                <a:spcPts val="0"/>
              </a:spcAft>
              <a:buClrTx/>
              <a:buSzTx/>
              <a:buFontTx/>
              <a:buNone/>
              <a:tabLst/>
              <a:defRPr/>
            </a:pPr>
            <a:r>
              <a:rPr kumimoji="0" lang="en-US" sz="2200" b="1" i="0" u="none" strike="noStrike" kern="1200" cap="none" spc="-100" normalizeH="0" baseline="0" noProof="0">
                <a:ln w="3175">
                  <a:noFill/>
                </a:ln>
                <a:solidFill>
                  <a:srgbClr val="F2C812"/>
                </a:solidFill>
                <a:effectLst/>
                <a:uLnTx/>
                <a:uFillTx/>
                <a:latin typeface="Segoe UI Light"/>
                <a:ea typeface="ＭＳ Ｐゴシック" charset="0"/>
                <a:cs typeface="Segoe UI" panose="020B0502040204020203" pitchFamily="34" charset="0"/>
              </a:rPr>
              <a:t>Power BI Desktop</a:t>
            </a:r>
          </a:p>
        </p:txBody>
      </p:sp>
      <p:sp>
        <p:nvSpPr>
          <p:cNvPr id="41" name="Rectangle 40"/>
          <p:cNvSpPr/>
          <p:nvPr/>
        </p:nvSpPr>
        <p:spPr bwMode="auto">
          <a:xfrm rot="2745734">
            <a:off x="825067" y="3494250"/>
            <a:ext cx="1260714" cy="370170"/>
          </a:xfrm>
          <a:prstGeom prst="rect">
            <a:avLst/>
          </a:prstGeom>
          <a:solidFill>
            <a:schemeClr val="tx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3" name="Picture 2"/>
          <p:cNvPicPr>
            <a:picLocks noChangeAspect="1"/>
          </p:cNvPicPr>
          <p:nvPr/>
        </p:nvPicPr>
        <p:blipFill>
          <a:blip r:embed="rId3"/>
          <a:stretch>
            <a:fillRect/>
          </a:stretch>
        </p:blipFill>
        <p:spPr>
          <a:xfrm>
            <a:off x="4117094" y="1572234"/>
            <a:ext cx="6713910" cy="4716915"/>
          </a:xfrm>
          <a:prstGeom prst="rect">
            <a:avLst/>
          </a:prstGeom>
        </p:spPr>
      </p:pic>
    </p:spTree>
    <p:extLst>
      <p:ext uri="{BB962C8B-B14F-4D97-AF65-F5344CB8AC3E}">
        <p14:creationId xmlns:p14="http://schemas.microsoft.com/office/powerpoint/2010/main" val="31619075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solidFill>
            <a:schemeClr val="bg1"/>
          </a:solidFill>
        </p:spPr>
        <p:txBody>
          <a:bodyPr/>
          <a:lstStyle/>
          <a:p>
            <a:r>
              <a:rPr lang="pt-PT" dirty="0">
                <a:solidFill>
                  <a:schemeClr val="tx1"/>
                </a:solidFill>
              </a:rPr>
              <a:t> Visualisations – Slicers</a:t>
            </a:r>
            <a:endParaRPr lang="en-US" sz="3600" dirty="0">
              <a:solidFill>
                <a:schemeClr val="tx1"/>
              </a:solidFill>
            </a:endParaRPr>
          </a:p>
        </p:txBody>
      </p:sp>
      <p:grpSp>
        <p:nvGrpSpPr>
          <p:cNvPr id="52" name="Group 51"/>
          <p:cNvGrpSpPr/>
          <p:nvPr/>
        </p:nvGrpSpPr>
        <p:grpSpPr>
          <a:xfrm>
            <a:off x="2" y="1"/>
            <a:ext cx="2849058" cy="6858000"/>
            <a:chOff x="2" y="1"/>
            <a:chExt cx="2849058" cy="6858000"/>
          </a:xfrm>
        </p:grpSpPr>
        <p:sp>
          <p:nvSpPr>
            <p:cNvPr id="71" name="Rectangle 70"/>
            <p:cNvSpPr/>
            <p:nvPr/>
          </p:nvSpPr>
          <p:spPr bwMode="auto">
            <a:xfrm>
              <a:off x="2" y="1"/>
              <a:ext cx="2849058"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3" name="Oval 70"/>
            <p:cNvSpPr/>
            <p:nvPr/>
          </p:nvSpPr>
          <p:spPr>
            <a:xfrm>
              <a:off x="1413521" y="4951537"/>
              <a:ext cx="1119626" cy="1119626"/>
            </a:xfrm>
            <a:prstGeom prst="ellipse">
              <a:avLst/>
            </a:prstGeom>
            <a:solidFill>
              <a:srgbClr val="F2C812"/>
            </a:solidFill>
            <a:ln w="3175" cap="flat" cmpd="sng" algn="ctr">
              <a:noFill/>
              <a:prstDash val="solid"/>
            </a:ln>
            <a:effectLst/>
          </p:spPr>
          <p:txBody>
            <a:bodyPr vert="horz" wrap="none" lIns="0" tIns="45720" rIns="0" bIns="0" rtlCol="0" anchor="t"/>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Segoe UI"/>
                  <a:ea typeface="Segoe UI" pitchFamily="34" charset="0"/>
                  <a:cs typeface="Segoe UI" pitchFamily="34" charset="0"/>
                </a:rPr>
                <a:t>Share &amp;</a:t>
              </a:r>
            </a:p>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Segoe UI"/>
                  <a:ea typeface="Segoe UI" pitchFamily="34" charset="0"/>
                  <a:cs typeface="Segoe UI" pitchFamily="34" charset="0"/>
                </a:rPr>
                <a:t>collaborate </a:t>
              </a:r>
            </a:p>
          </p:txBody>
        </p:sp>
        <p:grpSp>
          <p:nvGrpSpPr>
            <p:cNvPr id="76" name="Group 38"/>
            <p:cNvGrpSpPr>
              <a:grpSpLocks noChangeAspect="1"/>
            </p:cNvGrpSpPr>
            <p:nvPr/>
          </p:nvGrpSpPr>
          <p:grpSpPr>
            <a:xfrm>
              <a:off x="676996" y="3930692"/>
              <a:ext cx="383905" cy="351536"/>
              <a:chOff x="4363684" y="5330386"/>
              <a:chExt cx="1409956" cy="1291077"/>
            </a:xfrm>
            <a:solidFill>
              <a:srgbClr val="217346"/>
            </a:solidFill>
          </p:grpSpPr>
          <p:sp>
            <p:nvSpPr>
              <p:cNvPr id="102" name="Donut 3"/>
              <p:cNvSpPr/>
              <p:nvPr/>
            </p:nvSpPr>
            <p:spPr bwMode="auto">
              <a:xfrm>
                <a:off x="4363684" y="5330386"/>
                <a:ext cx="1409956" cy="1291077"/>
              </a:xfrm>
              <a:custGeom>
                <a:avLst/>
                <a:gdLst/>
                <a:ahLst/>
                <a:cxnLst/>
                <a:rect l="l" t="t" r="r" b="b"/>
                <a:pathLst>
                  <a:path w="1409956" h="1291077">
                    <a:moveTo>
                      <a:pt x="956401" y="78410"/>
                    </a:moveTo>
                    <a:cubicBezTo>
                      <a:pt x="747518" y="78410"/>
                      <a:pt x="578184" y="247744"/>
                      <a:pt x="578184" y="456627"/>
                    </a:cubicBezTo>
                    <a:cubicBezTo>
                      <a:pt x="578184" y="665510"/>
                      <a:pt x="747518" y="834844"/>
                      <a:pt x="956401" y="834844"/>
                    </a:cubicBezTo>
                    <a:cubicBezTo>
                      <a:pt x="1165284" y="834844"/>
                      <a:pt x="1334618" y="665510"/>
                      <a:pt x="1334618" y="456627"/>
                    </a:cubicBezTo>
                    <a:cubicBezTo>
                      <a:pt x="1334618" y="247744"/>
                      <a:pt x="1165284" y="78410"/>
                      <a:pt x="956401" y="78410"/>
                    </a:cubicBezTo>
                    <a:close/>
                    <a:moveTo>
                      <a:pt x="952756" y="0"/>
                    </a:moveTo>
                    <a:cubicBezTo>
                      <a:pt x="1205261" y="0"/>
                      <a:pt x="1409956" y="204695"/>
                      <a:pt x="1409956" y="457200"/>
                    </a:cubicBezTo>
                    <a:cubicBezTo>
                      <a:pt x="1409956" y="709705"/>
                      <a:pt x="1205261" y="914400"/>
                      <a:pt x="952756" y="914400"/>
                    </a:cubicBezTo>
                    <a:cubicBezTo>
                      <a:pt x="862133" y="914400"/>
                      <a:pt x="777669" y="888034"/>
                      <a:pt x="707132" y="841746"/>
                    </a:cubicBezTo>
                    <a:lnTo>
                      <a:pt x="136495" y="1280102"/>
                    </a:lnTo>
                    <a:cubicBezTo>
                      <a:pt x="21896" y="1327168"/>
                      <a:pt x="-44029" y="1213730"/>
                      <a:pt x="33797" y="1113182"/>
                    </a:cubicBezTo>
                    <a:lnTo>
                      <a:pt x="568587" y="703518"/>
                    </a:lnTo>
                    <a:cubicBezTo>
                      <a:pt x="522087" y="632814"/>
                      <a:pt x="495556" y="548105"/>
                      <a:pt x="495556" y="457200"/>
                    </a:cubicBezTo>
                    <a:cubicBezTo>
                      <a:pt x="495556" y="204695"/>
                      <a:pt x="700251" y="0"/>
                      <a:pt x="952756" y="0"/>
                    </a:cubicBezTo>
                    <a:close/>
                  </a:path>
                </a:pathLst>
              </a:custGeom>
              <a:grpFill/>
              <a:ln>
                <a:solidFill>
                  <a:srgbClr val="21734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sp>
            <p:nvSpPr>
              <p:cNvPr id="103" name="Rectangle 4"/>
              <p:cNvSpPr/>
              <p:nvPr/>
            </p:nvSpPr>
            <p:spPr>
              <a:xfrm>
                <a:off x="5058389" y="5528247"/>
                <a:ext cx="490885" cy="490020"/>
              </a:xfrm>
              <a:custGeom>
                <a:avLst/>
                <a:gdLst/>
                <a:ahLst/>
                <a:cxnLst/>
                <a:rect l="l" t="t" r="r" b="b"/>
                <a:pathLst>
                  <a:path w="490885" h="490020">
                    <a:moveTo>
                      <a:pt x="240752" y="0"/>
                    </a:moveTo>
                    <a:cubicBezTo>
                      <a:pt x="253961" y="11844"/>
                      <a:pt x="293310" y="49692"/>
                      <a:pt x="337332" y="92439"/>
                    </a:cubicBezTo>
                    <a:lnTo>
                      <a:pt x="328342" y="81259"/>
                    </a:lnTo>
                    <a:cubicBezTo>
                      <a:pt x="356946" y="111282"/>
                      <a:pt x="377251" y="107167"/>
                      <a:pt x="382515" y="87941"/>
                    </a:cubicBezTo>
                    <a:cubicBezTo>
                      <a:pt x="383951" y="76921"/>
                      <a:pt x="384595" y="68732"/>
                      <a:pt x="396997" y="52239"/>
                    </a:cubicBezTo>
                    <a:cubicBezTo>
                      <a:pt x="420362" y="32084"/>
                      <a:pt x="442294" y="41736"/>
                      <a:pt x="454920" y="51330"/>
                    </a:cubicBezTo>
                    <a:cubicBezTo>
                      <a:pt x="467834" y="62761"/>
                      <a:pt x="477920" y="86882"/>
                      <a:pt x="460392" y="109714"/>
                    </a:cubicBezTo>
                    <a:cubicBezTo>
                      <a:pt x="451128" y="121912"/>
                      <a:pt x="437554" y="126838"/>
                      <a:pt x="425922" y="126505"/>
                    </a:cubicBezTo>
                    <a:cubicBezTo>
                      <a:pt x="424301" y="127609"/>
                      <a:pt x="382890" y="134974"/>
                      <a:pt x="427348" y="177672"/>
                    </a:cubicBezTo>
                    <a:lnTo>
                      <a:pt x="416886" y="169735"/>
                    </a:lnTo>
                    <a:cubicBezTo>
                      <a:pt x="450207" y="202177"/>
                      <a:pt x="478424" y="229744"/>
                      <a:pt x="490885" y="241900"/>
                    </a:cubicBezTo>
                    <a:lnTo>
                      <a:pt x="417150" y="317347"/>
                    </a:lnTo>
                    <a:cubicBezTo>
                      <a:pt x="417744" y="316535"/>
                      <a:pt x="418443" y="316123"/>
                      <a:pt x="419047" y="315822"/>
                    </a:cubicBezTo>
                    <a:cubicBezTo>
                      <a:pt x="389023" y="344426"/>
                      <a:pt x="393138" y="364731"/>
                      <a:pt x="412364" y="369995"/>
                    </a:cubicBezTo>
                    <a:cubicBezTo>
                      <a:pt x="423384" y="371431"/>
                      <a:pt x="431574" y="372075"/>
                      <a:pt x="448067" y="384477"/>
                    </a:cubicBezTo>
                    <a:cubicBezTo>
                      <a:pt x="468221" y="407842"/>
                      <a:pt x="458569" y="429774"/>
                      <a:pt x="448975" y="442400"/>
                    </a:cubicBezTo>
                    <a:cubicBezTo>
                      <a:pt x="437545" y="455314"/>
                      <a:pt x="413423" y="465400"/>
                      <a:pt x="390591" y="447872"/>
                    </a:cubicBezTo>
                    <a:cubicBezTo>
                      <a:pt x="378394" y="438608"/>
                      <a:pt x="373468" y="425034"/>
                      <a:pt x="373800" y="413402"/>
                    </a:cubicBezTo>
                    <a:cubicBezTo>
                      <a:pt x="372696" y="411781"/>
                      <a:pt x="365332" y="370370"/>
                      <a:pt x="322634" y="414828"/>
                    </a:cubicBezTo>
                    <a:lnTo>
                      <a:pt x="325243" y="411388"/>
                    </a:lnTo>
                    <a:lnTo>
                      <a:pt x="248395" y="490020"/>
                    </a:lnTo>
                    <a:cubicBezTo>
                      <a:pt x="208939" y="451897"/>
                      <a:pt x="199129" y="442073"/>
                      <a:pt x="174192" y="418236"/>
                    </a:cubicBezTo>
                    <a:cubicBezTo>
                      <a:pt x="145587" y="388212"/>
                      <a:pt x="125282" y="392327"/>
                      <a:pt x="120018" y="411553"/>
                    </a:cubicBezTo>
                    <a:cubicBezTo>
                      <a:pt x="118582" y="422573"/>
                      <a:pt x="117938" y="430763"/>
                      <a:pt x="105536" y="447256"/>
                    </a:cubicBezTo>
                    <a:cubicBezTo>
                      <a:pt x="82171" y="467410"/>
                      <a:pt x="60239" y="457758"/>
                      <a:pt x="47614" y="448164"/>
                    </a:cubicBezTo>
                    <a:cubicBezTo>
                      <a:pt x="34699" y="436734"/>
                      <a:pt x="24614" y="412612"/>
                      <a:pt x="42141" y="389780"/>
                    </a:cubicBezTo>
                    <a:cubicBezTo>
                      <a:pt x="51405" y="377583"/>
                      <a:pt x="64979" y="372657"/>
                      <a:pt x="76612" y="372989"/>
                    </a:cubicBezTo>
                    <a:cubicBezTo>
                      <a:pt x="78232" y="371886"/>
                      <a:pt x="119644" y="364521"/>
                      <a:pt x="75186" y="321823"/>
                    </a:cubicBezTo>
                    <a:cubicBezTo>
                      <a:pt x="58767" y="305402"/>
                      <a:pt x="23648" y="271235"/>
                      <a:pt x="0" y="248738"/>
                    </a:cubicBezTo>
                    <a:lnTo>
                      <a:pt x="77303" y="168146"/>
                    </a:lnTo>
                    <a:cubicBezTo>
                      <a:pt x="104269" y="140313"/>
                      <a:pt x="122130" y="156409"/>
                      <a:pt x="124388" y="175543"/>
                    </a:cubicBezTo>
                    <a:cubicBezTo>
                      <a:pt x="124457" y="182466"/>
                      <a:pt x="127106" y="193106"/>
                      <a:pt x="137575" y="203052"/>
                    </a:cubicBezTo>
                    <a:cubicBezTo>
                      <a:pt x="153931" y="220277"/>
                      <a:pt x="181252" y="217451"/>
                      <a:pt x="196721" y="201951"/>
                    </a:cubicBezTo>
                    <a:cubicBezTo>
                      <a:pt x="211961" y="185740"/>
                      <a:pt x="213057" y="157882"/>
                      <a:pt x="196146" y="142797"/>
                    </a:cubicBezTo>
                    <a:cubicBezTo>
                      <a:pt x="184301" y="132637"/>
                      <a:pt x="177155" y="131453"/>
                      <a:pt x="166513" y="129894"/>
                    </a:cubicBezTo>
                    <a:cubicBezTo>
                      <a:pt x="154522" y="129013"/>
                      <a:pt x="131185" y="112953"/>
                      <a:pt x="157905" y="85228"/>
                    </a:cubicBezTo>
                    <a:close/>
                  </a:path>
                </a:pathLst>
              </a:custGeom>
              <a:grpFill/>
              <a:ln>
                <a:solidFill>
                  <a:srgbClr val="21734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grpSp>
        <p:sp>
          <p:nvSpPr>
            <p:cNvPr id="77" name="Oval 47"/>
            <p:cNvSpPr/>
            <p:nvPr/>
          </p:nvSpPr>
          <p:spPr>
            <a:xfrm>
              <a:off x="388608" y="3710471"/>
              <a:ext cx="1119626" cy="1119626"/>
            </a:xfrm>
            <a:prstGeom prst="ellipse">
              <a:avLst/>
            </a:prstGeom>
            <a:solidFill>
              <a:srgbClr val="F2C812"/>
            </a:solidFill>
            <a:ln w="3175" cap="flat" cmpd="sng" algn="ctr">
              <a:noFill/>
              <a:prstDash val="solid"/>
            </a:ln>
            <a:effectLst/>
          </p:spPr>
          <p:txBody>
            <a:bodyPr vert="horz" wrap="none" lIns="0" tIns="45720" rIns="0" bIns="0" rtlCol="0" anchor="t"/>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Segoe UI"/>
                  <a:ea typeface="Segoe UI" pitchFamily="34" charset="0"/>
                  <a:cs typeface="Segoe UI" pitchFamily="34" charset="0"/>
                </a:rPr>
                <a:t>Report</a:t>
              </a:r>
            </a:p>
          </p:txBody>
        </p:sp>
        <p:sp>
          <p:nvSpPr>
            <p:cNvPr id="78" name="Oval 950"/>
            <p:cNvSpPr/>
            <p:nvPr/>
          </p:nvSpPr>
          <p:spPr>
            <a:xfrm>
              <a:off x="388608" y="1252295"/>
              <a:ext cx="1119626" cy="1119626"/>
            </a:xfrm>
            <a:prstGeom prst="ellipse">
              <a:avLst/>
            </a:prstGeom>
            <a:solidFill>
              <a:srgbClr val="F2C812"/>
            </a:solidFill>
            <a:ln w="3175" cap="flat" cmpd="sng" algn="ctr">
              <a:noFill/>
              <a:prstDash val="solid"/>
            </a:ln>
            <a:effectLst/>
          </p:spPr>
          <p:txBody>
            <a:bodyPr vert="horz" wrap="none" lIns="0" tIns="45720" rIns="0" bIns="0" rtlCol="0" anchor="t"/>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1" i="0" u="none" strike="noStrike" kern="1200" cap="none" spc="0" normalizeH="0" baseline="0" noProof="0">
                <a:ln>
                  <a:noFill/>
                </a:ln>
                <a:solidFill>
                  <a:srgbClr val="217346"/>
                </a:solidFill>
                <a:effectLst/>
                <a:uLnTx/>
                <a:uFillTx/>
                <a:latin typeface="Segoe UI"/>
                <a:ea typeface="Segoe UI" pitchFamily="34" charset="0"/>
                <a:cs typeface="Segoe UI" pitchFamily="34" charset="0"/>
              </a:endParaRPr>
            </a:p>
          </p:txBody>
        </p:sp>
        <p:grpSp>
          <p:nvGrpSpPr>
            <p:cNvPr id="79" name="Group 78"/>
            <p:cNvGrpSpPr/>
            <p:nvPr/>
          </p:nvGrpSpPr>
          <p:grpSpPr>
            <a:xfrm>
              <a:off x="1264851" y="3482890"/>
              <a:ext cx="292254" cy="354906"/>
              <a:chOff x="1296521" y="3253388"/>
              <a:chExt cx="292254" cy="354906"/>
            </a:xfrm>
            <a:solidFill>
              <a:srgbClr val="F2C812"/>
            </a:solidFill>
          </p:grpSpPr>
          <p:sp>
            <p:nvSpPr>
              <p:cNvPr id="99" name="Isosceles Triangle 98"/>
              <p:cNvSpPr/>
              <p:nvPr/>
            </p:nvSpPr>
            <p:spPr bwMode="auto">
              <a:xfrm rot="13636515">
                <a:off x="1461362" y="328936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0" name="Isosceles Triangle 99"/>
              <p:cNvSpPr/>
              <p:nvPr/>
            </p:nvSpPr>
            <p:spPr bwMode="auto">
              <a:xfrm rot="13636515">
                <a:off x="1357669" y="338258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1" name="Isosceles Triangle 100"/>
              <p:cNvSpPr/>
              <p:nvPr/>
            </p:nvSpPr>
            <p:spPr bwMode="auto">
              <a:xfrm rot="13636515">
                <a:off x="1260548" y="3480882"/>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80" name="Group 79"/>
            <p:cNvGrpSpPr/>
            <p:nvPr/>
          </p:nvGrpSpPr>
          <p:grpSpPr>
            <a:xfrm rot="15940603">
              <a:off x="1334576" y="2204404"/>
              <a:ext cx="292254" cy="354906"/>
              <a:chOff x="1296521" y="3253388"/>
              <a:chExt cx="292254" cy="354906"/>
            </a:xfrm>
            <a:solidFill>
              <a:srgbClr val="F2C812"/>
            </a:solidFill>
          </p:grpSpPr>
          <p:sp>
            <p:nvSpPr>
              <p:cNvPr id="96" name="Isosceles Triangle 95"/>
              <p:cNvSpPr/>
              <p:nvPr/>
            </p:nvSpPr>
            <p:spPr bwMode="auto">
              <a:xfrm rot="13636515">
                <a:off x="1461362" y="328936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7" name="Isosceles Triangle 96"/>
              <p:cNvSpPr/>
              <p:nvPr/>
            </p:nvSpPr>
            <p:spPr bwMode="auto">
              <a:xfrm rot="13636515">
                <a:off x="1357669" y="338258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8" name="Isosceles Triangle 97"/>
              <p:cNvSpPr/>
              <p:nvPr/>
            </p:nvSpPr>
            <p:spPr bwMode="auto">
              <a:xfrm rot="13636515">
                <a:off x="1260548" y="3480882"/>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81" name="Group 80"/>
            <p:cNvGrpSpPr/>
            <p:nvPr/>
          </p:nvGrpSpPr>
          <p:grpSpPr>
            <a:xfrm rot="16043978">
              <a:off x="1317220" y="4717577"/>
              <a:ext cx="292254" cy="354906"/>
              <a:chOff x="1296521" y="3253388"/>
              <a:chExt cx="292254" cy="354906"/>
            </a:xfrm>
            <a:solidFill>
              <a:srgbClr val="F2C812"/>
            </a:solidFill>
          </p:grpSpPr>
          <p:sp>
            <p:nvSpPr>
              <p:cNvPr id="93" name="Isosceles Triangle 92"/>
              <p:cNvSpPr/>
              <p:nvPr/>
            </p:nvSpPr>
            <p:spPr bwMode="auto">
              <a:xfrm rot="13636515">
                <a:off x="1461362" y="328936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4" name="Isosceles Triangle 93"/>
              <p:cNvSpPr/>
              <p:nvPr/>
            </p:nvSpPr>
            <p:spPr bwMode="auto">
              <a:xfrm rot="13636515">
                <a:off x="1357669" y="338258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5" name="Isosceles Triangle 94"/>
              <p:cNvSpPr/>
              <p:nvPr/>
            </p:nvSpPr>
            <p:spPr bwMode="auto">
              <a:xfrm rot="13636515">
                <a:off x="1260548" y="3480882"/>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82" name="Oval 36"/>
            <p:cNvSpPr/>
            <p:nvPr/>
          </p:nvSpPr>
          <p:spPr>
            <a:xfrm>
              <a:off x="1413521" y="2481383"/>
              <a:ext cx="1119626" cy="1119626"/>
            </a:xfrm>
            <a:prstGeom prst="ellipse">
              <a:avLst/>
            </a:prstGeom>
            <a:solidFill>
              <a:srgbClr val="F2C812"/>
            </a:solidFill>
            <a:ln w="3175" cap="flat" cmpd="sng" algn="ctr">
              <a:noFill/>
              <a:prstDash val="solid"/>
            </a:ln>
            <a:effectLst/>
          </p:spPr>
          <p:txBody>
            <a:bodyPr vert="horz" wrap="none" lIns="0" tIns="0" rIns="0" bIns="0" rtlCol="0" anchor="t"/>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400" b="1" i="0" u="none" strike="noStrike" kern="1200" cap="none" spc="0" normalizeH="0" baseline="0" noProof="0">
                <a:ln>
                  <a:noFill/>
                </a:ln>
                <a:solidFill>
                  <a:srgbClr val="217346"/>
                </a:solidFill>
                <a:effectLst/>
                <a:uLnTx/>
                <a:uFillTx/>
                <a:latin typeface="Segoe UI"/>
                <a:ea typeface="Segoe UI" pitchFamily="34" charset="0"/>
                <a:cs typeface="Segoe UI" pitchFamily="34" charset="0"/>
              </a:endParaRPr>
            </a:p>
          </p:txBody>
        </p:sp>
        <p:sp>
          <p:nvSpPr>
            <p:cNvPr id="83" name="Donut 3"/>
            <p:cNvSpPr/>
            <p:nvPr/>
          </p:nvSpPr>
          <p:spPr bwMode="auto">
            <a:xfrm>
              <a:off x="1742065" y="3002355"/>
              <a:ext cx="383905" cy="351537"/>
            </a:xfrm>
            <a:custGeom>
              <a:avLst/>
              <a:gdLst/>
              <a:ahLst/>
              <a:cxnLst/>
              <a:rect l="l" t="t" r="r" b="b"/>
              <a:pathLst>
                <a:path w="1409956" h="1291077">
                  <a:moveTo>
                    <a:pt x="956401" y="78410"/>
                  </a:moveTo>
                  <a:cubicBezTo>
                    <a:pt x="747518" y="78410"/>
                    <a:pt x="578184" y="247744"/>
                    <a:pt x="578184" y="456627"/>
                  </a:cubicBezTo>
                  <a:cubicBezTo>
                    <a:pt x="578184" y="665510"/>
                    <a:pt x="747518" y="834844"/>
                    <a:pt x="956401" y="834844"/>
                  </a:cubicBezTo>
                  <a:cubicBezTo>
                    <a:pt x="1165284" y="834844"/>
                    <a:pt x="1334618" y="665510"/>
                    <a:pt x="1334618" y="456627"/>
                  </a:cubicBezTo>
                  <a:cubicBezTo>
                    <a:pt x="1334618" y="247744"/>
                    <a:pt x="1165284" y="78410"/>
                    <a:pt x="956401" y="78410"/>
                  </a:cubicBezTo>
                  <a:close/>
                  <a:moveTo>
                    <a:pt x="952756" y="0"/>
                  </a:moveTo>
                  <a:cubicBezTo>
                    <a:pt x="1205261" y="0"/>
                    <a:pt x="1409956" y="204695"/>
                    <a:pt x="1409956" y="457200"/>
                  </a:cubicBezTo>
                  <a:cubicBezTo>
                    <a:pt x="1409956" y="709705"/>
                    <a:pt x="1205261" y="914400"/>
                    <a:pt x="952756" y="914400"/>
                  </a:cubicBezTo>
                  <a:cubicBezTo>
                    <a:pt x="862133" y="914400"/>
                    <a:pt x="777669" y="888034"/>
                    <a:pt x="707132" y="841746"/>
                  </a:cubicBezTo>
                  <a:lnTo>
                    <a:pt x="136495" y="1280102"/>
                  </a:lnTo>
                  <a:cubicBezTo>
                    <a:pt x="21896" y="1327168"/>
                    <a:pt x="-44029" y="1213730"/>
                    <a:pt x="33797" y="1113182"/>
                  </a:cubicBezTo>
                  <a:lnTo>
                    <a:pt x="568587" y="703518"/>
                  </a:lnTo>
                  <a:cubicBezTo>
                    <a:pt x="522087" y="632814"/>
                    <a:pt x="495556" y="548105"/>
                    <a:pt x="495556" y="457200"/>
                  </a:cubicBezTo>
                  <a:cubicBezTo>
                    <a:pt x="495556" y="204695"/>
                    <a:pt x="700251" y="0"/>
                    <a:pt x="952756" y="0"/>
                  </a:cubicBezTo>
                  <a:close/>
                </a:path>
              </a:pathLst>
            </a:cu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sp>
          <p:nvSpPr>
            <p:cNvPr id="84" name="Rectangle 83"/>
            <p:cNvSpPr/>
            <p:nvPr/>
          </p:nvSpPr>
          <p:spPr>
            <a:xfrm>
              <a:off x="1600398" y="2677430"/>
              <a:ext cx="820353" cy="307777"/>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Segoe UI"/>
                  <a:ea typeface="Segoe UI" pitchFamily="34" charset="0"/>
                  <a:cs typeface="Segoe UI" pitchFamily="34" charset="0"/>
                </a:rPr>
                <a:t>Explore</a:t>
              </a:r>
              <a:endParaRPr kumimoji="0" lang="en-US" sz="1600" b="0" i="0" u="none" strike="noStrike" kern="1200" cap="none" spc="0" normalizeH="0" baseline="0" noProof="0">
                <a:ln>
                  <a:noFill/>
                </a:ln>
                <a:solidFill>
                  <a:srgbClr val="000000"/>
                </a:solidFill>
                <a:effectLst/>
                <a:uLnTx/>
                <a:uFillTx/>
                <a:latin typeface="Segoe UI"/>
                <a:ea typeface="+mn-ea"/>
                <a:cs typeface="+mn-cs"/>
              </a:endParaRPr>
            </a:p>
          </p:txBody>
        </p:sp>
        <p:sp>
          <p:nvSpPr>
            <p:cNvPr id="85" name="Rectangle 84"/>
            <p:cNvSpPr/>
            <p:nvPr/>
          </p:nvSpPr>
          <p:spPr>
            <a:xfrm>
              <a:off x="509174" y="1475232"/>
              <a:ext cx="838756" cy="307777"/>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Segoe UI"/>
                  <a:ea typeface="Segoe UI" pitchFamily="34" charset="0"/>
                  <a:cs typeface="Segoe UI" pitchFamily="34" charset="0"/>
                </a:rPr>
                <a:t>Prepare</a:t>
              </a: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86" name="Freeform 85"/>
            <p:cNvSpPr>
              <a:spLocks noChangeAspect="1"/>
            </p:cNvSpPr>
            <p:nvPr/>
          </p:nvSpPr>
          <p:spPr bwMode="black">
            <a:xfrm>
              <a:off x="1836174" y="5643069"/>
              <a:ext cx="274320" cy="284173"/>
            </a:xfrm>
            <a:custGeom>
              <a:avLst/>
              <a:gdLst>
                <a:gd name="T0" fmla="*/ 539 w 669"/>
                <a:gd name="T1" fmla="*/ 5 h 693"/>
                <a:gd name="T2" fmla="*/ 640 w 669"/>
                <a:gd name="T3" fmla="*/ 55 h 693"/>
                <a:gd name="T4" fmla="*/ 603 w 669"/>
                <a:gd name="T5" fmla="*/ 195 h 693"/>
                <a:gd name="T6" fmla="*/ 490 w 669"/>
                <a:gd name="T7" fmla="*/ 188 h 693"/>
                <a:gd name="T8" fmla="*/ 479 w 669"/>
                <a:gd name="T9" fmla="*/ 176 h 693"/>
                <a:gd name="T10" fmla="*/ 213 w 669"/>
                <a:gd name="T11" fmla="*/ 330 h 693"/>
                <a:gd name="T12" fmla="*/ 218 w 669"/>
                <a:gd name="T13" fmla="*/ 345 h 693"/>
                <a:gd name="T14" fmla="*/ 218 w 669"/>
                <a:gd name="T15" fmla="*/ 375 h 693"/>
                <a:gd name="T16" fmla="*/ 209 w 669"/>
                <a:gd name="T17" fmla="*/ 402 h 693"/>
                <a:gd name="T18" fmla="*/ 369 w 669"/>
                <a:gd name="T19" fmla="*/ 503 h 693"/>
                <a:gd name="T20" fmla="*/ 373 w 669"/>
                <a:gd name="T21" fmla="*/ 498 h 693"/>
                <a:gd name="T22" fmla="*/ 456 w 669"/>
                <a:gd name="T23" fmla="*/ 475 h 693"/>
                <a:gd name="T24" fmla="*/ 494 w 669"/>
                <a:gd name="T25" fmla="*/ 489 h 693"/>
                <a:gd name="T26" fmla="*/ 527 w 669"/>
                <a:gd name="T27" fmla="*/ 630 h 693"/>
                <a:gd name="T28" fmla="*/ 386 w 669"/>
                <a:gd name="T29" fmla="*/ 663 h 693"/>
                <a:gd name="T30" fmla="*/ 339 w 669"/>
                <a:gd name="T31" fmla="*/ 560 h 693"/>
                <a:gd name="T32" fmla="*/ 345 w 669"/>
                <a:gd name="T33" fmla="*/ 544 h 693"/>
                <a:gd name="T34" fmla="*/ 177 w 669"/>
                <a:gd name="T35" fmla="*/ 439 h 693"/>
                <a:gd name="T36" fmla="*/ 168 w 669"/>
                <a:gd name="T37" fmla="*/ 446 h 693"/>
                <a:gd name="T38" fmla="*/ 28 w 669"/>
                <a:gd name="T39" fmla="*/ 409 h 693"/>
                <a:gd name="T40" fmla="*/ 65 w 669"/>
                <a:gd name="T41" fmla="*/ 269 h 693"/>
                <a:gd name="T42" fmla="*/ 178 w 669"/>
                <a:gd name="T43" fmla="*/ 276 h 693"/>
                <a:gd name="T44" fmla="*/ 189 w 669"/>
                <a:gd name="T45" fmla="*/ 288 h 693"/>
                <a:gd name="T46" fmla="*/ 455 w 669"/>
                <a:gd name="T47" fmla="*/ 134 h 693"/>
                <a:gd name="T48" fmla="*/ 450 w 669"/>
                <a:gd name="T49" fmla="*/ 119 h 693"/>
                <a:gd name="T50" fmla="*/ 501 w 669"/>
                <a:gd name="T51" fmla="*/ 18 h 693"/>
                <a:gd name="T52" fmla="*/ 539 w 669"/>
                <a:gd name="T53" fmla="*/ 5 h 6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69" h="693">
                  <a:moveTo>
                    <a:pt x="539" y="5"/>
                  </a:moveTo>
                  <a:cubicBezTo>
                    <a:pt x="579" y="0"/>
                    <a:pt x="619" y="19"/>
                    <a:pt x="640" y="55"/>
                  </a:cubicBezTo>
                  <a:cubicBezTo>
                    <a:pt x="669" y="104"/>
                    <a:pt x="652" y="167"/>
                    <a:pt x="603" y="195"/>
                  </a:cubicBezTo>
                  <a:cubicBezTo>
                    <a:pt x="566" y="216"/>
                    <a:pt x="522" y="212"/>
                    <a:pt x="490" y="188"/>
                  </a:cubicBezTo>
                  <a:cubicBezTo>
                    <a:pt x="479" y="176"/>
                    <a:pt x="479" y="176"/>
                    <a:pt x="479" y="176"/>
                  </a:cubicBezTo>
                  <a:cubicBezTo>
                    <a:pt x="213" y="330"/>
                    <a:pt x="213" y="330"/>
                    <a:pt x="213" y="330"/>
                  </a:cubicBezTo>
                  <a:cubicBezTo>
                    <a:pt x="218" y="345"/>
                    <a:pt x="218" y="345"/>
                    <a:pt x="218" y="345"/>
                  </a:cubicBezTo>
                  <a:cubicBezTo>
                    <a:pt x="219" y="355"/>
                    <a:pt x="219" y="365"/>
                    <a:pt x="218" y="375"/>
                  </a:cubicBezTo>
                  <a:cubicBezTo>
                    <a:pt x="209" y="402"/>
                    <a:pt x="209" y="402"/>
                    <a:pt x="209" y="402"/>
                  </a:cubicBezTo>
                  <a:cubicBezTo>
                    <a:pt x="369" y="503"/>
                    <a:pt x="369" y="503"/>
                    <a:pt x="369" y="503"/>
                  </a:cubicBezTo>
                  <a:cubicBezTo>
                    <a:pt x="373" y="498"/>
                    <a:pt x="373" y="498"/>
                    <a:pt x="373" y="498"/>
                  </a:cubicBezTo>
                  <a:cubicBezTo>
                    <a:pt x="396" y="479"/>
                    <a:pt x="427" y="470"/>
                    <a:pt x="456" y="475"/>
                  </a:cubicBezTo>
                  <a:cubicBezTo>
                    <a:pt x="470" y="477"/>
                    <a:pt x="482" y="482"/>
                    <a:pt x="494" y="489"/>
                  </a:cubicBezTo>
                  <a:cubicBezTo>
                    <a:pt x="542" y="519"/>
                    <a:pt x="557" y="583"/>
                    <a:pt x="527" y="630"/>
                  </a:cubicBezTo>
                  <a:cubicBezTo>
                    <a:pt x="497" y="678"/>
                    <a:pt x="433" y="693"/>
                    <a:pt x="386" y="663"/>
                  </a:cubicBezTo>
                  <a:cubicBezTo>
                    <a:pt x="350" y="640"/>
                    <a:pt x="333" y="599"/>
                    <a:pt x="339" y="560"/>
                  </a:cubicBezTo>
                  <a:cubicBezTo>
                    <a:pt x="345" y="544"/>
                    <a:pt x="345" y="544"/>
                    <a:pt x="345" y="544"/>
                  </a:cubicBezTo>
                  <a:cubicBezTo>
                    <a:pt x="177" y="439"/>
                    <a:pt x="177" y="439"/>
                    <a:pt x="177" y="439"/>
                  </a:cubicBezTo>
                  <a:cubicBezTo>
                    <a:pt x="168" y="446"/>
                    <a:pt x="168" y="446"/>
                    <a:pt x="168" y="446"/>
                  </a:cubicBezTo>
                  <a:cubicBezTo>
                    <a:pt x="119" y="475"/>
                    <a:pt x="56" y="458"/>
                    <a:pt x="28" y="409"/>
                  </a:cubicBezTo>
                  <a:cubicBezTo>
                    <a:pt x="0" y="360"/>
                    <a:pt x="16" y="297"/>
                    <a:pt x="65" y="269"/>
                  </a:cubicBezTo>
                  <a:cubicBezTo>
                    <a:pt x="102" y="248"/>
                    <a:pt x="147" y="252"/>
                    <a:pt x="178" y="276"/>
                  </a:cubicBezTo>
                  <a:cubicBezTo>
                    <a:pt x="189" y="288"/>
                    <a:pt x="189" y="288"/>
                    <a:pt x="189" y="288"/>
                  </a:cubicBezTo>
                  <a:cubicBezTo>
                    <a:pt x="455" y="134"/>
                    <a:pt x="455" y="134"/>
                    <a:pt x="455" y="134"/>
                  </a:cubicBezTo>
                  <a:cubicBezTo>
                    <a:pt x="450" y="119"/>
                    <a:pt x="450" y="119"/>
                    <a:pt x="450" y="119"/>
                  </a:cubicBezTo>
                  <a:cubicBezTo>
                    <a:pt x="445" y="80"/>
                    <a:pt x="464" y="39"/>
                    <a:pt x="501" y="18"/>
                  </a:cubicBezTo>
                  <a:cubicBezTo>
                    <a:pt x="513" y="11"/>
                    <a:pt x="526" y="6"/>
                    <a:pt x="539" y="5"/>
                  </a:cubicBezTo>
                  <a:close/>
                </a:path>
              </a:pathLst>
            </a:custGeom>
            <a:solidFill>
              <a:schemeClr val="tx1"/>
            </a:solidFill>
            <a:ln>
              <a:noFill/>
            </a:ln>
          </p:spPr>
          <p:txBody>
            <a:bodyPr vert="horz" wrap="square" lIns="68574" tIns="34287" rIns="68574" bIns="34287"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0000"/>
                </a:solidFill>
                <a:effectLst/>
                <a:uLnTx/>
                <a:uFillTx/>
                <a:latin typeface="Segoe UI"/>
                <a:ea typeface="+mn-ea"/>
                <a:cs typeface="+mn-cs"/>
              </a:endParaRPr>
            </a:p>
          </p:txBody>
        </p:sp>
        <p:sp>
          <p:nvSpPr>
            <p:cNvPr id="87" name="Freeform 86"/>
            <p:cNvSpPr>
              <a:spLocks noChangeAspect="1" noEditPoints="1"/>
            </p:cNvSpPr>
            <p:nvPr/>
          </p:nvSpPr>
          <p:spPr bwMode="black">
            <a:xfrm>
              <a:off x="722320" y="1783009"/>
              <a:ext cx="452202" cy="366660"/>
            </a:xfrm>
            <a:custGeom>
              <a:avLst/>
              <a:gdLst>
                <a:gd name="T0" fmla="*/ 600 w 1107"/>
                <a:gd name="T1" fmla="*/ 625 h 897"/>
                <a:gd name="T2" fmla="*/ 649 w 1107"/>
                <a:gd name="T3" fmla="*/ 567 h 897"/>
                <a:gd name="T4" fmla="*/ 727 w 1107"/>
                <a:gd name="T5" fmla="*/ 482 h 897"/>
                <a:gd name="T6" fmla="*/ 601 w 1107"/>
                <a:gd name="T7" fmla="*/ 434 h 897"/>
                <a:gd name="T8" fmla="*/ 628 w 1107"/>
                <a:gd name="T9" fmla="*/ 305 h 897"/>
                <a:gd name="T10" fmla="*/ 547 w 1107"/>
                <a:gd name="T11" fmla="*/ 240 h 897"/>
                <a:gd name="T12" fmla="*/ 427 w 1107"/>
                <a:gd name="T13" fmla="*/ 287 h 897"/>
                <a:gd name="T14" fmla="*/ 368 w 1107"/>
                <a:gd name="T15" fmla="*/ 170 h 897"/>
                <a:gd name="T16" fmla="*/ 285 w 1107"/>
                <a:gd name="T17" fmla="*/ 263 h 897"/>
                <a:gd name="T18" fmla="*/ 241 w 1107"/>
                <a:gd name="T19" fmla="*/ 313 h 897"/>
                <a:gd name="T20" fmla="*/ 139 w 1107"/>
                <a:gd name="T21" fmla="*/ 281 h 897"/>
                <a:gd name="T22" fmla="*/ 79 w 1107"/>
                <a:gd name="T23" fmla="*/ 355 h 897"/>
                <a:gd name="T24" fmla="*/ 132 w 1107"/>
                <a:gd name="T25" fmla="*/ 446 h 897"/>
                <a:gd name="T26" fmla="*/ 83 w 1107"/>
                <a:gd name="T27" fmla="*/ 505 h 897"/>
                <a:gd name="T28" fmla="*/ 5 w 1107"/>
                <a:gd name="T29" fmla="*/ 590 h 897"/>
                <a:gd name="T30" fmla="*/ 132 w 1107"/>
                <a:gd name="T31" fmla="*/ 638 h 897"/>
                <a:gd name="T32" fmla="*/ 145 w 1107"/>
                <a:gd name="T33" fmla="*/ 669 h 897"/>
                <a:gd name="T34" fmla="*/ 110 w 1107"/>
                <a:gd name="T35" fmla="*/ 793 h 897"/>
                <a:gd name="T36" fmla="*/ 230 w 1107"/>
                <a:gd name="T37" fmla="*/ 781 h 897"/>
                <a:gd name="T38" fmla="*/ 306 w 1107"/>
                <a:gd name="T39" fmla="*/ 785 h 897"/>
                <a:gd name="T40" fmla="*/ 346 w 1107"/>
                <a:gd name="T41" fmla="*/ 878 h 897"/>
                <a:gd name="T42" fmla="*/ 440 w 1107"/>
                <a:gd name="T43" fmla="*/ 872 h 897"/>
                <a:gd name="T44" fmla="*/ 466 w 1107"/>
                <a:gd name="T45" fmla="*/ 764 h 897"/>
                <a:gd name="T46" fmla="*/ 539 w 1107"/>
                <a:gd name="T47" fmla="*/ 755 h 897"/>
                <a:gd name="T48" fmla="*/ 659 w 1107"/>
                <a:gd name="T49" fmla="*/ 743 h 897"/>
                <a:gd name="T50" fmla="*/ 263 w 1107"/>
                <a:gd name="T51" fmla="*/ 452 h 897"/>
                <a:gd name="T52" fmla="*/ 281 w 1107"/>
                <a:gd name="T53" fmla="*/ 633 h 897"/>
                <a:gd name="T54" fmla="*/ 1002 w 1107"/>
                <a:gd name="T55" fmla="*/ 332 h 897"/>
                <a:gd name="T56" fmla="*/ 1043 w 1107"/>
                <a:gd name="T57" fmla="*/ 304 h 897"/>
                <a:gd name="T58" fmla="*/ 1107 w 1107"/>
                <a:gd name="T59" fmla="*/ 266 h 897"/>
                <a:gd name="T60" fmla="*/ 1037 w 1107"/>
                <a:gd name="T61" fmla="*/ 213 h 897"/>
                <a:gd name="T62" fmla="*/ 1077 w 1107"/>
                <a:gd name="T63" fmla="*/ 138 h 897"/>
                <a:gd name="T64" fmla="*/ 1038 w 1107"/>
                <a:gd name="T65" fmla="*/ 83 h 897"/>
                <a:gd name="T66" fmla="*/ 956 w 1107"/>
                <a:gd name="T67" fmla="*/ 91 h 897"/>
                <a:gd name="T68" fmla="*/ 940 w 1107"/>
                <a:gd name="T69" fmla="*/ 7 h 897"/>
                <a:gd name="T70" fmla="*/ 872 w 1107"/>
                <a:gd name="T71" fmla="*/ 50 h 897"/>
                <a:gd name="T72" fmla="*/ 836 w 1107"/>
                <a:gd name="T73" fmla="*/ 74 h 897"/>
                <a:gd name="T74" fmla="*/ 778 w 1107"/>
                <a:gd name="T75" fmla="*/ 35 h 897"/>
                <a:gd name="T76" fmla="*/ 728 w 1107"/>
                <a:gd name="T77" fmla="*/ 70 h 897"/>
                <a:gd name="T78" fmla="*/ 744 w 1107"/>
                <a:gd name="T79" fmla="*/ 136 h 897"/>
                <a:gd name="T80" fmla="*/ 703 w 1107"/>
                <a:gd name="T81" fmla="*/ 164 h 897"/>
                <a:gd name="T82" fmla="*/ 640 w 1107"/>
                <a:gd name="T83" fmla="*/ 203 h 897"/>
                <a:gd name="T84" fmla="*/ 710 w 1107"/>
                <a:gd name="T85" fmla="*/ 255 h 897"/>
                <a:gd name="T86" fmla="*/ 712 w 1107"/>
                <a:gd name="T87" fmla="*/ 277 h 897"/>
                <a:gd name="T88" fmla="*/ 668 w 1107"/>
                <a:gd name="T89" fmla="*/ 347 h 897"/>
                <a:gd name="T90" fmla="*/ 745 w 1107"/>
                <a:gd name="T91" fmla="*/ 361 h 897"/>
                <a:gd name="T92" fmla="*/ 791 w 1107"/>
                <a:gd name="T93" fmla="*/ 377 h 897"/>
                <a:gd name="T94" fmla="*/ 799 w 1107"/>
                <a:gd name="T95" fmla="*/ 443 h 897"/>
                <a:gd name="T96" fmla="*/ 859 w 1107"/>
                <a:gd name="T97" fmla="*/ 456 h 897"/>
                <a:gd name="T98" fmla="*/ 894 w 1107"/>
                <a:gd name="T99" fmla="*/ 393 h 897"/>
                <a:gd name="T100" fmla="*/ 941 w 1107"/>
                <a:gd name="T101" fmla="*/ 401 h 897"/>
                <a:gd name="T102" fmla="*/ 1018 w 1107"/>
                <a:gd name="T103" fmla="*/ 415 h 897"/>
                <a:gd name="T104" fmla="*/ 825 w 1107"/>
                <a:gd name="T105" fmla="*/ 164 h 897"/>
                <a:gd name="T106" fmla="*/ 803 w 1107"/>
                <a:gd name="T107" fmla="*/ 279 h 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107" h="897">
                  <a:moveTo>
                    <a:pt x="654" y="716"/>
                  </a:moveTo>
                  <a:cubicBezTo>
                    <a:pt x="616" y="670"/>
                    <a:pt x="616" y="670"/>
                    <a:pt x="616" y="670"/>
                  </a:cubicBezTo>
                  <a:cubicBezTo>
                    <a:pt x="593" y="654"/>
                    <a:pt x="603" y="638"/>
                    <a:pt x="600" y="625"/>
                  </a:cubicBezTo>
                  <a:cubicBezTo>
                    <a:pt x="600" y="625"/>
                    <a:pt x="600" y="625"/>
                    <a:pt x="600" y="625"/>
                  </a:cubicBezTo>
                  <a:cubicBezTo>
                    <a:pt x="605" y="617"/>
                    <a:pt x="611" y="609"/>
                    <a:pt x="608" y="596"/>
                  </a:cubicBezTo>
                  <a:cubicBezTo>
                    <a:pt x="618" y="580"/>
                    <a:pt x="623" y="572"/>
                    <a:pt x="649" y="567"/>
                  </a:cubicBezTo>
                  <a:cubicBezTo>
                    <a:pt x="715" y="553"/>
                    <a:pt x="715" y="553"/>
                    <a:pt x="715" y="553"/>
                  </a:cubicBezTo>
                  <a:cubicBezTo>
                    <a:pt x="728" y="550"/>
                    <a:pt x="733" y="542"/>
                    <a:pt x="730" y="529"/>
                  </a:cubicBezTo>
                  <a:cubicBezTo>
                    <a:pt x="727" y="482"/>
                    <a:pt x="727" y="482"/>
                    <a:pt x="727" y="482"/>
                  </a:cubicBezTo>
                  <a:cubicBezTo>
                    <a:pt x="724" y="469"/>
                    <a:pt x="717" y="463"/>
                    <a:pt x="701" y="453"/>
                  </a:cubicBezTo>
                  <a:cubicBezTo>
                    <a:pt x="641" y="459"/>
                    <a:pt x="641" y="459"/>
                    <a:pt x="641" y="459"/>
                  </a:cubicBezTo>
                  <a:cubicBezTo>
                    <a:pt x="620" y="457"/>
                    <a:pt x="604" y="447"/>
                    <a:pt x="601" y="434"/>
                  </a:cubicBezTo>
                  <a:cubicBezTo>
                    <a:pt x="598" y="421"/>
                    <a:pt x="590" y="416"/>
                    <a:pt x="580" y="397"/>
                  </a:cubicBezTo>
                  <a:cubicBezTo>
                    <a:pt x="577" y="384"/>
                    <a:pt x="574" y="371"/>
                    <a:pt x="584" y="355"/>
                  </a:cubicBezTo>
                  <a:cubicBezTo>
                    <a:pt x="628" y="305"/>
                    <a:pt x="628" y="305"/>
                    <a:pt x="628" y="305"/>
                  </a:cubicBezTo>
                  <a:cubicBezTo>
                    <a:pt x="634" y="297"/>
                    <a:pt x="631" y="284"/>
                    <a:pt x="623" y="279"/>
                  </a:cubicBezTo>
                  <a:cubicBezTo>
                    <a:pt x="581" y="240"/>
                    <a:pt x="581" y="240"/>
                    <a:pt x="581" y="240"/>
                  </a:cubicBezTo>
                  <a:cubicBezTo>
                    <a:pt x="573" y="235"/>
                    <a:pt x="560" y="238"/>
                    <a:pt x="547" y="240"/>
                  </a:cubicBezTo>
                  <a:cubicBezTo>
                    <a:pt x="503" y="291"/>
                    <a:pt x="503" y="291"/>
                    <a:pt x="503" y="291"/>
                  </a:cubicBezTo>
                  <a:cubicBezTo>
                    <a:pt x="484" y="302"/>
                    <a:pt x="471" y="304"/>
                    <a:pt x="463" y="299"/>
                  </a:cubicBezTo>
                  <a:cubicBezTo>
                    <a:pt x="456" y="294"/>
                    <a:pt x="435" y="292"/>
                    <a:pt x="427" y="287"/>
                  </a:cubicBezTo>
                  <a:cubicBezTo>
                    <a:pt x="419" y="282"/>
                    <a:pt x="403" y="271"/>
                    <a:pt x="400" y="258"/>
                  </a:cubicBezTo>
                  <a:cubicBezTo>
                    <a:pt x="386" y="193"/>
                    <a:pt x="386" y="193"/>
                    <a:pt x="386" y="193"/>
                  </a:cubicBezTo>
                  <a:cubicBezTo>
                    <a:pt x="384" y="180"/>
                    <a:pt x="368" y="170"/>
                    <a:pt x="368" y="170"/>
                  </a:cubicBezTo>
                  <a:cubicBezTo>
                    <a:pt x="308" y="176"/>
                    <a:pt x="308" y="176"/>
                    <a:pt x="308" y="176"/>
                  </a:cubicBezTo>
                  <a:cubicBezTo>
                    <a:pt x="308" y="176"/>
                    <a:pt x="289" y="187"/>
                    <a:pt x="292" y="200"/>
                  </a:cubicBezTo>
                  <a:cubicBezTo>
                    <a:pt x="285" y="263"/>
                    <a:pt x="285" y="263"/>
                    <a:pt x="285" y="263"/>
                  </a:cubicBezTo>
                  <a:cubicBezTo>
                    <a:pt x="291" y="289"/>
                    <a:pt x="277" y="292"/>
                    <a:pt x="272" y="300"/>
                  </a:cubicBezTo>
                  <a:cubicBezTo>
                    <a:pt x="272" y="300"/>
                    <a:pt x="272" y="300"/>
                    <a:pt x="267" y="308"/>
                  </a:cubicBezTo>
                  <a:cubicBezTo>
                    <a:pt x="259" y="302"/>
                    <a:pt x="246" y="305"/>
                    <a:pt x="241" y="313"/>
                  </a:cubicBezTo>
                  <a:cubicBezTo>
                    <a:pt x="236" y="321"/>
                    <a:pt x="236" y="321"/>
                    <a:pt x="236" y="321"/>
                  </a:cubicBezTo>
                  <a:cubicBezTo>
                    <a:pt x="223" y="324"/>
                    <a:pt x="210" y="327"/>
                    <a:pt x="194" y="317"/>
                  </a:cubicBezTo>
                  <a:cubicBezTo>
                    <a:pt x="139" y="281"/>
                    <a:pt x="139" y="281"/>
                    <a:pt x="139" y="281"/>
                  </a:cubicBezTo>
                  <a:cubicBezTo>
                    <a:pt x="131" y="276"/>
                    <a:pt x="110" y="273"/>
                    <a:pt x="104" y="281"/>
                  </a:cubicBezTo>
                  <a:cubicBezTo>
                    <a:pt x="79" y="321"/>
                    <a:pt x="79" y="321"/>
                    <a:pt x="79" y="321"/>
                  </a:cubicBezTo>
                  <a:cubicBezTo>
                    <a:pt x="66" y="324"/>
                    <a:pt x="68" y="337"/>
                    <a:pt x="79" y="355"/>
                  </a:cubicBezTo>
                  <a:cubicBezTo>
                    <a:pt x="121" y="394"/>
                    <a:pt x="121" y="394"/>
                    <a:pt x="121" y="394"/>
                  </a:cubicBezTo>
                  <a:cubicBezTo>
                    <a:pt x="140" y="417"/>
                    <a:pt x="135" y="425"/>
                    <a:pt x="132" y="446"/>
                  </a:cubicBezTo>
                  <a:cubicBezTo>
                    <a:pt x="132" y="446"/>
                    <a:pt x="132" y="446"/>
                    <a:pt x="132" y="446"/>
                  </a:cubicBezTo>
                  <a:cubicBezTo>
                    <a:pt x="127" y="454"/>
                    <a:pt x="122" y="462"/>
                    <a:pt x="117" y="470"/>
                  </a:cubicBezTo>
                  <a:cubicBezTo>
                    <a:pt x="117" y="470"/>
                    <a:pt x="117" y="470"/>
                    <a:pt x="117" y="470"/>
                  </a:cubicBezTo>
                  <a:cubicBezTo>
                    <a:pt x="120" y="483"/>
                    <a:pt x="109" y="499"/>
                    <a:pt x="83" y="505"/>
                  </a:cubicBezTo>
                  <a:cubicBezTo>
                    <a:pt x="23" y="511"/>
                    <a:pt x="23" y="511"/>
                    <a:pt x="23" y="511"/>
                  </a:cubicBezTo>
                  <a:cubicBezTo>
                    <a:pt x="10" y="514"/>
                    <a:pt x="0" y="529"/>
                    <a:pt x="2" y="543"/>
                  </a:cubicBezTo>
                  <a:cubicBezTo>
                    <a:pt x="5" y="590"/>
                    <a:pt x="5" y="590"/>
                    <a:pt x="5" y="590"/>
                  </a:cubicBezTo>
                  <a:cubicBezTo>
                    <a:pt x="8" y="603"/>
                    <a:pt x="16" y="608"/>
                    <a:pt x="37" y="610"/>
                  </a:cubicBezTo>
                  <a:cubicBezTo>
                    <a:pt x="92" y="612"/>
                    <a:pt x="92" y="612"/>
                    <a:pt x="92" y="612"/>
                  </a:cubicBezTo>
                  <a:cubicBezTo>
                    <a:pt x="113" y="614"/>
                    <a:pt x="129" y="625"/>
                    <a:pt x="132" y="638"/>
                  </a:cubicBezTo>
                  <a:cubicBezTo>
                    <a:pt x="132" y="638"/>
                    <a:pt x="132" y="638"/>
                    <a:pt x="132" y="638"/>
                  </a:cubicBezTo>
                  <a:cubicBezTo>
                    <a:pt x="140" y="643"/>
                    <a:pt x="142" y="656"/>
                    <a:pt x="150" y="661"/>
                  </a:cubicBezTo>
                  <a:cubicBezTo>
                    <a:pt x="145" y="669"/>
                    <a:pt x="145" y="669"/>
                    <a:pt x="145" y="669"/>
                  </a:cubicBezTo>
                  <a:cubicBezTo>
                    <a:pt x="153" y="674"/>
                    <a:pt x="156" y="687"/>
                    <a:pt x="140" y="711"/>
                  </a:cubicBezTo>
                  <a:cubicBezTo>
                    <a:pt x="109" y="759"/>
                    <a:pt x="109" y="759"/>
                    <a:pt x="109" y="759"/>
                  </a:cubicBezTo>
                  <a:cubicBezTo>
                    <a:pt x="99" y="775"/>
                    <a:pt x="102" y="788"/>
                    <a:pt x="110" y="793"/>
                  </a:cubicBezTo>
                  <a:cubicBezTo>
                    <a:pt x="152" y="832"/>
                    <a:pt x="152" y="832"/>
                    <a:pt x="152" y="832"/>
                  </a:cubicBezTo>
                  <a:cubicBezTo>
                    <a:pt x="160" y="837"/>
                    <a:pt x="173" y="834"/>
                    <a:pt x="178" y="826"/>
                  </a:cubicBezTo>
                  <a:cubicBezTo>
                    <a:pt x="230" y="781"/>
                    <a:pt x="230" y="781"/>
                    <a:pt x="230" y="781"/>
                  </a:cubicBezTo>
                  <a:cubicBezTo>
                    <a:pt x="248" y="770"/>
                    <a:pt x="261" y="767"/>
                    <a:pt x="269" y="772"/>
                  </a:cubicBezTo>
                  <a:cubicBezTo>
                    <a:pt x="269" y="772"/>
                    <a:pt x="269" y="772"/>
                    <a:pt x="269" y="772"/>
                  </a:cubicBezTo>
                  <a:cubicBezTo>
                    <a:pt x="282" y="769"/>
                    <a:pt x="298" y="779"/>
                    <a:pt x="306" y="785"/>
                  </a:cubicBezTo>
                  <a:cubicBezTo>
                    <a:pt x="306" y="785"/>
                    <a:pt x="306" y="785"/>
                    <a:pt x="306" y="785"/>
                  </a:cubicBezTo>
                  <a:cubicBezTo>
                    <a:pt x="319" y="782"/>
                    <a:pt x="327" y="787"/>
                    <a:pt x="332" y="813"/>
                  </a:cubicBezTo>
                  <a:cubicBezTo>
                    <a:pt x="346" y="878"/>
                    <a:pt x="346" y="878"/>
                    <a:pt x="346" y="878"/>
                  </a:cubicBezTo>
                  <a:cubicBezTo>
                    <a:pt x="349" y="892"/>
                    <a:pt x="357" y="897"/>
                    <a:pt x="370" y="894"/>
                  </a:cubicBezTo>
                  <a:cubicBezTo>
                    <a:pt x="425" y="896"/>
                    <a:pt x="425" y="896"/>
                    <a:pt x="425" y="896"/>
                  </a:cubicBezTo>
                  <a:cubicBezTo>
                    <a:pt x="430" y="888"/>
                    <a:pt x="443" y="885"/>
                    <a:pt x="440" y="872"/>
                  </a:cubicBezTo>
                  <a:cubicBezTo>
                    <a:pt x="440" y="804"/>
                    <a:pt x="440" y="804"/>
                    <a:pt x="440" y="804"/>
                  </a:cubicBezTo>
                  <a:cubicBezTo>
                    <a:pt x="442" y="783"/>
                    <a:pt x="460" y="772"/>
                    <a:pt x="466" y="764"/>
                  </a:cubicBezTo>
                  <a:cubicBezTo>
                    <a:pt x="466" y="764"/>
                    <a:pt x="466" y="764"/>
                    <a:pt x="466" y="764"/>
                  </a:cubicBezTo>
                  <a:cubicBezTo>
                    <a:pt x="479" y="761"/>
                    <a:pt x="492" y="758"/>
                    <a:pt x="497" y="750"/>
                  </a:cubicBezTo>
                  <a:cubicBezTo>
                    <a:pt x="497" y="750"/>
                    <a:pt x="497" y="750"/>
                    <a:pt x="497" y="750"/>
                  </a:cubicBezTo>
                  <a:cubicBezTo>
                    <a:pt x="510" y="747"/>
                    <a:pt x="523" y="745"/>
                    <a:pt x="539" y="755"/>
                  </a:cubicBezTo>
                  <a:cubicBezTo>
                    <a:pt x="594" y="791"/>
                    <a:pt x="594" y="791"/>
                    <a:pt x="594" y="791"/>
                  </a:cubicBezTo>
                  <a:cubicBezTo>
                    <a:pt x="602" y="796"/>
                    <a:pt x="623" y="798"/>
                    <a:pt x="628" y="790"/>
                  </a:cubicBezTo>
                  <a:cubicBezTo>
                    <a:pt x="659" y="743"/>
                    <a:pt x="659" y="743"/>
                    <a:pt x="659" y="743"/>
                  </a:cubicBezTo>
                  <a:cubicBezTo>
                    <a:pt x="659" y="743"/>
                    <a:pt x="669" y="727"/>
                    <a:pt x="654" y="716"/>
                  </a:cubicBezTo>
                  <a:close/>
                  <a:moveTo>
                    <a:pt x="281" y="633"/>
                  </a:moveTo>
                  <a:cubicBezTo>
                    <a:pt x="223" y="584"/>
                    <a:pt x="219" y="502"/>
                    <a:pt x="263" y="452"/>
                  </a:cubicBezTo>
                  <a:cubicBezTo>
                    <a:pt x="313" y="393"/>
                    <a:pt x="399" y="382"/>
                    <a:pt x="457" y="431"/>
                  </a:cubicBezTo>
                  <a:cubicBezTo>
                    <a:pt x="507" y="475"/>
                    <a:pt x="518" y="561"/>
                    <a:pt x="469" y="619"/>
                  </a:cubicBezTo>
                  <a:cubicBezTo>
                    <a:pt x="420" y="678"/>
                    <a:pt x="339" y="682"/>
                    <a:pt x="281" y="633"/>
                  </a:cubicBezTo>
                  <a:close/>
                  <a:moveTo>
                    <a:pt x="1019" y="398"/>
                  </a:moveTo>
                  <a:cubicBezTo>
                    <a:pt x="1004" y="362"/>
                    <a:pt x="1004" y="362"/>
                    <a:pt x="1004" y="362"/>
                  </a:cubicBezTo>
                  <a:cubicBezTo>
                    <a:pt x="992" y="348"/>
                    <a:pt x="1002" y="340"/>
                    <a:pt x="1002" y="332"/>
                  </a:cubicBezTo>
                  <a:cubicBezTo>
                    <a:pt x="1002" y="332"/>
                    <a:pt x="1002" y="332"/>
                    <a:pt x="1002" y="332"/>
                  </a:cubicBezTo>
                  <a:cubicBezTo>
                    <a:pt x="1007" y="328"/>
                    <a:pt x="1011" y="324"/>
                    <a:pt x="1012" y="315"/>
                  </a:cubicBezTo>
                  <a:cubicBezTo>
                    <a:pt x="1021" y="307"/>
                    <a:pt x="1026" y="303"/>
                    <a:pt x="1043" y="304"/>
                  </a:cubicBezTo>
                  <a:cubicBezTo>
                    <a:pt x="1086" y="307"/>
                    <a:pt x="1086" y="307"/>
                    <a:pt x="1086" y="307"/>
                  </a:cubicBezTo>
                  <a:cubicBezTo>
                    <a:pt x="1095" y="308"/>
                    <a:pt x="1099" y="304"/>
                    <a:pt x="1100" y="295"/>
                  </a:cubicBezTo>
                  <a:cubicBezTo>
                    <a:pt x="1107" y="266"/>
                    <a:pt x="1107" y="266"/>
                    <a:pt x="1107" y="266"/>
                  </a:cubicBezTo>
                  <a:cubicBezTo>
                    <a:pt x="1107" y="257"/>
                    <a:pt x="1103" y="252"/>
                    <a:pt x="1095" y="243"/>
                  </a:cubicBezTo>
                  <a:cubicBezTo>
                    <a:pt x="1057" y="236"/>
                    <a:pt x="1057" y="236"/>
                    <a:pt x="1057" y="236"/>
                  </a:cubicBezTo>
                  <a:cubicBezTo>
                    <a:pt x="1044" y="231"/>
                    <a:pt x="1036" y="222"/>
                    <a:pt x="1037" y="213"/>
                  </a:cubicBezTo>
                  <a:cubicBezTo>
                    <a:pt x="1038" y="205"/>
                    <a:pt x="1034" y="200"/>
                    <a:pt x="1030" y="187"/>
                  </a:cubicBezTo>
                  <a:cubicBezTo>
                    <a:pt x="1031" y="178"/>
                    <a:pt x="1032" y="170"/>
                    <a:pt x="1041" y="162"/>
                  </a:cubicBezTo>
                  <a:cubicBezTo>
                    <a:pt x="1077" y="138"/>
                    <a:pt x="1077" y="138"/>
                    <a:pt x="1077" y="138"/>
                  </a:cubicBezTo>
                  <a:cubicBezTo>
                    <a:pt x="1082" y="134"/>
                    <a:pt x="1083" y="126"/>
                    <a:pt x="1079" y="121"/>
                  </a:cubicBezTo>
                  <a:cubicBezTo>
                    <a:pt x="1059" y="89"/>
                    <a:pt x="1059" y="89"/>
                    <a:pt x="1059" y="89"/>
                  </a:cubicBezTo>
                  <a:cubicBezTo>
                    <a:pt x="1055" y="85"/>
                    <a:pt x="1047" y="84"/>
                    <a:pt x="1038" y="83"/>
                  </a:cubicBezTo>
                  <a:cubicBezTo>
                    <a:pt x="1002" y="107"/>
                    <a:pt x="1002" y="107"/>
                    <a:pt x="1002" y="107"/>
                  </a:cubicBezTo>
                  <a:cubicBezTo>
                    <a:pt x="989" y="110"/>
                    <a:pt x="980" y="110"/>
                    <a:pt x="976" y="105"/>
                  </a:cubicBezTo>
                  <a:cubicBezTo>
                    <a:pt x="972" y="100"/>
                    <a:pt x="960" y="95"/>
                    <a:pt x="956" y="91"/>
                  </a:cubicBezTo>
                  <a:cubicBezTo>
                    <a:pt x="952" y="86"/>
                    <a:pt x="944" y="77"/>
                    <a:pt x="944" y="68"/>
                  </a:cubicBezTo>
                  <a:cubicBezTo>
                    <a:pt x="948" y="25"/>
                    <a:pt x="948" y="25"/>
                    <a:pt x="948" y="25"/>
                  </a:cubicBezTo>
                  <a:cubicBezTo>
                    <a:pt x="948" y="17"/>
                    <a:pt x="940" y="7"/>
                    <a:pt x="940" y="7"/>
                  </a:cubicBezTo>
                  <a:cubicBezTo>
                    <a:pt x="902" y="0"/>
                    <a:pt x="902" y="0"/>
                    <a:pt x="902" y="0"/>
                  </a:cubicBezTo>
                  <a:cubicBezTo>
                    <a:pt x="902" y="0"/>
                    <a:pt x="889" y="4"/>
                    <a:pt x="888" y="12"/>
                  </a:cubicBezTo>
                  <a:cubicBezTo>
                    <a:pt x="872" y="50"/>
                    <a:pt x="872" y="50"/>
                    <a:pt x="872" y="50"/>
                  </a:cubicBezTo>
                  <a:cubicBezTo>
                    <a:pt x="871" y="67"/>
                    <a:pt x="862" y="67"/>
                    <a:pt x="858" y="71"/>
                  </a:cubicBezTo>
                  <a:cubicBezTo>
                    <a:pt x="858" y="71"/>
                    <a:pt x="858" y="71"/>
                    <a:pt x="853" y="75"/>
                  </a:cubicBezTo>
                  <a:cubicBezTo>
                    <a:pt x="849" y="70"/>
                    <a:pt x="840" y="70"/>
                    <a:pt x="836" y="74"/>
                  </a:cubicBezTo>
                  <a:cubicBezTo>
                    <a:pt x="831" y="78"/>
                    <a:pt x="831" y="78"/>
                    <a:pt x="831" y="78"/>
                  </a:cubicBezTo>
                  <a:cubicBezTo>
                    <a:pt x="822" y="77"/>
                    <a:pt x="814" y="76"/>
                    <a:pt x="806" y="67"/>
                  </a:cubicBezTo>
                  <a:cubicBezTo>
                    <a:pt x="778" y="35"/>
                    <a:pt x="778" y="35"/>
                    <a:pt x="778" y="35"/>
                  </a:cubicBezTo>
                  <a:cubicBezTo>
                    <a:pt x="774" y="30"/>
                    <a:pt x="762" y="25"/>
                    <a:pt x="757" y="29"/>
                  </a:cubicBezTo>
                  <a:cubicBezTo>
                    <a:pt x="734" y="49"/>
                    <a:pt x="734" y="49"/>
                    <a:pt x="734" y="49"/>
                  </a:cubicBezTo>
                  <a:cubicBezTo>
                    <a:pt x="725" y="49"/>
                    <a:pt x="725" y="57"/>
                    <a:pt x="728" y="70"/>
                  </a:cubicBezTo>
                  <a:cubicBezTo>
                    <a:pt x="747" y="102"/>
                    <a:pt x="747" y="102"/>
                    <a:pt x="747" y="102"/>
                  </a:cubicBezTo>
                  <a:cubicBezTo>
                    <a:pt x="754" y="120"/>
                    <a:pt x="750" y="124"/>
                    <a:pt x="744" y="136"/>
                  </a:cubicBezTo>
                  <a:cubicBezTo>
                    <a:pt x="744" y="136"/>
                    <a:pt x="744" y="136"/>
                    <a:pt x="744" y="136"/>
                  </a:cubicBezTo>
                  <a:cubicBezTo>
                    <a:pt x="740" y="140"/>
                    <a:pt x="735" y="144"/>
                    <a:pt x="731" y="148"/>
                  </a:cubicBezTo>
                  <a:cubicBezTo>
                    <a:pt x="731" y="148"/>
                    <a:pt x="731" y="148"/>
                    <a:pt x="731" y="148"/>
                  </a:cubicBezTo>
                  <a:cubicBezTo>
                    <a:pt x="730" y="157"/>
                    <a:pt x="721" y="165"/>
                    <a:pt x="703" y="164"/>
                  </a:cubicBezTo>
                  <a:cubicBezTo>
                    <a:pt x="665" y="157"/>
                    <a:pt x="665" y="157"/>
                    <a:pt x="665" y="157"/>
                  </a:cubicBezTo>
                  <a:cubicBezTo>
                    <a:pt x="656" y="156"/>
                    <a:pt x="647" y="164"/>
                    <a:pt x="647" y="173"/>
                  </a:cubicBezTo>
                  <a:cubicBezTo>
                    <a:pt x="640" y="203"/>
                    <a:pt x="640" y="203"/>
                    <a:pt x="640" y="203"/>
                  </a:cubicBezTo>
                  <a:cubicBezTo>
                    <a:pt x="639" y="211"/>
                    <a:pt x="643" y="216"/>
                    <a:pt x="656" y="221"/>
                  </a:cubicBezTo>
                  <a:cubicBezTo>
                    <a:pt x="690" y="232"/>
                    <a:pt x="690" y="232"/>
                    <a:pt x="690" y="232"/>
                  </a:cubicBezTo>
                  <a:cubicBezTo>
                    <a:pt x="702" y="237"/>
                    <a:pt x="710" y="246"/>
                    <a:pt x="710" y="255"/>
                  </a:cubicBezTo>
                  <a:cubicBezTo>
                    <a:pt x="710" y="255"/>
                    <a:pt x="710" y="255"/>
                    <a:pt x="710" y="255"/>
                  </a:cubicBezTo>
                  <a:cubicBezTo>
                    <a:pt x="714" y="260"/>
                    <a:pt x="713" y="268"/>
                    <a:pt x="717" y="273"/>
                  </a:cubicBezTo>
                  <a:cubicBezTo>
                    <a:pt x="712" y="277"/>
                    <a:pt x="712" y="277"/>
                    <a:pt x="712" y="277"/>
                  </a:cubicBezTo>
                  <a:cubicBezTo>
                    <a:pt x="716" y="281"/>
                    <a:pt x="716" y="290"/>
                    <a:pt x="702" y="302"/>
                  </a:cubicBezTo>
                  <a:cubicBezTo>
                    <a:pt x="674" y="326"/>
                    <a:pt x="674" y="326"/>
                    <a:pt x="674" y="326"/>
                  </a:cubicBezTo>
                  <a:cubicBezTo>
                    <a:pt x="665" y="334"/>
                    <a:pt x="664" y="343"/>
                    <a:pt x="668" y="347"/>
                  </a:cubicBezTo>
                  <a:cubicBezTo>
                    <a:pt x="687" y="379"/>
                    <a:pt x="687" y="379"/>
                    <a:pt x="687" y="379"/>
                  </a:cubicBezTo>
                  <a:cubicBezTo>
                    <a:pt x="691" y="383"/>
                    <a:pt x="700" y="384"/>
                    <a:pt x="704" y="380"/>
                  </a:cubicBezTo>
                  <a:cubicBezTo>
                    <a:pt x="745" y="361"/>
                    <a:pt x="745" y="361"/>
                    <a:pt x="745" y="361"/>
                  </a:cubicBezTo>
                  <a:cubicBezTo>
                    <a:pt x="758" y="358"/>
                    <a:pt x="767" y="358"/>
                    <a:pt x="771" y="363"/>
                  </a:cubicBezTo>
                  <a:cubicBezTo>
                    <a:pt x="771" y="363"/>
                    <a:pt x="771" y="363"/>
                    <a:pt x="771" y="363"/>
                  </a:cubicBezTo>
                  <a:cubicBezTo>
                    <a:pt x="779" y="364"/>
                    <a:pt x="787" y="373"/>
                    <a:pt x="791" y="377"/>
                  </a:cubicBezTo>
                  <a:cubicBezTo>
                    <a:pt x="791" y="377"/>
                    <a:pt x="791" y="377"/>
                    <a:pt x="791" y="377"/>
                  </a:cubicBezTo>
                  <a:cubicBezTo>
                    <a:pt x="800" y="378"/>
                    <a:pt x="804" y="383"/>
                    <a:pt x="802" y="400"/>
                  </a:cubicBezTo>
                  <a:cubicBezTo>
                    <a:pt x="799" y="443"/>
                    <a:pt x="799" y="443"/>
                    <a:pt x="799" y="443"/>
                  </a:cubicBezTo>
                  <a:cubicBezTo>
                    <a:pt x="798" y="451"/>
                    <a:pt x="802" y="456"/>
                    <a:pt x="811" y="457"/>
                  </a:cubicBezTo>
                  <a:cubicBezTo>
                    <a:pt x="845" y="468"/>
                    <a:pt x="845" y="468"/>
                    <a:pt x="845" y="468"/>
                  </a:cubicBezTo>
                  <a:cubicBezTo>
                    <a:pt x="849" y="464"/>
                    <a:pt x="858" y="464"/>
                    <a:pt x="859" y="456"/>
                  </a:cubicBezTo>
                  <a:cubicBezTo>
                    <a:pt x="871" y="413"/>
                    <a:pt x="871" y="413"/>
                    <a:pt x="871" y="413"/>
                  </a:cubicBezTo>
                  <a:cubicBezTo>
                    <a:pt x="876" y="401"/>
                    <a:pt x="889" y="397"/>
                    <a:pt x="894" y="393"/>
                  </a:cubicBezTo>
                  <a:cubicBezTo>
                    <a:pt x="894" y="393"/>
                    <a:pt x="894" y="393"/>
                    <a:pt x="894" y="393"/>
                  </a:cubicBezTo>
                  <a:cubicBezTo>
                    <a:pt x="902" y="394"/>
                    <a:pt x="911" y="395"/>
                    <a:pt x="916" y="391"/>
                  </a:cubicBezTo>
                  <a:cubicBezTo>
                    <a:pt x="916" y="391"/>
                    <a:pt x="916" y="391"/>
                    <a:pt x="916" y="391"/>
                  </a:cubicBezTo>
                  <a:cubicBezTo>
                    <a:pt x="924" y="391"/>
                    <a:pt x="933" y="392"/>
                    <a:pt x="941" y="401"/>
                  </a:cubicBezTo>
                  <a:cubicBezTo>
                    <a:pt x="969" y="433"/>
                    <a:pt x="969" y="433"/>
                    <a:pt x="969" y="433"/>
                  </a:cubicBezTo>
                  <a:cubicBezTo>
                    <a:pt x="973" y="438"/>
                    <a:pt x="985" y="443"/>
                    <a:pt x="990" y="439"/>
                  </a:cubicBezTo>
                  <a:cubicBezTo>
                    <a:pt x="1018" y="415"/>
                    <a:pt x="1018" y="415"/>
                    <a:pt x="1018" y="415"/>
                  </a:cubicBezTo>
                  <a:cubicBezTo>
                    <a:pt x="1018" y="415"/>
                    <a:pt x="1027" y="407"/>
                    <a:pt x="1019" y="398"/>
                  </a:cubicBezTo>
                  <a:close/>
                  <a:moveTo>
                    <a:pt x="803" y="279"/>
                  </a:moveTo>
                  <a:cubicBezTo>
                    <a:pt x="776" y="238"/>
                    <a:pt x="788" y="187"/>
                    <a:pt x="825" y="164"/>
                  </a:cubicBezTo>
                  <a:cubicBezTo>
                    <a:pt x="866" y="136"/>
                    <a:pt x="921" y="144"/>
                    <a:pt x="948" y="185"/>
                  </a:cubicBezTo>
                  <a:cubicBezTo>
                    <a:pt x="972" y="221"/>
                    <a:pt x="963" y="277"/>
                    <a:pt x="922" y="304"/>
                  </a:cubicBezTo>
                  <a:cubicBezTo>
                    <a:pt x="881" y="332"/>
                    <a:pt x="830" y="320"/>
                    <a:pt x="803" y="279"/>
                  </a:cubicBezTo>
                  <a:close/>
                </a:path>
              </a:pathLst>
            </a:custGeom>
            <a:solidFill>
              <a:schemeClr val="tx1"/>
            </a:solidFill>
            <a:ln>
              <a:noFill/>
            </a:ln>
          </p:spPr>
          <p:txBody>
            <a:bodyPr vert="horz" wrap="square" lIns="68574" tIns="34287" rIns="68574" bIns="34287"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17346"/>
                </a:solidFill>
                <a:effectLst/>
                <a:uLnTx/>
                <a:uFillTx/>
                <a:latin typeface="Segoe UI"/>
                <a:ea typeface="+mn-ea"/>
                <a:cs typeface="+mn-cs"/>
              </a:endParaRPr>
            </a:p>
          </p:txBody>
        </p:sp>
        <p:sp>
          <p:nvSpPr>
            <p:cNvPr id="88" name="Freeform 87"/>
            <p:cNvSpPr>
              <a:spLocks noChangeAspect="1"/>
            </p:cNvSpPr>
            <p:nvPr/>
          </p:nvSpPr>
          <p:spPr bwMode="black">
            <a:xfrm>
              <a:off x="776985" y="4213905"/>
              <a:ext cx="342871" cy="335728"/>
            </a:xfrm>
            <a:custGeom>
              <a:avLst/>
              <a:gdLst>
                <a:gd name="connsiteX0" fmla="*/ 3713863 w 4893730"/>
                <a:gd name="connsiteY0" fmla="*/ 2130808 h 4791777"/>
                <a:gd name="connsiteX1" fmla="*/ 4426142 w 4893730"/>
                <a:gd name="connsiteY1" fmla="*/ 2130808 h 4791777"/>
                <a:gd name="connsiteX2" fmla="*/ 4598071 w 4893730"/>
                <a:gd name="connsiteY2" fmla="*/ 2301547 h 4791777"/>
                <a:gd name="connsiteX3" fmla="*/ 4598071 w 4893730"/>
                <a:gd name="connsiteY3" fmla="*/ 3886978 h 4791777"/>
                <a:gd name="connsiteX4" fmla="*/ 4426142 w 4893730"/>
                <a:gd name="connsiteY4" fmla="*/ 4057717 h 4791777"/>
                <a:gd name="connsiteX5" fmla="*/ 3713863 w 4893730"/>
                <a:gd name="connsiteY5" fmla="*/ 4057717 h 4791777"/>
                <a:gd name="connsiteX6" fmla="*/ 3517372 w 4893730"/>
                <a:gd name="connsiteY6" fmla="*/ 3886978 h 4791777"/>
                <a:gd name="connsiteX7" fmla="*/ 3517372 w 4893730"/>
                <a:gd name="connsiteY7" fmla="*/ 2301547 h 4791777"/>
                <a:gd name="connsiteX8" fmla="*/ 3713863 w 4893730"/>
                <a:gd name="connsiteY8" fmla="*/ 2130808 h 4791777"/>
                <a:gd name="connsiteX9" fmla="*/ 904368 w 4893730"/>
                <a:gd name="connsiteY9" fmla="*/ 1223432 h 4791777"/>
                <a:gd name="connsiteX10" fmla="*/ 1609930 w 4893730"/>
                <a:gd name="connsiteY10" fmla="*/ 1223432 h 4791777"/>
                <a:gd name="connsiteX11" fmla="*/ 1804567 w 4893730"/>
                <a:gd name="connsiteY11" fmla="*/ 1394467 h 4791777"/>
                <a:gd name="connsiteX12" fmla="*/ 1804567 w 4893730"/>
                <a:gd name="connsiteY12" fmla="*/ 3886683 h 4791777"/>
                <a:gd name="connsiteX13" fmla="*/ 1609930 w 4893730"/>
                <a:gd name="connsiteY13" fmla="*/ 4057717 h 4791777"/>
                <a:gd name="connsiteX14" fmla="*/ 904368 w 4893730"/>
                <a:gd name="connsiteY14" fmla="*/ 4057717 h 4791777"/>
                <a:gd name="connsiteX15" fmla="*/ 734060 w 4893730"/>
                <a:gd name="connsiteY15" fmla="*/ 3886683 h 4791777"/>
                <a:gd name="connsiteX16" fmla="*/ 734060 w 4893730"/>
                <a:gd name="connsiteY16" fmla="*/ 1394467 h 4791777"/>
                <a:gd name="connsiteX17" fmla="*/ 904368 w 4893730"/>
                <a:gd name="connsiteY17" fmla="*/ 1223432 h 4791777"/>
                <a:gd name="connsiteX18" fmla="*/ 2325453 w 4893730"/>
                <a:gd name="connsiteY18" fmla="*/ 316050 h 4791777"/>
                <a:gd name="connsiteX19" fmla="*/ 3031014 w 4893730"/>
                <a:gd name="connsiteY19" fmla="*/ 316050 h 4791777"/>
                <a:gd name="connsiteX20" fmla="*/ 3201322 w 4893730"/>
                <a:gd name="connsiteY20" fmla="*/ 487238 h 4791777"/>
                <a:gd name="connsiteX21" fmla="*/ 3201322 w 4893730"/>
                <a:gd name="connsiteY21" fmla="*/ 3886530 h 4791777"/>
                <a:gd name="connsiteX22" fmla="*/ 3031014 w 4893730"/>
                <a:gd name="connsiteY22" fmla="*/ 4057717 h 4791777"/>
                <a:gd name="connsiteX23" fmla="*/ 2325453 w 4893730"/>
                <a:gd name="connsiteY23" fmla="*/ 4057717 h 4791777"/>
                <a:gd name="connsiteX24" fmla="*/ 2130815 w 4893730"/>
                <a:gd name="connsiteY24" fmla="*/ 3886530 h 4791777"/>
                <a:gd name="connsiteX25" fmla="*/ 2130815 w 4893730"/>
                <a:gd name="connsiteY25" fmla="*/ 487238 h 4791777"/>
                <a:gd name="connsiteX26" fmla="*/ 2325453 w 4893730"/>
                <a:gd name="connsiteY26" fmla="*/ 316050 h 4791777"/>
                <a:gd name="connsiteX27" fmla="*/ 269155 w 4893730"/>
                <a:gd name="connsiteY27" fmla="*/ 0 h 4791777"/>
                <a:gd name="connsiteX28" fmla="*/ 538311 w 4893730"/>
                <a:gd name="connsiteY28" fmla="*/ 268927 h 4791777"/>
                <a:gd name="connsiteX29" fmla="*/ 538311 w 4893730"/>
                <a:gd name="connsiteY29" fmla="*/ 4253925 h 4791777"/>
                <a:gd name="connsiteX30" fmla="*/ 4624575 w 4893730"/>
                <a:gd name="connsiteY30" fmla="*/ 4253925 h 4791777"/>
                <a:gd name="connsiteX31" fmla="*/ 4893730 w 4893730"/>
                <a:gd name="connsiteY31" fmla="*/ 4522851 h 4791777"/>
                <a:gd name="connsiteX32" fmla="*/ 4624575 w 4893730"/>
                <a:gd name="connsiteY32" fmla="*/ 4791777 h 4791777"/>
                <a:gd name="connsiteX33" fmla="*/ 269155 w 4893730"/>
                <a:gd name="connsiteY33" fmla="*/ 4791777 h 4791777"/>
                <a:gd name="connsiteX34" fmla="*/ 0 w 4893730"/>
                <a:gd name="connsiteY34" fmla="*/ 4522851 h 4791777"/>
                <a:gd name="connsiteX35" fmla="*/ 0 w 4893730"/>
                <a:gd name="connsiteY35" fmla="*/ 268927 h 4791777"/>
                <a:gd name="connsiteX36" fmla="*/ 269155 w 4893730"/>
                <a:gd name="connsiteY36" fmla="*/ 0 h 4791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4893730" h="4791777">
                  <a:moveTo>
                    <a:pt x="3713863" y="2130808"/>
                  </a:moveTo>
                  <a:cubicBezTo>
                    <a:pt x="3713863" y="2130808"/>
                    <a:pt x="3713863" y="2130808"/>
                    <a:pt x="4426142" y="2130808"/>
                  </a:cubicBezTo>
                  <a:cubicBezTo>
                    <a:pt x="4524387" y="2130808"/>
                    <a:pt x="4598071" y="2203982"/>
                    <a:pt x="4598071" y="2301547"/>
                  </a:cubicBezTo>
                  <a:cubicBezTo>
                    <a:pt x="4598071" y="2301547"/>
                    <a:pt x="4598071" y="2301547"/>
                    <a:pt x="4598071" y="3886978"/>
                  </a:cubicBezTo>
                  <a:cubicBezTo>
                    <a:pt x="4598071" y="3984543"/>
                    <a:pt x="4524387" y="4057717"/>
                    <a:pt x="4426142" y="4057717"/>
                  </a:cubicBezTo>
                  <a:cubicBezTo>
                    <a:pt x="4426142" y="4057717"/>
                    <a:pt x="4426142" y="4057717"/>
                    <a:pt x="3713863" y="4057717"/>
                  </a:cubicBezTo>
                  <a:cubicBezTo>
                    <a:pt x="3615618" y="4057717"/>
                    <a:pt x="3517372" y="3984543"/>
                    <a:pt x="3517372" y="3886978"/>
                  </a:cubicBezTo>
                  <a:cubicBezTo>
                    <a:pt x="3517372" y="3886978"/>
                    <a:pt x="3517372" y="3886978"/>
                    <a:pt x="3517372" y="2301547"/>
                  </a:cubicBezTo>
                  <a:cubicBezTo>
                    <a:pt x="3517372" y="2203982"/>
                    <a:pt x="3615618" y="2130808"/>
                    <a:pt x="3713863" y="2130808"/>
                  </a:cubicBezTo>
                  <a:close/>
                  <a:moveTo>
                    <a:pt x="904368" y="1223432"/>
                  </a:moveTo>
                  <a:cubicBezTo>
                    <a:pt x="904368" y="1223432"/>
                    <a:pt x="904368" y="1223432"/>
                    <a:pt x="1609930" y="1223432"/>
                  </a:cubicBezTo>
                  <a:cubicBezTo>
                    <a:pt x="1731578" y="1223432"/>
                    <a:pt x="1804567" y="1296733"/>
                    <a:pt x="1804567" y="1394467"/>
                  </a:cubicBezTo>
                  <a:cubicBezTo>
                    <a:pt x="1804567" y="1394467"/>
                    <a:pt x="1804567" y="1394467"/>
                    <a:pt x="1804567" y="3886683"/>
                  </a:cubicBezTo>
                  <a:cubicBezTo>
                    <a:pt x="1804567" y="3984417"/>
                    <a:pt x="1731578" y="4057717"/>
                    <a:pt x="1609930" y="4057717"/>
                  </a:cubicBezTo>
                  <a:cubicBezTo>
                    <a:pt x="1609930" y="4057717"/>
                    <a:pt x="1609930" y="4057717"/>
                    <a:pt x="904368" y="4057717"/>
                  </a:cubicBezTo>
                  <a:cubicBezTo>
                    <a:pt x="807049" y="4057717"/>
                    <a:pt x="734060" y="3984417"/>
                    <a:pt x="734060" y="3886683"/>
                  </a:cubicBezTo>
                  <a:cubicBezTo>
                    <a:pt x="734060" y="3886683"/>
                    <a:pt x="734060" y="3886683"/>
                    <a:pt x="734060" y="1394467"/>
                  </a:cubicBezTo>
                  <a:cubicBezTo>
                    <a:pt x="734060" y="1296733"/>
                    <a:pt x="807049" y="1223432"/>
                    <a:pt x="904368" y="1223432"/>
                  </a:cubicBezTo>
                  <a:close/>
                  <a:moveTo>
                    <a:pt x="2325453" y="316050"/>
                  </a:moveTo>
                  <a:cubicBezTo>
                    <a:pt x="2325453" y="316050"/>
                    <a:pt x="2325453" y="316050"/>
                    <a:pt x="3031014" y="316050"/>
                  </a:cubicBezTo>
                  <a:cubicBezTo>
                    <a:pt x="3128333" y="316050"/>
                    <a:pt x="3201322" y="389416"/>
                    <a:pt x="3201322" y="487238"/>
                  </a:cubicBezTo>
                  <a:cubicBezTo>
                    <a:pt x="3201322" y="487238"/>
                    <a:pt x="3201322" y="487238"/>
                    <a:pt x="3201322" y="3886530"/>
                  </a:cubicBezTo>
                  <a:cubicBezTo>
                    <a:pt x="3201322" y="3984351"/>
                    <a:pt x="3128333" y="4057717"/>
                    <a:pt x="3031014" y="4057717"/>
                  </a:cubicBezTo>
                  <a:cubicBezTo>
                    <a:pt x="3031014" y="4057717"/>
                    <a:pt x="3031014" y="4057717"/>
                    <a:pt x="2325453" y="4057717"/>
                  </a:cubicBezTo>
                  <a:cubicBezTo>
                    <a:pt x="2203804" y="4057717"/>
                    <a:pt x="2130815" y="3984351"/>
                    <a:pt x="2130815" y="3886530"/>
                  </a:cubicBezTo>
                  <a:cubicBezTo>
                    <a:pt x="2130815" y="3886530"/>
                    <a:pt x="2130815" y="3886530"/>
                    <a:pt x="2130815" y="487238"/>
                  </a:cubicBezTo>
                  <a:cubicBezTo>
                    <a:pt x="2130815" y="389416"/>
                    <a:pt x="2203804" y="316050"/>
                    <a:pt x="2325453" y="316050"/>
                  </a:cubicBezTo>
                  <a:close/>
                  <a:moveTo>
                    <a:pt x="269155" y="0"/>
                  </a:moveTo>
                  <a:cubicBezTo>
                    <a:pt x="415967" y="0"/>
                    <a:pt x="538311" y="122239"/>
                    <a:pt x="538311" y="268927"/>
                  </a:cubicBezTo>
                  <a:cubicBezTo>
                    <a:pt x="538311" y="268927"/>
                    <a:pt x="538311" y="268927"/>
                    <a:pt x="538311" y="4253925"/>
                  </a:cubicBezTo>
                  <a:cubicBezTo>
                    <a:pt x="538311" y="4253925"/>
                    <a:pt x="538311" y="4253925"/>
                    <a:pt x="4624575" y="4253925"/>
                  </a:cubicBezTo>
                  <a:cubicBezTo>
                    <a:pt x="4771387" y="4253925"/>
                    <a:pt x="4893730" y="4376164"/>
                    <a:pt x="4893730" y="4522851"/>
                  </a:cubicBezTo>
                  <a:cubicBezTo>
                    <a:pt x="4893730" y="4669538"/>
                    <a:pt x="4771387" y="4791777"/>
                    <a:pt x="4624575" y="4791777"/>
                  </a:cubicBezTo>
                  <a:cubicBezTo>
                    <a:pt x="4624575" y="4791777"/>
                    <a:pt x="4624575" y="4791777"/>
                    <a:pt x="269155" y="4791777"/>
                  </a:cubicBezTo>
                  <a:cubicBezTo>
                    <a:pt x="122344" y="4791777"/>
                    <a:pt x="0" y="4669538"/>
                    <a:pt x="0" y="4522851"/>
                  </a:cubicBezTo>
                  <a:cubicBezTo>
                    <a:pt x="0" y="4522851"/>
                    <a:pt x="0" y="4522851"/>
                    <a:pt x="0" y="268927"/>
                  </a:cubicBezTo>
                  <a:cubicBezTo>
                    <a:pt x="0" y="122239"/>
                    <a:pt x="122344" y="0"/>
                    <a:pt x="269155"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37148" tIns="109719" rIns="137148" bIns="109719"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699261"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9" name="Rectangle 88"/>
            <p:cNvSpPr/>
            <p:nvPr/>
          </p:nvSpPr>
          <p:spPr bwMode="auto">
            <a:xfrm rot="2745734">
              <a:off x="279530" y="1141266"/>
              <a:ext cx="1260714" cy="1255193"/>
            </a:xfrm>
            <a:prstGeom prst="rect">
              <a:avLst/>
            </a:prstGeom>
            <a:solidFill>
              <a:schemeClr val="tx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0" name="Rectangle 89"/>
            <p:cNvSpPr/>
            <p:nvPr/>
          </p:nvSpPr>
          <p:spPr bwMode="auto">
            <a:xfrm rot="2745734">
              <a:off x="292433" y="3819160"/>
              <a:ext cx="1610349" cy="1235003"/>
            </a:xfrm>
            <a:prstGeom prst="rect">
              <a:avLst/>
            </a:prstGeom>
            <a:solidFill>
              <a:schemeClr val="tx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2" name="Rectangle 91"/>
            <p:cNvSpPr/>
            <p:nvPr/>
          </p:nvSpPr>
          <p:spPr bwMode="auto">
            <a:xfrm rot="2745734">
              <a:off x="1315610" y="4915701"/>
              <a:ext cx="1263370" cy="1255989"/>
            </a:xfrm>
            <a:prstGeom prst="rect">
              <a:avLst/>
            </a:prstGeom>
            <a:solidFill>
              <a:schemeClr val="tx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40" name="TextBox 39"/>
          <p:cNvSpPr txBox="1"/>
          <p:nvPr/>
        </p:nvSpPr>
        <p:spPr>
          <a:xfrm>
            <a:off x="3" y="51415"/>
            <a:ext cx="2849058" cy="430887"/>
          </a:xfrm>
          <a:prstGeom prst="rect">
            <a:avLst/>
          </a:prstGeom>
        </p:spPr>
        <p:txBody>
          <a:bodyPr wrap="square">
            <a:spAutoFit/>
          </a:bodyPr>
          <a:lstStyle>
            <a:defPPr>
              <a:defRPr lang="en-US"/>
            </a:defPPr>
            <a:lvl1pPr defTabSz="914192">
              <a:defRPr sz="2800" b="1" spc="-100">
                <a:ln w="3175">
                  <a:noFill/>
                </a:ln>
                <a:solidFill>
                  <a:srgbClr val="F2C812"/>
                </a:solidFill>
                <a:latin typeface="Segoe UI" panose="020B0502040204020203" pitchFamily="34" charset="0"/>
                <a:ea typeface="ＭＳ Ｐゴシック" charset="0"/>
                <a:cs typeface="Segoe UI" panose="020B0502040204020203" pitchFamily="34" charset="0"/>
              </a:defRPr>
            </a:lvl1pPr>
          </a:lstStyle>
          <a:p>
            <a:pPr marL="0" marR="0" lvl="0" indent="0" algn="l" defTabSz="914192" rtl="0" eaLnBrk="1" fontAlgn="auto" latinLnBrk="0" hangingPunct="1">
              <a:lnSpc>
                <a:spcPct val="100000"/>
              </a:lnSpc>
              <a:spcBef>
                <a:spcPts val="0"/>
              </a:spcBef>
              <a:spcAft>
                <a:spcPts val="0"/>
              </a:spcAft>
              <a:buClrTx/>
              <a:buSzTx/>
              <a:buFontTx/>
              <a:buNone/>
              <a:tabLst/>
              <a:defRPr/>
            </a:pPr>
            <a:r>
              <a:rPr kumimoji="0" lang="en-US" sz="2200" b="1" i="0" u="none" strike="noStrike" kern="1200" cap="none" spc="-100" normalizeH="0" baseline="0" noProof="0">
                <a:ln w="3175">
                  <a:noFill/>
                </a:ln>
                <a:solidFill>
                  <a:srgbClr val="F2C812"/>
                </a:solidFill>
                <a:effectLst/>
                <a:uLnTx/>
                <a:uFillTx/>
                <a:latin typeface="Segoe UI Light"/>
                <a:ea typeface="ＭＳ Ｐゴシック" charset="0"/>
                <a:cs typeface="Segoe UI" panose="020B0502040204020203" pitchFamily="34" charset="0"/>
              </a:rPr>
              <a:t>Power BI Desktop</a:t>
            </a:r>
          </a:p>
        </p:txBody>
      </p:sp>
      <p:sp>
        <p:nvSpPr>
          <p:cNvPr id="41" name="Rectangle 40"/>
          <p:cNvSpPr/>
          <p:nvPr/>
        </p:nvSpPr>
        <p:spPr bwMode="auto">
          <a:xfrm rot="2745734">
            <a:off x="825067" y="3494250"/>
            <a:ext cx="1260714" cy="370170"/>
          </a:xfrm>
          <a:prstGeom prst="rect">
            <a:avLst/>
          </a:prstGeom>
          <a:solidFill>
            <a:schemeClr val="tx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8" name="Text Placeholder 2"/>
          <p:cNvSpPr txBox="1">
            <a:spLocks/>
          </p:cNvSpPr>
          <p:nvPr/>
        </p:nvSpPr>
        <p:spPr>
          <a:xfrm>
            <a:off x="3062206" y="1435156"/>
            <a:ext cx="4549877" cy="2074877"/>
          </a:xfrm>
          <a:prstGeom prst="rect">
            <a:avLst/>
          </a:prstGeom>
        </p:spPr>
        <p:txBody>
          <a:bodyPr vert="horz" wrap="square" lIns="182880" tIns="146304" rIns="182880" bIns="146304" rtlCol="0">
            <a:noAutofit/>
          </a:bodyPr>
          <a:lstStyle>
            <a:lvl1pPr marL="182845" marR="0"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3921" kern="1200" spc="0" baseline="0">
                <a:gradFill>
                  <a:gsLst>
                    <a:gs pos="1250">
                      <a:schemeClr val="tx2"/>
                    </a:gs>
                    <a:gs pos="99000">
                      <a:schemeClr val="tx2"/>
                    </a:gs>
                  </a:gsLst>
                  <a:lin ang="5400000" scaled="0"/>
                </a:gradFill>
                <a:latin typeface="+mj-lt"/>
                <a:ea typeface="+mn-ea"/>
                <a:cs typeface="+mn-cs"/>
              </a:defRPr>
            </a:lvl1pPr>
            <a:lvl2pPr marL="365690" marR="0"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2400" kern="1200" spc="0" baseline="0">
                <a:solidFill>
                  <a:schemeClr val="tx2"/>
                </a:solidFill>
                <a:latin typeface="+mj-lt"/>
                <a:ea typeface="+mn-ea"/>
                <a:cs typeface="+mn-cs"/>
              </a:defRPr>
            </a:lvl2pPr>
            <a:lvl3pPr marL="548535" marR="0"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2000" kern="1200" spc="0" baseline="0">
                <a:solidFill>
                  <a:schemeClr val="tx2"/>
                </a:solidFill>
                <a:latin typeface="+mj-lt"/>
                <a:ea typeface="+mn-ea"/>
                <a:cs typeface="+mn-cs"/>
              </a:defRPr>
            </a:lvl3pPr>
            <a:lvl4pPr marL="733802" marR="0" indent="-28569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1765" kern="1200" spc="0" baseline="0">
                <a:solidFill>
                  <a:schemeClr val="tx2"/>
                </a:solidFill>
                <a:latin typeface="+mn-lt"/>
                <a:ea typeface="+mn-ea"/>
                <a:cs typeface="+mn-cs"/>
              </a:defRPr>
            </a:lvl4pPr>
            <a:lvl5pPr marL="957856" marR="0" indent="-28569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1765" kern="1200" spc="0" baseline="0">
                <a:solidFill>
                  <a:schemeClr val="tx2"/>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r>
              <a:rPr kumimoji="0" lang="en-US" sz="2000" b="0" i="0" u="none" strike="noStrike" kern="1200" cap="none" spc="0" normalizeH="0" baseline="0" noProof="0">
                <a:ln>
                  <a:noFill/>
                </a:ln>
                <a:solidFill>
                  <a:srgbClr val="000000"/>
                </a:solidFill>
                <a:effectLst/>
                <a:uLnTx/>
                <a:uFillTx/>
                <a:latin typeface="Segoe UI Light"/>
                <a:ea typeface="+mn-ea"/>
                <a:cs typeface="+mn-cs"/>
              </a:rPr>
              <a:t>Filter data on multiple visualizations (similar to Excel slicers)</a:t>
            </a: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0" i="0" u="none" strike="noStrike" kern="1200" cap="none" spc="0" normalizeH="0" baseline="0" noProof="0">
              <a:ln>
                <a:noFill/>
              </a:ln>
              <a:solidFill>
                <a:srgbClr val="000000"/>
              </a:solidFill>
              <a:effectLst/>
              <a:uLnTx/>
              <a:uFillTx/>
              <a:latin typeface="Segoe UI Light"/>
              <a:ea typeface="+mn-ea"/>
              <a:cs typeface="+mn-cs"/>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r>
              <a:rPr kumimoji="0" lang="en-US" sz="2000" b="0" i="0" u="none" strike="noStrike" kern="1200" cap="none" spc="0" normalizeH="0" baseline="0" noProof="0">
                <a:ln>
                  <a:noFill/>
                </a:ln>
                <a:solidFill>
                  <a:srgbClr val="000000"/>
                </a:solidFill>
                <a:effectLst/>
                <a:uLnTx/>
                <a:uFillTx/>
                <a:latin typeface="Segoe UI Light"/>
                <a:ea typeface="+mn-ea"/>
                <a:cs typeface="+mn-cs"/>
              </a:rPr>
              <a:t>Allow </a:t>
            </a:r>
            <a:r>
              <a:rPr kumimoji="0" lang="en-US" sz="2000" b="1" i="0" u="none" strike="noStrike" kern="1200" cap="none" spc="0" normalizeH="0" baseline="0" noProof="0">
                <a:ln>
                  <a:noFill/>
                </a:ln>
                <a:solidFill>
                  <a:srgbClr val="000000"/>
                </a:solidFill>
                <a:effectLst/>
                <a:uLnTx/>
                <a:uFillTx/>
                <a:latin typeface="Segoe UI Light"/>
                <a:ea typeface="+mn-ea"/>
                <a:cs typeface="+mn-cs"/>
              </a:rPr>
              <a:t>Select All</a:t>
            </a: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1" i="0" u="none" strike="noStrike" kern="1200" cap="none" spc="0" normalizeH="0" baseline="0" noProof="0">
              <a:ln>
                <a:noFill/>
              </a:ln>
              <a:solidFill>
                <a:srgbClr val="000000"/>
              </a:solidFill>
              <a:effectLst/>
              <a:uLnTx/>
              <a:uFillTx/>
              <a:latin typeface="Segoe UI Light"/>
              <a:ea typeface="+mn-ea"/>
              <a:cs typeface="+mn-cs"/>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r>
              <a:rPr kumimoji="0" lang="en-US" sz="2000" b="1" i="0" u="none" strike="noStrike" kern="1200" cap="none" spc="0" normalizeH="0" baseline="0" noProof="0">
                <a:ln>
                  <a:noFill/>
                </a:ln>
                <a:solidFill>
                  <a:srgbClr val="000000"/>
                </a:solidFill>
                <a:effectLst/>
                <a:uLnTx/>
                <a:uFillTx/>
                <a:latin typeface="Segoe UI Light"/>
                <a:ea typeface="+mn-ea"/>
                <a:cs typeface="+mn-cs"/>
              </a:rPr>
              <a:t>Multi </a:t>
            </a:r>
            <a:r>
              <a:rPr kumimoji="0" lang="en-US" sz="2000" b="0" i="0" u="none" strike="noStrike" kern="1200" cap="none" spc="0" normalizeH="0" baseline="0" noProof="0">
                <a:ln>
                  <a:noFill/>
                </a:ln>
                <a:solidFill>
                  <a:srgbClr val="000000"/>
                </a:solidFill>
                <a:effectLst/>
                <a:uLnTx/>
                <a:uFillTx/>
                <a:latin typeface="Segoe UI Light"/>
                <a:ea typeface="+mn-ea"/>
                <a:cs typeface="+mn-cs"/>
              </a:rPr>
              <a:t>and </a:t>
            </a:r>
            <a:r>
              <a:rPr kumimoji="0" lang="en-US" sz="2000" b="1" i="0" u="none" strike="noStrike" kern="1200" cap="none" spc="0" normalizeH="0" baseline="0" noProof="0">
                <a:ln>
                  <a:noFill/>
                </a:ln>
                <a:solidFill>
                  <a:srgbClr val="000000"/>
                </a:solidFill>
                <a:effectLst/>
                <a:uLnTx/>
                <a:uFillTx/>
                <a:latin typeface="Segoe UI Light"/>
                <a:ea typeface="+mn-ea"/>
                <a:cs typeface="+mn-cs"/>
              </a:rPr>
              <a:t>Single selection</a:t>
            </a: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1" i="0" u="none" strike="noStrike" kern="1200" cap="none" spc="0" normalizeH="0" baseline="0" noProof="0">
              <a:ln>
                <a:noFill/>
              </a:ln>
              <a:solidFill>
                <a:srgbClr val="000000"/>
              </a:solidFill>
              <a:effectLst/>
              <a:uLnTx/>
              <a:uFillTx/>
              <a:latin typeface="Segoe UI Light"/>
              <a:ea typeface="+mn-ea"/>
              <a:cs typeface="+mn-cs"/>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r>
              <a:rPr kumimoji="0" lang="en-US" sz="2000" b="0" i="0" u="none" strike="noStrike" kern="1200" cap="none" spc="0" normalizeH="0" baseline="0" noProof="0">
                <a:ln>
                  <a:noFill/>
                </a:ln>
                <a:solidFill>
                  <a:srgbClr val="000000"/>
                </a:solidFill>
                <a:effectLst/>
                <a:uLnTx/>
                <a:uFillTx/>
                <a:latin typeface="Segoe UI Light"/>
                <a:ea typeface="+mn-ea"/>
                <a:cs typeface="+mn-cs"/>
              </a:rPr>
              <a:t>Special slicers for </a:t>
            </a:r>
            <a:r>
              <a:rPr kumimoji="0" lang="en-US" sz="2000" b="1" i="0" u="none" strike="noStrike" kern="1200" cap="none" spc="0" normalizeH="0" baseline="0" noProof="0">
                <a:ln>
                  <a:noFill/>
                </a:ln>
                <a:solidFill>
                  <a:srgbClr val="000000"/>
                </a:solidFill>
                <a:effectLst/>
                <a:uLnTx/>
                <a:uFillTx/>
                <a:latin typeface="Segoe UI Light"/>
                <a:ea typeface="+mn-ea"/>
                <a:cs typeface="+mn-cs"/>
              </a:rPr>
              <a:t>date field</a:t>
            </a: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1" i="0" u="none" strike="noStrike" kern="1200" cap="none" spc="0" normalizeH="0" baseline="0" noProof="0">
              <a:ln>
                <a:noFill/>
              </a:ln>
              <a:solidFill>
                <a:srgbClr val="000000"/>
              </a:solidFill>
              <a:effectLst/>
              <a:uLnTx/>
              <a:uFillTx/>
              <a:latin typeface="Segoe UI Light"/>
              <a:ea typeface="+mn-ea"/>
              <a:cs typeface="+mn-cs"/>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1" i="0" u="none" strike="noStrike" kern="1200" cap="none" spc="0" normalizeH="0" baseline="0" noProof="0">
              <a:ln>
                <a:noFill/>
              </a:ln>
              <a:solidFill>
                <a:srgbClr val="000000"/>
              </a:solidFill>
              <a:effectLst/>
              <a:uLnTx/>
              <a:uFillTx/>
              <a:latin typeface="Segoe UI Light"/>
              <a:ea typeface="+mn-ea"/>
              <a:cs typeface="+mn-cs"/>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1" i="0" u="none" strike="noStrike" kern="1200" cap="none" spc="0" normalizeH="0" baseline="0" noProof="0">
              <a:ln>
                <a:noFill/>
              </a:ln>
              <a:solidFill>
                <a:srgbClr val="000000"/>
              </a:solidFill>
              <a:effectLst/>
              <a:uLnTx/>
              <a:uFillTx/>
              <a:latin typeface="Segoe UI Light"/>
              <a:ea typeface="+mn-ea"/>
              <a:cs typeface="+mn-cs"/>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r>
              <a:rPr kumimoji="0" lang="en-US" sz="2000" b="0" i="0" u="none" strike="noStrike" kern="1200" cap="none" spc="0" normalizeH="0" baseline="0" noProof="0">
                <a:ln>
                  <a:noFill/>
                </a:ln>
                <a:solidFill>
                  <a:srgbClr val="000000"/>
                </a:solidFill>
                <a:effectLst/>
                <a:uLnTx/>
                <a:uFillTx/>
                <a:latin typeface="Segoe UI Light"/>
                <a:ea typeface="+mn-ea"/>
                <a:cs typeface="+mn-cs"/>
              </a:rPr>
              <a:t>Slicers are </a:t>
            </a:r>
            <a:r>
              <a:rPr kumimoji="0" lang="en-US" sz="2000" b="1" i="0" u="none" strike="noStrike" kern="1200" cap="none" spc="0" normalizeH="0" baseline="0" noProof="0">
                <a:ln>
                  <a:noFill/>
                </a:ln>
                <a:solidFill>
                  <a:srgbClr val="000000"/>
                </a:solidFill>
                <a:effectLst/>
                <a:uLnTx/>
                <a:uFillTx/>
                <a:latin typeface="Segoe UI Light"/>
                <a:ea typeface="+mn-ea"/>
                <a:cs typeface="+mn-cs"/>
              </a:rPr>
              <a:t>searchable</a:t>
            </a: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1" i="0" u="none" strike="noStrike" kern="1200" cap="none" spc="0" normalizeH="0" baseline="0" noProof="0">
              <a:ln>
                <a:noFill/>
              </a:ln>
              <a:solidFill>
                <a:srgbClr val="000000"/>
              </a:solidFill>
              <a:effectLst/>
              <a:uLnTx/>
              <a:uFillTx/>
              <a:latin typeface="Segoe UI Light"/>
              <a:ea typeface="+mn-ea"/>
              <a:cs typeface="+mn-cs"/>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1" i="0" u="none" strike="noStrike" kern="1200" cap="none" spc="0" normalizeH="0" baseline="0" noProof="0">
              <a:ln>
                <a:noFill/>
              </a:ln>
              <a:solidFill>
                <a:srgbClr val="000000"/>
              </a:solidFill>
              <a:effectLst/>
              <a:uLnTx/>
              <a:uFillTx/>
              <a:latin typeface="Segoe UI Light"/>
              <a:ea typeface="+mn-ea"/>
              <a:cs typeface="+mn-cs"/>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1" i="0" u="none" strike="noStrike" kern="1200" cap="none" spc="0" normalizeH="0" baseline="0" noProof="0">
              <a:ln>
                <a:noFill/>
              </a:ln>
              <a:solidFill>
                <a:srgbClr val="000000"/>
              </a:solidFill>
              <a:effectLst/>
              <a:uLnTx/>
              <a:uFillTx/>
              <a:latin typeface="Segoe UI Light"/>
              <a:ea typeface="+mn-ea"/>
              <a:cs typeface="+mn-cs"/>
            </a:endParaRPr>
          </a:p>
        </p:txBody>
      </p:sp>
      <p:pic>
        <p:nvPicPr>
          <p:cNvPr id="5" name="Picture 4"/>
          <p:cNvPicPr>
            <a:picLocks noChangeAspect="1"/>
          </p:cNvPicPr>
          <p:nvPr/>
        </p:nvPicPr>
        <p:blipFill>
          <a:blip r:embed="rId3"/>
          <a:stretch>
            <a:fillRect/>
          </a:stretch>
        </p:blipFill>
        <p:spPr>
          <a:xfrm>
            <a:off x="7612083" y="1205410"/>
            <a:ext cx="3954484" cy="944259"/>
          </a:xfrm>
          <a:prstGeom prst="rect">
            <a:avLst/>
          </a:prstGeom>
          <a:ln>
            <a:noFill/>
          </a:ln>
          <a:effectLst>
            <a:outerShdw blurRad="190500" algn="tl" rotWithShape="0">
              <a:srgbClr val="000000">
                <a:alpha val="70000"/>
              </a:srgbClr>
            </a:outerShdw>
          </a:effectLst>
        </p:spPr>
      </p:pic>
      <p:pic>
        <p:nvPicPr>
          <p:cNvPr id="4" name="Picture 3"/>
          <p:cNvPicPr>
            <a:picLocks noChangeAspect="1"/>
          </p:cNvPicPr>
          <p:nvPr/>
        </p:nvPicPr>
        <p:blipFill>
          <a:blip r:embed="rId4"/>
          <a:stretch>
            <a:fillRect/>
          </a:stretch>
        </p:blipFill>
        <p:spPr>
          <a:xfrm>
            <a:off x="7500140" y="2403472"/>
            <a:ext cx="3977822" cy="2613997"/>
          </a:xfrm>
          <a:prstGeom prst="rect">
            <a:avLst/>
          </a:prstGeom>
        </p:spPr>
      </p:pic>
      <p:pic>
        <p:nvPicPr>
          <p:cNvPr id="42" name="Picture 41"/>
          <p:cNvPicPr>
            <a:picLocks noChangeAspect="1"/>
          </p:cNvPicPr>
          <p:nvPr/>
        </p:nvPicPr>
        <p:blipFill>
          <a:blip r:embed="rId5"/>
          <a:stretch>
            <a:fillRect/>
          </a:stretch>
        </p:blipFill>
        <p:spPr>
          <a:xfrm>
            <a:off x="10699515" y="3752944"/>
            <a:ext cx="1216025" cy="2309573"/>
          </a:xfrm>
          <a:prstGeom prst="rect">
            <a:avLst/>
          </a:prstGeom>
          <a:ln>
            <a:noFill/>
          </a:ln>
          <a:effectLst>
            <a:outerShdw blurRad="190500" algn="tl" rotWithShape="0">
              <a:srgbClr val="000000">
                <a:alpha val="70000"/>
              </a:srgbClr>
            </a:outerShdw>
          </a:effectLst>
        </p:spPr>
      </p:pic>
      <p:pic>
        <p:nvPicPr>
          <p:cNvPr id="7" name="Picture 6"/>
          <p:cNvPicPr>
            <a:picLocks noChangeAspect="1"/>
          </p:cNvPicPr>
          <p:nvPr/>
        </p:nvPicPr>
        <p:blipFill>
          <a:blip r:embed="rId6"/>
          <a:stretch>
            <a:fillRect/>
          </a:stretch>
        </p:blipFill>
        <p:spPr>
          <a:xfrm>
            <a:off x="6136155" y="5130600"/>
            <a:ext cx="4247447" cy="1357517"/>
          </a:xfrm>
          <a:prstGeom prst="rect">
            <a:avLst/>
          </a:prstGeom>
        </p:spPr>
      </p:pic>
    </p:spTree>
    <p:extLst>
      <p:ext uri="{BB962C8B-B14F-4D97-AF65-F5344CB8AC3E}">
        <p14:creationId xmlns:p14="http://schemas.microsoft.com/office/powerpoint/2010/main" val="2823981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 name="Title 10"/>
          <p:cNvSpPr txBox="1">
            <a:spLocks/>
          </p:cNvSpPr>
          <p:nvPr/>
        </p:nvSpPr>
        <p:spPr>
          <a:xfrm>
            <a:off x="2982006" y="9056"/>
            <a:ext cx="9092764" cy="665151"/>
          </a:xfrm>
          <a:prstGeom prst="rect">
            <a:avLst/>
          </a:prstGeom>
          <a:noFill/>
        </p:spPr>
        <p:txBody>
          <a:bodyPr vert="horz" wrap="square" lIns="0" tIns="91440" rIns="0" bIns="91440" rtlCol="0" anchor="t">
            <a:noAutofit/>
          </a:bodyPr>
          <a:lstStyle>
            <a:lvl1pPr defTabSz="914367">
              <a:lnSpc>
                <a:spcPct val="90000"/>
              </a:lnSpc>
              <a:spcBef>
                <a:spcPct val="0"/>
              </a:spcBef>
              <a:buNone/>
              <a:defRPr lang="en-US" sz="5294" b="0" cap="none" spc="-100" baseline="0" dirty="0" smtClean="0">
                <a:ln w="3175">
                  <a:noFill/>
                </a:ln>
                <a:solidFill>
                  <a:schemeClr val="tx2"/>
                </a:solidFill>
                <a:effectLst/>
                <a:latin typeface="+mj-lt"/>
                <a:cs typeface="Segoe UI" pitchFamily="34" charset="0"/>
              </a:defRPr>
            </a:lvl1pPr>
          </a:lstStyle>
          <a:p>
            <a:pPr marL="168275"/>
            <a:r>
              <a:rPr lang="en-US" sz="3600">
                <a:solidFill>
                  <a:schemeClr val="tx1"/>
                </a:solidFill>
              </a:rPr>
              <a:t>Built-in connectivity to all of your data</a:t>
            </a:r>
          </a:p>
          <a:p>
            <a:pPr marL="168275"/>
            <a:endParaRPr lang="en-US" sz="3600" b="1">
              <a:solidFill>
                <a:schemeClr val="tx1"/>
              </a:solidFill>
            </a:endParaRPr>
          </a:p>
          <a:p>
            <a:pPr marL="168275"/>
            <a:endParaRPr lang="en-IN" sz="3600">
              <a:solidFill>
                <a:schemeClr val="tx1"/>
              </a:solidFill>
            </a:endParaRPr>
          </a:p>
        </p:txBody>
      </p:sp>
      <p:sp>
        <p:nvSpPr>
          <p:cNvPr id="49" name="Rectangle 48"/>
          <p:cNvSpPr/>
          <p:nvPr/>
        </p:nvSpPr>
        <p:spPr>
          <a:xfrm>
            <a:off x="2815445" y="1188513"/>
            <a:ext cx="5599212" cy="5493812"/>
          </a:xfrm>
          <a:prstGeom prst="rect">
            <a:avLst/>
          </a:prstGeom>
        </p:spPr>
        <p:txBody>
          <a:bodyPr wrap="square">
            <a:spAutoFit/>
          </a:bodyPr>
          <a:lstStyle/>
          <a:p>
            <a:pPr marL="342900" indent="-342900">
              <a:spcBef>
                <a:spcPts val="600"/>
              </a:spcBef>
              <a:spcAft>
                <a:spcPts val="600"/>
              </a:spcAft>
              <a:buFont typeface="Symbol" panose="05050102010706020507" pitchFamily="18" charset="2"/>
              <a:buChar char=""/>
            </a:pPr>
            <a:r>
              <a:rPr lang="en-US" sz="2000" dirty="0">
                <a:latin typeface="+mj-lt"/>
                <a:ea typeface="Calibri" panose="020F0502020204030204" pitchFamily="34" charset="0"/>
                <a:cs typeface="Times New Roman" panose="02020603050405020304" pitchFamily="18" charset="0"/>
              </a:rPr>
              <a:t>Lowered IT investment in ETL infrastructure </a:t>
            </a:r>
          </a:p>
          <a:p>
            <a:pPr marL="342900" indent="-342900" fontAlgn="base">
              <a:spcBef>
                <a:spcPts val="600"/>
              </a:spcBef>
              <a:spcAft>
                <a:spcPts val="600"/>
              </a:spcAft>
              <a:buFont typeface="Symbol" panose="05050102010706020507" pitchFamily="18" charset="2"/>
              <a:buChar char=""/>
            </a:pPr>
            <a:r>
              <a:rPr lang="en-US" sz="2000" dirty="0">
                <a:latin typeface="+mj-lt"/>
                <a:ea typeface="Calibri" panose="020F0502020204030204" pitchFamily="34" charset="0"/>
                <a:cs typeface="Times New Roman" panose="02020603050405020304" pitchFamily="18" charset="0"/>
              </a:rPr>
              <a:t>Data from services</a:t>
            </a:r>
          </a:p>
          <a:p>
            <a:pPr marL="692150" lvl="1" indent="-346075" fontAlgn="base">
              <a:buFont typeface="Courier New" panose="02070309020205020404" pitchFamily="49" charset="0"/>
              <a:buChar char="o"/>
            </a:pPr>
            <a:r>
              <a:rPr lang="en-US" sz="1600" dirty="0">
                <a:latin typeface="+mj-lt"/>
                <a:ea typeface="Calibri" panose="020F0502020204030204" pitchFamily="34" charset="0"/>
                <a:cs typeface="Times New Roman" panose="02020603050405020304" pitchFamily="18" charset="0"/>
              </a:rPr>
              <a:t>Content packs for SaaS services that you already use</a:t>
            </a:r>
          </a:p>
          <a:p>
            <a:pPr marL="692150" lvl="1" indent="-346075" fontAlgn="base">
              <a:buFont typeface="Courier New" panose="02070309020205020404" pitchFamily="49" charset="0"/>
              <a:buChar char="o"/>
            </a:pPr>
            <a:r>
              <a:rPr lang="en-US" sz="1600" dirty="0">
                <a:latin typeface="+mj-lt"/>
                <a:ea typeface="Calibri" panose="020F0502020204030204" pitchFamily="34" charset="0"/>
                <a:cs typeface="Times New Roman" panose="02020603050405020304" pitchFamily="18" charset="0"/>
              </a:rPr>
              <a:t>Growing number of supported SaaS solutions</a:t>
            </a:r>
          </a:p>
          <a:p>
            <a:pPr marL="342900" indent="-342900" fontAlgn="base">
              <a:spcBef>
                <a:spcPts val="600"/>
              </a:spcBef>
              <a:spcAft>
                <a:spcPts val="600"/>
              </a:spcAft>
              <a:buFont typeface="Symbol" panose="05050102010706020507" pitchFamily="18" charset="2"/>
              <a:buChar char=""/>
            </a:pPr>
            <a:r>
              <a:rPr lang="en-US" sz="2000" dirty="0">
                <a:latin typeface="+mj-lt"/>
                <a:ea typeface="Calibri" panose="020F0502020204030204" pitchFamily="34" charset="0"/>
                <a:cs typeface="Times New Roman" panose="02020603050405020304" pitchFamily="18" charset="0"/>
              </a:rPr>
              <a:t>Data from databases</a:t>
            </a:r>
          </a:p>
          <a:p>
            <a:pPr marL="692150" lvl="1" indent="-346075" fontAlgn="base">
              <a:buFont typeface="Courier New" panose="02070309020205020404" pitchFamily="49" charset="0"/>
              <a:buChar char="o"/>
            </a:pPr>
            <a:r>
              <a:rPr lang="en-US" sz="1600" dirty="0">
                <a:latin typeface="+mj-lt"/>
                <a:ea typeface="Calibri" panose="020F0502020204030204" pitchFamily="34" charset="0"/>
                <a:cs typeface="Times New Roman" panose="02020603050405020304" pitchFamily="18" charset="0"/>
              </a:rPr>
              <a:t>Cloud: Azure SQL Database, Azure SQL Data Warehouse, Spark on HDInsight</a:t>
            </a:r>
          </a:p>
          <a:p>
            <a:pPr marL="692150" lvl="1" indent="-346075" fontAlgn="base">
              <a:buFont typeface="Courier New" panose="02070309020205020404" pitchFamily="49" charset="0"/>
              <a:buChar char="o"/>
            </a:pPr>
            <a:r>
              <a:rPr lang="en-US" sz="1600" dirty="0">
                <a:latin typeface="+mj-lt"/>
                <a:ea typeface="Calibri" panose="020F0502020204030204" pitchFamily="34" charset="0"/>
                <a:cs typeface="Times New Roman" panose="02020603050405020304" pitchFamily="18" charset="0"/>
              </a:rPr>
              <a:t>On-premise: SQL Server Analysis Services tabular or multi-dimensional, SQL Server, SAP HANA, Oracle, Teradata (Gateway required)</a:t>
            </a:r>
          </a:p>
          <a:p>
            <a:pPr marL="342900" indent="-342900" fontAlgn="base">
              <a:spcBef>
                <a:spcPts val="600"/>
              </a:spcBef>
              <a:spcAft>
                <a:spcPts val="600"/>
              </a:spcAft>
              <a:buFont typeface="Symbol" panose="05050102010706020507" pitchFamily="18" charset="2"/>
              <a:buChar char=""/>
            </a:pPr>
            <a:r>
              <a:rPr lang="en-US" sz="2000" dirty="0">
                <a:latin typeface="+mj-lt"/>
                <a:ea typeface="Calibri" panose="020F0502020204030204" pitchFamily="34" charset="0"/>
                <a:cs typeface="Times New Roman" panose="02020603050405020304" pitchFamily="18" charset="0"/>
              </a:rPr>
              <a:t>Data from your organization</a:t>
            </a:r>
          </a:p>
          <a:p>
            <a:pPr marL="692150" lvl="1" indent="-346075" fontAlgn="base">
              <a:buFont typeface="Courier New" panose="02070309020205020404" pitchFamily="49" charset="0"/>
              <a:buChar char="o"/>
            </a:pPr>
            <a:r>
              <a:rPr lang="en-US" sz="1600" dirty="0">
                <a:latin typeface="+mj-lt"/>
                <a:ea typeface="Calibri" panose="020F0502020204030204" pitchFamily="34" charset="0"/>
                <a:cs typeface="Times New Roman" panose="02020603050405020304" pitchFamily="18" charset="0"/>
              </a:rPr>
              <a:t>Content published by others in your org</a:t>
            </a:r>
            <a:endParaRPr lang="en-US" dirty="0">
              <a:latin typeface="+mj-lt"/>
              <a:ea typeface="Calibri" panose="020F0502020204030204" pitchFamily="34" charset="0"/>
              <a:cs typeface="Times New Roman" panose="02020603050405020304" pitchFamily="18" charset="0"/>
            </a:endParaRPr>
          </a:p>
          <a:p>
            <a:pPr marL="342900" indent="-342900" fontAlgn="base">
              <a:spcBef>
                <a:spcPts val="600"/>
              </a:spcBef>
              <a:spcAft>
                <a:spcPts val="600"/>
              </a:spcAft>
              <a:buFont typeface="Symbol" panose="05050102010706020507" pitchFamily="18" charset="2"/>
              <a:buChar char=""/>
            </a:pPr>
            <a:r>
              <a:rPr lang="en-US" sz="2000" dirty="0">
                <a:latin typeface="+mj-lt"/>
                <a:ea typeface="Calibri" panose="020F0502020204030204" pitchFamily="34" charset="0"/>
                <a:cs typeface="Times New Roman" panose="02020603050405020304" pitchFamily="18" charset="0"/>
              </a:rPr>
              <a:t>Data from files</a:t>
            </a:r>
          </a:p>
          <a:p>
            <a:pPr marL="692150" lvl="1" indent="-346075" fontAlgn="base">
              <a:buFont typeface="Courier New" panose="02070309020205020404" pitchFamily="49" charset="0"/>
              <a:buChar char="o"/>
            </a:pPr>
            <a:r>
              <a:rPr lang="en-US" sz="1600" dirty="0">
                <a:latin typeface="+mj-lt"/>
                <a:ea typeface="Calibri" panose="020F0502020204030204" pitchFamily="34" charset="0"/>
                <a:cs typeface="Times New Roman" panose="02020603050405020304" pitchFamily="18" charset="0"/>
              </a:rPr>
              <a:t>Import data from Excel, Power BI Desktop, or CSV files</a:t>
            </a:r>
          </a:p>
          <a:p>
            <a:pPr marL="692150" lvl="1" indent="-346075" fontAlgn="base">
              <a:buFont typeface="Courier New" panose="02070309020205020404" pitchFamily="49" charset="0"/>
              <a:buChar char="o"/>
            </a:pPr>
            <a:r>
              <a:rPr lang="en-US" sz="1600" dirty="0">
                <a:latin typeface="+mj-lt"/>
                <a:ea typeface="Calibri" panose="020F0502020204030204" pitchFamily="34" charset="0"/>
                <a:cs typeface="Times New Roman" panose="02020603050405020304" pitchFamily="18" charset="0"/>
              </a:rPr>
              <a:t>Connect (upload), manage and view Excel in Power BI</a:t>
            </a:r>
          </a:p>
          <a:p>
            <a:pPr marL="342900" indent="-342900" fontAlgn="base">
              <a:spcBef>
                <a:spcPts val="600"/>
              </a:spcBef>
              <a:spcAft>
                <a:spcPts val="600"/>
              </a:spcAft>
              <a:buFont typeface="Symbol" panose="05050102010706020507" pitchFamily="18" charset="2"/>
              <a:buChar char=""/>
            </a:pPr>
            <a:r>
              <a:rPr lang="en-US" sz="2000" dirty="0">
                <a:latin typeface="+mj-lt"/>
                <a:ea typeface="Calibri" panose="020F0502020204030204" pitchFamily="34" charset="0"/>
                <a:cs typeface="Times New Roman" panose="02020603050405020304" pitchFamily="18" charset="0"/>
              </a:rPr>
              <a:t>Solution templates</a:t>
            </a:r>
          </a:p>
          <a:p>
            <a:pPr marL="692150" lvl="1" indent="-346075" fontAlgn="base">
              <a:buFont typeface="Courier New" panose="02070309020205020404" pitchFamily="49" charset="0"/>
              <a:buChar char="o"/>
            </a:pPr>
            <a:r>
              <a:rPr lang="en-US" sz="1600" dirty="0">
                <a:latin typeface="+mj-lt"/>
                <a:ea typeface="Calibri" panose="020F0502020204030204" pitchFamily="34" charset="0"/>
                <a:cs typeface="Times New Roman" panose="02020603050405020304" pitchFamily="18" charset="0"/>
              </a:rPr>
              <a:t>Quickly provision end-to-end, enterprise solutions</a:t>
            </a:r>
          </a:p>
        </p:txBody>
      </p:sp>
      <p:sp>
        <p:nvSpPr>
          <p:cNvPr id="37" name="Rectangle 15"/>
          <p:cNvSpPr/>
          <p:nvPr/>
        </p:nvSpPr>
        <p:spPr bwMode="auto">
          <a:xfrm>
            <a:off x="2" y="487"/>
            <a:ext cx="2815441" cy="685702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38" name="TextBox 37"/>
          <p:cNvSpPr txBox="1"/>
          <p:nvPr/>
        </p:nvSpPr>
        <p:spPr>
          <a:xfrm>
            <a:off x="2" y="487"/>
            <a:ext cx="2815441" cy="683264"/>
          </a:xfrm>
          <a:prstGeom prst="rect">
            <a:avLst/>
          </a:prstGeom>
          <a:noFill/>
        </p:spPr>
        <p:txBody>
          <a:bodyPr wrap="square" lIns="182880" tIns="146304" rIns="182880" bIns="146304" rtlCol="0">
            <a:spAutoFit/>
          </a:bodyPr>
          <a:lstStyle>
            <a:defPPr>
              <a:defRPr lang="en-US"/>
            </a:defPPr>
            <a:lvl1pPr>
              <a:lnSpc>
                <a:spcPct val="90000"/>
              </a:lnSpc>
              <a:spcAft>
                <a:spcPts val="600"/>
              </a:spcAft>
              <a:defRPr sz="2800" b="1">
                <a:solidFill>
                  <a:srgbClr val="F2C812"/>
                </a:solidFill>
                <a:latin typeface="Segoe UI Light"/>
              </a:defRPr>
            </a:lvl1pPr>
          </a:lstStyle>
          <a:p>
            <a:r>
              <a:rPr lang="en-US"/>
              <a:t>IT challenges</a:t>
            </a:r>
          </a:p>
        </p:txBody>
      </p:sp>
      <p:grpSp>
        <p:nvGrpSpPr>
          <p:cNvPr id="39" name="Group 38"/>
          <p:cNvGrpSpPr/>
          <p:nvPr/>
        </p:nvGrpSpPr>
        <p:grpSpPr>
          <a:xfrm>
            <a:off x="151322" y="867914"/>
            <a:ext cx="2636411" cy="548640"/>
            <a:chOff x="179032" y="1123407"/>
            <a:chExt cx="2636411" cy="548640"/>
          </a:xfrm>
        </p:grpSpPr>
        <p:sp>
          <p:nvSpPr>
            <p:cNvPr id="40" name="Oval 147"/>
            <p:cNvSpPr/>
            <p:nvPr/>
          </p:nvSpPr>
          <p:spPr bwMode="auto">
            <a:xfrm>
              <a:off x="179032" y="1123407"/>
              <a:ext cx="548640" cy="548640"/>
            </a:xfrm>
            <a:prstGeom prst="ellipse">
              <a:avLst/>
            </a:prstGeom>
            <a:solidFill>
              <a:srgbClr val="FFCC00"/>
            </a:solidFill>
            <a:ln>
              <a:solidFill>
                <a:srgbClr val="F2C81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err="1">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145"/>
            <p:cNvSpPr/>
            <p:nvPr/>
          </p:nvSpPr>
          <p:spPr bwMode="auto">
            <a:xfrm>
              <a:off x="805048" y="1206147"/>
              <a:ext cx="2010395" cy="3831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14367"/>
              <a:r>
                <a:rPr lang="en-US" sz="1400" b="1">
                  <a:solidFill>
                    <a:srgbClr val="F2C812"/>
                  </a:solidFill>
                  <a:cs typeface="Segoe UI Light" panose="020B0502040204020203" pitchFamily="34" charset="0"/>
                </a:rPr>
                <a:t>Management of BI systems</a:t>
              </a:r>
              <a:endParaRPr lang="en-US" sz="1200" b="1" i="1">
                <a:solidFill>
                  <a:srgbClr val="F2C812"/>
                </a:solidFill>
                <a:cs typeface="Segoe UI Light" panose="020B0502040204020203" pitchFamily="34" charset="0"/>
              </a:endParaRPr>
            </a:p>
          </p:txBody>
        </p:sp>
      </p:grpSp>
      <p:grpSp>
        <p:nvGrpSpPr>
          <p:cNvPr id="42" name="Group 41"/>
          <p:cNvGrpSpPr/>
          <p:nvPr/>
        </p:nvGrpSpPr>
        <p:grpSpPr>
          <a:xfrm>
            <a:off x="151322" y="1832204"/>
            <a:ext cx="2636411" cy="548640"/>
            <a:chOff x="212649" y="1959486"/>
            <a:chExt cx="2636411" cy="548640"/>
          </a:xfrm>
        </p:grpSpPr>
        <p:sp>
          <p:nvSpPr>
            <p:cNvPr id="43" name="Oval 147"/>
            <p:cNvSpPr/>
            <p:nvPr/>
          </p:nvSpPr>
          <p:spPr bwMode="auto">
            <a:xfrm>
              <a:off x="212649" y="1959486"/>
              <a:ext cx="548640" cy="548640"/>
            </a:xfrm>
            <a:prstGeom prst="ellipse">
              <a:avLst/>
            </a:prstGeom>
            <a:solidFill>
              <a:srgbClr val="FFCC00"/>
            </a:solidFill>
            <a:ln>
              <a:solidFill>
                <a:srgbClr val="F2C81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err="1">
                <a:gradFill>
                  <a:gsLst>
                    <a:gs pos="0">
                      <a:srgbClr val="FFFFFF"/>
                    </a:gs>
                    <a:gs pos="100000">
                      <a:srgbClr val="FFFFFF"/>
                    </a:gs>
                  </a:gsLst>
                  <a:lin ang="5400000" scaled="0"/>
                </a:gradFill>
                <a:ea typeface="Segoe UI" pitchFamily="34" charset="0"/>
                <a:cs typeface="Segoe UI" pitchFamily="34" charset="0"/>
              </a:endParaRPr>
            </a:p>
          </p:txBody>
        </p:sp>
        <p:sp>
          <p:nvSpPr>
            <p:cNvPr id="44" name="Rectangle 145"/>
            <p:cNvSpPr/>
            <p:nvPr/>
          </p:nvSpPr>
          <p:spPr bwMode="auto">
            <a:xfrm>
              <a:off x="838665" y="2042226"/>
              <a:ext cx="2010395" cy="3831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14367"/>
              <a:r>
                <a:rPr lang="en-US" sz="1400" b="1">
                  <a:solidFill>
                    <a:srgbClr val="F2C812"/>
                  </a:solidFill>
                  <a:cs typeface="Segoe UI Light" panose="020B0502040204020203" pitchFamily="34" charset="0"/>
                </a:rPr>
                <a:t>Variety of data sources</a:t>
              </a:r>
              <a:endParaRPr lang="en-US" sz="1200" b="1" i="1">
                <a:solidFill>
                  <a:srgbClr val="F2C812"/>
                </a:solidFill>
                <a:cs typeface="Segoe UI Light" panose="020B0502040204020203" pitchFamily="34" charset="0"/>
              </a:endParaRPr>
            </a:p>
          </p:txBody>
        </p:sp>
      </p:grpSp>
      <p:grpSp>
        <p:nvGrpSpPr>
          <p:cNvPr id="45" name="Group 44"/>
          <p:cNvGrpSpPr/>
          <p:nvPr/>
        </p:nvGrpSpPr>
        <p:grpSpPr>
          <a:xfrm>
            <a:off x="151322" y="2796494"/>
            <a:ext cx="2636411" cy="548640"/>
            <a:chOff x="179032" y="1123407"/>
            <a:chExt cx="2636411" cy="548640"/>
          </a:xfrm>
        </p:grpSpPr>
        <p:sp>
          <p:nvSpPr>
            <p:cNvPr id="46" name="Oval 147"/>
            <p:cNvSpPr/>
            <p:nvPr/>
          </p:nvSpPr>
          <p:spPr bwMode="auto">
            <a:xfrm>
              <a:off x="179032" y="1123407"/>
              <a:ext cx="548640" cy="548640"/>
            </a:xfrm>
            <a:prstGeom prst="ellipse">
              <a:avLst/>
            </a:prstGeom>
            <a:solidFill>
              <a:srgbClr val="FFCC00"/>
            </a:solidFill>
            <a:ln>
              <a:solidFill>
                <a:srgbClr val="F2C81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err="1">
                <a:gradFill>
                  <a:gsLst>
                    <a:gs pos="0">
                      <a:srgbClr val="FFFFFF"/>
                    </a:gs>
                    <a:gs pos="100000">
                      <a:srgbClr val="FFFFFF"/>
                    </a:gs>
                  </a:gsLst>
                  <a:lin ang="5400000" scaled="0"/>
                </a:gradFill>
                <a:ea typeface="Segoe UI" pitchFamily="34" charset="0"/>
                <a:cs typeface="Segoe UI" pitchFamily="34" charset="0"/>
              </a:endParaRPr>
            </a:p>
          </p:txBody>
        </p:sp>
        <p:sp>
          <p:nvSpPr>
            <p:cNvPr id="47" name="Rectangle 145"/>
            <p:cNvSpPr/>
            <p:nvPr/>
          </p:nvSpPr>
          <p:spPr bwMode="auto">
            <a:xfrm>
              <a:off x="805048" y="1206147"/>
              <a:ext cx="2010395" cy="3831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14367"/>
              <a:r>
                <a:rPr lang="en-US" sz="1400" b="1">
                  <a:solidFill>
                    <a:srgbClr val="F2C812"/>
                  </a:solidFill>
                  <a:cs typeface="Segoe UI Light" panose="020B0502040204020203" pitchFamily="34" charset="0"/>
                </a:rPr>
                <a:t>Managing data in the cloud</a:t>
              </a:r>
              <a:endParaRPr lang="en-US" sz="1200" b="1" i="1">
                <a:solidFill>
                  <a:srgbClr val="F2C812"/>
                </a:solidFill>
                <a:cs typeface="Segoe UI Light" panose="020B0502040204020203" pitchFamily="34" charset="0"/>
              </a:endParaRPr>
            </a:p>
          </p:txBody>
        </p:sp>
      </p:grpSp>
      <p:grpSp>
        <p:nvGrpSpPr>
          <p:cNvPr id="48" name="Group 47"/>
          <p:cNvGrpSpPr/>
          <p:nvPr/>
        </p:nvGrpSpPr>
        <p:grpSpPr>
          <a:xfrm>
            <a:off x="151322" y="3760784"/>
            <a:ext cx="2636411" cy="548640"/>
            <a:chOff x="179032" y="1123407"/>
            <a:chExt cx="2636411" cy="548640"/>
          </a:xfrm>
        </p:grpSpPr>
        <p:sp>
          <p:nvSpPr>
            <p:cNvPr id="50" name="Oval 147"/>
            <p:cNvSpPr/>
            <p:nvPr/>
          </p:nvSpPr>
          <p:spPr bwMode="auto">
            <a:xfrm>
              <a:off x="179032" y="1123407"/>
              <a:ext cx="548640" cy="548640"/>
            </a:xfrm>
            <a:prstGeom prst="ellipse">
              <a:avLst/>
            </a:prstGeom>
            <a:solidFill>
              <a:srgbClr val="FFCC00"/>
            </a:solidFill>
            <a:ln>
              <a:solidFill>
                <a:srgbClr val="F2C81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err="1">
                <a:gradFill>
                  <a:gsLst>
                    <a:gs pos="0">
                      <a:srgbClr val="FFFFFF"/>
                    </a:gs>
                    <a:gs pos="100000">
                      <a:srgbClr val="FFFFFF"/>
                    </a:gs>
                  </a:gsLst>
                  <a:lin ang="5400000" scaled="0"/>
                </a:gradFill>
                <a:ea typeface="Segoe UI" pitchFamily="34" charset="0"/>
                <a:cs typeface="Segoe UI" pitchFamily="34" charset="0"/>
              </a:endParaRPr>
            </a:p>
          </p:txBody>
        </p:sp>
        <p:sp>
          <p:nvSpPr>
            <p:cNvPr id="51" name="Rectangle 145"/>
            <p:cNvSpPr/>
            <p:nvPr/>
          </p:nvSpPr>
          <p:spPr bwMode="auto">
            <a:xfrm>
              <a:off x="805048" y="1206147"/>
              <a:ext cx="2010395" cy="3831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14367"/>
              <a:r>
                <a:rPr lang="en-US" sz="1400" b="1">
                  <a:solidFill>
                    <a:srgbClr val="F2C812"/>
                  </a:solidFill>
                  <a:cs typeface="Segoe UI Light" panose="020B0502040204020203" pitchFamily="34" charset="0"/>
                </a:rPr>
                <a:t>Integration with existing environment</a:t>
              </a:r>
              <a:endParaRPr lang="en-US" sz="1200" b="1" i="1">
                <a:solidFill>
                  <a:srgbClr val="F2C812"/>
                </a:solidFill>
                <a:cs typeface="Segoe UI Light" panose="020B0502040204020203" pitchFamily="34" charset="0"/>
              </a:endParaRPr>
            </a:p>
          </p:txBody>
        </p:sp>
      </p:grpSp>
      <p:grpSp>
        <p:nvGrpSpPr>
          <p:cNvPr id="52" name="Group 51"/>
          <p:cNvGrpSpPr/>
          <p:nvPr/>
        </p:nvGrpSpPr>
        <p:grpSpPr>
          <a:xfrm>
            <a:off x="132176" y="4725074"/>
            <a:ext cx="2655557" cy="548640"/>
            <a:chOff x="159886" y="1123407"/>
            <a:chExt cx="2655557" cy="548640"/>
          </a:xfrm>
        </p:grpSpPr>
        <p:sp>
          <p:nvSpPr>
            <p:cNvPr id="54" name="Oval 147"/>
            <p:cNvSpPr/>
            <p:nvPr/>
          </p:nvSpPr>
          <p:spPr bwMode="auto">
            <a:xfrm>
              <a:off x="159886" y="1123407"/>
              <a:ext cx="548640" cy="548640"/>
            </a:xfrm>
            <a:prstGeom prst="ellipse">
              <a:avLst/>
            </a:prstGeom>
            <a:solidFill>
              <a:srgbClr val="FFCC00"/>
            </a:solidFill>
            <a:ln>
              <a:solidFill>
                <a:srgbClr val="F2C81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err="1">
                <a:gradFill>
                  <a:gsLst>
                    <a:gs pos="0">
                      <a:srgbClr val="FFFFFF"/>
                    </a:gs>
                    <a:gs pos="100000">
                      <a:srgbClr val="FFFFFF"/>
                    </a:gs>
                  </a:gsLst>
                  <a:lin ang="5400000" scaled="0"/>
                </a:gradFill>
                <a:ea typeface="Segoe UI" pitchFamily="34" charset="0"/>
                <a:cs typeface="Segoe UI" pitchFamily="34" charset="0"/>
              </a:endParaRPr>
            </a:p>
          </p:txBody>
        </p:sp>
        <p:sp>
          <p:nvSpPr>
            <p:cNvPr id="55" name="Rectangle 145"/>
            <p:cNvSpPr/>
            <p:nvPr/>
          </p:nvSpPr>
          <p:spPr bwMode="auto">
            <a:xfrm>
              <a:off x="805048" y="1206147"/>
              <a:ext cx="2010395" cy="3831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14367"/>
              <a:r>
                <a:rPr lang="en-US" sz="1400" b="1">
                  <a:solidFill>
                    <a:srgbClr val="F2C812"/>
                  </a:solidFill>
                  <a:cs typeface="Segoe UI Light" panose="020B0502040204020203" pitchFamily="34" charset="0"/>
                </a:rPr>
                <a:t>Keeping data current</a:t>
              </a:r>
              <a:endParaRPr lang="en-US" sz="1200" b="1" i="1">
                <a:solidFill>
                  <a:srgbClr val="F2C812"/>
                </a:solidFill>
                <a:cs typeface="Segoe UI Light" panose="020B0502040204020203" pitchFamily="34" charset="0"/>
              </a:endParaRPr>
            </a:p>
          </p:txBody>
        </p:sp>
      </p:grpSp>
      <p:grpSp>
        <p:nvGrpSpPr>
          <p:cNvPr id="56" name="Group 55"/>
          <p:cNvGrpSpPr/>
          <p:nvPr/>
        </p:nvGrpSpPr>
        <p:grpSpPr>
          <a:xfrm>
            <a:off x="151322" y="5689364"/>
            <a:ext cx="2636411" cy="548640"/>
            <a:chOff x="179032" y="1123407"/>
            <a:chExt cx="2636411" cy="548640"/>
          </a:xfrm>
        </p:grpSpPr>
        <p:sp>
          <p:nvSpPr>
            <p:cNvPr id="57" name="Oval 147"/>
            <p:cNvSpPr/>
            <p:nvPr/>
          </p:nvSpPr>
          <p:spPr bwMode="auto">
            <a:xfrm>
              <a:off x="179032" y="1123407"/>
              <a:ext cx="548640" cy="548640"/>
            </a:xfrm>
            <a:prstGeom prst="ellipse">
              <a:avLst/>
            </a:prstGeom>
            <a:solidFill>
              <a:srgbClr val="FFCC00"/>
            </a:solidFill>
            <a:ln>
              <a:solidFill>
                <a:srgbClr val="F2C81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err="1">
                <a:gradFill>
                  <a:gsLst>
                    <a:gs pos="0">
                      <a:srgbClr val="FFFFFF"/>
                    </a:gs>
                    <a:gs pos="100000">
                      <a:srgbClr val="FFFFFF"/>
                    </a:gs>
                  </a:gsLst>
                  <a:lin ang="5400000" scaled="0"/>
                </a:gradFill>
                <a:ea typeface="Segoe UI" pitchFamily="34" charset="0"/>
                <a:cs typeface="Segoe UI" pitchFamily="34" charset="0"/>
              </a:endParaRPr>
            </a:p>
          </p:txBody>
        </p:sp>
        <p:sp>
          <p:nvSpPr>
            <p:cNvPr id="58" name="Rectangle 145"/>
            <p:cNvSpPr/>
            <p:nvPr/>
          </p:nvSpPr>
          <p:spPr bwMode="auto">
            <a:xfrm>
              <a:off x="805048" y="1206147"/>
              <a:ext cx="2010395" cy="3831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14367"/>
              <a:r>
                <a:rPr lang="en-US" sz="1400" b="1">
                  <a:solidFill>
                    <a:srgbClr val="F2C812"/>
                  </a:solidFill>
                  <a:cs typeface="Segoe UI Light" panose="020B0502040204020203" pitchFamily="34" charset="0"/>
                </a:rPr>
                <a:t>Ease of use and adoption</a:t>
              </a:r>
              <a:endParaRPr lang="en-US" sz="1200" b="1" i="1">
                <a:solidFill>
                  <a:srgbClr val="F2C812"/>
                </a:solidFill>
                <a:cs typeface="Segoe UI Light" panose="020B0502040204020203" pitchFamily="34" charset="0"/>
              </a:endParaRPr>
            </a:p>
          </p:txBody>
        </p:sp>
      </p:grpSp>
      <p:sp>
        <p:nvSpPr>
          <p:cNvPr id="59" name="Freeform 58"/>
          <p:cNvSpPr>
            <a:spLocks noChangeAspect="1"/>
          </p:cNvSpPr>
          <p:nvPr/>
        </p:nvSpPr>
        <p:spPr bwMode="black">
          <a:xfrm>
            <a:off x="242762" y="1024112"/>
            <a:ext cx="365760" cy="236244"/>
          </a:xfrm>
          <a:custGeom>
            <a:avLst/>
            <a:gdLst>
              <a:gd name="connsiteX0" fmla="*/ 93529 w 794079"/>
              <a:gd name="connsiteY0" fmla="*/ 409985 h 512894"/>
              <a:gd name="connsiteX1" fmla="*/ 57350 w 794079"/>
              <a:gd name="connsiteY1" fmla="*/ 446163 h 512894"/>
              <a:gd name="connsiteX2" fmla="*/ 93529 w 794079"/>
              <a:gd name="connsiteY2" fmla="*/ 482342 h 512894"/>
              <a:gd name="connsiteX3" fmla="*/ 129707 w 794079"/>
              <a:gd name="connsiteY3" fmla="*/ 446163 h 512894"/>
              <a:gd name="connsiteX4" fmla="*/ 93529 w 794079"/>
              <a:gd name="connsiteY4" fmla="*/ 409985 h 512894"/>
              <a:gd name="connsiteX5" fmla="*/ 22935 w 794079"/>
              <a:gd name="connsiteY5" fmla="*/ 375286 h 512894"/>
              <a:gd name="connsiteX6" fmla="*/ 771144 w 794079"/>
              <a:gd name="connsiteY6" fmla="*/ 375286 h 512894"/>
              <a:gd name="connsiteX7" fmla="*/ 794079 w 794079"/>
              <a:gd name="connsiteY7" fmla="*/ 398221 h 512894"/>
              <a:gd name="connsiteX8" fmla="*/ 794079 w 794079"/>
              <a:gd name="connsiteY8" fmla="*/ 489959 h 512894"/>
              <a:gd name="connsiteX9" fmla="*/ 771144 w 794079"/>
              <a:gd name="connsiteY9" fmla="*/ 512894 h 512894"/>
              <a:gd name="connsiteX10" fmla="*/ 22935 w 794079"/>
              <a:gd name="connsiteY10" fmla="*/ 512894 h 512894"/>
              <a:gd name="connsiteX11" fmla="*/ 0 w 794079"/>
              <a:gd name="connsiteY11" fmla="*/ 489959 h 512894"/>
              <a:gd name="connsiteX12" fmla="*/ 0 w 794079"/>
              <a:gd name="connsiteY12" fmla="*/ 398221 h 512894"/>
              <a:gd name="connsiteX13" fmla="*/ 22935 w 794079"/>
              <a:gd name="connsiteY13" fmla="*/ 375286 h 512894"/>
              <a:gd name="connsiteX14" fmla="*/ 93529 w 794079"/>
              <a:gd name="connsiteY14" fmla="*/ 222341 h 512894"/>
              <a:gd name="connsiteX15" fmla="*/ 57350 w 794079"/>
              <a:gd name="connsiteY15" fmla="*/ 258520 h 512894"/>
              <a:gd name="connsiteX16" fmla="*/ 93529 w 794079"/>
              <a:gd name="connsiteY16" fmla="*/ 294699 h 512894"/>
              <a:gd name="connsiteX17" fmla="*/ 129707 w 794079"/>
              <a:gd name="connsiteY17" fmla="*/ 258520 h 512894"/>
              <a:gd name="connsiteX18" fmla="*/ 93529 w 794079"/>
              <a:gd name="connsiteY18" fmla="*/ 222341 h 512894"/>
              <a:gd name="connsiteX19" fmla="*/ 22935 w 794079"/>
              <a:gd name="connsiteY19" fmla="*/ 187643 h 512894"/>
              <a:gd name="connsiteX20" fmla="*/ 771144 w 794079"/>
              <a:gd name="connsiteY20" fmla="*/ 187643 h 512894"/>
              <a:gd name="connsiteX21" fmla="*/ 794079 w 794079"/>
              <a:gd name="connsiteY21" fmla="*/ 210578 h 512894"/>
              <a:gd name="connsiteX22" fmla="*/ 794079 w 794079"/>
              <a:gd name="connsiteY22" fmla="*/ 302316 h 512894"/>
              <a:gd name="connsiteX23" fmla="*/ 771144 w 794079"/>
              <a:gd name="connsiteY23" fmla="*/ 325251 h 512894"/>
              <a:gd name="connsiteX24" fmla="*/ 22935 w 794079"/>
              <a:gd name="connsiteY24" fmla="*/ 325251 h 512894"/>
              <a:gd name="connsiteX25" fmla="*/ 0 w 794079"/>
              <a:gd name="connsiteY25" fmla="*/ 302316 h 512894"/>
              <a:gd name="connsiteX26" fmla="*/ 0 w 794079"/>
              <a:gd name="connsiteY26" fmla="*/ 210578 h 512894"/>
              <a:gd name="connsiteX27" fmla="*/ 22935 w 794079"/>
              <a:gd name="connsiteY27" fmla="*/ 187643 h 512894"/>
              <a:gd name="connsiteX28" fmla="*/ 93529 w 794079"/>
              <a:gd name="connsiteY28" fmla="*/ 34698 h 512894"/>
              <a:gd name="connsiteX29" fmla="*/ 57350 w 794079"/>
              <a:gd name="connsiteY29" fmla="*/ 70877 h 512894"/>
              <a:gd name="connsiteX30" fmla="*/ 93529 w 794079"/>
              <a:gd name="connsiteY30" fmla="*/ 107056 h 512894"/>
              <a:gd name="connsiteX31" fmla="*/ 129707 w 794079"/>
              <a:gd name="connsiteY31" fmla="*/ 70877 h 512894"/>
              <a:gd name="connsiteX32" fmla="*/ 93529 w 794079"/>
              <a:gd name="connsiteY32" fmla="*/ 34698 h 512894"/>
              <a:gd name="connsiteX33" fmla="*/ 22935 w 794079"/>
              <a:gd name="connsiteY33" fmla="*/ 0 h 512894"/>
              <a:gd name="connsiteX34" fmla="*/ 771144 w 794079"/>
              <a:gd name="connsiteY34" fmla="*/ 0 h 512894"/>
              <a:gd name="connsiteX35" fmla="*/ 794079 w 794079"/>
              <a:gd name="connsiteY35" fmla="*/ 22935 h 512894"/>
              <a:gd name="connsiteX36" fmla="*/ 794079 w 794079"/>
              <a:gd name="connsiteY36" fmla="*/ 114673 h 512894"/>
              <a:gd name="connsiteX37" fmla="*/ 771144 w 794079"/>
              <a:gd name="connsiteY37" fmla="*/ 137608 h 512894"/>
              <a:gd name="connsiteX38" fmla="*/ 22935 w 794079"/>
              <a:gd name="connsiteY38" fmla="*/ 137608 h 512894"/>
              <a:gd name="connsiteX39" fmla="*/ 0 w 794079"/>
              <a:gd name="connsiteY39" fmla="*/ 114673 h 512894"/>
              <a:gd name="connsiteX40" fmla="*/ 0 w 794079"/>
              <a:gd name="connsiteY40" fmla="*/ 22935 h 512894"/>
              <a:gd name="connsiteX41" fmla="*/ 22935 w 794079"/>
              <a:gd name="connsiteY41" fmla="*/ 0 h 5128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794079" h="512894">
                <a:moveTo>
                  <a:pt x="93529" y="409985"/>
                </a:moveTo>
                <a:cubicBezTo>
                  <a:pt x="73548" y="409985"/>
                  <a:pt x="57350" y="426182"/>
                  <a:pt x="57350" y="446163"/>
                </a:cubicBezTo>
                <a:cubicBezTo>
                  <a:pt x="57350" y="466144"/>
                  <a:pt x="73548" y="482342"/>
                  <a:pt x="93529" y="482342"/>
                </a:cubicBezTo>
                <a:cubicBezTo>
                  <a:pt x="113510" y="482342"/>
                  <a:pt x="129707" y="466144"/>
                  <a:pt x="129707" y="446163"/>
                </a:cubicBezTo>
                <a:cubicBezTo>
                  <a:pt x="129707" y="426182"/>
                  <a:pt x="113510" y="409985"/>
                  <a:pt x="93529" y="409985"/>
                </a:cubicBezTo>
                <a:close/>
                <a:moveTo>
                  <a:pt x="22935" y="375286"/>
                </a:moveTo>
                <a:lnTo>
                  <a:pt x="771144" y="375286"/>
                </a:lnTo>
                <a:cubicBezTo>
                  <a:pt x="783811" y="375286"/>
                  <a:pt x="794079" y="385555"/>
                  <a:pt x="794079" y="398221"/>
                </a:cubicBezTo>
                <a:lnTo>
                  <a:pt x="794079" y="489959"/>
                </a:lnTo>
                <a:cubicBezTo>
                  <a:pt x="794079" y="502626"/>
                  <a:pt x="783811" y="512894"/>
                  <a:pt x="771144" y="512894"/>
                </a:cubicBezTo>
                <a:lnTo>
                  <a:pt x="22935" y="512894"/>
                </a:lnTo>
                <a:cubicBezTo>
                  <a:pt x="10269" y="512894"/>
                  <a:pt x="0" y="502626"/>
                  <a:pt x="0" y="489959"/>
                </a:cubicBezTo>
                <a:lnTo>
                  <a:pt x="0" y="398221"/>
                </a:lnTo>
                <a:cubicBezTo>
                  <a:pt x="0" y="385555"/>
                  <a:pt x="10269" y="375286"/>
                  <a:pt x="22935" y="375286"/>
                </a:cubicBezTo>
                <a:close/>
                <a:moveTo>
                  <a:pt x="93529" y="222341"/>
                </a:moveTo>
                <a:cubicBezTo>
                  <a:pt x="73548" y="222341"/>
                  <a:pt x="57350" y="238539"/>
                  <a:pt x="57350" y="258520"/>
                </a:cubicBezTo>
                <a:cubicBezTo>
                  <a:pt x="57350" y="278501"/>
                  <a:pt x="73548" y="294699"/>
                  <a:pt x="93529" y="294699"/>
                </a:cubicBezTo>
                <a:cubicBezTo>
                  <a:pt x="113510" y="294699"/>
                  <a:pt x="129707" y="278501"/>
                  <a:pt x="129707" y="258520"/>
                </a:cubicBezTo>
                <a:cubicBezTo>
                  <a:pt x="129707" y="238539"/>
                  <a:pt x="113510" y="222341"/>
                  <a:pt x="93529" y="222341"/>
                </a:cubicBezTo>
                <a:close/>
                <a:moveTo>
                  <a:pt x="22935" y="187643"/>
                </a:moveTo>
                <a:lnTo>
                  <a:pt x="771144" y="187643"/>
                </a:lnTo>
                <a:cubicBezTo>
                  <a:pt x="783811" y="187643"/>
                  <a:pt x="794079" y="197911"/>
                  <a:pt x="794079" y="210578"/>
                </a:cubicBezTo>
                <a:lnTo>
                  <a:pt x="794079" y="302316"/>
                </a:lnTo>
                <a:cubicBezTo>
                  <a:pt x="794079" y="314982"/>
                  <a:pt x="783811" y="325251"/>
                  <a:pt x="771144" y="325251"/>
                </a:cubicBezTo>
                <a:lnTo>
                  <a:pt x="22935" y="325251"/>
                </a:lnTo>
                <a:cubicBezTo>
                  <a:pt x="10269" y="325251"/>
                  <a:pt x="0" y="314982"/>
                  <a:pt x="0" y="302316"/>
                </a:cubicBezTo>
                <a:lnTo>
                  <a:pt x="0" y="210578"/>
                </a:lnTo>
                <a:cubicBezTo>
                  <a:pt x="0" y="197911"/>
                  <a:pt x="10269" y="187643"/>
                  <a:pt x="22935" y="187643"/>
                </a:cubicBezTo>
                <a:close/>
                <a:moveTo>
                  <a:pt x="93529" y="34698"/>
                </a:moveTo>
                <a:cubicBezTo>
                  <a:pt x="73548" y="34698"/>
                  <a:pt x="57350" y="50896"/>
                  <a:pt x="57350" y="70877"/>
                </a:cubicBezTo>
                <a:cubicBezTo>
                  <a:pt x="57350" y="90858"/>
                  <a:pt x="73548" y="107056"/>
                  <a:pt x="93529" y="107056"/>
                </a:cubicBezTo>
                <a:cubicBezTo>
                  <a:pt x="113510" y="107056"/>
                  <a:pt x="129707" y="90858"/>
                  <a:pt x="129707" y="70877"/>
                </a:cubicBezTo>
                <a:cubicBezTo>
                  <a:pt x="129707" y="50896"/>
                  <a:pt x="113510" y="34698"/>
                  <a:pt x="93529" y="34698"/>
                </a:cubicBezTo>
                <a:close/>
                <a:moveTo>
                  <a:pt x="22935" y="0"/>
                </a:moveTo>
                <a:lnTo>
                  <a:pt x="771144" y="0"/>
                </a:lnTo>
                <a:cubicBezTo>
                  <a:pt x="783811" y="0"/>
                  <a:pt x="794079" y="10268"/>
                  <a:pt x="794079" y="22935"/>
                </a:cubicBezTo>
                <a:lnTo>
                  <a:pt x="794079" y="114673"/>
                </a:lnTo>
                <a:cubicBezTo>
                  <a:pt x="794079" y="127339"/>
                  <a:pt x="783811" y="137608"/>
                  <a:pt x="771144" y="137608"/>
                </a:cubicBezTo>
                <a:lnTo>
                  <a:pt x="22935" y="137608"/>
                </a:lnTo>
                <a:cubicBezTo>
                  <a:pt x="10269" y="137608"/>
                  <a:pt x="0" y="127339"/>
                  <a:pt x="0" y="114673"/>
                </a:cubicBezTo>
                <a:lnTo>
                  <a:pt x="0" y="22935"/>
                </a:lnTo>
                <a:cubicBezTo>
                  <a:pt x="0" y="10268"/>
                  <a:pt x="10269" y="0"/>
                  <a:pt x="22935"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8" tIns="109719" rIns="137148" bIns="109719" numCol="1" spcCol="0" rtlCol="0" fromWordArt="0" anchor="t" anchorCtr="0" forceAA="0" compatLnSpc="1">
            <a:prstTxWarp prst="textNoShape">
              <a:avLst/>
            </a:prstTxWarp>
            <a:noAutofit/>
          </a:bodyPr>
          <a:lstStyle/>
          <a:p>
            <a:pPr algn="ctr" defTabSz="699261" fontAlgn="base">
              <a:lnSpc>
                <a:spcPct val="90000"/>
              </a:lnSpc>
              <a:spcBef>
                <a:spcPct val="0"/>
              </a:spcBef>
              <a:spcAft>
                <a:spcPct val="0"/>
              </a:spcAft>
            </a:pPr>
            <a:endParaRPr lang="en-US">
              <a:gradFill>
                <a:gsLst>
                  <a:gs pos="0">
                    <a:srgbClr val="FFFFFF"/>
                  </a:gs>
                  <a:gs pos="100000">
                    <a:srgbClr val="FFFFFF"/>
                  </a:gs>
                </a:gsLst>
                <a:lin ang="5400000" scaled="0"/>
              </a:gradFill>
              <a:ea typeface="Segoe UI" pitchFamily="34" charset="0"/>
              <a:cs typeface="Segoe UI" pitchFamily="34" charset="0"/>
            </a:endParaRPr>
          </a:p>
        </p:txBody>
      </p:sp>
      <p:grpSp>
        <p:nvGrpSpPr>
          <p:cNvPr id="60" name="Group 59"/>
          <p:cNvGrpSpPr>
            <a:grpSpLocks noChangeAspect="1"/>
          </p:cNvGrpSpPr>
          <p:nvPr/>
        </p:nvGrpSpPr>
        <p:grpSpPr>
          <a:xfrm>
            <a:off x="284268" y="1947738"/>
            <a:ext cx="314004" cy="320040"/>
            <a:chOff x="810855" y="2271601"/>
            <a:chExt cx="457200" cy="465990"/>
          </a:xfrm>
        </p:grpSpPr>
        <p:sp>
          <p:nvSpPr>
            <p:cNvPr id="61" name="Freeform 5"/>
            <p:cNvSpPr>
              <a:spLocks noEditPoints="1"/>
            </p:cNvSpPr>
            <p:nvPr/>
          </p:nvSpPr>
          <p:spPr bwMode="black">
            <a:xfrm>
              <a:off x="892260" y="2271601"/>
              <a:ext cx="375795" cy="291633"/>
            </a:xfrm>
            <a:custGeom>
              <a:avLst/>
              <a:gdLst>
                <a:gd name="T0" fmla="*/ 22 w 277"/>
                <a:gd name="T1" fmla="*/ 1 h 215"/>
                <a:gd name="T2" fmla="*/ 22 w 277"/>
                <a:gd name="T3" fmla="*/ 10 h 215"/>
                <a:gd name="T4" fmla="*/ 22 w 277"/>
                <a:gd name="T5" fmla="*/ 10 h 215"/>
                <a:gd name="T6" fmla="*/ 66 w 277"/>
                <a:gd name="T7" fmla="*/ 15 h 215"/>
                <a:gd name="T8" fmla="*/ 54 w 277"/>
                <a:gd name="T9" fmla="*/ 20 h 215"/>
                <a:gd name="T10" fmla="*/ 79 w 277"/>
                <a:gd name="T11" fmla="*/ 0 h 215"/>
                <a:gd name="T12" fmla="*/ 118 w 277"/>
                <a:gd name="T13" fmla="*/ 1 h 215"/>
                <a:gd name="T14" fmla="*/ 118 w 277"/>
                <a:gd name="T15" fmla="*/ 10 h 215"/>
                <a:gd name="T16" fmla="*/ 118 w 277"/>
                <a:gd name="T17" fmla="*/ 10 h 215"/>
                <a:gd name="T18" fmla="*/ 163 w 277"/>
                <a:gd name="T19" fmla="*/ 15 h 215"/>
                <a:gd name="T20" fmla="*/ 150 w 277"/>
                <a:gd name="T21" fmla="*/ 20 h 215"/>
                <a:gd name="T22" fmla="*/ 176 w 277"/>
                <a:gd name="T23" fmla="*/ 0 h 215"/>
                <a:gd name="T24" fmla="*/ 215 w 277"/>
                <a:gd name="T25" fmla="*/ 1 h 215"/>
                <a:gd name="T26" fmla="*/ 214 w 277"/>
                <a:gd name="T27" fmla="*/ 10 h 215"/>
                <a:gd name="T28" fmla="*/ 214 w 277"/>
                <a:gd name="T29" fmla="*/ 10 h 215"/>
                <a:gd name="T30" fmla="*/ 259 w 277"/>
                <a:gd name="T31" fmla="*/ 15 h 215"/>
                <a:gd name="T32" fmla="*/ 247 w 277"/>
                <a:gd name="T33" fmla="*/ 20 h 215"/>
                <a:gd name="T34" fmla="*/ 272 w 277"/>
                <a:gd name="T35" fmla="*/ 0 h 215"/>
                <a:gd name="T36" fmla="*/ 12 w 277"/>
                <a:gd name="T37" fmla="*/ 92 h 215"/>
                <a:gd name="T38" fmla="*/ 0 w 277"/>
                <a:gd name="T39" fmla="*/ 97 h 215"/>
                <a:gd name="T40" fmla="*/ 25 w 277"/>
                <a:gd name="T41" fmla="*/ 77 h 215"/>
                <a:gd name="T42" fmla="*/ 64 w 277"/>
                <a:gd name="T43" fmla="*/ 77 h 215"/>
                <a:gd name="T44" fmla="*/ 64 w 277"/>
                <a:gd name="T45" fmla="*/ 87 h 215"/>
                <a:gd name="T46" fmla="*/ 64 w 277"/>
                <a:gd name="T47" fmla="*/ 87 h 215"/>
                <a:gd name="T48" fmla="*/ 109 w 277"/>
                <a:gd name="T49" fmla="*/ 92 h 215"/>
                <a:gd name="T50" fmla="*/ 96 w 277"/>
                <a:gd name="T51" fmla="*/ 97 h 215"/>
                <a:gd name="T52" fmla="*/ 122 w 277"/>
                <a:gd name="T53" fmla="*/ 77 h 215"/>
                <a:gd name="T54" fmla="*/ 161 w 277"/>
                <a:gd name="T55" fmla="*/ 77 h 215"/>
                <a:gd name="T56" fmla="*/ 160 w 277"/>
                <a:gd name="T57" fmla="*/ 87 h 215"/>
                <a:gd name="T58" fmla="*/ 160 w 277"/>
                <a:gd name="T59" fmla="*/ 87 h 215"/>
                <a:gd name="T60" fmla="*/ 205 w 277"/>
                <a:gd name="T61" fmla="*/ 92 h 215"/>
                <a:gd name="T62" fmla="*/ 192 w 277"/>
                <a:gd name="T63" fmla="*/ 97 h 215"/>
                <a:gd name="T64" fmla="*/ 218 w 277"/>
                <a:gd name="T65" fmla="*/ 77 h 215"/>
                <a:gd name="T66" fmla="*/ 257 w 277"/>
                <a:gd name="T67" fmla="*/ 77 h 215"/>
                <a:gd name="T68" fmla="*/ 256 w 277"/>
                <a:gd name="T69" fmla="*/ 87 h 215"/>
                <a:gd name="T70" fmla="*/ 256 w 277"/>
                <a:gd name="T71" fmla="*/ 87 h 215"/>
                <a:gd name="T72" fmla="*/ 22 w 277"/>
                <a:gd name="T73" fmla="*/ 154 h 215"/>
                <a:gd name="T74" fmla="*/ 22 w 277"/>
                <a:gd name="T75" fmla="*/ 164 h 215"/>
                <a:gd name="T76" fmla="*/ 22 w 277"/>
                <a:gd name="T77" fmla="*/ 164 h 215"/>
                <a:gd name="T78" fmla="*/ 66 w 277"/>
                <a:gd name="T79" fmla="*/ 168 h 215"/>
                <a:gd name="T80" fmla="*/ 54 w 277"/>
                <a:gd name="T81" fmla="*/ 173 h 215"/>
                <a:gd name="T82" fmla="*/ 79 w 277"/>
                <a:gd name="T83" fmla="*/ 154 h 215"/>
                <a:gd name="T84" fmla="*/ 118 w 277"/>
                <a:gd name="T85" fmla="*/ 154 h 215"/>
                <a:gd name="T86" fmla="*/ 118 w 277"/>
                <a:gd name="T87" fmla="*/ 164 h 215"/>
                <a:gd name="T88" fmla="*/ 118 w 277"/>
                <a:gd name="T89" fmla="*/ 164 h 215"/>
                <a:gd name="T90" fmla="*/ 163 w 277"/>
                <a:gd name="T91" fmla="*/ 168 h 215"/>
                <a:gd name="T92" fmla="*/ 150 w 277"/>
                <a:gd name="T93" fmla="*/ 173 h 215"/>
                <a:gd name="T94" fmla="*/ 176 w 277"/>
                <a:gd name="T95" fmla="*/ 154 h 215"/>
                <a:gd name="T96" fmla="*/ 215 w 277"/>
                <a:gd name="T97" fmla="*/ 154 h 215"/>
                <a:gd name="T98" fmla="*/ 214 w 277"/>
                <a:gd name="T99" fmla="*/ 164 h 215"/>
                <a:gd name="T100" fmla="*/ 214 w 277"/>
                <a:gd name="T101" fmla="*/ 164 h 215"/>
                <a:gd name="T102" fmla="*/ 259 w 277"/>
                <a:gd name="T103" fmla="*/ 168 h 215"/>
                <a:gd name="T104" fmla="*/ 247 w 277"/>
                <a:gd name="T105" fmla="*/ 173 h 215"/>
                <a:gd name="T106" fmla="*/ 272 w 277"/>
                <a:gd name="T107" fmla="*/ 154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77" h="215">
                  <a:moveTo>
                    <a:pt x="21" y="61"/>
                  </a:moveTo>
                  <a:cubicBezTo>
                    <a:pt x="7" y="61"/>
                    <a:pt x="0" y="51"/>
                    <a:pt x="0" y="32"/>
                  </a:cubicBezTo>
                  <a:cubicBezTo>
                    <a:pt x="0" y="22"/>
                    <a:pt x="2" y="14"/>
                    <a:pt x="6" y="9"/>
                  </a:cubicBezTo>
                  <a:cubicBezTo>
                    <a:pt x="9" y="3"/>
                    <a:pt x="15" y="1"/>
                    <a:pt x="22" y="1"/>
                  </a:cubicBezTo>
                  <a:cubicBezTo>
                    <a:pt x="36" y="1"/>
                    <a:pt x="43" y="11"/>
                    <a:pt x="43" y="30"/>
                  </a:cubicBezTo>
                  <a:cubicBezTo>
                    <a:pt x="43" y="40"/>
                    <a:pt x="41" y="48"/>
                    <a:pt x="37" y="53"/>
                  </a:cubicBezTo>
                  <a:cubicBezTo>
                    <a:pt x="33" y="59"/>
                    <a:pt x="28" y="61"/>
                    <a:pt x="21" y="61"/>
                  </a:cubicBezTo>
                  <a:close/>
                  <a:moveTo>
                    <a:pt x="22" y="10"/>
                  </a:moveTo>
                  <a:cubicBezTo>
                    <a:pt x="16" y="10"/>
                    <a:pt x="13" y="17"/>
                    <a:pt x="13" y="32"/>
                  </a:cubicBezTo>
                  <a:cubicBezTo>
                    <a:pt x="13" y="45"/>
                    <a:pt x="16" y="51"/>
                    <a:pt x="21" y="51"/>
                  </a:cubicBezTo>
                  <a:cubicBezTo>
                    <a:pt x="27" y="51"/>
                    <a:pt x="29" y="45"/>
                    <a:pt x="29" y="31"/>
                  </a:cubicBezTo>
                  <a:cubicBezTo>
                    <a:pt x="29" y="17"/>
                    <a:pt x="27" y="10"/>
                    <a:pt x="22" y="10"/>
                  </a:cubicBezTo>
                  <a:close/>
                  <a:moveTo>
                    <a:pt x="79" y="0"/>
                  </a:moveTo>
                  <a:cubicBezTo>
                    <a:pt x="79" y="60"/>
                    <a:pt x="79" y="60"/>
                    <a:pt x="79" y="60"/>
                  </a:cubicBezTo>
                  <a:cubicBezTo>
                    <a:pt x="66" y="60"/>
                    <a:pt x="66" y="60"/>
                    <a:pt x="66" y="60"/>
                  </a:cubicBezTo>
                  <a:cubicBezTo>
                    <a:pt x="66" y="15"/>
                    <a:pt x="66" y="15"/>
                    <a:pt x="66" y="15"/>
                  </a:cubicBezTo>
                  <a:cubicBezTo>
                    <a:pt x="66" y="15"/>
                    <a:pt x="65" y="16"/>
                    <a:pt x="64" y="17"/>
                  </a:cubicBezTo>
                  <a:cubicBezTo>
                    <a:pt x="63" y="17"/>
                    <a:pt x="62" y="18"/>
                    <a:pt x="61" y="18"/>
                  </a:cubicBezTo>
                  <a:cubicBezTo>
                    <a:pt x="60" y="19"/>
                    <a:pt x="59" y="19"/>
                    <a:pt x="57" y="19"/>
                  </a:cubicBezTo>
                  <a:cubicBezTo>
                    <a:pt x="56" y="20"/>
                    <a:pt x="55" y="20"/>
                    <a:pt x="54" y="20"/>
                  </a:cubicBezTo>
                  <a:cubicBezTo>
                    <a:pt x="54" y="9"/>
                    <a:pt x="54" y="9"/>
                    <a:pt x="54" y="9"/>
                  </a:cubicBezTo>
                  <a:cubicBezTo>
                    <a:pt x="57" y="8"/>
                    <a:pt x="61" y="7"/>
                    <a:pt x="64" y="5"/>
                  </a:cubicBezTo>
                  <a:cubicBezTo>
                    <a:pt x="66" y="4"/>
                    <a:pt x="69" y="2"/>
                    <a:pt x="72" y="0"/>
                  </a:cubicBezTo>
                  <a:lnTo>
                    <a:pt x="79" y="0"/>
                  </a:lnTo>
                  <a:close/>
                  <a:moveTo>
                    <a:pt x="117" y="61"/>
                  </a:moveTo>
                  <a:cubicBezTo>
                    <a:pt x="103" y="61"/>
                    <a:pt x="96" y="51"/>
                    <a:pt x="96" y="32"/>
                  </a:cubicBezTo>
                  <a:cubicBezTo>
                    <a:pt x="96" y="22"/>
                    <a:pt x="98" y="14"/>
                    <a:pt x="102" y="9"/>
                  </a:cubicBezTo>
                  <a:cubicBezTo>
                    <a:pt x="106" y="3"/>
                    <a:pt x="111" y="1"/>
                    <a:pt x="118" y="1"/>
                  </a:cubicBezTo>
                  <a:cubicBezTo>
                    <a:pt x="132" y="1"/>
                    <a:pt x="139" y="11"/>
                    <a:pt x="139" y="30"/>
                  </a:cubicBezTo>
                  <a:cubicBezTo>
                    <a:pt x="139" y="40"/>
                    <a:pt x="137" y="48"/>
                    <a:pt x="133" y="53"/>
                  </a:cubicBezTo>
                  <a:cubicBezTo>
                    <a:pt x="130" y="59"/>
                    <a:pt x="124" y="61"/>
                    <a:pt x="117" y="61"/>
                  </a:cubicBezTo>
                  <a:close/>
                  <a:moveTo>
                    <a:pt x="118" y="10"/>
                  </a:moveTo>
                  <a:cubicBezTo>
                    <a:pt x="112" y="10"/>
                    <a:pt x="109" y="17"/>
                    <a:pt x="109" y="32"/>
                  </a:cubicBezTo>
                  <a:cubicBezTo>
                    <a:pt x="109" y="45"/>
                    <a:pt x="112" y="51"/>
                    <a:pt x="118" y="51"/>
                  </a:cubicBezTo>
                  <a:cubicBezTo>
                    <a:pt x="123" y="51"/>
                    <a:pt x="126" y="45"/>
                    <a:pt x="126" y="31"/>
                  </a:cubicBezTo>
                  <a:cubicBezTo>
                    <a:pt x="126" y="17"/>
                    <a:pt x="123" y="10"/>
                    <a:pt x="118" y="10"/>
                  </a:cubicBezTo>
                  <a:close/>
                  <a:moveTo>
                    <a:pt x="176" y="0"/>
                  </a:moveTo>
                  <a:cubicBezTo>
                    <a:pt x="176" y="60"/>
                    <a:pt x="176" y="60"/>
                    <a:pt x="176" y="60"/>
                  </a:cubicBezTo>
                  <a:cubicBezTo>
                    <a:pt x="163" y="60"/>
                    <a:pt x="163" y="60"/>
                    <a:pt x="163" y="60"/>
                  </a:cubicBezTo>
                  <a:cubicBezTo>
                    <a:pt x="163" y="15"/>
                    <a:pt x="163" y="15"/>
                    <a:pt x="163" y="15"/>
                  </a:cubicBezTo>
                  <a:cubicBezTo>
                    <a:pt x="162" y="15"/>
                    <a:pt x="161" y="16"/>
                    <a:pt x="160" y="17"/>
                  </a:cubicBezTo>
                  <a:cubicBezTo>
                    <a:pt x="159" y="17"/>
                    <a:pt x="158" y="18"/>
                    <a:pt x="157" y="18"/>
                  </a:cubicBezTo>
                  <a:cubicBezTo>
                    <a:pt x="156" y="19"/>
                    <a:pt x="155" y="19"/>
                    <a:pt x="154" y="19"/>
                  </a:cubicBezTo>
                  <a:cubicBezTo>
                    <a:pt x="153" y="20"/>
                    <a:pt x="151" y="20"/>
                    <a:pt x="150" y="20"/>
                  </a:cubicBezTo>
                  <a:cubicBezTo>
                    <a:pt x="150" y="9"/>
                    <a:pt x="150" y="9"/>
                    <a:pt x="150" y="9"/>
                  </a:cubicBezTo>
                  <a:cubicBezTo>
                    <a:pt x="154" y="8"/>
                    <a:pt x="157" y="7"/>
                    <a:pt x="160" y="5"/>
                  </a:cubicBezTo>
                  <a:cubicBezTo>
                    <a:pt x="163" y="4"/>
                    <a:pt x="165" y="2"/>
                    <a:pt x="168" y="0"/>
                  </a:cubicBezTo>
                  <a:lnTo>
                    <a:pt x="176" y="0"/>
                  </a:lnTo>
                  <a:close/>
                  <a:moveTo>
                    <a:pt x="214" y="61"/>
                  </a:moveTo>
                  <a:cubicBezTo>
                    <a:pt x="200" y="61"/>
                    <a:pt x="193" y="51"/>
                    <a:pt x="193" y="32"/>
                  </a:cubicBezTo>
                  <a:cubicBezTo>
                    <a:pt x="193" y="22"/>
                    <a:pt x="195" y="14"/>
                    <a:pt x="198" y="9"/>
                  </a:cubicBezTo>
                  <a:cubicBezTo>
                    <a:pt x="202" y="3"/>
                    <a:pt x="208" y="1"/>
                    <a:pt x="215" y="1"/>
                  </a:cubicBezTo>
                  <a:cubicBezTo>
                    <a:pt x="228" y="1"/>
                    <a:pt x="235" y="11"/>
                    <a:pt x="235" y="30"/>
                  </a:cubicBezTo>
                  <a:cubicBezTo>
                    <a:pt x="235" y="40"/>
                    <a:pt x="233" y="48"/>
                    <a:pt x="230" y="53"/>
                  </a:cubicBezTo>
                  <a:cubicBezTo>
                    <a:pt x="226" y="59"/>
                    <a:pt x="221" y="61"/>
                    <a:pt x="214" y="61"/>
                  </a:cubicBezTo>
                  <a:close/>
                  <a:moveTo>
                    <a:pt x="214" y="10"/>
                  </a:moveTo>
                  <a:cubicBezTo>
                    <a:pt x="209" y="10"/>
                    <a:pt x="206" y="17"/>
                    <a:pt x="206" y="32"/>
                  </a:cubicBezTo>
                  <a:cubicBezTo>
                    <a:pt x="206" y="45"/>
                    <a:pt x="209" y="51"/>
                    <a:pt x="214" y="51"/>
                  </a:cubicBezTo>
                  <a:cubicBezTo>
                    <a:pt x="219" y="51"/>
                    <a:pt x="222" y="45"/>
                    <a:pt x="222" y="31"/>
                  </a:cubicBezTo>
                  <a:cubicBezTo>
                    <a:pt x="222" y="17"/>
                    <a:pt x="219" y="10"/>
                    <a:pt x="214" y="10"/>
                  </a:cubicBezTo>
                  <a:close/>
                  <a:moveTo>
                    <a:pt x="272" y="0"/>
                  </a:moveTo>
                  <a:cubicBezTo>
                    <a:pt x="272" y="60"/>
                    <a:pt x="272" y="60"/>
                    <a:pt x="272" y="60"/>
                  </a:cubicBezTo>
                  <a:cubicBezTo>
                    <a:pt x="259" y="60"/>
                    <a:pt x="259" y="60"/>
                    <a:pt x="259" y="60"/>
                  </a:cubicBezTo>
                  <a:cubicBezTo>
                    <a:pt x="259" y="15"/>
                    <a:pt x="259" y="15"/>
                    <a:pt x="259" y="15"/>
                  </a:cubicBezTo>
                  <a:cubicBezTo>
                    <a:pt x="258" y="15"/>
                    <a:pt x="258" y="16"/>
                    <a:pt x="257" y="17"/>
                  </a:cubicBezTo>
                  <a:cubicBezTo>
                    <a:pt x="256" y="17"/>
                    <a:pt x="255" y="18"/>
                    <a:pt x="254" y="18"/>
                  </a:cubicBezTo>
                  <a:cubicBezTo>
                    <a:pt x="252" y="19"/>
                    <a:pt x="251" y="19"/>
                    <a:pt x="250" y="19"/>
                  </a:cubicBezTo>
                  <a:cubicBezTo>
                    <a:pt x="249" y="20"/>
                    <a:pt x="248" y="20"/>
                    <a:pt x="247" y="20"/>
                  </a:cubicBezTo>
                  <a:cubicBezTo>
                    <a:pt x="247" y="9"/>
                    <a:pt x="247" y="9"/>
                    <a:pt x="247" y="9"/>
                  </a:cubicBezTo>
                  <a:cubicBezTo>
                    <a:pt x="250" y="8"/>
                    <a:pt x="253" y="7"/>
                    <a:pt x="256" y="5"/>
                  </a:cubicBezTo>
                  <a:cubicBezTo>
                    <a:pt x="259" y="4"/>
                    <a:pt x="262" y="2"/>
                    <a:pt x="264" y="0"/>
                  </a:cubicBezTo>
                  <a:lnTo>
                    <a:pt x="272" y="0"/>
                  </a:lnTo>
                  <a:close/>
                  <a:moveTo>
                    <a:pt x="25" y="77"/>
                  </a:moveTo>
                  <a:cubicBezTo>
                    <a:pt x="25" y="137"/>
                    <a:pt x="25" y="137"/>
                    <a:pt x="25" y="137"/>
                  </a:cubicBezTo>
                  <a:cubicBezTo>
                    <a:pt x="12" y="137"/>
                    <a:pt x="12" y="137"/>
                    <a:pt x="12" y="137"/>
                  </a:cubicBezTo>
                  <a:cubicBezTo>
                    <a:pt x="12" y="92"/>
                    <a:pt x="12" y="92"/>
                    <a:pt x="12" y="92"/>
                  </a:cubicBezTo>
                  <a:cubicBezTo>
                    <a:pt x="12" y="92"/>
                    <a:pt x="11" y="93"/>
                    <a:pt x="10" y="93"/>
                  </a:cubicBezTo>
                  <a:cubicBezTo>
                    <a:pt x="9" y="94"/>
                    <a:pt x="8" y="94"/>
                    <a:pt x="7" y="95"/>
                  </a:cubicBezTo>
                  <a:cubicBezTo>
                    <a:pt x="6" y="95"/>
                    <a:pt x="5" y="96"/>
                    <a:pt x="3" y="96"/>
                  </a:cubicBezTo>
                  <a:cubicBezTo>
                    <a:pt x="2" y="96"/>
                    <a:pt x="1" y="97"/>
                    <a:pt x="0" y="97"/>
                  </a:cubicBezTo>
                  <a:cubicBezTo>
                    <a:pt x="0" y="86"/>
                    <a:pt x="0" y="86"/>
                    <a:pt x="0" y="86"/>
                  </a:cubicBezTo>
                  <a:cubicBezTo>
                    <a:pt x="3" y="85"/>
                    <a:pt x="6" y="84"/>
                    <a:pt x="9" y="82"/>
                  </a:cubicBezTo>
                  <a:cubicBezTo>
                    <a:pt x="12" y="81"/>
                    <a:pt x="15" y="79"/>
                    <a:pt x="17" y="77"/>
                  </a:cubicBezTo>
                  <a:lnTo>
                    <a:pt x="25" y="77"/>
                  </a:lnTo>
                  <a:close/>
                  <a:moveTo>
                    <a:pt x="63" y="138"/>
                  </a:moveTo>
                  <a:cubicBezTo>
                    <a:pt x="49" y="138"/>
                    <a:pt x="42" y="128"/>
                    <a:pt x="42" y="109"/>
                  </a:cubicBezTo>
                  <a:cubicBezTo>
                    <a:pt x="42" y="98"/>
                    <a:pt x="44" y="91"/>
                    <a:pt x="48" y="85"/>
                  </a:cubicBezTo>
                  <a:cubicBezTo>
                    <a:pt x="52" y="80"/>
                    <a:pt x="57" y="77"/>
                    <a:pt x="64" y="77"/>
                  </a:cubicBezTo>
                  <a:cubicBezTo>
                    <a:pt x="78" y="77"/>
                    <a:pt x="85" y="87"/>
                    <a:pt x="85" y="107"/>
                  </a:cubicBezTo>
                  <a:cubicBezTo>
                    <a:pt x="85" y="117"/>
                    <a:pt x="83" y="125"/>
                    <a:pt x="79" y="130"/>
                  </a:cubicBezTo>
                  <a:cubicBezTo>
                    <a:pt x="75" y="135"/>
                    <a:pt x="70" y="138"/>
                    <a:pt x="63" y="138"/>
                  </a:cubicBezTo>
                  <a:close/>
                  <a:moveTo>
                    <a:pt x="64" y="87"/>
                  </a:moveTo>
                  <a:cubicBezTo>
                    <a:pt x="58" y="87"/>
                    <a:pt x="55" y="94"/>
                    <a:pt x="55" y="108"/>
                  </a:cubicBezTo>
                  <a:cubicBezTo>
                    <a:pt x="55" y="121"/>
                    <a:pt x="58" y="128"/>
                    <a:pt x="64" y="128"/>
                  </a:cubicBezTo>
                  <a:cubicBezTo>
                    <a:pt x="69" y="128"/>
                    <a:pt x="72" y="121"/>
                    <a:pt x="72" y="108"/>
                  </a:cubicBezTo>
                  <a:cubicBezTo>
                    <a:pt x="72" y="94"/>
                    <a:pt x="69" y="87"/>
                    <a:pt x="64" y="87"/>
                  </a:cubicBezTo>
                  <a:close/>
                  <a:moveTo>
                    <a:pt x="122" y="77"/>
                  </a:moveTo>
                  <a:cubicBezTo>
                    <a:pt x="122" y="137"/>
                    <a:pt x="122" y="137"/>
                    <a:pt x="122" y="137"/>
                  </a:cubicBezTo>
                  <a:cubicBezTo>
                    <a:pt x="109" y="137"/>
                    <a:pt x="109" y="137"/>
                    <a:pt x="109" y="137"/>
                  </a:cubicBezTo>
                  <a:cubicBezTo>
                    <a:pt x="109" y="92"/>
                    <a:pt x="109" y="92"/>
                    <a:pt x="109" y="92"/>
                  </a:cubicBezTo>
                  <a:cubicBezTo>
                    <a:pt x="108" y="92"/>
                    <a:pt x="107" y="93"/>
                    <a:pt x="106" y="93"/>
                  </a:cubicBezTo>
                  <a:cubicBezTo>
                    <a:pt x="105" y="94"/>
                    <a:pt x="104" y="94"/>
                    <a:pt x="103" y="95"/>
                  </a:cubicBezTo>
                  <a:cubicBezTo>
                    <a:pt x="102" y="95"/>
                    <a:pt x="101" y="96"/>
                    <a:pt x="100" y="96"/>
                  </a:cubicBezTo>
                  <a:cubicBezTo>
                    <a:pt x="98" y="96"/>
                    <a:pt x="97" y="97"/>
                    <a:pt x="96" y="97"/>
                  </a:cubicBezTo>
                  <a:cubicBezTo>
                    <a:pt x="96" y="86"/>
                    <a:pt x="96" y="86"/>
                    <a:pt x="96" y="86"/>
                  </a:cubicBezTo>
                  <a:cubicBezTo>
                    <a:pt x="100" y="85"/>
                    <a:pt x="103" y="84"/>
                    <a:pt x="106" y="82"/>
                  </a:cubicBezTo>
                  <a:cubicBezTo>
                    <a:pt x="109" y="81"/>
                    <a:pt x="111" y="79"/>
                    <a:pt x="114" y="77"/>
                  </a:cubicBezTo>
                  <a:lnTo>
                    <a:pt x="122" y="77"/>
                  </a:lnTo>
                  <a:close/>
                  <a:moveTo>
                    <a:pt x="159" y="138"/>
                  </a:moveTo>
                  <a:cubicBezTo>
                    <a:pt x="145" y="138"/>
                    <a:pt x="138" y="128"/>
                    <a:pt x="138" y="109"/>
                  </a:cubicBezTo>
                  <a:cubicBezTo>
                    <a:pt x="138" y="98"/>
                    <a:pt x="140" y="91"/>
                    <a:pt x="144" y="85"/>
                  </a:cubicBezTo>
                  <a:cubicBezTo>
                    <a:pt x="148" y="80"/>
                    <a:pt x="153" y="77"/>
                    <a:pt x="161" y="77"/>
                  </a:cubicBezTo>
                  <a:cubicBezTo>
                    <a:pt x="174" y="77"/>
                    <a:pt x="181" y="87"/>
                    <a:pt x="181" y="107"/>
                  </a:cubicBezTo>
                  <a:cubicBezTo>
                    <a:pt x="181" y="117"/>
                    <a:pt x="179" y="125"/>
                    <a:pt x="175" y="130"/>
                  </a:cubicBezTo>
                  <a:cubicBezTo>
                    <a:pt x="172" y="135"/>
                    <a:pt x="166" y="138"/>
                    <a:pt x="159" y="138"/>
                  </a:cubicBezTo>
                  <a:close/>
                  <a:moveTo>
                    <a:pt x="160" y="87"/>
                  </a:moveTo>
                  <a:cubicBezTo>
                    <a:pt x="154" y="87"/>
                    <a:pt x="152" y="94"/>
                    <a:pt x="152" y="108"/>
                  </a:cubicBezTo>
                  <a:cubicBezTo>
                    <a:pt x="152" y="121"/>
                    <a:pt x="154" y="128"/>
                    <a:pt x="160" y="128"/>
                  </a:cubicBezTo>
                  <a:cubicBezTo>
                    <a:pt x="165" y="128"/>
                    <a:pt x="168" y="121"/>
                    <a:pt x="168" y="108"/>
                  </a:cubicBezTo>
                  <a:cubicBezTo>
                    <a:pt x="168" y="94"/>
                    <a:pt x="165" y="87"/>
                    <a:pt x="160" y="87"/>
                  </a:cubicBezTo>
                  <a:close/>
                  <a:moveTo>
                    <a:pt x="218" y="77"/>
                  </a:moveTo>
                  <a:cubicBezTo>
                    <a:pt x="218" y="137"/>
                    <a:pt x="218" y="137"/>
                    <a:pt x="218" y="137"/>
                  </a:cubicBezTo>
                  <a:cubicBezTo>
                    <a:pt x="205" y="137"/>
                    <a:pt x="205" y="137"/>
                    <a:pt x="205" y="137"/>
                  </a:cubicBezTo>
                  <a:cubicBezTo>
                    <a:pt x="205" y="92"/>
                    <a:pt x="205" y="92"/>
                    <a:pt x="205" y="92"/>
                  </a:cubicBezTo>
                  <a:cubicBezTo>
                    <a:pt x="204" y="92"/>
                    <a:pt x="203" y="93"/>
                    <a:pt x="202" y="93"/>
                  </a:cubicBezTo>
                  <a:cubicBezTo>
                    <a:pt x="201" y="94"/>
                    <a:pt x="200" y="94"/>
                    <a:pt x="199" y="95"/>
                  </a:cubicBezTo>
                  <a:cubicBezTo>
                    <a:pt x="198" y="95"/>
                    <a:pt x="197" y="96"/>
                    <a:pt x="196" y="96"/>
                  </a:cubicBezTo>
                  <a:cubicBezTo>
                    <a:pt x="195" y="96"/>
                    <a:pt x="194" y="97"/>
                    <a:pt x="192" y="97"/>
                  </a:cubicBezTo>
                  <a:cubicBezTo>
                    <a:pt x="192" y="86"/>
                    <a:pt x="192" y="86"/>
                    <a:pt x="192" y="86"/>
                  </a:cubicBezTo>
                  <a:cubicBezTo>
                    <a:pt x="196" y="85"/>
                    <a:pt x="199" y="84"/>
                    <a:pt x="202" y="82"/>
                  </a:cubicBezTo>
                  <a:cubicBezTo>
                    <a:pt x="205" y="81"/>
                    <a:pt x="208" y="79"/>
                    <a:pt x="210" y="77"/>
                  </a:cubicBezTo>
                  <a:lnTo>
                    <a:pt x="218" y="77"/>
                  </a:lnTo>
                  <a:close/>
                  <a:moveTo>
                    <a:pt x="256" y="138"/>
                  </a:moveTo>
                  <a:cubicBezTo>
                    <a:pt x="242" y="138"/>
                    <a:pt x="235" y="128"/>
                    <a:pt x="235" y="109"/>
                  </a:cubicBezTo>
                  <a:cubicBezTo>
                    <a:pt x="235" y="98"/>
                    <a:pt x="237" y="91"/>
                    <a:pt x="240" y="85"/>
                  </a:cubicBezTo>
                  <a:cubicBezTo>
                    <a:pt x="244" y="80"/>
                    <a:pt x="250" y="77"/>
                    <a:pt x="257" y="77"/>
                  </a:cubicBezTo>
                  <a:cubicBezTo>
                    <a:pt x="270" y="77"/>
                    <a:pt x="277" y="87"/>
                    <a:pt x="277" y="107"/>
                  </a:cubicBezTo>
                  <a:cubicBezTo>
                    <a:pt x="277" y="117"/>
                    <a:pt x="275" y="125"/>
                    <a:pt x="272" y="130"/>
                  </a:cubicBezTo>
                  <a:cubicBezTo>
                    <a:pt x="268" y="135"/>
                    <a:pt x="263" y="138"/>
                    <a:pt x="256" y="138"/>
                  </a:cubicBezTo>
                  <a:close/>
                  <a:moveTo>
                    <a:pt x="256" y="87"/>
                  </a:moveTo>
                  <a:cubicBezTo>
                    <a:pt x="251" y="87"/>
                    <a:pt x="248" y="94"/>
                    <a:pt x="248" y="108"/>
                  </a:cubicBezTo>
                  <a:cubicBezTo>
                    <a:pt x="248" y="121"/>
                    <a:pt x="251" y="128"/>
                    <a:pt x="256" y="128"/>
                  </a:cubicBezTo>
                  <a:cubicBezTo>
                    <a:pt x="261" y="128"/>
                    <a:pt x="264" y="121"/>
                    <a:pt x="264" y="108"/>
                  </a:cubicBezTo>
                  <a:cubicBezTo>
                    <a:pt x="264" y="94"/>
                    <a:pt x="262" y="87"/>
                    <a:pt x="256" y="87"/>
                  </a:cubicBezTo>
                  <a:close/>
                  <a:moveTo>
                    <a:pt x="21" y="215"/>
                  </a:moveTo>
                  <a:cubicBezTo>
                    <a:pt x="7" y="215"/>
                    <a:pt x="0" y="205"/>
                    <a:pt x="0" y="185"/>
                  </a:cubicBezTo>
                  <a:cubicBezTo>
                    <a:pt x="0" y="175"/>
                    <a:pt x="2" y="167"/>
                    <a:pt x="6" y="162"/>
                  </a:cubicBezTo>
                  <a:cubicBezTo>
                    <a:pt x="9" y="157"/>
                    <a:pt x="15" y="154"/>
                    <a:pt x="22" y="154"/>
                  </a:cubicBezTo>
                  <a:cubicBezTo>
                    <a:pt x="36" y="154"/>
                    <a:pt x="43" y="164"/>
                    <a:pt x="43" y="184"/>
                  </a:cubicBezTo>
                  <a:cubicBezTo>
                    <a:pt x="43" y="194"/>
                    <a:pt x="41" y="201"/>
                    <a:pt x="37" y="207"/>
                  </a:cubicBezTo>
                  <a:cubicBezTo>
                    <a:pt x="33" y="212"/>
                    <a:pt x="28" y="215"/>
                    <a:pt x="21" y="215"/>
                  </a:cubicBezTo>
                  <a:close/>
                  <a:moveTo>
                    <a:pt x="22" y="164"/>
                  </a:moveTo>
                  <a:cubicBezTo>
                    <a:pt x="16" y="164"/>
                    <a:pt x="13" y="171"/>
                    <a:pt x="13" y="185"/>
                  </a:cubicBezTo>
                  <a:cubicBezTo>
                    <a:pt x="13" y="198"/>
                    <a:pt x="16" y="205"/>
                    <a:pt x="21" y="205"/>
                  </a:cubicBezTo>
                  <a:cubicBezTo>
                    <a:pt x="27" y="205"/>
                    <a:pt x="29" y="198"/>
                    <a:pt x="29" y="184"/>
                  </a:cubicBezTo>
                  <a:cubicBezTo>
                    <a:pt x="29" y="171"/>
                    <a:pt x="27" y="164"/>
                    <a:pt x="22" y="164"/>
                  </a:cubicBezTo>
                  <a:close/>
                  <a:moveTo>
                    <a:pt x="79" y="154"/>
                  </a:moveTo>
                  <a:cubicBezTo>
                    <a:pt x="79" y="214"/>
                    <a:pt x="79" y="214"/>
                    <a:pt x="79" y="214"/>
                  </a:cubicBezTo>
                  <a:cubicBezTo>
                    <a:pt x="66" y="214"/>
                    <a:pt x="66" y="214"/>
                    <a:pt x="66" y="214"/>
                  </a:cubicBezTo>
                  <a:cubicBezTo>
                    <a:pt x="66" y="168"/>
                    <a:pt x="66" y="168"/>
                    <a:pt x="66" y="168"/>
                  </a:cubicBezTo>
                  <a:cubicBezTo>
                    <a:pt x="66" y="169"/>
                    <a:pt x="65" y="170"/>
                    <a:pt x="64" y="170"/>
                  </a:cubicBezTo>
                  <a:cubicBezTo>
                    <a:pt x="63" y="171"/>
                    <a:pt x="62" y="171"/>
                    <a:pt x="61" y="172"/>
                  </a:cubicBezTo>
                  <a:cubicBezTo>
                    <a:pt x="60" y="172"/>
                    <a:pt x="59" y="172"/>
                    <a:pt x="57" y="173"/>
                  </a:cubicBezTo>
                  <a:cubicBezTo>
                    <a:pt x="56" y="173"/>
                    <a:pt x="55" y="173"/>
                    <a:pt x="54" y="173"/>
                  </a:cubicBezTo>
                  <a:cubicBezTo>
                    <a:pt x="54" y="163"/>
                    <a:pt x="54" y="163"/>
                    <a:pt x="54" y="163"/>
                  </a:cubicBezTo>
                  <a:cubicBezTo>
                    <a:pt x="57" y="162"/>
                    <a:pt x="61" y="160"/>
                    <a:pt x="64" y="159"/>
                  </a:cubicBezTo>
                  <a:cubicBezTo>
                    <a:pt x="66" y="157"/>
                    <a:pt x="69" y="156"/>
                    <a:pt x="72" y="154"/>
                  </a:cubicBezTo>
                  <a:lnTo>
                    <a:pt x="79" y="154"/>
                  </a:lnTo>
                  <a:close/>
                  <a:moveTo>
                    <a:pt x="117" y="215"/>
                  </a:moveTo>
                  <a:cubicBezTo>
                    <a:pt x="103" y="215"/>
                    <a:pt x="96" y="205"/>
                    <a:pt x="96" y="185"/>
                  </a:cubicBezTo>
                  <a:cubicBezTo>
                    <a:pt x="96" y="175"/>
                    <a:pt x="98" y="167"/>
                    <a:pt x="102" y="162"/>
                  </a:cubicBezTo>
                  <a:cubicBezTo>
                    <a:pt x="106" y="157"/>
                    <a:pt x="111" y="154"/>
                    <a:pt x="118" y="154"/>
                  </a:cubicBezTo>
                  <a:cubicBezTo>
                    <a:pt x="132" y="154"/>
                    <a:pt x="139" y="164"/>
                    <a:pt x="139" y="184"/>
                  </a:cubicBezTo>
                  <a:cubicBezTo>
                    <a:pt x="139" y="194"/>
                    <a:pt x="137" y="201"/>
                    <a:pt x="133" y="207"/>
                  </a:cubicBezTo>
                  <a:cubicBezTo>
                    <a:pt x="130" y="212"/>
                    <a:pt x="124" y="215"/>
                    <a:pt x="117" y="215"/>
                  </a:cubicBezTo>
                  <a:close/>
                  <a:moveTo>
                    <a:pt x="118" y="164"/>
                  </a:moveTo>
                  <a:cubicBezTo>
                    <a:pt x="112" y="164"/>
                    <a:pt x="109" y="171"/>
                    <a:pt x="109" y="185"/>
                  </a:cubicBezTo>
                  <a:cubicBezTo>
                    <a:pt x="109" y="198"/>
                    <a:pt x="112" y="205"/>
                    <a:pt x="118" y="205"/>
                  </a:cubicBezTo>
                  <a:cubicBezTo>
                    <a:pt x="123" y="205"/>
                    <a:pt x="126" y="198"/>
                    <a:pt x="126" y="184"/>
                  </a:cubicBezTo>
                  <a:cubicBezTo>
                    <a:pt x="126" y="171"/>
                    <a:pt x="123" y="164"/>
                    <a:pt x="118" y="164"/>
                  </a:cubicBezTo>
                  <a:close/>
                  <a:moveTo>
                    <a:pt x="176" y="154"/>
                  </a:moveTo>
                  <a:cubicBezTo>
                    <a:pt x="176" y="214"/>
                    <a:pt x="176" y="214"/>
                    <a:pt x="176" y="214"/>
                  </a:cubicBezTo>
                  <a:cubicBezTo>
                    <a:pt x="163" y="214"/>
                    <a:pt x="163" y="214"/>
                    <a:pt x="163" y="214"/>
                  </a:cubicBezTo>
                  <a:cubicBezTo>
                    <a:pt x="163" y="168"/>
                    <a:pt x="163" y="168"/>
                    <a:pt x="163" y="168"/>
                  </a:cubicBezTo>
                  <a:cubicBezTo>
                    <a:pt x="162" y="169"/>
                    <a:pt x="161" y="170"/>
                    <a:pt x="160" y="170"/>
                  </a:cubicBezTo>
                  <a:cubicBezTo>
                    <a:pt x="159" y="171"/>
                    <a:pt x="158" y="171"/>
                    <a:pt x="157" y="172"/>
                  </a:cubicBezTo>
                  <a:cubicBezTo>
                    <a:pt x="156" y="172"/>
                    <a:pt x="155" y="172"/>
                    <a:pt x="154" y="173"/>
                  </a:cubicBezTo>
                  <a:cubicBezTo>
                    <a:pt x="153" y="173"/>
                    <a:pt x="151" y="173"/>
                    <a:pt x="150" y="173"/>
                  </a:cubicBezTo>
                  <a:cubicBezTo>
                    <a:pt x="150" y="163"/>
                    <a:pt x="150" y="163"/>
                    <a:pt x="150" y="163"/>
                  </a:cubicBezTo>
                  <a:cubicBezTo>
                    <a:pt x="154" y="162"/>
                    <a:pt x="157" y="160"/>
                    <a:pt x="160" y="159"/>
                  </a:cubicBezTo>
                  <a:cubicBezTo>
                    <a:pt x="163" y="157"/>
                    <a:pt x="165" y="156"/>
                    <a:pt x="168" y="154"/>
                  </a:cubicBezTo>
                  <a:lnTo>
                    <a:pt x="176" y="154"/>
                  </a:lnTo>
                  <a:close/>
                  <a:moveTo>
                    <a:pt x="214" y="215"/>
                  </a:moveTo>
                  <a:cubicBezTo>
                    <a:pt x="200" y="215"/>
                    <a:pt x="193" y="205"/>
                    <a:pt x="193" y="185"/>
                  </a:cubicBezTo>
                  <a:cubicBezTo>
                    <a:pt x="193" y="175"/>
                    <a:pt x="195" y="167"/>
                    <a:pt x="198" y="162"/>
                  </a:cubicBezTo>
                  <a:cubicBezTo>
                    <a:pt x="202" y="157"/>
                    <a:pt x="208" y="154"/>
                    <a:pt x="215" y="154"/>
                  </a:cubicBezTo>
                  <a:cubicBezTo>
                    <a:pt x="228" y="154"/>
                    <a:pt x="235" y="164"/>
                    <a:pt x="235" y="184"/>
                  </a:cubicBezTo>
                  <a:cubicBezTo>
                    <a:pt x="235" y="194"/>
                    <a:pt x="233" y="201"/>
                    <a:pt x="230" y="207"/>
                  </a:cubicBezTo>
                  <a:cubicBezTo>
                    <a:pt x="226" y="212"/>
                    <a:pt x="221" y="215"/>
                    <a:pt x="214" y="215"/>
                  </a:cubicBezTo>
                  <a:close/>
                  <a:moveTo>
                    <a:pt x="214" y="164"/>
                  </a:moveTo>
                  <a:cubicBezTo>
                    <a:pt x="209" y="164"/>
                    <a:pt x="206" y="171"/>
                    <a:pt x="206" y="185"/>
                  </a:cubicBezTo>
                  <a:cubicBezTo>
                    <a:pt x="206" y="198"/>
                    <a:pt x="209" y="205"/>
                    <a:pt x="214" y="205"/>
                  </a:cubicBezTo>
                  <a:cubicBezTo>
                    <a:pt x="219" y="205"/>
                    <a:pt x="222" y="198"/>
                    <a:pt x="222" y="184"/>
                  </a:cubicBezTo>
                  <a:cubicBezTo>
                    <a:pt x="222" y="171"/>
                    <a:pt x="219" y="164"/>
                    <a:pt x="214" y="164"/>
                  </a:cubicBezTo>
                  <a:close/>
                  <a:moveTo>
                    <a:pt x="272" y="154"/>
                  </a:moveTo>
                  <a:cubicBezTo>
                    <a:pt x="272" y="214"/>
                    <a:pt x="272" y="214"/>
                    <a:pt x="272" y="214"/>
                  </a:cubicBezTo>
                  <a:cubicBezTo>
                    <a:pt x="259" y="214"/>
                    <a:pt x="259" y="214"/>
                    <a:pt x="259" y="214"/>
                  </a:cubicBezTo>
                  <a:cubicBezTo>
                    <a:pt x="259" y="168"/>
                    <a:pt x="259" y="168"/>
                    <a:pt x="259" y="168"/>
                  </a:cubicBezTo>
                  <a:cubicBezTo>
                    <a:pt x="258" y="169"/>
                    <a:pt x="258" y="170"/>
                    <a:pt x="257" y="170"/>
                  </a:cubicBezTo>
                  <a:cubicBezTo>
                    <a:pt x="256" y="171"/>
                    <a:pt x="255" y="171"/>
                    <a:pt x="254" y="172"/>
                  </a:cubicBezTo>
                  <a:cubicBezTo>
                    <a:pt x="252" y="172"/>
                    <a:pt x="251" y="172"/>
                    <a:pt x="250" y="173"/>
                  </a:cubicBezTo>
                  <a:cubicBezTo>
                    <a:pt x="249" y="173"/>
                    <a:pt x="248" y="173"/>
                    <a:pt x="247" y="173"/>
                  </a:cubicBezTo>
                  <a:cubicBezTo>
                    <a:pt x="247" y="163"/>
                    <a:pt x="247" y="163"/>
                    <a:pt x="247" y="163"/>
                  </a:cubicBezTo>
                  <a:cubicBezTo>
                    <a:pt x="250" y="162"/>
                    <a:pt x="253" y="160"/>
                    <a:pt x="256" y="159"/>
                  </a:cubicBezTo>
                  <a:cubicBezTo>
                    <a:pt x="259" y="157"/>
                    <a:pt x="262" y="156"/>
                    <a:pt x="264" y="154"/>
                  </a:cubicBezTo>
                  <a:lnTo>
                    <a:pt x="272" y="154"/>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62" name="Freeform 61"/>
            <p:cNvSpPr>
              <a:spLocks noChangeAspect="1"/>
            </p:cNvSpPr>
            <p:nvPr/>
          </p:nvSpPr>
          <p:spPr bwMode="black">
            <a:xfrm>
              <a:off x="810855" y="2476645"/>
              <a:ext cx="373866" cy="260946"/>
            </a:xfrm>
            <a:custGeom>
              <a:avLst/>
              <a:gdLst>
                <a:gd name="connsiteX0" fmla="*/ 541228 w 979570"/>
                <a:gd name="connsiteY0" fmla="*/ 531962 h 887227"/>
                <a:gd name="connsiteX1" fmla="*/ 547155 w 979570"/>
                <a:gd name="connsiteY1" fmla="*/ 538150 h 887227"/>
                <a:gd name="connsiteX2" fmla="*/ 760399 w 979570"/>
                <a:gd name="connsiteY2" fmla="*/ 601984 h 887227"/>
                <a:gd name="connsiteX3" fmla="*/ 973643 w 979570"/>
                <a:gd name="connsiteY3" fmla="*/ 538150 h 887227"/>
                <a:gd name="connsiteX4" fmla="*/ 979570 w 979570"/>
                <a:gd name="connsiteY4" fmla="*/ 531962 h 887227"/>
                <a:gd name="connsiteX5" fmla="*/ 979570 w 979570"/>
                <a:gd name="connsiteY5" fmla="*/ 776991 h 887227"/>
                <a:gd name="connsiteX6" fmla="*/ 979570 w 979570"/>
                <a:gd name="connsiteY6" fmla="*/ 776993 h 887227"/>
                <a:gd name="connsiteX7" fmla="*/ 760399 w 979570"/>
                <a:gd name="connsiteY7" fmla="*/ 887227 h 887227"/>
                <a:gd name="connsiteX8" fmla="*/ 541228 w 979570"/>
                <a:gd name="connsiteY8" fmla="*/ 776993 h 887227"/>
                <a:gd name="connsiteX9" fmla="*/ 541228 w 979570"/>
                <a:gd name="connsiteY9" fmla="*/ 776993 h 887227"/>
                <a:gd name="connsiteX10" fmla="*/ 0 w 979570"/>
                <a:gd name="connsiteY10" fmla="*/ 531962 h 887227"/>
                <a:gd name="connsiteX11" fmla="*/ 5927 w 979570"/>
                <a:gd name="connsiteY11" fmla="*/ 538150 h 887227"/>
                <a:gd name="connsiteX12" fmla="*/ 219171 w 979570"/>
                <a:gd name="connsiteY12" fmla="*/ 601984 h 887227"/>
                <a:gd name="connsiteX13" fmla="*/ 432415 w 979570"/>
                <a:gd name="connsiteY13" fmla="*/ 538150 h 887227"/>
                <a:gd name="connsiteX14" fmla="*/ 438342 w 979570"/>
                <a:gd name="connsiteY14" fmla="*/ 531962 h 887227"/>
                <a:gd name="connsiteX15" fmla="*/ 438342 w 979570"/>
                <a:gd name="connsiteY15" fmla="*/ 776991 h 887227"/>
                <a:gd name="connsiteX16" fmla="*/ 438342 w 979570"/>
                <a:gd name="connsiteY16" fmla="*/ 776993 h 887227"/>
                <a:gd name="connsiteX17" fmla="*/ 219171 w 979570"/>
                <a:gd name="connsiteY17" fmla="*/ 887227 h 887227"/>
                <a:gd name="connsiteX18" fmla="*/ 0 w 979570"/>
                <a:gd name="connsiteY18" fmla="*/ 776993 h 887227"/>
                <a:gd name="connsiteX19" fmla="*/ 0 w 979570"/>
                <a:gd name="connsiteY19" fmla="*/ 776993 h 887227"/>
                <a:gd name="connsiteX20" fmla="*/ 760036 w 979570"/>
                <a:gd name="connsiteY20" fmla="*/ 322411 h 887227"/>
                <a:gd name="connsiteX21" fmla="*/ 978844 w 979570"/>
                <a:gd name="connsiteY21" fmla="*/ 444386 h 887227"/>
                <a:gd name="connsiteX22" fmla="*/ 760036 w 979570"/>
                <a:gd name="connsiteY22" fmla="*/ 566361 h 887227"/>
                <a:gd name="connsiteX23" fmla="*/ 541228 w 979570"/>
                <a:gd name="connsiteY23" fmla="*/ 444386 h 887227"/>
                <a:gd name="connsiteX24" fmla="*/ 760036 w 979570"/>
                <a:gd name="connsiteY24" fmla="*/ 322411 h 887227"/>
                <a:gd name="connsiteX25" fmla="*/ 0 w 979570"/>
                <a:gd name="connsiteY25" fmla="*/ 209552 h 887227"/>
                <a:gd name="connsiteX26" fmla="*/ 5927 w 979570"/>
                <a:gd name="connsiteY26" fmla="*/ 215739 h 887227"/>
                <a:gd name="connsiteX27" fmla="*/ 219171 w 979570"/>
                <a:gd name="connsiteY27" fmla="*/ 279574 h 887227"/>
                <a:gd name="connsiteX28" fmla="*/ 432415 w 979570"/>
                <a:gd name="connsiteY28" fmla="*/ 215739 h 887227"/>
                <a:gd name="connsiteX29" fmla="*/ 438342 w 979570"/>
                <a:gd name="connsiteY29" fmla="*/ 209552 h 887227"/>
                <a:gd name="connsiteX30" fmla="*/ 438342 w 979570"/>
                <a:gd name="connsiteY30" fmla="*/ 454580 h 887227"/>
                <a:gd name="connsiteX31" fmla="*/ 438342 w 979570"/>
                <a:gd name="connsiteY31" fmla="*/ 454583 h 887227"/>
                <a:gd name="connsiteX32" fmla="*/ 219171 w 979570"/>
                <a:gd name="connsiteY32" fmla="*/ 564817 h 887227"/>
                <a:gd name="connsiteX33" fmla="*/ 0 w 979570"/>
                <a:gd name="connsiteY33" fmla="*/ 454583 h 887227"/>
                <a:gd name="connsiteX34" fmla="*/ 0 w 979570"/>
                <a:gd name="connsiteY34" fmla="*/ 454582 h 887227"/>
                <a:gd name="connsiteX35" fmla="*/ 218808 w 979570"/>
                <a:gd name="connsiteY35" fmla="*/ 0 h 887227"/>
                <a:gd name="connsiteX36" fmla="*/ 437616 w 979570"/>
                <a:gd name="connsiteY36" fmla="*/ 121975 h 887227"/>
                <a:gd name="connsiteX37" fmla="*/ 218808 w 979570"/>
                <a:gd name="connsiteY37" fmla="*/ 243950 h 887227"/>
                <a:gd name="connsiteX38" fmla="*/ 0 w 979570"/>
                <a:gd name="connsiteY38" fmla="*/ 121975 h 887227"/>
                <a:gd name="connsiteX39" fmla="*/ 218808 w 979570"/>
                <a:gd name="connsiteY39" fmla="*/ 0 h 8872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979570" h="887227">
                  <a:moveTo>
                    <a:pt x="541228" y="531962"/>
                  </a:moveTo>
                  <a:lnTo>
                    <a:pt x="547155" y="538150"/>
                  </a:lnTo>
                  <a:cubicBezTo>
                    <a:pt x="588222" y="576173"/>
                    <a:pt x="668317" y="601984"/>
                    <a:pt x="760399" y="601984"/>
                  </a:cubicBezTo>
                  <a:cubicBezTo>
                    <a:pt x="852481" y="601984"/>
                    <a:pt x="932576" y="576173"/>
                    <a:pt x="973643" y="538150"/>
                  </a:cubicBezTo>
                  <a:lnTo>
                    <a:pt x="979570" y="531962"/>
                  </a:lnTo>
                  <a:lnTo>
                    <a:pt x="979570" y="776991"/>
                  </a:lnTo>
                  <a:lnTo>
                    <a:pt x="979570" y="776993"/>
                  </a:lnTo>
                  <a:cubicBezTo>
                    <a:pt x="979570" y="837874"/>
                    <a:pt x="881444" y="887227"/>
                    <a:pt x="760399" y="887227"/>
                  </a:cubicBezTo>
                  <a:cubicBezTo>
                    <a:pt x="639354" y="887227"/>
                    <a:pt x="541228" y="837874"/>
                    <a:pt x="541228" y="776993"/>
                  </a:cubicBezTo>
                  <a:lnTo>
                    <a:pt x="541228" y="776993"/>
                  </a:lnTo>
                  <a:close/>
                  <a:moveTo>
                    <a:pt x="0" y="531962"/>
                  </a:moveTo>
                  <a:lnTo>
                    <a:pt x="5927" y="538150"/>
                  </a:lnTo>
                  <a:cubicBezTo>
                    <a:pt x="46994" y="576173"/>
                    <a:pt x="127089" y="601984"/>
                    <a:pt x="219171" y="601984"/>
                  </a:cubicBezTo>
                  <a:cubicBezTo>
                    <a:pt x="311253" y="601984"/>
                    <a:pt x="391348" y="576173"/>
                    <a:pt x="432415" y="538150"/>
                  </a:cubicBezTo>
                  <a:lnTo>
                    <a:pt x="438342" y="531962"/>
                  </a:lnTo>
                  <a:lnTo>
                    <a:pt x="438342" y="776991"/>
                  </a:lnTo>
                  <a:lnTo>
                    <a:pt x="438342" y="776993"/>
                  </a:lnTo>
                  <a:cubicBezTo>
                    <a:pt x="438342" y="837874"/>
                    <a:pt x="340216" y="887227"/>
                    <a:pt x="219171" y="887227"/>
                  </a:cubicBezTo>
                  <a:cubicBezTo>
                    <a:pt x="98126" y="887227"/>
                    <a:pt x="0" y="837874"/>
                    <a:pt x="0" y="776993"/>
                  </a:cubicBezTo>
                  <a:lnTo>
                    <a:pt x="0" y="776993"/>
                  </a:lnTo>
                  <a:close/>
                  <a:moveTo>
                    <a:pt x="760036" y="322411"/>
                  </a:moveTo>
                  <a:cubicBezTo>
                    <a:pt x="880880" y="322411"/>
                    <a:pt x="978844" y="377021"/>
                    <a:pt x="978844" y="444386"/>
                  </a:cubicBezTo>
                  <a:cubicBezTo>
                    <a:pt x="978844" y="511751"/>
                    <a:pt x="880880" y="566361"/>
                    <a:pt x="760036" y="566361"/>
                  </a:cubicBezTo>
                  <a:cubicBezTo>
                    <a:pt x="639192" y="566361"/>
                    <a:pt x="541228" y="511751"/>
                    <a:pt x="541228" y="444386"/>
                  </a:cubicBezTo>
                  <a:cubicBezTo>
                    <a:pt x="541228" y="377021"/>
                    <a:pt x="639192" y="322411"/>
                    <a:pt x="760036" y="322411"/>
                  </a:cubicBezTo>
                  <a:close/>
                  <a:moveTo>
                    <a:pt x="0" y="209552"/>
                  </a:moveTo>
                  <a:lnTo>
                    <a:pt x="5927" y="215739"/>
                  </a:lnTo>
                  <a:cubicBezTo>
                    <a:pt x="46994" y="253762"/>
                    <a:pt x="127089" y="279574"/>
                    <a:pt x="219171" y="279574"/>
                  </a:cubicBezTo>
                  <a:cubicBezTo>
                    <a:pt x="311253" y="279574"/>
                    <a:pt x="391348" y="253762"/>
                    <a:pt x="432415" y="215739"/>
                  </a:cubicBezTo>
                  <a:lnTo>
                    <a:pt x="438342" y="209552"/>
                  </a:lnTo>
                  <a:lnTo>
                    <a:pt x="438342" y="454580"/>
                  </a:lnTo>
                  <a:lnTo>
                    <a:pt x="438342" y="454583"/>
                  </a:lnTo>
                  <a:cubicBezTo>
                    <a:pt x="438342" y="515463"/>
                    <a:pt x="340216" y="564817"/>
                    <a:pt x="219171" y="564817"/>
                  </a:cubicBezTo>
                  <a:cubicBezTo>
                    <a:pt x="98126" y="564817"/>
                    <a:pt x="0" y="515463"/>
                    <a:pt x="0" y="454583"/>
                  </a:cubicBezTo>
                  <a:lnTo>
                    <a:pt x="0" y="454582"/>
                  </a:lnTo>
                  <a:close/>
                  <a:moveTo>
                    <a:pt x="218808" y="0"/>
                  </a:moveTo>
                  <a:cubicBezTo>
                    <a:pt x="339652" y="0"/>
                    <a:pt x="437616" y="54610"/>
                    <a:pt x="437616" y="121975"/>
                  </a:cubicBezTo>
                  <a:cubicBezTo>
                    <a:pt x="437616" y="189340"/>
                    <a:pt x="339652" y="243950"/>
                    <a:pt x="218808" y="243950"/>
                  </a:cubicBezTo>
                  <a:cubicBezTo>
                    <a:pt x="97964" y="243950"/>
                    <a:pt x="0" y="189340"/>
                    <a:pt x="0" y="121975"/>
                  </a:cubicBezTo>
                  <a:cubicBezTo>
                    <a:pt x="0" y="54610"/>
                    <a:pt x="97964" y="0"/>
                    <a:pt x="218808"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8" tIns="109719" rIns="137148" bIns="109719" numCol="1" spcCol="0" rtlCol="0" fromWordArt="0" anchor="t" anchorCtr="0" forceAA="0" compatLnSpc="1">
              <a:prstTxWarp prst="textNoShape">
                <a:avLst/>
              </a:prstTxWarp>
              <a:noAutofit/>
            </a:bodyPr>
            <a:lstStyle/>
            <a:p>
              <a:pPr algn="ctr" defTabSz="699261" fontAlgn="base">
                <a:lnSpc>
                  <a:spcPct val="90000"/>
                </a:lnSpc>
                <a:spcBef>
                  <a:spcPct val="0"/>
                </a:spcBef>
                <a:spcAft>
                  <a:spcPct val="0"/>
                </a:spcAft>
              </a:pPr>
              <a:endParaRPr lang="en-US">
                <a:gradFill>
                  <a:gsLst>
                    <a:gs pos="0">
                      <a:srgbClr val="FFFFFF"/>
                    </a:gs>
                    <a:gs pos="100000">
                      <a:srgbClr val="FFFFFF"/>
                    </a:gs>
                  </a:gsLst>
                  <a:lin ang="5400000" scaled="0"/>
                </a:gradFill>
                <a:ea typeface="Segoe UI" pitchFamily="34" charset="0"/>
                <a:cs typeface="Segoe UI" pitchFamily="34" charset="0"/>
              </a:endParaRPr>
            </a:p>
          </p:txBody>
        </p:sp>
      </p:grpSp>
      <p:grpSp>
        <p:nvGrpSpPr>
          <p:cNvPr id="63" name="Group 62"/>
          <p:cNvGrpSpPr>
            <a:grpSpLocks noChangeAspect="1"/>
          </p:cNvGrpSpPr>
          <p:nvPr/>
        </p:nvGrpSpPr>
        <p:grpSpPr>
          <a:xfrm>
            <a:off x="197042" y="2842214"/>
            <a:ext cx="457200" cy="457200"/>
            <a:chOff x="719415" y="3138080"/>
            <a:chExt cx="640080" cy="640080"/>
          </a:xfrm>
        </p:grpSpPr>
        <p:pic>
          <p:nvPicPr>
            <p:cNvPr id="64" name="Picture 6" descr="\\MAGNUM\Projects\Microsoft\Cloud Power FY12\Design\ICONS_PNG\Cloud.png"/>
            <p:cNvPicPr>
              <a:picLocks noChangeAspect="1" noChangeArrowheads="1"/>
            </p:cNvPicPr>
            <p:nvPr/>
          </p:nvPicPr>
          <p:blipFill>
            <a:blip r:embed="rId3" cstate="print">
              <a:biLevel thresh="75000"/>
            </a:blip>
            <a:srcRect/>
            <a:stretch>
              <a:fillRect/>
            </a:stretch>
          </p:blipFill>
          <p:spPr bwMode="auto">
            <a:xfrm>
              <a:off x="719415" y="3138080"/>
              <a:ext cx="640080" cy="640080"/>
            </a:xfrm>
            <a:prstGeom prst="rect">
              <a:avLst/>
            </a:prstGeom>
            <a:noFill/>
          </p:spPr>
        </p:pic>
        <p:pic>
          <p:nvPicPr>
            <p:cNvPr id="68" name="Picture 67"/>
            <p:cNvPicPr>
              <a:picLocks noChangeAspect="1"/>
            </p:cNvPicPr>
            <p:nvPr/>
          </p:nvPicPr>
          <p:blipFill>
            <a:blip r:embed="rId4"/>
            <a:stretch>
              <a:fillRect/>
            </a:stretch>
          </p:blipFill>
          <p:spPr>
            <a:xfrm flipH="1">
              <a:off x="975955" y="3370303"/>
              <a:ext cx="127000" cy="175846"/>
            </a:xfrm>
            <a:prstGeom prst="rect">
              <a:avLst/>
            </a:prstGeom>
          </p:spPr>
        </p:pic>
      </p:grpSp>
      <p:sp>
        <p:nvSpPr>
          <p:cNvPr id="69" name="Freeform 122"/>
          <p:cNvSpPr>
            <a:spLocks noChangeAspect="1"/>
          </p:cNvSpPr>
          <p:nvPr/>
        </p:nvSpPr>
        <p:spPr bwMode="black">
          <a:xfrm>
            <a:off x="266989" y="4843626"/>
            <a:ext cx="317305" cy="320040"/>
          </a:xfrm>
          <a:custGeom>
            <a:avLst/>
            <a:gdLst>
              <a:gd name="T0" fmla="*/ 61 w 70"/>
              <a:gd name="T1" fmla="*/ 11 h 71"/>
              <a:gd name="T2" fmla="*/ 60 w 70"/>
              <a:gd name="T3" fmla="*/ 11 h 71"/>
              <a:gd name="T4" fmla="*/ 53 w 70"/>
              <a:gd name="T5" fmla="*/ 18 h 71"/>
              <a:gd name="T6" fmla="*/ 53 w 70"/>
              <a:gd name="T7" fmla="*/ 19 h 71"/>
              <a:gd name="T8" fmla="*/ 53 w 70"/>
              <a:gd name="T9" fmla="*/ 19 h 71"/>
              <a:gd name="T10" fmla="*/ 60 w 70"/>
              <a:gd name="T11" fmla="*/ 35 h 71"/>
              <a:gd name="T12" fmla="*/ 35 w 70"/>
              <a:gd name="T13" fmla="*/ 60 h 71"/>
              <a:gd name="T14" fmla="*/ 10 w 70"/>
              <a:gd name="T15" fmla="*/ 36 h 71"/>
              <a:gd name="T16" fmla="*/ 16 w 70"/>
              <a:gd name="T17" fmla="*/ 21 h 71"/>
              <a:gd name="T18" fmla="*/ 18 w 70"/>
              <a:gd name="T19" fmla="*/ 18 h 71"/>
              <a:gd name="T20" fmla="*/ 25 w 70"/>
              <a:gd name="T21" fmla="*/ 26 h 71"/>
              <a:gd name="T22" fmla="*/ 30 w 70"/>
              <a:gd name="T23" fmla="*/ 0 h 71"/>
              <a:gd name="T24" fmla="*/ 4 w 70"/>
              <a:gd name="T25" fmla="*/ 2 h 71"/>
              <a:gd name="T26" fmla="*/ 11 w 70"/>
              <a:gd name="T27" fmla="*/ 10 h 71"/>
              <a:gd name="T28" fmla="*/ 9 w 70"/>
              <a:gd name="T29" fmla="*/ 12 h 71"/>
              <a:gd name="T30" fmla="*/ 0 w 70"/>
              <a:gd name="T31" fmla="*/ 36 h 71"/>
              <a:gd name="T32" fmla="*/ 35 w 70"/>
              <a:gd name="T33" fmla="*/ 71 h 71"/>
              <a:gd name="T34" fmla="*/ 35 w 70"/>
              <a:gd name="T35" fmla="*/ 71 h 71"/>
              <a:gd name="T36" fmla="*/ 70 w 70"/>
              <a:gd name="T37" fmla="*/ 35 h 71"/>
              <a:gd name="T38" fmla="*/ 61 w 70"/>
              <a:gd name="T39" fmla="*/ 1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0" h="71">
                <a:moveTo>
                  <a:pt x="61" y="11"/>
                </a:moveTo>
                <a:cubicBezTo>
                  <a:pt x="60" y="11"/>
                  <a:pt x="60" y="11"/>
                  <a:pt x="60" y="11"/>
                </a:cubicBezTo>
                <a:cubicBezTo>
                  <a:pt x="53" y="18"/>
                  <a:pt x="53" y="18"/>
                  <a:pt x="53" y="18"/>
                </a:cubicBezTo>
                <a:cubicBezTo>
                  <a:pt x="53" y="19"/>
                  <a:pt x="53" y="19"/>
                  <a:pt x="53" y="19"/>
                </a:cubicBezTo>
                <a:cubicBezTo>
                  <a:pt x="53" y="19"/>
                  <a:pt x="53" y="19"/>
                  <a:pt x="53" y="19"/>
                </a:cubicBezTo>
                <a:cubicBezTo>
                  <a:pt x="57" y="23"/>
                  <a:pt x="60" y="29"/>
                  <a:pt x="60" y="35"/>
                </a:cubicBezTo>
                <a:cubicBezTo>
                  <a:pt x="60" y="49"/>
                  <a:pt x="49" y="60"/>
                  <a:pt x="35" y="60"/>
                </a:cubicBezTo>
                <a:cubicBezTo>
                  <a:pt x="22" y="60"/>
                  <a:pt x="11" y="49"/>
                  <a:pt x="10" y="36"/>
                </a:cubicBezTo>
                <a:cubicBezTo>
                  <a:pt x="10" y="30"/>
                  <a:pt x="12" y="25"/>
                  <a:pt x="16" y="21"/>
                </a:cubicBezTo>
                <a:cubicBezTo>
                  <a:pt x="18" y="18"/>
                  <a:pt x="18" y="18"/>
                  <a:pt x="18" y="18"/>
                </a:cubicBezTo>
                <a:cubicBezTo>
                  <a:pt x="25" y="26"/>
                  <a:pt x="25" y="26"/>
                  <a:pt x="25" y="26"/>
                </a:cubicBezTo>
                <a:cubicBezTo>
                  <a:pt x="30" y="0"/>
                  <a:pt x="30" y="0"/>
                  <a:pt x="30" y="0"/>
                </a:cubicBezTo>
                <a:cubicBezTo>
                  <a:pt x="4" y="2"/>
                  <a:pt x="4" y="2"/>
                  <a:pt x="4" y="2"/>
                </a:cubicBezTo>
                <a:cubicBezTo>
                  <a:pt x="11" y="10"/>
                  <a:pt x="11" y="10"/>
                  <a:pt x="11" y="10"/>
                </a:cubicBezTo>
                <a:cubicBezTo>
                  <a:pt x="9" y="12"/>
                  <a:pt x="9" y="12"/>
                  <a:pt x="9" y="12"/>
                </a:cubicBezTo>
                <a:cubicBezTo>
                  <a:pt x="3" y="19"/>
                  <a:pt x="0" y="27"/>
                  <a:pt x="0" y="36"/>
                </a:cubicBezTo>
                <a:cubicBezTo>
                  <a:pt x="0" y="55"/>
                  <a:pt x="16" y="71"/>
                  <a:pt x="35" y="71"/>
                </a:cubicBezTo>
                <a:cubicBezTo>
                  <a:pt x="35" y="71"/>
                  <a:pt x="35" y="71"/>
                  <a:pt x="35" y="71"/>
                </a:cubicBezTo>
                <a:cubicBezTo>
                  <a:pt x="55" y="71"/>
                  <a:pt x="70" y="55"/>
                  <a:pt x="70" y="35"/>
                </a:cubicBezTo>
                <a:cubicBezTo>
                  <a:pt x="70" y="26"/>
                  <a:pt x="67" y="18"/>
                  <a:pt x="61" y="11"/>
                </a:cubicBezTo>
              </a:path>
            </a:pathLst>
          </a:custGeom>
          <a:solidFill>
            <a:schemeClr val="tx1"/>
          </a:solidFill>
          <a:ln>
            <a:noFill/>
          </a:ln>
        </p:spPr>
        <p:txBody>
          <a:bodyPr vert="horz" wrap="square" lIns="69953" tIns="34976" rIns="69953" bIns="34976" numCol="1" anchor="t" anchorCtr="0" compatLnSpc="1">
            <a:prstTxWarp prst="textNoShape">
              <a:avLst/>
            </a:prstTxWarp>
          </a:bodyPr>
          <a:lstStyle/>
          <a:p>
            <a:endParaRPr lang="en-US" sz="1350">
              <a:solidFill>
                <a:srgbClr val="000000"/>
              </a:solidFill>
            </a:endParaRPr>
          </a:p>
        </p:txBody>
      </p:sp>
      <p:sp>
        <p:nvSpPr>
          <p:cNvPr id="70" name="Freeform 21"/>
          <p:cNvSpPr>
            <a:spLocks noChangeAspect="1" noEditPoints="1"/>
          </p:cNvSpPr>
          <p:nvPr/>
        </p:nvSpPr>
        <p:spPr bwMode="black">
          <a:xfrm>
            <a:off x="242762" y="3875709"/>
            <a:ext cx="365760" cy="318790"/>
          </a:xfrm>
          <a:custGeom>
            <a:avLst/>
            <a:gdLst>
              <a:gd name="T0" fmla="*/ 1220 w 1220"/>
              <a:gd name="T1" fmla="*/ 204 h 1063"/>
              <a:gd name="T2" fmla="*/ 1096 w 1220"/>
              <a:gd name="T3" fmla="*/ 79 h 1063"/>
              <a:gd name="T4" fmla="*/ 978 w 1220"/>
              <a:gd name="T5" fmla="*/ 164 h 1063"/>
              <a:gd name="T6" fmla="*/ 589 w 1220"/>
              <a:gd name="T7" fmla="*/ 115 h 1063"/>
              <a:gd name="T8" fmla="*/ 465 w 1220"/>
              <a:gd name="T9" fmla="*/ 0 h 1063"/>
              <a:gd name="T10" fmla="*/ 340 w 1220"/>
              <a:gd name="T11" fmla="*/ 124 h 1063"/>
              <a:gd name="T12" fmla="*/ 370 w 1220"/>
              <a:gd name="T13" fmla="*/ 205 h 1063"/>
              <a:gd name="T14" fmla="*/ 180 w 1220"/>
              <a:gd name="T15" fmla="*/ 453 h 1063"/>
              <a:gd name="T16" fmla="*/ 125 w 1220"/>
              <a:gd name="T17" fmla="*/ 440 h 1063"/>
              <a:gd name="T18" fmla="*/ 0 w 1220"/>
              <a:gd name="T19" fmla="*/ 564 h 1063"/>
              <a:gd name="T20" fmla="*/ 125 w 1220"/>
              <a:gd name="T21" fmla="*/ 689 h 1063"/>
              <a:gd name="T22" fmla="*/ 197 w 1220"/>
              <a:gd name="T23" fmla="*/ 666 h 1063"/>
              <a:gd name="T24" fmla="*/ 416 w 1220"/>
              <a:gd name="T25" fmla="*/ 872 h 1063"/>
              <a:gd name="T26" fmla="*/ 397 w 1220"/>
              <a:gd name="T27" fmla="*/ 938 h 1063"/>
              <a:gd name="T28" fmla="*/ 521 w 1220"/>
              <a:gd name="T29" fmla="*/ 1063 h 1063"/>
              <a:gd name="T30" fmla="*/ 646 w 1220"/>
              <a:gd name="T31" fmla="*/ 938 h 1063"/>
              <a:gd name="T32" fmla="*/ 642 w 1220"/>
              <a:gd name="T33" fmla="*/ 908 h 1063"/>
              <a:gd name="T34" fmla="*/ 948 w 1220"/>
              <a:gd name="T35" fmla="*/ 763 h 1063"/>
              <a:gd name="T36" fmla="*/ 1048 w 1220"/>
              <a:gd name="T37" fmla="*/ 814 h 1063"/>
              <a:gd name="T38" fmla="*/ 1173 w 1220"/>
              <a:gd name="T39" fmla="*/ 689 h 1063"/>
              <a:gd name="T40" fmla="*/ 1084 w 1220"/>
              <a:gd name="T41" fmla="*/ 570 h 1063"/>
              <a:gd name="T42" fmla="*/ 1108 w 1220"/>
              <a:gd name="T43" fmla="*/ 327 h 1063"/>
              <a:gd name="T44" fmla="*/ 1220 w 1220"/>
              <a:gd name="T45" fmla="*/ 204 h 1063"/>
              <a:gd name="T46" fmla="*/ 521 w 1220"/>
              <a:gd name="T47" fmla="*/ 594 h 1063"/>
              <a:gd name="T48" fmla="*/ 493 w 1220"/>
              <a:gd name="T49" fmla="*/ 245 h 1063"/>
              <a:gd name="T50" fmla="*/ 535 w 1220"/>
              <a:gd name="T51" fmla="*/ 226 h 1063"/>
              <a:gd name="T52" fmla="*/ 944 w 1220"/>
              <a:gd name="T53" fmla="*/ 621 h 1063"/>
              <a:gd name="T54" fmla="*/ 930 w 1220"/>
              <a:gd name="T55" fmla="*/ 649 h 1063"/>
              <a:gd name="T56" fmla="*/ 521 w 1220"/>
              <a:gd name="T57" fmla="*/ 594 h 1063"/>
              <a:gd name="T58" fmla="*/ 490 w 1220"/>
              <a:gd name="T59" fmla="*/ 818 h 1063"/>
              <a:gd name="T60" fmla="*/ 449 w 1220"/>
              <a:gd name="T61" fmla="*/ 837 h 1063"/>
              <a:gd name="T62" fmla="*/ 230 w 1220"/>
              <a:gd name="T63" fmla="*/ 631 h 1063"/>
              <a:gd name="T64" fmla="*/ 242 w 1220"/>
              <a:gd name="T65" fmla="*/ 605 h 1063"/>
              <a:gd name="T66" fmla="*/ 476 w 1220"/>
              <a:gd name="T67" fmla="*/ 636 h 1063"/>
              <a:gd name="T68" fmla="*/ 490 w 1220"/>
              <a:gd name="T69" fmla="*/ 818 h 1063"/>
              <a:gd name="T70" fmla="*/ 249 w 1220"/>
              <a:gd name="T71" fmla="*/ 558 h 1063"/>
              <a:gd name="T72" fmla="*/ 218 w 1220"/>
              <a:gd name="T73" fmla="*/ 482 h 1063"/>
              <a:gd name="T74" fmla="*/ 408 w 1220"/>
              <a:gd name="T75" fmla="*/ 235 h 1063"/>
              <a:gd name="T76" fmla="*/ 445 w 1220"/>
              <a:gd name="T77" fmla="*/ 247 h 1063"/>
              <a:gd name="T78" fmla="*/ 472 w 1220"/>
              <a:gd name="T79" fmla="*/ 587 h 1063"/>
              <a:gd name="T80" fmla="*/ 249 w 1220"/>
              <a:gd name="T81" fmla="*/ 558 h 1063"/>
              <a:gd name="T82" fmla="*/ 977 w 1220"/>
              <a:gd name="T83" fmla="*/ 587 h 1063"/>
              <a:gd name="T84" fmla="*/ 569 w 1220"/>
              <a:gd name="T85" fmla="*/ 192 h 1063"/>
              <a:gd name="T86" fmla="*/ 583 w 1220"/>
              <a:gd name="T87" fmla="*/ 163 h 1063"/>
              <a:gd name="T88" fmla="*/ 972 w 1220"/>
              <a:gd name="T89" fmla="*/ 212 h 1063"/>
              <a:gd name="T90" fmla="*/ 1060 w 1220"/>
              <a:gd name="T91" fmla="*/ 323 h 1063"/>
              <a:gd name="T92" fmla="*/ 1036 w 1220"/>
              <a:gd name="T93" fmla="*/ 566 h 1063"/>
              <a:gd name="T94" fmla="*/ 977 w 1220"/>
              <a:gd name="T95" fmla="*/ 587 h 1063"/>
              <a:gd name="T96" fmla="*/ 621 w 1220"/>
              <a:gd name="T97" fmla="*/ 864 h 1063"/>
              <a:gd name="T98" fmla="*/ 538 w 1220"/>
              <a:gd name="T99" fmla="*/ 815 h 1063"/>
              <a:gd name="T100" fmla="*/ 524 w 1220"/>
              <a:gd name="T101" fmla="*/ 643 h 1063"/>
              <a:gd name="T102" fmla="*/ 924 w 1220"/>
              <a:gd name="T103" fmla="*/ 696 h 1063"/>
              <a:gd name="T104" fmla="*/ 927 w 1220"/>
              <a:gd name="T105" fmla="*/ 720 h 1063"/>
              <a:gd name="T106" fmla="*/ 621 w 1220"/>
              <a:gd name="T107" fmla="*/ 864 h 10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220" h="1063">
                <a:moveTo>
                  <a:pt x="1220" y="204"/>
                </a:moveTo>
                <a:cubicBezTo>
                  <a:pt x="1220" y="135"/>
                  <a:pt x="1164" y="79"/>
                  <a:pt x="1096" y="79"/>
                </a:cubicBezTo>
                <a:cubicBezTo>
                  <a:pt x="1041" y="79"/>
                  <a:pt x="994" y="115"/>
                  <a:pt x="978" y="164"/>
                </a:cubicBezTo>
                <a:cubicBezTo>
                  <a:pt x="589" y="115"/>
                  <a:pt x="589" y="115"/>
                  <a:pt x="589" y="115"/>
                </a:cubicBezTo>
                <a:cubicBezTo>
                  <a:pt x="584" y="51"/>
                  <a:pt x="530" y="0"/>
                  <a:pt x="465" y="0"/>
                </a:cubicBezTo>
                <a:cubicBezTo>
                  <a:pt x="396" y="0"/>
                  <a:pt x="340" y="55"/>
                  <a:pt x="340" y="124"/>
                </a:cubicBezTo>
                <a:cubicBezTo>
                  <a:pt x="340" y="155"/>
                  <a:pt x="352" y="183"/>
                  <a:pt x="370" y="205"/>
                </a:cubicBezTo>
                <a:cubicBezTo>
                  <a:pt x="180" y="453"/>
                  <a:pt x="180" y="453"/>
                  <a:pt x="180" y="453"/>
                </a:cubicBezTo>
                <a:cubicBezTo>
                  <a:pt x="163" y="445"/>
                  <a:pt x="145" y="440"/>
                  <a:pt x="125" y="440"/>
                </a:cubicBezTo>
                <a:cubicBezTo>
                  <a:pt x="56" y="440"/>
                  <a:pt x="0" y="496"/>
                  <a:pt x="0" y="564"/>
                </a:cubicBezTo>
                <a:cubicBezTo>
                  <a:pt x="0" y="633"/>
                  <a:pt x="56" y="689"/>
                  <a:pt x="125" y="689"/>
                </a:cubicBezTo>
                <a:cubicBezTo>
                  <a:pt x="152" y="689"/>
                  <a:pt x="177" y="680"/>
                  <a:pt x="197" y="666"/>
                </a:cubicBezTo>
                <a:cubicBezTo>
                  <a:pt x="416" y="872"/>
                  <a:pt x="416" y="872"/>
                  <a:pt x="416" y="872"/>
                </a:cubicBezTo>
                <a:cubicBezTo>
                  <a:pt x="404" y="891"/>
                  <a:pt x="397" y="914"/>
                  <a:pt x="397" y="938"/>
                </a:cubicBezTo>
                <a:cubicBezTo>
                  <a:pt x="397" y="1007"/>
                  <a:pt x="453" y="1063"/>
                  <a:pt x="521" y="1063"/>
                </a:cubicBezTo>
                <a:cubicBezTo>
                  <a:pt x="590" y="1063"/>
                  <a:pt x="646" y="1007"/>
                  <a:pt x="646" y="938"/>
                </a:cubicBezTo>
                <a:cubicBezTo>
                  <a:pt x="646" y="928"/>
                  <a:pt x="644" y="918"/>
                  <a:pt x="642" y="908"/>
                </a:cubicBezTo>
                <a:cubicBezTo>
                  <a:pt x="948" y="763"/>
                  <a:pt x="948" y="763"/>
                  <a:pt x="948" y="763"/>
                </a:cubicBezTo>
                <a:cubicBezTo>
                  <a:pt x="970" y="794"/>
                  <a:pt x="1007" y="814"/>
                  <a:pt x="1048" y="814"/>
                </a:cubicBezTo>
                <a:cubicBezTo>
                  <a:pt x="1117" y="814"/>
                  <a:pt x="1173" y="758"/>
                  <a:pt x="1173" y="689"/>
                </a:cubicBezTo>
                <a:cubicBezTo>
                  <a:pt x="1173" y="633"/>
                  <a:pt x="1135" y="586"/>
                  <a:pt x="1084" y="570"/>
                </a:cubicBezTo>
                <a:cubicBezTo>
                  <a:pt x="1108" y="327"/>
                  <a:pt x="1108" y="327"/>
                  <a:pt x="1108" y="327"/>
                </a:cubicBezTo>
                <a:cubicBezTo>
                  <a:pt x="1171" y="321"/>
                  <a:pt x="1220" y="268"/>
                  <a:pt x="1220" y="204"/>
                </a:cubicBezTo>
                <a:close/>
                <a:moveTo>
                  <a:pt x="521" y="594"/>
                </a:moveTo>
                <a:cubicBezTo>
                  <a:pt x="493" y="245"/>
                  <a:pt x="493" y="245"/>
                  <a:pt x="493" y="245"/>
                </a:cubicBezTo>
                <a:cubicBezTo>
                  <a:pt x="509" y="241"/>
                  <a:pt x="523" y="235"/>
                  <a:pt x="535" y="226"/>
                </a:cubicBezTo>
                <a:cubicBezTo>
                  <a:pt x="944" y="621"/>
                  <a:pt x="944" y="621"/>
                  <a:pt x="944" y="621"/>
                </a:cubicBezTo>
                <a:cubicBezTo>
                  <a:pt x="938" y="630"/>
                  <a:pt x="934" y="639"/>
                  <a:pt x="930" y="649"/>
                </a:cubicBezTo>
                <a:lnTo>
                  <a:pt x="521" y="594"/>
                </a:lnTo>
                <a:close/>
                <a:moveTo>
                  <a:pt x="490" y="818"/>
                </a:moveTo>
                <a:cubicBezTo>
                  <a:pt x="475" y="822"/>
                  <a:pt x="461" y="828"/>
                  <a:pt x="449" y="837"/>
                </a:cubicBezTo>
                <a:cubicBezTo>
                  <a:pt x="230" y="631"/>
                  <a:pt x="230" y="631"/>
                  <a:pt x="230" y="631"/>
                </a:cubicBezTo>
                <a:cubicBezTo>
                  <a:pt x="235" y="623"/>
                  <a:pt x="239" y="614"/>
                  <a:pt x="242" y="605"/>
                </a:cubicBezTo>
                <a:cubicBezTo>
                  <a:pt x="476" y="636"/>
                  <a:pt x="476" y="636"/>
                  <a:pt x="476" y="636"/>
                </a:cubicBezTo>
                <a:lnTo>
                  <a:pt x="490" y="818"/>
                </a:lnTo>
                <a:close/>
                <a:moveTo>
                  <a:pt x="249" y="558"/>
                </a:moveTo>
                <a:cubicBezTo>
                  <a:pt x="247" y="529"/>
                  <a:pt x="236" y="502"/>
                  <a:pt x="218" y="482"/>
                </a:cubicBezTo>
                <a:cubicBezTo>
                  <a:pt x="408" y="235"/>
                  <a:pt x="408" y="235"/>
                  <a:pt x="408" y="235"/>
                </a:cubicBezTo>
                <a:cubicBezTo>
                  <a:pt x="420" y="241"/>
                  <a:pt x="432" y="245"/>
                  <a:pt x="445" y="247"/>
                </a:cubicBezTo>
                <a:cubicBezTo>
                  <a:pt x="472" y="587"/>
                  <a:pt x="472" y="587"/>
                  <a:pt x="472" y="587"/>
                </a:cubicBezTo>
                <a:lnTo>
                  <a:pt x="249" y="558"/>
                </a:lnTo>
                <a:close/>
                <a:moveTo>
                  <a:pt x="977" y="587"/>
                </a:moveTo>
                <a:cubicBezTo>
                  <a:pt x="569" y="192"/>
                  <a:pt x="569" y="192"/>
                  <a:pt x="569" y="192"/>
                </a:cubicBezTo>
                <a:cubicBezTo>
                  <a:pt x="575" y="183"/>
                  <a:pt x="579" y="173"/>
                  <a:pt x="583" y="163"/>
                </a:cubicBezTo>
                <a:cubicBezTo>
                  <a:pt x="972" y="212"/>
                  <a:pt x="972" y="212"/>
                  <a:pt x="972" y="212"/>
                </a:cubicBezTo>
                <a:cubicBezTo>
                  <a:pt x="975" y="265"/>
                  <a:pt x="1011" y="308"/>
                  <a:pt x="1060" y="323"/>
                </a:cubicBezTo>
                <a:cubicBezTo>
                  <a:pt x="1036" y="566"/>
                  <a:pt x="1036" y="566"/>
                  <a:pt x="1036" y="566"/>
                </a:cubicBezTo>
                <a:cubicBezTo>
                  <a:pt x="1015" y="568"/>
                  <a:pt x="994" y="575"/>
                  <a:pt x="977" y="587"/>
                </a:cubicBezTo>
                <a:close/>
                <a:moveTo>
                  <a:pt x="621" y="864"/>
                </a:moveTo>
                <a:cubicBezTo>
                  <a:pt x="602" y="838"/>
                  <a:pt x="572" y="819"/>
                  <a:pt x="538" y="815"/>
                </a:cubicBezTo>
                <a:cubicBezTo>
                  <a:pt x="524" y="643"/>
                  <a:pt x="524" y="643"/>
                  <a:pt x="524" y="643"/>
                </a:cubicBezTo>
                <a:cubicBezTo>
                  <a:pt x="924" y="696"/>
                  <a:pt x="924" y="696"/>
                  <a:pt x="924" y="696"/>
                </a:cubicBezTo>
                <a:cubicBezTo>
                  <a:pt x="924" y="704"/>
                  <a:pt x="925" y="712"/>
                  <a:pt x="927" y="720"/>
                </a:cubicBezTo>
                <a:lnTo>
                  <a:pt x="621" y="864"/>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1177" tIns="56942" rIns="71177" bIns="56942" numCol="1" spcCol="0" rtlCol="0" fromWordArt="0" anchor="t" anchorCtr="0" forceAA="0" compatLnSpc="1">
            <a:prstTxWarp prst="textNoShape">
              <a:avLst/>
            </a:prstTxWarp>
            <a:noAutofit/>
          </a:bodyPr>
          <a:lstStyle/>
          <a:p>
            <a:pPr algn="ctr" defTabSz="362895" fontAlgn="base">
              <a:lnSpc>
                <a:spcPct val="90000"/>
              </a:lnSpc>
              <a:spcBef>
                <a:spcPct val="0"/>
              </a:spcBef>
              <a:spcAft>
                <a:spcPct val="0"/>
              </a:spcAft>
            </a:pPr>
            <a:endParaRPr lang="en-US" sz="934">
              <a:gradFill>
                <a:gsLst>
                  <a:gs pos="0">
                    <a:srgbClr val="FFFFFF"/>
                  </a:gs>
                  <a:gs pos="100000">
                    <a:srgbClr val="FFFFFF"/>
                  </a:gs>
                </a:gsLst>
                <a:lin ang="5400000" scaled="0"/>
              </a:gradFill>
              <a:ea typeface="Segoe UI" pitchFamily="34" charset="0"/>
              <a:cs typeface="Segoe UI" pitchFamily="34" charset="0"/>
            </a:endParaRPr>
          </a:p>
        </p:txBody>
      </p:sp>
      <p:sp>
        <p:nvSpPr>
          <p:cNvPr id="71" name="Freeform 70"/>
          <p:cNvSpPr>
            <a:spLocks noChangeAspect="1"/>
          </p:cNvSpPr>
          <p:nvPr/>
        </p:nvSpPr>
        <p:spPr bwMode="black">
          <a:xfrm>
            <a:off x="242762" y="5803220"/>
            <a:ext cx="365760" cy="320928"/>
          </a:xfrm>
          <a:custGeom>
            <a:avLst/>
            <a:gdLst/>
            <a:ahLst/>
            <a:cxnLst/>
            <a:rect l="l" t="t" r="r" b="b"/>
            <a:pathLst>
              <a:path w="4740335" h="4048081">
                <a:moveTo>
                  <a:pt x="3683614" y="1098549"/>
                </a:moveTo>
                <a:cubicBezTo>
                  <a:pt x="3683654" y="1098549"/>
                  <a:pt x="3689354" y="1098549"/>
                  <a:pt x="4502870" y="1098549"/>
                </a:cubicBezTo>
                <a:cubicBezTo>
                  <a:pt x="4633477" y="1098549"/>
                  <a:pt x="4740335" y="1205183"/>
                  <a:pt x="4740335" y="1335514"/>
                </a:cubicBezTo>
                <a:cubicBezTo>
                  <a:pt x="4740335" y="1335569"/>
                  <a:pt x="4740335" y="1343335"/>
                  <a:pt x="4740335" y="2449249"/>
                </a:cubicBezTo>
                <a:cubicBezTo>
                  <a:pt x="4740335" y="2579580"/>
                  <a:pt x="4633477" y="2686214"/>
                  <a:pt x="4502870" y="2686214"/>
                </a:cubicBezTo>
                <a:cubicBezTo>
                  <a:pt x="4502870" y="2686253"/>
                  <a:pt x="4502870" y="2691777"/>
                  <a:pt x="4502870" y="3480046"/>
                </a:cubicBezTo>
                <a:cubicBezTo>
                  <a:pt x="4502870" y="3610377"/>
                  <a:pt x="4396011" y="3717011"/>
                  <a:pt x="4265405" y="3717011"/>
                </a:cubicBezTo>
                <a:cubicBezTo>
                  <a:pt x="4265376" y="3717011"/>
                  <a:pt x="4262133" y="3717011"/>
                  <a:pt x="3909206" y="3717011"/>
                </a:cubicBezTo>
                <a:cubicBezTo>
                  <a:pt x="3790473" y="3717011"/>
                  <a:pt x="3683614" y="3610377"/>
                  <a:pt x="3683614" y="3480046"/>
                </a:cubicBezTo>
                <a:cubicBezTo>
                  <a:pt x="3683614" y="3480010"/>
                  <a:pt x="3683614" y="3474701"/>
                  <a:pt x="3683614" y="2686214"/>
                </a:cubicBezTo>
                <a:cubicBezTo>
                  <a:pt x="3553008" y="2686214"/>
                  <a:pt x="3446148" y="2579580"/>
                  <a:pt x="3446148" y="2449249"/>
                </a:cubicBezTo>
                <a:cubicBezTo>
                  <a:pt x="3446148" y="2449192"/>
                  <a:pt x="3446148" y="2441288"/>
                  <a:pt x="3446148" y="1335514"/>
                </a:cubicBezTo>
                <a:cubicBezTo>
                  <a:pt x="3446148" y="1205183"/>
                  <a:pt x="3553008" y="1098549"/>
                  <a:pt x="3683614" y="1098549"/>
                </a:cubicBezTo>
                <a:close/>
                <a:moveTo>
                  <a:pt x="236546" y="1098549"/>
                </a:moveTo>
                <a:cubicBezTo>
                  <a:pt x="236570" y="1098549"/>
                  <a:pt x="240947" y="1098549"/>
                  <a:pt x="1052628" y="1098549"/>
                </a:cubicBezTo>
                <a:cubicBezTo>
                  <a:pt x="1182728" y="1098549"/>
                  <a:pt x="1289174" y="1205183"/>
                  <a:pt x="1289174" y="1335514"/>
                </a:cubicBezTo>
                <a:cubicBezTo>
                  <a:pt x="1289174" y="1335532"/>
                  <a:pt x="1289174" y="1340039"/>
                  <a:pt x="1289174" y="2449249"/>
                </a:cubicBezTo>
                <a:cubicBezTo>
                  <a:pt x="1289174" y="2579580"/>
                  <a:pt x="1182728" y="2686214"/>
                  <a:pt x="1052628" y="2686214"/>
                </a:cubicBezTo>
                <a:cubicBezTo>
                  <a:pt x="1052628" y="2686235"/>
                  <a:pt x="1052628" y="2690268"/>
                  <a:pt x="1052628" y="3480046"/>
                </a:cubicBezTo>
                <a:cubicBezTo>
                  <a:pt x="1052628" y="3610377"/>
                  <a:pt x="946183" y="3717011"/>
                  <a:pt x="827910" y="3717011"/>
                </a:cubicBezTo>
                <a:cubicBezTo>
                  <a:pt x="827894" y="3717011"/>
                  <a:pt x="825508" y="3717011"/>
                  <a:pt x="473091" y="3717011"/>
                </a:cubicBezTo>
                <a:cubicBezTo>
                  <a:pt x="342991" y="3717011"/>
                  <a:pt x="236546" y="3610377"/>
                  <a:pt x="236546" y="3480046"/>
                </a:cubicBezTo>
                <a:cubicBezTo>
                  <a:pt x="236546" y="3480026"/>
                  <a:pt x="236546" y="3476021"/>
                  <a:pt x="236546" y="2686214"/>
                </a:cubicBezTo>
                <a:cubicBezTo>
                  <a:pt x="106446" y="2686214"/>
                  <a:pt x="0" y="2579580"/>
                  <a:pt x="0" y="2449249"/>
                </a:cubicBezTo>
                <a:cubicBezTo>
                  <a:pt x="0" y="2449230"/>
                  <a:pt x="0" y="2444630"/>
                  <a:pt x="0" y="1335514"/>
                </a:cubicBezTo>
                <a:cubicBezTo>
                  <a:pt x="0" y="1205183"/>
                  <a:pt x="106446" y="1098549"/>
                  <a:pt x="236546" y="1098549"/>
                </a:cubicBezTo>
                <a:close/>
                <a:moveTo>
                  <a:pt x="1895194" y="993211"/>
                </a:moveTo>
                <a:cubicBezTo>
                  <a:pt x="1895245" y="993211"/>
                  <a:pt x="1902161" y="993211"/>
                  <a:pt x="2845141" y="993211"/>
                </a:cubicBezTo>
                <a:cubicBezTo>
                  <a:pt x="2999507" y="993211"/>
                  <a:pt x="3130125" y="1123457"/>
                  <a:pt x="3130125" y="1277385"/>
                </a:cubicBezTo>
                <a:cubicBezTo>
                  <a:pt x="3130125" y="1277420"/>
                  <a:pt x="3130125" y="1284134"/>
                  <a:pt x="3130125" y="2568008"/>
                </a:cubicBezTo>
                <a:cubicBezTo>
                  <a:pt x="3130125" y="2721936"/>
                  <a:pt x="2999507" y="2852182"/>
                  <a:pt x="2845141" y="2852182"/>
                </a:cubicBezTo>
                <a:cubicBezTo>
                  <a:pt x="2845141" y="2852231"/>
                  <a:pt x="2845141" y="2858826"/>
                  <a:pt x="2845141" y="3763907"/>
                </a:cubicBezTo>
                <a:cubicBezTo>
                  <a:pt x="2845141" y="3917835"/>
                  <a:pt x="2726398" y="4048081"/>
                  <a:pt x="2572031" y="4048081"/>
                </a:cubicBezTo>
                <a:cubicBezTo>
                  <a:pt x="2571992" y="4048081"/>
                  <a:pt x="2568051" y="4048081"/>
                  <a:pt x="2168304" y="4048081"/>
                </a:cubicBezTo>
                <a:cubicBezTo>
                  <a:pt x="2013937" y="4048081"/>
                  <a:pt x="1895194" y="3917835"/>
                  <a:pt x="1895194" y="3763907"/>
                </a:cubicBezTo>
                <a:cubicBezTo>
                  <a:pt x="1895194" y="3763858"/>
                  <a:pt x="1895194" y="3757193"/>
                  <a:pt x="1895194" y="2852182"/>
                </a:cubicBezTo>
                <a:cubicBezTo>
                  <a:pt x="1740828" y="2852182"/>
                  <a:pt x="1610210" y="2721936"/>
                  <a:pt x="1610210" y="2568008"/>
                </a:cubicBezTo>
                <a:cubicBezTo>
                  <a:pt x="1610210" y="2567966"/>
                  <a:pt x="1610210" y="2560581"/>
                  <a:pt x="1610210" y="1277385"/>
                </a:cubicBezTo>
                <a:cubicBezTo>
                  <a:pt x="1610210" y="1123457"/>
                  <a:pt x="1740828" y="993211"/>
                  <a:pt x="1895194" y="993211"/>
                </a:cubicBezTo>
                <a:close/>
                <a:moveTo>
                  <a:pt x="4093246" y="245790"/>
                </a:moveTo>
                <a:cubicBezTo>
                  <a:pt x="4306565" y="245790"/>
                  <a:pt x="4479495" y="420965"/>
                  <a:pt x="4479495" y="637055"/>
                </a:cubicBezTo>
                <a:cubicBezTo>
                  <a:pt x="4479495" y="853145"/>
                  <a:pt x="4306565" y="1028320"/>
                  <a:pt x="4093246" y="1028320"/>
                </a:cubicBezTo>
                <a:cubicBezTo>
                  <a:pt x="3879927" y="1028320"/>
                  <a:pt x="3706997" y="853145"/>
                  <a:pt x="3706997" y="637055"/>
                </a:cubicBezTo>
                <a:cubicBezTo>
                  <a:pt x="3706997" y="420965"/>
                  <a:pt x="3879927" y="245790"/>
                  <a:pt x="4093246" y="245790"/>
                </a:cubicBezTo>
                <a:close/>
                <a:moveTo>
                  <a:pt x="644584" y="245790"/>
                </a:moveTo>
                <a:cubicBezTo>
                  <a:pt x="856519" y="245790"/>
                  <a:pt x="1028326" y="420965"/>
                  <a:pt x="1028326" y="637055"/>
                </a:cubicBezTo>
                <a:cubicBezTo>
                  <a:pt x="1028326" y="853145"/>
                  <a:pt x="856519" y="1028320"/>
                  <a:pt x="644584" y="1028320"/>
                </a:cubicBezTo>
                <a:cubicBezTo>
                  <a:pt x="432649" y="1028320"/>
                  <a:pt x="260842" y="853145"/>
                  <a:pt x="260842" y="637055"/>
                </a:cubicBezTo>
                <a:cubicBezTo>
                  <a:pt x="260842" y="420965"/>
                  <a:pt x="432649" y="245790"/>
                  <a:pt x="644584" y="245790"/>
                </a:cubicBezTo>
                <a:close/>
                <a:moveTo>
                  <a:pt x="2367657" y="0"/>
                </a:moveTo>
                <a:cubicBezTo>
                  <a:pt x="2616992" y="0"/>
                  <a:pt x="2819118" y="203249"/>
                  <a:pt x="2819118" y="453969"/>
                </a:cubicBezTo>
                <a:cubicBezTo>
                  <a:pt x="2819118" y="704689"/>
                  <a:pt x="2616992" y="907938"/>
                  <a:pt x="2367657" y="907938"/>
                </a:cubicBezTo>
                <a:cubicBezTo>
                  <a:pt x="2118322" y="907938"/>
                  <a:pt x="1916196" y="704689"/>
                  <a:pt x="1916196" y="453969"/>
                </a:cubicBezTo>
                <a:cubicBezTo>
                  <a:pt x="1916196" y="203249"/>
                  <a:pt x="2118322" y="0"/>
                  <a:pt x="2367657"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37148" tIns="109719" rIns="137148" bIns="109719"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699261" fontAlgn="base">
              <a:lnSpc>
                <a:spcPct val="90000"/>
              </a:lnSpc>
              <a:spcBef>
                <a:spcPct val="0"/>
              </a:spcBef>
              <a:spcAft>
                <a:spcPct val="0"/>
              </a:spcAft>
            </a:pPr>
            <a:endParaRPr lang="en-US">
              <a:gradFill>
                <a:gsLst>
                  <a:gs pos="0">
                    <a:srgbClr val="FFFFFF"/>
                  </a:gs>
                  <a:gs pos="100000">
                    <a:srgbClr val="FFFFFF"/>
                  </a:gs>
                </a:gsLst>
                <a:lin ang="5400000" scaled="0"/>
              </a:gradFill>
              <a:ea typeface="Segoe UI" pitchFamily="34" charset="0"/>
              <a:cs typeface="Segoe UI" pitchFamily="34" charset="0"/>
            </a:endParaRPr>
          </a:p>
        </p:txBody>
      </p:sp>
      <p:sp>
        <p:nvSpPr>
          <p:cNvPr id="73" name="Rectangle 72"/>
          <p:cNvSpPr/>
          <p:nvPr/>
        </p:nvSpPr>
        <p:spPr bwMode="auto">
          <a:xfrm>
            <a:off x="-1464" y="2637201"/>
            <a:ext cx="2816907" cy="4220799"/>
          </a:xfrm>
          <a:prstGeom prst="rect">
            <a:avLst/>
          </a:prstGeom>
          <a:solidFill>
            <a:schemeClr val="tx1">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74" name="Rectangle 73"/>
          <p:cNvSpPr/>
          <p:nvPr/>
        </p:nvSpPr>
        <p:spPr bwMode="auto">
          <a:xfrm>
            <a:off x="0" y="657643"/>
            <a:ext cx="2787733" cy="874445"/>
          </a:xfrm>
          <a:prstGeom prst="rect">
            <a:avLst/>
          </a:prstGeom>
          <a:solidFill>
            <a:schemeClr val="tx1">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pic>
        <p:nvPicPr>
          <p:cNvPr id="2" name="Picture 1"/>
          <p:cNvPicPr>
            <a:picLocks noChangeAspect="1"/>
          </p:cNvPicPr>
          <p:nvPr/>
        </p:nvPicPr>
        <p:blipFill>
          <a:blip r:embed="rId5"/>
          <a:stretch>
            <a:fillRect/>
          </a:stretch>
        </p:blipFill>
        <p:spPr>
          <a:xfrm>
            <a:off x="8306041" y="2405174"/>
            <a:ext cx="3657600" cy="2047652"/>
          </a:xfrm>
          <a:prstGeom prst="rect">
            <a:avLst/>
          </a:prstGeom>
          <a:ln>
            <a:solidFill>
              <a:schemeClr val="tx2">
                <a:lumMod val="20000"/>
                <a:lumOff val="80000"/>
              </a:schemeClr>
            </a:solidFill>
          </a:ln>
        </p:spPr>
      </p:pic>
    </p:spTree>
    <p:extLst>
      <p:ext uri="{BB962C8B-B14F-4D97-AF65-F5344CB8AC3E}">
        <p14:creationId xmlns:p14="http://schemas.microsoft.com/office/powerpoint/2010/main" val="15572626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solidFill>
            <a:schemeClr val="bg1"/>
          </a:solidFill>
        </p:spPr>
        <p:txBody>
          <a:bodyPr/>
          <a:lstStyle/>
          <a:p>
            <a:r>
              <a:rPr lang="pt-PT">
                <a:solidFill>
                  <a:schemeClr val="tx1"/>
                </a:solidFill>
              </a:rPr>
              <a:t> Visualisations – Custom Visualisations</a:t>
            </a:r>
            <a:endParaRPr lang="en-US" sz="3600">
              <a:solidFill>
                <a:schemeClr val="tx1"/>
              </a:solidFill>
            </a:endParaRPr>
          </a:p>
        </p:txBody>
      </p:sp>
      <p:grpSp>
        <p:nvGrpSpPr>
          <p:cNvPr id="52" name="Group 51"/>
          <p:cNvGrpSpPr/>
          <p:nvPr/>
        </p:nvGrpSpPr>
        <p:grpSpPr>
          <a:xfrm>
            <a:off x="2" y="1"/>
            <a:ext cx="2849058" cy="6858000"/>
            <a:chOff x="2" y="1"/>
            <a:chExt cx="2849058" cy="6858000"/>
          </a:xfrm>
        </p:grpSpPr>
        <p:sp>
          <p:nvSpPr>
            <p:cNvPr id="71" name="Rectangle 70"/>
            <p:cNvSpPr/>
            <p:nvPr/>
          </p:nvSpPr>
          <p:spPr bwMode="auto">
            <a:xfrm>
              <a:off x="2" y="1"/>
              <a:ext cx="2849058"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3" name="Oval 70"/>
            <p:cNvSpPr/>
            <p:nvPr/>
          </p:nvSpPr>
          <p:spPr>
            <a:xfrm>
              <a:off x="1413521" y="4951537"/>
              <a:ext cx="1119626" cy="1119626"/>
            </a:xfrm>
            <a:prstGeom prst="ellipse">
              <a:avLst/>
            </a:prstGeom>
            <a:solidFill>
              <a:srgbClr val="F2C812"/>
            </a:solidFill>
            <a:ln w="3175" cap="flat" cmpd="sng" algn="ctr">
              <a:noFill/>
              <a:prstDash val="solid"/>
            </a:ln>
            <a:effectLst/>
          </p:spPr>
          <p:txBody>
            <a:bodyPr vert="horz" wrap="none" lIns="0" tIns="45720" rIns="0" bIns="0" rtlCol="0" anchor="t"/>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Segoe UI"/>
                  <a:ea typeface="Segoe UI" pitchFamily="34" charset="0"/>
                  <a:cs typeface="Segoe UI" pitchFamily="34" charset="0"/>
                </a:rPr>
                <a:t>Share &amp;</a:t>
              </a:r>
            </a:p>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Segoe UI"/>
                  <a:ea typeface="Segoe UI" pitchFamily="34" charset="0"/>
                  <a:cs typeface="Segoe UI" pitchFamily="34" charset="0"/>
                </a:rPr>
                <a:t>collaborate </a:t>
              </a:r>
            </a:p>
          </p:txBody>
        </p:sp>
        <p:grpSp>
          <p:nvGrpSpPr>
            <p:cNvPr id="76" name="Group 38"/>
            <p:cNvGrpSpPr>
              <a:grpSpLocks noChangeAspect="1"/>
            </p:cNvGrpSpPr>
            <p:nvPr/>
          </p:nvGrpSpPr>
          <p:grpSpPr>
            <a:xfrm>
              <a:off x="676996" y="3930692"/>
              <a:ext cx="383905" cy="351536"/>
              <a:chOff x="4363684" y="5330386"/>
              <a:chExt cx="1409956" cy="1291077"/>
            </a:xfrm>
            <a:solidFill>
              <a:srgbClr val="217346"/>
            </a:solidFill>
          </p:grpSpPr>
          <p:sp>
            <p:nvSpPr>
              <p:cNvPr id="102" name="Donut 3"/>
              <p:cNvSpPr/>
              <p:nvPr/>
            </p:nvSpPr>
            <p:spPr bwMode="auto">
              <a:xfrm>
                <a:off x="4363684" y="5330386"/>
                <a:ext cx="1409956" cy="1291077"/>
              </a:xfrm>
              <a:custGeom>
                <a:avLst/>
                <a:gdLst/>
                <a:ahLst/>
                <a:cxnLst/>
                <a:rect l="l" t="t" r="r" b="b"/>
                <a:pathLst>
                  <a:path w="1409956" h="1291077">
                    <a:moveTo>
                      <a:pt x="956401" y="78410"/>
                    </a:moveTo>
                    <a:cubicBezTo>
                      <a:pt x="747518" y="78410"/>
                      <a:pt x="578184" y="247744"/>
                      <a:pt x="578184" y="456627"/>
                    </a:cubicBezTo>
                    <a:cubicBezTo>
                      <a:pt x="578184" y="665510"/>
                      <a:pt x="747518" y="834844"/>
                      <a:pt x="956401" y="834844"/>
                    </a:cubicBezTo>
                    <a:cubicBezTo>
                      <a:pt x="1165284" y="834844"/>
                      <a:pt x="1334618" y="665510"/>
                      <a:pt x="1334618" y="456627"/>
                    </a:cubicBezTo>
                    <a:cubicBezTo>
                      <a:pt x="1334618" y="247744"/>
                      <a:pt x="1165284" y="78410"/>
                      <a:pt x="956401" y="78410"/>
                    </a:cubicBezTo>
                    <a:close/>
                    <a:moveTo>
                      <a:pt x="952756" y="0"/>
                    </a:moveTo>
                    <a:cubicBezTo>
                      <a:pt x="1205261" y="0"/>
                      <a:pt x="1409956" y="204695"/>
                      <a:pt x="1409956" y="457200"/>
                    </a:cubicBezTo>
                    <a:cubicBezTo>
                      <a:pt x="1409956" y="709705"/>
                      <a:pt x="1205261" y="914400"/>
                      <a:pt x="952756" y="914400"/>
                    </a:cubicBezTo>
                    <a:cubicBezTo>
                      <a:pt x="862133" y="914400"/>
                      <a:pt x="777669" y="888034"/>
                      <a:pt x="707132" y="841746"/>
                    </a:cubicBezTo>
                    <a:lnTo>
                      <a:pt x="136495" y="1280102"/>
                    </a:lnTo>
                    <a:cubicBezTo>
                      <a:pt x="21896" y="1327168"/>
                      <a:pt x="-44029" y="1213730"/>
                      <a:pt x="33797" y="1113182"/>
                    </a:cubicBezTo>
                    <a:lnTo>
                      <a:pt x="568587" y="703518"/>
                    </a:lnTo>
                    <a:cubicBezTo>
                      <a:pt x="522087" y="632814"/>
                      <a:pt x="495556" y="548105"/>
                      <a:pt x="495556" y="457200"/>
                    </a:cubicBezTo>
                    <a:cubicBezTo>
                      <a:pt x="495556" y="204695"/>
                      <a:pt x="700251" y="0"/>
                      <a:pt x="952756" y="0"/>
                    </a:cubicBezTo>
                    <a:close/>
                  </a:path>
                </a:pathLst>
              </a:custGeom>
              <a:grpFill/>
              <a:ln>
                <a:solidFill>
                  <a:srgbClr val="21734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sp>
            <p:nvSpPr>
              <p:cNvPr id="103" name="Rectangle 4"/>
              <p:cNvSpPr/>
              <p:nvPr/>
            </p:nvSpPr>
            <p:spPr>
              <a:xfrm>
                <a:off x="5058389" y="5528247"/>
                <a:ext cx="490885" cy="490020"/>
              </a:xfrm>
              <a:custGeom>
                <a:avLst/>
                <a:gdLst/>
                <a:ahLst/>
                <a:cxnLst/>
                <a:rect l="l" t="t" r="r" b="b"/>
                <a:pathLst>
                  <a:path w="490885" h="490020">
                    <a:moveTo>
                      <a:pt x="240752" y="0"/>
                    </a:moveTo>
                    <a:cubicBezTo>
                      <a:pt x="253961" y="11844"/>
                      <a:pt x="293310" y="49692"/>
                      <a:pt x="337332" y="92439"/>
                    </a:cubicBezTo>
                    <a:lnTo>
                      <a:pt x="328342" y="81259"/>
                    </a:lnTo>
                    <a:cubicBezTo>
                      <a:pt x="356946" y="111282"/>
                      <a:pt x="377251" y="107167"/>
                      <a:pt x="382515" y="87941"/>
                    </a:cubicBezTo>
                    <a:cubicBezTo>
                      <a:pt x="383951" y="76921"/>
                      <a:pt x="384595" y="68732"/>
                      <a:pt x="396997" y="52239"/>
                    </a:cubicBezTo>
                    <a:cubicBezTo>
                      <a:pt x="420362" y="32084"/>
                      <a:pt x="442294" y="41736"/>
                      <a:pt x="454920" y="51330"/>
                    </a:cubicBezTo>
                    <a:cubicBezTo>
                      <a:pt x="467834" y="62761"/>
                      <a:pt x="477920" y="86882"/>
                      <a:pt x="460392" y="109714"/>
                    </a:cubicBezTo>
                    <a:cubicBezTo>
                      <a:pt x="451128" y="121912"/>
                      <a:pt x="437554" y="126838"/>
                      <a:pt x="425922" y="126505"/>
                    </a:cubicBezTo>
                    <a:cubicBezTo>
                      <a:pt x="424301" y="127609"/>
                      <a:pt x="382890" y="134974"/>
                      <a:pt x="427348" y="177672"/>
                    </a:cubicBezTo>
                    <a:lnTo>
                      <a:pt x="416886" y="169735"/>
                    </a:lnTo>
                    <a:cubicBezTo>
                      <a:pt x="450207" y="202177"/>
                      <a:pt x="478424" y="229744"/>
                      <a:pt x="490885" y="241900"/>
                    </a:cubicBezTo>
                    <a:lnTo>
                      <a:pt x="417150" y="317347"/>
                    </a:lnTo>
                    <a:cubicBezTo>
                      <a:pt x="417744" y="316535"/>
                      <a:pt x="418443" y="316123"/>
                      <a:pt x="419047" y="315822"/>
                    </a:cubicBezTo>
                    <a:cubicBezTo>
                      <a:pt x="389023" y="344426"/>
                      <a:pt x="393138" y="364731"/>
                      <a:pt x="412364" y="369995"/>
                    </a:cubicBezTo>
                    <a:cubicBezTo>
                      <a:pt x="423384" y="371431"/>
                      <a:pt x="431574" y="372075"/>
                      <a:pt x="448067" y="384477"/>
                    </a:cubicBezTo>
                    <a:cubicBezTo>
                      <a:pt x="468221" y="407842"/>
                      <a:pt x="458569" y="429774"/>
                      <a:pt x="448975" y="442400"/>
                    </a:cubicBezTo>
                    <a:cubicBezTo>
                      <a:pt x="437545" y="455314"/>
                      <a:pt x="413423" y="465400"/>
                      <a:pt x="390591" y="447872"/>
                    </a:cubicBezTo>
                    <a:cubicBezTo>
                      <a:pt x="378394" y="438608"/>
                      <a:pt x="373468" y="425034"/>
                      <a:pt x="373800" y="413402"/>
                    </a:cubicBezTo>
                    <a:cubicBezTo>
                      <a:pt x="372696" y="411781"/>
                      <a:pt x="365332" y="370370"/>
                      <a:pt x="322634" y="414828"/>
                    </a:cubicBezTo>
                    <a:lnTo>
                      <a:pt x="325243" y="411388"/>
                    </a:lnTo>
                    <a:lnTo>
                      <a:pt x="248395" y="490020"/>
                    </a:lnTo>
                    <a:cubicBezTo>
                      <a:pt x="208939" y="451897"/>
                      <a:pt x="199129" y="442073"/>
                      <a:pt x="174192" y="418236"/>
                    </a:cubicBezTo>
                    <a:cubicBezTo>
                      <a:pt x="145587" y="388212"/>
                      <a:pt x="125282" y="392327"/>
                      <a:pt x="120018" y="411553"/>
                    </a:cubicBezTo>
                    <a:cubicBezTo>
                      <a:pt x="118582" y="422573"/>
                      <a:pt x="117938" y="430763"/>
                      <a:pt x="105536" y="447256"/>
                    </a:cubicBezTo>
                    <a:cubicBezTo>
                      <a:pt x="82171" y="467410"/>
                      <a:pt x="60239" y="457758"/>
                      <a:pt x="47614" y="448164"/>
                    </a:cubicBezTo>
                    <a:cubicBezTo>
                      <a:pt x="34699" y="436734"/>
                      <a:pt x="24614" y="412612"/>
                      <a:pt x="42141" y="389780"/>
                    </a:cubicBezTo>
                    <a:cubicBezTo>
                      <a:pt x="51405" y="377583"/>
                      <a:pt x="64979" y="372657"/>
                      <a:pt x="76612" y="372989"/>
                    </a:cubicBezTo>
                    <a:cubicBezTo>
                      <a:pt x="78232" y="371886"/>
                      <a:pt x="119644" y="364521"/>
                      <a:pt x="75186" y="321823"/>
                    </a:cubicBezTo>
                    <a:cubicBezTo>
                      <a:pt x="58767" y="305402"/>
                      <a:pt x="23648" y="271235"/>
                      <a:pt x="0" y="248738"/>
                    </a:cubicBezTo>
                    <a:lnTo>
                      <a:pt x="77303" y="168146"/>
                    </a:lnTo>
                    <a:cubicBezTo>
                      <a:pt x="104269" y="140313"/>
                      <a:pt x="122130" y="156409"/>
                      <a:pt x="124388" y="175543"/>
                    </a:cubicBezTo>
                    <a:cubicBezTo>
                      <a:pt x="124457" y="182466"/>
                      <a:pt x="127106" y="193106"/>
                      <a:pt x="137575" y="203052"/>
                    </a:cubicBezTo>
                    <a:cubicBezTo>
                      <a:pt x="153931" y="220277"/>
                      <a:pt x="181252" y="217451"/>
                      <a:pt x="196721" y="201951"/>
                    </a:cubicBezTo>
                    <a:cubicBezTo>
                      <a:pt x="211961" y="185740"/>
                      <a:pt x="213057" y="157882"/>
                      <a:pt x="196146" y="142797"/>
                    </a:cubicBezTo>
                    <a:cubicBezTo>
                      <a:pt x="184301" y="132637"/>
                      <a:pt x="177155" y="131453"/>
                      <a:pt x="166513" y="129894"/>
                    </a:cubicBezTo>
                    <a:cubicBezTo>
                      <a:pt x="154522" y="129013"/>
                      <a:pt x="131185" y="112953"/>
                      <a:pt x="157905" y="85228"/>
                    </a:cubicBezTo>
                    <a:close/>
                  </a:path>
                </a:pathLst>
              </a:custGeom>
              <a:grpFill/>
              <a:ln>
                <a:solidFill>
                  <a:srgbClr val="21734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grpSp>
        <p:sp>
          <p:nvSpPr>
            <p:cNvPr id="77" name="Oval 47"/>
            <p:cNvSpPr/>
            <p:nvPr/>
          </p:nvSpPr>
          <p:spPr>
            <a:xfrm>
              <a:off x="388608" y="3710471"/>
              <a:ext cx="1119626" cy="1119626"/>
            </a:xfrm>
            <a:prstGeom prst="ellipse">
              <a:avLst/>
            </a:prstGeom>
            <a:solidFill>
              <a:srgbClr val="F2C812"/>
            </a:solidFill>
            <a:ln w="3175" cap="flat" cmpd="sng" algn="ctr">
              <a:noFill/>
              <a:prstDash val="solid"/>
            </a:ln>
            <a:effectLst/>
          </p:spPr>
          <p:txBody>
            <a:bodyPr vert="horz" wrap="none" lIns="0" tIns="45720" rIns="0" bIns="0" rtlCol="0" anchor="t"/>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Segoe UI"/>
                  <a:ea typeface="Segoe UI" pitchFamily="34" charset="0"/>
                  <a:cs typeface="Segoe UI" pitchFamily="34" charset="0"/>
                </a:rPr>
                <a:t>Report</a:t>
              </a:r>
            </a:p>
          </p:txBody>
        </p:sp>
        <p:sp>
          <p:nvSpPr>
            <p:cNvPr id="78" name="Oval 950"/>
            <p:cNvSpPr/>
            <p:nvPr/>
          </p:nvSpPr>
          <p:spPr>
            <a:xfrm>
              <a:off x="388608" y="1252295"/>
              <a:ext cx="1119626" cy="1119626"/>
            </a:xfrm>
            <a:prstGeom prst="ellipse">
              <a:avLst/>
            </a:prstGeom>
            <a:solidFill>
              <a:srgbClr val="F2C812"/>
            </a:solidFill>
            <a:ln w="3175" cap="flat" cmpd="sng" algn="ctr">
              <a:noFill/>
              <a:prstDash val="solid"/>
            </a:ln>
            <a:effectLst/>
          </p:spPr>
          <p:txBody>
            <a:bodyPr vert="horz" wrap="none" lIns="0" tIns="45720" rIns="0" bIns="0" rtlCol="0" anchor="t"/>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1" i="0" u="none" strike="noStrike" kern="1200" cap="none" spc="0" normalizeH="0" baseline="0" noProof="0">
                <a:ln>
                  <a:noFill/>
                </a:ln>
                <a:solidFill>
                  <a:srgbClr val="217346"/>
                </a:solidFill>
                <a:effectLst/>
                <a:uLnTx/>
                <a:uFillTx/>
                <a:latin typeface="Segoe UI"/>
                <a:ea typeface="Segoe UI" pitchFamily="34" charset="0"/>
                <a:cs typeface="Segoe UI" pitchFamily="34" charset="0"/>
              </a:endParaRPr>
            </a:p>
          </p:txBody>
        </p:sp>
        <p:grpSp>
          <p:nvGrpSpPr>
            <p:cNvPr id="79" name="Group 78"/>
            <p:cNvGrpSpPr/>
            <p:nvPr/>
          </p:nvGrpSpPr>
          <p:grpSpPr>
            <a:xfrm>
              <a:off x="1264851" y="3482890"/>
              <a:ext cx="292254" cy="354906"/>
              <a:chOff x="1296521" y="3253388"/>
              <a:chExt cx="292254" cy="354906"/>
            </a:xfrm>
            <a:solidFill>
              <a:srgbClr val="F2C812"/>
            </a:solidFill>
          </p:grpSpPr>
          <p:sp>
            <p:nvSpPr>
              <p:cNvPr id="99" name="Isosceles Triangle 98"/>
              <p:cNvSpPr/>
              <p:nvPr/>
            </p:nvSpPr>
            <p:spPr bwMode="auto">
              <a:xfrm rot="13636515">
                <a:off x="1461362" y="328936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0" name="Isosceles Triangle 99"/>
              <p:cNvSpPr/>
              <p:nvPr/>
            </p:nvSpPr>
            <p:spPr bwMode="auto">
              <a:xfrm rot="13636515">
                <a:off x="1357669" y="338258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1" name="Isosceles Triangle 100"/>
              <p:cNvSpPr/>
              <p:nvPr/>
            </p:nvSpPr>
            <p:spPr bwMode="auto">
              <a:xfrm rot="13636515">
                <a:off x="1260548" y="3480882"/>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80" name="Group 79"/>
            <p:cNvGrpSpPr/>
            <p:nvPr/>
          </p:nvGrpSpPr>
          <p:grpSpPr>
            <a:xfrm rot="15940603">
              <a:off x="1334576" y="2204404"/>
              <a:ext cx="292254" cy="354906"/>
              <a:chOff x="1296521" y="3253388"/>
              <a:chExt cx="292254" cy="354906"/>
            </a:xfrm>
            <a:solidFill>
              <a:srgbClr val="F2C812"/>
            </a:solidFill>
          </p:grpSpPr>
          <p:sp>
            <p:nvSpPr>
              <p:cNvPr id="96" name="Isosceles Triangle 95"/>
              <p:cNvSpPr/>
              <p:nvPr/>
            </p:nvSpPr>
            <p:spPr bwMode="auto">
              <a:xfrm rot="13636515">
                <a:off x="1461362" y="328936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7" name="Isosceles Triangle 96"/>
              <p:cNvSpPr/>
              <p:nvPr/>
            </p:nvSpPr>
            <p:spPr bwMode="auto">
              <a:xfrm rot="13636515">
                <a:off x="1357669" y="338258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8" name="Isosceles Triangle 97"/>
              <p:cNvSpPr/>
              <p:nvPr/>
            </p:nvSpPr>
            <p:spPr bwMode="auto">
              <a:xfrm rot="13636515">
                <a:off x="1260548" y="3480882"/>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81" name="Group 80"/>
            <p:cNvGrpSpPr/>
            <p:nvPr/>
          </p:nvGrpSpPr>
          <p:grpSpPr>
            <a:xfrm rot="16043978">
              <a:off x="1317220" y="4717577"/>
              <a:ext cx="292254" cy="354906"/>
              <a:chOff x="1296521" y="3253388"/>
              <a:chExt cx="292254" cy="354906"/>
            </a:xfrm>
            <a:solidFill>
              <a:srgbClr val="F2C812"/>
            </a:solidFill>
          </p:grpSpPr>
          <p:sp>
            <p:nvSpPr>
              <p:cNvPr id="93" name="Isosceles Triangle 92"/>
              <p:cNvSpPr/>
              <p:nvPr/>
            </p:nvSpPr>
            <p:spPr bwMode="auto">
              <a:xfrm rot="13636515">
                <a:off x="1461362" y="328936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4" name="Isosceles Triangle 93"/>
              <p:cNvSpPr/>
              <p:nvPr/>
            </p:nvSpPr>
            <p:spPr bwMode="auto">
              <a:xfrm rot="13636515">
                <a:off x="1357669" y="338258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5" name="Isosceles Triangle 94"/>
              <p:cNvSpPr/>
              <p:nvPr/>
            </p:nvSpPr>
            <p:spPr bwMode="auto">
              <a:xfrm rot="13636515">
                <a:off x="1260548" y="3480882"/>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82" name="Oval 36"/>
            <p:cNvSpPr/>
            <p:nvPr/>
          </p:nvSpPr>
          <p:spPr>
            <a:xfrm>
              <a:off x="1413521" y="2481383"/>
              <a:ext cx="1119626" cy="1119626"/>
            </a:xfrm>
            <a:prstGeom prst="ellipse">
              <a:avLst/>
            </a:prstGeom>
            <a:solidFill>
              <a:srgbClr val="F2C812"/>
            </a:solidFill>
            <a:ln w="3175" cap="flat" cmpd="sng" algn="ctr">
              <a:noFill/>
              <a:prstDash val="solid"/>
            </a:ln>
            <a:effectLst/>
          </p:spPr>
          <p:txBody>
            <a:bodyPr vert="horz" wrap="none" lIns="0" tIns="0" rIns="0" bIns="0" rtlCol="0" anchor="t"/>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400" b="1" i="0" u="none" strike="noStrike" kern="1200" cap="none" spc="0" normalizeH="0" baseline="0" noProof="0">
                <a:ln>
                  <a:noFill/>
                </a:ln>
                <a:solidFill>
                  <a:srgbClr val="217346"/>
                </a:solidFill>
                <a:effectLst/>
                <a:uLnTx/>
                <a:uFillTx/>
                <a:latin typeface="Segoe UI"/>
                <a:ea typeface="Segoe UI" pitchFamily="34" charset="0"/>
                <a:cs typeface="Segoe UI" pitchFamily="34" charset="0"/>
              </a:endParaRPr>
            </a:p>
          </p:txBody>
        </p:sp>
        <p:sp>
          <p:nvSpPr>
            <p:cNvPr id="83" name="Donut 3"/>
            <p:cNvSpPr/>
            <p:nvPr/>
          </p:nvSpPr>
          <p:spPr bwMode="auto">
            <a:xfrm>
              <a:off x="1742065" y="3002355"/>
              <a:ext cx="383905" cy="351537"/>
            </a:xfrm>
            <a:custGeom>
              <a:avLst/>
              <a:gdLst/>
              <a:ahLst/>
              <a:cxnLst/>
              <a:rect l="l" t="t" r="r" b="b"/>
              <a:pathLst>
                <a:path w="1409956" h="1291077">
                  <a:moveTo>
                    <a:pt x="956401" y="78410"/>
                  </a:moveTo>
                  <a:cubicBezTo>
                    <a:pt x="747518" y="78410"/>
                    <a:pt x="578184" y="247744"/>
                    <a:pt x="578184" y="456627"/>
                  </a:cubicBezTo>
                  <a:cubicBezTo>
                    <a:pt x="578184" y="665510"/>
                    <a:pt x="747518" y="834844"/>
                    <a:pt x="956401" y="834844"/>
                  </a:cubicBezTo>
                  <a:cubicBezTo>
                    <a:pt x="1165284" y="834844"/>
                    <a:pt x="1334618" y="665510"/>
                    <a:pt x="1334618" y="456627"/>
                  </a:cubicBezTo>
                  <a:cubicBezTo>
                    <a:pt x="1334618" y="247744"/>
                    <a:pt x="1165284" y="78410"/>
                    <a:pt x="956401" y="78410"/>
                  </a:cubicBezTo>
                  <a:close/>
                  <a:moveTo>
                    <a:pt x="952756" y="0"/>
                  </a:moveTo>
                  <a:cubicBezTo>
                    <a:pt x="1205261" y="0"/>
                    <a:pt x="1409956" y="204695"/>
                    <a:pt x="1409956" y="457200"/>
                  </a:cubicBezTo>
                  <a:cubicBezTo>
                    <a:pt x="1409956" y="709705"/>
                    <a:pt x="1205261" y="914400"/>
                    <a:pt x="952756" y="914400"/>
                  </a:cubicBezTo>
                  <a:cubicBezTo>
                    <a:pt x="862133" y="914400"/>
                    <a:pt x="777669" y="888034"/>
                    <a:pt x="707132" y="841746"/>
                  </a:cubicBezTo>
                  <a:lnTo>
                    <a:pt x="136495" y="1280102"/>
                  </a:lnTo>
                  <a:cubicBezTo>
                    <a:pt x="21896" y="1327168"/>
                    <a:pt x="-44029" y="1213730"/>
                    <a:pt x="33797" y="1113182"/>
                  </a:cubicBezTo>
                  <a:lnTo>
                    <a:pt x="568587" y="703518"/>
                  </a:lnTo>
                  <a:cubicBezTo>
                    <a:pt x="522087" y="632814"/>
                    <a:pt x="495556" y="548105"/>
                    <a:pt x="495556" y="457200"/>
                  </a:cubicBezTo>
                  <a:cubicBezTo>
                    <a:pt x="495556" y="204695"/>
                    <a:pt x="700251" y="0"/>
                    <a:pt x="952756" y="0"/>
                  </a:cubicBezTo>
                  <a:close/>
                </a:path>
              </a:pathLst>
            </a:cu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sp>
          <p:nvSpPr>
            <p:cNvPr id="84" name="Rectangle 83"/>
            <p:cNvSpPr/>
            <p:nvPr/>
          </p:nvSpPr>
          <p:spPr>
            <a:xfrm>
              <a:off x="1600398" y="2677430"/>
              <a:ext cx="820353" cy="307777"/>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Segoe UI"/>
                  <a:ea typeface="Segoe UI" pitchFamily="34" charset="0"/>
                  <a:cs typeface="Segoe UI" pitchFamily="34" charset="0"/>
                </a:rPr>
                <a:t>Explore</a:t>
              </a:r>
              <a:endParaRPr kumimoji="0" lang="en-US" sz="1600" b="0" i="0" u="none" strike="noStrike" kern="1200" cap="none" spc="0" normalizeH="0" baseline="0" noProof="0">
                <a:ln>
                  <a:noFill/>
                </a:ln>
                <a:solidFill>
                  <a:srgbClr val="000000"/>
                </a:solidFill>
                <a:effectLst/>
                <a:uLnTx/>
                <a:uFillTx/>
                <a:latin typeface="Segoe UI"/>
                <a:ea typeface="+mn-ea"/>
                <a:cs typeface="+mn-cs"/>
              </a:endParaRPr>
            </a:p>
          </p:txBody>
        </p:sp>
        <p:sp>
          <p:nvSpPr>
            <p:cNvPr id="85" name="Rectangle 84"/>
            <p:cNvSpPr/>
            <p:nvPr/>
          </p:nvSpPr>
          <p:spPr>
            <a:xfrm>
              <a:off x="509174" y="1475232"/>
              <a:ext cx="838756" cy="307777"/>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Segoe UI"/>
                  <a:ea typeface="Segoe UI" pitchFamily="34" charset="0"/>
                  <a:cs typeface="Segoe UI" pitchFamily="34" charset="0"/>
                </a:rPr>
                <a:t>Prepare</a:t>
              </a: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86" name="Freeform 85"/>
            <p:cNvSpPr>
              <a:spLocks noChangeAspect="1"/>
            </p:cNvSpPr>
            <p:nvPr/>
          </p:nvSpPr>
          <p:spPr bwMode="black">
            <a:xfrm>
              <a:off x="1836174" y="5643069"/>
              <a:ext cx="274320" cy="284173"/>
            </a:xfrm>
            <a:custGeom>
              <a:avLst/>
              <a:gdLst>
                <a:gd name="T0" fmla="*/ 539 w 669"/>
                <a:gd name="T1" fmla="*/ 5 h 693"/>
                <a:gd name="T2" fmla="*/ 640 w 669"/>
                <a:gd name="T3" fmla="*/ 55 h 693"/>
                <a:gd name="T4" fmla="*/ 603 w 669"/>
                <a:gd name="T5" fmla="*/ 195 h 693"/>
                <a:gd name="T6" fmla="*/ 490 w 669"/>
                <a:gd name="T7" fmla="*/ 188 h 693"/>
                <a:gd name="T8" fmla="*/ 479 w 669"/>
                <a:gd name="T9" fmla="*/ 176 h 693"/>
                <a:gd name="T10" fmla="*/ 213 w 669"/>
                <a:gd name="T11" fmla="*/ 330 h 693"/>
                <a:gd name="T12" fmla="*/ 218 w 669"/>
                <a:gd name="T13" fmla="*/ 345 h 693"/>
                <a:gd name="T14" fmla="*/ 218 w 669"/>
                <a:gd name="T15" fmla="*/ 375 h 693"/>
                <a:gd name="T16" fmla="*/ 209 w 669"/>
                <a:gd name="T17" fmla="*/ 402 h 693"/>
                <a:gd name="T18" fmla="*/ 369 w 669"/>
                <a:gd name="T19" fmla="*/ 503 h 693"/>
                <a:gd name="T20" fmla="*/ 373 w 669"/>
                <a:gd name="T21" fmla="*/ 498 h 693"/>
                <a:gd name="T22" fmla="*/ 456 w 669"/>
                <a:gd name="T23" fmla="*/ 475 h 693"/>
                <a:gd name="T24" fmla="*/ 494 w 669"/>
                <a:gd name="T25" fmla="*/ 489 h 693"/>
                <a:gd name="T26" fmla="*/ 527 w 669"/>
                <a:gd name="T27" fmla="*/ 630 h 693"/>
                <a:gd name="T28" fmla="*/ 386 w 669"/>
                <a:gd name="T29" fmla="*/ 663 h 693"/>
                <a:gd name="T30" fmla="*/ 339 w 669"/>
                <a:gd name="T31" fmla="*/ 560 h 693"/>
                <a:gd name="T32" fmla="*/ 345 w 669"/>
                <a:gd name="T33" fmla="*/ 544 h 693"/>
                <a:gd name="T34" fmla="*/ 177 w 669"/>
                <a:gd name="T35" fmla="*/ 439 h 693"/>
                <a:gd name="T36" fmla="*/ 168 w 669"/>
                <a:gd name="T37" fmla="*/ 446 h 693"/>
                <a:gd name="T38" fmla="*/ 28 w 669"/>
                <a:gd name="T39" fmla="*/ 409 h 693"/>
                <a:gd name="T40" fmla="*/ 65 w 669"/>
                <a:gd name="T41" fmla="*/ 269 h 693"/>
                <a:gd name="T42" fmla="*/ 178 w 669"/>
                <a:gd name="T43" fmla="*/ 276 h 693"/>
                <a:gd name="T44" fmla="*/ 189 w 669"/>
                <a:gd name="T45" fmla="*/ 288 h 693"/>
                <a:gd name="T46" fmla="*/ 455 w 669"/>
                <a:gd name="T47" fmla="*/ 134 h 693"/>
                <a:gd name="T48" fmla="*/ 450 w 669"/>
                <a:gd name="T49" fmla="*/ 119 h 693"/>
                <a:gd name="T50" fmla="*/ 501 w 669"/>
                <a:gd name="T51" fmla="*/ 18 h 693"/>
                <a:gd name="T52" fmla="*/ 539 w 669"/>
                <a:gd name="T53" fmla="*/ 5 h 6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69" h="693">
                  <a:moveTo>
                    <a:pt x="539" y="5"/>
                  </a:moveTo>
                  <a:cubicBezTo>
                    <a:pt x="579" y="0"/>
                    <a:pt x="619" y="19"/>
                    <a:pt x="640" y="55"/>
                  </a:cubicBezTo>
                  <a:cubicBezTo>
                    <a:pt x="669" y="104"/>
                    <a:pt x="652" y="167"/>
                    <a:pt x="603" y="195"/>
                  </a:cubicBezTo>
                  <a:cubicBezTo>
                    <a:pt x="566" y="216"/>
                    <a:pt x="522" y="212"/>
                    <a:pt x="490" y="188"/>
                  </a:cubicBezTo>
                  <a:cubicBezTo>
                    <a:pt x="479" y="176"/>
                    <a:pt x="479" y="176"/>
                    <a:pt x="479" y="176"/>
                  </a:cubicBezTo>
                  <a:cubicBezTo>
                    <a:pt x="213" y="330"/>
                    <a:pt x="213" y="330"/>
                    <a:pt x="213" y="330"/>
                  </a:cubicBezTo>
                  <a:cubicBezTo>
                    <a:pt x="218" y="345"/>
                    <a:pt x="218" y="345"/>
                    <a:pt x="218" y="345"/>
                  </a:cubicBezTo>
                  <a:cubicBezTo>
                    <a:pt x="219" y="355"/>
                    <a:pt x="219" y="365"/>
                    <a:pt x="218" y="375"/>
                  </a:cubicBezTo>
                  <a:cubicBezTo>
                    <a:pt x="209" y="402"/>
                    <a:pt x="209" y="402"/>
                    <a:pt x="209" y="402"/>
                  </a:cubicBezTo>
                  <a:cubicBezTo>
                    <a:pt x="369" y="503"/>
                    <a:pt x="369" y="503"/>
                    <a:pt x="369" y="503"/>
                  </a:cubicBezTo>
                  <a:cubicBezTo>
                    <a:pt x="373" y="498"/>
                    <a:pt x="373" y="498"/>
                    <a:pt x="373" y="498"/>
                  </a:cubicBezTo>
                  <a:cubicBezTo>
                    <a:pt x="396" y="479"/>
                    <a:pt x="427" y="470"/>
                    <a:pt x="456" y="475"/>
                  </a:cubicBezTo>
                  <a:cubicBezTo>
                    <a:pt x="470" y="477"/>
                    <a:pt x="482" y="482"/>
                    <a:pt x="494" y="489"/>
                  </a:cubicBezTo>
                  <a:cubicBezTo>
                    <a:pt x="542" y="519"/>
                    <a:pt x="557" y="583"/>
                    <a:pt x="527" y="630"/>
                  </a:cubicBezTo>
                  <a:cubicBezTo>
                    <a:pt x="497" y="678"/>
                    <a:pt x="433" y="693"/>
                    <a:pt x="386" y="663"/>
                  </a:cubicBezTo>
                  <a:cubicBezTo>
                    <a:pt x="350" y="640"/>
                    <a:pt x="333" y="599"/>
                    <a:pt x="339" y="560"/>
                  </a:cubicBezTo>
                  <a:cubicBezTo>
                    <a:pt x="345" y="544"/>
                    <a:pt x="345" y="544"/>
                    <a:pt x="345" y="544"/>
                  </a:cubicBezTo>
                  <a:cubicBezTo>
                    <a:pt x="177" y="439"/>
                    <a:pt x="177" y="439"/>
                    <a:pt x="177" y="439"/>
                  </a:cubicBezTo>
                  <a:cubicBezTo>
                    <a:pt x="168" y="446"/>
                    <a:pt x="168" y="446"/>
                    <a:pt x="168" y="446"/>
                  </a:cubicBezTo>
                  <a:cubicBezTo>
                    <a:pt x="119" y="475"/>
                    <a:pt x="56" y="458"/>
                    <a:pt x="28" y="409"/>
                  </a:cubicBezTo>
                  <a:cubicBezTo>
                    <a:pt x="0" y="360"/>
                    <a:pt x="16" y="297"/>
                    <a:pt x="65" y="269"/>
                  </a:cubicBezTo>
                  <a:cubicBezTo>
                    <a:pt x="102" y="248"/>
                    <a:pt x="147" y="252"/>
                    <a:pt x="178" y="276"/>
                  </a:cubicBezTo>
                  <a:cubicBezTo>
                    <a:pt x="189" y="288"/>
                    <a:pt x="189" y="288"/>
                    <a:pt x="189" y="288"/>
                  </a:cubicBezTo>
                  <a:cubicBezTo>
                    <a:pt x="455" y="134"/>
                    <a:pt x="455" y="134"/>
                    <a:pt x="455" y="134"/>
                  </a:cubicBezTo>
                  <a:cubicBezTo>
                    <a:pt x="450" y="119"/>
                    <a:pt x="450" y="119"/>
                    <a:pt x="450" y="119"/>
                  </a:cubicBezTo>
                  <a:cubicBezTo>
                    <a:pt x="445" y="80"/>
                    <a:pt x="464" y="39"/>
                    <a:pt x="501" y="18"/>
                  </a:cubicBezTo>
                  <a:cubicBezTo>
                    <a:pt x="513" y="11"/>
                    <a:pt x="526" y="6"/>
                    <a:pt x="539" y="5"/>
                  </a:cubicBezTo>
                  <a:close/>
                </a:path>
              </a:pathLst>
            </a:custGeom>
            <a:solidFill>
              <a:schemeClr val="tx1"/>
            </a:solidFill>
            <a:ln>
              <a:noFill/>
            </a:ln>
          </p:spPr>
          <p:txBody>
            <a:bodyPr vert="horz" wrap="square" lIns="68574" tIns="34287" rIns="68574" bIns="34287"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0000"/>
                </a:solidFill>
                <a:effectLst/>
                <a:uLnTx/>
                <a:uFillTx/>
                <a:latin typeface="Segoe UI"/>
                <a:ea typeface="+mn-ea"/>
                <a:cs typeface="+mn-cs"/>
              </a:endParaRPr>
            </a:p>
          </p:txBody>
        </p:sp>
        <p:sp>
          <p:nvSpPr>
            <p:cNvPr id="87" name="Freeform 86"/>
            <p:cNvSpPr>
              <a:spLocks noChangeAspect="1" noEditPoints="1"/>
            </p:cNvSpPr>
            <p:nvPr/>
          </p:nvSpPr>
          <p:spPr bwMode="black">
            <a:xfrm>
              <a:off x="722320" y="1783009"/>
              <a:ext cx="452202" cy="366660"/>
            </a:xfrm>
            <a:custGeom>
              <a:avLst/>
              <a:gdLst>
                <a:gd name="T0" fmla="*/ 600 w 1107"/>
                <a:gd name="T1" fmla="*/ 625 h 897"/>
                <a:gd name="T2" fmla="*/ 649 w 1107"/>
                <a:gd name="T3" fmla="*/ 567 h 897"/>
                <a:gd name="T4" fmla="*/ 727 w 1107"/>
                <a:gd name="T5" fmla="*/ 482 h 897"/>
                <a:gd name="T6" fmla="*/ 601 w 1107"/>
                <a:gd name="T7" fmla="*/ 434 h 897"/>
                <a:gd name="T8" fmla="*/ 628 w 1107"/>
                <a:gd name="T9" fmla="*/ 305 h 897"/>
                <a:gd name="T10" fmla="*/ 547 w 1107"/>
                <a:gd name="T11" fmla="*/ 240 h 897"/>
                <a:gd name="T12" fmla="*/ 427 w 1107"/>
                <a:gd name="T13" fmla="*/ 287 h 897"/>
                <a:gd name="T14" fmla="*/ 368 w 1107"/>
                <a:gd name="T15" fmla="*/ 170 h 897"/>
                <a:gd name="T16" fmla="*/ 285 w 1107"/>
                <a:gd name="T17" fmla="*/ 263 h 897"/>
                <a:gd name="T18" fmla="*/ 241 w 1107"/>
                <a:gd name="T19" fmla="*/ 313 h 897"/>
                <a:gd name="T20" fmla="*/ 139 w 1107"/>
                <a:gd name="T21" fmla="*/ 281 h 897"/>
                <a:gd name="T22" fmla="*/ 79 w 1107"/>
                <a:gd name="T23" fmla="*/ 355 h 897"/>
                <a:gd name="T24" fmla="*/ 132 w 1107"/>
                <a:gd name="T25" fmla="*/ 446 h 897"/>
                <a:gd name="T26" fmla="*/ 83 w 1107"/>
                <a:gd name="T27" fmla="*/ 505 h 897"/>
                <a:gd name="T28" fmla="*/ 5 w 1107"/>
                <a:gd name="T29" fmla="*/ 590 h 897"/>
                <a:gd name="T30" fmla="*/ 132 w 1107"/>
                <a:gd name="T31" fmla="*/ 638 h 897"/>
                <a:gd name="T32" fmla="*/ 145 w 1107"/>
                <a:gd name="T33" fmla="*/ 669 h 897"/>
                <a:gd name="T34" fmla="*/ 110 w 1107"/>
                <a:gd name="T35" fmla="*/ 793 h 897"/>
                <a:gd name="T36" fmla="*/ 230 w 1107"/>
                <a:gd name="T37" fmla="*/ 781 h 897"/>
                <a:gd name="T38" fmla="*/ 306 w 1107"/>
                <a:gd name="T39" fmla="*/ 785 h 897"/>
                <a:gd name="T40" fmla="*/ 346 w 1107"/>
                <a:gd name="T41" fmla="*/ 878 h 897"/>
                <a:gd name="T42" fmla="*/ 440 w 1107"/>
                <a:gd name="T43" fmla="*/ 872 h 897"/>
                <a:gd name="T44" fmla="*/ 466 w 1107"/>
                <a:gd name="T45" fmla="*/ 764 h 897"/>
                <a:gd name="T46" fmla="*/ 539 w 1107"/>
                <a:gd name="T47" fmla="*/ 755 h 897"/>
                <a:gd name="T48" fmla="*/ 659 w 1107"/>
                <a:gd name="T49" fmla="*/ 743 h 897"/>
                <a:gd name="T50" fmla="*/ 263 w 1107"/>
                <a:gd name="T51" fmla="*/ 452 h 897"/>
                <a:gd name="T52" fmla="*/ 281 w 1107"/>
                <a:gd name="T53" fmla="*/ 633 h 897"/>
                <a:gd name="T54" fmla="*/ 1002 w 1107"/>
                <a:gd name="T55" fmla="*/ 332 h 897"/>
                <a:gd name="T56" fmla="*/ 1043 w 1107"/>
                <a:gd name="T57" fmla="*/ 304 h 897"/>
                <a:gd name="T58" fmla="*/ 1107 w 1107"/>
                <a:gd name="T59" fmla="*/ 266 h 897"/>
                <a:gd name="T60" fmla="*/ 1037 w 1107"/>
                <a:gd name="T61" fmla="*/ 213 h 897"/>
                <a:gd name="T62" fmla="*/ 1077 w 1107"/>
                <a:gd name="T63" fmla="*/ 138 h 897"/>
                <a:gd name="T64" fmla="*/ 1038 w 1107"/>
                <a:gd name="T65" fmla="*/ 83 h 897"/>
                <a:gd name="T66" fmla="*/ 956 w 1107"/>
                <a:gd name="T67" fmla="*/ 91 h 897"/>
                <a:gd name="T68" fmla="*/ 940 w 1107"/>
                <a:gd name="T69" fmla="*/ 7 h 897"/>
                <a:gd name="T70" fmla="*/ 872 w 1107"/>
                <a:gd name="T71" fmla="*/ 50 h 897"/>
                <a:gd name="T72" fmla="*/ 836 w 1107"/>
                <a:gd name="T73" fmla="*/ 74 h 897"/>
                <a:gd name="T74" fmla="*/ 778 w 1107"/>
                <a:gd name="T75" fmla="*/ 35 h 897"/>
                <a:gd name="T76" fmla="*/ 728 w 1107"/>
                <a:gd name="T77" fmla="*/ 70 h 897"/>
                <a:gd name="T78" fmla="*/ 744 w 1107"/>
                <a:gd name="T79" fmla="*/ 136 h 897"/>
                <a:gd name="T80" fmla="*/ 703 w 1107"/>
                <a:gd name="T81" fmla="*/ 164 h 897"/>
                <a:gd name="T82" fmla="*/ 640 w 1107"/>
                <a:gd name="T83" fmla="*/ 203 h 897"/>
                <a:gd name="T84" fmla="*/ 710 w 1107"/>
                <a:gd name="T85" fmla="*/ 255 h 897"/>
                <a:gd name="T86" fmla="*/ 712 w 1107"/>
                <a:gd name="T87" fmla="*/ 277 h 897"/>
                <a:gd name="T88" fmla="*/ 668 w 1107"/>
                <a:gd name="T89" fmla="*/ 347 h 897"/>
                <a:gd name="T90" fmla="*/ 745 w 1107"/>
                <a:gd name="T91" fmla="*/ 361 h 897"/>
                <a:gd name="T92" fmla="*/ 791 w 1107"/>
                <a:gd name="T93" fmla="*/ 377 h 897"/>
                <a:gd name="T94" fmla="*/ 799 w 1107"/>
                <a:gd name="T95" fmla="*/ 443 h 897"/>
                <a:gd name="T96" fmla="*/ 859 w 1107"/>
                <a:gd name="T97" fmla="*/ 456 h 897"/>
                <a:gd name="T98" fmla="*/ 894 w 1107"/>
                <a:gd name="T99" fmla="*/ 393 h 897"/>
                <a:gd name="T100" fmla="*/ 941 w 1107"/>
                <a:gd name="T101" fmla="*/ 401 h 897"/>
                <a:gd name="T102" fmla="*/ 1018 w 1107"/>
                <a:gd name="T103" fmla="*/ 415 h 897"/>
                <a:gd name="T104" fmla="*/ 825 w 1107"/>
                <a:gd name="T105" fmla="*/ 164 h 897"/>
                <a:gd name="T106" fmla="*/ 803 w 1107"/>
                <a:gd name="T107" fmla="*/ 279 h 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107" h="897">
                  <a:moveTo>
                    <a:pt x="654" y="716"/>
                  </a:moveTo>
                  <a:cubicBezTo>
                    <a:pt x="616" y="670"/>
                    <a:pt x="616" y="670"/>
                    <a:pt x="616" y="670"/>
                  </a:cubicBezTo>
                  <a:cubicBezTo>
                    <a:pt x="593" y="654"/>
                    <a:pt x="603" y="638"/>
                    <a:pt x="600" y="625"/>
                  </a:cubicBezTo>
                  <a:cubicBezTo>
                    <a:pt x="600" y="625"/>
                    <a:pt x="600" y="625"/>
                    <a:pt x="600" y="625"/>
                  </a:cubicBezTo>
                  <a:cubicBezTo>
                    <a:pt x="605" y="617"/>
                    <a:pt x="611" y="609"/>
                    <a:pt x="608" y="596"/>
                  </a:cubicBezTo>
                  <a:cubicBezTo>
                    <a:pt x="618" y="580"/>
                    <a:pt x="623" y="572"/>
                    <a:pt x="649" y="567"/>
                  </a:cubicBezTo>
                  <a:cubicBezTo>
                    <a:pt x="715" y="553"/>
                    <a:pt x="715" y="553"/>
                    <a:pt x="715" y="553"/>
                  </a:cubicBezTo>
                  <a:cubicBezTo>
                    <a:pt x="728" y="550"/>
                    <a:pt x="733" y="542"/>
                    <a:pt x="730" y="529"/>
                  </a:cubicBezTo>
                  <a:cubicBezTo>
                    <a:pt x="727" y="482"/>
                    <a:pt x="727" y="482"/>
                    <a:pt x="727" y="482"/>
                  </a:cubicBezTo>
                  <a:cubicBezTo>
                    <a:pt x="724" y="469"/>
                    <a:pt x="717" y="463"/>
                    <a:pt x="701" y="453"/>
                  </a:cubicBezTo>
                  <a:cubicBezTo>
                    <a:pt x="641" y="459"/>
                    <a:pt x="641" y="459"/>
                    <a:pt x="641" y="459"/>
                  </a:cubicBezTo>
                  <a:cubicBezTo>
                    <a:pt x="620" y="457"/>
                    <a:pt x="604" y="447"/>
                    <a:pt x="601" y="434"/>
                  </a:cubicBezTo>
                  <a:cubicBezTo>
                    <a:pt x="598" y="421"/>
                    <a:pt x="590" y="416"/>
                    <a:pt x="580" y="397"/>
                  </a:cubicBezTo>
                  <a:cubicBezTo>
                    <a:pt x="577" y="384"/>
                    <a:pt x="574" y="371"/>
                    <a:pt x="584" y="355"/>
                  </a:cubicBezTo>
                  <a:cubicBezTo>
                    <a:pt x="628" y="305"/>
                    <a:pt x="628" y="305"/>
                    <a:pt x="628" y="305"/>
                  </a:cubicBezTo>
                  <a:cubicBezTo>
                    <a:pt x="634" y="297"/>
                    <a:pt x="631" y="284"/>
                    <a:pt x="623" y="279"/>
                  </a:cubicBezTo>
                  <a:cubicBezTo>
                    <a:pt x="581" y="240"/>
                    <a:pt x="581" y="240"/>
                    <a:pt x="581" y="240"/>
                  </a:cubicBezTo>
                  <a:cubicBezTo>
                    <a:pt x="573" y="235"/>
                    <a:pt x="560" y="238"/>
                    <a:pt x="547" y="240"/>
                  </a:cubicBezTo>
                  <a:cubicBezTo>
                    <a:pt x="503" y="291"/>
                    <a:pt x="503" y="291"/>
                    <a:pt x="503" y="291"/>
                  </a:cubicBezTo>
                  <a:cubicBezTo>
                    <a:pt x="484" y="302"/>
                    <a:pt x="471" y="304"/>
                    <a:pt x="463" y="299"/>
                  </a:cubicBezTo>
                  <a:cubicBezTo>
                    <a:pt x="456" y="294"/>
                    <a:pt x="435" y="292"/>
                    <a:pt x="427" y="287"/>
                  </a:cubicBezTo>
                  <a:cubicBezTo>
                    <a:pt x="419" y="282"/>
                    <a:pt x="403" y="271"/>
                    <a:pt x="400" y="258"/>
                  </a:cubicBezTo>
                  <a:cubicBezTo>
                    <a:pt x="386" y="193"/>
                    <a:pt x="386" y="193"/>
                    <a:pt x="386" y="193"/>
                  </a:cubicBezTo>
                  <a:cubicBezTo>
                    <a:pt x="384" y="180"/>
                    <a:pt x="368" y="170"/>
                    <a:pt x="368" y="170"/>
                  </a:cubicBezTo>
                  <a:cubicBezTo>
                    <a:pt x="308" y="176"/>
                    <a:pt x="308" y="176"/>
                    <a:pt x="308" y="176"/>
                  </a:cubicBezTo>
                  <a:cubicBezTo>
                    <a:pt x="308" y="176"/>
                    <a:pt x="289" y="187"/>
                    <a:pt x="292" y="200"/>
                  </a:cubicBezTo>
                  <a:cubicBezTo>
                    <a:pt x="285" y="263"/>
                    <a:pt x="285" y="263"/>
                    <a:pt x="285" y="263"/>
                  </a:cubicBezTo>
                  <a:cubicBezTo>
                    <a:pt x="291" y="289"/>
                    <a:pt x="277" y="292"/>
                    <a:pt x="272" y="300"/>
                  </a:cubicBezTo>
                  <a:cubicBezTo>
                    <a:pt x="272" y="300"/>
                    <a:pt x="272" y="300"/>
                    <a:pt x="267" y="308"/>
                  </a:cubicBezTo>
                  <a:cubicBezTo>
                    <a:pt x="259" y="302"/>
                    <a:pt x="246" y="305"/>
                    <a:pt x="241" y="313"/>
                  </a:cubicBezTo>
                  <a:cubicBezTo>
                    <a:pt x="236" y="321"/>
                    <a:pt x="236" y="321"/>
                    <a:pt x="236" y="321"/>
                  </a:cubicBezTo>
                  <a:cubicBezTo>
                    <a:pt x="223" y="324"/>
                    <a:pt x="210" y="327"/>
                    <a:pt x="194" y="317"/>
                  </a:cubicBezTo>
                  <a:cubicBezTo>
                    <a:pt x="139" y="281"/>
                    <a:pt x="139" y="281"/>
                    <a:pt x="139" y="281"/>
                  </a:cubicBezTo>
                  <a:cubicBezTo>
                    <a:pt x="131" y="276"/>
                    <a:pt x="110" y="273"/>
                    <a:pt x="104" y="281"/>
                  </a:cubicBezTo>
                  <a:cubicBezTo>
                    <a:pt x="79" y="321"/>
                    <a:pt x="79" y="321"/>
                    <a:pt x="79" y="321"/>
                  </a:cubicBezTo>
                  <a:cubicBezTo>
                    <a:pt x="66" y="324"/>
                    <a:pt x="68" y="337"/>
                    <a:pt x="79" y="355"/>
                  </a:cubicBezTo>
                  <a:cubicBezTo>
                    <a:pt x="121" y="394"/>
                    <a:pt x="121" y="394"/>
                    <a:pt x="121" y="394"/>
                  </a:cubicBezTo>
                  <a:cubicBezTo>
                    <a:pt x="140" y="417"/>
                    <a:pt x="135" y="425"/>
                    <a:pt x="132" y="446"/>
                  </a:cubicBezTo>
                  <a:cubicBezTo>
                    <a:pt x="132" y="446"/>
                    <a:pt x="132" y="446"/>
                    <a:pt x="132" y="446"/>
                  </a:cubicBezTo>
                  <a:cubicBezTo>
                    <a:pt x="127" y="454"/>
                    <a:pt x="122" y="462"/>
                    <a:pt x="117" y="470"/>
                  </a:cubicBezTo>
                  <a:cubicBezTo>
                    <a:pt x="117" y="470"/>
                    <a:pt x="117" y="470"/>
                    <a:pt x="117" y="470"/>
                  </a:cubicBezTo>
                  <a:cubicBezTo>
                    <a:pt x="120" y="483"/>
                    <a:pt x="109" y="499"/>
                    <a:pt x="83" y="505"/>
                  </a:cubicBezTo>
                  <a:cubicBezTo>
                    <a:pt x="23" y="511"/>
                    <a:pt x="23" y="511"/>
                    <a:pt x="23" y="511"/>
                  </a:cubicBezTo>
                  <a:cubicBezTo>
                    <a:pt x="10" y="514"/>
                    <a:pt x="0" y="529"/>
                    <a:pt x="2" y="543"/>
                  </a:cubicBezTo>
                  <a:cubicBezTo>
                    <a:pt x="5" y="590"/>
                    <a:pt x="5" y="590"/>
                    <a:pt x="5" y="590"/>
                  </a:cubicBezTo>
                  <a:cubicBezTo>
                    <a:pt x="8" y="603"/>
                    <a:pt x="16" y="608"/>
                    <a:pt x="37" y="610"/>
                  </a:cubicBezTo>
                  <a:cubicBezTo>
                    <a:pt x="92" y="612"/>
                    <a:pt x="92" y="612"/>
                    <a:pt x="92" y="612"/>
                  </a:cubicBezTo>
                  <a:cubicBezTo>
                    <a:pt x="113" y="614"/>
                    <a:pt x="129" y="625"/>
                    <a:pt x="132" y="638"/>
                  </a:cubicBezTo>
                  <a:cubicBezTo>
                    <a:pt x="132" y="638"/>
                    <a:pt x="132" y="638"/>
                    <a:pt x="132" y="638"/>
                  </a:cubicBezTo>
                  <a:cubicBezTo>
                    <a:pt x="140" y="643"/>
                    <a:pt x="142" y="656"/>
                    <a:pt x="150" y="661"/>
                  </a:cubicBezTo>
                  <a:cubicBezTo>
                    <a:pt x="145" y="669"/>
                    <a:pt x="145" y="669"/>
                    <a:pt x="145" y="669"/>
                  </a:cubicBezTo>
                  <a:cubicBezTo>
                    <a:pt x="153" y="674"/>
                    <a:pt x="156" y="687"/>
                    <a:pt x="140" y="711"/>
                  </a:cubicBezTo>
                  <a:cubicBezTo>
                    <a:pt x="109" y="759"/>
                    <a:pt x="109" y="759"/>
                    <a:pt x="109" y="759"/>
                  </a:cubicBezTo>
                  <a:cubicBezTo>
                    <a:pt x="99" y="775"/>
                    <a:pt x="102" y="788"/>
                    <a:pt x="110" y="793"/>
                  </a:cubicBezTo>
                  <a:cubicBezTo>
                    <a:pt x="152" y="832"/>
                    <a:pt x="152" y="832"/>
                    <a:pt x="152" y="832"/>
                  </a:cubicBezTo>
                  <a:cubicBezTo>
                    <a:pt x="160" y="837"/>
                    <a:pt x="173" y="834"/>
                    <a:pt x="178" y="826"/>
                  </a:cubicBezTo>
                  <a:cubicBezTo>
                    <a:pt x="230" y="781"/>
                    <a:pt x="230" y="781"/>
                    <a:pt x="230" y="781"/>
                  </a:cubicBezTo>
                  <a:cubicBezTo>
                    <a:pt x="248" y="770"/>
                    <a:pt x="261" y="767"/>
                    <a:pt x="269" y="772"/>
                  </a:cubicBezTo>
                  <a:cubicBezTo>
                    <a:pt x="269" y="772"/>
                    <a:pt x="269" y="772"/>
                    <a:pt x="269" y="772"/>
                  </a:cubicBezTo>
                  <a:cubicBezTo>
                    <a:pt x="282" y="769"/>
                    <a:pt x="298" y="779"/>
                    <a:pt x="306" y="785"/>
                  </a:cubicBezTo>
                  <a:cubicBezTo>
                    <a:pt x="306" y="785"/>
                    <a:pt x="306" y="785"/>
                    <a:pt x="306" y="785"/>
                  </a:cubicBezTo>
                  <a:cubicBezTo>
                    <a:pt x="319" y="782"/>
                    <a:pt x="327" y="787"/>
                    <a:pt x="332" y="813"/>
                  </a:cubicBezTo>
                  <a:cubicBezTo>
                    <a:pt x="346" y="878"/>
                    <a:pt x="346" y="878"/>
                    <a:pt x="346" y="878"/>
                  </a:cubicBezTo>
                  <a:cubicBezTo>
                    <a:pt x="349" y="892"/>
                    <a:pt x="357" y="897"/>
                    <a:pt x="370" y="894"/>
                  </a:cubicBezTo>
                  <a:cubicBezTo>
                    <a:pt x="425" y="896"/>
                    <a:pt x="425" y="896"/>
                    <a:pt x="425" y="896"/>
                  </a:cubicBezTo>
                  <a:cubicBezTo>
                    <a:pt x="430" y="888"/>
                    <a:pt x="443" y="885"/>
                    <a:pt x="440" y="872"/>
                  </a:cubicBezTo>
                  <a:cubicBezTo>
                    <a:pt x="440" y="804"/>
                    <a:pt x="440" y="804"/>
                    <a:pt x="440" y="804"/>
                  </a:cubicBezTo>
                  <a:cubicBezTo>
                    <a:pt x="442" y="783"/>
                    <a:pt x="460" y="772"/>
                    <a:pt x="466" y="764"/>
                  </a:cubicBezTo>
                  <a:cubicBezTo>
                    <a:pt x="466" y="764"/>
                    <a:pt x="466" y="764"/>
                    <a:pt x="466" y="764"/>
                  </a:cubicBezTo>
                  <a:cubicBezTo>
                    <a:pt x="479" y="761"/>
                    <a:pt x="492" y="758"/>
                    <a:pt x="497" y="750"/>
                  </a:cubicBezTo>
                  <a:cubicBezTo>
                    <a:pt x="497" y="750"/>
                    <a:pt x="497" y="750"/>
                    <a:pt x="497" y="750"/>
                  </a:cubicBezTo>
                  <a:cubicBezTo>
                    <a:pt x="510" y="747"/>
                    <a:pt x="523" y="745"/>
                    <a:pt x="539" y="755"/>
                  </a:cubicBezTo>
                  <a:cubicBezTo>
                    <a:pt x="594" y="791"/>
                    <a:pt x="594" y="791"/>
                    <a:pt x="594" y="791"/>
                  </a:cubicBezTo>
                  <a:cubicBezTo>
                    <a:pt x="602" y="796"/>
                    <a:pt x="623" y="798"/>
                    <a:pt x="628" y="790"/>
                  </a:cubicBezTo>
                  <a:cubicBezTo>
                    <a:pt x="659" y="743"/>
                    <a:pt x="659" y="743"/>
                    <a:pt x="659" y="743"/>
                  </a:cubicBezTo>
                  <a:cubicBezTo>
                    <a:pt x="659" y="743"/>
                    <a:pt x="669" y="727"/>
                    <a:pt x="654" y="716"/>
                  </a:cubicBezTo>
                  <a:close/>
                  <a:moveTo>
                    <a:pt x="281" y="633"/>
                  </a:moveTo>
                  <a:cubicBezTo>
                    <a:pt x="223" y="584"/>
                    <a:pt x="219" y="502"/>
                    <a:pt x="263" y="452"/>
                  </a:cubicBezTo>
                  <a:cubicBezTo>
                    <a:pt x="313" y="393"/>
                    <a:pt x="399" y="382"/>
                    <a:pt x="457" y="431"/>
                  </a:cubicBezTo>
                  <a:cubicBezTo>
                    <a:pt x="507" y="475"/>
                    <a:pt x="518" y="561"/>
                    <a:pt x="469" y="619"/>
                  </a:cubicBezTo>
                  <a:cubicBezTo>
                    <a:pt x="420" y="678"/>
                    <a:pt x="339" y="682"/>
                    <a:pt x="281" y="633"/>
                  </a:cubicBezTo>
                  <a:close/>
                  <a:moveTo>
                    <a:pt x="1019" y="398"/>
                  </a:moveTo>
                  <a:cubicBezTo>
                    <a:pt x="1004" y="362"/>
                    <a:pt x="1004" y="362"/>
                    <a:pt x="1004" y="362"/>
                  </a:cubicBezTo>
                  <a:cubicBezTo>
                    <a:pt x="992" y="348"/>
                    <a:pt x="1002" y="340"/>
                    <a:pt x="1002" y="332"/>
                  </a:cubicBezTo>
                  <a:cubicBezTo>
                    <a:pt x="1002" y="332"/>
                    <a:pt x="1002" y="332"/>
                    <a:pt x="1002" y="332"/>
                  </a:cubicBezTo>
                  <a:cubicBezTo>
                    <a:pt x="1007" y="328"/>
                    <a:pt x="1011" y="324"/>
                    <a:pt x="1012" y="315"/>
                  </a:cubicBezTo>
                  <a:cubicBezTo>
                    <a:pt x="1021" y="307"/>
                    <a:pt x="1026" y="303"/>
                    <a:pt x="1043" y="304"/>
                  </a:cubicBezTo>
                  <a:cubicBezTo>
                    <a:pt x="1086" y="307"/>
                    <a:pt x="1086" y="307"/>
                    <a:pt x="1086" y="307"/>
                  </a:cubicBezTo>
                  <a:cubicBezTo>
                    <a:pt x="1095" y="308"/>
                    <a:pt x="1099" y="304"/>
                    <a:pt x="1100" y="295"/>
                  </a:cubicBezTo>
                  <a:cubicBezTo>
                    <a:pt x="1107" y="266"/>
                    <a:pt x="1107" y="266"/>
                    <a:pt x="1107" y="266"/>
                  </a:cubicBezTo>
                  <a:cubicBezTo>
                    <a:pt x="1107" y="257"/>
                    <a:pt x="1103" y="252"/>
                    <a:pt x="1095" y="243"/>
                  </a:cubicBezTo>
                  <a:cubicBezTo>
                    <a:pt x="1057" y="236"/>
                    <a:pt x="1057" y="236"/>
                    <a:pt x="1057" y="236"/>
                  </a:cubicBezTo>
                  <a:cubicBezTo>
                    <a:pt x="1044" y="231"/>
                    <a:pt x="1036" y="222"/>
                    <a:pt x="1037" y="213"/>
                  </a:cubicBezTo>
                  <a:cubicBezTo>
                    <a:pt x="1038" y="205"/>
                    <a:pt x="1034" y="200"/>
                    <a:pt x="1030" y="187"/>
                  </a:cubicBezTo>
                  <a:cubicBezTo>
                    <a:pt x="1031" y="178"/>
                    <a:pt x="1032" y="170"/>
                    <a:pt x="1041" y="162"/>
                  </a:cubicBezTo>
                  <a:cubicBezTo>
                    <a:pt x="1077" y="138"/>
                    <a:pt x="1077" y="138"/>
                    <a:pt x="1077" y="138"/>
                  </a:cubicBezTo>
                  <a:cubicBezTo>
                    <a:pt x="1082" y="134"/>
                    <a:pt x="1083" y="126"/>
                    <a:pt x="1079" y="121"/>
                  </a:cubicBezTo>
                  <a:cubicBezTo>
                    <a:pt x="1059" y="89"/>
                    <a:pt x="1059" y="89"/>
                    <a:pt x="1059" y="89"/>
                  </a:cubicBezTo>
                  <a:cubicBezTo>
                    <a:pt x="1055" y="85"/>
                    <a:pt x="1047" y="84"/>
                    <a:pt x="1038" y="83"/>
                  </a:cubicBezTo>
                  <a:cubicBezTo>
                    <a:pt x="1002" y="107"/>
                    <a:pt x="1002" y="107"/>
                    <a:pt x="1002" y="107"/>
                  </a:cubicBezTo>
                  <a:cubicBezTo>
                    <a:pt x="989" y="110"/>
                    <a:pt x="980" y="110"/>
                    <a:pt x="976" y="105"/>
                  </a:cubicBezTo>
                  <a:cubicBezTo>
                    <a:pt x="972" y="100"/>
                    <a:pt x="960" y="95"/>
                    <a:pt x="956" y="91"/>
                  </a:cubicBezTo>
                  <a:cubicBezTo>
                    <a:pt x="952" y="86"/>
                    <a:pt x="944" y="77"/>
                    <a:pt x="944" y="68"/>
                  </a:cubicBezTo>
                  <a:cubicBezTo>
                    <a:pt x="948" y="25"/>
                    <a:pt x="948" y="25"/>
                    <a:pt x="948" y="25"/>
                  </a:cubicBezTo>
                  <a:cubicBezTo>
                    <a:pt x="948" y="17"/>
                    <a:pt x="940" y="7"/>
                    <a:pt x="940" y="7"/>
                  </a:cubicBezTo>
                  <a:cubicBezTo>
                    <a:pt x="902" y="0"/>
                    <a:pt x="902" y="0"/>
                    <a:pt x="902" y="0"/>
                  </a:cubicBezTo>
                  <a:cubicBezTo>
                    <a:pt x="902" y="0"/>
                    <a:pt x="889" y="4"/>
                    <a:pt x="888" y="12"/>
                  </a:cubicBezTo>
                  <a:cubicBezTo>
                    <a:pt x="872" y="50"/>
                    <a:pt x="872" y="50"/>
                    <a:pt x="872" y="50"/>
                  </a:cubicBezTo>
                  <a:cubicBezTo>
                    <a:pt x="871" y="67"/>
                    <a:pt x="862" y="67"/>
                    <a:pt x="858" y="71"/>
                  </a:cubicBezTo>
                  <a:cubicBezTo>
                    <a:pt x="858" y="71"/>
                    <a:pt x="858" y="71"/>
                    <a:pt x="853" y="75"/>
                  </a:cubicBezTo>
                  <a:cubicBezTo>
                    <a:pt x="849" y="70"/>
                    <a:pt x="840" y="70"/>
                    <a:pt x="836" y="74"/>
                  </a:cubicBezTo>
                  <a:cubicBezTo>
                    <a:pt x="831" y="78"/>
                    <a:pt x="831" y="78"/>
                    <a:pt x="831" y="78"/>
                  </a:cubicBezTo>
                  <a:cubicBezTo>
                    <a:pt x="822" y="77"/>
                    <a:pt x="814" y="76"/>
                    <a:pt x="806" y="67"/>
                  </a:cubicBezTo>
                  <a:cubicBezTo>
                    <a:pt x="778" y="35"/>
                    <a:pt x="778" y="35"/>
                    <a:pt x="778" y="35"/>
                  </a:cubicBezTo>
                  <a:cubicBezTo>
                    <a:pt x="774" y="30"/>
                    <a:pt x="762" y="25"/>
                    <a:pt x="757" y="29"/>
                  </a:cubicBezTo>
                  <a:cubicBezTo>
                    <a:pt x="734" y="49"/>
                    <a:pt x="734" y="49"/>
                    <a:pt x="734" y="49"/>
                  </a:cubicBezTo>
                  <a:cubicBezTo>
                    <a:pt x="725" y="49"/>
                    <a:pt x="725" y="57"/>
                    <a:pt x="728" y="70"/>
                  </a:cubicBezTo>
                  <a:cubicBezTo>
                    <a:pt x="747" y="102"/>
                    <a:pt x="747" y="102"/>
                    <a:pt x="747" y="102"/>
                  </a:cubicBezTo>
                  <a:cubicBezTo>
                    <a:pt x="754" y="120"/>
                    <a:pt x="750" y="124"/>
                    <a:pt x="744" y="136"/>
                  </a:cubicBezTo>
                  <a:cubicBezTo>
                    <a:pt x="744" y="136"/>
                    <a:pt x="744" y="136"/>
                    <a:pt x="744" y="136"/>
                  </a:cubicBezTo>
                  <a:cubicBezTo>
                    <a:pt x="740" y="140"/>
                    <a:pt x="735" y="144"/>
                    <a:pt x="731" y="148"/>
                  </a:cubicBezTo>
                  <a:cubicBezTo>
                    <a:pt x="731" y="148"/>
                    <a:pt x="731" y="148"/>
                    <a:pt x="731" y="148"/>
                  </a:cubicBezTo>
                  <a:cubicBezTo>
                    <a:pt x="730" y="157"/>
                    <a:pt x="721" y="165"/>
                    <a:pt x="703" y="164"/>
                  </a:cubicBezTo>
                  <a:cubicBezTo>
                    <a:pt x="665" y="157"/>
                    <a:pt x="665" y="157"/>
                    <a:pt x="665" y="157"/>
                  </a:cubicBezTo>
                  <a:cubicBezTo>
                    <a:pt x="656" y="156"/>
                    <a:pt x="647" y="164"/>
                    <a:pt x="647" y="173"/>
                  </a:cubicBezTo>
                  <a:cubicBezTo>
                    <a:pt x="640" y="203"/>
                    <a:pt x="640" y="203"/>
                    <a:pt x="640" y="203"/>
                  </a:cubicBezTo>
                  <a:cubicBezTo>
                    <a:pt x="639" y="211"/>
                    <a:pt x="643" y="216"/>
                    <a:pt x="656" y="221"/>
                  </a:cubicBezTo>
                  <a:cubicBezTo>
                    <a:pt x="690" y="232"/>
                    <a:pt x="690" y="232"/>
                    <a:pt x="690" y="232"/>
                  </a:cubicBezTo>
                  <a:cubicBezTo>
                    <a:pt x="702" y="237"/>
                    <a:pt x="710" y="246"/>
                    <a:pt x="710" y="255"/>
                  </a:cubicBezTo>
                  <a:cubicBezTo>
                    <a:pt x="710" y="255"/>
                    <a:pt x="710" y="255"/>
                    <a:pt x="710" y="255"/>
                  </a:cubicBezTo>
                  <a:cubicBezTo>
                    <a:pt x="714" y="260"/>
                    <a:pt x="713" y="268"/>
                    <a:pt x="717" y="273"/>
                  </a:cubicBezTo>
                  <a:cubicBezTo>
                    <a:pt x="712" y="277"/>
                    <a:pt x="712" y="277"/>
                    <a:pt x="712" y="277"/>
                  </a:cubicBezTo>
                  <a:cubicBezTo>
                    <a:pt x="716" y="281"/>
                    <a:pt x="716" y="290"/>
                    <a:pt x="702" y="302"/>
                  </a:cubicBezTo>
                  <a:cubicBezTo>
                    <a:pt x="674" y="326"/>
                    <a:pt x="674" y="326"/>
                    <a:pt x="674" y="326"/>
                  </a:cubicBezTo>
                  <a:cubicBezTo>
                    <a:pt x="665" y="334"/>
                    <a:pt x="664" y="343"/>
                    <a:pt x="668" y="347"/>
                  </a:cubicBezTo>
                  <a:cubicBezTo>
                    <a:pt x="687" y="379"/>
                    <a:pt x="687" y="379"/>
                    <a:pt x="687" y="379"/>
                  </a:cubicBezTo>
                  <a:cubicBezTo>
                    <a:pt x="691" y="383"/>
                    <a:pt x="700" y="384"/>
                    <a:pt x="704" y="380"/>
                  </a:cubicBezTo>
                  <a:cubicBezTo>
                    <a:pt x="745" y="361"/>
                    <a:pt x="745" y="361"/>
                    <a:pt x="745" y="361"/>
                  </a:cubicBezTo>
                  <a:cubicBezTo>
                    <a:pt x="758" y="358"/>
                    <a:pt x="767" y="358"/>
                    <a:pt x="771" y="363"/>
                  </a:cubicBezTo>
                  <a:cubicBezTo>
                    <a:pt x="771" y="363"/>
                    <a:pt x="771" y="363"/>
                    <a:pt x="771" y="363"/>
                  </a:cubicBezTo>
                  <a:cubicBezTo>
                    <a:pt x="779" y="364"/>
                    <a:pt x="787" y="373"/>
                    <a:pt x="791" y="377"/>
                  </a:cubicBezTo>
                  <a:cubicBezTo>
                    <a:pt x="791" y="377"/>
                    <a:pt x="791" y="377"/>
                    <a:pt x="791" y="377"/>
                  </a:cubicBezTo>
                  <a:cubicBezTo>
                    <a:pt x="800" y="378"/>
                    <a:pt x="804" y="383"/>
                    <a:pt x="802" y="400"/>
                  </a:cubicBezTo>
                  <a:cubicBezTo>
                    <a:pt x="799" y="443"/>
                    <a:pt x="799" y="443"/>
                    <a:pt x="799" y="443"/>
                  </a:cubicBezTo>
                  <a:cubicBezTo>
                    <a:pt x="798" y="451"/>
                    <a:pt x="802" y="456"/>
                    <a:pt x="811" y="457"/>
                  </a:cubicBezTo>
                  <a:cubicBezTo>
                    <a:pt x="845" y="468"/>
                    <a:pt x="845" y="468"/>
                    <a:pt x="845" y="468"/>
                  </a:cubicBezTo>
                  <a:cubicBezTo>
                    <a:pt x="849" y="464"/>
                    <a:pt x="858" y="464"/>
                    <a:pt x="859" y="456"/>
                  </a:cubicBezTo>
                  <a:cubicBezTo>
                    <a:pt x="871" y="413"/>
                    <a:pt x="871" y="413"/>
                    <a:pt x="871" y="413"/>
                  </a:cubicBezTo>
                  <a:cubicBezTo>
                    <a:pt x="876" y="401"/>
                    <a:pt x="889" y="397"/>
                    <a:pt x="894" y="393"/>
                  </a:cubicBezTo>
                  <a:cubicBezTo>
                    <a:pt x="894" y="393"/>
                    <a:pt x="894" y="393"/>
                    <a:pt x="894" y="393"/>
                  </a:cubicBezTo>
                  <a:cubicBezTo>
                    <a:pt x="902" y="394"/>
                    <a:pt x="911" y="395"/>
                    <a:pt x="916" y="391"/>
                  </a:cubicBezTo>
                  <a:cubicBezTo>
                    <a:pt x="916" y="391"/>
                    <a:pt x="916" y="391"/>
                    <a:pt x="916" y="391"/>
                  </a:cubicBezTo>
                  <a:cubicBezTo>
                    <a:pt x="924" y="391"/>
                    <a:pt x="933" y="392"/>
                    <a:pt x="941" y="401"/>
                  </a:cubicBezTo>
                  <a:cubicBezTo>
                    <a:pt x="969" y="433"/>
                    <a:pt x="969" y="433"/>
                    <a:pt x="969" y="433"/>
                  </a:cubicBezTo>
                  <a:cubicBezTo>
                    <a:pt x="973" y="438"/>
                    <a:pt x="985" y="443"/>
                    <a:pt x="990" y="439"/>
                  </a:cubicBezTo>
                  <a:cubicBezTo>
                    <a:pt x="1018" y="415"/>
                    <a:pt x="1018" y="415"/>
                    <a:pt x="1018" y="415"/>
                  </a:cubicBezTo>
                  <a:cubicBezTo>
                    <a:pt x="1018" y="415"/>
                    <a:pt x="1027" y="407"/>
                    <a:pt x="1019" y="398"/>
                  </a:cubicBezTo>
                  <a:close/>
                  <a:moveTo>
                    <a:pt x="803" y="279"/>
                  </a:moveTo>
                  <a:cubicBezTo>
                    <a:pt x="776" y="238"/>
                    <a:pt x="788" y="187"/>
                    <a:pt x="825" y="164"/>
                  </a:cubicBezTo>
                  <a:cubicBezTo>
                    <a:pt x="866" y="136"/>
                    <a:pt x="921" y="144"/>
                    <a:pt x="948" y="185"/>
                  </a:cubicBezTo>
                  <a:cubicBezTo>
                    <a:pt x="972" y="221"/>
                    <a:pt x="963" y="277"/>
                    <a:pt x="922" y="304"/>
                  </a:cubicBezTo>
                  <a:cubicBezTo>
                    <a:pt x="881" y="332"/>
                    <a:pt x="830" y="320"/>
                    <a:pt x="803" y="279"/>
                  </a:cubicBezTo>
                  <a:close/>
                </a:path>
              </a:pathLst>
            </a:custGeom>
            <a:solidFill>
              <a:schemeClr val="tx1"/>
            </a:solidFill>
            <a:ln>
              <a:noFill/>
            </a:ln>
          </p:spPr>
          <p:txBody>
            <a:bodyPr vert="horz" wrap="square" lIns="68574" tIns="34287" rIns="68574" bIns="34287"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17346"/>
                </a:solidFill>
                <a:effectLst/>
                <a:uLnTx/>
                <a:uFillTx/>
                <a:latin typeface="Segoe UI"/>
                <a:ea typeface="+mn-ea"/>
                <a:cs typeface="+mn-cs"/>
              </a:endParaRPr>
            </a:p>
          </p:txBody>
        </p:sp>
        <p:sp>
          <p:nvSpPr>
            <p:cNvPr id="88" name="Freeform 87"/>
            <p:cNvSpPr>
              <a:spLocks noChangeAspect="1"/>
            </p:cNvSpPr>
            <p:nvPr/>
          </p:nvSpPr>
          <p:spPr bwMode="black">
            <a:xfrm>
              <a:off x="776985" y="4213905"/>
              <a:ext cx="342871" cy="335728"/>
            </a:xfrm>
            <a:custGeom>
              <a:avLst/>
              <a:gdLst>
                <a:gd name="connsiteX0" fmla="*/ 3713863 w 4893730"/>
                <a:gd name="connsiteY0" fmla="*/ 2130808 h 4791777"/>
                <a:gd name="connsiteX1" fmla="*/ 4426142 w 4893730"/>
                <a:gd name="connsiteY1" fmla="*/ 2130808 h 4791777"/>
                <a:gd name="connsiteX2" fmla="*/ 4598071 w 4893730"/>
                <a:gd name="connsiteY2" fmla="*/ 2301547 h 4791777"/>
                <a:gd name="connsiteX3" fmla="*/ 4598071 w 4893730"/>
                <a:gd name="connsiteY3" fmla="*/ 3886978 h 4791777"/>
                <a:gd name="connsiteX4" fmla="*/ 4426142 w 4893730"/>
                <a:gd name="connsiteY4" fmla="*/ 4057717 h 4791777"/>
                <a:gd name="connsiteX5" fmla="*/ 3713863 w 4893730"/>
                <a:gd name="connsiteY5" fmla="*/ 4057717 h 4791777"/>
                <a:gd name="connsiteX6" fmla="*/ 3517372 w 4893730"/>
                <a:gd name="connsiteY6" fmla="*/ 3886978 h 4791777"/>
                <a:gd name="connsiteX7" fmla="*/ 3517372 w 4893730"/>
                <a:gd name="connsiteY7" fmla="*/ 2301547 h 4791777"/>
                <a:gd name="connsiteX8" fmla="*/ 3713863 w 4893730"/>
                <a:gd name="connsiteY8" fmla="*/ 2130808 h 4791777"/>
                <a:gd name="connsiteX9" fmla="*/ 904368 w 4893730"/>
                <a:gd name="connsiteY9" fmla="*/ 1223432 h 4791777"/>
                <a:gd name="connsiteX10" fmla="*/ 1609930 w 4893730"/>
                <a:gd name="connsiteY10" fmla="*/ 1223432 h 4791777"/>
                <a:gd name="connsiteX11" fmla="*/ 1804567 w 4893730"/>
                <a:gd name="connsiteY11" fmla="*/ 1394467 h 4791777"/>
                <a:gd name="connsiteX12" fmla="*/ 1804567 w 4893730"/>
                <a:gd name="connsiteY12" fmla="*/ 3886683 h 4791777"/>
                <a:gd name="connsiteX13" fmla="*/ 1609930 w 4893730"/>
                <a:gd name="connsiteY13" fmla="*/ 4057717 h 4791777"/>
                <a:gd name="connsiteX14" fmla="*/ 904368 w 4893730"/>
                <a:gd name="connsiteY14" fmla="*/ 4057717 h 4791777"/>
                <a:gd name="connsiteX15" fmla="*/ 734060 w 4893730"/>
                <a:gd name="connsiteY15" fmla="*/ 3886683 h 4791777"/>
                <a:gd name="connsiteX16" fmla="*/ 734060 w 4893730"/>
                <a:gd name="connsiteY16" fmla="*/ 1394467 h 4791777"/>
                <a:gd name="connsiteX17" fmla="*/ 904368 w 4893730"/>
                <a:gd name="connsiteY17" fmla="*/ 1223432 h 4791777"/>
                <a:gd name="connsiteX18" fmla="*/ 2325453 w 4893730"/>
                <a:gd name="connsiteY18" fmla="*/ 316050 h 4791777"/>
                <a:gd name="connsiteX19" fmla="*/ 3031014 w 4893730"/>
                <a:gd name="connsiteY19" fmla="*/ 316050 h 4791777"/>
                <a:gd name="connsiteX20" fmla="*/ 3201322 w 4893730"/>
                <a:gd name="connsiteY20" fmla="*/ 487238 h 4791777"/>
                <a:gd name="connsiteX21" fmla="*/ 3201322 w 4893730"/>
                <a:gd name="connsiteY21" fmla="*/ 3886530 h 4791777"/>
                <a:gd name="connsiteX22" fmla="*/ 3031014 w 4893730"/>
                <a:gd name="connsiteY22" fmla="*/ 4057717 h 4791777"/>
                <a:gd name="connsiteX23" fmla="*/ 2325453 w 4893730"/>
                <a:gd name="connsiteY23" fmla="*/ 4057717 h 4791777"/>
                <a:gd name="connsiteX24" fmla="*/ 2130815 w 4893730"/>
                <a:gd name="connsiteY24" fmla="*/ 3886530 h 4791777"/>
                <a:gd name="connsiteX25" fmla="*/ 2130815 w 4893730"/>
                <a:gd name="connsiteY25" fmla="*/ 487238 h 4791777"/>
                <a:gd name="connsiteX26" fmla="*/ 2325453 w 4893730"/>
                <a:gd name="connsiteY26" fmla="*/ 316050 h 4791777"/>
                <a:gd name="connsiteX27" fmla="*/ 269155 w 4893730"/>
                <a:gd name="connsiteY27" fmla="*/ 0 h 4791777"/>
                <a:gd name="connsiteX28" fmla="*/ 538311 w 4893730"/>
                <a:gd name="connsiteY28" fmla="*/ 268927 h 4791777"/>
                <a:gd name="connsiteX29" fmla="*/ 538311 w 4893730"/>
                <a:gd name="connsiteY29" fmla="*/ 4253925 h 4791777"/>
                <a:gd name="connsiteX30" fmla="*/ 4624575 w 4893730"/>
                <a:gd name="connsiteY30" fmla="*/ 4253925 h 4791777"/>
                <a:gd name="connsiteX31" fmla="*/ 4893730 w 4893730"/>
                <a:gd name="connsiteY31" fmla="*/ 4522851 h 4791777"/>
                <a:gd name="connsiteX32" fmla="*/ 4624575 w 4893730"/>
                <a:gd name="connsiteY32" fmla="*/ 4791777 h 4791777"/>
                <a:gd name="connsiteX33" fmla="*/ 269155 w 4893730"/>
                <a:gd name="connsiteY33" fmla="*/ 4791777 h 4791777"/>
                <a:gd name="connsiteX34" fmla="*/ 0 w 4893730"/>
                <a:gd name="connsiteY34" fmla="*/ 4522851 h 4791777"/>
                <a:gd name="connsiteX35" fmla="*/ 0 w 4893730"/>
                <a:gd name="connsiteY35" fmla="*/ 268927 h 4791777"/>
                <a:gd name="connsiteX36" fmla="*/ 269155 w 4893730"/>
                <a:gd name="connsiteY36" fmla="*/ 0 h 4791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4893730" h="4791777">
                  <a:moveTo>
                    <a:pt x="3713863" y="2130808"/>
                  </a:moveTo>
                  <a:cubicBezTo>
                    <a:pt x="3713863" y="2130808"/>
                    <a:pt x="3713863" y="2130808"/>
                    <a:pt x="4426142" y="2130808"/>
                  </a:cubicBezTo>
                  <a:cubicBezTo>
                    <a:pt x="4524387" y="2130808"/>
                    <a:pt x="4598071" y="2203982"/>
                    <a:pt x="4598071" y="2301547"/>
                  </a:cubicBezTo>
                  <a:cubicBezTo>
                    <a:pt x="4598071" y="2301547"/>
                    <a:pt x="4598071" y="2301547"/>
                    <a:pt x="4598071" y="3886978"/>
                  </a:cubicBezTo>
                  <a:cubicBezTo>
                    <a:pt x="4598071" y="3984543"/>
                    <a:pt x="4524387" y="4057717"/>
                    <a:pt x="4426142" y="4057717"/>
                  </a:cubicBezTo>
                  <a:cubicBezTo>
                    <a:pt x="4426142" y="4057717"/>
                    <a:pt x="4426142" y="4057717"/>
                    <a:pt x="3713863" y="4057717"/>
                  </a:cubicBezTo>
                  <a:cubicBezTo>
                    <a:pt x="3615618" y="4057717"/>
                    <a:pt x="3517372" y="3984543"/>
                    <a:pt x="3517372" y="3886978"/>
                  </a:cubicBezTo>
                  <a:cubicBezTo>
                    <a:pt x="3517372" y="3886978"/>
                    <a:pt x="3517372" y="3886978"/>
                    <a:pt x="3517372" y="2301547"/>
                  </a:cubicBezTo>
                  <a:cubicBezTo>
                    <a:pt x="3517372" y="2203982"/>
                    <a:pt x="3615618" y="2130808"/>
                    <a:pt x="3713863" y="2130808"/>
                  </a:cubicBezTo>
                  <a:close/>
                  <a:moveTo>
                    <a:pt x="904368" y="1223432"/>
                  </a:moveTo>
                  <a:cubicBezTo>
                    <a:pt x="904368" y="1223432"/>
                    <a:pt x="904368" y="1223432"/>
                    <a:pt x="1609930" y="1223432"/>
                  </a:cubicBezTo>
                  <a:cubicBezTo>
                    <a:pt x="1731578" y="1223432"/>
                    <a:pt x="1804567" y="1296733"/>
                    <a:pt x="1804567" y="1394467"/>
                  </a:cubicBezTo>
                  <a:cubicBezTo>
                    <a:pt x="1804567" y="1394467"/>
                    <a:pt x="1804567" y="1394467"/>
                    <a:pt x="1804567" y="3886683"/>
                  </a:cubicBezTo>
                  <a:cubicBezTo>
                    <a:pt x="1804567" y="3984417"/>
                    <a:pt x="1731578" y="4057717"/>
                    <a:pt x="1609930" y="4057717"/>
                  </a:cubicBezTo>
                  <a:cubicBezTo>
                    <a:pt x="1609930" y="4057717"/>
                    <a:pt x="1609930" y="4057717"/>
                    <a:pt x="904368" y="4057717"/>
                  </a:cubicBezTo>
                  <a:cubicBezTo>
                    <a:pt x="807049" y="4057717"/>
                    <a:pt x="734060" y="3984417"/>
                    <a:pt x="734060" y="3886683"/>
                  </a:cubicBezTo>
                  <a:cubicBezTo>
                    <a:pt x="734060" y="3886683"/>
                    <a:pt x="734060" y="3886683"/>
                    <a:pt x="734060" y="1394467"/>
                  </a:cubicBezTo>
                  <a:cubicBezTo>
                    <a:pt x="734060" y="1296733"/>
                    <a:pt x="807049" y="1223432"/>
                    <a:pt x="904368" y="1223432"/>
                  </a:cubicBezTo>
                  <a:close/>
                  <a:moveTo>
                    <a:pt x="2325453" y="316050"/>
                  </a:moveTo>
                  <a:cubicBezTo>
                    <a:pt x="2325453" y="316050"/>
                    <a:pt x="2325453" y="316050"/>
                    <a:pt x="3031014" y="316050"/>
                  </a:cubicBezTo>
                  <a:cubicBezTo>
                    <a:pt x="3128333" y="316050"/>
                    <a:pt x="3201322" y="389416"/>
                    <a:pt x="3201322" y="487238"/>
                  </a:cubicBezTo>
                  <a:cubicBezTo>
                    <a:pt x="3201322" y="487238"/>
                    <a:pt x="3201322" y="487238"/>
                    <a:pt x="3201322" y="3886530"/>
                  </a:cubicBezTo>
                  <a:cubicBezTo>
                    <a:pt x="3201322" y="3984351"/>
                    <a:pt x="3128333" y="4057717"/>
                    <a:pt x="3031014" y="4057717"/>
                  </a:cubicBezTo>
                  <a:cubicBezTo>
                    <a:pt x="3031014" y="4057717"/>
                    <a:pt x="3031014" y="4057717"/>
                    <a:pt x="2325453" y="4057717"/>
                  </a:cubicBezTo>
                  <a:cubicBezTo>
                    <a:pt x="2203804" y="4057717"/>
                    <a:pt x="2130815" y="3984351"/>
                    <a:pt x="2130815" y="3886530"/>
                  </a:cubicBezTo>
                  <a:cubicBezTo>
                    <a:pt x="2130815" y="3886530"/>
                    <a:pt x="2130815" y="3886530"/>
                    <a:pt x="2130815" y="487238"/>
                  </a:cubicBezTo>
                  <a:cubicBezTo>
                    <a:pt x="2130815" y="389416"/>
                    <a:pt x="2203804" y="316050"/>
                    <a:pt x="2325453" y="316050"/>
                  </a:cubicBezTo>
                  <a:close/>
                  <a:moveTo>
                    <a:pt x="269155" y="0"/>
                  </a:moveTo>
                  <a:cubicBezTo>
                    <a:pt x="415967" y="0"/>
                    <a:pt x="538311" y="122239"/>
                    <a:pt x="538311" y="268927"/>
                  </a:cubicBezTo>
                  <a:cubicBezTo>
                    <a:pt x="538311" y="268927"/>
                    <a:pt x="538311" y="268927"/>
                    <a:pt x="538311" y="4253925"/>
                  </a:cubicBezTo>
                  <a:cubicBezTo>
                    <a:pt x="538311" y="4253925"/>
                    <a:pt x="538311" y="4253925"/>
                    <a:pt x="4624575" y="4253925"/>
                  </a:cubicBezTo>
                  <a:cubicBezTo>
                    <a:pt x="4771387" y="4253925"/>
                    <a:pt x="4893730" y="4376164"/>
                    <a:pt x="4893730" y="4522851"/>
                  </a:cubicBezTo>
                  <a:cubicBezTo>
                    <a:pt x="4893730" y="4669538"/>
                    <a:pt x="4771387" y="4791777"/>
                    <a:pt x="4624575" y="4791777"/>
                  </a:cubicBezTo>
                  <a:cubicBezTo>
                    <a:pt x="4624575" y="4791777"/>
                    <a:pt x="4624575" y="4791777"/>
                    <a:pt x="269155" y="4791777"/>
                  </a:cubicBezTo>
                  <a:cubicBezTo>
                    <a:pt x="122344" y="4791777"/>
                    <a:pt x="0" y="4669538"/>
                    <a:pt x="0" y="4522851"/>
                  </a:cubicBezTo>
                  <a:cubicBezTo>
                    <a:pt x="0" y="4522851"/>
                    <a:pt x="0" y="4522851"/>
                    <a:pt x="0" y="268927"/>
                  </a:cubicBezTo>
                  <a:cubicBezTo>
                    <a:pt x="0" y="122239"/>
                    <a:pt x="122344" y="0"/>
                    <a:pt x="269155"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37148" tIns="109719" rIns="137148" bIns="109719"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699261"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9" name="Rectangle 88"/>
            <p:cNvSpPr/>
            <p:nvPr/>
          </p:nvSpPr>
          <p:spPr bwMode="auto">
            <a:xfrm rot="2745734">
              <a:off x="279530" y="1141266"/>
              <a:ext cx="1260714" cy="1255193"/>
            </a:xfrm>
            <a:prstGeom prst="rect">
              <a:avLst/>
            </a:prstGeom>
            <a:solidFill>
              <a:schemeClr val="tx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0" name="Rectangle 89"/>
            <p:cNvSpPr/>
            <p:nvPr/>
          </p:nvSpPr>
          <p:spPr bwMode="auto">
            <a:xfrm rot="2745734">
              <a:off x="292433" y="3819160"/>
              <a:ext cx="1610349" cy="1235003"/>
            </a:xfrm>
            <a:prstGeom prst="rect">
              <a:avLst/>
            </a:prstGeom>
            <a:solidFill>
              <a:schemeClr val="tx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2" name="Rectangle 91"/>
            <p:cNvSpPr/>
            <p:nvPr/>
          </p:nvSpPr>
          <p:spPr bwMode="auto">
            <a:xfrm rot="2745734">
              <a:off x="1315610" y="4915701"/>
              <a:ext cx="1263370" cy="1255989"/>
            </a:xfrm>
            <a:prstGeom prst="rect">
              <a:avLst/>
            </a:prstGeom>
            <a:solidFill>
              <a:schemeClr val="tx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40" name="TextBox 39"/>
          <p:cNvSpPr txBox="1"/>
          <p:nvPr/>
        </p:nvSpPr>
        <p:spPr>
          <a:xfrm>
            <a:off x="3" y="51415"/>
            <a:ext cx="2849058" cy="430887"/>
          </a:xfrm>
          <a:prstGeom prst="rect">
            <a:avLst/>
          </a:prstGeom>
        </p:spPr>
        <p:txBody>
          <a:bodyPr wrap="square">
            <a:spAutoFit/>
          </a:bodyPr>
          <a:lstStyle>
            <a:defPPr>
              <a:defRPr lang="en-US"/>
            </a:defPPr>
            <a:lvl1pPr defTabSz="914192">
              <a:defRPr sz="2800" b="1" spc="-100">
                <a:ln w="3175">
                  <a:noFill/>
                </a:ln>
                <a:solidFill>
                  <a:srgbClr val="F2C812"/>
                </a:solidFill>
                <a:latin typeface="Segoe UI" panose="020B0502040204020203" pitchFamily="34" charset="0"/>
                <a:ea typeface="ＭＳ Ｐゴシック" charset="0"/>
                <a:cs typeface="Segoe UI" panose="020B0502040204020203" pitchFamily="34" charset="0"/>
              </a:defRPr>
            </a:lvl1pPr>
          </a:lstStyle>
          <a:p>
            <a:pPr marL="0" marR="0" lvl="0" indent="0" algn="l" defTabSz="914192" rtl="0" eaLnBrk="1" fontAlgn="auto" latinLnBrk="0" hangingPunct="1">
              <a:lnSpc>
                <a:spcPct val="100000"/>
              </a:lnSpc>
              <a:spcBef>
                <a:spcPts val="0"/>
              </a:spcBef>
              <a:spcAft>
                <a:spcPts val="0"/>
              </a:spcAft>
              <a:buClrTx/>
              <a:buSzTx/>
              <a:buFontTx/>
              <a:buNone/>
              <a:tabLst/>
              <a:defRPr/>
            </a:pPr>
            <a:r>
              <a:rPr kumimoji="0" lang="en-US" sz="2200" b="1" i="0" u="none" strike="noStrike" kern="1200" cap="none" spc="-100" normalizeH="0" baseline="0" noProof="0">
                <a:ln w="3175">
                  <a:noFill/>
                </a:ln>
                <a:solidFill>
                  <a:srgbClr val="F2C812"/>
                </a:solidFill>
                <a:effectLst/>
                <a:uLnTx/>
                <a:uFillTx/>
                <a:latin typeface="Segoe UI Light"/>
                <a:ea typeface="ＭＳ Ｐゴシック" charset="0"/>
                <a:cs typeface="Segoe UI" panose="020B0502040204020203" pitchFamily="34" charset="0"/>
              </a:rPr>
              <a:t>Power BI Desktop</a:t>
            </a:r>
          </a:p>
        </p:txBody>
      </p:sp>
      <p:sp>
        <p:nvSpPr>
          <p:cNvPr id="41" name="Rectangle 40"/>
          <p:cNvSpPr/>
          <p:nvPr/>
        </p:nvSpPr>
        <p:spPr bwMode="auto">
          <a:xfrm rot="2745734">
            <a:off x="825067" y="3494250"/>
            <a:ext cx="1260714" cy="370170"/>
          </a:xfrm>
          <a:prstGeom prst="rect">
            <a:avLst/>
          </a:prstGeom>
          <a:solidFill>
            <a:schemeClr val="tx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9" name="Text Placeholder 2"/>
          <p:cNvSpPr txBox="1">
            <a:spLocks/>
          </p:cNvSpPr>
          <p:nvPr/>
        </p:nvSpPr>
        <p:spPr>
          <a:xfrm>
            <a:off x="3062206" y="1445957"/>
            <a:ext cx="9090381" cy="897374"/>
          </a:xfrm>
          <a:prstGeom prst="rect">
            <a:avLst/>
          </a:prstGeom>
        </p:spPr>
        <p:txBody>
          <a:bodyPr vert="horz" wrap="square" lIns="182880" tIns="146304" rIns="182880" bIns="146304" rtlCol="0">
            <a:noAutofit/>
          </a:bodyPr>
          <a:lstStyle>
            <a:lvl1pPr marL="182845" marR="0"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3921" kern="1200" spc="0" baseline="0">
                <a:gradFill>
                  <a:gsLst>
                    <a:gs pos="1250">
                      <a:schemeClr val="tx2"/>
                    </a:gs>
                    <a:gs pos="99000">
                      <a:schemeClr val="tx2"/>
                    </a:gs>
                  </a:gsLst>
                  <a:lin ang="5400000" scaled="0"/>
                </a:gradFill>
                <a:latin typeface="+mj-lt"/>
                <a:ea typeface="+mn-ea"/>
                <a:cs typeface="+mn-cs"/>
              </a:defRPr>
            </a:lvl1pPr>
            <a:lvl2pPr marL="365690" marR="0"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2400" kern="1200" spc="0" baseline="0">
                <a:solidFill>
                  <a:schemeClr val="tx2"/>
                </a:solidFill>
                <a:latin typeface="+mj-lt"/>
                <a:ea typeface="+mn-ea"/>
                <a:cs typeface="+mn-cs"/>
              </a:defRPr>
            </a:lvl2pPr>
            <a:lvl3pPr marL="548535" marR="0"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2000" kern="1200" spc="0" baseline="0">
                <a:solidFill>
                  <a:schemeClr val="tx2"/>
                </a:solidFill>
                <a:latin typeface="+mj-lt"/>
                <a:ea typeface="+mn-ea"/>
                <a:cs typeface="+mn-cs"/>
              </a:defRPr>
            </a:lvl3pPr>
            <a:lvl4pPr marL="733802" marR="0" indent="-28569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1765" kern="1200" spc="0" baseline="0">
                <a:solidFill>
                  <a:schemeClr val="tx2"/>
                </a:solidFill>
                <a:latin typeface="+mn-lt"/>
                <a:ea typeface="+mn-ea"/>
                <a:cs typeface="+mn-cs"/>
              </a:defRPr>
            </a:lvl4pPr>
            <a:lvl5pPr marL="957856" marR="0" indent="-28569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1765" kern="1200" spc="0" baseline="0">
                <a:solidFill>
                  <a:schemeClr val="tx2"/>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r>
              <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rPr>
              <a:t>We enabled 3</a:t>
            </a:r>
            <a:r>
              <a:rPr kumimoji="0" lang="en-US" sz="2000" b="0" i="0" u="none" strike="noStrike" kern="1200" cap="none" spc="0" normalizeH="0" baseline="30000" noProof="0">
                <a:ln>
                  <a:noFill/>
                </a:ln>
                <a:solidFill>
                  <a:prstClr val="black"/>
                </a:solidFill>
                <a:effectLst/>
                <a:uLnTx/>
                <a:uFillTx/>
                <a:latin typeface="Segoe UI Light"/>
                <a:ea typeface="+mn-ea"/>
                <a:cs typeface="Times New Roman" panose="02020603050405020304" pitchFamily="18" charset="0"/>
              </a:rPr>
              <a:t>rd</a:t>
            </a:r>
            <a:r>
              <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rPr>
              <a:t> party, or you, to </a:t>
            </a:r>
            <a:r>
              <a:rPr kumimoji="0" lang="en-US" sz="2000" b="1"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rPr>
              <a:t>build your own Visuals</a:t>
            </a: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1"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r>
              <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rPr>
              <a:t>After you build them, </a:t>
            </a:r>
            <a:r>
              <a:rPr kumimoji="0" lang="en-US" sz="2000" b="1"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rPr>
              <a:t>you can use them or you can share with the community</a:t>
            </a: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1"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r>
              <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rPr>
              <a:t>If you share, we will do a quality check and make it </a:t>
            </a:r>
            <a:r>
              <a:rPr kumimoji="0" lang="en-US" sz="2000" b="1"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rPr>
              <a:t>available at</a:t>
            </a:r>
          </a:p>
          <a:p>
            <a:pPr marL="182845" marR="0" lvl="1" indent="0" algn="l" defTabSz="914367" rtl="0" eaLnBrk="1" fontAlgn="auto" latinLnBrk="0" hangingPunct="1">
              <a:lnSpc>
                <a:spcPct val="90000"/>
              </a:lnSpc>
              <a:spcBef>
                <a:spcPct val="20000"/>
              </a:spcBef>
              <a:spcAft>
                <a:spcPts val="0"/>
              </a:spcAft>
              <a:buClrTx/>
              <a:buSzPct val="90000"/>
              <a:buFont typeface="Arial" panose="020B0604020202020204" pitchFamily="34" charset="0"/>
              <a:buNone/>
              <a:tabLst/>
              <a:defRPr/>
            </a:pPr>
            <a:r>
              <a:rPr kumimoji="0" lang="en-US" sz="2000" b="1"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rPr>
              <a:t> </a:t>
            </a:r>
            <a:r>
              <a:rPr kumimoji="0" lang="en-US" sz="2000" b="1" i="0" u="none" strike="noStrike" kern="1200" cap="none" spc="0" normalizeH="0" baseline="0" noProof="0">
                <a:ln>
                  <a:noFill/>
                </a:ln>
                <a:solidFill>
                  <a:srgbClr val="969696"/>
                </a:solidFill>
                <a:effectLst/>
                <a:uLnTx/>
                <a:uFillTx/>
                <a:latin typeface="Segoe UI Light"/>
                <a:ea typeface="+mn-ea"/>
                <a:cs typeface="Times New Roman" panose="02020603050405020304" pitchFamily="18" charset="0"/>
              </a:rPr>
              <a:t>https://app.powerbi.com/visuals/</a:t>
            </a: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1"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1" i="0" u="none" strike="noStrike" kern="1200" cap="none" spc="0" normalizeH="0" baseline="0" noProof="0">
              <a:ln>
                <a:noFill/>
              </a:ln>
              <a:solidFill>
                <a:srgbClr val="000000"/>
              </a:solidFill>
              <a:effectLst/>
              <a:uLnTx/>
              <a:uFillTx/>
              <a:latin typeface="Segoe UI Light"/>
              <a:ea typeface="+mn-ea"/>
              <a:cs typeface="+mn-cs"/>
            </a:endParaRPr>
          </a:p>
          <a:p>
            <a:pPr marL="182845" marR="0" lvl="1" indent="0" algn="l" defTabSz="914367" rtl="0" eaLnBrk="1" fontAlgn="auto" latinLnBrk="0" hangingPunct="1">
              <a:lnSpc>
                <a:spcPct val="90000"/>
              </a:lnSpc>
              <a:spcBef>
                <a:spcPct val="20000"/>
              </a:spcBef>
              <a:spcAft>
                <a:spcPts val="0"/>
              </a:spcAft>
              <a:buClrTx/>
              <a:buSzPct val="90000"/>
              <a:buFont typeface="Arial" panose="020B0604020202020204" pitchFamily="34" charset="0"/>
              <a:buNone/>
              <a:tabLst/>
              <a:defRPr/>
            </a:pPr>
            <a:endParaRPr kumimoji="0" lang="en-US" sz="2000" b="0" i="0" u="none" strike="noStrike" kern="1200" cap="none" spc="0" normalizeH="0" baseline="0" noProof="0">
              <a:ln>
                <a:noFill/>
              </a:ln>
              <a:solidFill>
                <a:srgbClr val="000000"/>
              </a:solidFill>
              <a:effectLst/>
              <a:uLnTx/>
              <a:uFillTx/>
              <a:latin typeface="Segoe UI Light"/>
              <a:ea typeface="+mn-ea"/>
              <a:cs typeface="+mn-cs"/>
            </a:endParaRPr>
          </a:p>
          <a:p>
            <a:pPr marL="182845" marR="0" lvl="1" indent="0" algn="l" defTabSz="914367" rtl="0" eaLnBrk="1" fontAlgn="auto" latinLnBrk="0" hangingPunct="1">
              <a:lnSpc>
                <a:spcPct val="90000"/>
              </a:lnSpc>
              <a:spcBef>
                <a:spcPct val="20000"/>
              </a:spcBef>
              <a:spcAft>
                <a:spcPts val="0"/>
              </a:spcAft>
              <a:buClrTx/>
              <a:buSzPct val="90000"/>
              <a:buFont typeface="Arial" panose="020B0604020202020204" pitchFamily="34" charset="0"/>
              <a:buNone/>
              <a:tabLst/>
              <a:defRPr/>
            </a:pPr>
            <a:endParaRPr kumimoji="0" lang="en-US" sz="2000" b="0" i="0" u="none" strike="noStrike" kern="1200" cap="none" spc="0" normalizeH="0" baseline="0" noProof="0">
              <a:ln>
                <a:noFill/>
              </a:ln>
              <a:solidFill>
                <a:srgbClr val="000000"/>
              </a:solidFill>
              <a:effectLst/>
              <a:uLnTx/>
              <a:uFillTx/>
              <a:latin typeface="Segoe UI Light"/>
              <a:ea typeface="+mn-ea"/>
              <a:cs typeface="+mn-cs"/>
            </a:endParaRPr>
          </a:p>
          <a:p>
            <a:pPr marL="182845" marR="0" lvl="1" indent="0" algn="l" defTabSz="914367" rtl="0" eaLnBrk="1" fontAlgn="auto" latinLnBrk="0" hangingPunct="1">
              <a:lnSpc>
                <a:spcPct val="90000"/>
              </a:lnSpc>
              <a:spcBef>
                <a:spcPct val="20000"/>
              </a:spcBef>
              <a:spcAft>
                <a:spcPts val="0"/>
              </a:spcAft>
              <a:buClrTx/>
              <a:buSzPct val="90000"/>
              <a:buFont typeface="Arial" panose="020B0604020202020204" pitchFamily="34" charset="0"/>
              <a:buNone/>
              <a:tabLst/>
              <a:defRPr/>
            </a:pPr>
            <a:endParaRPr kumimoji="0" lang="en-US" sz="2000" b="0" i="0" u="none" strike="noStrike" kern="1200" cap="none" spc="0" normalizeH="0" baseline="0" noProof="0">
              <a:ln>
                <a:noFill/>
              </a:ln>
              <a:solidFill>
                <a:srgbClr val="000000"/>
              </a:solidFill>
              <a:effectLst/>
              <a:uLnTx/>
              <a:uFillTx/>
              <a:latin typeface="Segoe UI Light"/>
              <a:ea typeface="+mn-ea"/>
              <a:cs typeface="+mn-cs"/>
            </a:endParaRPr>
          </a:p>
        </p:txBody>
      </p:sp>
      <p:pic>
        <p:nvPicPr>
          <p:cNvPr id="6" name="Picture 5"/>
          <p:cNvPicPr>
            <a:picLocks noChangeAspect="1"/>
          </p:cNvPicPr>
          <p:nvPr/>
        </p:nvPicPr>
        <p:blipFill>
          <a:blip r:embed="rId3"/>
          <a:stretch>
            <a:fillRect/>
          </a:stretch>
        </p:blipFill>
        <p:spPr>
          <a:xfrm>
            <a:off x="4941744" y="3847138"/>
            <a:ext cx="5116791" cy="2743709"/>
          </a:xfrm>
          <a:prstGeom prst="rect">
            <a:avLst/>
          </a:prstGeom>
          <a:ln>
            <a:noFill/>
          </a:ln>
          <a:effectLst>
            <a:outerShdw blurRad="190500" algn="tl" rotWithShape="0">
              <a:srgbClr val="000000">
                <a:alpha val="70000"/>
              </a:srgbClr>
            </a:outerShdw>
          </a:effectLst>
        </p:spPr>
      </p:pic>
    </p:spTree>
    <p:extLst>
      <p:ext uri="{BB962C8B-B14F-4D97-AF65-F5344CB8AC3E}">
        <p14:creationId xmlns:p14="http://schemas.microsoft.com/office/powerpoint/2010/main" val="39998428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solidFill>
            <a:schemeClr val="bg1"/>
          </a:solidFill>
        </p:spPr>
        <p:txBody>
          <a:bodyPr/>
          <a:lstStyle/>
          <a:p>
            <a:pPr lvl="0"/>
            <a:r>
              <a:rPr lang="en-US">
                <a:solidFill>
                  <a:prstClr val="black"/>
                </a:solidFill>
                <a:latin typeface="Segoe UI Light"/>
              </a:rPr>
              <a:t>Report gridlines and snap to grid (Preview)</a:t>
            </a:r>
          </a:p>
        </p:txBody>
      </p:sp>
      <p:grpSp>
        <p:nvGrpSpPr>
          <p:cNvPr id="52" name="Group 51"/>
          <p:cNvGrpSpPr/>
          <p:nvPr/>
        </p:nvGrpSpPr>
        <p:grpSpPr>
          <a:xfrm>
            <a:off x="2" y="1"/>
            <a:ext cx="2849058" cy="6858000"/>
            <a:chOff x="2" y="1"/>
            <a:chExt cx="2849058" cy="6858000"/>
          </a:xfrm>
        </p:grpSpPr>
        <p:sp>
          <p:nvSpPr>
            <p:cNvPr id="71" name="Rectangle 70"/>
            <p:cNvSpPr/>
            <p:nvPr/>
          </p:nvSpPr>
          <p:spPr bwMode="auto">
            <a:xfrm>
              <a:off x="2" y="1"/>
              <a:ext cx="2849058"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3" name="Oval 70"/>
            <p:cNvSpPr/>
            <p:nvPr/>
          </p:nvSpPr>
          <p:spPr>
            <a:xfrm>
              <a:off x="1413521" y="4951537"/>
              <a:ext cx="1119626" cy="1119626"/>
            </a:xfrm>
            <a:prstGeom prst="ellipse">
              <a:avLst/>
            </a:prstGeom>
            <a:solidFill>
              <a:srgbClr val="F2C812"/>
            </a:solidFill>
            <a:ln w="3175" cap="flat" cmpd="sng" algn="ctr">
              <a:noFill/>
              <a:prstDash val="solid"/>
            </a:ln>
            <a:effectLst/>
          </p:spPr>
          <p:txBody>
            <a:bodyPr vert="horz" wrap="none" lIns="0" tIns="45720" rIns="0" bIns="0" rtlCol="0" anchor="t"/>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Segoe UI"/>
                  <a:ea typeface="Segoe UI" pitchFamily="34" charset="0"/>
                  <a:cs typeface="Segoe UI" pitchFamily="34" charset="0"/>
                </a:rPr>
                <a:t>Share &amp;</a:t>
              </a:r>
            </a:p>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Segoe UI"/>
                  <a:ea typeface="Segoe UI" pitchFamily="34" charset="0"/>
                  <a:cs typeface="Segoe UI" pitchFamily="34" charset="0"/>
                </a:rPr>
                <a:t>collaborate </a:t>
              </a:r>
            </a:p>
          </p:txBody>
        </p:sp>
        <p:grpSp>
          <p:nvGrpSpPr>
            <p:cNvPr id="76" name="Group 38"/>
            <p:cNvGrpSpPr>
              <a:grpSpLocks noChangeAspect="1"/>
            </p:cNvGrpSpPr>
            <p:nvPr/>
          </p:nvGrpSpPr>
          <p:grpSpPr>
            <a:xfrm>
              <a:off x="676996" y="3930692"/>
              <a:ext cx="383905" cy="351536"/>
              <a:chOff x="4363684" y="5330386"/>
              <a:chExt cx="1409956" cy="1291077"/>
            </a:xfrm>
            <a:solidFill>
              <a:srgbClr val="217346"/>
            </a:solidFill>
          </p:grpSpPr>
          <p:sp>
            <p:nvSpPr>
              <p:cNvPr id="102" name="Donut 3"/>
              <p:cNvSpPr/>
              <p:nvPr/>
            </p:nvSpPr>
            <p:spPr bwMode="auto">
              <a:xfrm>
                <a:off x="4363684" y="5330386"/>
                <a:ext cx="1409956" cy="1291077"/>
              </a:xfrm>
              <a:custGeom>
                <a:avLst/>
                <a:gdLst/>
                <a:ahLst/>
                <a:cxnLst/>
                <a:rect l="l" t="t" r="r" b="b"/>
                <a:pathLst>
                  <a:path w="1409956" h="1291077">
                    <a:moveTo>
                      <a:pt x="956401" y="78410"/>
                    </a:moveTo>
                    <a:cubicBezTo>
                      <a:pt x="747518" y="78410"/>
                      <a:pt x="578184" y="247744"/>
                      <a:pt x="578184" y="456627"/>
                    </a:cubicBezTo>
                    <a:cubicBezTo>
                      <a:pt x="578184" y="665510"/>
                      <a:pt x="747518" y="834844"/>
                      <a:pt x="956401" y="834844"/>
                    </a:cubicBezTo>
                    <a:cubicBezTo>
                      <a:pt x="1165284" y="834844"/>
                      <a:pt x="1334618" y="665510"/>
                      <a:pt x="1334618" y="456627"/>
                    </a:cubicBezTo>
                    <a:cubicBezTo>
                      <a:pt x="1334618" y="247744"/>
                      <a:pt x="1165284" y="78410"/>
                      <a:pt x="956401" y="78410"/>
                    </a:cubicBezTo>
                    <a:close/>
                    <a:moveTo>
                      <a:pt x="952756" y="0"/>
                    </a:moveTo>
                    <a:cubicBezTo>
                      <a:pt x="1205261" y="0"/>
                      <a:pt x="1409956" y="204695"/>
                      <a:pt x="1409956" y="457200"/>
                    </a:cubicBezTo>
                    <a:cubicBezTo>
                      <a:pt x="1409956" y="709705"/>
                      <a:pt x="1205261" y="914400"/>
                      <a:pt x="952756" y="914400"/>
                    </a:cubicBezTo>
                    <a:cubicBezTo>
                      <a:pt x="862133" y="914400"/>
                      <a:pt x="777669" y="888034"/>
                      <a:pt x="707132" y="841746"/>
                    </a:cubicBezTo>
                    <a:lnTo>
                      <a:pt x="136495" y="1280102"/>
                    </a:lnTo>
                    <a:cubicBezTo>
                      <a:pt x="21896" y="1327168"/>
                      <a:pt x="-44029" y="1213730"/>
                      <a:pt x="33797" y="1113182"/>
                    </a:cubicBezTo>
                    <a:lnTo>
                      <a:pt x="568587" y="703518"/>
                    </a:lnTo>
                    <a:cubicBezTo>
                      <a:pt x="522087" y="632814"/>
                      <a:pt x="495556" y="548105"/>
                      <a:pt x="495556" y="457200"/>
                    </a:cubicBezTo>
                    <a:cubicBezTo>
                      <a:pt x="495556" y="204695"/>
                      <a:pt x="700251" y="0"/>
                      <a:pt x="952756" y="0"/>
                    </a:cubicBezTo>
                    <a:close/>
                  </a:path>
                </a:pathLst>
              </a:custGeom>
              <a:grpFill/>
              <a:ln>
                <a:solidFill>
                  <a:srgbClr val="21734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sp>
            <p:nvSpPr>
              <p:cNvPr id="103" name="Rectangle 4"/>
              <p:cNvSpPr/>
              <p:nvPr/>
            </p:nvSpPr>
            <p:spPr>
              <a:xfrm>
                <a:off x="5058389" y="5528247"/>
                <a:ext cx="490885" cy="490020"/>
              </a:xfrm>
              <a:custGeom>
                <a:avLst/>
                <a:gdLst/>
                <a:ahLst/>
                <a:cxnLst/>
                <a:rect l="l" t="t" r="r" b="b"/>
                <a:pathLst>
                  <a:path w="490885" h="490020">
                    <a:moveTo>
                      <a:pt x="240752" y="0"/>
                    </a:moveTo>
                    <a:cubicBezTo>
                      <a:pt x="253961" y="11844"/>
                      <a:pt x="293310" y="49692"/>
                      <a:pt x="337332" y="92439"/>
                    </a:cubicBezTo>
                    <a:lnTo>
                      <a:pt x="328342" y="81259"/>
                    </a:lnTo>
                    <a:cubicBezTo>
                      <a:pt x="356946" y="111282"/>
                      <a:pt x="377251" y="107167"/>
                      <a:pt x="382515" y="87941"/>
                    </a:cubicBezTo>
                    <a:cubicBezTo>
                      <a:pt x="383951" y="76921"/>
                      <a:pt x="384595" y="68732"/>
                      <a:pt x="396997" y="52239"/>
                    </a:cubicBezTo>
                    <a:cubicBezTo>
                      <a:pt x="420362" y="32084"/>
                      <a:pt x="442294" y="41736"/>
                      <a:pt x="454920" y="51330"/>
                    </a:cubicBezTo>
                    <a:cubicBezTo>
                      <a:pt x="467834" y="62761"/>
                      <a:pt x="477920" y="86882"/>
                      <a:pt x="460392" y="109714"/>
                    </a:cubicBezTo>
                    <a:cubicBezTo>
                      <a:pt x="451128" y="121912"/>
                      <a:pt x="437554" y="126838"/>
                      <a:pt x="425922" y="126505"/>
                    </a:cubicBezTo>
                    <a:cubicBezTo>
                      <a:pt x="424301" y="127609"/>
                      <a:pt x="382890" y="134974"/>
                      <a:pt x="427348" y="177672"/>
                    </a:cubicBezTo>
                    <a:lnTo>
                      <a:pt x="416886" y="169735"/>
                    </a:lnTo>
                    <a:cubicBezTo>
                      <a:pt x="450207" y="202177"/>
                      <a:pt x="478424" y="229744"/>
                      <a:pt x="490885" y="241900"/>
                    </a:cubicBezTo>
                    <a:lnTo>
                      <a:pt x="417150" y="317347"/>
                    </a:lnTo>
                    <a:cubicBezTo>
                      <a:pt x="417744" y="316535"/>
                      <a:pt x="418443" y="316123"/>
                      <a:pt x="419047" y="315822"/>
                    </a:cubicBezTo>
                    <a:cubicBezTo>
                      <a:pt x="389023" y="344426"/>
                      <a:pt x="393138" y="364731"/>
                      <a:pt x="412364" y="369995"/>
                    </a:cubicBezTo>
                    <a:cubicBezTo>
                      <a:pt x="423384" y="371431"/>
                      <a:pt x="431574" y="372075"/>
                      <a:pt x="448067" y="384477"/>
                    </a:cubicBezTo>
                    <a:cubicBezTo>
                      <a:pt x="468221" y="407842"/>
                      <a:pt x="458569" y="429774"/>
                      <a:pt x="448975" y="442400"/>
                    </a:cubicBezTo>
                    <a:cubicBezTo>
                      <a:pt x="437545" y="455314"/>
                      <a:pt x="413423" y="465400"/>
                      <a:pt x="390591" y="447872"/>
                    </a:cubicBezTo>
                    <a:cubicBezTo>
                      <a:pt x="378394" y="438608"/>
                      <a:pt x="373468" y="425034"/>
                      <a:pt x="373800" y="413402"/>
                    </a:cubicBezTo>
                    <a:cubicBezTo>
                      <a:pt x="372696" y="411781"/>
                      <a:pt x="365332" y="370370"/>
                      <a:pt x="322634" y="414828"/>
                    </a:cubicBezTo>
                    <a:lnTo>
                      <a:pt x="325243" y="411388"/>
                    </a:lnTo>
                    <a:lnTo>
                      <a:pt x="248395" y="490020"/>
                    </a:lnTo>
                    <a:cubicBezTo>
                      <a:pt x="208939" y="451897"/>
                      <a:pt x="199129" y="442073"/>
                      <a:pt x="174192" y="418236"/>
                    </a:cubicBezTo>
                    <a:cubicBezTo>
                      <a:pt x="145587" y="388212"/>
                      <a:pt x="125282" y="392327"/>
                      <a:pt x="120018" y="411553"/>
                    </a:cubicBezTo>
                    <a:cubicBezTo>
                      <a:pt x="118582" y="422573"/>
                      <a:pt x="117938" y="430763"/>
                      <a:pt x="105536" y="447256"/>
                    </a:cubicBezTo>
                    <a:cubicBezTo>
                      <a:pt x="82171" y="467410"/>
                      <a:pt x="60239" y="457758"/>
                      <a:pt x="47614" y="448164"/>
                    </a:cubicBezTo>
                    <a:cubicBezTo>
                      <a:pt x="34699" y="436734"/>
                      <a:pt x="24614" y="412612"/>
                      <a:pt x="42141" y="389780"/>
                    </a:cubicBezTo>
                    <a:cubicBezTo>
                      <a:pt x="51405" y="377583"/>
                      <a:pt x="64979" y="372657"/>
                      <a:pt x="76612" y="372989"/>
                    </a:cubicBezTo>
                    <a:cubicBezTo>
                      <a:pt x="78232" y="371886"/>
                      <a:pt x="119644" y="364521"/>
                      <a:pt x="75186" y="321823"/>
                    </a:cubicBezTo>
                    <a:cubicBezTo>
                      <a:pt x="58767" y="305402"/>
                      <a:pt x="23648" y="271235"/>
                      <a:pt x="0" y="248738"/>
                    </a:cubicBezTo>
                    <a:lnTo>
                      <a:pt x="77303" y="168146"/>
                    </a:lnTo>
                    <a:cubicBezTo>
                      <a:pt x="104269" y="140313"/>
                      <a:pt x="122130" y="156409"/>
                      <a:pt x="124388" y="175543"/>
                    </a:cubicBezTo>
                    <a:cubicBezTo>
                      <a:pt x="124457" y="182466"/>
                      <a:pt x="127106" y="193106"/>
                      <a:pt x="137575" y="203052"/>
                    </a:cubicBezTo>
                    <a:cubicBezTo>
                      <a:pt x="153931" y="220277"/>
                      <a:pt x="181252" y="217451"/>
                      <a:pt x="196721" y="201951"/>
                    </a:cubicBezTo>
                    <a:cubicBezTo>
                      <a:pt x="211961" y="185740"/>
                      <a:pt x="213057" y="157882"/>
                      <a:pt x="196146" y="142797"/>
                    </a:cubicBezTo>
                    <a:cubicBezTo>
                      <a:pt x="184301" y="132637"/>
                      <a:pt x="177155" y="131453"/>
                      <a:pt x="166513" y="129894"/>
                    </a:cubicBezTo>
                    <a:cubicBezTo>
                      <a:pt x="154522" y="129013"/>
                      <a:pt x="131185" y="112953"/>
                      <a:pt x="157905" y="85228"/>
                    </a:cubicBezTo>
                    <a:close/>
                  </a:path>
                </a:pathLst>
              </a:custGeom>
              <a:grpFill/>
              <a:ln>
                <a:solidFill>
                  <a:srgbClr val="21734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grpSp>
        <p:sp>
          <p:nvSpPr>
            <p:cNvPr id="77" name="Oval 47"/>
            <p:cNvSpPr/>
            <p:nvPr/>
          </p:nvSpPr>
          <p:spPr>
            <a:xfrm>
              <a:off x="388608" y="3710471"/>
              <a:ext cx="1119626" cy="1119626"/>
            </a:xfrm>
            <a:prstGeom prst="ellipse">
              <a:avLst/>
            </a:prstGeom>
            <a:solidFill>
              <a:srgbClr val="F2C812"/>
            </a:solidFill>
            <a:ln w="3175" cap="flat" cmpd="sng" algn="ctr">
              <a:noFill/>
              <a:prstDash val="solid"/>
            </a:ln>
            <a:effectLst/>
          </p:spPr>
          <p:txBody>
            <a:bodyPr vert="horz" wrap="none" lIns="0" tIns="45720" rIns="0" bIns="0" rtlCol="0" anchor="t"/>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Segoe UI"/>
                  <a:ea typeface="Segoe UI" pitchFamily="34" charset="0"/>
                  <a:cs typeface="Segoe UI" pitchFamily="34" charset="0"/>
                </a:rPr>
                <a:t>Report</a:t>
              </a:r>
            </a:p>
          </p:txBody>
        </p:sp>
        <p:sp>
          <p:nvSpPr>
            <p:cNvPr id="78" name="Oval 950"/>
            <p:cNvSpPr/>
            <p:nvPr/>
          </p:nvSpPr>
          <p:spPr>
            <a:xfrm>
              <a:off x="388608" y="1252295"/>
              <a:ext cx="1119626" cy="1119626"/>
            </a:xfrm>
            <a:prstGeom prst="ellipse">
              <a:avLst/>
            </a:prstGeom>
            <a:solidFill>
              <a:srgbClr val="F2C812"/>
            </a:solidFill>
            <a:ln w="3175" cap="flat" cmpd="sng" algn="ctr">
              <a:noFill/>
              <a:prstDash val="solid"/>
            </a:ln>
            <a:effectLst/>
          </p:spPr>
          <p:txBody>
            <a:bodyPr vert="horz" wrap="none" lIns="0" tIns="45720" rIns="0" bIns="0" rtlCol="0" anchor="t"/>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1" i="0" u="none" strike="noStrike" kern="1200" cap="none" spc="0" normalizeH="0" baseline="0" noProof="0">
                <a:ln>
                  <a:noFill/>
                </a:ln>
                <a:solidFill>
                  <a:srgbClr val="217346"/>
                </a:solidFill>
                <a:effectLst/>
                <a:uLnTx/>
                <a:uFillTx/>
                <a:latin typeface="Segoe UI"/>
                <a:ea typeface="Segoe UI" pitchFamily="34" charset="0"/>
                <a:cs typeface="Segoe UI" pitchFamily="34" charset="0"/>
              </a:endParaRPr>
            </a:p>
          </p:txBody>
        </p:sp>
        <p:grpSp>
          <p:nvGrpSpPr>
            <p:cNvPr id="79" name="Group 78"/>
            <p:cNvGrpSpPr/>
            <p:nvPr/>
          </p:nvGrpSpPr>
          <p:grpSpPr>
            <a:xfrm>
              <a:off x="1264851" y="3482890"/>
              <a:ext cx="292254" cy="354906"/>
              <a:chOff x="1296521" y="3253388"/>
              <a:chExt cx="292254" cy="354906"/>
            </a:xfrm>
            <a:solidFill>
              <a:srgbClr val="F2C812"/>
            </a:solidFill>
          </p:grpSpPr>
          <p:sp>
            <p:nvSpPr>
              <p:cNvPr id="99" name="Isosceles Triangle 98"/>
              <p:cNvSpPr/>
              <p:nvPr/>
            </p:nvSpPr>
            <p:spPr bwMode="auto">
              <a:xfrm rot="13636515">
                <a:off x="1461362" y="328936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0" name="Isosceles Triangle 99"/>
              <p:cNvSpPr/>
              <p:nvPr/>
            </p:nvSpPr>
            <p:spPr bwMode="auto">
              <a:xfrm rot="13636515">
                <a:off x="1357669" y="338258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1" name="Isosceles Triangle 100"/>
              <p:cNvSpPr/>
              <p:nvPr/>
            </p:nvSpPr>
            <p:spPr bwMode="auto">
              <a:xfrm rot="13636515">
                <a:off x="1260548" y="3480882"/>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80" name="Group 79"/>
            <p:cNvGrpSpPr/>
            <p:nvPr/>
          </p:nvGrpSpPr>
          <p:grpSpPr>
            <a:xfrm rot="15940603">
              <a:off x="1334576" y="2204404"/>
              <a:ext cx="292254" cy="354906"/>
              <a:chOff x="1296521" y="3253388"/>
              <a:chExt cx="292254" cy="354906"/>
            </a:xfrm>
            <a:solidFill>
              <a:srgbClr val="F2C812"/>
            </a:solidFill>
          </p:grpSpPr>
          <p:sp>
            <p:nvSpPr>
              <p:cNvPr id="96" name="Isosceles Triangle 95"/>
              <p:cNvSpPr/>
              <p:nvPr/>
            </p:nvSpPr>
            <p:spPr bwMode="auto">
              <a:xfrm rot="13636515">
                <a:off x="1461362" y="328936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7" name="Isosceles Triangle 96"/>
              <p:cNvSpPr/>
              <p:nvPr/>
            </p:nvSpPr>
            <p:spPr bwMode="auto">
              <a:xfrm rot="13636515">
                <a:off x="1357669" y="338258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8" name="Isosceles Triangle 97"/>
              <p:cNvSpPr/>
              <p:nvPr/>
            </p:nvSpPr>
            <p:spPr bwMode="auto">
              <a:xfrm rot="13636515">
                <a:off x="1260548" y="3480882"/>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81" name="Group 80"/>
            <p:cNvGrpSpPr/>
            <p:nvPr/>
          </p:nvGrpSpPr>
          <p:grpSpPr>
            <a:xfrm rot="16043978">
              <a:off x="1317220" y="4717577"/>
              <a:ext cx="292254" cy="354906"/>
              <a:chOff x="1296521" y="3253388"/>
              <a:chExt cx="292254" cy="354906"/>
            </a:xfrm>
            <a:solidFill>
              <a:srgbClr val="F2C812"/>
            </a:solidFill>
          </p:grpSpPr>
          <p:sp>
            <p:nvSpPr>
              <p:cNvPr id="93" name="Isosceles Triangle 92"/>
              <p:cNvSpPr/>
              <p:nvPr/>
            </p:nvSpPr>
            <p:spPr bwMode="auto">
              <a:xfrm rot="13636515">
                <a:off x="1461362" y="328936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4" name="Isosceles Triangle 93"/>
              <p:cNvSpPr/>
              <p:nvPr/>
            </p:nvSpPr>
            <p:spPr bwMode="auto">
              <a:xfrm rot="13636515">
                <a:off x="1357669" y="338258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5" name="Isosceles Triangle 94"/>
              <p:cNvSpPr/>
              <p:nvPr/>
            </p:nvSpPr>
            <p:spPr bwMode="auto">
              <a:xfrm rot="13636515">
                <a:off x="1260548" y="3480882"/>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82" name="Oval 36"/>
            <p:cNvSpPr/>
            <p:nvPr/>
          </p:nvSpPr>
          <p:spPr>
            <a:xfrm>
              <a:off x="1413521" y="2481383"/>
              <a:ext cx="1119626" cy="1119626"/>
            </a:xfrm>
            <a:prstGeom prst="ellipse">
              <a:avLst/>
            </a:prstGeom>
            <a:solidFill>
              <a:srgbClr val="F2C812"/>
            </a:solidFill>
            <a:ln w="3175" cap="flat" cmpd="sng" algn="ctr">
              <a:noFill/>
              <a:prstDash val="solid"/>
            </a:ln>
            <a:effectLst/>
          </p:spPr>
          <p:txBody>
            <a:bodyPr vert="horz" wrap="none" lIns="0" tIns="0" rIns="0" bIns="0" rtlCol="0" anchor="t"/>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400" b="1" i="0" u="none" strike="noStrike" kern="1200" cap="none" spc="0" normalizeH="0" baseline="0" noProof="0">
                <a:ln>
                  <a:noFill/>
                </a:ln>
                <a:solidFill>
                  <a:srgbClr val="217346"/>
                </a:solidFill>
                <a:effectLst/>
                <a:uLnTx/>
                <a:uFillTx/>
                <a:latin typeface="Segoe UI"/>
                <a:ea typeface="Segoe UI" pitchFamily="34" charset="0"/>
                <a:cs typeface="Segoe UI" pitchFamily="34" charset="0"/>
              </a:endParaRPr>
            </a:p>
          </p:txBody>
        </p:sp>
        <p:sp>
          <p:nvSpPr>
            <p:cNvPr id="83" name="Donut 3"/>
            <p:cNvSpPr/>
            <p:nvPr/>
          </p:nvSpPr>
          <p:spPr bwMode="auto">
            <a:xfrm>
              <a:off x="1742065" y="3002355"/>
              <a:ext cx="383905" cy="351537"/>
            </a:xfrm>
            <a:custGeom>
              <a:avLst/>
              <a:gdLst/>
              <a:ahLst/>
              <a:cxnLst/>
              <a:rect l="l" t="t" r="r" b="b"/>
              <a:pathLst>
                <a:path w="1409956" h="1291077">
                  <a:moveTo>
                    <a:pt x="956401" y="78410"/>
                  </a:moveTo>
                  <a:cubicBezTo>
                    <a:pt x="747518" y="78410"/>
                    <a:pt x="578184" y="247744"/>
                    <a:pt x="578184" y="456627"/>
                  </a:cubicBezTo>
                  <a:cubicBezTo>
                    <a:pt x="578184" y="665510"/>
                    <a:pt x="747518" y="834844"/>
                    <a:pt x="956401" y="834844"/>
                  </a:cubicBezTo>
                  <a:cubicBezTo>
                    <a:pt x="1165284" y="834844"/>
                    <a:pt x="1334618" y="665510"/>
                    <a:pt x="1334618" y="456627"/>
                  </a:cubicBezTo>
                  <a:cubicBezTo>
                    <a:pt x="1334618" y="247744"/>
                    <a:pt x="1165284" y="78410"/>
                    <a:pt x="956401" y="78410"/>
                  </a:cubicBezTo>
                  <a:close/>
                  <a:moveTo>
                    <a:pt x="952756" y="0"/>
                  </a:moveTo>
                  <a:cubicBezTo>
                    <a:pt x="1205261" y="0"/>
                    <a:pt x="1409956" y="204695"/>
                    <a:pt x="1409956" y="457200"/>
                  </a:cubicBezTo>
                  <a:cubicBezTo>
                    <a:pt x="1409956" y="709705"/>
                    <a:pt x="1205261" y="914400"/>
                    <a:pt x="952756" y="914400"/>
                  </a:cubicBezTo>
                  <a:cubicBezTo>
                    <a:pt x="862133" y="914400"/>
                    <a:pt x="777669" y="888034"/>
                    <a:pt x="707132" y="841746"/>
                  </a:cubicBezTo>
                  <a:lnTo>
                    <a:pt x="136495" y="1280102"/>
                  </a:lnTo>
                  <a:cubicBezTo>
                    <a:pt x="21896" y="1327168"/>
                    <a:pt x="-44029" y="1213730"/>
                    <a:pt x="33797" y="1113182"/>
                  </a:cubicBezTo>
                  <a:lnTo>
                    <a:pt x="568587" y="703518"/>
                  </a:lnTo>
                  <a:cubicBezTo>
                    <a:pt x="522087" y="632814"/>
                    <a:pt x="495556" y="548105"/>
                    <a:pt x="495556" y="457200"/>
                  </a:cubicBezTo>
                  <a:cubicBezTo>
                    <a:pt x="495556" y="204695"/>
                    <a:pt x="700251" y="0"/>
                    <a:pt x="952756" y="0"/>
                  </a:cubicBezTo>
                  <a:close/>
                </a:path>
              </a:pathLst>
            </a:cu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sp>
          <p:nvSpPr>
            <p:cNvPr id="84" name="Rectangle 83"/>
            <p:cNvSpPr/>
            <p:nvPr/>
          </p:nvSpPr>
          <p:spPr>
            <a:xfrm>
              <a:off x="1600398" y="2677430"/>
              <a:ext cx="820353" cy="307777"/>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Segoe UI"/>
                  <a:ea typeface="Segoe UI" pitchFamily="34" charset="0"/>
                  <a:cs typeface="Segoe UI" pitchFamily="34" charset="0"/>
                </a:rPr>
                <a:t>Explore</a:t>
              </a:r>
              <a:endParaRPr kumimoji="0" lang="en-US" sz="1600" b="0" i="0" u="none" strike="noStrike" kern="1200" cap="none" spc="0" normalizeH="0" baseline="0" noProof="0">
                <a:ln>
                  <a:noFill/>
                </a:ln>
                <a:solidFill>
                  <a:srgbClr val="000000"/>
                </a:solidFill>
                <a:effectLst/>
                <a:uLnTx/>
                <a:uFillTx/>
                <a:latin typeface="Segoe UI"/>
                <a:ea typeface="+mn-ea"/>
                <a:cs typeface="+mn-cs"/>
              </a:endParaRPr>
            </a:p>
          </p:txBody>
        </p:sp>
        <p:sp>
          <p:nvSpPr>
            <p:cNvPr id="85" name="Rectangle 84"/>
            <p:cNvSpPr/>
            <p:nvPr/>
          </p:nvSpPr>
          <p:spPr>
            <a:xfrm>
              <a:off x="509174" y="1475232"/>
              <a:ext cx="838756" cy="307777"/>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Segoe UI"/>
                  <a:ea typeface="Segoe UI" pitchFamily="34" charset="0"/>
                  <a:cs typeface="Segoe UI" pitchFamily="34" charset="0"/>
                </a:rPr>
                <a:t>Prepare</a:t>
              </a: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86" name="Freeform 85"/>
            <p:cNvSpPr>
              <a:spLocks noChangeAspect="1"/>
            </p:cNvSpPr>
            <p:nvPr/>
          </p:nvSpPr>
          <p:spPr bwMode="black">
            <a:xfrm>
              <a:off x="1836174" y="5643069"/>
              <a:ext cx="274320" cy="284173"/>
            </a:xfrm>
            <a:custGeom>
              <a:avLst/>
              <a:gdLst>
                <a:gd name="T0" fmla="*/ 539 w 669"/>
                <a:gd name="T1" fmla="*/ 5 h 693"/>
                <a:gd name="T2" fmla="*/ 640 w 669"/>
                <a:gd name="T3" fmla="*/ 55 h 693"/>
                <a:gd name="T4" fmla="*/ 603 w 669"/>
                <a:gd name="T5" fmla="*/ 195 h 693"/>
                <a:gd name="T6" fmla="*/ 490 w 669"/>
                <a:gd name="T7" fmla="*/ 188 h 693"/>
                <a:gd name="T8" fmla="*/ 479 w 669"/>
                <a:gd name="T9" fmla="*/ 176 h 693"/>
                <a:gd name="T10" fmla="*/ 213 w 669"/>
                <a:gd name="T11" fmla="*/ 330 h 693"/>
                <a:gd name="T12" fmla="*/ 218 w 669"/>
                <a:gd name="T13" fmla="*/ 345 h 693"/>
                <a:gd name="T14" fmla="*/ 218 w 669"/>
                <a:gd name="T15" fmla="*/ 375 h 693"/>
                <a:gd name="T16" fmla="*/ 209 w 669"/>
                <a:gd name="T17" fmla="*/ 402 h 693"/>
                <a:gd name="T18" fmla="*/ 369 w 669"/>
                <a:gd name="T19" fmla="*/ 503 h 693"/>
                <a:gd name="T20" fmla="*/ 373 w 669"/>
                <a:gd name="T21" fmla="*/ 498 h 693"/>
                <a:gd name="T22" fmla="*/ 456 w 669"/>
                <a:gd name="T23" fmla="*/ 475 h 693"/>
                <a:gd name="T24" fmla="*/ 494 w 669"/>
                <a:gd name="T25" fmla="*/ 489 h 693"/>
                <a:gd name="T26" fmla="*/ 527 w 669"/>
                <a:gd name="T27" fmla="*/ 630 h 693"/>
                <a:gd name="T28" fmla="*/ 386 w 669"/>
                <a:gd name="T29" fmla="*/ 663 h 693"/>
                <a:gd name="T30" fmla="*/ 339 w 669"/>
                <a:gd name="T31" fmla="*/ 560 h 693"/>
                <a:gd name="T32" fmla="*/ 345 w 669"/>
                <a:gd name="T33" fmla="*/ 544 h 693"/>
                <a:gd name="T34" fmla="*/ 177 w 669"/>
                <a:gd name="T35" fmla="*/ 439 h 693"/>
                <a:gd name="T36" fmla="*/ 168 w 669"/>
                <a:gd name="T37" fmla="*/ 446 h 693"/>
                <a:gd name="T38" fmla="*/ 28 w 669"/>
                <a:gd name="T39" fmla="*/ 409 h 693"/>
                <a:gd name="T40" fmla="*/ 65 w 669"/>
                <a:gd name="T41" fmla="*/ 269 h 693"/>
                <a:gd name="T42" fmla="*/ 178 w 669"/>
                <a:gd name="T43" fmla="*/ 276 h 693"/>
                <a:gd name="T44" fmla="*/ 189 w 669"/>
                <a:gd name="T45" fmla="*/ 288 h 693"/>
                <a:gd name="T46" fmla="*/ 455 w 669"/>
                <a:gd name="T47" fmla="*/ 134 h 693"/>
                <a:gd name="T48" fmla="*/ 450 w 669"/>
                <a:gd name="T49" fmla="*/ 119 h 693"/>
                <a:gd name="T50" fmla="*/ 501 w 669"/>
                <a:gd name="T51" fmla="*/ 18 h 693"/>
                <a:gd name="T52" fmla="*/ 539 w 669"/>
                <a:gd name="T53" fmla="*/ 5 h 6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69" h="693">
                  <a:moveTo>
                    <a:pt x="539" y="5"/>
                  </a:moveTo>
                  <a:cubicBezTo>
                    <a:pt x="579" y="0"/>
                    <a:pt x="619" y="19"/>
                    <a:pt x="640" y="55"/>
                  </a:cubicBezTo>
                  <a:cubicBezTo>
                    <a:pt x="669" y="104"/>
                    <a:pt x="652" y="167"/>
                    <a:pt x="603" y="195"/>
                  </a:cubicBezTo>
                  <a:cubicBezTo>
                    <a:pt x="566" y="216"/>
                    <a:pt x="522" y="212"/>
                    <a:pt x="490" y="188"/>
                  </a:cubicBezTo>
                  <a:cubicBezTo>
                    <a:pt x="479" y="176"/>
                    <a:pt x="479" y="176"/>
                    <a:pt x="479" y="176"/>
                  </a:cubicBezTo>
                  <a:cubicBezTo>
                    <a:pt x="213" y="330"/>
                    <a:pt x="213" y="330"/>
                    <a:pt x="213" y="330"/>
                  </a:cubicBezTo>
                  <a:cubicBezTo>
                    <a:pt x="218" y="345"/>
                    <a:pt x="218" y="345"/>
                    <a:pt x="218" y="345"/>
                  </a:cubicBezTo>
                  <a:cubicBezTo>
                    <a:pt x="219" y="355"/>
                    <a:pt x="219" y="365"/>
                    <a:pt x="218" y="375"/>
                  </a:cubicBezTo>
                  <a:cubicBezTo>
                    <a:pt x="209" y="402"/>
                    <a:pt x="209" y="402"/>
                    <a:pt x="209" y="402"/>
                  </a:cubicBezTo>
                  <a:cubicBezTo>
                    <a:pt x="369" y="503"/>
                    <a:pt x="369" y="503"/>
                    <a:pt x="369" y="503"/>
                  </a:cubicBezTo>
                  <a:cubicBezTo>
                    <a:pt x="373" y="498"/>
                    <a:pt x="373" y="498"/>
                    <a:pt x="373" y="498"/>
                  </a:cubicBezTo>
                  <a:cubicBezTo>
                    <a:pt x="396" y="479"/>
                    <a:pt x="427" y="470"/>
                    <a:pt x="456" y="475"/>
                  </a:cubicBezTo>
                  <a:cubicBezTo>
                    <a:pt x="470" y="477"/>
                    <a:pt x="482" y="482"/>
                    <a:pt x="494" y="489"/>
                  </a:cubicBezTo>
                  <a:cubicBezTo>
                    <a:pt x="542" y="519"/>
                    <a:pt x="557" y="583"/>
                    <a:pt x="527" y="630"/>
                  </a:cubicBezTo>
                  <a:cubicBezTo>
                    <a:pt x="497" y="678"/>
                    <a:pt x="433" y="693"/>
                    <a:pt x="386" y="663"/>
                  </a:cubicBezTo>
                  <a:cubicBezTo>
                    <a:pt x="350" y="640"/>
                    <a:pt x="333" y="599"/>
                    <a:pt x="339" y="560"/>
                  </a:cubicBezTo>
                  <a:cubicBezTo>
                    <a:pt x="345" y="544"/>
                    <a:pt x="345" y="544"/>
                    <a:pt x="345" y="544"/>
                  </a:cubicBezTo>
                  <a:cubicBezTo>
                    <a:pt x="177" y="439"/>
                    <a:pt x="177" y="439"/>
                    <a:pt x="177" y="439"/>
                  </a:cubicBezTo>
                  <a:cubicBezTo>
                    <a:pt x="168" y="446"/>
                    <a:pt x="168" y="446"/>
                    <a:pt x="168" y="446"/>
                  </a:cubicBezTo>
                  <a:cubicBezTo>
                    <a:pt x="119" y="475"/>
                    <a:pt x="56" y="458"/>
                    <a:pt x="28" y="409"/>
                  </a:cubicBezTo>
                  <a:cubicBezTo>
                    <a:pt x="0" y="360"/>
                    <a:pt x="16" y="297"/>
                    <a:pt x="65" y="269"/>
                  </a:cubicBezTo>
                  <a:cubicBezTo>
                    <a:pt x="102" y="248"/>
                    <a:pt x="147" y="252"/>
                    <a:pt x="178" y="276"/>
                  </a:cubicBezTo>
                  <a:cubicBezTo>
                    <a:pt x="189" y="288"/>
                    <a:pt x="189" y="288"/>
                    <a:pt x="189" y="288"/>
                  </a:cubicBezTo>
                  <a:cubicBezTo>
                    <a:pt x="455" y="134"/>
                    <a:pt x="455" y="134"/>
                    <a:pt x="455" y="134"/>
                  </a:cubicBezTo>
                  <a:cubicBezTo>
                    <a:pt x="450" y="119"/>
                    <a:pt x="450" y="119"/>
                    <a:pt x="450" y="119"/>
                  </a:cubicBezTo>
                  <a:cubicBezTo>
                    <a:pt x="445" y="80"/>
                    <a:pt x="464" y="39"/>
                    <a:pt x="501" y="18"/>
                  </a:cubicBezTo>
                  <a:cubicBezTo>
                    <a:pt x="513" y="11"/>
                    <a:pt x="526" y="6"/>
                    <a:pt x="539" y="5"/>
                  </a:cubicBezTo>
                  <a:close/>
                </a:path>
              </a:pathLst>
            </a:custGeom>
            <a:solidFill>
              <a:schemeClr val="tx1"/>
            </a:solidFill>
            <a:ln>
              <a:noFill/>
            </a:ln>
          </p:spPr>
          <p:txBody>
            <a:bodyPr vert="horz" wrap="square" lIns="68574" tIns="34287" rIns="68574" bIns="34287"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0000"/>
                </a:solidFill>
                <a:effectLst/>
                <a:uLnTx/>
                <a:uFillTx/>
                <a:latin typeface="Segoe UI"/>
                <a:ea typeface="+mn-ea"/>
                <a:cs typeface="+mn-cs"/>
              </a:endParaRPr>
            </a:p>
          </p:txBody>
        </p:sp>
        <p:sp>
          <p:nvSpPr>
            <p:cNvPr id="87" name="Freeform 86"/>
            <p:cNvSpPr>
              <a:spLocks noChangeAspect="1" noEditPoints="1"/>
            </p:cNvSpPr>
            <p:nvPr/>
          </p:nvSpPr>
          <p:spPr bwMode="black">
            <a:xfrm>
              <a:off x="722320" y="1783009"/>
              <a:ext cx="452202" cy="366660"/>
            </a:xfrm>
            <a:custGeom>
              <a:avLst/>
              <a:gdLst>
                <a:gd name="T0" fmla="*/ 600 w 1107"/>
                <a:gd name="T1" fmla="*/ 625 h 897"/>
                <a:gd name="T2" fmla="*/ 649 w 1107"/>
                <a:gd name="T3" fmla="*/ 567 h 897"/>
                <a:gd name="T4" fmla="*/ 727 w 1107"/>
                <a:gd name="T5" fmla="*/ 482 h 897"/>
                <a:gd name="T6" fmla="*/ 601 w 1107"/>
                <a:gd name="T7" fmla="*/ 434 h 897"/>
                <a:gd name="T8" fmla="*/ 628 w 1107"/>
                <a:gd name="T9" fmla="*/ 305 h 897"/>
                <a:gd name="T10" fmla="*/ 547 w 1107"/>
                <a:gd name="T11" fmla="*/ 240 h 897"/>
                <a:gd name="T12" fmla="*/ 427 w 1107"/>
                <a:gd name="T13" fmla="*/ 287 h 897"/>
                <a:gd name="T14" fmla="*/ 368 w 1107"/>
                <a:gd name="T15" fmla="*/ 170 h 897"/>
                <a:gd name="T16" fmla="*/ 285 w 1107"/>
                <a:gd name="T17" fmla="*/ 263 h 897"/>
                <a:gd name="T18" fmla="*/ 241 w 1107"/>
                <a:gd name="T19" fmla="*/ 313 h 897"/>
                <a:gd name="T20" fmla="*/ 139 w 1107"/>
                <a:gd name="T21" fmla="*/ 281 h 897"/>
                <a:gd name="T22" fmla="*/ 79 w 1107"/>
                <a:gd name="T23" fmla="*/ 355 h 897"/>
                <a:gd name="T24" fmla="*/ 132 w 1107"/>
                <a:gd name="T25" fmla="*/ 446 h 897"/>
                <a:gd name="T26" fmla="*/ 83 w 1107"/>
                <a:gd name="T27" fmla="*/ 505 h 897"/>
                <a:gd name="T28" fmla="*/ 5 w 1107"/>
                <a:gd name="T29" fmla="*/ 590 h 897"/>
                <a:gd name="T30" fmla="*/ 132 w 1107"/>
                <a:gd name="T31" fmla="*/ 638 h 897"/>
                <a:gd name="T32" fmla="*/ 145 w 1107"/>
                <a:gd name="T33" fmla="*/ 669 h 897"/>
                <a:gd name="T34" fmla="*/ 110 w 1107"/>
                <a:gd name="T35" fmla="*/ 793 h 897"/>
                <a:gd name="T36" fmla="*/ 230 w 1107"/>
                <a:gd name="T37" fmla="*/ 781 h 897"/>
                <a:gd name="T38" fmla="*/ 306 w 1107"/>
                <a:gd name="T39" fmla="*/ 785 h 897"/>
                <a:gd name="T40" fmla="*/ 346 w 1107"/>
                <a:gd name="T41" fmla="*/ 878 h 897"/>
                <a:gd name="T42" fmla="*/ 440 w 1107"/>
                <a:gd name="T43" fmla="*/ 872 h 897"/>
                <a:gd name="T44" fmla="*/ 466 w 1107"/>
                <a:gd name="T45" fmla="*/ 764 h 897"/>
                <a:gd name="T46" fmla="*/ 539 w 1107"/>
                <a:gd name="T47" fmla="*/ 755 h 897"/>
                <a:gd name="T48" fmla="*/ 659 w 1107"/>
                <a:gd name="T49" fmla="*/ 743 h 897"/>
                <a:gd name="T50" fmla="*/ 263 w 1107"/>
                <a:gd name="T51" fmla="*/ 452 h 897"/>
                <a:gd name="T52" fmla="*/ 281 w 1107"/>
                <a:gd name="T53" fmla="*/ 633 h 897"/>
                <a:gd name="T54" fmla="*/ 1002 w 1107"/>
                <a:gd name="T55" fmla="*/ 332 h 897"/>
                <a:gd name="T56" fmla="*/ 1043 w 1107"/>
                <a:gd name="T57" fmla="*/ 304 h 897"/>
                <a:gd name="T58" fmla="*/ 1107 w 1107"/>
                <a:gd name="T59" fmla="*/ 266 h 897"/>
                <a:gd name="T60" fmla="*/ 1037 w 1107"/>
                <a:gd name="T61" fmla="*/ 213 h 897"/>
                <a:gd name="T62" fmla="*/ 1077 w 1107"/>
                <a:gd name="T63" fmla="*/ 138 h 897"/>
                <a:gd name="T64" fmla="*/ 1038 w 1107"/>
                <a:gd name="T65" fmla="*/ 83 h 897"/>
                <a:gd name="T66" fmla="*/ 956 w 1107"/>
                <a:gd name="T67" fmla="*/ 91 h 897"/>
                <a:gd name="T68" fmla="*/ 940 w 1107"/>
                <a:gd name="T69" fmla="*/ 7 h 897"/>
                <a:gd name="T70" fmla="*/ 872 w 1107"/>
                <a:gd name="T71" fmla="*/ 50 h 897"/>
                <a:gd name="T72" fmla="*/ 836 w 1107"/>
                <a:gd name="T73" fmla="*/ 74 h 897"/>
                <a:gd name="T74" fmla="*/ 778 w 1107"/>
                <a:gd name="T75" fmla="*/ 35 h 897"/>
                <a:gd name="T76" fmla="*/ 728 w 1107"/>
                <a:gd name="T77" fmla="*/ 70 h 897"/>
                <a:gd name="T78" fmla="*/ 744 w 1107"/>
                <a:gd name="T79" fmla="*/ 136 h 897"/>
                <a:gd name="T80" fmla="*/ 703 w 1107"/>
                <a:gd name="T81" fmla="*/ 164 h 897"/>
                <a:gd name="T82" fmla="*/ 640 w 1107"/>
                <a:gd name="T83" fmla="*/ 203 h 897"/>
                <a:gd name="T84" fmla="*/ 710 w 1107"/>
                <a:gd name="T85" fmla="*/ 255 h 897"/>
                <a:gd name="T86" fmla="*/ 712 w 1107"/>
                <a:gd name="T87" fmla="*/ 277 h 897"/>
                <a:gd name="T88" fmla="*/ 668 w 1107"/>
                <a:gd name="T89" fmla="*/ 347 h 897"/>
                <a:gd name="T90" fmla="*/ 745 w 1107"/>
                <a:gd name="T91" fmla="*/ 361 h 897"/>
                <a:gd name="T92" fmla="*/ 791 w 1107"/>
                <a:gd name="T93" fmla="*/ 377 h 897"/>
                <a:gd name="T94" fmla="*/ 799 w 1107"/>
                <a:gd name="T95" fmla="*/ 443 h 897"/>
                <a:gd name="T96" fmla="*/ 859 w 1107"/>
                <a:gd name="T97" fmla="*/ 456 h 897"/>
                <a:gd name="T98" fmla="*/ 894 w 1107"/>
                <a:gd name="T99" fmla="*/ 393 h 897"/>
                <a:gd name="T100" fmla="*/ 941 w 1107"/>
                <a:gd name="T101" fmla="*/ 401 h 897"/>
                <a:gd name="T102" fmla="*/ 1018 w 1107"/>
                <a:gd name="T103" fmla="*/ 415 h 897"/>
                <a:gd name="T104" fmla="*/ 825 w 1107"/>
                <a:gd name="T105" fmla="*/ 164 h 897"/>
                <a:gd name="T106" fmla="*/ 803 w 1107"/>
                <a:gd name="T107" fmla="*/ 279 h 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107" h="897">
                  <a:moveTo>
                    <a:pt x="654" y="716"/>
                  </a:moveTo>
                  <a:cubicBezTo>
                    <a:pt x="616" y="670"/>
                    <a:pt x="616" y="670"/>
                    <a:pt x="616" y="670"/>
                  </a:cubicBezTo>
                  <a:cubicBezTo>
                    <a:pt x="593" y="654"/>
                    <a:pt x="603" y="638"/>
                    <a:pt x="600" y="625"/>
                  </a:cubicBezTo>
                  <a:cubicBezTo>
                    <a:pt x="600" y="625"/>
                    <a:pt x="600" y="625"/>
                    <a:pt x="600" y="625"/>
                  </a:cubicBezTo>
                  <a:cubicBezTo>
                    <a:pt x="605" y="617"/>
                    <a:pt x="611" y="609"/>
                    <a:pt x="608" y="596"/>
                  </a:cubicBezTo>
                  <a:cubicBezTo>
                    <a:pt x="618" y="580"/>
                    <a:pt x="623" y="572"/>
                    <a:pt x="649" y="567"/>
                  </a:cubicBezTo>
                  <a:cubicBezTo>
                    <a:pt x="715" y="553"/>
                    <a:pt x="715" y="553"/>
                    <a:pt x="715" y="553"/>
                  </a:cubicBezTo>
                  <a:cubicBezTo>
                    <a:pt x="728" y="550"/>
                    <a:pt x="733" y="542"/>
                    <a:pt x="730" y="529"/>
                  </a:cubicBezTo>
                  <a:cubicBezTo>
                    <a:pt x="727" y="482"/>
                    <a:pt x="727" y="482"/>
                    <a:pt x="727" y="482"/>
                  </a:cubicBezTo>
                  <a:cubicBezTo>
                    <a:pt x="724" y="469"/>
                    <a:pt x="717" y="463"/>
                    <a:pt x="701" y="453"/>
                  </a:cubicBezTo>
                  <a:cubicBezTo>
                    <a:pt x="641" y="459"/>
                    <a:pt x="641" y="459"/>
                    <a:pt x="641" y="459"/>
                  </a:cubicBezTo>
                  <a:cubicBezTo>
                    <a:pt x="620" y="457"/>
                    <a:pt x="604" y="447"/>
                    <a:pt x="601" y="434"/>
                  </a:cubicBezTo>
                  <a:cubicBezTo>
                    <a:pt x="598" y="421"/>
                    <a:pt x="590" y="416"/>
                    <a:pt x="580" y="397"/>
                  </a:cubicBezTo>
                  <a:cubicBezTo>
                    <a:pt x="577" y="384"/>
                    <a:pt x="574" y="371"/>
                    <a:pt x="584" y="355"/>
                  </a:cubicBezTo>
                  <a:cubicBezTo>
                    <a:pt x="628" y="305"/>
                    <a:pt x="628" y="305"/>
                    <a:pt x="628" y="305"/>
                  </a:cubicBezTo>
                  <a:cubicBezTo>
                    <a:pt x="634" y="297"/>
                    <a:pt x="631" y="284"/>
                    <a:pt x="623" y="279"/>
                  </a:cubicBezTo>
                  <a:cubicBezTo>
                    <a:pt x="581" y="240"/>
                    <a:pt x="581" y="240"/>
                    <a:pt x="581" y="240"/>
                  </a:cubicBezTo>
                  <a:cubicBezTo>
                    <a:pt x="573" y="235"/>
                    <a:pt x="560" y="238"/>
                    <a:pt x="547" y="240"/>
                  </a:cubicBezTo>
                  <a:cubicBezTo>
                    <a:pt x="503" y="291"/>
                    <a:pt x="503" y="291"/>
                    <a:pt x="503" y="291"/>
                  </a:cubicBezTo>
                  <a:cubicBezTo>
                    <a:pt x="484" y="302"/>
                    <a:pt x="471" y="304"/>
                    <a:pt x="463" y="299"/>
                  </a:cubicBezTo>
                  <a:cubicBezTo>
                    <a:pt x="456" y="294"/>
                    <a:pt x="435" y="292"/>
                    <a:pt x="427" y="287"/>
                  </a:cubicBezTo>
                  <a:cubicBezTo>
                    <a:pt x="419" y="282"/>
                    <a:pt x="403" y="271"/>
                    <a:pt x="400" y="258"/>
                  </a:cubicBezTo>
                  <a:cubicBezTo>
                    <a:pt x="386" y="193"/>
                    <a:pt x="386" y="193"/>
                    <a:pt x="386" y="193"/>
                  </a:cubicBezTo>
                  <a:cubicBezTo>
                    <a:pt x="384" y="180"/>
                    <a:pt x="368" y="170"/>
                    <a:pt x="368" y="170"/>
                  </a:cubicBezTo>
                  <a:cubicBezTo>
                    <a:pt x="308" y="176"/>
                    <a:pt x="308" y="176"/>
                    <a:pt x="308" y="176"/>
                  </a:cubicBezTo>
                  <a:cubicBezTo>
                    <a:pt x="308" y="176"/>
                    <a:pt x="289" y="187"/>
                    <a:pt x="292" y="200"/>
                  </a:cubicBezTo>
                  <a:cubicBezTo>
                    <a:pt x="285" y="263"/>
                    <a:pt x="285" y="263"/>
                    <a:pt x="285" y="263"/>
                  </a:cubicBezTo>
                  <a:cubicBezTo>
                    <a:pt x="291" y="289"/>
                    <a:pt x="277" y="292"/>
                    <a:pt x="272" y="300"/>
                  </a:cubicBezTo>
                  <a:cubicBezTo>
                    <a:pt x="272" y="300"/>
                    <a:pt x="272" y="300"/>
                    <a:pt x="267" y="308"/>
                  </a:cubicBezTo>
                  <a:cubicBezTo>
                    <a:pt x="259" y="302"/>
                    <a:pt x="246" y="305"/>
                    <a:pt x="241" y="313"/>
                  </a:cubicBezTo>
                  <a:cubicBezTo>
                    <a:pt x="236" y="321"/>
                    <a:pt x="236" y="321"/>
                    <a:pt x="236" y="321"/>
                  </a:cubicBezTo>
                  <a:cubicBezTo>
                    <a:pt x="223" y="324"/>
                    <a:pt x="210" y="327"/>
                    <a:pt x="194" y="317"/>
                  </a:cubicBezTo>
                  <a:cubicBezTo>
                    <a:pt x="139" y="281"/>
                    <a:pt x="139" y="281"/>
                    <a:pt x="139" y="281"/>
                  </a:cubicBezTo>
                  <a:cubicBezTo>
                    <a:pt x="131" y="276"/>
                    <a:pt x="110" y="273"/>
                    <a:pt x="104" y="281"/>
                  </a:cubicBezTo>
                  <a:cubicBezTo>
                    <a:pt x="79" y="321"/>
                    <a:pt x="79" y="321"/>
                    <a:pt x="79" y="321"/>
                  </a:cubicBezTo>
                  <a:cubicBezTo>
                    <a:pt x="66" y="324"/>
                    <a:pt x="68" y="337"/>
                    <a:pt x="79" y="355"/>
                  </a:cubicBezTo>
                  <a:cubicBezTo>
                    <a:pt x="121" y="394"/>
                    <a:pt x="121" y="394"/>
                    <a:pt x="121" y="394"/>
                  </a:cubicBezTo>
                  <a:cubicBezTo>
                    <a:pt x="140" y="417"/>
                    <a:pt x="135" y="425"/>
                    <a:pt x="132" y="446"/>
                  </a:cubicBezTo>
                  <a:cubicBezTo>
                    <a:pt x="132" y="446"/>
                    <a:pt x="132" y="446"/>
                    <a:pt x="132" y="446"/>
                  </a:cubicBezTo>
                  <a:cubicBezTo>
                    <a:pt x="127" y="454"/>
                    <a:pt x="122" y="462"/>
                    <a:pt x="117" y="470"/>
                  </a:cubicBezTo>
                  <a:cubicBezTo>
                    <a:pt x="117" y="470"/>
                    <a:pt x="117" y="470"/>
                    <a:pt x="117" y="470"/>
                  </a:cubicBezTo>
                  <a:cubicBezTo>
                    <a:pt x="120" y="483"/>
                    <a:pt x="109" y="499"/>
                    <a:pt x="83" y="505"/>
                  </a:cubicBezTo>
                  <a:cubicBezTo>
                    <a:pt x="23" y="511"/>
                    <a:pt x="23" y="511"/>
                    <a:pt x="23" y="511"/>
                  </a:cubicBezTo>
                  <a:cubicBezTo>
                    <a:pt x="10" y="514"/>
                    <a:pt x="0" y="529"/>
                    <a:pt x="2" y="543"/>
                  </a:cubicBezTo>
                  <a:cubicBezTo>
                    <a:pt x="5" y="590"/>
                    <a:pt x="5" y="590"/>
                    <a:pt x="5" y="590"/>
                  </a:cubicBezTo>
                  <a:cubicBezTo>
                    <a:pt x="8" y="603"/>
                    <a:pt x="16" y="608"/>
                    <a:pt x="37" y="610"/>
                  </a:cubicBezTo>
                  <a:cubicBezTo>
                    <a:pt x="92" y="612"/>
                    <a:pt x="92" y="612"/>
                    <a:pt x="92" y="612"/>
                  </a:cubicBezTo>
                  <a:cubicBezTo>
                    <a:pt x="113" y="614"/>
                    <a:pt x="129" y="625"/>
                    <a:pt x="132" y="638"/>
                  </a:cubicBezTo>
                  <a:cubicBezTo>
                    <a:pt x="132" y="638"/>
                    <a:pt x="132" y="638"/>
                    <a:pt x="132" y="638"/>
                  </a:cubicBezTo>
                  <a:cubicBezTo>
                    <a:pt x="140" y="643"/>
                    <a:pt x="142" y="656"/>
                    <a:pt x="150" y="661"/>
                  </a:cubicBezTo>
                  <a:cubicBezTo>
                    <a:pt x="145" y="669"/>
                    <a:pt x="145" y="669"/>
                    <a:pt x="145" y="669"/>
                  </a:cubicBezTo>
                  <a:cubicBezTo>
                    <a:pt x="153" y="674"/>
                    <a:pt x="156" y="687"/>
                    <a:pt x="140" y="711"/>
                  </a:cubicBezTo>
                  <a:cubicBezTo>
                    <a:pt x="109" y="759"/>
                    <a:pt x="109" y="759"/>
                    <a:pt x="109" y="759"/>
                  </a:cubicBezTo>
                  <a:cubicBezTo>
                    <a:pt x="99" y="775"/>
                    <a:pt x="102" y="788"/>
                    <a:pt x="110" y="793"/>
                  </a:cubicBezTo>
                  <a:cubicBezTo>
                    <a:pt x="152" y="832"/>
                    <a:pt x="152" y="832"/>
                    <a:pt x="152" y="832"/>
                  </a:cubicBezTo>
                  <a:cubicBezTo>
                    <a:pt x="160" y="837"/>
                    <a:pt x="173" y="834"/>
                    <a:pt x="178" y="826"/>
                  </a:cubicBezTo>
                  <a:cubicBezTo>
                    <a:pt x="230" y="781"/>
                    <a:pt x="230" y="781"/>
                    <a:pt x="230" y="781"/>
                  </a:cubicBezTo>
                  <a:cubicBezTo>
                    <a:pt x="248" y="770"/>
                    <a:pt x="261" y="767"/>
                    <a:pt x="269" y="772"/>
                  </a:cubicBezTo>
                  <a:cubicBezTo>
                    <a:pt x="269" y="772"/>
                    <a:pt x="269" y="772"/>
                    <a:pt x="269" y="772"/>
                  </a:cubicBezTo>
                  <a:cubicBezTo>
                    <a:pt x="282" y="769"/>
                    <a:pt x="298" y="779"/>
                    <a:pt x="306" y="785"/>
                  </a:cubicBezTo>
                  <a:cubicBezTo>
                    <a:pt x="306" y="785"/>
                    <a:pt x="306" y="785"/>
                    <a:pt x="306" y="785"/>
                  </a:cubicBezTo>
                  <a:cubicBezTo>
                    <a:pt x="319" y="782"/>
                    <a:pt x="327" y="787"/>
                    <a:pt x="332" y="813"/>
                  </a:cubicBezTo>
                  <a:cubicBezTo>
                    <a:pt x="346" y="878"/>
                    <a:pt x="346" y="878"/>
                    <a:pt x="346" y="878"/>
                  </a:cubicBezTo>
                  <a:cubicBezTo>
                    <a:pt x="349" y="892"/>
                    <a:pt x="357" y="897"/>
                    <a:pt x="370" y="894"/>
                  </a:cubicBezTo>
                  <a:cubicBezTo>
                    <a:pt x="425" y="896"/>
                    <a:pt x="425" y="896"/>
                    <a:pt x="425" y="896"/>
                  </a:cubicBezTo>
                  <a:cubicBezTo>
                    <a:pt x="430" y="888"/>
                    <a:pt x="443" y="885"/>
                    <a:pt x="440" y="872"/>
                  </a:cubicBezTo>
                  <a:cubicBezTo>
                    <a:pt x="440" y="804"/>
                    <a:pt x="440" y="804"/>
                    <a:pt x="440" y="804"/>
                  </a:cubicBezTo>
                  <a:cubicBezTo>
                    <a:pt x="442" y="783"/>
                    <a:pt x="460" y="772"/>
                    <a:pt x="466" y="764"/>
                  </a:cubicBezTo>
                  <a:cubicBezTo>
                    <a:pt x="466" y="764"/>
                    <a:pt x="466" y="764"/>
                    <a:pt x="466" y="764"/>
                  </a:cubicBezTo>
                  <a:cubicBezTo>
                    <a:pt x="479" y="761"/>
                    <a:pt x="492" y="758"/>
                    <a:pt x="497" y="750"/>
                  </a:cubicBezTo>
                  <a:cubicBezTo>
                    <a:pt x="497" y="750"/>
                    <a:pt x="497" y="750"/>
                    <a:pt x="497" y="750"/>
                  </a:cubicBezTo>
                  <a:cubicBezTo>
                    <a:pt x="510" y="747"/>
                    <a:pt x="523" y="745"/>
                    <a:pt x="539" y="755"/>
                  </a:cubicBezTo>
                  <a:cubicBezTo>
                    <a:pt x="594" y="791"/>
                    <a:pt x="594" y="791"/>
                    <a:pt x="594" y="791"/>
                  </a:cubicBezTo>
                  <a:cubicBezTo>
                    <a:pt x="602" y="796"/>
                    <a:pt x="623" y="798"/>
                    <a:pt x="628" y="790"/>
                  </a:cubicBezTo>
                  <a:cubicBezTo>
                    <a:pt x="659" y="743"/>
                    <a:pt x="659" y="743"/>
                    <a:pt x="659" y="743"/>
                  </a:cubicBezTo>
                  <a:cubicBezTo>
                    <a:pt x="659" y="743"/>
                    <a:pt x="669" y="727"/>
                    <a:pt x="654" y="716"/>
                  </a:cubicBezTo>
                  <a:close/>
                  <a:moveTo>
                    <a:pt x="281" y="633"/>
                  </a:moveTo>
                  <a:cubicBezTo>
                    <a:pt x="223" y="584"/>
                    <a:pt x="219" y="502"/>
                    <a:pt x="263" y="452"/>
                  </a:cubicBezTo>
                  <a:cubicBezTo>
                    <a:pt x="313" y="393"/>
                    <a:pt x="399" y="382"/>
                    <a:pt x="457" y="431"/>
                  </a:cubicBezTo>
                  <a:cubicBezTo>
                    <a:pt x="507" y="475"/>
                    <a:pt x="518" y="561"/>
                    <a:pt x="469" y="619"/>
                  </a:cubicBezTo>
                  <a:cubicBezTo>
                    <a:pt x="420" y="678"/>
                    <a:pt x="339" y="682"/>
                    <a:pt x="281" y="633"/>
                  </a:cubicBezTo>
                  <a:close/>
                  <a:moveTo>
                    <a:pt x="1019" y="398"/>
                  </a:moveTo>
                  <a:cubicBezTo>
                    <a:pt x="1004" y="362"/>
                    <a:pt x="1004" y="362"/>
                    <a:pt x="1004" y="362"/>
                  </a:cubicBezTo>
                  <a:cubicBezTo>
                    <a:pt x="992" y="348"/>
                    <a:pt x="1002" y="340"/>
                    <a:pt x="1002" y="332"/>
                  </a:cubicBezTo>
                  <a:cubicBezTo>
                    <a:pt x="1002" y="332"/>
                    <a:pt x="1002" y="332"/>
                    <a:pt x="1002" y="332"/>
                  </a:cubicBezTo>
                  <a:cubicBezTo>
                    <a:pt x="1007" y="328"/>
                    <a:pt x="1011" y="324"/>
                    <a:pt x="1012" y="315"/>
                  </a:cubicBezTo>
                  <a:cubicBezTo>
                    <a:pt x="1021" y="307"/>
                    <a:pt x="1026" y="303"/>
                    <a:pt x="1043" y="304"/>
                  </a:cubicBezTo>
                  <a:cubicBezTo>
                    <a:pt x="1086" y="307"/>
                    <a:pt x="1086" y="307"/>
                    <a:pt x="1086" y="307"/>
                  </a:cubicBezTo>
                  <a:cubicBezTo>
                    <a:pt x="1095" y="308"/>
                    <a:pt x="1099" y="304"/>
                    <a:pt x="1100" y="295"/>
                  </a:cubicBezTo>
                  <a:cubicBezTo>
                    <a:pt x="1107" y="266"/>
                    <a:pt x="1107" y="266"/>
                    <a:pt x="1107" y="266"/>
                  </a:cubicBezTo>
                  <a:cubicBezTo>
                    <a:pt x="1107" y="257"/>
                    <a:pt x="1103" y="252"/>
                    <a:pt x="1095" y="243"/>
                  </a:cubicBezTo>
                  <a:cubicBezTo>
                    <a:pt x="1057" y="236"/>
                    <a:pt x="1057" y="236"/>
                    <a:pt x="1057" y="236"/>
                  </a:cubicBezTo>
                  <a:cubicBezTo>
                    <a:pt x="1044" y="231"/>
                    <a:pt x="1036" y="222"/>
                    <a:pt x="1037" y="213"/>
                  </a:cubicBezTo>
                  <a:cubicBezTo>
                    <a:pt x="1038" y="205"/>
                    <a:pt x="1034" y="200"/>
                    <a:pt x="1030" y="187"/>
                  </a:cubicBezTo>
                  <a:cubicBezTo>
                    <a:pt x="1031" y="178"/>
                    <a:pt x="1032" y="170"/>
                    <a:pt x="1041" y="162"/>
                  </a:cubicBezTo>
                  <a:cubicBezTo>
                    <a:pt x="1077" y="138"/>
                    <a:pt x="1077" y="138"/>
                    <a:pt x="1077" y="138"/>
                  </a:cubicBezTo>
                  <a:cubicBezTo>
                    <a:pt x="1082" y="134"/>
                    <a:pt x="1083" y="126"/>
                    <a:pt x="1079" y="121"/>
                  </a:cubicBezTo>
                  <a:cubicBezTo>
                    <a:pt x="1059" y="89"/>
                    <a:pt x="1059" y="89"/>
                    <a:pt x="1059" y="89"/>
                  </a:cubicBezTo>
                  <a:cubicBezTo>
                    <a:pt x="1055" y="85"/>
                    <a:pt x="1047" y="84"/>
                    <a:pt x="1038" y="83"/>
                  </a:cubicBezTo>
                  <a:cubicBezTo>
                    <a:pt x="1002" y="107"/>
                    <a:pt x="1002" y="107"/>
                    <a:pt x="1002" y="107"/>
                  </a:cubicBezTo>
                  <a:cubicBezTo>
                    <a:pt x="989" y="110"/>
                    <a:pt x="980" y="110"/>
                    <a:pt x="976" y="105"/>
                  </a:cubicBezTo>
                  <a:cubicBezTo>
                    <a:pt x="972" y="100"/>
                    <a:pt x="960" y="95"/>
                    <a:pt x="956" y="91"/>
                  </a:cubicBezTo>
                  <a:cubicBezTo>
                    <a:pt x="952" y="86"/>
                    <a:pt x="944" y="77"/>
                    <a:pt x="944" y="68"/>
                  </a:cubicBezTo>
                  <a:cubicBezTo>
                    <a:pt x="948" y="25"/>
                    <a:pt x="948" y="25"/>
                    <a:pt x="948" y="25"/>
                  </a:cubicBezTo>
                  <a:cubicBezTo>
                    <a:pt x="948" y="17"/>
                    <a:pt x="940" y="7"/>
                    <a:pt x="940" y="7"/>
                  </a:cubicBezTo>
                  <a:cubicBezTo>
                    <a:pt x="902" y="0"/>
                    <a:pt x="902" y="0"/>
                    <a:pt x="902" y="0"/>
                  </a:cubicBezTo>
                  <a:cubicBezTo>
                    <a:pt x="902" y="0"/>
                    <a:pt x="889" y="4"/>
                    <a:pt x="888" y="12"/>
                  </a:cubicBezTo>
                  <a:cubicBezTo>
                    <a:pt x="872" y="50"/>
                    <a:pt x="872" y="50"/>
                    <a:pt x="872" y="50"/>
                  </a:cubicBezTo>
                  <a:cubicBezTo>
                    <a:pt x="871" y="67"/>
                    <a:pt x="862" y="67"/>
                    <a:pt x="858" y="71"/>
                  </a:cubicBezTo>
                  <a:cubicBezTo>
                    <a:pt x="858" y="71"/>
                    <a:pt x="858" y="71"/>
                    <a:pt x="853" y="75"/>
                  </a:cubicBezTo>
                  <a:cubicBezTo>
                    <a:pt x="849" y="70"/>
                    <a:pt x="840" y="70"/>
                    <a:pt x="836" y="74"/>
                  </a:cubicBezTo>
                  <a:cubicBezTo>
                    <a:pt x="831" y="78"/>
                    <a:pt x="831" y="78"/>
                    <a:pt x="831" y="78"/>
                  </a:cubicBezTo>
                  <a:cubicBezTo>
                    <a:pt x="822" y="77"/>
                    <a:pt x="814" y="76"/>
                    <a:pt x="806" y="67"/>
                  </a:cubicBezTo>
                  <a:cubicBezTo>
                    <a:pt x="778" y="35"/>
                    <a:pt x="778" y="35"/>
                    <a:pt x="778" y="35"/>
                  </a:cubicBezTo>
                  <a:cubicBezTo>
                    <a:pt x="774" y="30"/>
                    <a:pt x="762" y="25"/>
                    <a:pt x="757" y="29"/>
                  </a:cubicBezTo>
                  <a:cubicBezTo>
                    <a:pt x="734" y="49"/>
                    <a:pt x="734" y="49"/>
                    <a:pt x="734" y="49"/>
                  </a:cubicBezTo>
                  <a:cubicBezTo>
                    <a:pt x="725" y="49"/>
                    <a:pt x="725" y="57"/>
                    <a:pt x="728" y="70"/>
                  </a:cubicBezTo>
                  <a:cubicBezTo>
                    <a:pt x="747" y="102"/>
                    <a:pt x="747" y="102"/>
                    <a:pt x="747" y="102"/>
                  </a:cubicBezTo>
                  <a:cubicBezTo>
                    <a:pt x="754" y="120"/>
                    <a:pt x="750" y="124"/>
                    <a:pt x="744" y="136"/>
                  </a:cubicBezTo>
                  <a:cubicBezTo>
                    <a:pt x="744" y="136"/>
                    <a:pt x="744" y="136"/>
                    <a:pt x="744" y="136"/>
                  </a:cubicBezTo>
                  <a:cubicBezTo>
                    <a:pt x="740" y="140"/>
                    <a:pt x="735" y="144"/>
                    <a:pt x="731" y="148"/>
                  </a:cubicBezTo>
                  <a:cubicBezTo>
                    <a:pt x="731" y="148"/>
                    <a:pt x="731" y="148"/>
                    <a:pt x="731" y="148"/>
                  </a:cubicBezTo>
                  <a:cubicBezTo>
                    <a:pt x="730" y="157"/>
                    <a:pt x="721" y="165"/>
                    <a:pt x="703" y="164"/>
                  </a:cubicBezTo>
                  <a:cubicBezTo>
                    <a:pt x="665" y="157"/>
                    <a:pt x="665" y="157"/>
                    <a:pt x="665" y="157"/>
                  </a:cubicBezTo>
                  <a:cubicBezTo>
                    <a:pt x="656" y="156"/>
                    <a:pt x="647" y="164"/>
                    <a:pt x="647" y="173"/>
                  </a:cubicBezTo>
                  <a:cubicBezTo>
                    <a:pt x="640" y="203"/>
                    <a:pt x="640" y="203"/>
                    <a:pt x="640" y="203"/>
                  </a:cubicBezTo>
                  <a:cubicBezTo>
                    <a:pt x="639" y="211"/>
                    <a:pt x="643" y="216"/>
                    <a:pt x="656" y="221"/>
                  </a:cubicBezTo>
                  <a:cubicBezTo>
                    <a:pt x="690" y="232"/>
                    <a:pt x="690" y="232"/>
                    <a:pt x="690" y="232"/>
                  </a:cubicBezTo>
                  <a:cubicBezTo>
                    <a:pt x="702" y="237"/>
                    <a:pt x="710" y="246"/>
                    <a:pt x="710" y="255"/>
                  </a:cubicBezTo>
                  <a:cubicBezTo>
                    <a:pt x="710" y="255"/>
                    <a:pt x="710" y="255"/>
                    <a:pt x="710" y="255"/>
                  </a:cubicBezTo>
                  <a:cubicBezTo>
                    <a:pt x="714" y="260"/>
                    <a:pt x="713" y="268"/>
                    <a:pt x="717" y="273"/>
                  </a:cubicBezTo>
                  <a:cubicBezTo>
                    <a:pt x="712" y="277"/>
                    <a:pt x="712" y="277"/>
                    <a:pt x="712" y="277"/>
                  </a:cubicBezTo>
                  <a:cubicBezTo>
                    <a:pt x="716" y="281"/>
                    <a:pt x="716" y="290"/>
                    <a:pt x="702" y="302"/>
                  </a:cubicBezTo>
                  <a:cubicBezTo>
                    <a:pt x="674" y="326"/>
                    <a:pt x="674" y="326"/>
                    <a:pt x="674" y="326"/>
                  </a:cubicBezTo>
                  <a:cubicBezTo>
                    <a:pt x="665" y="334"/>
                    <a:pt x="664" y="343"/>
                    <a:pt x="668" y="347"/>
                  </a:cubicBezTo>
                  <a:cubicBezTo>
                    <a:pt x="687" y="379"/>
                    <a:pt x="687" y="379"/>
                    <a:pt x="687" y="379"/>
                  </a:cubicBezTo>
                  <a:cubicBezTo>
                    <a:pt x="691" y="383"/>
                    <a:pt x="700" y="384"/>
                    <a:pt x="704" y="380"/>
                  </a:cubicBezTo>
                  <a:cubicBezTo>
                    <a:pt x="745" y="361"/>
                    <a:pt x="745" y="361"/>
                    <a:pt x="745" y="361"/>
                  </a:cubicBezTo>
                  <a:cubicBezTo>
                    <a:pt x="758" y="358"/>
                    <a:pt x="767" y="358"/>
                    <a:pt x="771" y="363"/>
                  </a:cubicBezTo>
                  <a:cubicBezTo>
                    <a:pt x="771" y="363"/>
                    <a:pt x="771" y="363"/>
                    <a:pt x="771" y="363"/>
                  </a:cubicBezTo>
                  <a:cubicBezTo>
                    <a:pt x="779" y="364"/>
                    <a:pt x="787" y="373"/>
                    <a:pt x="791" y="377"/>
                  </a:cubicBezTo>
                  <a:cubicBezTo>
                    <a:pt x="791" y="377"/>
                    <a:pt x="791" y="377"/>
                    <a:pt x="791" y="377"/>
                  </a:cubicBezTo>
                  <a:cubicBezTo>
                    <a:pt x="800" y="378"/>
                    <a:pt x="804" y="383"/>
                    <a:pt x="802" y="400"/>
                  </a:cubicBezTo>
                  <a:cubicBezTo>
                    <a:pt x="799" y="443"/>
                    <a:pt x="799" y="443"/>
                    <a:pt x="799" y="443"/>
                  </a:cubicBezTo>
                  <a:cubicBezTo>
                    <a:pt x="798" y="451"/>
                    <a:pt x="802" y="456"/>
                    <a:pt x="811" y="457"/>
                  </a:cubicBezTo>
                  <a:cubicBezTo>
                    <a:pt x="845" y="468"/>
                    <a:pt x="845" y="468"/>
                    <a:pt x="845" y="468"/>
                  </a:cubicBezTo>
                  <a:cubicBezTo>
                    <a:pt x="849" y="464"/>
                    <a:pt x="858" y="464"/>
                    <a:pt x="859" y="456"/>
                  </a:cubicBezTo>
                  <a:cubicBezTo>
                    <a:pt x="871" y="413"/>
                    <a:pt x="871" y="413"/>
                    <a:pt x="871" y="413"/>
                  </a:cubicBezTo>
                  <a:cubicBezTo>
                    <a:pt x="876" y="401"/>
                    <a:pt x="889" y="397"/>
                    <a:pt x="894" y="393"/>
                  </a:cubicBezTo>
                  <a:cubicBezTo>
                    <a:pt x="894" y="393"/>
                    <a:pt x="894" y="393"/>
                    <a:pt x="894" y="393"/>
                  </a:cubicBezTo>
                  <a:cubicBezTo>
                    <a:pt x="902" y="394"/>
                    <a:pt x="911" y="395"/>
                    <a:pt x="916" y="391"/>
                  </a:cubicBezTo>
                  <a:cubicBezTo>
                    <a:pt x="916" y="391"/>
                    <a:pt x="916" y="391"/>
                    <a:pt x="916" y="391"/>
                  </a:cubicBezTo>
                  <a:cubicBezTo>
                    <a:pt x="924" y="391"/>
                    <a:pt x="933" y="392"/>
                    <a:pt x="941" y="401"/>
                  </a:cubicBezTo>
                  <a:cubicBezTo>
                    <a:pt x="969" y="433"/>
                    <a:pt x="969" y="433"/>
                    <a:pt x="969" y="433"/>
                  </a:cubicBezTo>
                  <a:cubicBezTo>
                    <a:pt x="973" y="438"/>
                    <a:pt x="985" y="443"/>
                    <a:pt x="990" y="439"/>
                  </a:cubicBezTo>
                  <a:cubicBezTo>
                    <a:pt x="1018" y="415"/>
                    <a:pt x="1018" y="415"/>
                    <a:pt x="1018" y="415"/>
                  </a:cubicBezTo>
                  <a:cubicBezTo>
                    <a:pt x="1018" y="415"/>
                    <a:pt x="1027" y="407"/>
                    <a:pt x="1019" y="398"/>
                  </a:cubicBezTo>
                  <a:close/>
                  <a:moveTo>
                    <a:pt x="803" y="279"/>
                  </a:moveTo>
                  <a:cubicBezTo>
                    <a:pt x="776" y="238"/>
                    <a:pt x="788" y="187"/>
                    <a:pt x="825" y="164"/>
                  </a:cubicBezTo>
                  <a:cubicBezTo>
                    <a:pt x="866" y="136"/>
                    <a:pt x="921" y="144"/>
                    <a:pt x="948" y="185"/>
                  </a:cubicBezTo>
                  <a:cubicBezTo>
                    <a:pt x="972" y="221"/>
                    <a:pt x="963" y="277"/>
                    <a:pt x="922" y="304"/>
                  </a:cubicBezTo>
                  <a:cubicBezTo>
                    <a:pt x="881" y="332"/>
                    <a:pt x="830" y="320"/>
                    <a:pt x="803" y="279"/>
                  </a:cubicBezTo>
                  <a:close/>
                </a:path>
              </a:pathLst>
            </a:custGeom>
            <a:solidFill>
              <a:schemeClr val="tx1"/>
            </a:solidFill>
            <a:ln>
              <a:noFill/>
            </a:ln>
          </p:spPr>
          <p:txBody>
            <a:bodyPr vert="horz" wrap="square" lIns="68574" tIns="34287" rIns="68574" bIns="34287"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17346"/>
                </a:solidFill>
                <a:effectLst/>
                <a:uLnTx/>
                <a:uFillTx/>
                <a:latin typeface="Segoe UI"/>
                <a:ea typeface="+mn-ea"/>
                <a:cs typeface="+mn-cs"/>
              </a:endParaRPr>
            </a:p>
          </p:txBody>
        </p:sp>
        <p:sp>
          <p:nvSpPr>
            <p:cNvPr id="88" name="Freeform 87"/>
            <p:cNvSpPr>
              <a:spLocks noChangeAspect="1"/>
            </p:cNvSpPr>
            <p:nvPr/>
          </p:nvSpPr>
          <p:spPr bwMode="black">
            <a:xfrm>
              <a:off x="776985" y="4213905"/>
              <a:ext cx="342871" cy="335728"/>
            </a:xfrm>
            <a:custGeom>
              <a:avLst/>
              <a:gdLst>
                <a:gd name="connsiteX0" fmla="*/ 3713863 w 4893730"/>
                <a:gd name="connsiteY0" fmla="*/ 2130808 h 4791777"/>
                <a:gd name="connsiteX1" fmla="*/ 4426142 w 4893730"/>
                <a:gd name="connsiteY1" fmla="*/ 2130808 h 4791777"/>
                <a:gd name="connsiteX2" fmla="*/ 4598071 w 4893730"/>
                <a:gd name="connsiteY2" fmla="*/ 2301547 h 4791777"/>
                <a:gd name="connsiteX3" fmla="*/ 4598071 w 4893730"/>
                <a:gd name="connsiteY3" fmla="*/ 3886978 h 4791777"/>
                <a:gd name="connsiteX4" fmla="*/ 4426142 w 4893730"/>
                <a:gd name="connsiteY4" fmla="*/ 4057717 h 4791777"/>
                <a:gd name="connsiteX5" fmla="*/ 3713863 w 4893730"/>
                <a:gd name="connsiteY5" fmla="*/ 4057717 h 4791777"/>
                <a:gd name="connsiteX6" fmla="*/ 3517372 w 4893730"/>
                <a:gd name="connsiteY6" fmla="*/ 3886978 h 4791777"/>
                <a:gd name="connsiteX7" fmla="*/ 3517372 w 4893730"/>
                <a:gd name="connsiteY7" fmla="*/ 2301547 h 4791777"/>
                <a:gd name="connsiteX8" fmla="*/ 3713863 w 4893730"/>
                <a:gd name="connsiteY8" fmla="*/ 2130808 h 4791777"/>
                <a:gd name="connsiteX9" fmla="*/ 904368 w 4893730"/>
                <a:gd name="connsiteY9" fmla="*/ 1223432 h 4791777"/>
                <a:gd name="connsiteX10" fmla="*/ 1609930 w 4893730"/>
                <a:gd name="connsiteY10" fmla="*/ 1223432 h 4791777"/>
                <a:gd name="connsiteX11" fmla="*/ 1804567 w 4893730"/>
                <a:gd name="connsiteY11" fmla="*/ 1394467 h 4791777"/>
                <a:gd name="connsiteX12" fmla="*/ 1804567 w 4893730"/>
                <a:gd name="connsiteY12" fmla="*/ 3886683 h 4791777"/>
                <a:gd name="connsiteX13" fmla="*/ 1609930 w 4893730"/>
                <a:gd name="connsiteY13" fmla="*/ 4057717 h 4791777"/>
                <a:gd name="connsiteX14" fmla="*/ 904368 w 4893730"/>
                <a:gd name="connsiteY14" fmla="*/ 4057717 h 4791777"/>
                <a:gd name="connsiteX15" fmla="*/ 734060 w 4893730"/>
                <a:gd name="connsiteY15" fmla="*/ 3886683 h 4791777"/>
                <a:gd name="connsiteX16" fmla="*/ 734060 w 4893730"/>
                <a:gd name="connsiteY16" fmla="*/ 1394467 h 4791777"/>
                <a:gd name="connsiteX17" fmla="*/ 904368 w 4893730"/>
                <a:gd name="connsiteY17" fmla="*/ 1223432 h 4791777"/>
                <a:gd name="connsiteX18" fmla="*/ 2325453 w 4893730"/>
                <a:gd name="connsiteY18" fmla="*/ 316050 h 4791777"/>
                <a:gd name="connsiteX19" fmla="*/ 3031014 w 4893730"/>
                <a:gd name="connsiteY19" fmla="*/ 316050 h 4791777"/>
                <a:gd name="connsiteX20" fmla="*/ 3201322 w 4893730"/>
                <a:gd name="connsiteY20" fmla="*/ 487238 h 4791777"/>
                <a:gd name="connsiteX21" fmla="*/ 3201322 w 4893730"/>
                <a:gd name="connsiteY21" fmla="*/ 3886530 h 4791777"/>
                <a:gd name="connsiteX22" fmla="*/ 3031014 w 4893730"/>
                <a:gd name="connsiteY22" fmla="*/ 4057717 h 4791777"/>
                <a:gd name="connsiteX23" fmla="*/ 2325453 w 4893730"/>
                <a:gd name="connsiteY23" fmla="*/ 4057717 h 4791777"/>
                <a:gd name="connsiteX24" fmla="*/ 2130815 w 4893730"/>
                <a:gd name="connsiteY24" fmla="*/ 3886530 h 4791777"/>
                <a:gd name="connsiteX25" fmla="*/ 2130815 w 4893730"/>
                <a:gd name="connsiteY25" fmla="*/ 487238 h 4791777"/>
                <a:gd name="connsiteX26" fmla="*/ 2325453 w 4893730"/>
                <a:gd name="connsiteY26" fmla="*/ 316050 h 4791777"/>
                <a:gd name="connsiteX27" fmla="*/ 269155 w 4893730"/>
                <a:gd name="connsiteY27" fmla="*/ 0 h 4791777"/>
                <a:gd name="connsiteX28" fmla="*/ 538311 w 4893730"/>
                <a:gd name="connsiteY28" fmla="*/ 268927 h 4791777"/>
                <a:gd name="connsiteX29" fmla="*/ 538311 w 4893730"/>
                <a:gd name="connsiteY29" fmla="*/ 4253925 h 4791777"/>
                <a:gd name="connsiteX30" fmla="*/ 4624575 w 4893730"/>
                <a:gd name="connsiteY30" fmla="*/ 4253925 h 4791777"/>
                <a:gd name="connsiteX31" fmla="*/ 4893730 w 4893730"/>
                <a:gd name="connsiteY31" fmla="*/ 4522851 h 4791777"/>
                <a:gd name="connsiteX32" fmla="*/ 4624575 w 4893730"/>
                <a:gd name="connsiteY32" fmla="*/ 4791777 h 4791777"/>
                <a:gd name="connsiteX33" fmla="*/ 269155 w 4893730"/>
                <a:gd name="connsiteY33" fmla="*/ 4791777 h 4791777"/>
                <a:gd name="connsiteX34" fmla="*/ 0 w 4893730"/>
                <a:gd name="connsiteY34" fmla="*/ 4522851 h 4791777"/>
                <a:gd name="connsiteX35" fmla="*/ 0 w 4893730"/>
                <a:gd name="connsiteY35" fmla="*/ 268927 h 4791777"/>
                <a:gd name="connsiteX36" fmla="*/ 269155 w 4893730"/>
                <a:gd name="connsiteY36" fmla="*/ 0 h 4791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4893730" h="4791777">
                  <a:moveTo>
                    <a:pt x="3713863" y="2130808"/>
                  </a:moveTo>
                  <a:cubicBezTo>
                    <a:pt x="3713863" y="2130808"/>
                    <a:pt x="3713863" y="2130808"/>
                    <a:pt x="4426142" y="2130808"/>
                  </a:cubicBezTo>
                  <a:cubicBezTo>
                    <a:pt x="4524387" y="2130808"/>
                    <a:pt x="4598071" y="2203982"/>
                    <a:pt x="4598071" y="2301547"/>
                  </a:cubicBezTo>
                  <a:cubicBezTo>
                    <a:pt x="4598071" y="2301547"/>
                    <a:pt x="4598071" y="2301547"/>
                    <a:pt x="4598071" y="3886978"/>
                  </a:cubicBezTo>
                  <a:cubicBezTo>
                    <a:pt x="4598071" y="3984543"/>
                    <a:pt x="4524387" y="4057717"/>
                    <a:pt x="4426142" y="4057717"/>
                  </a:cubicBezTo>
                  <a:cubicBezTo>
                    <a:pt x="4426142" y="4057717"/>
                    <a:pt x="4426142" y="4057717"/>
                    <a:pt x="3713863" y="4057717"/>
                  </a:cubicBezTo>
                  <a:cubicBezTo>
                    <a:pt x="3615618" y="4057717"/>
                    <a:pt x="3517372" y="3984543"/>
                    <a:pt x="3517372" y="3886978"/>
                  </a:cubicBezTo>
                  <a:cubicBezTo>
                    <a:pt x="3517372" y="3886978"/>
                    <a:pt x="3517372" y="3886978"/>
                    <a:pt x="3517372" y="2301547"/>
                  </a:cubicBezTo>
                  <a:cubicBezTo>
                    <a:pt x="3517372" y="2203982"/>
                    <a:pt x="3615618" y="2130808"/>
                    <a:pt x="3713863" y="2130808"/>
                  </a:cubicBezTo>
                  <a:close/>
                  <a:moveTo>
                    <a:pt x="904368" y="1223432"/>
                  </a:moveTo>
                  <a:cubicBezTo>
                    <a:pt x="904368" y="1223432"/>
                    <a:pt x="904368" y="1223432"/>
                    <a:pt x="1609930" y="1223432"/>
                  </a:cubicBezTo>
                  <a:cubicBezTo>
                    <a:pt x="1731578" y="1223432"/>
                    <a:pt x="1804567" y="1296733"/>
                    <a:pt x="1804567" y="1394467"/>
                  </a:cubicBezTo>
                  <a:cubicBezTo>
                    <a:pt x="1804567" y="1394467"/>
                    <a:pt x="1804567" y="1394467"/>
                    <a:pt x="1804567" y="3886683"/>
                  </a:cubicBezTo>
                  <a:cubicBezTo>
                    <a:pt x="1804567" y="3984417"/>
                    <a:pt x="1731578" y="4057717"/>
                    <a:pt x="1609930" y="4057717"/>
                  </a:cubicBezTo>
                  <a:cubicBezTo>
                    <a:pt x="1609930" y="4057717"/>
                    <a:pt x="1609930" y="4057717"/>
                    <a:pt x="904368" y="4057717"/>
                  </a:cubicBezTo>
                  <a:cubicBezTo>
                    <a:pt x="807049" y="4057717"/>
                    <a:pt x="734060" y="3984417"/>
                    <a:pt x="734060" y="3886683"/>
                  </a:cubicBezTo>
                  <a:cubicBezTo>
                    <a:pt x="734060" y="3886683"/>
                    <a:pt x="734060" y="3886683"/>
                    <a:pt x="734060" y="1394467"/>
                  </a:cubicBezTo>
                  <a:cubicBezTo>
                    <a:pt x="734060" y="1296733"/>
                    <a:pt x="807049" y="1223432"/>
                    <a:pt x="904368" y="1223432"/>
                  </a:cubicBezTo>
                  <a:close/>
                  <a:moveTo>
                    <a:pt x="2325453" y="316050"/>
                  </a:moveTo>
                  <a:cubicBezTo>
                    <a:pt x="2325453" y="316050"/>
                    <a:pt x="2325453" y="316050"/>
                    <a:pt x="3031014" y="316050"/>
                  </a:cubicBezTo>
                  <a:cubicBezTo>
                    <a:pt x="3128333" y="316050"/>
                    <a:pt x="3201322" y="389416"/>
                    <a:pt x="3201322" y="487238"/>
                  </a:cubicBezTo>
                  <a:cubicBezTo>
                    <a:pt x="3201322" y="487238"/>
                    <a:pt x="3201322" y="487238"/>
                    <a:pt x="3201322" y="3886530"/>
                  </a:cubicBezTo>
                  <a:cubicBezTo>
                    <a:pt x="3201322" y="3984351"/>
                    <a:pt x="3128333" y="4057717"/>
                    <a:pt x="3031014" y="4057717"/>
                  </a:cubicBezTo>
                  <a:cubicBezTo>
                    <a:pt x="3031014" y="4057717"/>
                    <a:pt x="3031014" y="4057717"/>
                    <a:pt x="2325453" y="4057717"/>
                  </a:cubicBezTo>
                  <a:cubicBezTo>
                    <a:pt x="2203804" y="4057717"/>
                    <a:pt x="2130815" y="3984351"/>
                    <a:pt x="2130815" y="3886530"/>
                  </a:cubicBezTo>
                  <a:cubicBezTo>
                    <a:pt x="2130815" y="3886530"/>
                    <a:pt x="2130815" y="3886530"/>
                    <a:pt x="2130815" y="487238"/>
                  </a:cubicBezTo>
                  <a:cubicBezTo>
                    <a:pt x="2130815" y="389416"/>
                    <a:pt x="2203804" y="316050"/>
                    <a:pt x="2325453" y="316050"/>
                  </a:cubicBezTo>
                  <a:close/>
                  <a:moveTo>
                    <a:pt x="269155" y="0"/>
                  </a:moveTo>
                  <a:cubicBezTo>
                    <a:pt x="415967" y="0"/>
                    <a:pt x="538311" y="122239"/>
                    <a:pt x="538311" y="268927"/>
                  </a:cubicBezTo>
                  <a:cubicBezTo>
                    <a:pt x="538311" y="268927"/>
                    <a:pt x="538311" y="268927"/>
                    <a:pt x="538311" y="4253925"/>
                  </a:cubicBezTo>
                  <a:cubicBezTo>
                    <a:pt x="538311" y="4253925"/>
                    <a:pt x="538311" y="4253925"/>
                    <a:pt x="4624575" y="4253925"/>
                  </a:cubicBezTo>
                  <a:cubicBezTo>
                    <a:pt x="4771387" y="4253925"/>
                    <a:pt x="4893730" y="4376164"/>
                    <a:pt x="4893730" y="4522851"/>
                  </a:cubicBezTo>
                  <a:cubicBezTo>
                    <a:pt x="4893730" y="4669538"/>
                    <a:pt x="4771387" y="4791777"/>
                    <a:pt x="4624575" y="4791777"/>
                  </a:cubicBezTo>
                  <a:cubicBezTo>
                    <a:pt x="4624575" y="4791777"/>
                    <a:pt x="4624575" y="4791777"/>
                    <a:pt x="269155" y="4791777"/>
                  </a:cubicBezTo>
                  <a:cubicBezTo>
                    <a:pt x="122344" y="4791777"/>
                    <a:pt x="0" y="4669538"/>
                    <a:pt x="0" y="4522851"/>
                  </a:cubicBezTo>
                  <a:cubicBezTo>
                    <a:pt x="0" y="4522851"/>
                    <a:pt x="0" y="4522851"/>
                    <a:pt x="0" y="268927"/>
                  </a:cubicBezTo>
                  <a:cubicBezTo>
                    <a:pt x="0" y="122239"/>
                    <a:pt x="122344" y="0"/>
                    <a:pt x="269155"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37148" tIns="109719" rIns="137148" bIns="109719"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699261"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9" name="Rectangle 88"/>
            <p:cNvSpPr/>
            <p:nvPr/>
          </p:nvSpPr>
          <p:spPr bwMode="auto">
            <a:xfrm rot="2745734">
              <a:off x="279530" y="1141266"/>
              <a:ext cx="1260714" cy="1255193"/>
            </a:xfrm>
            <a:prstGeom prst="rect">
              <a:avLst/>
            </a:prstGeom>
            <a:solidFill>
              <a:schemeClr val="tx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0" name="Rectangle 89"/>
            <p:cNvSpPr/>
            <p:nvPr/>
          </p:nvSpPr>
          <p:spPr bwMode="auto">
            <a:xfrm rot="2745734">
              <a:off x="1305789" y="4246825"/>
              <a:ext cx="416505" cy="1235003"/>
            </a:xfrm>
            <a:prstGeom prst="rect">
              <a:avLst/>
            </a:prstGeom>
            <a:solidFill>
              <a:schemeClr val="tx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2" name="Rectangle 91"/>
            <p:cNvSpPr/>
            <p:nvPr/>
          </p:nvSpPr>
          <p:spPr bwMode="auto">
            <a:xfrm rot="2745734">
              <a:off x="1315610" y="4915701"/>
              <a:ext cx="1263370" cy="1255989"/>
            </a:xfrm>
            <a:prstGeom prst="rect">
              <a:avLst/>
            </a:prstGeom>
            <a:solidFill>
              <a:schemeClr val="tx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40" name="TextBox 39"/>
          <p:cNvSpPr txBox="1"/>
          <p:nvPr/>
        </p:nvSpPr>
        <p:spPr>
          <a:xfrm>
            <a:off x="3" y="51415"/>
            <a:ext cx="2849058" cy="430887"/>
          </a:xfrm>
          <a:prstGeom prst="rect">
            <a:avLst/>
          </a:prstGeom>
        </p:spPr>
        <p:txBody>
          <a:bodyPr wrap="square">
            <a:spAutoFit/>
          </a:bodyPr>
          <a:lstStyle>
            <a:defPPr>
              <a:defRPr lang="en-US"/>
            </a:defPPr>
            <a:lvl1pPr defTabSz="914192">
              <a:defRPr sz="2800" b="1" spc="-100">
                <a:ln w="3175">
                  <a:noFill/>
                </a:ln>
                <a:solidFill>
                  <a:srgbClr val="F2C812"/>
                </a:solidFill>
                <a:latin typeface="Segoe UI" panose="020B0502040204020203" pitchFamily="34" charset="0"/>
                <a:ea typeface="ＭＳ Ｐゴシック" charset="0"/>
                <a:cs typeface="Segoe UI" panose="020B0502040204020203" pitchFamily="34" charset="0"/>
              </a:defRPr>
            </a:lvl1pPr>
          </a:lstStyle>
          <a:p>
            <a:pPr marL="0" marR="0" lvl="0" indent="0" algn="l" defTabSz="914192" rtl="0" eaLnBrk="1" fontAlgn="auto" latinLnBrk="0" hangingPunct="1">
              <a:lnSpc>
                <a:spcPct val="100000"/>
              </a:lnSpc>
              <a:spcBef>
                <a:spcPts val="0"/>
              </a:spcBef>
              <a:spcAft>
                <a:spcPts val="0"/>
              </a:spcAft>
              <a:buClrTx/>
              <a:buSzTx/>
              <a:buFontTx/>
              <a:buNone/>
              <a:tabLst/>
              <a:defRPr/>
            </a:pPr>
            <a:r>
              <a:rPr kumimoji="0" lang="en-US" sz="2200" b="1" i="0" u="none" strike="noStrike" kern="1200" cap="none" spc="-100" normalizeH="0" baseline="0" noProof="0">
                <a:ln w="3175">
                  <a:noFill/>
                </a:ln>
                <a:solidFill>
                  <a:srgbClr val="F2C812"/>
                </a:solidFill>
                <a:effectLst/>
                <a:uLnTx/>
                <a:uFillTx/>
                <a:latin typeface="Segoe UI Light"/>
                <a:ea typeface="ＭＳ Ｐゴシック" charset="0"/>
                <a:cs typeface="Segoe UI" panose="020B0502040204020203" pitchFamily="34" charset="0"/>
              </a:rPr>
              <a:t>Power BI Desktop</a:t>
            </a:r>
          </a:p>
        </p:txBody>
      </p:sp>
      <p:sp>
        <p:nvSpPr>
          <p:cNvPr id="41" name="Rectangle 40"/>
          <p:cNvSpPr/>
          <p:nvPr/>
        </p:nvSpPr>
        <p:spPr bwMode="auto">
          <a:xfrm rot="19005967">
            <a:off x="922420" y="2122148"/>
            <a:ext cx="1260714" cy="369589"/>
          </a:xfrm>
          <a:prstGeom prst="rect">
            <a:avLst/>
          </a:prstGeom>
          <a:solidFill>
            <a:schemeClr val="tx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7" name="Rectangle 36"/>
          <p:cNvSpPr/>
          <p:nvPr/>
        </p:nvSpPr>
        <p:spPr bwMode="auto">
          <a:xfrm rot="2745734">
            <a:off x="1371067" y="2420930"/>
            <a:ext cx="1194544" cy="1235003"/>
          </a:xfrm>
          <a:prstGeom prst="rect">
            <a:avLst/>
          </a:prstGeom>
          <a:solidFill>
            <a:schemeClr val="tx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2" name="Text Placeholder 2"/>
          <p:cNvSpPr txBox="1">
            <a:spLocks/>
          </p:cNvSpPr>
          <p:nvPr/>
        </p:nvSpPr>
        <p:spPr>
          <a:xfrm>
            <a:off x="3105552" y="1180433"/>
            <a:ext cx="3426080" cy="897374"/>
          </a:xfrm>
          <a:prstGeom prst="rect">
            <a:avLst/>
          </a:prstGeom>
        </p:spPr>
        <p:txBody>
          <a:bodyPr vert="horz" wrap="square" lIns="182880" tIns="146304" rIns="182880" bIns="146304" rtlCol="0">
            <a:noAutofit/>
          </a:bodyPr>
          <a:lstStyle>
            <a:lvl1pPr marL="182845" marR="0"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3921" kern="1200" spc="0" baseline="0">
                <a:gradFill>
                  <a:gsLst>
                    <a:gs pos="1250">
                      <a:schemeClr val="tx2"/>
                    </a:gs>
                    <a:gs pos="99000">
                      <a:schemeClr val="tx2"/>
                    </a:gs>
                  </a:gsLst>
                  <a:lin ang="5400000" scaled="0"/>
                </a:gradFill>
                <a:latin typeface="+mj-lt"/>
                <a:ea typeface="+mn-ea"/>
                <a:cs typeface="+mn-cs"/>
              </a:defRPr>
            </a:lvl1pPr>
            <a:lvl2pPr marL="365690" marR="0"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2400" kern="1200" spc="0" baseline="0">
                <a:solidFill>
                  <a:schemeClr val="tx2"/>
                </a:solidFill>
                <a:latin typeface="+mj-lt"/>
                <a:ea typeface="+mn-ea"/>
                <a:cs typeface="+mn-cs"/>
              </a:defRPr>
            </a:lvl2pPr>
            <a:lvl3pPr marL="548535" marR="0"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2000" kern="1200" spc="0" baseline="0">
                <a:solidFill>
                  <a:schemeClr val="tx2"/>
                </a:solidFill>
                <a:latin typeface="+mj-lt"/>
                <a:ea typeface="+mn-ea"/>
                <a:cs typeface="+mn-cs"/>
              </a:defRPr>
            </a:lvl3pPr>
            <a:lvl4pPr marL="733802" marR="0" indent="-28569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1765" kern="1200" spc="0" baseline="0">
                <a:solidFill>
                  <a:schemeClr val="tx2"/>
                </a:solidFill>
                <a:latin typeface="+mn-lt"/>
                <a:ea typeface="+mn-ea"/>
                <a:cs typeface="+mn-cs"/>
              </a:defRPr>
            </a:lvl4pPr>
            <a:lvl5pPr marL="957856" marR="0" indent="-28569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1765" kern="1200" spc="0" baseline="0">
                <a:solidFill>
                  <a:schemeClr val="tx2"/>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r>
              <a:rPr kumimoji="0" lang="en-US" sz="2000" b="1"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rPr>
              <a:t>Enable gridlines </a:t>
            </a:r>
            <a:r>
              <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rPr>
              <a:t>on your report canvas while authoring</a:t>
            </a: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r>
              <a:rPr kumimoji="0" lang="en-US" sz="2000" b="1"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rPr>
              <a:t>Snap</a:t>
            </a:r>
            <a:r>
              <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rPr>
              <a:t> to gridlines</a:t>
            </a:r>
            <a:endParaRPr kumimoji="0" lang="en-US" sz="2000" b="0" i="0" u="none" strike="noStrike" kern="1200" cap="none" spc="0" normalizeH="0" baseline="0" noProof="0">
              <a:ln>
                <a:noFill/>
              </a:ln>
              <a:solidFill>
                <a:srgbClr val="000000"/>
              </a:solidFill>
              <a:effectLst/>
              <a:uLnTx/>
              <a:uFillTx/>
              <a:latin typeface="Segoe UI Light"/>
              <a:ea typeface="+mn-ea"/>
              <a:cs typeface="+mn-cs"/>
            </a:endParaRPr>
          </a:p>
          <a:p>
            <a:pPr marL="182845" marR="0" lvl="1" indent="0" algn="l" defTabSz="914367" rtl="0" eaLnBrk="1" fontAlgn="auto" latinLnBrk="0" hangingPunct="1">
              <a:lnSpc>
                <a:spcPct val="90000"/>
              </a:lnSpc>
              <a:spcBef>
                <a:spcPct val="20000"/>
              </a:spcBef>
              <a:spcAft>
                <a:spcPts val="0"/>
              </a:spcAft>
              <a:buClrTx/>
              <a:buSzPct val="90000"/>
              <a:buFont typeface="Arial" panose="020B0604020202020204" pitchFamily="34" charset="0"/>
              <a:buNone/>
              <a:tabLst/>
              <a:defRPr/>
            </a:pPr>
            <a:endParaRPr kumimoji="0" lang="en-US" sz="2000" b="0" i="0" u="none" strike="noStrike" kern="1200" cap="none" spc="0" normalizeH="0" baseline="0" noProof="0">
              <a:ln>
                <a:noFill/>
              </a:ln>
              <a:solidFill>
                <a:srgbClr val="000000"/>
              </a:solidFill>
              <a:effectLst/>
              <a:uLnTx/>
              <a:uFillTx/>
              <a:latin typeface="Segoe UI Light"/>
              <a:ea typeface="+mn-ea"/>
              <a:cs typeface="+mn-cs"/>
            </a:endParaRPr>
          </a:p>
          <a:p>
            <a:pPr marL="182845" marR="0" lvl="1" indent="0" algn="l" defTabSz="914367" rtl="0" eaLnBrk="1" fontAlgn="auto" latinLnBrk="0" hangingPunct="1">
              <a:lnSpc>
                <a:spcPct val="90000"/>
              </a:lnSpc>
              <a:spcBef>
                <a:spcPct val="20000"/>
              </a:spcBef>
              <a:spcAft>
                <a:spcPts val="0"/>
              </a:spcAft>
              <a:buClrTx/>
              <a:buSzPct val="90000"/>
              <a:buFont typeface="Arial" panose="020B0604020202020204" pitchFamily="34" charset="0"/>
              <a:buNone/>
              <a:tabLst/>
              <a:defRPr/>
            </a:pPr>
            <a:endParaRPr kumimoji="0" lang="en-US" sz="2000" b="0" i="0" u="none" strike="noStrike" kern="1200" cap="none" spc="0" normalizeH="0" baseline="0" noProof="0">
              <a:ln>
                <a:noFill/>
              </a:ln>
              <a:solidFill>
                <a:srgbClr val="000000"/>
              </a:solidFill>
              <a:effectLst/>
              <a:uLnTx/>
              <a:uFillTx/>
              <a:latin typeface="Segoe UI Light"/>
              <a:ea typeface="+mn-ea"/>
              <a:cs typeface="+mn-cs"/>
            </a:endParaRPr>
          </a:p>
          <a:p>
            <a:pPr marL="182845" marR="0" lvl="1" indent="0" algn="l" defTabSz="914367" rtl="0" eaLnBrk="1" fontAlgn="auto" latinLnBrk="0" hangingPunct="1">
              <a:lnSpc>
                <a:spcPct val="90000"/>
              </a:lnSpc>
              <a:spcBef>
                <a:spcPct val="20000"/>
              </a:spcBef>
              <a:spcAft>
                <a:spcPts val="0"/>
              </a:spcAft>
              <a:buClrTx/>
              <a:buSzPct val="90000"/>
              <a:buFont typeface="Arial" panose="020B0604020202020204" pitchFamily="34" charset="0"/>
              <a:buNone/>
              <a:tabLst/>
              <a:defRPr/>
            </a:pPr>
            <a:endParaRPr kumimoji="0" lang="en-US" sz="2000" b="0" i="0" u="none" strike="noStrike" kern="1200" cap="none" spc="0" normalizeH="0" baseline="0" noProof="0">
              <a:ln>
                <a:noFill/>
              </a:ln>
              <a:solidFill>
                <a:srgbClr val="000000"/>
              </a:solidFill>
              <a:effectLst/>
              <a:uLnTx/>
              <a:uFillTx/>
              <a:latin typeface="Segoe UI Light"/>
              <a:ea typeface="+mn-ea"/>
              <a:cs typeface="+mn-cs"/>
            </a:endParaRPr>
          </a:p>
        </p:txBody>
      </p:sp>
      <p:pic>
        <p:nvPicPr>
          <p:cNvPr id="6" name="Picture 5"/>
          <p:cNvPicPr>
            <a:picLocks noChangeAspect="1"/>
          </p:cNvPicPr>
          <p:nvPr/>
        </p:nvPicPr>
        <p:blipFill>
          <a:blip r:embed="rId3"/>
          <a:stretch>
            <a:fillRect/>
          </a:stretch>
        </p:blipFill>
        <p:spPr>
          <a:xfrm>
            <a:off x="8279828" y="979015"/>
            <a:ext cx="3211938" cy="2976151"/>
          </a:xfrm>
          <a:prstGeom prst="rect">
            <a:avLst/>
          </a:prstGeom>
        </p:spPr>
      </p:pic>
      <p:pic>
        <p:nvPicPr>
          <p:cNvPr id="44" name="Picture 43"/>
          <p:cNvPicPr>
            <a:picLocks noChangeAspect="1"/>
          </p:cNvPicPr>
          <p:nvPr/>
        </p:nvPicPr>
        <p:blipFill>
          <a:blip r:embed="rId4"/>
          <a:stretch>
            <a:fillRect/>
          </a:stretch>
        </p:blipFill>
        <p:spPr>
          <a:xfrm>
            <a:off x="5670402" y="3218213"/>
            <a:ext cx="6429058" cy="3515095"/>
          </a:xfrm>
          <a:prstGeom prst="rect">
            <a:avLst/>
          </a:prstGeom>
        </p:spPr>
      </p:pic>
    </p:spTree>
    <p:extLst>
      <p:ext uri="{BB962C8B-B14F-4D97-AF65-F5344CB8AC3E}">
        <p14:creationId xmlns:p14="http://schemas.microsoft.com/office/powerpoint/2010/main" val="33541609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solidFill>
            <a:schemeClr val="bg1"/>
          </a:solidFill>
        </p:spPr>
        <p:txBody>
          <a:bodyPr/>
          <a:lstStyle/>
          <a:p>
            <a:r>
              <a:rPr lang="pt-PT">
                <a:solidFill>
                  <a:schemeClr val="tx1"/>
                </a:solidFill>
              </a:rPr>
              <a:t> Visualisations – Hierarchichical Axis</a:t>
            </a:r>
            <a:endParaRPr lang="en-US" sz="3600">
              <a:solidFill>
                <a:schemeClr val="tx1"/>
              </a:solidFill>
            </a:endParaRPr>
          </a:p>
        </p:txBody>
      </p:sp>
      <p:grpSp>
        <p:nvGrpSpPr>
          <p:cNvPr id="52" name="Group 51"/>
          <p:cNvGrpSpPr/>
          <p:nvPr/>
        </p:nvGrpSpPr>
        <p:grpSpPr>
          <a:xfrm>
            <a:off x="2" y="1"/>
            <a:ext cx="2849058" cy="6858000"/>
            <a:chOff x="2" y="1"/>
            <a:chExt cx="2849058" cy="6858000"/>
          </a:xfrm>
        </p:grpSpPr>
        <p:sp>
          <p:nvSpPr>
            <p:cNvPr id="71" name="Rectangle 70"/>
            <p:cNvSpPr/>
            <p:nvPr/>
          </p:nvSpPr>
          <p:spPr bwMode="auto">
            <a:xfrm>
              <a:off x="2" y="1"/>
              <a:ext cx="2849058"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3" name="Oval 70"/>
            <p:cNvSpPr/>
            <p:nvPr/>
          </p:nvSpPr>
          <p:spPr>
            <a:xfrm>
              <a:off x="1413521" y="4951537"/>
              <a:ext cx="1119626" cy="1119626"/>
            </a:xfrm>
            <a:prstGeom prst="ellipse">
              <a:avLst/>
            </a:prstGeom>
            <a:solidFill>
              <a:srgbClr val="F2C812"/>
            </a:solidFill>
            <a:ln w="3175" cap="flat" cmpd="sng" algn="ctr">
              <a:noFill/>
              <a:prstDash val="solid"/>
            </a:ln>
            <a:effectLst/>
          </p:spPr>
          <p:txBody>
            <a:bodyPr vert="horz" wrap="none" lIns="0" tIns="45720" rIns="0" bIns="0" rtlCol="0" anchor="t"/>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Segoe UI"/>
                  <a:ea typeface="Segoe UI" pitchFamily="34" charset="0"/>
                  <a:cs typeface="Segoe UI" pitchFamily="34" charset="0"/>
                </a:rPr>
                <a:t>Share &amp;</a:t>
              </a:r>
            </a:p>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Segoe UI"/>
                  <a:ea typeface="Segoe UI" pitchFamily="34" charset="0"/>
                  <a:cs typeface="Segoe UI" pitchFamily="34" charset="0"/>
                </a:rPr>
                <a:t>collaborate </a:t>
              </a:r>
            </a:p>
          </p:txBody>
        </p:sp>
        <p:grpSp>
          <p:nvGrpSpPr>
            <p:cNvPr id="76" name="Group 38"/>
            <p:cNvGrpSpPr>
              <a:grpSpLocks noChangeAspect="1"/>
            </p:cNvGrpSpPr>
            <p:nvPr/>
          </p:nvGrpSpPr>
          <p:grpSpPr>
            <a:xfrm>
              <a:off x="676996" y="3930692"/>
              <a:ext cx="383905" cy="351536"/>
              <a:chOff x="4363684" y="5330386"/>
              <a:chExt cx="1409956" cy="1291077"/>
            </a:xfrm>
            <a:solidFill>
              <a:srgbClr val="217346"/>
            </a:solidFill>
          </p:grpSpPr>
          <p:sp>
            <p:nvSpPr>
              <p:cNvPr id="102" name="Donut 3"/>
              <p:cNvSpPr/>
              <p:nvPr/>
            </p:nvSpPr>
            <p:spPr bwMode="auto">
              <a:xfrm>
                <a:off x="4363684" y="5330386"/>
                <a:ext cx="1409956" cy="1291077"/>
              </a:xfrm>
              <a:custGeom>
                <a:avLst/>
                <a:gdLst/>
                <a:ahLst/>
                <a:cxnLst/>
                <a:rect l="l" t="t" r="r" b="b"/>
                <a:pathLst>
                  <a:path w="1409956" h="1291077">
                    <a:moveTo>
                      <a:pt x="956401" y="78410"/>
                    </a:moveTo>
                    <a:cubicBezTo>
                      <a:pt x="747518" y="78410"/>
                      <a:pt x="578184" y="247744"/>
                      <a:pt x="578184" y="456627"/>
                    </a:cubicBezTo>
                    <a:cubicBezTo>
                      <a:pt x="578184" y="665510"/>
                      <a:pt x="747518" y="834844"/>
                      <a:pt x="956401" y="834844"/>
                    </a:cubicBezTo>
                    <a:cubicBezTo>
                      <a:pt x="1165284" y="834844"/>
                      <a:pt x="1334618" y="665510"/>
                      <a:pt x="1334618" y="456627"/>
                    </a:cubicBezTo>
                    <a:cubicBezTo>
                      <a:pt x="1334618" y="247744"/>
                      <a:pt x="1165284" y="78410"/>
                      <a:pt x="956401" y="78410"/>
                    </a:cubicBezTo>
                    <a:close/>
                    <a:moveTo>
                      <a:pt x="952756" y="0"/>
                    </a:moveTo>
                    <a:cubicBezTo>
                      <a:pt x="1205261" y="0"/>
                      <a:pt x="1409956" y="204695"/>
                      <a:pt x="1409956" y="457200"/>
                    </a:cubicBezTo>
                    <a:cubicBezTo>
                      <a:pt x="1409956" y="709705"/>
                      <a:pt x="1205261" y="914400"/>
                      <a:pt x="952756" y="914400"/>
                    </a:cubicBezTo>
                    <a:cubicBezTo>
                      <a:pt x="862133" y="914400"/>
                      <a:pt x="777669" y="888034"/>
                      <a:pt x="707132" y="841746"/>
                    </a:cubicBezTo>
                    <a:lnTo>
                      <a:pt x="136495" y="1280102"/>
                    </a:lnTo>
                    <a:cubicBezTo>
                      <a:pt x="21896" y="1327168"/>
                      <a:pt x="-44029" y="1213730"/>
                      <a:pt x="33797" y="1113182"/>
                    </a:cubicBezTo>
                    <a:lnTo>
                      <a:pt x="568587" y="703518"/>
                    </a:lnTo>
                    <a:cubicBezTo>
                      <a:pt x="522087" y="632814"/>
                      <a:pt x="495556" y="548105"/>
                      <a:pt x="495556" y="457200"/>
                    </a:cubicBezTo>
                    <a:cubicBezTo>
                      <a:pt x="495556" y="204695"/>
                      <a:pt x="700251" y="0"/>
                      <a:pt x="952756" y="0"/>
                    </a:cubicBezTo>
                    <a:close/>
                  </a:path>
                </a:pathLst>
              </a:custGeom>
              <a:grpFill/>
              <a:ln>
                <a:solidFill>
                  <a:srgbClr val="21734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sp>
            <p:nvSpPr>
              <p:cNvPr id="103" name="Rectangle 4"/>
              <p:cNvSpPr/>
              <p:nvPr/>
            </p:nvSpPr>
            <p:spPr>
              <a:xfrm>
                <a:off x="5058389" y="5528247"/>
                <a:ext cx="490885" cy="490020"/>
              </a:xfrm>
              <a:custGeom>
                <a:avLst/>
                <a:gdLst/>
                <a:ahLst/>
                <a:cxnLst/>
                <a:rect l="l" t="t" r="r" b="b"/>
                <a:pathLst>
                  <a:path w="490885" h="490020">
                    <a:moveTo>
                      <a:pt x="240752" y="0"/>
                    </a:moveTo>
                    <a:cubicBezTo>
                      <a:pt x="253961" y="11844"/>
                      <a:pt x="293310" y="49692"/>
                      <a:pt x="337332" y="92439"/>
                    </a:cubicBezTo>
                    <a:lnTo>
                      <a:pt x="328342" y="81259"/>
                    </a:lnTo>
                    <a:cubicBezTo>
                      <a:pt x="356946" y="111282"/>
                      <a:pt x="377251" y="107167"/>
                      <a:pt x="382515" y="87941"/>
                    </a:cubicBezTo>
                    <a:cubicBezTo>
                      <a:pt x="383951" y="76921"/>
                      <a:pt x="384595" y="68732"/>
                      <a:pt x="396997" y="52239"/>
                    </a:cubicBezTo>
                    <a:cubicBezTo>
                      <a:pt x="420362" y="32084"/>
                      <a:pt x="442294" y="41736"/>
                      <a:pt x="454920" y="51330"/>
                    </a:cubicBezTo>
                    <a:cubicBezTo>
                      <a:pt x="467834" y="62761"/>
                      <a:pt x="477920" y="86882"/>
                      <a:pt x="460392" y="109714"/>
                    </a:cubicBezTo>
                    <a:cubicBezTo>
                      <a:pt x="451128" y="121912"/>
                      <a:pt x="437554" y="126838"/>
                      <a:pt x="425922" y="126505"/>
                    </a:cubicBezTo>
                    <a:cubicBezTo>
                      <a:pt x="424301" y="127609"/>
                      <a:pt x="382890" y="134974"/>
                      <a:pt x="427348" y="177672"/>
                    </a:cubicBezTo>
                    <a:lnTo>
                      <a:pt x="416886" y="169735"/>
                    </a:lnTo>
                    <a:cubicBezTo>
                      <a:pt x="450207" y="202177"/>
                      <a:pt x="478424" y="229744"/>
                      <a:pt x="490885" y="241900"/>
                    </a:cubicBezTo>
                    <a:lnTo>
                      <a:pt x="417150" y="317347"/>
                    </a:lnTo>
                    <a:cubicBezTo>
                      <a:pt x="417744" y="316535"/>
                      <a:pt x="418443" y="316123"/>
                      <a:pt x="419047" y="315822"/>
                    </a:cubicBezTo>
                    <a:cubicBezTo>
                      <a:pt x="389023" y="344426"/>
                      <a:pt x="393138" y="364731"/>
                      <a:pt x="412364" y="369995"/>
                    </a:cubicBezTo>
                    <a:cubicBezTo>
                      <a:pt x="423384" y="371431"/>
                      <a:pt x="431574" y="372075"/>
                      <a:pt x="448067" y="384477"/>
                    </a:cubicBezTo>
                    <a:cubicBezTo>
                      <a:pt x="468221" y="407842"/>
                      <a:pt x="458569" y="429774"/>
                      <a:pt x="448975" y="442400"/>
                    </a:cubicBezTo>
                    <a:cubicBezTo>
                      <a:pt x="437545" y="455314"/>
                      <a:pt x="413423" y="465400"/>
                      <a:pt x="390591" y="447872"/>
                    </a:cubicBezTo>
                    <a:cubicBezTo>
                      <a:pt x="378394" y="438608"/>
                      <a:pt x="373468" y="425034"/>
                      <a:pt x="373800" y="413402"/>
                    </a:cubicBezTo>
                    <a:cubicBezTo>
                      <a:pt x="372696" y="411781"/>
                      <a:pt x="365332" y="370370"/>
                      <a:pt x="322634" y="414828"/>
                    </a:cubicBezTo>
                    <a:lnTo>
                      <a:pt x="325243" y="411388"/>
                    </a:lnTo>
                    <a:lnTo>
                      <a:pt x="248395" y="490020"/>
                    </a:lnTo>
                    <a:cubicBezTo>
                      <a:pt x="208939" y="451897"/>
                      <a:pt x="199129" y="442073"/>
                      <a:pt x="174192" y="418236"/>
                    </a:cubicBezTo>
                    <a:cubicBezTo>
                      <a:pt x="145587" y="388212"/>
                      <a:pt x="125282" y="392327"/>
                      <a:pt x="120018" y="411553"/>
                    </a:cubicBezTo>
                    <a:cubicBezTo>
                      <a:pt x="118582" y="422573"/>
                      <a:pt x="117938" y="430763"/>
                      <a:pt x="105536" y="447256"/>
                    </a:cubicBezTo>
                    <a:cubicBezTo>
                      <a:pt x="82171" y="467410"/>
                      <a:pt x="60239" y="457758"/>
                      <a:pt x="47614" y="448164"/>
                    </a:cubicBezTo>
                    <a:cubicBezTo>
                      <a:pt x="34699" y="436734"/>
                      <a:pt x="24614" y="412612"/>
                      <a:pt x="42141" y="389780"/>
                    </a:cubicBezTo>
                    <a:cubicBezTo>
                      <a:pt x="51405" y="377583"/>
                      <a:pt x="64979" y="372657"/>
                      <a:pt x="76612" y="372989"/>
                    </a:cubicBezTo>
                    <a:cubicBezTo>
                      <a:pt x="78232" y="371886"/>
                      <a:pt x="119644" y="364521"/>
                      <a:pt x="75186" y="321823"/>
                    </a:cubicBezTo>
                    <a:cubicBezTo>
                      <a:pt x="58767" y="305402"/>
                      <a:pt x="23648" y="271235"/>
                      <a:pt x="0" y="248738"/>
                    </a:cubicBezTo>
                    <a:lnTo>
                      <a:pt x="77303" y="168146"/>
                    </a:lnTo>
                    <a:cubicBezTo>
                      <a:pt x="104269" y="140313"/>
                      <a:pt x="122130" y="156409"/>
                      <a:pt x="124388" y="175543"/>
                    </a:cubicBezTo>
                    <a:cubicBezTo>
                      <a:pt x="124457" y="182466"/>
                      <a:pt x="127106" y="193106"/>
                      <a:pt x="137575" y="203052"/>
                    </a:cubicBezTo>
                    <a:cubicBezTo>
                      <a:pt x="153931" y="220277"/>
                      <a:pt x="181252" y="217451"/>
                      <a:pt x="196721" y="201951"/>
                    </a:cubicBezTo>
                    <a:cubicBezTo>
                      <a:pt x="211961" y="185740"/>
                      <a:pt x="213057" y="157882"/>
                      <a:pt x="196146" y="142797"/>
                    </a:cubicBezTo>
                    <a:cubicBezTo>
                      <a:pt x="184301" y="132637"/>
                      <a:pt x="177155" y="131453"/>
                      <a:pt x="166513" y="129894"/>
                    </a:cubicBezTo>
                    <a:cubicBezTo>
                      <a:pt x="154522" y="129013"/>
                      <a:pt x="131185" y="112953"/>
                      <a:pt x="157905" y="85228"/>
                    </a:cubicBezTo>
                    <a:close/>
                  </a:path>
                </a:pathLst>
              </a:custGeom>
              <a:grpFill/>
              <a:ln>
                <a:solidFill>
                  <a:srgbClr val="21734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grpSp>
        <p:sp>
          <p:nvSpPr>
            <p:cNvPr id="77" name="Oval 47"/>
            <p:cNvSpPr/>
            <p:nvPr/>
          </p:nvSpPr>
          <p:spPr>
            <a:xfrm>
              <a:off x="388608" y="3710471"/>
              <a:ext cx="1119626" cy="1119626"/>
            </a:xfrm>
            <a:prstGeom prst="ellipse">
              <a:avLst/>
            </a:prstGeom>
            <a:solidFill>
              <a:srgbClr val="F2C812"/>
            </a:solidFill>
            <a:ln w="3175" cap="flat" cmpd="sng" algn="ctr">
              <a:noFill/>
              <a:prstDash val="solid"/>
            </a:ln>
            <a:effectLst/>
          </p:spPr>
          <p:txBody>
            <a:bodyPr vert="horz" wrap="none" lIns="0" tIns="45720" rIns="0" bIns="0" rtlCol="0" anchor="t"/>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Segoe UI"/>
                  <a:ea typeface="Segoe UI" pitchFamily="34" charset="0"/>
                  <a:cs typeface="Segoe UI" pitchFamily="34" charset="0"/>
                </a:rPr>
                <a:t>Report</a:t>
              </a:r>
            </a:p>
          </p:txBody>
        </p:sp>
        <p:sp>
          <p:nvSpPr>
            <p:cNvPr id="78" name="Oval 950"/>
            <p:cNvSpPr/>
            <p:nvPr/>
          </p:nvSpPr>
          <p:spPr>
            <a:xfrm>
              <a:off x="388608" y="1252295"/>
              <a:ext cx="1119626" cy="1119626"/>
            </a:xfrm>
            <a:prstGeom prst="ellipse">
              <a:avLst/>
            </a:prstGeom>
            <a:solidFill>
              <a:srgbClr val="F2C812"/>
            </a:solidFill>
            <a:ln w="3175" cap="flat" cmpd="sng" algn="ctr">
              <a:noFill/>
              <a:prstDash val="solid"/>
            </a:ln>
            <a:effectLst/>
          </p:spPr>
          <p:txBody>
            <a:bodyPr vert="horz" wrap="none" lIns="0" tIns="45720" rIns="0" bIns="0" rtlCol="0" anchor="t"/>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1" i="0" u="none" strike="noStrike" kern="1200" cap="none" spc="0" normalizeH="0" baseline="0" noProof="0">
                <a:ln>
                  <a:noFill/>
                </a:ln>
                <a:solidFill>
                  <a:srgbClr val="217346"/>
                </a:solidFill>
                <a:effectLst/>
                <a:uLnTx/>
                <a:uFillTx/>
                <a:latin typeface="Segoe UI"/>
                <a:ea typeface="Segoe UI" pitchFamily="34" charset="0"/>
                <a:cs typeface="Segoe UI" pitchFamily="34" charset="0"/>
              </a:endParaRPr>
            </a:p>
          </p:txBody>
        </p:sp>
        <p:grpSp>
          <p:nvGrpSpPr>
            <p:cNvPr id="79" name="Group 78"/>
            <p:cNvGrpSpPr/>
            <p:nvPr/>
          </p:nvGrpSpPr>
          <p:grpSpPr>
            <a:xfrm>
              <a:off x="1264851" y="3482890"/>
              <a:ext cx="292254" cy="354906"/>
              <a:chOff x="1296521" y="3253388"/>
              <a:chExt cx="292254" cy="354906"/>
            </a:xfrm>
            <a:solidFill>
              <a:srgbClr val="F2C812"/>
            </a:solidFill>
          </p:grpSpPr>
          <p:sp>
            <p:nvSpPr>
              <p:cNvPr id="99" name="Isosceles Triangle 98"/>
              <p:cNvSpPr/>
              <p:nvPr/>
            </p:nvSpPr>
            <p:spPr bwMode="auto">
              <a:xfrm rot="13636515">
                <a:off x="1461362" y="328936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0" name="Isosceles Triangle 99"/>
              <p:cNvSpPr/>
              <p:nvPr/>
            </p:nvSpPr>
            <p:spPr bwMode="auto">
              <a:xfrm rot="13636515">
                <a:off x="1357669" y="338258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1" name="Isosceles Triangle 100"/>
              <p:cNvSpPr/>
              <p:nvPr/>
            </p:nvSpPr>
            <p:spPr bwMode="auto">
              <a:xfrm rot="13636515">
                <a:off x="1260548" y="3480882"/>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80" name="Group 79"/>
            <p:cNvGrpSpPr/>
            <p:nvPr/>
          </p:nvGrpSpPr>
          <p:grpSpPr>
            <a:xfrm rot="15940603">
              <a:off x="1334576" y="2204404"/>
              <a:ext cx="292254" cy="354906"/>
              <a:chOff x="1296521" y="3253388"/>
              <a:chExt cx="292254" cy="354906"/>
            </a:xfrm>
            <a:solidFill>
              <a:srgbClr val="F2C812"/>
            </a:solidFill>
          </p:grpSpPr>
          <p:sp>
            <p:nvSpPr>
              <p:cNvPr id="96" name="Isosceles Triangle 95"/>
              <p:cNvSpPr/>
              <p:nvPr/>
            </p:nvSpPr>
            <p:spPr bwMode="auto">
              <a:xfrm rot="13636515">
                <a:off x="1461362" y="328936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7" name="Isosceles Triangle 96"/>
              <p:cNvSpPr/>
              <p:nvPr/>
            </p:nvSpPr>
            <p:spPr bwMode="auto">
              <a:xfrm rot="13636515">
                <a:off x="1357669" y="338258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8" name="Isosceles Triangle 97"/>
              <p:cNvSpPr/>
              <p:nvPr/>
            </p:nvSpPr>
            <p:spPr bwMode="auto">
              <a:xfrm rot="13636515">
                <a:off x="1260548" y="3480882"/>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81" name="Group 80"/>
            <p:cNvGrpSpPr/>
            <p:nvPr/>
          </p:nvGrpSpPr>
          <p:grpSpPr>
            <a:xfrm rot="16043978">
              <a:off x="1317220" y="4717577"/>
              <a:ext cx="292254" cy="354906"/>
              <a:chOff x="1296521" y="3253388"/>
              <a:chExt cx="292254" cy="354906"/>
            </a:xfrm>
            <a:solidFill>
              <a:srgbClr val="F2C812"/>
            </a:solidFill>
          </p:grpSpPr>
          <p:sp>
            <p:nvSpPr>
              <p:cNvPr id="93" name="Isosceles Triangle 92"/>
              <p:cNvSpPr/>
              <p:nvPr/>
            </p:nvSpPr>
            <p:spPr bwMode="auto">
              <a:xfrm rot="13636515">
                <a:off x="1461362" y="328936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4" name="Isosceles Triangle 93"/>
              <p:cNvSpPr/>
              <p:nvPr/>
            </p:nvSpPr>
            <p:spPr bwMode="auto">
              <a:xfrm rot="13636515">
                <a:off x="1357669" y="338258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5" name="Isosceles Triangle 94"/>
              <p:cNvSpPr/>
              <p:nvPr/>
            </p:nvSpPr>
            <p:spPr bwMode="auto">
              <a:xfrm rot="13636515">
                <a:off x="1260548" y="3480882"/>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82" name="Oval 36"/>
            <p:cNvSpPr/>
            <p:nvPr/>
          </p:nvSpPr>
          <p:spPr>
            <a:xfrm>
              <a:off x="1413521" y="2481383"/>
              <a:ext cx="1119626" cy="1119626"/>
            </a:xfrm>
            <a:prstGeom prst="ellipse">
              <a:avLst/>
            </a:prstGeom>
            <a:solidFill>
              <a:srgbClr val="F2C812"/>
            </a:solidFill>
            <a:ln w="3175" cap="flat" cmpd="sng" algn="ctr">
              <a:noFill/>
              <a:prstDash val="solid"/>
            </a:ln>
            <a:effectLst/>
          </p:spPr>
          <p:txBody>
            <a:bodyPr vert="horz" wrap="none" lIns="0" tIns="0" rIns="0" bIns="0" rtlCol="0" anchor="t"/>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400" b="1" i="0" u="none" strike="noStrike" kern="1200" cap="none" spc="0" normalizeH="0" baseline="0" noProof="0">
                <a:ln>
                  <a:noFill/>
                </a:ln>
                <a:solidFill>
                  <a:srgbClr val="217346"/>
                </a:solidFill>
                <a:effectLst/>
                <a:uLnTx/>
                <a:uFillTx/>
                <a:latin typeface="Segoe UI"/>
                <a:ea typeface="Segoe UI" pitchFamily="34" charset="0"/>
                <a:cs typeface="Segoe UI" pitchFamily="34" charset="0"/>
              </a:endParaRPr>
            </a:p>
          </p:txBody>
        </p:sp>
        <p:sp>
          <p:nvSpPr>
            <p:cNvPr id="83" name="Donut 3"/>
            <p:cNvSpPr/>
            <p:nvPr/>
          </p:nvSpPr>
          <p:spPr bwMode="auto">
            <a:xfrm>
              <a:off x="1742065" y="3002355"/>
              <a:ext cx="383905" cy="351537"/>
            </a:xfrm>
            <a:custGeom>
              <a:avLst/>
              <a:gdLst/>
              <a:ahLst/>
              <a:cxnLst/>
              <a:rect l="l" t="t" r="r" b="b"/>
              <a:pathLst>
                <a:path w="1409956" h="1291077">
                  <a:moveTo>
                    <a:pt x="956401" y="78410"/>
                  </a:moveTo>
                  <a:cubicBezTo>
                    <a:pt x="747518" y="78410"/>
                    <a:pt x="578184" y="247744"/>
                    <a:pt x="578184" y="456627"/>
                  </a:cubicBezTo>
                  <a:cubicBezTo>
                    <a:pt x="578184" y="665510"/>
                    <a:pt x="747518" y="834844"/>
                    <a:pt x="956401" y="834844"/>
                  </a:cubicBezTo>
                  <a:cubicBezTo>
                    <a:pt x="1165284" y="834844"/>
                    <a:pt x="1334618" y="665510"/>
                    <a:pt x="1334618" y="456627"/>
                  </a:cubicBezTo>
                  <a:cubicBezTo>
                    <a:pt x="1334618" y="247744"/>
                    <a:pt x="1165284" y="78410"/>
                    <a:pt x="956401" y="78410"/>
                  </a:cubicBezTo>
                  <a:close/>
                  <a:moveTo>
                    <a:pt x="952756" y="0"/>
                  </a:moveTo>
                  <a:cubicBezTo>
                    <a:pt x="1205261" y="0"/>
                    <a:pt x="1409956" y="204695"/>
                    <a:pt x="1409956" y="457200"/>
                  </a:cubicBezTo>
                  <a:cubicBezTo>
                    <a:pt x="1409956" y="709705"/>
                    <a:pt x="1205261" y="914400"/>
                    <a:pt x="952756" y="914400"/>
                  </a:cubicBezTo>
                  <a:cubicBezTo>
                    <a:pt x="862133" y="914400"/>
                    <a:pt x="777669" y="888034"/>
                    <a:pt x="707132" y="841746"/>
                  </a:cubicBezTo>
                  <a:lnTo>
                    <a:pt x="136495" y="1280102"/>
                  </a:lnTo>
                  <a:cubicBezTo>
                    <a:pt x="21896" y="1327168"/>
                    <a:pt x="-44029" y="1213730"/>
                    <a:pt x="33797" y="1113182"/>
                  </a:cubicBezTo>
                  <a:lnTo>
                    <a:pt x="568587" y="703518"/>
                  </a:lnTo>
                  <a:cubicBezTo>
                    <a:pt x="522087" y="632814"/>
                    <a:pt x="495556" y="548105"/>
                    <a:pt x="495556" y="457200"/>
                  </a:cubicBezTo>
                  <a:cubicBezTo>
                    <a:pt x="495556" y="204695"/>
                    <a:pt x="700251" y="0"/>
                    <a:pt x="952756" y="0"/>
                  </a:cubicBezTo>
                  <a:close/>
                </a:path>
              </a:pathLst>
            </a:cu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sp>
          <p:nvSpPr>
            <p:cNvPr id="84" name="Rectangle 83"/>
            <p:cNvSpPr/>
            <p:nvPr/>
          </p:nvSpPr>
          <p:spPr>
            <a:xfrm>
              <a:off x="1600398" y="2677430"/>
              <a:ext cx="820353" cy="307777"/>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Segoe UI"/>
                  <a:ea typeface="Segoe UI" pitchFamily="34" charset="0"/>
                  <a:cs typeface="Segoe UI" pitchFamily="34" charset="0"/>
                </a:rPr>
                <a:t>Explore</a:t>
              </a:r>
              <a:endParaRPr kumimoji="0" lang="en-US" sz="1600" b="0" i="0" u="none" strike="noStrike" kern="1200" cap="none" spc="0" normalizeH="0" baseline="0" noProof="0">
                <a:ln>
                  <a:noFill/>
                </a:ln>
                <a:solidFill>
                  <a:srgbClr val="000000"/>
                </a:solidFill>
                <a:effectLst/>
                <a:uLnTx/>
                <a:uFillTx/>
                <a:latin typeface="Segoe UI"/>
                <a:ea typeface="+mn-ea"/>
                <a:cs typeface="+mn-cs"/>
              </a:endParaRPr>
            </a:p>
          </p:txBody>
        </p:sp>
        <p:sp>
          <p:nvSpPr>
            <p:cNvPr id="85" name="Rectangle 84"/>
            <p:cNvSpPr/>
            <p:nvPr/>
          </p:nvSpPr>
          <p:spPr>
            <a:xfrm>
              <a:off x="509174" y="1475232"/>
              <a:ext cx="838756" cy="307777"/>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Segoe UI"/>
                  <a:ea typeface="Segoe UI" pitchFamily="34" charset="0"/>
                  <a:cs typeface="Segoe UI" pitchFamily="34" charset="0"/>
                </a:rPr>
                <a:t>Prepare</a:t>
              </a: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86" name="Freeform 85"/>
            <p:cNvSpPr>
              <a:spLocks noChangeAspect="1"/>
            </p:cNvSpPr>
            <p:nvPr/>
          </p:nvSpPr>
          <p:spPr bwMode="black">
            <a:xfrm>
              <a:off x="1836174" y="5643069"/>
              <a:ext cx="274320" cy="284173"/>
            </a:xfrm>
            <a:custGeom>
              <a:avLst/>
              <a:gdLst>
                <a:gd name="T0" fmla="*/ 539 w 669"/>
                <a:gd name="T1" fmla="*/ 5 h 693"/>
                <a:gd name="T2" fmla="*/ 640 w 669"/>
                <a:gd name="T3" fmla="*/ 55 h 693"/>
                <a:gd name="T4" fmla="*/ 603 w 669"/>
                <a:gd name="T5" fmla="*/ 195 h 693"/>
                <a:gd name="T6" fmla="*/ 490 w 669"/>
                <a:gd name="T7" fmla="*/ 188 h 693"/>
                <a:gd name="T8" fmla="*/ 479 w 669"/>
                <a:gd name="T9" fmla="*/ 176 h 693"/>
                <a:gd name="T10" fmla="*/ 213 w 669"/>
                <a:gd name="T11" fmla="*/ 330 h 693"/>
                <a:gd name="T12" fmla="*/ 218 w 669"/>
                <a:gd name="T13" fmla="*/ 345 h 693"/>
                <a:gd name="T14" fmla="*/ 218 w 669"/>
                <a:gd name="T15" fmla="*/ 375 h 693"/>
                <a:gd name="T16" fmla="*/ 209 w 669"/>
                <a:gd name="T17" fmla="*/ 402 h 693"/>
                <a:gd name="T18" fmla="*/ 369 w 669"/>
                <a:gd name="T19" fmla="*/ 503 h 693"/>
                <a:gd name="T20" fmla="*/ 373 w 669"/>
                <a:gd name="T21" fmla="*/ 498 h 693"/>
                <a:gd name="T22" fmla="*/ 456 w 669"/>
                <a:gd name="T23" fmla="*/ 475 h 693"/>
                <a:gd name="T24" fmla="*/ 494 w 669"/>
                <a:gd name="T25" fmla="*/ 489 h 693"/>
                <a:gd name="T26" fmla="*/ 527 w 669"/>
                <a:gd name="T27" fmla="*/ 630 h 693"/>
                <a:gd name="T28" fmla="*/ 386 w 669"/>
                <a:gd name="T29" fmla="*/ 663 h 693"/>
                <a:gd name="T30" fmla="*/ 339 w 669"/>
                <a:gd name="T31" fmla="*/ 560 h 693"/>
                <a:gd name="T32" fmla="*/ 345 w 669"/>
                <a:gd name="T33" fmla="*/ 544 h 693"/>
                <a:gd name="T34" fmla="*/ 177 w 669"/>
                <a:gd name="T35" fmla="*/ 439 h 693"/>
                <a:gd name="T36" fmla="*/ 168 w 669"/>
                <a:gd name="T37" fmla="*/ 446 h 693"/>
                <a:gd name="T38" fmla="*/ 28 w 669"/>
                <a:gd name="T39" fmla="*/ 409 h 693"/>
                <a:gd name="T40" fmla="*/ 65 w 669"/>
                <a:gd name="T41" fmla="*/ 269 h 693"/>
                <a:gd name="T42" fmla="*/ 178 w 669"/>
                <a:gd name="T43" fmla="*/ 276 h 693"/>
                <a:gd name="T44" fmla="*/ 189 w 669"/>
                <a:gd name="T45" fmla="*/ 288 h 693"/>
                <a:gd name="T46" fmla="*/ 455 w 669"/>
                <a:gd name="T47" fmla="*/ 134 h 693"/>
                <a:gd name="T48" fmla="*/ 450 w 669"/>
                <a:gd name="T49" fmla="*/ 119 h 693"/>
                <a:gd name="T50" fmla="*/ 501 w 669"/>
                <a:gd name="T51" fmla="*/ 18 h 693"/>
                <a:gd name="T52" fmla="*/ 539 w 669"/>
                <a:gd name="T53" fmla="*/ 5 h 6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69" h="693">
                  <a:moveTo>
                    <a:pt x="539" y="5"/>
                  </a:moveTo>
                  <a:cubicBezTo>
                    <a:pt x="579" y="0"/>
                    <a:pt x="619" y="19"/>
                    <a:pt x="640" y="55"/>
                  </a:cubicBezTo>
                  <a:cubicBezTo>
                    <a:pt x="669" y="104"/>
                    <a:pt x="652" y="167"/>
                    <a:pt x="603" y="195"/>
                  </a:cubicBezTo>
                  <a:cubicBezTo>
                    <a:pt x="566" y="216"/>
                    <a:pt x="522" y="212"/>
                    <a:pt x="490" y="188"/>
                  </a:cubicBezTo>
                  <a:cubicBezTo>
                    <a:pt x="479" y="176"/>
                    <a:pt x="479" y="176"/>
                    <a:pt x="479" y="176"/>
                  </a:cubicBezTo>
                  <a:cubicBezTo>
                    <a:pt x="213" y="330"/>
                    <a:pt x="213" y="330"/>
                    <a:pt x="213" y="330"/>
                  </a:cubicBezTo>
                  <a:cubicBezTo>
                    <a:pt x="218" y="345"/>
                    <a:pt x="218" y="345"/>
                    <a:pt x="218" y="345"/>
                  </a:cubicBezTo>
                  <a:cubicBezTo>
                    <a:pt x="219" y="355"/>
                    <a:pt x="219" y="365"/>
                    <a:pt x="218" y="375"/>
                  </a:cubicBezTo>
                  <a:cubicBezTo>
                    <a:pt x="209" y="402"/>
                    <a:pt x="209" y="402"/>
                    <a:pt x="209" y="402"/>
                  </a:cubicBezTo>
                  <a:cubicBezTo>
                    <a:pt x="369" y="503"/>
                    <a:pt x="369" y="503"/>
                    <a:pt x="369" y="503"/>
                  </a:cubicBezTo>
                  <a:cubicBezTo>
                    <a:pt x="373" y="498"/>
                    <a:pt x="373" y="498"/>
                    <a:pt x="373" y="498"/>
                  </a:cubicBezTo>
                  <a:cubicBezTo>
                    <a:pt x="396" y="479"/>
                    <a:pt x="427" y="470"/>
                    <a:pt x="456" y="475"/>
                  </a:cubicBezTo>
                  <a:cubicBezTo>
                    <a:pt x="470" y="477"/>
                    <a:pt x="482" y="482"/>
                    <a:pt x="494" y="489"/>
                  </a:cubicBezTo>
                  <a:cubicBezTo>
                    <a:pt x="542" y="519"/>
                    <a:pt x="557" y="583"/>
                    <a:pt x="527" y="630"/>
                  </a:cubicBezTo>
                  <a:cubicBezTo>
                    <a:pt x="497" y="678"/>
                    <a:pt x="433" y="693"/>
                    <a:pt x="386" y="663"/>
                  </a:cubicBezTo>
                  <a:cubicBezTo>
                    <a:pt x="350" y="640"/>
                    <a:pt x="333" y="599"/>
                    <a:pt x="339" y="560"/>
                  </a:cubicBezTo>
                  <a:cubicBezTo>
                    <a:pt x="345" y="544"/>
                    <a:pt x="345" y="544"/>
                    <a:pt x="345" y="544"/>
                  </a:cubicBezTo>
                  <a:cubicBezTo>
                    <a:pt x="177" y="439"/>
                    <a:pt x="177" y="439"/>
                    <a:pt x="177" y="439"/>
                  </a:cubicBezTo>
                  <a:cubicBezTo>
                    <a:pt x="168" y="446"/>
                    <a:pt x="168" y="446"/>
                    <a:pt x="168" y="446"/>
                  </a:cubicBezTo>
                  <a:cubicBezTo>
                    <a:pt x="119" y="475"/>
                    <a:pt x="56" y="458"/>
                    <a:pt x="28" y="409"/>
                  </a:cubicBezTo>
                  <a:cubicBezTo>
                    <a:pt x="0" y="360"/>
                    <a:pt x="16" y="297"/>
                    <a:pt x="65" y="269"/>
                  </a:cubicBezTo>
                  <a:cubicBezTo>
                    <a:pt x="102" y="248"/>
                    <a:pt x="147" y="252"/>
                    <a:pt x="178" y="276"/>
                  </a:cubicBezTo>
                  <a:cubicBezTo>
                    <a:pt x="189" y="288"/>
                    <a:pt x="189" y="288"/>
                    <a:pt x="189" y="288"/>
                  </a:cubicBezTo>
                  <a:cubicBezTo>
                    <a:pt x="455" y="134"/>
                    <a:pt x="455" y="134"/>
                    <a:pt x="455" y="134"/>
                  </a:cubicBezTo>
                  <a:cubicBezTo>
                    <a:pt x="450" y="119"/>
                    <a:pt x="450" y="119"/>
                    <a:pt x="450" y="119"/>
                  </a:cubicBezTo>
                  <a:cubicBezTo>
                    <a:pt x="445" y="80"/>
                    <a:pt x="464" y="39"/>
                    <a:pt x="501" y="18"/>
                  </a:cubicBezTo>
                  <a:cubicBezTo>
                    <a:pt x="513" y="11"/>
                    <a:pt x="526" y="6"/>
                    <a:pt x="539" y="5"/>
                  </a:cubicBezTo>
                  <a:close/>
                </a:path>
              </a:pathLst>
            </a:custGeom>
            <a:solidFill>
              <a:schemeClr val="tx1"/>
            </a:solidFill>
            <a:ln>
              <a:noFill/>
            </a:ln>
          </p:spPr>
          <p:txBody>
            <a:bodyPr vert="horz" wrap="square" lIns="68574" tIns="34287" rIns="68574" bIns="34287"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0000"/>
                </a:solidFill>
                <a:effectLst/>
                <a:uLnTx/>
                <a:uFillTx/>
                <a:latin typeface="Segoe UI"/>
                <a:ea typeface="+mn-ea"/>
                <a:cs typeface="+mn-cs"/>
              </a:endParaRPr>
            </a:p>
          </p:txBody>
        </p:sp>
        <p:sp>
          <p:nvSpPr>
            <p:cNvPr id="87" name="Freeform 86"/>
            <p:cNvSpPr>
              <a:spLocks noChangeAspect="1" noEditPoints="1"/>
            </p:cNvSpPr>
            <p:nvPr/>
          </p:nvSpPr>
          <p:spPr bwMode="black">
            <a:xfrm>
              <a:off x="722320" y="1783009"/>
              <a:ext cx="452202" cy="366660"/>
            </a:xfrm>
            <a:custGeom>
              <a:avLst/>
              <a:gdLst>
                <a:gd name="T0" fmla="*/ 600 w 1107"/>
                <a:gd name="T1" fmla="*/ 625 h 897"/>
                <a:gd name="T2" fmla="*/ 649 w 1107"/>
                <a:gd name="T3" fmla="*/ 567 h 897"/>
                <a:gd name="T4" fmla="*/ 727 w 1107"/>
                <a:gd name="T5" fmla="*/ 482 h 897"/>
                <a:gd name="T6" fmla="*/ 601 w 1107"/>
                <a:gd name="T7" fmla="*/ 434 h 897"/>
                <a:gd name="T8" fmla="*/ 628 w 1107"/>
                <a:gd name="T9" fmla="*/ 305 h 897"/>
                <a:gd name="T10" fmla="*/ 547 w 1107"/>
                <a:gd name="T11" fmla="*/ 240 h 897"/>
                <a:gd name="T12" fmla="*/ 427 w 1107"/>
                <a:gd name="T13" fmla="*/ 287 h 897"/>
                <a:gd name="T14" fmla="*/ 368 w 1107"/>
                <a:gd name="T15" fmla="*/ 170 h 897"/>
                <a:gd name="T16" fmla="*/ 285 w 1107"/>
                <a:gd name="T17" fmla="*/ 263 h 897"/>
                <a:gd name="T18" fmla="*/ 241 w 1107"/>
                <a:gd name="T19" fmla="*/ 313 h 897"/>
                <a:gd name="T20" fmla="*/ 139 w 1107"/>
                <a:gd name="T21" fmla="*/ 281 h 897"/>
                <a:gd name="T22" fmla="*/ 79 w 1107"/>
                <a:gd name="T23" fmla="*/ 355 h 897"/>
                <a:gd name="T24" fmla="*/ 132 w 1107"/>
                <a:gd name="T25" fmla="*/ 446 h 897"/>
                <a:gd name="T26" fmla="*/ 83 w 1107"/>
                <a:gd name="T27" fmla="*/ 505 h 897"/>
                <a:gd name="T28" fmla="*/ 5 w 1107"/>
                <a:gd name="T29" fmla="*/ 590 h 897"/>
                <a:gd name="T30" fmla="*/ 132 w 1107"/>
                <a:gd name="T31" fmla="*/ 638 h 897"/>
                <a:gd name="T32" fmla="*/ 145 w 1107"/>
                <a:gd name="T33" fmla="*/ 669 h 897"/>
                <a:gd name="T34" fmla="*/ 110 w 1107"/>
                <a:gd name="T35" fmla="*/ 793 h 897"/>
                <a:gd name="T36" fmla="*/ 230 w 1107"/>
                <a:gd name="T37" fmla="*/ 781 h 897"/>
                <a:gd name="T38" fmla="*/ 306 w 1107"/>
                <a:gd name="T39" fmla="*/ 785 h 897"/>
                <a:gd name="T40" fmla="*/ 346 w 1107"/>
                <a:gd name="T41" fmla="*/ 878 h 897"/>
                <a:gd name="T42" fmla="*/ 440 w 1107"/>
                <a:gd name="T43" fmla="*/ 872 h 897"/>
                <a:gd name="T44" fmla="*/ 466 w 1107"/>
                <a:gd name="T45" fmla="*/ 764 h 897"/>
                <a:gd name="T46" fmla="*/ 539 w 1107"/>
                <a:gd name="T47" fmla="*/ 755 h 897"/>
                <a:gd name="T48" fmla="*/ 659 w 1107"/>
                <a:gd name="T49" fmla="*/ 743 h 897"/>
                <a:gd name="T50" fmla="*/ 263 w 1107"/>
                <a:gd name="T51" fmla="*/ 452 h 897"/>
                <a:gd name="T52" fmla="*/ 281 w 1107"/>
                <a:gd name="T53" fmla="*/ 633 h 897"/>
                <a:gd name="T54" fmla="*/ 1002 w 1107"/>
                <a:gd name="T55" fmla="*/ 332 h 897"/>
                <a:gd name="T56" fmla="*/ 1043 w 1107"/>
                <a:gd name="T57" fmla="*/ 304 h 897"/>
                <a:gd name="T58" fmla="*/ 1107 w 1107"/>
                <a:gd name="T59" fmla="*/ 266 h 897"/>
                <a:gd name="T60" fmla="*/ 1037 w 1107"/>
                <a:gd name="T61" fmla="*/ 213 h 897"/>
                <a:gd name="T62" fmla="*/ 1077 w 1107"/>
                <a:gd name="T63" fmla="*/ 138 h 897"/>
                <a:gd name="T64" fmla="*/ 1038 w 1107"/>
                <a:gd name="T65" fmla="*/ 83 h 897"/>
                <a:gd name="T66" fmla="*/ 956 w 1107"/>
                <a:gd name="T67" fmla="*/ 91 h 897"/>
                <a:gd name="T68" fmla="*/ 940 w 1107"/>
                <a:gd name="T69" fmla="*/ 7 h 897"/>
                <a:gd name="T70" fmla="*/ 872 w 1107"/>
                <a:gd name="T71" fmla="*/ 50 h 897"/>
                <a:gd name="T72" fmla="*/ 836 w 1107"/>
                <a:gd name="T73" fmla="*/ 74 h 897"/>
                <a:gd name="T74" fmla="*/ 778 w 1107"/>
                <a:gd name="T75" fmla="*/ 35 h 897"/>
                <a:gd name="T76" fmla="*/ 728 w 1107"/>
                <a:gd name="T77" fmla="*/ 70 h 897"/>
                <a:gd name="T78" fmla="*/ 744 w 1107"/>
                <a:gd name="T79" fmla="*/ 136 h 897"/>
                <a:gd name="T80" fmla="*/ 703 w 1107"/>
                <a:gd name="T81" fmla="*/ 164 h 897"/>
                <a:gd name="T82" fmla="*/ 640 w 1107"/>
                <a:gd name="T83" fmla="*/ 203 h 897"/>
                <a:gd name="T84" fmla="*/ 710 w 1107"/>
                <a:gd name="T85" fmla="*/ 255 h 897"/>
                <a:gd name="T86" fmla="*/ 712 w 1107"/>
                <a:gd name="T87" fmla="*/ 277 h 897"/>
                <a:gd name="T88" fmla="*/ 668 w 1107"/>
                <a:gd name="T89" fmla="*/ 347 h 897"/>
                <a:gd name="T90" fmla="*/ 745 w 1107"/>
                <a:gd name="T91" fmla="*/ 361 h 897"/>
                <a:gd name="T92" fmla="*/ 791 w 1107"/>
                <a:gd name="T93" fmla="*/ 377 h 897"/>
                <a:gd name="T94" fmla="*/ 799 w 1107"/>
                <a:gd name="T95" fmla="*/ 443 h 897"/>
                <a:gd name="T96" fmla="*/ 859 w 1107"/>
                <a:gd name="T97" fmla="*/ 456 h 897"/>
                <a:gd name="T98" fmla="*/ 894 w 1107"/>
                <a:gd name="T99" fmla="*/ 393 h 897"/>
                <a:gd name="T100" fmla="*/ 941 w 1107"/>
                <a:gd name="T101" fmla="*/ 401 h 897"/>
                <a:gd name="T102" fmla="*/ 1018 w 1107"/>
                <a:gd name="T103" fmla="*/ 415 h 897"/>
                <a:gd name="T104" fmla="*/ 825 w 1107"/>
                <a:gd name="T105" fmla="*/ 164 h 897"/>
                <a:gd name="T106" fmla="*/ 803 w 1107"/>
                <a:gd name="T107" fmla="*/ 279 h 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107" h="897">
                  <a:moveTo>
                    <a:pt x="654" y="716"/>
                  </a:moveTo>
                  <a:cubicBezTo>
                    <a:pt x="616" y="670"/>
                    <a:pt x="616" y="670"/>
                    <a:pt x="616" y="670"/>
                  </a:cubicBezTo>
                  <a:cubicBezTo>
                    <a:pt x="593" y="654"/>
                    <a:pt x="603" y="638"/>
                    <a:pt x="600" y="625"/>
                  </a:cubicBezTo>
                  <a:cubicBezTo>
                    <a:pt x="600" y="625"/>
                    <a:pt x="600" y="625"/>
                    <a:pt x="600" y="625"/>
                  </a:cubicBezTo>
                  <a:cubicBezTo>
                    <a:pt x="605" y="617"/>
                    <a:pt x="611" y="609"/>
                    <a:pt x="608" y="596"/>
                  </a:cubicBezTo>
                  <a:cubicBezTo>
                    <a:pt x="618" y="580"/>
                    <a:pt x="623" y="572"/>
                    <a:pt x="649" y="567"/>
                  </a:cubicBezTo>
                  <a:cubicBezTo>
                    <a:pt x="715" y="553"/>
                    <a:pt x="715" y="553"/>
                    <a:pt x="715" y="553"/>
                  </a:cubicBezTo>
                  <a:cubicBezTo>
                    <a:pt x="728" y="550"/>
                    <a:pt x="733" y="542"/>
                    <a:pt x="730" y="529"/>
                  </a:cubicBezTo>
                  <a:cubicBezTo>
                    <a:pt x="727" y="482"/>
                    <a:pt x="727" y="482"/>
                    <a:pt x="727" y="482"/>
                  </a:cubicBezTo>
                  <a:cubicBezTo>
                    <a:pt x="724" y="469"/>
                    <a:pt x="717" y="463"/>
                    <a:pt x="701" y="453"/>
                  </a:cubicBezTo>
                  <a:cubicBezTo>
                    <a:pt x="641" y="459"/>
                    <a:pt x="641" y="459"/>
                    <a:pt x="641" y="459"/>
                  </a:cubicBezTo>
                  <a:cubicBezTo>
                    <a:pt x="620" y="457"/>
                    <a:pt x="604" y="447"/>
                    <a:pt x="601" y="434"/>
                  </a:cubicBezTo>
                  <a:cubicBezTo>
                    <a:pt x="598" y="421"/>
                    <a:pt x="590" y="416"/>
                    <a:pt x="580" y="397"/>
                  </a:cubicBezTo>
                  <a:cubicBezTo>
                    <a:pt x="577" y="384"/>
                    <a:pt x="574" y="371"/>
                    <a:pt x="584" y="355"/>
                  </a:cubicBezTo>
                  <a:cubicBezTo>
                    <a:pt x="628" y="305"/>
                    <a:pt x="628" y="305"/>
                    <a:pt x="628" y="305"/>
                  </a:cubicBezTo>
                  <a:cubicBezTo>
                    <a:pt x="634" y="297"/>
                    <a:pt x="631" y="284"/>
                    <a:pt x="623" y="279"/>
                  </a:cubicBezTo>
                  <a:cubicBezTo>
                    <a:pt x="581" y="240"/>
                    <a:pt x="581" y="240"/>
                    <a:pt x="581" y="240"/>
                  </a:cubicBezTo>
                  <a:cubicBezTo>
                    <a:pt x="573" y="235"/>
                    <a:pt x="560" y="238"/>
                    <a:pt x="547" y="240"/>
                  </a:cubicBezTo>
                  <a:cubicBezTo>
                    <a:pt x="503" y="291"/>
                    <a:pt x="503" y="291"/>
                    <a:pt x="503" y="291"/>
                  </a:cubicBezTo>
                  <a:cubicBezTo>
                    <a:pt x="484" y="302"/>
                    <a:pt x="471" y="304"/>
                    <a:pt x="463" y="299"/>
                  </a:cubicBezTo>
                  <a:cubicBezTo>
                    <a:pt x="456" y="294"/>
                    <a:pt x="435" y="292"/>
                    <a:pt x="427" y="287"/>
                  </a:cubicBezTo>
                  <a:cubicBezTo>
                    <a:pt x="419" y="282"/>
                    <a:pt x="403" y="271"/>
                    <a:pt x="400" y="258"/>
                  </a:cubicBezTo>
                  <a:cubicBezTo>
                    <a:pt x="386" y="193"/>
                    <a:pt x="386" y="193"/>
                    <a:pt x="386" y="193"/>
                  </a:cubicBezTo>
                  <a:cubicBezTo>
                    <a:pt x="384" y="180"/>
                    <a:pt x="368" y="170"/>
                    <a:pt x="368" y="170"/>
                  </a:cubicBezTo>
                  <a:cubicBezTo>
                    <a:pt x="308" y="176"/>
                    <a:pt x="308" y="176"/>
                    <a:pt x="308" y="176"/>
                  </a:cubicBezTo>
                  <a:cubicBezTo>
                    <a:pt x="308" y="176"/>
                    <a:pt x="289" y="187"/>
                    <a:pt x="292" y="200"/>
                  </a:cubicBezTo>
                  <a:cubicBezTo>
                    <a:pt x="285" y="263"/>
                    <a:pt x="285" y="263"/>
                    <a:pt x="285" y="263"/>
                  </a:cubicBezTo>
                  <a:cubicBezTo>
                    <a:pt x="291" y="289"/>
                    <a:pt x="277" y="292"/>
                    <a:pt x="272" y="300"/>
                  </a:cubicBezTo>
                  <a:cubicBezTo>
                    <a:pt x="272" y="300"/>
                    <a:pt x="272" y="300"/>
                    <a:pt x="267" y="308"/>
                  </a:cubicBezTo>
                  <a:cubicBezTo>
                    <a:pt x="259" y="302"/>
                    <a:pt x="246" y="305"/>
                    <a:pt x="241" y="313"/>
                  </a:cubicBezTo>
                  <a:cubicBezTo>
                    <a:pt x="236" y="321"/>
                    <a:pt x="236" y="321"/>
                    <a:pt x="236" y="321"/>
                  </a:cubicBezTo>
                  <a:cubicBezTo>
                    <a:pt x="223" y="324"/>
                    <a:pt x="210" y="327"/>
                    <a:pt x="194" y="317"/>
                  </a:cubicBezTo>
                  <a:cubicBezTo>
                    <a:pt x="139" y="281"/>
                    <a:pt x="139" y="281"/>
                    <a:pt x="139" y="281"/>
                  </a:cubicBezTo>
                  <a:cubicBezTo>
                    <a:pt x="131" y="276"/>
                    <a:pt x="110" y="273"/>
                    <a:pt x="104" y="281"/>
                  </a:cubicBezTo>
                  <a:cubicBezTo>
                    <a:pt x="79" y="321"/>
                    <a:pt x="79" y="321"/>
                    <a:pt x="79" y="321"/>
                  </a:cubicBezTo>
                  <a:cubicBezTo>
                    <a:pt x="66" y="324"/>
                    <a:pt x="68" y="337"/>
                    <a:pt x="79" y="355"/>
                  </a:cubicBezTo>
                  <a:cubicBezTo>
                    <a:pt x="121" y="394"/>
                    <a:pt x="121" y="394"/>
                    <a:pt x="121" y="394"/>
                  </a:cubicBezTo>
                  <a:cubicBezTo>
                    <a:pt x="140" y="417"/>
                    <a:pt x="135" y="425"/>
                    <a:pt x="132" y="446"/>
                  </a:cubicBezTo>
                  <a:cubicBezTo>
                    <a:pt x="132" y="446"/>
                    <a:pt x="132" y="446"/>
                    <a:pt x="132" y="446"/>
                  </a:cubicBezTo>
                  <a:cubicBezTo>
                    <a:pt x="127" y="454"/>
                    <a:pt x="122" y="462"/>
                    <a:pt x="117" y="470"/>
                  </a:cubicBezTo>
                  <a:cubicBezTo>
                    <a:pt x="117" y="470"/>
                    <a:pt x="117" y="470"/>
                    <a:pt x="117" y="470"/>
                  </a:cubicBezTo>
                  <a:cubicBezTo>
                    <a:pt x="120" y="483"/>
                    <a:pt x="109" y="499"/>
                    <a:pt x="83" y="505"/>
                  </a:cubicBezTo>
                  <a:cubicBezTo>
                    <a:pt x="23" y="511"/>
                    <a:pt x="23" y="511"/>
                    <a:pt x="23" y="511"/>
                  </a:cubicBezTo>
                  <a:cubicBezTo>
                    <a:pt x="10" y="514"/>
                    <a:pt x="0" y="529"/>
                    <a:pt x="2" y="543"/>
                  </a:cubicBezTo>
                  <a:cubicBezTo>
                    <a:pt x="5" y="590"/>
                    <a:pt x="5" y="590"/>
                    <a:pt x="5" y="590"/>
                  </a:cubicBezTo>
                  <a:cubicBezTo>
                    <a:pt x="8" y="603"/>
                    <a:pt x="16" y="608"/>
                    <a:pt x="37" y="610"/>
                  </a:cubicBezTo>
                  <a:cubicBezTo>
                    <a:pt x="92" y="612"/>
                    <a:pt x="92" y="612"/>
                    <a:pt x="92" y="612"/>
                  </a:cubicBezTo>
                  <a:cubicBezTo>
                    <a:pt x="113" y="614"/>
                    <a:pt x="129" y="625"/>
                    <a:pt x="132" y="638"/>
                  </a:cubicBezTo>
                  <a:cubicBezTo>
                    <a:pt x="132" y="638"/>
                    <a:pt x="132" y="638"/>
                    <a:pt x="132" y="638"/>
                  </a:cubicBezTo>
                  <a:cubicBezTo>
                    <a:pt x="140" y="643"/>
                    <a:pt x="142" y="656"/>
                    <a:pt x="150" y="661"/>
                  </a:cubicBezTo>
                  <a:cubicBezTo>
                    <a:pt x="145" y="669"/>
                    <a:pt x="145" y="669"/>
                    <a:pt x="145" y="669"/>
                  </a:cubicBezTo>
                  <a:cubicBezTo>
                    <a:pt x="153" y="674"/>
                    <a:pt x="156" y="687"/>
                    <a:pt x="140" y="711"/>
                  </a:cubicBezTo>
                  <a:cubicBezTo>
                    <a:pt x="109" y="759"/>
                    <a:pt x="109" y="759"/>
                    <a:pt x="109" y="759"/>
                  </a:cubicBezTo>
                  <a:cubicBezTo>
                    <a:pt x="99" y="775"/>
                    <a:pt x="102" y="788"/>
                    <a:pt x="110" y="793"/>
                  </a:cubicBezTo>
                  <a:cubicBezTo>
                    <a:pt x="152" y="832"/>
                    <a:pt x="152" y="832"/>
                    <a:pt x="152" y="832"/>
                  </a:cubicBezTo>
                  <a:cubicBezTo>
                    <a:pt x="160" y="837"/>
                    <a:pt x="173" y="834"/>
                    <a:pt x="178" y="826"/>
                  </a:cubicBezTo>
                  <a:cubicBezTo>
                    <a:pt x="230" y="781"/>
                    <a:pt x="230" y="781"/>
                    <a:pt x="230" y="781"/>
                  </a:cubicBezTo>
                  <a:cubicBezTo>
                    <a:pt x="248" y="770"/>
                    <a:pt x="261" y="767"/>
                    <a:pt x="269" y="772"/>
                  </a:cubicBezTo>
                  <a:cubicBezTo>
                    <a:pt x="269" y="772"/>
                    <a:pt x="269" y="772"/>
                    <a:pt x="269" y="772"/>
                  </a:cubicBezTo>
                  <a:cubicBezTo>
                    <a:pt x="282" y="769"/>
                    <a:pt x="298" y="779"/>
                    <a:pt x="306" y="785"/>
                  </a:cubicBezTo>
                  <a:cubicBezTo>
                    <a:pt x="306" y="785"/>
                    <a:pt x="306" y="785"/>
                    <a:pt x="306" y="785"/>
                  </a:cubicBezTo>
                  <a:cubicBezTo>
                    <a:pt x="319" y="782"/>
                    <a:pt x="327" y="787"/>
                    <a:pt x="332" y="813"/>
                  </a:cubicBezTo>
                  <a:cubicBezTo>
                    <a:pt x="346" y="878"/>
                    <a:pt x="346" y="878"/>
                    <a:pt x="346" y="878"/>
                  </a:cubicBezTo>
                  <a:cubicBezTo>
                    <a:pt x="349" y="892"/>
                    <a:pt x="357" y="897"/>
                    <a:pt x="370" y="894"/>
                  </a:cubicBezTo>
                  <a:cubicBezTo>
                    <a:pt x="425" y="896"/>
                    <a:pt x="425" y="896"/>
                    <a:pt x="425" y="896"/>
                  </a:cubicBezTo>
                  <a:cubicBezTo>
                    <a:pt x="430" y="888"/>
                    <a:pt x="443" y="885"/>
                    <a:pt x="440" y="872"/>
                  </a:cubicBezTo>
                  <a:cubicBezTo>
                    <a:pt x="440" y="804"/>
                    <a:pt x="440" y="804"/>
                    <a:pt x="440" y="804"/>
                  </a:cubicBezTo>
                  <a:cubicBezTo>
                    <a:pt x="442" y="783"/>
                    <a:pt x="460" y="772"/>
                    <a:pt x="466" y="764"/>
                  </a:cubicBezTo>
                  <a:cubicBezTo>
                    <a:pt x="466" y="764"/>
                    <a:pt x="466" y="764"/>
                    <a:pt x="466" y="764"/>
                  </a:cubicBezTo>
                  <a:cubicBezTo>
                    <a:pt x="479" y="761"/>
                    <a:pt x="492" y="758"/>
                    <a:pt x="497" y="750"/>
                  </a:cubicBezTo>
                  <a:cubicBezTo>
                    <a:pt x="497" y="750"/>
                    <a:pt x="497" y="750"/>
                    <a:pt x="497" y="750"/>
                  </a:cubicBezTo>
                  <a:cubicBezTo>
                    <a:pt x="510" y="747"/>
                    <a:pt x="523" y="745"/>
                    <a:pt x="539" y="755"/>
                  </a:cubicBezTo>
                  <a:cubicBezTo>
                    <a:pt x="594" y="791"/>
                    <a:pt x="594" y="791"/>
                    <a:pt x="594" y="791"/>
                  </a:cubicBezTo>
                  <a:cubicBezTo>
                    <a:pt x="602" y="796"/>
                    <a:pt x="623" y="798"/>
                    <a:pt x="628" y="790"/>
                  </a:cubicBezTo>
                  <a:cubicBezTo>
                    <a:pt x="659" y="743"/>
                    <a:pt x="659" y="743"/>
                    <a:pt x="659" y="743"/>
                  </a:cubicBezTo>
                  <a:cubicBezTo>
                    <a:pt x="659" y="743"/>
                    <a:pt x="669" y="727"/>
                    <a:pt x="654" y="716"/>
                  </a:cubicBezTo>
                  <a:close/>
                  <a:moveTo>
                    <a:pt x="281" y="633"/>
                  </a:moveTo>
                  <a:cubicBezTo>
                    <a:pt x="223" y="584"/>
                    <a:pt x="219" y="502"/>
                    <a:pt x="263" y="452"/>
                  </a:cubicBezTo>
                  <a:cubicBezTo>
                    <a:pt x="313" y="393"/>
                    <a:pt x="399" y="382"/>
                    <a:pt x="457" y="431"/>
                  </a:cubicBezTo>
                  <a:cubicBezTo>
                    <a:pt x="507" y="475"/>
                    <a:pt x="518" y="561"/>
                    <a:pt x="469" y="619"/>
                  </a:cubicBezTo>
                  <a:cubicBezTo>
                    <a:pt x="420" y="678"/>
                    <a:pt x="339" y="682"/>
                    <a:pt x="281" y="633"/>
                  </a:cubicBezTo>
                  <a:close/>
                  <a:moveTo>
                    <a:pt x="1019" y="398"/>
                  </a:moveTo>
                  <a:cubicBezTo>
                    <a:pt x="1004" y="362"/>
                    <a:pt x="1004" y="362"/>
                    <a:pt x="1004" y="362"/>
                  </a:cubicBezTo>
                  <a:cubicBezTo>
                    <a:pt x="992" y="348"/>
                    <a:pt x="1002" y="340"/>
                    <a:pt x="1002" y="332"/>
                  </a:cubicBezTo>
                  <a:cubicBezTo>
                    <a:pt x="1002" y="332"/>
                    <a:pt x="1002" y="332"/>
                    <a:pt x="1002" y="332"/>
                  </a:cubicBezTo>
                  <a:cubicBezTo>
                    <a:pt x="1007" y="328"/>
                    <a:pt x="1011" y="324"/>
                    <a:pt x="1012" y="315"/>
                  </a:cubicBezTo>
                  <a:cubicBezTo>
                    <a:pt x="1021" y="307"/>
                    <a:pt x="1026" y="303"/>
                    <a:pt x="1043" y="304"/>
                  </a:cubicBezTo>
                  <a:cubicBezTo>
                    <a:pt x="1086" y="307"/>
                    <a:pt x="1086" y="307"/>
                    <a:pt x="1086" y="307"/>
                  </a:cubicBezTo>
                  <a:cubicBezTo>
                    <a:pt x="1095" y="308"/>
                    <a:pt x="1099" y="304"/>
                    <a:pt x="1100" y="295"/>
                  </a:cubicBezTo>
                  <a:cubicBezTo>
                    <a:pt x="1107" y="266"/>
                    <a:pt x="1107" y="266"/>
                    <a:pt x="1107" y="266"/>
                  </a:cubicBezTo>
                  <a:cubicBezTo>
                    <a:pt x="1107" y="257"/>
                    <a:pt x="1103" y="252"/>
                    <a:pt x="1095" y="243"/>
                  </a:cubicBezTo>
                  <a:cubicBezTo>
                    <a:pt x="1057" y="236"/>
                    <a:pt x="1057" y="236"/>
                    <a:pt x="1057" y="236"/>
                  </a:cubicBezTo>
                  <a:cubicBezTo>
                    <a:pt x="1044" y="231"/>
                    <a:pt x="1036" y="222"/>
                    <a:pt x="1037" y="213"/>
                  </a:cubicBezTo>
                  <a:cubicBezTo>
                    <a:pt x="1038" y="205"/>
                    <a:pt x="1034" y="200"/>
                    <a:pt x="1030" y="187"/>
                  </a:cubicBezTo>
                  <a:cubicBezTo>
                    <a:pt x="1031" y="178"/>
                    <a:pt x="1032" y="170"/>
                    <a:pt x="1041" y="162"/>
                  </a:cubicBezTo>
                  <a:cubicBezTo>
                    <a:pt x="1077" y="138"/>
                    <a:pt x="1077" y="138"/>
                    <a:pt x="1077" y="138"/>
                  </a:cubicBezTo>
                  <a:cubicBezTo>
                    <a:pt x="1082" y="134"/>
                    <a:pt x="1083" y="126"/>
                    <a:pt x="1079" y="121"/>
                  </a:cubicBezTo>
                  <a:cubicBezTo>
                    <a:pt x="1059" y="89"/>
                    <a:pt x="1059" y="89"/>
                    <a:pt x="1059" y="89"/>
                  </a:cubicBezTo>
                  <a:cubicBezTo>
                    <a:pt x="1055" y="85"/>
                    <a:pt x="1047" y="84"/>
                    <a:pt x="1038" y="83"/>
                  </a:cubicBezTo>
                  <a:cubicBezTo>
                    <a:pt x="1002" y="107"/>
                    <a:pt x="1002" y="107"/>
                    <a:pt x="1002" y="107"/>
                  </a:cubicBezTo>
                  <a:cubicBezTo>
                    <a:pt x="989" y="110"/>
                    <a:pt x="980" y="110"/>
                    <a:pt x="976" y="105"/>
                  </a:cubicBezTo>
                  <a:cubicBezTo>
                    <a:pt x="972" y="100"/>
                    <a:pt x="960" y="95"/>
                    <a:pt x="956" y="91"/>
                  </a:cubicBezTo>
                  <a:cubicBezTo>
                    <a:pt x="952" y="86"/>
                    <a:pt x="944" y="77"/>
                    <a:pt x="944" y="68"/>
                  </a:cubicBezTo>
                  <a:cubicBezTo>
                    <a:pt x="948" y="25"/>
                    <a:pt x="948" y="25"/>
                    <a:pt x="948" y="25"/>
                  </a:cubicBezTo>
                  <a:cubicBezTo>
                    <a:pt x="948" y="17"/>
                    <a:pt x="940" y="7"/>
                    <a:pt x="940" y="7"/>
                  </a:cubicBezTo>
                  <a:cubicBezTo>
                    <a:pt x="902" y="0"/>
                    <a:pt x="902" y="0"/>
                    <a:pt x="902" y="0"/>
                  </a:cubicBezTo>
                  <a:cubicBezTo>
                    <a:pt x="902" y="0"/>
                    <a:pt x="889" y="4"/>
                    <a:pt x="888" y="12"/>
                  </a:cubicBezTo>
                  <a:cubicBezTo>
                    <a:pt x="872" y="50"/>
                    <a:pt x="872" y="50"/>
                    <a:pt x="872" y="50"/>
                  </a:cubicBezTo>
                  <a:cubicBezTo>
                    <a:pt x="871" y="67"/>
                    <a:pt x="862" y="67"/>
                    <a:pt x="858" y="71"/>
                  </a:cubicBezTo>
                  <a:cubicBezTo>
                    <a:pt x="858" y="71"/>
                    <a:pt x="858" y="71"/>
                    <a:pt x="853" y="75"/>
                  </a:cubicBezTo>
                  <a:cubicBezTo>
                    <a:pt x="849" y="70"/>
                    <a:pt x="840" y="70"/>
                    <a:pt x="836" y="74"/>
                  </a:cubicBezTo>
                  <a:cubicBezTo>
                    <a:pt x="831" y="78"/>
                    <a:pt x="831" y="78"/>
                    <a:pt x="831" y="78"/>
                  </a:cubicBezTo>
                  <a:cubicBezTo>
                    <a:pt x="822" y="77"/>
                    <a:pt x="814" y="76"/>
                    <a:pt x="806" y="67"/>
                  </a:cubicBezTo>
                  <a:cubicBezTo>
                    <a:pt x="778" y="35"/>
                    <a:pt x="778" y="35"/>
                    <a:pt x="778" y="35"/>
                  </a:cubicBezTo>
                  <a:cubicBezTo>
                    <a:pt x="774" y="30"/>
                    <a:pt x="762" y="25"/>
                    <a:pt x="757" y="29"/>
                  </a:cubicBezTo>
                  <a:cubicBezTo>
                    <a:pt x="734" y="49"/>
                    <a:pt x="734" y="49"/>
                    <a:pt x="734" y="49"/>
                  </a:cubicBezTo>
                  <a:cubicBezTo>
                    <a:pt x="725" y="49"/>
                    <a:pt x="725" y="57"/>
                    <a:pt x="728" y="70"/>
                  </a:cubicBezTo>
                  <a:cubicBezTo>
                    <a:pt x="747" y="102"/>
                    <a:pt x="747" y="102"/>
                    <a:pt x="747" y="102"/>
                  </a:cubicBezTo>
                  <a:cubicBezTo>
                    <a:pt x="754" y="120"/>
                    <a:pt x="750" y="124"/>
                    <a:pt x="744" y="136"/>
                  </a:cubicBezTo>
                  <a:cubicBezTo>
                    <a:pt x="744" y="136"/>
                    <a:pt x="744" y="136"/>
                    <a:pt x="744" y="136"/>
                  </a:cubicBezTo>
                  <a:cubicBezTo>
                    <a:pt x="740" y="140"/>
                    <a:pt x="735" y="144"/>
                    <a:pt x="731" y="148"/>
                  </a:cubicBezTo>
                  <a:cubicBezTo>
                    <a:pt x="731" y="148"/>
                    <a:pt x="731" y="148"/>
                    <a:pt x="731" y="148"/>
                  </a:cubicBezTo>
                  <a:cubicBezTo>
                    <a:pt x="730" y="157"/>
                    <a:pt x="721" y="165"/>
                    <a:pt x="703" y="164"/>
                  </a:cubicBezTo>
                  <a:cubicBezTo>
                    <a:pt x="665" y="157"/>
                    <a:pt x="665" y="157"/>
                    <a:pt x="665" y="157"/>
                  </a:cubicBezTo>
                  <a:cubicBezTo>
                    <a:pt x="656" y="156"/>
                    <a:pt x="647" y="164"/>
                    <a:pt x="647" y="173"/>
                  </a:cubicBezTo>
                  <a:cubicBezTo>
                    <a:pt x="640" y="203"/>
                    <a:pt x="640" y="203"/>
                    <a:pt x="640" y="203"/>
                  </a:cubicBezTo>
                  <a:cubicBezTo>
                    <a:pt x="639" y="211"/>
                    <a:pt x="643" y="216"/>
                    <a:pt x="656" y="221"/>
                  </a:cubicBezTo>
                  <a:cubicBezTo>
                    <a:pt x="690" y="232"/>
                    <a:pt x="690" y="232"/>
                    <a:pt x="690" y="232"/>
                  </a:cubicBezTo>
                  <a:cubicBezTo>
                    <a:pt x="702" y="237"/>
                    <a:pt x="710" y="246"/>
                    <a:pt x="710" y="255"/>
                  </a:cubicBezTo>
                  <a:cubicBezTo>
                    <a:pt x="710" y="255"/>
                    <a:pt x="710" y="255"/>
                    <a:pt x="710" y="255"/>
                  </a:cubicBezTo>
                  <a:cubicBezTo>
                    <a:pt x="714" y="260"/>
                    <a:pt x="713" y="268"/>
                    <a:pt x="717" y="273"/>
                  </a:cubicBezTo>
                  <a:cubicBezTo>
                    <a:pt x="712" y="277"/>
                    <a:pt x="712" y="277"/>
                    <a:pt x="712" y="277"/>
                  </a:cubicBezTo>
                  <a:cubicBezTo>
                    <a:pt x="716" y="281"/>
                    <a:pt x="716" y="290"/>
                    <a:pt x="702" y="302"/>
                  </a:cubicBezTo>
                  <a:cubicBezTo>
                    <a:pt x="674" y="326"/>
                    <a:pt x="674" y="326"/>
                    <a:pt x="674" y="326"/>
                  </a:cubicBezTo>
                  <a:cubicBezTo>
                    <a:pt x="665" y="334"/>
                    <a:pt x="664" y="343"/>
                    <a:pt x="668" y="347"/>
                  </a:cubicBezTo>
                  <a:cubicBezTo>
                    <a:pt x="687" y="379"/>
                    <a:pt x="687" y="379"/>
                    <a:pt x="687" y="379"/>
                  </a:cubicBezTo>
                  <a:cubicBezTo>
                    <a:pt x="691" y="383"/>
                    <a:pt x="700" y="384"/>
                    <a:pt x="704" y="380"/>
                  </a:cubicBezTo>
                  <a:cubicBezTo>
                    <a:pt x="745" y="361"/>
                    <a:pt x="745" y="361"/>
                    <a:pt x="745" y="361"/>
                  </a:cubicBezTo>
                  <a:cubicBezTo>
                    <a:pt x="758" y="358"/>
                    <a:pt x="767" y="358"/>
                    <a:pt x="771" y="363"/>
                  </a:cubicBezTo>
                  <a:cubicBezTo>
                    <a:pt x="771" y="363"/>
                    <a:pt x="771" y="363"/>
                    <a:pt x="771" y="363"/>
                  </a:cubicBezTo>
                  <a:cubicBezTo>
                    <a:pt x="779" y="364"/>
                    <a:pt x="787" y="373"/>
                    <a:pt x="791" y="377"/>
                  </a:cubicBezTo>
                  <a:cubicBezTo>
                    <a:pt x="791" y="377"/>
                    <a:pt x="791" y="377"/>
                    <a:pt x="791" y="377"/>
                  </a:cubicBezTo>
                  <a:cubicBezTo>
                    <a:pt x="800" y="378"/>
                    <a:pt x="804" y="383"/>
                    <a:pt x="802" y="400"/>
                  </a:cubicBezTo>
                  <a:cubicBezTo>
                    <a:pt x="799" y="443"/>
                    <a:pt x="799" y="443"/>
                    <a:pt x="799" y="443"/>
                  </a:cubicBezTo>
                  <a:cubicBezTo>
                    <a:pt x="798" y="451"/>
                    <a:pt x="802" y="456"/>
                    <a:pt x="811" y="457"/>
                  </a:cubicBezTo>
                  <a:cubicBezTo>
                    <a:pt x="845" y="468"/>
                    <a:pt x="845" y="468"/>
                    <a:pt x="845" y="468"/>
                  </a:cubicBezTo>
                  <a:cubicBezTo>
                    <a:pt x="849" y="464"/>
                    <a:pt x="858" y="464"/>
                    <a:pt x="859" y="456"/>
                  </a:cubicBezTo>
                  <a:cubicBezTo>
                    <a:pt x="871" y="413"/>
                    <a:pt x="871" y="413"/>
                    <a:pt x="871" y="413"/>
                  </a:cubicBezTo>
                  <a:cubicBezTo>
                    <a:pt x="876" y="401"/>
                    <a:pt x="889" y="397"/>
                    <a:pt x="894" y="393"/>
                  </a:cubicBezTo>
                  <a:cubicBezTo>
                    <a:pt x="894" y="393"/>
                    <a:pt x="894" y="393"/>
                    <a:pt x="894" y="393"/>
                  </a:cubicBezTo>
                  <a:cubicBezTo>
                    <a:pt x="902" y="394"/>
                    <a:pt x="911" y="395"/>
                    <a:pt x="916" y="391"/>
                  </a:cubicBezTo>
                  <a:cubicBezTo>
                    <a:pt x="916" y="391"/>
                    <a:pt x="916" y="391"/>
                    <a:pt x="916" y="391"/>
                  </a:cubicBezTo>
                  <a:cubicBezTo>
                    <a:pt x="924" y="391"/>
                    <a:pt x="933" y="392"/>
                    <a:pt x="941" y="401"/>
                  </a:cubicBezTo>
                  <a:cubicBezTo>
                    <a:pt x="969" y="433"/>
                    <a:pt x="969" y="433"/>
                    <a:pt x="969" y="433"/>
                  </a:cubicBezTo>
                  <a:cubicBezTo>
                    <a:pt x="973" y="438"/>
                    <a:pt x="985" y="443"/>
                    <a:pt x="990" y="439"/>
                  </a:cubicBezTo>
                  <a:cubicBezTo>
                    <a:pt x="1018" y="415"/>
                    <a:pt x="1018" y="415"/>
                    <a:pt x="1018" y="415"/>
                  </a:cubicBezTo>
                  <a:cubicBezTo>
                    <a:pt x="1018" y="415"/>
                    <a:pt x="1027" y="407"/>
                    <a:pt x="1019" y="398"/>
                  </a:cubicBezTo>
                  <a:close/>
                  <a:moveTo>
                    <a:pt x="803" y="279"/>
                  </a:moveTo>
                  <a:cubicBezTo>
                    <a:pt x="776" y="238"/>
                    <a:pt x="788" y="187"/>
                    <a:pt x="825" y="164"/>
                  </a:cubicBezTo>
                  <a:cubicBezTo>
                    <a:pt x="866" y="136"/>
                    <a:pt x="921" y="144"/>
                    <a:pt x="948" y="185"/>
                  </a:cubicBezTo>
                  <a:cubicBezTo>
                    <a:pt x="972" y="221"/>
                    <a:pt x="963" y="277"/>
                    <a:pt x="922" y="304"/>
                  </a:cubicBezTo>
                  <a:cubicBezTo>
                    <a:pt x="881" y="332"/>
                    <a:pt x="830" y="320"/>
                    <a:pt x="803" y="279"/>
                  </a:cubicBezTo>
                  <a:close/>
                </a:path>
              </a:pathLst>
            </a:custGeom>
            <a:solidFill>
              <a:schemeClr val="tx1"/>
            </a:solidFill>
            <a:ln>
              <a:noFill/>
            </a:ln>
          </p:spPr>
          <p:txBody>
            <a:bodyPr vert="horz" wrap="square" lIns="68574" tIns="34287" rIns="68574" bIns="34287"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17346"/>
                </a:solidFill>
                <a:effectLst/>
                <a:uLnTx/>
                <a:uFillTx/>
                <a:latin typeface="Segoe UI"/>
                <a:ea typeface="+mn-ea"/>
                <a:cs typeface="+mn-cs"/>
              </a:endParaRPr>
            </a:p>
          </p:txBody>
        </p:sp>
        <p:sp>
          <p:nvSpPr>
            <p:cNvPr id="88" name="Freeform 87"/>
            <p:cNvSpPr>
              <a:spLocks noChangeAspect="1"/>
            </p:cNvSpPr>
            <p:nvPr/>
          </p:nvSpPr>
          <p:spPr bwMode="black">
            <a:xfrm>
              <a:off x="776985" y="4213905"/>
              <a:ext cx="342871" cy="335728"/>
            </a:xfrm>
            <a:custGeom>
              <a:avLst/>
              <a:gdLst>
                <a:gd name="connsiteX0" fmla="*/ 3713863 w 4893730"/>
                <a:gd name="connsiteY0" fmla="*/ 2130808 h 4791777"/>
                <a:gd name="connsiteX1" fmla="*/ 4426142 w 4893730"/>
                <a:gd name="connsiteY1" fmla="*/ 2130808 h 4791777"/>
                <a:gd name="connsiteX2" fmla="*/ 4598071 w 4893730"/>
                <a:gd name="connsiteY2" fmla="*/ 2301547 h 4791777"/>
                <a:gd name="connsiteX3" fmla="*/ 4598071 w 4893730"/>
                <a:gd name="connsiteY3" fmla="*/ 3886978 h 4791777"/>
                <a:gd name="connsiteX4" fmla="*/ 4426142 w 4893730"/>
                <a:gd name="connsiteY4" fmla="*/ 4057717 h 4791777"/>
                <a:gd name="connsiteX5" fmla="*/ 3713863 w 4893730"/>
                <a:gd name="connsiteY5" fmla="*/ 4057717 h 4791777"/>
                <a:gd name="connsiteX6" fmla="*/ 3517372 w 4893730"/>
                <a:gd name="connsiteY6" fmla="*/ 3886978 h 4791777"/>
                <a:gd name="connsiteX7" fmla="*/ 3517372 w 4893730"/>
                <a:gd name="connsiteY7" fmla="*/ 2301547 h 4791777"/>
                <a:gd name="connsiteX8" fmla="*/ 3713863 w 4893730"/>
                <a:gd name="connsiteY8" fmla="*/ 2130808 h 4791777"/>
                <a:gd name="connsiteX9" fmla="*/ 904368 w 4893730"/>
                <a:gd name="connsiteY9" fmla="*/ 1223432 h 4791777"/>
                <a:gd name="connsiteX10" fmla="*/ 1609930 w 4893730"/>
                <a:gd name="connsiteY10" fmla="*/ 1223432 h 4791777"/>
                <a:gd name="connsiteX11" fmla="*/ 1804567 w 4893730"/>
                <a:gd name="connsiteY11" fmla="*/ 1394467 h 4791777"/>
                <a:gd name="connsiteX12" fmla="*/ 1804567 w 4893730"/>
                <a:gd name="connsiteY12" fmla="*/ 3886683 h 4791777"/>
                <a:gd name="connsiteX13" fmla="*/ 1609930 w 4893730"/>
                <a:gd name="connsiteY13" fmla="*/ 4057717 h 4791777"/>
                <a:gd name="connsiteX14" fmla="*/ 904368 w 4893730"/>
                <a:gd name="connsiteY14" fmla="*/ 4057717 h 4791777"/>
                <a:gd name="connsiteX15" fmla="*/ 734060 w 4893730"/>
                <a:gd name="connsiteY15" fmla="*/ 3886683 h 4791777"/>
                <a:gd name="connsiteX16" fmla="*/ 734060 w 4893730"/>
                <a:gd name="connsiteY16" fmla="*/ 1394467 h 4791777"/>
                <a:gd name="connsiteX17" fmla="*/ 904368 w 4893730"/>
                <a:gd name="connsiteY17" fmla="*/ 1223432 h 4791777"/>
                <a:gd name="connsiteX18" fmla="*/ 2325453 w 4893730"/>
                <a:gd name="connsiteY18" fmla="*/ 316050 h 4791777"/>
                <a:gd name="connsiteX19" fmla="*/ 3031014 w 4893730"/>
                <a:gd name="connsiteY19" fmla="*/ 316050 h 4791777"/>
                <a:gd name="connsiteX20" fmla="*/ 3201322 w 4893730"/>
                <a:gd name="connsiteY20" fmla="*/ 487238 h 4791777"/>
                <a:gd name="connsiteX21" fmla="*/ 3201322 w 4893730"/>
                <a:gd name="connsiteY21" fmla="*/ 3886530 h 4791777"/>
                <a:gd name="connsiteX22" fmla="*/ 3031014 w 4893730"/>
                <a:gd name="connsiteY22" fmla="*/ 4057717 h 4791777"/>
                <a:gd name="connsiteX23" fmla="*/ 2325453 w 4893730"/>
                <a:gd name="connsiteY23" fmla="*/ 4057717 h 4791777"/>
                <a:gd name="connsiteX24" fmla="*/ 2130815 w 4893730"/>
                <a:gd name="connsiteY24" fmla="*/ 3886530 h 4791777"/>
                <a:gd name="connsiteX25" fmla="*/ 2130815 w 4893730"/>
                <a:gd name="connsiteY25" fmla="*/ 487238 h 4791777"/>
                <a:gd name="connsiteX26" fmla="*/ 2325453 w 4893730"/>
                <a:gd name="connsiteY26" fmla="*/ 316050 h 4791777"/>
                <a:gd name="connsiteX27" fmla="*/ 269155 w 4893730"/>
                <a:gd name="connsiteY27" fmla="*/ 0 h 4791777"/>
                <a:gd name="connsiteX28" fmla="*/ 538311 w 4893730"/>
                <a:gd name="connsiteY28" fmla="*/ 268927 h 4791777"/>
                <a:gd name="connsiteX29" fmla="*/ 538311 w 4893730"/>
                <a:gd name="connsiteY29" fmla="*/ 4253925 h 4791777"/>
                <a:gd name="connsiteX30" fmla="*/ 4624575 w 4893730"/>
                <a:gd name="connsiteY30" fmla="*/ 4253925 h 4791777"/>
                <a:gd name="connsiteX31" fmla="*/ 4893730 w 4893730"/>
                <a:gd name="connsiteY31" fmla="*/ 4522851 h 4791777"/>
                <a:gd name="connsiteX32" fmla="*/ 4624575 w 4893730"/>
                <a:gd name="connsiteY32" fmla="*/ 4791777 h 4791777"/>
                <a:gd name="connsiteX33" fmla="*/ 269155 w 4893730"/>
                <a:gd name="connsiteY33" fmla="*/ 4791777 h 4791777"/>
                <a:gd name="connsiteX34" fmla="*/ 0 w 4893730"/>
                <a:gd name="connsiteY34" fmla="*/ 4522851 h 4791777"/>
                <a:gd name="connsiteX35" fmla="*/ 0 w 4893730"/>
                <a:gd name="connsiteY35" fmla="*/ 268927 h 4791777"/>
                <a:gd name="connsiteX36" fmla="*/ 269155 w 4893730"/>
                <a:gd name="connsiteY36" fmla="*/ 0 h 4791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4893730" h="4791777">
                  <a:moveTo>
                    <a:pt x="3713863" y="2130808"/>
                  </a:moveTo>
                  <a:cubicBezTo>
                    <a:pt x="3713863" y="2130808"/>
                    <a:pt x="3713863" y="2130808"/>
                    <a:pt x="4426142" y="2130808"/>
                  </a:cubicBezTo>
                  <a:cubicBezTo>
                    <a:pt x="4524387" y="2130808"/>
                    <a:pt x="4598071" y="2203982"/>
                    <a:pt x="4598071" y="2301547"/>
                  </a:cubicBezTo>
                  <a:cubicBezTo>
                    <a:pt x="4598071" y="2301547"/>
                    <a:pt x="4598071" y="2301547"/>
                    <a:pt x="4598071" y="3886978"/>
                  </a:cubicBezTo>
                  <a:cubicBezTo>
                    <a:pt x="4598071" y="3984543"/>
                    <a:pt x="4524387" y="4057717"/>
                    <a:pt x="4426142" y="4057717"/>
                  </a:cubicBezTo>
                  <a:cubicBezTo>
                    <a:pt x="4426142" y="4057717"/>
                    <a:pt x="4426142" y="4057717"/>
                    <a:pt x="3713863" y="4057717"/>
                  </a:cubicBezTo>
                  <a:cubicBezTo>
                    <a:pt x="3615618" y="4057717"/>
                    <a:pt x="3517372" y="3984543"/>
                    <a:pt x="3517372" y="3886978"/>
                  </a:cubicBezTo>
                  <a:cubicBezTo>
                    <a:pt x="3517372" y="3886978"/>
                    <a:pt x="3517372" y="3886978"/>
                    <a:pt x="3517372" y="2301547"/>
                  </a:cubicBezTo>
                  <a:cubicBezTo>
                    <a:pt x="3517372" y="2203982"/>
                    <a:pt x="3615618" y="2130808"/>
                    <a:pt x="3713863" y="2130808"/>
                  </a:cubicBezTo>
                  <a:close/>
                  <a:moveTo>
                    <a:pt x="904368" y="1223432"/>
                  </a:moveTo>
                  <a:cubicBezTo>
                    <a:pt x="904368" y="1223432"/>
                    <a:pt x="904368" y="1223432"/>
                    <a:pt x="1609930" y="1223432"/>
                  </a:cubicBezTo>
                  <a:cubicBezTo>
                    <a:pt x="1731578" y="1223432"/>
                    <a:pt x="1804567" y="1296733"/>
                    <a:pt x="1804567" y="1394467"/>
                  </a:cubicBezTo>
                  <a:cubicBezTo>
                    <a:pt x="1804567" y="1394467"/>
                    <a:pt x="1804567" y="1394467"/>
                    <a:pt x="1804567" y="3886683"/>
                  </a:cubicBezTo>
                  <a:cubicBezTo>
                    <a:pt x="1804567" y="3984417"/>
                    <a:pt x="1731578" y="4057717"/>
                    <a:pt x="1609930" y="4057717"/>
                  </a:cubicBezTo>
                  <a:cubicBezTo>
                    <a:pt x="1609930" y="4057717"/>
                    <a:pt x="1609930" y="4057717"/>
                    <a:pt x="904368" y="4057717"/>
                  </a:cubicBezTo>
                  <a:cubicBezTo>
                    <a:pt x="807049" y="4057717"/>
                    <a:pt x="734060" y="3984417"/>
                    <a:pt x="734060" y="3886683"/>
                  </a:cubicBezTo>
                  <a:cubicBezTo>
                    <a:pt x="734060" y="3886683"/>
                    <a:pt x="734060" y="3886683"/>
                    <a:pt x="734060" y="1394467"/>
                  </a:cubicBezTo>
                  <a:cubicBezTo>
                    <a:pt x="734060" y="1296733"/>
                    <a:pt x="807049" y="1223432"/>
                    <a:pt x="904368" y="1223432"/>
                  </a:cubicBezTo>
                  <a:close/>
                  <a:moveTo>
                    <a:pt x="2325453" y="316050"/>
                  </a:moveTo>
                  <a:cubicBezTo>
                    <a:pt x="2325453" y="316050"/>
                    <a:pt x="2325453" y="316050"/>
                    <a:pt x="3031014" y="316050"/>
                  </a:cubicBezTo>
                  <a:cubicBezTo>
                    <a:pt x="3128333" y="316050"/>
                    <a:pt x="3201322" y="389416"/>
                    <a:pt x="3201322" y="487238"/>
                  </a:cubicBezTo>
                  <a:cubicBezTo>
                    <a:pt x="3201322" y="487238"/>
                    <a:pt x="3201322" y="487238"/>
                    <a:pt x="3201322" y="3886530"/>
                  </a:cubicBezTo>
                  <a:cubicBezTo>
                    <a:pt x="3201322" y="3984351"/>
                    <a:pt x="3128333" y="4057717"/>
                    <a:pt x="3031014" y="4057717"/>
                  </a:cubicBezTo>
                  <a:cubicBezTo>
                    <a:pt x="3031014" y="4057717"/>
                    <a:pt x="3031014" y="4057717"/>
                    <a:pt x="2325453" y="4057717"/>
                  </a:cubicBezTo>
                  <a:cubicBezTo>
                    <a:pt x="2203804" y="4057717"/>
                    <a:pt x="2130815" y="3984351"/>
                    <a:pt x="2130815" y="3886530"/>
                  </a:cubicBezTo>
                  <a:cubicBezTo>
                    <a:pt x="2130815" y="3886530"/>
                    <a:pt x="2130815" y="3886530"/>
                    <a:pt x="2130815" y="487238"/>
                  </a:cubicBezTo>
                  <a:cubicBezTo>
                    <a:pt x="2130815" y="389416"/>
                    <a:pt x="2203804" y="316050"/>
                    <a:pt x="2325453" y="316050"/>
                  </a:cubicBezTo>
                  <a:close/>
                  <a:moveTo>
                    <a:pt x="269155" y="0"/>
                  </a:moveTo>
                  <a:cubicBezTo>
                    <a:pt x="415967" y="0"/>
                    <a:pt x="538311" y="122239"/>
                    <a:pt x="538311" y="268927"/>
                  </a:cubicBezTo>
                  <a:cubicBezTo>
                    <a:pt x="538311" y="268927"/>
                    <a:pt x="538311" y="268927"/>
                    <a:pt x="538311" y="4253925"/>
                  </a:cubicBezTo>
                  <a:cubicBezTo>
                    <a:pt x="538311" y="4253925"/>
                    <a:pt x="538311" y="4253925"/>
                    <a:pt x="4624575" y="4253925"/>
                  </a:cubicBezTo>
                  <a:cubicBezTo>
                    <a:pt x="4771387" y="4253925"/>
                    <a:pt x="4893730" y="4376164"/>
                    <a:pt x="4893730" y="4522851"/>
                  </a:cubicBezTo>
                  <a:cubicBezTo>
                    <a:pt x="4893730" y="4669538"/>
                    <a:pt x="4771387" y="4791777"/>
                    <a:pt x="4624575" y="4791777"/>
                  </a:cubicBezTo>
                  <a:cubicBezTo>
                    <a:pt x="4624575" y="4791777"/>
                    <a:pt x="4624575" y="4791777"/>
                    <a:pt x="269155" y="4791777"/>
                  </a:cubicBezTo>
                  <a:cubicBezTo>
                    <a:pt x="122344" y="4791777"/>
                    <a:pt x="0" y="4669538"/>
                    <a:pt x="0" y="4522851"/>
                  </a:cubicBezTo>
                  <a:cubicBezTo>
                    <a:pt x="0" y="4522851"/>
                    <a:pt x="0" y="4522851"/>
                    <a:pt x="0" y="268927"/>
                  </a:cubicBezTo>
                  <a:cubicBezTo>
                    <a:pt x="0" y="122239"/>
                    <a:pt x="122344" y="0"/>
                    <a:pt x="269155"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37148" tIns="109719" rIns="137148" bIns="109719"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699261"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9" name="Rectangle 88"/>
            <p:cNvSpPr/>
            <p:nvPr/>
          </p:nvSpPr>
          <p:spPr bwMode="auto">
            <a:xfrm rot="2745734">
              <a:off x="279530" y="1141266"/>
              <a:ext cx="1260714" cy="1255193"/>
            </a:xfrm>
            <a:prstGeom prst="rect">
              <a:avLst/>
            </a:prstGeom>
            <a:solidFill>
              <a:schemeClr val="tx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0" name="Rectangle 89"/>
            <p:cNvSpPr/>
            <p:nvPr/>
          </p:nvSpPr>
          <p:spPr bwMode="auto">
            <a:xfrm rot="2745734">
              <a:off x="292433" y="3819160"/>
              <a:ext cx="1610349" cy="1235003"/>
            </a:xfrm>
            <a:prstGeom prst="rect">
              <a:avLst/>
            </a:prstGeom>
            <a:solidFill>
              <a:schemeClr val="tx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2" name="Rectangle 91"/>
            <p:cNvSpPr/>
            <p:nvPr/>
          </p:nvSpPr>
          <p:spPr bwMode="auto">
            <a:xfrm rot="2745734">
              <a:off x="1315610" y="4915701"/>
              <a:ext cx="1263370" cy="1255989"/>
            </a:xfrm>
            <a:prstGeom prst="rect">
              <a:avLst/>
            </a:prstGeom>
            <a:solidFill>
              <a:schemeClr val="tx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40" name="TextBox 39"/>
          <p:cNvSpPr txBox="1"/>
          <p:nvPr/>
        </p:nvSpPr>
        <p:spPr>
          <a:xfrm>
            <a:off x="3" y="51415"/>
            <a:ext cx="2849058" cy="430887"/>
          </a:xfrm>
          <a:prstGeom prst="rect">
            <a:avLst/>
          </a:prstGeom>
        </p:spPr>
        <p:txBody>
          <a:bodyPr wrap="square">
            <a:spAutoFit/>
          </a:bodyPr>
          <a:lstStyle>
            <a:defPPr>
              <a:defRPr lang="en-US"/>
            </a:defPPr>
            <a:lvl1pPr defTabSz="914192">
              <a:defRPr sz="2800" b="1" spc="-100">
                <a:ln w="3175">
                  <a:noFill/>
                </a:ln>
                <a:solidFill>
                  <a:srgbClr val="F2C812"/>
                </a:solidFill>
                <a:latin typeface="Segoe UI" panose="020B0502040204020203" pitchFamily="34" charset="0"/>
                <a:ea typeface="ＭＳ Ｐゴシック" charset="0"/>
                <a:cs typeface="Segoe UI" panose="020B0502040204020203" pitchFamily="34" charset="0"/>
              </a:defRPr>
            </a:lvl1pPr>
          </a:lstStyle>
          <a:p>
            <a:pPr marL="0" marR="0" lvl="0" indent="0" algn="l" defTabSz="914192" rtl="0" eaLnBrk="1" fontAlgn="auto" latinLnBrk="0" hangingPunct="1">
              <a:lnSpc>
                <a:spcPct val="100000"/>
              </a:lnSpc>
              <a:spcBef>
                <a:spcPts val="0"/>
              </a:spcBef>
              <a:spcAft>
                <a:spcPts val="0"/>
              </a:spcAft>
              <a:buClrTx/>
              <a:buSzTx/>
              <a:buFontTx/>
              <a:buNone/>
              <a:tabLst/>
              <a:defRPr/>
            </a:pPr>
            <a:r>
              <a:rPr kumimoji="0" lang="en-US" sz="2200" b="1" i="0" u="none" strike="noStrike" kern="1200" cap="none" spc="-100" normalizeH="0" baseline="0" noProof="0">
                <a:ln w="3175">
                  <a:noFill/>
                </a:ln>
                <a:solidFill>
                  <a:srgbClr val="F2C812"/>
                </a:solidFill>
                <a:effectLst/>
                <a:uLnTx/>
                <a:uFillTx/>
                <a:latin typeface="Segoe UI Light"/>
                <a:ea typeface="ＭＳ Ｐゴシック" charset="0"/>
                <a:cs typeface="Segoe UI" panose="020B0502040204020203" pitchFamily="34" charset="0"/>
              </a:rPr>
              <a:t>Power BI Desktop</a:t>
            </a:r>
          </a:p>
        </p:txBody>
      </p:sp>
      <p:sp>
        <p:nvSpPr>
          <p:cNvPr id="41" name="Rectangle 40"/>
          <p:cNvSpPr/>
          <p:nvPr/>
        </p:nvSpPr>
        <p:spPr bwMode="auto">
          <a:xfrm rot="2745734">
            <a:off x="825067" y="3494250"/>
            <a:ext cx="1260714" cy="370170"/>
          </a:xfrm>
          <a:prstGeom prst="rect">
            <a:avLst/>
          </a:prstGeom>
          <a:solidFill>
            <a:schemeClr val="tx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37" name="Picture 36" descr="A picture containing: nintendo, screenshot, abstract&#10;&#10;Description generated with very high confidence"/>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910201" y="4680253"/>
            <a:ext cx="3873500" cy="1797050"/>
          </a:xfrm>
          <a:prstGeom prst="rect">
            <a:avLst/>
          </a:prstGeom>
        </p:spPr>
      </p:pic>
      <p:sp>
        <p:nvSpPr>
          <p:cNvPr id="38" name="Rectangle 37"/>
          <p:cNvSpPr/>
          <p:nvPr/>
        </p:nvSpPr>
        <p:spPr>
          <a:xfrm>
            <a:off x="2980868" y="5184141"/>
            <a:ext cx="4676463" cy="92333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a:ea typeface="+mn-ea"/>
                <a:cs typeface="+mn-cs"/>
              </a:rPr>
              <a:t>You can use hierarchical labels by turning off the label concatenation experience in the formatting pane</a:t>
            </a:r>
          </a:p>
        </p:txBody>
      </p:sp>
      <p:sp>
        <p:nvSpPr>
          <p:cNvPr id="42" name="Rectangle 41"/>
          <p:cNvSpPr/>
          <p:nvPr/>
        </p:nvSpPr>
        <p:spPr bwMode="auto">
          <a:xfrm>
            <a:off x="9909063" y="5777525"/>
            <a:ext cx="1874638" cy="308976"/>
          </a:xfrm>
          <a:prstGeom prst="rect">
            <a:avLst/>
          </a:prstGeom>
          <a:solidFill>
            <a:srgbClr val="3AC21A">
              <a:alpha val="902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43" name="Picture 2" descr="clip_image002">
            <a:hlinkClick r:id="rId4"/>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317949" y="1506616"/>
            <a:ext cx="5936616" cy="286125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798963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solidFill>
            <a:schemeClr val="bg1"/>
          </a:solidFill>
        </p:spPr>
        <p:txBody>
          <a:bodyPr/>
          <a:lstStyle/>
          <a:p>
            <a:r>
              <a:rPr lang="en-US" sz="3600">
                <a:solidFill>
                  <a:schemeClr val="tx1"/>
                </a:solidFill>
              </a:rPr>
              <a:t>Tooltips</a:t>
            </a:r>
          </a:p>
        </p:txBody>
      </p:sp>
      <p:grpSp>
        <p:nvGrpSpPr>
          <p:cNvPr id="52" name="Group 51"/>
          <p:cNvGrpSpPr/>
          <p:nvPr/>
        </p:nvGrpSpPr>
        <p:grpSpPr>
          <a:xfrm>
            <a:off x="2" y="1"/>
            <a:ext cx="2849058" cy="6858000"/>
            <a:chOff x="2" y="1"/>
            <a:chExt cx="2849058" cy="6858000"/>
          </a:xfrm>
        </p:grpSpPr>
        <p:sp>
          <p:nvSpPr>
            <p:cNvPr id="71" name="Rectangle 70"/>
            <p:cNvSpPr/>
            <p:nvPr/>
          </p:nvSpPr>
          <p:spPr bwMode="auto">
            <a:xfrm>
              <a:off x="2" y="1"/>
              <a:ext cx="2849058"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3" name="Oval 70"/>
            <p:cNvSpPr/>
            <p:nvPr/>
          </p:nvSpPr>
          <p:spPr>
            <a:xfrm>
              <a:off x="1413521" y="4951537"/>
              <a:ext cx="1119626" cy="1119626"/>
            </a:xfrm>
            <a:prstGeom prst="ellipse">
              <a:avLst/>
            </a:prstGeom>
            <a:solidFill>
              <a:srgbClr val="F2C812"/>
            </a:solidFill>
            <a:ln w="3175" cap="flat" cmpd="sng" algn="ctr">
              <a:noFill/>
              <a:prstDash val="solid"/>
            </a:ln>
            <a:effectLst/>
          </p:spPr>
          <p:txBody>
            <a:bodyPr vert="horz" wrap="none" lIns="0" tIns="45720" rIns="0" bIns="0" rtlCol="0" anchor="t"/>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Segoe UI"/>
                  <a:ea typeface="Segoe UI" pitchFamily="34" charset="0"/>
                  <a:cs typeface="Segoe UI" pitchFamily="34" charset="0"/>
                </a:rPr>
                <a:t>Share &amp;</a:t>
              </a:r>
            </a:p>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Segoe UI"/>
                  <a:ea typeface="Segoe UI" pitchFamily="34" charset="0"/>
                  <a:cs typeface="Segoe UI" pitchFamily="34" charset="0"/>
                </a:rPr>
                <a:t>collaborate </a:t>
              </a:r>
            </a:p>
          </p:txBody>
        </p:sp>
        <p:grpSp>
          <p:nvGrpSpPr>
            <p:cNvPr id="76" name="Group 38"/>
            <p:cNvGrpSpPr>
              <a:grpSpLocks noChangeAspect="1"/>
            </p:cNvGrpSpPr>
            <p:nvPr/>
          </p:nvGrpSpPr>
          <p:grpSpPr>
            <a:xfrm>
              <a:off x="676996" y="3930692"/>
              <a:ext cx="383905" cy="351536"/>
              <a:chOff x="4363684" y="5330386"/>
              <a:chExt cx="1409956" cy="1291077"/>
            </a:xfrm>
            <a:solidFill>
              <a:srgbClr val="217346"/>
            </a:solidFill>
          </p:grpSpPr>
          <p:sp>
            <p:nvSpPr>
              <p:cNvPr id="102" name="Donut 3"/>
              <p:cNvSpPr/>
              <p:nvPr/>
            </p:nvSpPr>
            <p:spPr bwMode="auto">
              <a:xfrm>
                <a:off x="4363684" y="5330386"/>
                <a:ext cx="1409956" cy="1291077"/>
              </a:xfrm>
              <a:custGeom>
                <a:avLst/>
                <a:gdLst/>
                <a:ahLst/>
                <a:cxnLst/>
                <a:rect l="l" t="t" r="r" b="b"/>
                <a:pathLst>
                  <a:path w="1409956" h="1291077">
                    <a:moveTo>
                      <a:pt x="956401" y="78410"/>
                    </a:moveTo>
                    <a:cubicBezTo>
                      <a:pt x="747518" y="78410"/>
                      <a:pt x="578184" y="247744"/>
                      <a:pt x="578184" y="456627"/>
                    </a:cubicBezTo>
                    <a:cubicBezTo>
                      <a:pt x="578184" y="665510"/>
                      <a:pt x="747518" y="834844"/>
                      <a:pt x="956401" y="834844"/>
                    </a:cubicBezTo>
                    <a:cubicBezTo>
                      <a:pt x="1165284" y="834844"/>
                      <a:pt x="1334618" y="665510"/>
                      <a:pt x="1334618" y="456627"/>
                    </a:cubicBezTo>
                    <a:cubicBezTo>
                      <a:pt x="1334618" y="247744"/>
                      <a:pt x="1165284" y="78410"/>
                      <a:pt x="956401" y="78410"/>
                    </a:cubicBezTo>
                    <a:close/>
                    <a:moveTo>
                      <a:pt x="952756" y="0"/>
                    </a:moveTo>
                    <a:cubicBezTo>
                      <a:pt x="1205261" y="0"/>
                      <a:pt x="1409956" y="204695"/>
                      <a:pt x="1409956" y="457200"/>
                    </a:cubicBezTo>
                    <a:cubicBezTo>
                      <a:pt x="1409956" y="709705"/>
                      <a:pt x="1205261" y="914400"/>
                      <a:pt x="952756" y="914400"/>
                    </a:cubicBezTo>
                    <a:cubicBezTo>
                      <a:pt x="862133" y="914400"/>
                      <a:pt x="777669" y="888034"/>
                      <a:pt x="707132" y="841746"/>
                    </a:cubicBezTo>
                    <a:lnTo>
                      <a:pt x="136495" y="1280102"/>
                    </a:lnTo>
                    <a:cubicBezTo>
                      <a:pt x="21896" y="1327168"/>
                      <a:pt x="-44029" y="1213730"/>
                      <a:pt x="33797" y="1113182"/>
                    </a:cubicBezTo>
                    <a:lnTo>
                      <a:pt x="568587" y="703518"/>
                    </a:lnTo>
                    <a:cubicBezTo>
                      <a:pt x="522087" y="632814"/>
                      <a:pt x="495556" y="548105"/>
                      <a:pt x="495556" y="457200"/>
                    </a:cubicBezTo>
                    <a:cubicBezTo>
                      <a:pt x="495556" y="204695"/>
                      <a:pt x="700251" y="0"/>
                      <a:pt x="952756" y="0"/>
                    </a:cubicBezTo>
                    <a:close/>
                  </a:path>
                </a:pathLst>
              </a:custGeom>
              <a:grpFill/>
              <a:ln>
                <a:solidFill>
                  <a:srgbClr val="21734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sp>
            <p:nvSpPr>
              <p:cNvPr id="103" name="Rectangle 4"/>
              <p:cNvSpPr/>
              <p:nvPr/>
            </p:nvSpPr>
            <p:spPr>
              <a:xfrm>
                <a:off x="5058389" y="5528247"/>
                <a:ext cx="490885" cy="490020"/>
              </a:xfrm>
              <a:custGeom>
                <a:avLst/>
                <a:gdLst/>
                <a:ahLst/>
                <a:cxnLst/>
                <a:rect l="l" t="t" r="r" b="b"/>
                <a:pathLst>
                  <a:path w="490885" h="490020">
                    <a:moveTo>
                      <a:pt x="240752" y="0"/>
                    </a:moveTo>
                    <a:cubicBezTo>
                      <a:pt x="253961" y="11844"/>
                      <a:pt x="293310" y="49692"/>
                      <a:pt x="337332" y="92439"/>
                    </a:cubicBezTo>
                    <a:lnTo>
                      <a:pt x="328342" y="81259"/>
                    </a:lnTo>
                    <a:cubicBezTo>
                      <a:pt x="356946" y="111282"/>
                      <a:pt x="377251" y="107167"/>
                      <a:pt x="382515" y="87941"/>
                    </a:cubicBezTo>
                    <a:cubicBezTo>
                      <a:pt x="383951" y="76921"/>
                      <a:pt x="384595" y="68732"/>
                      <a:pt x="396997" y="52239"/>
                    </a:cubicBezTo>
                    <a:cubicBezTo>
                      <a:pt x="420362" y="32084"/>
                      <a:pt x="442294" y="41736"/>
                      <a:pt x="454920" y="51330"/>
                    </a:cubicBezTo>
                    <a:cubicBezTo>
                      <a:pt x="467834" y="62761"/>
                      <a:pt x="477920" y="86882"/>
                      <a:pt x="460392" y="109714"/>
                    </a:cubicBezTo>
                    <a:cubicBezTo>
                      <a:pt x="451128" y="121912"/>
                      <a:pt x="437554" y="126838"/>
                      <a:pt x="425922" y="126505"/>
                    </a:cubicBezTo>
                    <a:cubicBezTo>
                      <a:pt x="424301" y="127609"/>
                      <a:pt x="382890" y="134974"/>
                      <a:pt x="427348" y="177672"/>
                    </a:cubicBezTo>
                    <a:lnTo>
                      <a:pt x="416886" y="169735"/>
                    </a:lnTo>
                    <a:cubicBezTo>
                      <a:pt x="450207" y="202177"/>
                      <a:pt x="478424" y="229744"/>
                      <a:pt x="490885" y="241900"/>
                    </a:cubicBezTo>
                    <a:lnTo>
                      <a:pt x="417150" y="317347"/>
                    </a:lnTo>
                    <a:cubicBezTo>
                      <a:pt x="417744" y="316535"/>
                      <a:pt x="418443" y="316123"/>
                      <a:pt x="419047" y="315822"/>
                    </a:cubicBezTo>
                    <a:cubicBezTo>
                      <a:pt x="389023" y="344426"/>
                      <a:pt x="393138" y="364731"/>
                      <a:pt x="412364" y="369995"/>
                    </a:cubicBezTo>
                    <a:cubicBezTo>
                      <a:pt x="423384" y="371431"/>
                      <a:pt x="431574" y="372075"/>
                      <a:pt x="448067" y="384477"/>
                    </a:cubicBezTo>
                    <a:cubicBezTo>
                      <a:pt x="468221" y="407842"/>
                      <a:pt x="458569" y="429774"/>
                      <a:pt x="448975" y="442400"/>
                    </a:cubicBezTo>
                    <a:cubicBezTo>
                      <a:pt x="437545" y="455314"/>
                      <a:pt x="413423" y="465400"/>
                      <a:pt x="390591" y="447872"/>
                    </a:cubicBezTo>
                    <a:cubicBezTo>
                      <a:pt x="378394" y="438608"/>
                      <a:pt x="373468" y="425034"/>
                      <a:pt x="373800" y="413402"/>
                    </a:cubicBezTo>
                    <a:cubicBezTo>
                      <a:pt x="372696" y="411781"/>
                      <a:pt x="365332" y="370370"/>
                      <a:pt x="322634" y="414828"/>
                    </a:cubicBezTo>
                    <a:lnTo>
                      <a:pt x="325243" y="411388"/>
                    </a:lnTo>
                    <a:lnTo>
                      <a:pt x="248395" y="490020"/>
                    </a:lnTo>
                    <a:cubicBezTo>
                      <a:pt x="208939" y="451897"/>
                      <a:pt x="199129" y="442073"/>
                      <a:pt x="174192" y="418236"/>
                    </a:cubicBezTo>
                    <a:cubicBezTo>
                      <a:pt x="145587" y="388212"/>
                      <a:pt x="125282" y="392327"/>
                      <a:pt x="120018" y="411553"/>
                    </a:cubicBezTo>
                    <a:cubicBezTo>
                      <a:pt x="118582" y="422573"/>
                      <a:pt x="117938" y="430763"/>
                      <a:pt x="105536" y="447256"/>
                    </a:cubicBezTo>
                    <a:cubicBezTo>
                      <a:pt x="82171" y="467410"/>
                      <a:pt x="60239" y="457758"/>
                      <a:pt x="47614" y="448164"/>
                    </a:cubicBezTo>
                    <a:cubicBezTo>
                      <a:pt x="34699" y="436734"/>
                      <a:pt x="24614" y="412612"/>
                      <a:pt x="42141" y="389780"/>
                    </a:cubicBezTo>
                    <a:cubicBezTo>
                      <a:pt x="51405" y="377583"/>
                      <a:pt x="64979" y="372657"/>
                      <a:pt x="76612" y="372989"/>
                    </a:cubicBezTo>
                    <a:cubicBezTo>
                      <a:pt x="78232" y="371886"/>
                      <a:pt x="119644" y="364521"/>
                      <a:pt x="75186" y="321823"/>
                    </a:cubicBezTo>
                    <a:cubicBezTo>
                      <a:pt x="58767" y="305402"/>
                      <a:pt x="23648" y="271235"/>
                      <a:pt x="0" y="248738"/>
                    </a:cubicBezTo>
                    <a:lnTo>
                      <a:pt x="77303" y="168146"/>
                    </a:lnTo>
                    <a:cubicBezTo>
                      <a:pt x="104269" y="140313"/>
                      <a:pt x="122130" y="156409"/>
                      <a:pt x="124388" y="175543"/>
                    </a:cubicBezTo>
                    <a:cubicBezTo>
                      <a:pt x="124457" y="182466"/>
                      <a:pt x="127106" y="193106"/>
                      <a:pt x="137575" y="203052"/>
                    </a:cubicBezTo>
                    <a:cubicBezTo>
                      <a:pt x="153931" y="220277"/>
                      <a:pt x="181252" y="217451"/>
                      <a:pt x="196721" y="201951"/>
                    </a:cubicBezTo>
                    <a:cubicBezTo>
                      <a:pt x="211961" y="185740"/>
                      <a:pt x="213057" y="157882"/>
                      <a:pt x="196146" y="142797"/>
                    </a:cubicBezTo>
                    <a:cubicBezTo>
                      <a:pt x="184301" y="132637"/>
                      <a:pt x="177155" y="131453"/>
                      <a:pt x="166513" y="129894"/>
                    </a:cubicBezTo>
                    <a:cubicBezTo>
                      <a:pt x="154522" y="129013"/>
                      <a:pt x="131185" y="112953"/>
                      <a:pt x="157905" y="85228"/>
                    </a:cubicBezTo>
                    <a:close/>
                  </a:path>
                </a:pathLst>
              </a:custGeom>
              <a:grpFill/>
              <a:ln>
                <a:solidFill>
                  <a:srgbClr val="21734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grpSp>
        <p:sp>
          <p:nvSpPr>
            <p:cNvPr id="77" name="Oval 47"/>
            <p:cNvSpPr/>
            <p:nvPr/>
          </p:nvSpPr>
          <p:spPr>
            <a:xfrm>
              <a:off x="388608" y="3710471"/>
              <a:ext cx="1119626" cy="1119626"/>
            </a:xfrm>
            <a:prstGeom prst="ellipse">
              <a:avLst/>
            </a:prstGeom>
            <a:solidFill>
              <a:srgbClr val="F2C812"/>
            </a:solidFill>
            <a:ln w="3175" cap="flat" cmpd="sng" algn="ctr">
              <a:noFill/>
              <a:prstDash val="solid"/>
            </a:ln>
            <a:effectLst/>
          </p:spPr>
          <p:txBody>
            <a:bodyPr vert="horz" wrap="none" lIns="0" tIns="45720" rIns="0" bIns="0" rtlCol="0" anchor="t"/>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Segoe UI"/>
                  <a:ea typeface="Segoe UI" pitchFamily="34" charset="0"/>
                  <a:cs typeface="Segoe UI" pitchFamily="34" charset="0"/>
                </a:rPr>
                <a:t>Report</a:t>
              </a:r>
            </a:p>
          </p:txBody>
        </p:sp>
        <p:sp>
          <p:nvSpPr>
            <p:cNvPr id="78" name="Oval 950"/>
            <p:cNvSpPr/>
            <p:nvPr/>
          </p:nvSpPr>
          <p:spPr>
            <a:xfrm>
              <a:off x="388608" y="1252295"/>
              <a:ext cx="1119626" cy="1119626"/>
            </a:xfrm>
            <a:prstGeom prst="ellipse">
              <a:avLst/>
            </a:prstGeom>
            <a:solidFill>
              <a:srgbClr val="F2C812"/>
            </a:solidFill>
            <a:ln w="3175" cap="flat" cmpd="sng" algn="ctr">
              <a:noFill/>
              <a:prstDash val="solid"/>
            </a:ln>
            <a:effectLst/>
          </p:spPr>
          <p:txBody>
            <a:bodyPr vert="horz" wrap="none" lIns="0" tIns="45720" rIns="0" bIns="0" rtlCol="0" anchor="t"/>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1" i="0" u="none" strike="noStrike" kern="1200" cap="none" spc="0" normalizeH="0" baseline="0" noProof="0">
                <a:ln>
                  <a:noFill/>
                </a:ln>
                <a:solidFill>
                  <a:srgbClr val="217346"/>
                </a:solidFill>
                <a:effectLst/>
                <a:uLnTx/>
                <a:uFillTx/>
                <a:latin typeface="Segoe UI"/>
                <a:ea typeface="Segoe UI" pitchFamily="34" charset="0"/>
                <a:cs typeface="Segoe UI" pitchFamily="34" charset="0"/>
              </a:endParaRPr>
            </a:p>
          </p:txBody>
        </p:sp>
        <p:grpSp>
          <p:nvGrpSpPr>
            <p:cNvPr id="79" name="Group 78"/>
            <p:cNvGrpSpPr/>
            <p:nvPr/>
          </p:nvGrpSpPr>
          <p:grpSpPr>
            <a:xfrm>
              <a:off x="1264851" y="3482890"/>
              <a:ext cx="292254" cy="354906"/>
              <a:chOff x="1296521" y="3253388"/>
              <a:chExt cx="292254" cy="354906"/>
            </a:xfrm>
            <a:solidFill>
              <a:srgbClr val="F2C812"/>
            </a:solidFill>
          </p:grpSpPr>
          <p:sp>
            <p:nvSpPr>
              <p:cNvPr id="99" name="Isosceles Triangle 98"/>
              <p:cNvSpPr/>
              <p:nvPr/>
            </p:nvSpPr>
            <p:spPr bwMode="auto">
              <a:xfrm rot="13636515">
                <a:off x="1461362" y="328936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0" name="Isosceles Triangle 99"/>
              <p:cNvSpPr/>
              <p:nvPr/>
            </p:nvSpPr>
            <p:spPr bwMode="auto">
              <a:xfrm rot="13636515">
                <a:off x="1357669" y="338258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1" name="Isosceles Triangle 100"/>
              <p:cNvSpPr/>
              <p:nvPr/>
            </p:nvSpPr>
            <p:spPr bwMode="auto">
              <a:xfrm rot="13636515">
                <a:off x="1260548" y="3480882"/>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80" name="Group 79"/>
            <p:cNvGrpSpPr/>
            <p:nvPr/>
          </p:nvGrpSpPr>
          <p:grpSpPr>
            <a:xfrm rot="15940603">
              <a:off x="1334576" y="2204404"/>
              <a:ext cx="292254" cy="354906"/>
              <a:chOff x="1296521" y="3253388"/>
              <a:chExt cx="292254" cy="354906"/>
            </a:xfrm>
            <a:solidFill>
              <a:srgbClr val="F2C812"/>
            </a:solidFill>
          </p:grpSpPr>
          <p:sp>
            <p:nvSpPr>
              <p:cNvPr id="96" name="Isosceles Triangle 95"/>
              <p:cNvSpPr/>
              <p:nvPr/>
            </p:nvSpPr>
            <p:spPr bwMode="auto">
              <a:xfrm rot="13636515">
                <a:off x="1461362" y="328936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7" name="Isosceles Triangle 96"/>
              <p:cNvSpPr/>
              <p:nvPr/>
            </p:nvSpPr>
            <p:spPr bwMode="auto">
              <a:xfrm rot="13636515">
                <a:off x="1357669" y="338258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8" name="Isosceles Triangle 97"/>
              <p:cNvSpPr/>
              <p:nvPr/>
            </p:nvSpPr>
            <p:spPr bwMode="auto">
              <a:xfrm rot="13636515">
                <a:off x="1260548" y="3480882"/>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81" name="Group 80"/>
            <p:cNvGrpSpPr/>
            <p:nvPr/>
          </p:nvGrpSpPr>
          <p:grpSpPr>
            <a:xfrm rot="16043978">
              <a:off x="1317220" y="4717577"/>
              <a:ext cx="292254" cy="354906"/>
              <a:chOff x="1296521" y="3253388"/>
              <a:chExt cx="292254" cy="354906"/>
            </a:xfrm>
            <a:solidFill>
              <a:srgbClr val="F2C812"/>
            </a:solidFill>
          </p:grpSpPr>
          <p:sp>
            <p:nvSpPr>
              <p:cNvPr id="93" name="Isosceles Triangle 92"/>
              <p:cNvSpPr/>
              <p:nvPr/>
            </p:nvSpPr>
            <p:spPr bwMode="auto">
              <a:xfrm rot="13636515">
                <a:off x="1461362" y="328936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4" name="Isosceles Triangle 93"/>
              <p:cNvSpPr/>
              <p:nvPr/>
            </p:nvSpPr>
            <p:spPr bwMode="auto">
              <a:xfrm rot="13636515">
                <a:off x="1357669" y="338258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5" name="Isosceles Triangle 94"/>
              <p:cNvSpPr/>
              <p:nvPr/>
            </p:nvSpPr>
            <p:spPr bwMode="auto">
              <a:xfrm rot="13636515">
                <a:off x="1260548" y="3480882"/>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82" name="Oval 36"/>
            <p:cNvSpPr/>
            <p:nvPr/>
          </p:nvSpPr>
          <p:spPr>
            <a:xfrm>
              <a:off x="1413521" y="2481383"/>
              <a:ext cx="1119626" cy="1119626"/>
            </a:xfrm>
            <a:prstGeom prst="ellipse">
              <a:avLst/>
            </a:prstGeom>
            <a:solidFill>
              <a:srgbClr val="F2C812"/>
            </a:solidFill>
            <a:ln w="3175" cap="flat" cmpd="sng" algn="ctr">
              <a:noFill/>
              <a:prstDash val="solid"/>
            </a:ln>
            <a:effectLst/>
          </p:spPr>
          <p:txBody>
            <a:bodyPr vert="horz" wrap="none" lIns="0" tIns="0" rIns="0" bIns="0" rtlCol="0" anchor="t"/>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400" b="1" i="0" u="none" strike="noStrike" kern="1200" cap="none" spc="0" normalizeH="0" baseline="0" noProof="0">
                <a:ln>
                  <a:noFill/>
                </a:ln>
                <a:solidFill>
                  <a:srgbClr val="217346"/>
                </a:solidFill>
                <a:effectLst/>
                <a:uLnTx/>
                <a:uFillTx/>
                <a:latin typeface="Segoe UI"/>
                <a:ea typeface="Segoe UI" pitchFamily="34" charset="0"/>
                <a:cs typeface="Segoe UI" pitchFamily="34" charset="0"/>
              </a:endParaRPr>
            </a:p>
          </p:txBody>
        </p:sp>
        <p:sp>
          <p:nvSpPr>
            <p:cNvPr id="83" name="Donut 3"/>
            <p:cNvSpPr/>
            <p:nvPr/>
          </p:nvSpPr>
          <p:spPr bwMode="auto">
            <a:xfrm>
              <a:off x="1742065" y="3002355"/>
              <a:ext cx="383905" cy="351537"/>
            </a:xfrm>
            <a:custGeom>
              <a:avLst/>
              <a:gdLst/>
              <a:ahLst/>
              <a:cxnLst/>
              <a:rect l="l" t="t" r="r" b="b"/>
              <a:pathLst>
                <a:path w="1409956" h="1291077">
                  <a:moveTo>
                    <a:pt x="956401" y="78410"/>
                  </a:moveTo>
                  <a:cubicBezTo>
                    <a:pt x="747518" y="78410"/>
                    <a:pt x="578184" y="247744"/>
                    <a:pt x="578184" y="456627"/>
                  </a:cubicBezTo>
                  <a:cubicBezTo>
                    <a:pt x="578184" y="665510"/>
                    <a:pt x="747518" y="834844"/>
                    <a:pt x="956401" y="834844"/>
                  </a:cubicBezTo>
                  <a:cubicBezTo>
                    <a:pt x="1165284" y="834844"/>
                    <a:pt x="1334618" y="665510"/>
                    <a:pt x="1334618" y="456627"/>
                  </a:cubicBezTo>
                  <a:cubicBezTo>
                    <a:pt x="1334618" y="247744"/>
                    <a:pt x="1165284" y="78410"/>
                    <a:pt x="956401" y="78410"/>
                  </a:cubicBezTo>
                  <a:close/>
                  <a:moveTo>
                    <a:pt x="952756" y="0"/>
                  </a:moveTo>
                  <a:cubicBezTo>
                    <a:pt x="1205261" y="0"/>
                    <a:pt x="1409956" y="204695"/>
                    <a:pt x="1409956" y="457200"/>
                  </a:cubicBezTo>
                  <a:cubicBezTo>
                    <a:pt x="1409956" y="709705"/>
                    <a:pt x="1205261" y="914400"/>
                    <a:pt x="952756" y="914400"/>
                  </a:cubicBezTo>
                  <a:cubicBezTo>
                    <a:pt x="862133" y="914400"/>
                    <a:pt x="777669" y="888034"/>
                    <a:pt x="707132" y="841746"/>
                  </a:cubicBezTo>
                  <a:lnTo>
                    <a:pt x="136495" y="1280102"/>
                  </a:lnTo>
                  <a:cubicBezTo>
                    <a:pt x="21896" y="1327168"/>
                    <a:pt x="-44029" y="1213730"/>
                    <a:pt x="33797" y="1113182"/>
                  </a:cubicBezTo>
                  <a:lnTo>
                    <a:pt x="568587" y="703518"/>
                  </a:lnTo>
                  <a:cubicBezTo>
                    <a:pt x="522087" y="632814"/>
                    <a:pt x="495556" y="548105"/>
                    <a:pt x="495556" y="457200"/>
                  </a:cubicBezTo>
                  <a:cubicBezTo>
                    <a:pt x="495556" y="204695"/>
                    <a:pt x="700251" y="0"/>
                    <a:pt x="952756" y="0"/>
                  </a:cubicBezTo>
                  <a:close/>
                </a:path>
              </a:pathLst>
            </a:cu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sp>
          <p:nvSpPr>
            <p:cNvPr id="84" name="Rectangle 83"/>
            <p:cNvSpPr/>
            <p:nvPr/>
          </p:nvSpPr>
          <p:spPr>
            <a:xfrm>
              <a:off x="1600398" y="2677430"/>
              <a:ext cx="820353" cy="307777"/>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Segoe UI"/>
                  <a:ea typeface="Segoe UI" pitchFamily="34" charset="0"/>
                  <a:cs typeface="Segoe UI" pitchFamily="34" charset="0"/>
                </a:rPr>
                <a:t>Explore</a:t>
              </a:r>
              <a:endParaRPr kumimoji="0" lang="en-US" sz="1600" b="0" i="0" u="none" strike="noStrike" kern="1200" cap="none" spc="0" normalizeH="0" baseline="0" noProof="0">
                <a:ln>
                  <a:noFill/>
                </a:ln>
                <a:solidFill>
                  <a:srgbClr val="000000"/>
                </a:solidFill>
                <a:effectLst/>
                <a:uLnTx/>
                <a:uFillTx/>
                <a:latin typeface="Segoe UI"/>
                <a:ea typeface="+mn-ea"/>
                <a:cs typeface="+mn-cs"/>
              </a:endParaRPr>
            </a:p>
          </p:txBody>
        </p:sp>
        <p:sp>
          <p:nvSpPr>
            <p:cNvPr id="85" name="Rectangle 84"/>
            <p:cNvSpPr/>
            <p:nvPr/>
          </p:nvSpPr>
          <p:spPr>
            <a:xfrm>
              <a:off x="509174" y="1475232"/>
              <a:ext cx="838756" cy="307777"/>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Segoe UI"/>
                  <a:ea typeface="Segoe UI" pitchFamily="34" charset="0"/>
                  <a:cs typeface="Segoe UI" pitchFamily="34" charset="0"/>
                </a:rPr>
                <a:t>Prepare</a:t>
              </a: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86" name="Freeform 85"/>
            <p:cNvSpPr>
              <a:spLocks noChangeAspect="1"/>
            </p:cNvSpPr>
            <p:nvPr/>
          </p:nvSpPr>
          <p:spPr bwMode="black">
            <a:xfrm>
              <a:off x="1836174" y="5643069"/>
              <a:ext cx="274320" cy="284173"/>
            </a:xfrm>
            <a:custGeom>
              <a:avLst/>
              <a:gdLst>
                <a:gd name="T0" fmla="*/ 539 w 669"/>
                <a:gd name="T1" fmla="*/ 5 h 693"/>
                <a:gd name="T2" fmla="*/ 640 w 669"/>
                <a:gd name="T3" fmla="*/ 55 h 693"/>
                <a:gd name="T4" fmla="*/ 603 w 669"/>
                <a:gd name="T5" fmla="*/ 195 h 693"/>
                <a:gd name="T6" fmla="*/ 490 w 669"/>
                <a:gd name="T7" fmla="*/ 188 h 693"/>
                <a:gd name="T8" fmla="*/ 479 w 669"/>
                <a:gd name="T9" fmla="*/ 176 h 693"/>
                <a:gd name="T10" fmla="*/ 213 w 669"/>
                <a:gd name="T11" fmla="*/ 330 h 693"/>
                <a:gd name="T12" fmla="*/ 218 w 669"/>
                <a:gd name="T13" fmla="*/ 345 h 693"/>
                <a:gd name="T14" fmla="*/ 218 w 669"/>
                <a:gd name="T15" fmla="*/ 375 h 693"/>
                <a:gd name="T16" fmla="*/ 209 w 669"/>
                <a:gd name="T17" fmla="*/ 402 h 693"/>
                <a:gd name="T18" fmla="*/ 369 w 669"/>
                <a:gd name="T19" fmla="*/ 503 h 693"/>
                <a:gd name="T20" fmla="*/ 373 w 669"/>
                <a:gd name="T21" fmla="*/ 498 h 693"/>
                <a:gd name="T22" fmla="*/ 456 w 669"/>
                <a:gd name="T23" fmla="*/ 475 h 693"/>
                <a:gd name="T24" fmla="*/ 494 w 669"/>
                <a:gd name="T25" fmla="*/ 489 h 693"/>
                <a:gd name="T26" fmla="*/ 527 w 669"/>
                <a:gd name="T27" fmla="*/ 630 h 693"/>
                <a:gd name="T28" fmla="*/ 386 w 669"/>
                <a:gd name="T29" fmla="*/ 663 h 693"/>
                <a:gd name="T30" fmla="*/ 339 w 669"/>
                <a:gd name="T31" fmla="*/ 560 h 693"/>
                <a:gd name="T32" fmla="*/ 345 w 669"/>
                <a:gd name="T33" fmla="*/ 544 h 693"/>
                <a:gd name="T34" fmla="*/ 177 w 669"/>
                <a:gd name="T35" fmla="*/ 439 h 693"/>
                <a:gd name="T36" fmla="*/ 168 w 669"/>
                <a:gd name="T37" fmla="*/ 446 h 693"/>
                <a:gd name="T38" fmla="*/ 28 w 669"/>
                <a:gd name="T39" fmla="*/ 409 h 693"/>
                <a:gd name="T40" fmla="*/ 65 w 669"/>
                <a:gd name="T41" fmla="*/ 269 h 693"/>
                <a:gd name="T42" fmla="*/ 178 w 669"/>
                <a:gd name="T43" fmla="*/ 276 h 693"/>
                <a:gd name="T44" fmla="*/ 189 w 669"/>
                <a:gd name="T45" fmla="*/ 288 h 693"/>
                <a:gd name="T46" fmla="*/ 455 w 669"/>
                <a:gd name="T47" fmla="*/ 134 h 693"/>
                <a:gd name="T48" fmla="*/ 450 w 669"/>
                <a:gd name="T49" fmla="*/ 119 h 693"/>
                <a:gd name="T50" fmla="*/ 501 w 669"/>
                <a:gd name="T51" fmla="*/ 18 h 693"/>
                <a:gd name="T52" fmla="*/ 539 w 669"/>
                <a:gd name="T53" fmla="*/ 5 h 6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69" h="693">
                  <a:moveTo>
                    <a:pt x="539" y="5"/>
                  </a:moveTo>
                  <a:cubicBezTo>
                    <a:pt x="579" y="0"/>
                    <a:pt x="619" y="19"/>
                    <a:pt x="640" y="55"/>
                  </a:cubicBezTo>
                  <a:cubicBezTo>
                    <a:pt x="669" y="104"/>
                    <a:pt x="652" y="167"/>
                    <a:pt x="603" y="195"/>
                  </a:cubicBezTo>
                  <a:cubicBezTo>
                    <a:pt x="566" y="216"/>
                    <a:pt x="522" y="212"/>
                    <a:pt x="490" y="188"/>
                  </a:cubicBezTo>
                  <a:cubicBezTo>
                    <a:pt x="479" y="176"/>
                    <a:pt x="479" y="176"/>
                    <a:pt x="479" y="176"/>
                  </a:cubicBezTo>
                  <a:cubicBezTo>
                    <a:pt x="213" y="330"/>
                    <a:pt x="213" y="330"/>
                    <a:pt x="213" y="330"/>
                  </a:cubicBezTo>
                  <a:cubicBezTo>
                    <a:pt x="218" y="345"/>
                    <a:pt x="218" y="345"/>
                    <a:pt x="218" y="345"/>
                  </a:cubicBezTo>
                  <a:cubicBezTo>
                    <a:pt x="219" y="355"/>
                    <a:pt x="219" y="365"/>
                    <a:pt x="218" y="375"/>
                  </a:cubicBezTo>
                  <a:cubicBezTo>
                    <a:pt x="209" y="402"/>
                    <a:pt x="209" y="402"/>
                    <a:pt x="209" y="402"/>
                  </a:cubicBezTo>
                  <a:cubicBezTo>
                    <a:pt x="369" y="503"/>
                    <a:pt x="369" y="503"/>
                    <a:pt x="369" y="503"/>
                  </a:cubicBezTo>
                  <a:cubicBezTo>
                    <a:pt x="373" y="498"/>
                    <a:pt x="373" y="498"/>
                    <a:pt x="373" y="498"/>
                  </a:cubicBezTo>
                  <a:cubicBezTo>
                    <a:pt x="396" y="479"/>
                    <a:pt x="427" y="470"/>
                    <a:pt x="456" y="475"/>
                  </a:cubicBezTo>
                  <a:cubicBezTo>
                    <a:pt x="470" y="477"/>
                    <a:pt x="482" y="482"/>
                    <a:pt x="494" y="489"/>
                  </a:cubicBezTo>
                  <a:cubicBezTo>
                    <a:pt x="542" y="519"/>
                    <a:pt x="557" y="583"/>
                    <a:pt x="527" y="630"/>
                  </a:cubicBezTo>
                  <a:cubicBezTo>
                    <a:pt x="497" y="678"/>
                    <a:pt x="433" y="693"/>
                    <a:pt x="386" y="663"/>
                  </a:cubicBezTo>
                  <a:cubicBezTo>
                    <a:pt x="350" y="640"/>
                    <a:pt x="333" y="599"/>
                    <a:pt x="339" y="560"/>
                  </a:cubicBezTo>
                  <a:cubicBezTo>
                    <a:pt x="345" y="544"/>
                    <a:pt x="345" y="544"/>
                    <a:pt x="345" y="544"/>
                  </a:cubicBezTo>
                  <a:cubicBezTo>
                    <a:pt x="177" y="439"/>
                    <a:pt x="177" y="439"/>
                    <a:pt x="177" y="439"/>
                  </a:cubicBezTo>
                  <a:cubicBezTo>
                    <a:pt x="168" y="446"/>
                    <a:pt x="168" y="446"/>
                    <a:pt x="168" y="446"/>
                  </a:cubicBezTo>
                  <a:cubicBezTo>
                    <a:pt x="119" y="475"/>
                    <a:pt x="56" y="458"/>
                    <a:pt x="28" y="409"/>
                  </a:cubicBezTo>
                  <a:cubicBezTo>
                    <a:pt x="0" y="360"/>
                    <a:pt x="16" y="297"/>
                    <a:pt x="65" y="269"/>
                  </a:cubicBezTo>
                  <a:cubicBezTo>
                    <a:pt x="102" y="248"/>
                    <a:pt x="147" y="252"/>
                    <a:pt x="178" y="276"/>
                  </a:cubicBezTo>
                  <a:cubicBezTo>
                    <a:pt x="189" y="288"/>
                    <a:pt x="189" y="288"/>
                    <a:pt x="189" y="288"/>
                  </a:cubicBezTo>
                  <a:cubicBezTo>
                    <a:pt x="455" y="134"/>
                    <a:pt x="455" y="134"/>
                    <a:pt x="455" y="134"/>
                  </a:cubicBezTo>
                  <a:cubicBezTo>
                    <a:pt x="450" y="119"/>
                    <a:pt x="450" y="119"/>
                    <a:pt x="450" y="119"/>
                  </a:cubicBezTo>
                  <a:cubicBezTo>
                    <a:pt x="445" y="80"/>
                    <a:pt x="464" y="39"/>
                    <a:pt x="501" y="18"/>
                  </a:cubicBezTo>
                  <a:cubicBezTo>
                    <a:pt x="513" y="11"/>
                    <a:pt x="526" y="6"/>
                    <a:pt x="539" y="5"/>
                  </a:cubicBezTo>
                  <a:close/>
                </a:path>
              </a:pathLst>
            </a:custGeom>
            <a:solidFill>
              <a:schemeClr val="tx1"/>
            </a:solidFill>
            <a:ln>
              <a:noFill/>
            </a:ln>
          </p:spPr>
          <p:txBody>
            <a:bodyPr vert="horz" wrap="square" lIns="68574" tIns="34287" rIns="68574" bIns="34287"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0000"/>
                </a:solidFill>
                <a:effectLst/>
                <a:uLnTx/>
                <a:uFillTx/>
                <a:latin typeface="Segoe UI"/>
                <a:ea typeface="+mn-ea"/>
                <a:cs typeface="+mn-cs"/>
              </a:endParaRPr>
            </a:p>
          </p:txBody>
        </p:sp>
        <p:sp>
          <p:nvSpPr>
            <p:cNvPr id="87" name="Freeform 86"/>
            <p:cNvSpPr>
              <a:spLocks noChangeAspect="1" noEditPoints="1"/>
            </p:cNvSpPr>
            <p:nvPr/>
          </p:nvSpPr>
          <p:spPr bwMode="black">
            <a:xfrm>
              <a:off x="722320" y="1783009"/>
              <a:ext cx="452202" cy="366660"/>
            </a:xfrm>
            <a:custGeom>
              <a:avLst/>
              <a:gdLst>
                <a:gd name="T0" fmla="*/ 600 w 1107"/>
                <a:gd name="T1" fmla="*/ 625 h 897"/>
                <a:gd name="T2" fmla="*/ 649 w 1107"/>
                <a:gd name="T3" fmla="*/ 567 h 897"/>
                <a:gd name="T4" fmla="*/ 727 w 1107"/>
                <a:gd name="T5" fmla="*/ 482 h 897"/>
                <a:gd name="T6" fmla="*/ 601 w 1107"/>
                <a:gd name="T7" fmla="*/ 434 h 897"/>
                <a:gd name="T8" fmla="*/ 628 w 1107"/>
                <a:gd name="T9" fmla="*/ 305 h 897"/>
                <a:gd name="T10" fmla="*/ 547 w 1107"/>
                <a:gd name="T11" fmla="*/ 240 h 897"/>
                <a:gd name="T12" fmla="*/ 427 w 1107"/>
                <a:gd name="T13" fmla="*/ 287 h 897"/>
                <a:gd name="T14" fmla="*/ 368 w 1107"/>
                <a:gd name="T15" fmla="*/ 170 h 897"/>
                <a:gd name="T16" fmla="*/ 285 w 1107"/>
                <a:gd name="T17" fmla="*/ 263 h 897"/>
                <a:gd name="T18" fmla="*/ 241 w 1107"/>
                <a:gd name="T19" fmla="*/ 313 h 897"/>
                <a:gd name="T20" fmla="*/ 139 w 1107"/>
                <a:gd name="T21" fmla="*/ 281 h 897"/>
                <a:gd name="T22" fmla="*/ 79 w 1107"/>
                <a:gd name="T23" fmla="*/ 355 h 897"/>
                <a:gd name="T24" fmla="*/ 132 w 1107"/>
                <a:gd name="T25" fmla="*/ 446 h 897"/>
                <a:gd name="T26" fmla="*/ 83 w 1107"/>
                <a:gd name="T27" fmla="*/ 505 h 897"/>
                <a:gd name="T28" fmla="*/ 5 w 1107"/>
                <a:gd name="T29" fmla="*/ 590 h 897"/>
                <a:gd name="T30" fmla="*/ 132 w 1107"/>
                <a:gd name="T31" fmla="*/ 638 h 897"/>
                <a:gd name="T32" fmla="*/ 145 w 1107"/>
                <a:gd name="T33" fmla="*/ 669 h 897"/>
                <a:gd name="T34" fmla="*/ 110 w 1107"/>
                <a:gd name="T35" fmla="*/ 793 h 897"/>
                <a:gd name="T36" fmla="*/ 230 w 1107"/>
                <a:gd name="T37" fmla="*/ 781 h 897"/>
                <a:gd name="T38" fmla="*/ 306 w 1107"/>
                <a:gd name="T39" fmla="*/ 785 h 897"/>
                <a:gd name="T40" fmla="*/ 346 w 1107"/>
                <a:gd name="T41" fmla="*/ 878 h 897"/>
                <a:gd name="T42" fmla="*/ 440 w 1107"/>
                <a:gd name="T43" fmla="*/ 872 h 897"/>
                <a:gd name="T44" fmla="*/ 466 w 1107"/>
                <a:gd name="T45" fmla="*/ 764 h 897"/>
                <a:gd name="T46" fmla="*/ 539 w 1107"/>
                <a:gd name="T47" fmla="*/ 755 h 897"/>
                <a:gd name="T48" fmla="*/ 659 w 1107"/>
                <a:gd name="T49" fmla="*/ 743 h 897"/>
                <a:gd name="T50" fmla="*/ 263 w 1107"/>
                <a:gd name="T51" fmla="*/ 452 h 897"/>
                <a:gd name="T52" fmla="*/ 281 w 1107"/>
                <a:gd name="T53" fmla="*/ 633 h 897"/>
                <a:gd name="T54" fmla="*/ 1002 w 1107"/>
                <a:gd name="T55" fmla="*/ 332 h 897"/>
                <a:gd name="T56" fmla="*/ 1043 w 1107"/>
                <a:gd name="T57" fmla="*/ 304 h 897"/>
                <a:gd name="T58" fmla="*/ 1107 w 1107"/>
                <a:gd name="T59" fmla="*/ 266 h 897"/>
                <a:gd name="T60" fmla="*/ 1037 w 1107"/>
                <a:gd name="T61" fmla="*/ 213 h 897"/>
                <a:gd name="T62" fmla="*/ 1077 w 1107"/>
                <a:gd name="T63" fmla="*/ 138 h 897"/>
                <a:gd name="T64" fmla="*/ 1038 w 1107"/>
                <a:gd name="T65" fmla="*/ 83 h 897"/>
                <a:gd name="T66" fmla="*/ 956 w 1107"/>
                <a:gd name="T67" fmla="*/ 91 h 897"/>
                <a:gd name="T68" fmla="*/ 940 w 1107"/>
                <a:gd name="T69" fmla="*/ 7 h 897"/>
                <a:gd name="T70" fmla="*/ 872 w 1107"/>
                <a:gd name="T71" fmla="*/ 50 h 897"/>
                <a:gd name="T72" fmla="*/ 836 w 1107"/>
                <a:gd name="T73" fmla="*/ 74 h 897"/>
                <a:gd name="T74" fmla="*/ 778 w 1107"/>
                <a:gd name="T75" fmla="*/ 35 h 897"/>
                <a:gd name="T76" fmla="*/ 728 w 1107"/>
                <a:gd name="T77" fmla="*/ 70 h 897"/>
                <a:gd name="T78" fmla="*/ 744 w 1107"/>
                <a:gd name="T79" fmla="*/ 136 h 897"/>
                <a:gd name="T80" fmla="*/ 703 w 1107"/>
                <a:gd name="T81" fmla="*/ 164 h 897"/>
                <a:gd name="T82" fmla="*/ 640 w 1107"/>
                <a:gd name="T83" fmla="*/ 203 h 897"/>
                <a:gd name="T84" fmla="*/ 710 w 1107"/>
                <a:gd name="T85" fmla="*/ 255 h 897"/>
                <a:gd name="T86" fmla="*/ 712 w 1107"/>
                <a:gd name="T87" fmla="*/ 277 h 897"/>
                <a:gd name="T88" fmla="*/ 668 w 1107"/>
                <a:gd name="T89" fmla="*/ 347 h 897"/>
                <a:gd name="T90" fmla="*/ 745 w 1107"/>
                <a:gd name="T91" fmla="*/ 361 h 897"/>
                <a:gd name="T92" fmla="*/ 791 w 1107"/>
                <a:gd name="T93" fmla="*/ 377 h 897"/>
                <a:gd name="T94" fmla="*/ 799 w 1107"/>
                <a:gd name="T95" fmla="*/ 443 h 897"/>
                <a:gd name="T96" fmla="*/ 859 w 1107"/>
                <a:gd name="T97" fmla="*/ 456 h 897"/>
                <a:gd name="T98" fmla="*/ 894 w 1107"/>
                <a:gd name="T99" fmla="*/ 393 h 897"/>
                <a:gd name="T100" fmla="*/ 941 w 1107"/>
                <a:gd name="T101" fmla="*/ 401 h 897"/>
                <a:gd name="T102" fmla="*/ 1018 w 1107"/>
                <a:gd name="T103" fmla="*/ 415 h 897"/>
                <a:gd name="T104" fmla="*/ 825 w 1107"/>
                <a:gd name="T105" fmla="*/ 164 h 897"/>
                <a:gd name="T106" fmla="*/ 803 w 1107"/>
                <a:gd name="T107" fmla="*/ 279 h 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107" h="897">
                  <a:moveTo>
                    <a:pt x="654" y="716"/>
                  </a:moveTo>
                  <a:cubicBezTo>
                    <a:pt x="616" y="670"/>
                    <a:pt x="616" y="670"/>
                    <a:pt x="616" y="670"/>
                  </a:cubicBezTo>
                  <a:cubicBezTo>
                    <a:pt x="593" y="654"/>
                    <a:pt x="603" y="638"/>
                    <a:pt x="600" y="625"/>
                  </a:cubicBezTo>
                  <a:cubicBezTo>
                    <a:pt x="600" y="625"/>
                    <a:pt x="600" y="625"/>
                    <a:pt x="600" y="625"/>
                  </a:cubicBezTo>
                  <a:cubicBezTo>
                    <a:pt x="605" y="617"/>
                    <a:pt x="611" y="609"/>
                    <a:pt x="608" y="596"/>
                  </a:cubicBezTo>
                  <a:cubicBezTo>
                    <a:pt x="618" y="580"/>
                    <a:pt x="623" y="572"/>
                    <a:pt x="649" y="567"/>
                  </a:cubicBezTo>
                  <a:cubicBezTo>
                    <a:pt x="715" y="553"/>
                    <a:pt x="715" y="553"/>
                    <a:pt x="715" y="553"/>
                  </a:cubicBezTo>
                  <a:cubicBezTo>
                    <a:pt x="728" y="550"/>
                    <a:pt x="733" y="542"/>
                    <a:pt x="730" y="529"/>
                  </a:cubicBezTo>
                  <a:cubicBezTo>
                    <a:pt x="727" y="482"/>
                    <a:pt x="727" y="482"/>
                    <a:pt x="727" y="482"/>
                  </a:cubicBezTo>
                  <a:cubicBezTo>
                    <a:pt x="724" y="469"/>
                    <a:pt x="717" y="463"/>
                    <a:pt x="701" y="453"/>
                  </a:cubicBezTo>
                  <a:cubicBezTo>
                    <a:pt x="641" y="459"/>
                    <a:pt x="641" y="459"/>
                    <a:pt x="641" y="459"/>
                  </a:cubicBezTo>
                  <a:cubicBezTo>
                    <a:pt x="620" y="457"/>
                    <a:pt x="604" y="447"/>
                    <a:pt x="601" y="434"/>
                  </a:cubicBezTo>
                  <a:cubicBezTo>
                    <a:pt x="598" y="421"/>
                    <a:pt x="590" y="416"/>
                    <a:pt x="580" y="397"/>
                  </a:cubicBezTo>
                  <a:cubicBezTo>
                    <a:pt x="577" y="384"/>
                    <a:pt x="574" y="371"/>
                    <a:pt x="584" y="355"/>
                  </a:cubicBezTo>
                  <a:cubicBezTo>
                    <a:pt x="628" y="305"/>
                    <a:pt x="628" y="305"/>
                    <a:pt x="628" y="305"/>
                  </a:cubicBezTo>
                  <a:cubicBezTo>
                    <a:pt x="634" y="297"/>
                    <a:pt x="631" y="284"/>
                    <a:pt x="623" y="279"/>
                  </a:cubicBezTo>
                  <a:cubicBezTo>
                    <a:pt x="581" y="240"/>
                    <a:pt x="581" y="240"/>
                    <a:pt x="581" y="240"/>
                  </a:cubicBezTo>
                  <a:cubicBezTo>
                    <a:pt x="573" y="235"/>
                    <a:pt x="560" y="238"/>
                    <a:pt x="547" y="240"/>
                  </a:cubicBezTo>
                  <a:cubicBezTo>
                    <a:pt x="503" y="291"/>
                    <a:pt x="503" y="291"/>
                    <a:pt x="503" y="291"/>
                  </a:cubicBezTo>
                  <a:cubicBezTo>
                    <a:pt x="484" y="302"/>
                    <a:pt x="471" y="304"/>
                    <a:pt x="463" y="299"/>
                  </a:cubicBezTo>
                  <a:cubicBezTo>
                    <a:pt x="456" y="294"/>
                    <a:pt x="435" y="292"/>
                    <a:pt x="427" y="287"/>
                  </a:cubicBezTo>
                  <a:cubicBezTo>
                    <a:pt x="419" y="282"/>
                    <a:pt x="403" y="271"/>
                    <a:pt x="400" y="258"/>
                  </a:cubicBezTo>
                  <a:cubicBezTo>
                    <a:pt x="386" y="193"/>
                    <a:pt x="386" y="193"/>
                    <a:pt x="386" y="193"/>
                  </a:cubicBezTo>
                  <a:cubicBezTo>
                    <a:pt x="384" y="180"/>
                    <a:pt x="368" y="170"/>
                    <a:pt x="368" y="170"/>
                  </a:cubicBezTo>
                  <a:cubicBezTo>
                    <a:pt x="308" y="176"/>
                    <a:pt x="308" y="176"/>
                    <a:pt x="308" y="176"/>
                  </a:cubicBezTo>
                  <a:cubicBezTo>
                    <a:pt x="308" y="176"/>
                    <a:pt x="289" y="187"/>
                    <a:pt x="292" y="200"/>
                  </a:cubicBezTo>
                  <a:cubicBezTo>
                    <a:pt x="285" y="263"/>
                    <a:pt x="285" y="263"/>
                    <a:pt x="285" y="263"/>
                  </a:cubicBezTo>
                  <a:cubicBezTo>
                    <a:pt x="291" y="289"/>
                    <a:pt x="277" y="292"/>
                    <a:pt x="272" y="300"/>
                  </a:cubicBezTo>
                  <a:cubicBezTo>
                    <a:pt x="272" y="300"/>
                    <a:pt x="272" y="300"/>
                    <a:pt x="267" y="308"/>
                  </a:cubicBezTo>
                  <a:cubicBezTo>
                    <a:pt x="259" y="302"/>
                    <a:pt x="246" y="305"/>
                    <a:pt x="241" y="313"/>
                  </a:cubicBezTo>
                  <a:cubicBezTo>
                    <a:pt x="236" y="321"/>
                    <a:pt x="236" y="321"/>
                    <a:pt x="236" y="321"/>
                  </a:cubicBezTo>
                  <a:cubicBezTo>
                    <a:pt x="223" y="324"/>
                    <a:pt x="210" y="327"/>
                    <a:pt x="194" y="317"/>
                  </a:cubicBezTo>
                  <a:cubicBezTo>
                    <a:pt x="139" y="281"/>
                    <a:pt x="139" y="281"/>
                    <a:pt x="139" y="281"/>
                  </a:cubicBezTo>
                  <a:cubicBezTo>
                    <a:pt x="131" y="276"/>
                    <a:pt x="110" y="273"/>
                    <a:pt x="104" y="281"/>
                  </a:cubicBezTo>
                  <a:cubicBezTo>
                    <a:pt x="79" y="321"/>
                    <a:pt x="79" y="321"/>
                    <a:pt x="79" y="321"/>
                  </a:cubicBezTo>
                  <a:cubicBezTo>
                    <a:pt x="66" y="324"/>
                    <a:pt x="68" y="337"/>
                    <a:pt x="79" y="355"/>
                  </a:cubicBezTo>
                  <a:cubicBezTo>
                    <a:pt x="121" y="394"/>
                    <a:pt x="121" y="394"/>
                    <a:pt x="121" y="394"/>
                  </a:cubicBezTo>
                  <a:cubicBezTo>
                    <a:pt x="140" y="417"/>
                    <a:pt x="135" y="425"/>
                    <a:pt x="132" y="446"/>
                  </a:cubicBezTo>
                  <a:cubicBezTo>
                    <a:pt x="132" y="446"/>
                    <a:pt x="132" y="446"/>
                    <a:pt x="132" y="446"/>
                  </a:cubicBezTo>
                  <a:cubicBezTo>
                    <a:pt x="127" y="454"/>
                    <a:pt x="122" y="462"/>
                    <a:pt x="117" y="470"/>
                  </a:cubicBezTo>
                  <a:cubicBezTo>
                    <a:pt x="117" y="470"/>
                    <a:pt x="117" y="470"/>
                    <a:pt x="117" y="470"/>
                  </a:cubicBezTo>
                  <a:cubicBezTo>
                    <a:pt x="120" y="483"/>
                    <a:pt x="109" y="499"/>
                    <a:pt x="83" y="505"/>
                  </a:cubicBezTo>
                  <a:cubicBezTo>
                    <a:pt x="23" y="511"/>
                    <a:pt x="23" y="511"/>
                    <a:pt x="23" y="511"/>
                  </a:cubicBezTo>
                  <a:cubicBezTo>
                    <a:pt x="10" y="514"/>
                    <a:pt x="0" y="529"/>
                    <a:pt x="2" y="543"/>
                  </a:cubicBezTo>
                  <a:cubicBezTo>
                    <a:pt x="5" y="590"/>
                    <a:pt x="5" y="590"/>
                    <a:pt x="5" y="590"/>
                  </a:cubicBezTo>
                  <a:cubicBezTo>
                    <a:pt x="8" y="603"/>
                    <a:pt x="16" y="608"/>
                    <a:pt x="37" y="610"/>
                  </a:cubicBezTo>
                  <a:cubicBezTo>
                    <a:pt x="92" y="612"/>
                    <a:pt x="92" y="612"/>
                    <a:pt x="92" y="612"/>
                  </a:cubicBezTo>
                  <a:cubicBezTo>
                    <a:pt x="113" y="614"/>
                    <a:pt x="129" y="625"/>
                    <a:pt x="132" y="638"/>
                  </a:cubicBezTo>
                  <a:cubicBezTo>
                    <a:pt x="132" y="638"/>
                    <a:pt x="132" y="638"/>
                    <a:pt x="132" y="638"/>
                  </a:cubicBezTo>
                  <a:cubicBezTo>
                    <a:pt x="140" y="643"/>
                    <a:pt x="142" y="656"/>
                    <a:pt x="150" y="661"/>
                  </a:cubicBezTo>
                  <a:cubicBezTo>
                    <a:pt x="145" y="669"/>
                    <a:pt x="145" y="669"/>
                    <a:pt x="145" y="669"/>
                  </a:cubicBezTo>
                  <a:cubicBezTo>
                    <a:pt x="153" y="674"/>
                    <a:pt x="156" y="687"/>
                    <a:pt x="140" y="711"/>
                  </a:cubicBezTo>
                  <a:cubicBezTo>
                    <a:pt x="109" y="759"/>
                    <a:pt x="109" y="759"/>
                    <a:pt x="109" y="759"/>
                  </a:cubicBezTo>
                  <a:cubicBezTo>
                    <a:pt x="99" y="775"/>
                    <a:pt x="102" y="788"/>
                    <a:pt x="110" y="793"/>
                  </a:cubicBezTo>
                  <a:cubicBezTo>
                    <a:pt x="152" y="832"/>
                    <a:pt x="152" y="832"/>
                    <a:pt x="152" y="832"/>
                  </a:cubicBezTo>
                  <a:cubicBezTo>
                    <a:pt x="160" y="837"/>
                    <a:pt x="173" y="834"/>
                    <a:pt x="178" y="826"/>
                  </a:cubicBezTo>
                  <a:cubicBezTo>
                    <a:pt x="230" y="781"/>
                    <a:pt x="230" y="781"/>
                    <a:pt x="230" y="781"/>
                  </a:cubicBezTo>
                  <a:cubicBezTo>
                    <a:pt x="248" y="770"/>
                    <a:pt x="261" y="767"/>
                    <a:pt x="269" y="772"/>
                  </a:cubicBezTo>
                  <a:cubicBezTo>
                    <a:pt x="269" y="772"/>
                    <a:pt x="269" y="772"/>
                    <a:pt x="269" y="772"/>
                  </a:cubicBezTo>
                  <a:cubicBezTo>
                    <a:pt x="282" y="769"/>
                    <a:pt x="298" y="779"/>
                    <a:pt x="306" y="785"/>
                  </a:cubicBezTo>
                  <a:cubicBezTo>
                    <a:pt x="306" y="785"/>
                    <a:pt x="306" y="785"/>
                    <a:pt x="306" y="785"/>
                  </a:cubicBezTo>
                  <a:cubicBezTo>
                    <a:pt x="319" y="782"/>
                    <a:pt x="327" y="787"/>
                    <a:pt x="332" y="813"/>
                  </a:cubicBezTo>
                  <a:cubicBezTo>
                    <a:pt x="346" y="878"/>
                    <a:pt x="346" y="878"/>
                    <a:pt x="346" y="878"/>
                  </a:cubicBezTo>
                  <a:cubicBezTo>
                    <a:pt x="349" y="892"/>
                    <a:pt x="357" y="897"/>
                    <a:pt x="370" y="894"/>
                  </a:cubicBezTo>
                  <a:cubicBezTo>
                    <a:pt x="425" y="896"/>
                    <a:pt x="425" y="896"/>
                    <a:pt x="425" y="896"/>
                  </a:cubicBezTo>
                  <a:cubicBezTo>
                    <a:pt x="430" y="888"/>
                    <a:pt x="443" y="885"/>
                    <a:pt x="440" y="872"/>
                  </a:cubicBezTo>
                  <a:cubicBezTo>
                    <a:pt x="440" y="804"/>
                    <a:pt x="440" y="804"/>
                    <a:pt x="440" y="804"/>
                  </a:cubicBezTo>
                  <a:cubicBezTo>
                    <a:pt x="442" y="783"/>
                    <a:pt x="460" y="772"/>
                    <a:pt x="466" y="764"/>
                  </a:cubicBezTo>
                  <a:cubicBezTo>
                    <a:pt x="466" y="764"/>
                    <a:pt x="466" y="764"/>
                    <a:pt x="466" y="764"/>
                  </a:cubicBezTo>
                  <a:cubicBezTo>
                    <a:pt x="479" y="761"/>
                    <a:pt x="492" y="758"/>
                    <a:pt x="497" y="750"/>
                  </a:cubicBezTo>
                  <a:cubicBezTo>
                    <a:pt x="497" y="750"/>
                    <a:pt x="497" y="750"/>
                    <a:pt x="497" y="750"/>
                  </a:cubicBezTo>
                  <a:cubicBezTo>
                    <a:pt x="510" y="747"/>
                    <a:pt x="523" y="745"/>
                    <a:pt x="539" y="755"/>
                  </a:cubicBezTo>
                  <a:cubicBezTo>
                    <a:pt x="594" y="791"/>
                    <a:pt x="594" y="791"/>
                    <a:pt x="594" y="791"/>
                  </a:cubicBezTo>
                  <a:cubicBezTo>
                    <a:pt x="602" y="796"/>
                    <a:pt x="623" y="798"/>
                    <a:pt x="628" y="790"/>
                  </a:cubicBezTo>
                  <a:cubicBezTo>
                    <a:pt x="659" y="743"/>
                    <a:pt x="659" y="743"/>
                    <a:pt x="659" y="743"/>
                  </a:cubicBezTo>
                  <a:cubicBezTo>
                    <a:pt x="659" y="743"/>
                    <a:pt x="669" y="727"/>
                    <a:pt x="654" y="716"/>
                  </a:cubicBezTo>
                  <a:close/>
                  <a:moveTo>
                    <a:pt x="281" y="633"/>
                  </a:moveTo>
                  <a:cubicBezTo>
                    <a:pt x="223" y="584"/>
                    <a:pt x="219" y="502"/>
                    <a:pt x="263" y="452"/>
                  </a:cubicBezTo>
                  <a:cubicBezTo>
                    <a:pt x="313" y="393"/>
                    <a:pt x="399" y="382"/>
                    <a:pt x="457" y="431"/>
                  </a:cubicBezTo>
                  <a:cubicBezTo>
                    <a:pt x="507" y="475"/>
                    <a:pt x="518" y="561"/>
                    <a:pt x="469" y="619"/>
                  </a:cubicBezTo>
                  <a:cubicBezTo>
                    <a:pt x="420" y="678"/>
                    <a:pt x="339" y="682"/>
                    <a:pt x="281" y="633"/>
                  </a:cubicBezTo>
                  <a:close/>
                  <a:moveTo>
                    <a:pt x="1019" y="398"/>
                  </a:moveTo>
                  <a:cubicBezTo>
                    <a:pt x="1004" y="362"/>
                    <a:pt x="1004" y="362"/>
                    <a:pt x="1004" y="362"/>
                  </a:cubicBezTo>
                  <a:cubicBezTo>
                    <a:pt x="992" y="348"/>
                    <a:pt x="1002" y="340"/>
                    <a:pt x="1002" y="332"/>
                  </a:cubicBezTo>
                  <a:cubicBezTo>
                    <a:pt x="1002" y="332"/>
                    <a:pt x="1002" y="332"/>
                    <a:pt x="1002" y="332"/>
                  </a:cubicBezTo>
                  <a:cubicBezTo>
                    <a:pt x="1007" y="328"/>
                    <a:pt x="1011" y="324"/>
                    <a:pt x="1012" y="315"/>
                  </a:cubicBezTo>
                  <a:cubicBezTo>
                    <a:pt x="1021" y="307"/>
                    <a:pt x="1026" y="303"/>
                    <a:pt x="1043" y="304"/>
                  </a:cubicBezTo>
                  <a:cubicBezTo>
                    <a:pt x="1086" y="307"/>
                    <a:pt x="1086" y="307"/>
                    <a:pt x="1086" y="307"/>
                  </a:cubicBezTo>
                  <a:cubicBezTo>
                    <a:pt x="1095" y="308"/>
                    <a:pt x="1099" y="304"/>
                    <a:pt x="1100" y="295"/>
                  </a:cubicBezTo>
                  <a:cubicBezTo>
                    <a:pt x="1107" y="266"/>
                    <a:pt x="1107" y="266"/>
                    <a:pt x="1107" y="266"/>
                  </a:cubicBezTo>
                  <a:cubicBezTo>
                    <a:pt x="1107" y="257"/>
                    <a:pt x="1103" y="252"/>
                    <a:pt x="1095" y="243"/>
                  </a:cubicBezTo>
                  <a:cubicBezTo>
                    <a:pt x="1057" y="236"/>
                    <a:pt x="1057" y="236"/>
                    <a:pt x="1057" y="236"/>
                  </a:cubicBezTo>
                  <a:cubicBezTo>
                    <a:pt x="1044" y="231"/>
                    <a:pt x="1036" y="222"/>
                    <a:pt x="1037" y="213"/>
                  </a:cubicBezTo>
                  <a:cubicBezTo>
                    <a:pt x="1038" y="205"/>
                    <a:pt x="1034" y="200"/>
                    <a:pt x="1030" y="187"/>
                  </a:cubicBezTo>
                  <a:cubicBezTo>
                    <a:pt x="1031" y="178"/>
                    <a:pt x="1032" y="170"/>
                    <a:pt x="1041" y="162"/>
                  </a:cubicBezTo>
                  <a:cubicBezTo>
                    <a:pt x="1077" y="138"/>
                    <a:pt x="1077" y="138"/>
                    <a:pt x="1077" y="138"/>
                  </a:cubicBezTo>
                  <a:cubicBezTo>
                    <a:pt x="1082" y="134"/>
                    <a:pt x="1083" y="126"/>
                    <a:pt x="1079" y="121"/>
                  </a:cubicBezTo>
                  <a:cubicBezTo>
                    <a:pt x="1059" y="89"/>
                    <a:pt x="1059" y="89"/>
                    <a:pt x="1059" y="89"/>
                  </a:cubicBezTo>
                  <a:cubicBezTo>
                    <a:pt x="1055" y="85"/>
                    <a:pt x="1047" y="84"/>
                    <a:pt x="1038" y="83"/>
                  </a:cubicBezTo>
                  <a:cubicBezTo>
                    <a:pt x="1002" y="107"/>
                    <a:pt x="1002" y="107"/>
                    <a:pt x="1002" y="107"/>
                  </a:cubicBezTo>
                  <a:cubicBezTo>
                    <a:pt x="989" y="110"/>
                    <a:pt x="980" y="110"/>
                    <a:pt x="976" y="105"/>
                  </a:cubicBezTo>
                  <a:cubicBezTo>
                    <a:pt x="972" y="100"/>
                    <a:pt x="960" y="95"/>
                    <a:pt x="956" y="91"/>
                  </a:cubicBezTo>
                  <a:cubicBezTo>
                    <a:pt x="952" y="86"/>
                    <a:pt x="944" y="77"/>
                    <a:pt x="944" y="68"/>
                  </a:cubicBezTo>
                  <a:cubicBezTo>
                    <a:pt x="948" y="25"/>
                    <a:pt x="948" y="25"/>
                    <a:pt x="948" y="25"/>
                  </a:cubicBezTo>
                  <a:cubicBezTo>
                    <a:pt x="948" y="17"/>
                    <a:pt x="940" y="7"/>
                    <a:pt x="940" y="7"/>
                  </a:cubicBezTo>
                  <a:cubicBezTo>
                    <a:pt x="902" y="0"/>
                    <a:pt x="902" y="0"/>
                    <a:pt x="902" y="0"/>
                  </a:cubicBezTo>
                  <a:cubicBezTo>
                    <a:pt x="902" y="0"/>
                    <a:pt x="889" y="4"/>
                    <a:pt x="888" y="12"/>
                  </a:cubicBezTo>
                  <a:cubicBezTo>
                    <a:pt x="872" y="50"/>
                    <a:pt x="872" y="50"/>
                    <a:pt x="872" y="50"/>
                  </a:cubicBezTo>
                  <a:cubicBezTo>
                    <a:pt x="871" y="67"/>
                    <a:pt x="862" y="67"/>
                    <a:pt x="858" y="71"/>
                  </a:cubicBezTo>
                  <a:cubicBezTo>
                    <a:pt x="858" y="71"/>
                    <a:pt x="858" y="71"/>
                    <a:pt x="853" y="75"/>
                  </a:cubicBezTo>
                  <a:cubicBezTo>
                    <a:pt x="849" y="70"/>
                    <a:pt x="840" y="70"/>
                    <a:pt x="836" y="74"/>
                  </a:cubicBezTo>
                  <a:cubicBezTo>
                    <a:pt x="831" y="78"/>
                    <a:pt x="831" y="78"/>
                    <a:pt x="831" y="78"/>
                  </a:cubicBezTo>
                  <a:cubicBezTo>
                    <a:pt x="822" y="77"/>
                    <a:pt x="814" y="76"/>
                    <a:pt x="806" y="67"/>
                  </a:cubicBezTo>
                  <a:cubicBezTo>
                    <a:pt x="778" y="35"/>
                    <a:pt x="778" y="35"/>
                    <a:pt x="778" y="35"/>
                  </a:cubicBezTo>
                  <a:cubicBezTo>
                    <a:pt x="774" y="30"/>
                    <a:pt x="762" y="25"/>
                    <a:pt x="757" y="29"/>
                  </a:cubicBezTo>
                  <a:cubicBezTo>
                    <a:pt x="734" y="49"/>
                    <a:pt x="734" y="49"/>
                    <a:pt x="734" y="49"/>
                  </a:cubicBezTo>
                  <a:cubicBezTo>
                    <a:pt x="725" y="49"/>
                    <a:pt x="725" y="57"/>
                    <a:pt x="728" y="70"/>
                  </a:cubicBezTo>
                  <a:cubicBezTo>
                    <a:pt x="747" y="102"/>
                    <a:pt x="747" y="102"/>
                    <a:pt x="747" y="102"/>
                  </a:cubicBezTo>
                  <a:cubicBezTo>
                    <a:pt x="754" y="120"/>
                    <a:pt x="750" y="124"/>
                    <a:pt x="744" y="136"/>
                  </a:cubicBezTo>
                  <a:cubicBezTo>
                    <a:pt x="744" y="136"/>
                    <a:pt x="744" y="136"/>
                    <a:pt x="744" y="136"/>
                  </a:cubicBezTo>
                  <a:cubicBezTo>
                    <a:pt x="740" y="140"/>
                    <a:pt x="735" y="144"/>
                    <a:pt x="731" y="148"/>
                  </a:cubicBezTo>
                  <a:cubicBezTo>
                    <a:pt x="731" y="148"/>
                    <a:pt x="731" y="148"/>
                    <a:pt x="731" y="148"/>
                  </a:cubicBezTo>
                  <a:cubicBezTo>
                    <a:pt x="730" y="157"/>
                    <a:pt x="721" y="165"/>
                    <a:pt x="703" y="164"/>
                  </a:cubicBezTo>
                  <a:cubicBezTo>
                    <a:pt x="665" y="157"/>
                    <a:pt x="665" y="157"/>
                    <a:pt x="665" y="157"/>
                  </a:cubicBezTo>
                  <a:cubicBezTo>
                    <a:pt x="656" y="156"/>
                    <a:pt x="647" y="164"/>
                    <a:pt x="647" y="173"/>
                  </a:cubicBezTo>
                  <a:cubicBezTo>
                    <a:pt x="640" y="203"/>
                    <a:pt x="640" y="203"/>
                    <a:pt x="640" y="203"/>
                  </a:cubicBezTo>
                  <a:cubicBezTo>
                    <a:pt x="639" y="211"/>
                    <a:pt x="643" y="216"/>
                    <a:pt x="656" y="221"/>
                  </a:cubicBezTo>
                  <a:cubicBezTo>
                    <a:pt x="690" y="232"/>
                    <a:pt x="690" y="232"/>
                    <a:pt x="690" y="232"/>
                  </a:cubicBezTo>
                  <a:cubicBezTo>
                    <a:pt x="702" y="237"/>
                    <a:pt x="710" y="246"/>
                    <a:pt x="710" y="255"/>
                  </a:cubicBezTo>
                  <a:cubicBezTo>
                    <a:pt x="710" y="255"/>
                    <a:pt x="710" y="255"/>
                    <a:pt x="710" y="255"/>
                  </a:cubicBezTo>
                  <a:cubicBezTo>
                    <a:pt x="714" y="260"/>
                    <a:pt x="713" y="268"/>
                    <a:pt x="717" y="273"/>
                  </a:cubicBezTo>
                  <a:cubicBezTo>
                    <a:pt x="712" y="277"/>
                    <a:pt x="712" y="277"/>
                    <a:pt x="712" y="277"/>
                  </a:cubicBezTo>
                  <a:cubicBezTo>
                    <a:pt x="716" y="281"/>
                    <a:pt x="716" y="290"/>
                    <a:pt x="702" y="302"/>
                  </a:cubicBezTo>
                  <a:cubicBezTo>
                    <a:pt x="674" y="326"/>
                    <a:pt x="674" y="326"/>
                    <a:pt x="674" y="326"/>
                  </a:cubicBezTo>
                  <a:cubicBezTo>
                    <a:pt x="665" y="334"/>
                    <a:pt x="664" y="343"/>
                    <a:pt x="668" y="347"/>
                  </a:cubicBezTo>
                  <a:cubicBezTo>
                    <a:pt x="687" y="379"/>
                    <a:pt x="687" y="379"/>
                    <a:pt x="687" y="379"/>
                  </a:cubicBezTo>
                  <a:cubicBezTo>
                    <a:pt x="691" y="383"/>
                    <a:pt x="700" y="384"/>
                    <a:pt x="704" y="380"/>
                  </a:cubicBezTo>
                  <a:cubicBezTo>
                    <a:pt x="745" y="361"/>
                    <a:pt x="745" y="361"/>
                    <a:pt x="745" y="361"/>
                  </a:cubicBezTo>
                  <a:cubicBezTo>
                    <a:pt x="758" y="358"/>
                    <a:pt x="767" y="358"/>
                    <a:pt x="771" y="363"/>
                  </a:cubicBezTo>
                  <a:cubicBezTo>
                    <a:pt x="771" y="363"/>
                    <a:pt x="771" y="363"/>
                    <a:pt x="771" y="363"/>
                  </a:cubicBezTo>
                  <a:cubicBezTo>
                    <a:pt x="779" y="364"/>
                    <a:pt x="787" y="373"/>
                    <a:pt x="791" y="377"/>
                  </a:cubicBezTo>
                  <a:cubicBezTo>
                    <a:pt x="791" y="377"/>
                    <a:pt x="791" y="377"/>
                    <a:pt x="791" y="377"/>
                  </a:cubicBezTo>
                  <a:cubicBezTo>
                    <a:pt x="800" y="378"/>
                    <a:pt x="804" y="383"/>
                    <a:pt x="802" y="400"/>
                  </a:cubicBezTo>
                  <a:cubicBezTo>
                    <a:pt x="799" y="443"/>
                    <a:pt x="799" y="443"/>
                    <a:pt x="799" y="443"/>
                  </a:cubicBezTo>
                  <a:cubicBezTo>
                    <a:pt x="798" y="451"/>
                    <a:pt x="802" y="456"/>
                    <a:pt x="811" y="457"/>
                  </a:cubicBezTo>
                  <a:cubicBezTo>
                    <a:pt x="845" y="468"/>
                    <a:pt x="845" y="468"/>
                    <a:pt x="845" y="468"/>
                  </a:cubicBezTo>
                  <a:cubicBezTo>
                    <a:pt x="849" y="464"/>
                    <a:pt x="858" y="464"/>
                    <a:pt x="859" y="456"/>
                  </a:cubicBezTo>
                  <a:cubicBezTo>
                    <a:pt x="871" y="413"/>
                    <a:pt x="871" y="413"/>
                    <a:pt x="871" y="413"/>
                  </a:cubicBezTo>
                  <a:cubicBezTo>
                    <a:pt x="876" y="401"/>
                    <a:pt x="889" y="397"/>
                    <a:pt x="894" y="393"/>
                  </a:cubicBezTo>
                  <a:cubicBezTo>
                    <a:pt x="894" y="393"/>
                    <a:pt x="894" y="393"/>
                    <a:pt x="894" y="393"/>
                  </a:cubicBezTo>
                  <a:cubicBezTo>
                    <a:pt x="902" y="394"/>
                    <a:pt x="911" y="395"/>
                    <a:pt x="916" y="391"/>
                  </a:cubicBezTo>
                  <a:cubicBezTo>
                    <a:pt x="916" y="391"/>
                    <a:pt x="916" y="391"/>
                    <a:pt x="916" y="391"/>
                  </a:cubicBezTo>
                  <a:cubicBezTo>
                    <a:pt x="924" y="391"/>
                    <a:pt x="933" y="392"/>
                    <a:pt x="941" y="401"/>
                  </a:cubicBezTo>
                  <a:cubicBezTo>
                    <a:pt x="969" y="433"/>
                    <a:pt x="969" y="433"/>
                    <a:pt x="969" y="433"/>
                  </a:cubicBezTo>
                  <a:cubicBezTo>
                    <a:pt x="973" y="438"/>
                    <a:pt x="985" y="443"/>
                    <a:pt x="990" y="439"/>
                  </a:cubicBezTo>
                  <a:cubicBezTo>
                    <a:pt x="1018" y="415"/>
                    <a:pt x="1018" y="415"/>
                    <a:pt x="1018" y="415"/>
                  </a:cubicBezTo>
                  <a:cubicBezTo>
                    <a:pt x="1018" y="415"/>
                    <a:pt x="1027" y="407"/>
                    <a:pt x="1019" y="398"/>
                  </a:cubicBezTo>
                  <a:close/>
                  <a:moveTo>
                    <a:pt x="803" y="279"/>
                  </a:moveTo>
                  <a:cubicBezTo>
                    <a:pt x="776" y="238"/>
                    <a:pt x="788" y="187"/>
                    <a:pt x="825" y="164"/>
                  </a:cubicBezTo>
                  <a:cubicBezTo>
                    <a:pt x="866" y="136"/>
                    <a:pt x="921" y="144"/>
                    <a:pt x="948" y="185"/>
                  </a:cubicBezTo>
                  <a:cubicBezTo>
                    <a:pt x="972" y="221"/>
                    <a:pt x="963" y="277"/>
                    <a:pt x="922" y="304"/>
                  </a:cubicBezTo>
                  <a:cubicBezTo>
                    <a:pt x="881" y="332"/>
                    <a:pt x="830" y="320"/>
                    <a:pt x="803" y="279"/>
                  </a:cubicBezTo>
                  <a:close/>
                </a:path>
              </a:pathLst>
            </a:custGeom>
            <a:solidFill>
              <a:schemeClr val="tx1"/>
            </a:solidFill>
            <a:ln>
              <a:noFill/>
            </a:ln>
          </p:spPr>
          <p:txBody>
            <a:bodyPr vert="horz" wrap="square" lIns="68574" tIns="34287" rIns="68574" bIns="34287"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17346"/>
                </a:solidFill>
                <a:effectLst/>
                <a:uLnTx/>
                <a:uFillTx/>
                <a:latin typeface="Segoe UI"/>
                <a:ea typeface="+mn-ea"/>
                <a:cs typeface="+mn-cs"/>
              </a:endParaRPr>
            </a:p>
          </p:txBody>
        </p:sp>
        <p:sp>
          <p:nvSpPr>
            <p:cNvPr id="88" name="Freeform 87"/>
            <p:cNvSpPr>
              <a:spLocks noChangeAspect="1"/>
            </p:cNvSpPr>
            <p:nvPr/>
          </p:nvSpPr>
          <p:spPr bwMode="black">
            <a:xfrm>
              <a:off x="776985" y="4213905"/>
              <a:ext cx="342871" cy="335728"/>
            </a:xfrm>
            <a:custGeom>
              <a:avLst/>
              <a:gdLst>
                <a:gd name="connsiteX0" fmla="*/ 3713863 w 4893730"/>
                <a:gd name="connsiteY0" fmla="*/ 2130808 h 4791777"/>
                <a:gd name="connsiteX1" fmla="*/ 4426142 w 4893730"/>
                <a:gd name="connsiteY1" fmla="*/ 2130808 h 4791777"/>
                <a:gd name="connsiteX2" fmla="*/ 4598071 w 4893730"/>
                <a:gd name="connsiteY2" fmla="*/ 2301547 h 4791777"/>
                <a:gd name="connsiteX3" fmla="*/ 4598071 w 4893730"/>
                <a:gd name="connsiteY3" fmla="*/ 3886978 h 4791777"/>
                <a:gd name="connsiteX4" fmla="*/ 4426142 w 4893730"/>
                <a:gd name="connsiteY4" fmla="*/ 4057717 h 4791777"/>
                <a:gd name="connsiteX5" fmla="*/ 3713863 w 4893730"/>
                <a:gd name="connsiteY5" fmla="*/ 4057717 h 4791777"/>
                <a:gd name="connsiteX6" fmla="*/ 3517372 w 4893730"/>
                <a:gd name="connsiteY6" fmla="*/ 3886978 h 4791777"/>
                <a:gd name="connsiteX7" fmla="*/ 3517372 w 4893730"/>
                <a:gd name="connsiteY7" fmla="*/ 2301547 h 4791777"/>
                <a:gd name="connsiteX8" fmla="*/ 3713863 w 4893730"/>
                <a:gd name="connsiteY8" fmla="*/ 2130808 h 4791777"/>
                <a:gd name="connsiteX9" fmla="*/ 904368 w 4893730"/>
                <a:gd name="connsiteY9" fmla="*/ 1223432 h 4791777"/>
                <a:gd name="connsiteX10" fmla="*/ 1609930 w 4893730"/>
                <a:gd name="connsiteY10" fmla="*/ 1223432 h 4791777"/>
                <a:gd name="connsiteX11" fmla="*/ 1804567 w 4893730"/>
                <a:gd name="connsiteY11" fmla="*/ 1394467 h 4791777"/>
                <a:gd name="connsiteX12" fmla="*/ 1804567 w 4893730"/>
                <a:gd name="connsiteY12" fmla="*/ 3886683 h 4791777"/>
                <a:gd name="connsiteX13" fmla="*/ 1609930 w 4893730"/>
                <a:gd name="connsiteY13" fmla="*/ 4057717 h 4791777"/>
                <a:gd name="connsiteX14" fmla="*/ 904368 w 4893730"/>
                <a:gd name="connsiteY14" fmla="*/ 4057717 h 4791777"/>
                <a:gd name="connsiteX15" fmla="*/ 734060 w 4893730"/>
                <a:gd name="connsiteY15" fmla="*/ 3886683 h 4791777"/>
                <a:gd name="connsiteX16" fmla="*/ 734060 w 4893730"/>
                <a:gd name="connsiteY16" fmla="*/ 1394467 h 4791777"/>
                <a:gd name="connsiteX17" fmla="*/ 904368 w 4893730"/>
                <a:gd name="connsiteY17" fmla="*/ 1223432 h 4791777"/>
                <a:gd name="connsiteX18" fmla="*/ 2325453 w 4893730"/>
                <a:gd name="connsiteY18" fmla="*/ 316050 h 4791777"/>
                <a:gd name="connsiteX19" fmla="*/ 3031014 w 4893730"/>
                <a:gd name="connsiteY19" fmla="*/ 316050 h 4791777"/>
                <a:gd name="connsiteX20" fmla="*/ 3201322 w 4893730"/>
                <a:gd name="connsiteY20" fmla="*/ 487238 h 4791777"/>
                <a:gd name="connsiteX21" fmla="*/ 3201322 w 4893730"/>
                <a:gd name="connsiteY21" fmla="*/ 3886530 h 4791777"/>
                <a:gd name="connsiteX22" fmla="*/ 3031014 w 4893730"/>
                <a:gd name="connsiteY22" fmla="*/ 4057717 h 4791777"/>
                <a:gd name="connsiteX23" fmla="*/ 2325453 w 4893730"/>
                <a:gd name="connsiteY23" fmla="*/ 4057717 h 4791777"/>
                <a:gd name="connsiteX24" fmla="*/ 2130815 w 4893730"/>
                <a:gd name="connsiteY24" fmla="*/ 3886530 h 4791777"/>
                <a:gd name="connsiteX25" fmla="*/ 2130815 w 4893730"/>
                <a:gd name="connsiteY25" fmla="*/ 487238 h 4791777"/>
                <a:gd name="connsiteX26" fmla="*/ 2325453 w 4893730"/>
                <a:gd name="connsiteY26" fmla="*/ 316050 h 4791777"/>
                <a:gd name="connsiteX27" fmla="*/ 269155 w 4893730"/>
                <a:gd name="connsiteY27" fmla="*/ 0 h 4791777"/>
                <a:gd name="connsiteX28" fmla="*/ 538311 w 4893730"/>
                <a:gd name="connsiteY28" fmla="*/ 268927 h 4791777"/>
                <a:gd name="connsiteX29" fmla="*/ 538311 w 4893730"/>
                <a:gd name="connsiteY29" fmla="*/ 4253925 h 4791777"/>
                <a:gd name="connsiteX30" fmla="*/ 4624575 w 4893730"/>
                <a:gd name="connsiteY30" fmla="*/ 4253925 h 4791777"/>
                <a:gd name="connsiteX31" fmla="*/ 4893730 w 4893730"/>
                <a:gd name="connsiteY31" fmla="*/ 4522851 h 4791777"/>
                <a:gd name="connsiteX32" fmla="*/ 4624575 w 4893730"/>
                <a:gd name="connsiteY32" fmla="*/ 4791777 h 4791777"/>
                <a:gd name="connsiteX33" fmla="*/ 269155 w 4893730"/>
                <a:gd name="connsiteY33" fmla="*/ 4791777 h 4791777"/>
                <a:gd name="connsiteX34" fmla="*/ 0 w 4893730"/>
                <a:gd name="connsiteY34" fmla="*/ 4522851 h 4791777"/>
                <a:gd name="connsiteX35" fmla="*/ 0 w 4893730"/>
                <a:gd name="connsiteY35" fmla="*/ 268927 h 4791777"/>
                <a:gd name="connsiteX36" fmla="*/ 269155 w 4893730"/>
                <a:gd name="connsiteY36" fmla="*/ 0 h 4791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4893730" h="4791777">
                  <a:moveTo>
                    <a:pt x="3713863" y="2130808"/>
                  </a:moveTo>
                  <a:cubicBezTo>
                    <a:pt x="3713863" y="2130808"/>
                    <a:pt x="3713863" y="2130808"/>
                    <a:pt x="4426142" y="2130808"/>
                  </a:cubicBezTo>
                  <a:cubicBezTo>
                    <a:pt x="4524387" y="2130808"/>
                    <a:pt x="4598071" y="2203982"/>
                    <a:pt x="4598071" y="2301547"/>
                  </a:cubicBezTo>
                  <a:cubicBezTo>
                    <a:pt x="4598071" y="2301547"/>
                    <a:pt x="4598071" y="2301547"/>
                    <a:pt x="4598071" y="3886978"/>
                  </a:cubicBezTo>
                  <a:cubicBezTo>
                    <a:pt x="4598071" y="3984543"/>
                    <a:pt x="4524387" y="4057717"/>
                    <a:pt x="4426142" y="4057717"/>
                  </a:cubicBezTo>
                  <a:cubicBezTo>
                    <a:pt x="4426142" y="4057717"/>
                    <a:pt x="4426142" y="4057717"/>
                    <a:pt x="3713863" y="4057717"/>
                  </a:cubicBezTo>
                  <a:cubicBezTo>
                    <a:pt x="3615618" y="4057717"/>
                    <a:pt x="3517372" y="3984543"/>
                    <a:pt x="3517372" y="3886978"/>
                  </a:cubicBezTo>
                  <a:cubicBezTo>
                    <a:pt x="3517372" y="3886978"/>
                    <a:pt x="3517372" y="3886978"/>
                    <a:pt x="3517372" y="2301547"/>
                  </a:cubicBezTo>
                  <a:cubicBezTo>
                    <a:pt x="3517372" y="2203982"/>
                    <a:pt x="3615618" y="2130808"/>
                    <a:pt x="3713863" y="2130808"/>
                  </a:cubicBezTo>
                  <a:close/>
                  <a:moveTo>
                    <a:pt x="904368" y="1223432"/>
                  </a:moveTo>
                  <a:cubicBezTo>
                    <a:pt x="904368" y="1223432"/>
                    <a:pt x="904368" y="1223432"/>
                    <a:pt x="1609930" y="1223432"/>
                  </a:cubicBezTo>
                  <a:cubicBezTo>
                    <a:pt x="1731578" y="1223432"/>
                    <a:pt x="1804567" y="1296733"/>
                    <a:pt x="1804567" y="1394467"/>
                  </a:cubicBezTo>
                  <a:cubicBezTo>
                    <a:pt x="1804567" y="1394467"/>
                    <a:pt x="1804567" y="1394467"/>
                    <a:pt x="1804567" y="3886683"/>
                  </a:cubicBezTo>
                  <a:cubicBezTo>
                    <a:pt x="1804567" y="3984417"/>
                    <a:pt x="1731578" y="4057717"/>
                    <a:pt x="1609930" y="4057717"/>
                  </a:cubicBezTo>
                  <a:cubicBezTo>
                    <a:pt x="1609930" y="4057717"/>
                    <a:pt x="1609930" y="4057717"/>
                    <a:pt x="904368" y="4057717"/>
                  </a:cubicBezTo>
                  <a:cubicBezTo>
                    <a:pt x="807049" y="4057717"/>
                    <a:pt x="734060" y="3984417"/>
                    <a:pt x="734060" y="3886683"/>
                  </a:cubicBezTo>
                  <a:cubicBezTo>
                    <a:pt x="734060" y="3886683"/>
                    <a:pt x="734060" y="3886683"/>
                    <a:pt x="734060" y="1394467"/>
                  </a:cubicBezTo>
                  <a:cubicBezTo>
                    <a:pt x="734060" y="1296733"/>
                    <a:pt x="807049" y="1223432"/>
                    <a:pt x="904368" y="1223432"/>
                  </a:cubicBezTo>
                  <a:close/>
                  <a:moveTo>
                    <a:pt x="2325453" y="316050"/>
                  </a:moveTo>
                  <a:cubicBezTo>
                    <a:pt x="2325453" y="316050"/>
                    <a:pt x="2325453" y="316050"/>
                    <a:pt x="3031014" y="316050"/>
                  </a:cubicBezTo>
                  <a:cubicBezTo>
                    <a:pt x="3128333" y="316050"/>
                    <a:pt x="3201322" y="389416"/>
                    <a:pt x="3201322" y="487238"/>
                  </a:cubicBezTo>
                  <a:cubicBezTo>
                    <a:pt x="3201322" y="487238"/>
                    <a:pt x="3201322" y="487238"/>
                    <a:pt x="3201322" y="3886530"/>
                  </a:cubicBezTo>
                  <a:cubicBezTo>
                    <a:pt x="3201322" y="3984351"/>
                    <a:pt x="3128333" y="4057717"/>
                    <a:pt x="3031014" y="4057717"/>
                  </a:cubicBezTo>
                  <a:cubicBezTo>
                    <a:pt x="3031014" y="4057717"/>
                    <a:pt x="3031014" y="4057717"/>
                    <a:pt x="2325453" y="4057717"/>
                  </a:cubicBezTo>
                  <a:cubicBezTo>
                    <a:pt x="2203804" y="4057717"/>
                    <a:pt x="2130815" y="3984351"/>
                    <a:pt x="2130815" y="3886530"/>
                  </a:cubicBezTo>
                  <a:cubicBezTo>
                    <a:pt x="2130815" y="3886530"/>
                    <a:pt x="2130815" y="3886530"/>
                    <a:pt x="2130815" y="487238"/>
                  </a:cubicBezTo>
                  <a:cubicBezTo>
                    <a:pt x="2130815" y="389416"/>
                    <a:pt x="2203804" y="316050"/>
                    <a:pt x="2325453" y="316050"/>
                  </a:cubicBezTo>
                  <a:close/>
                  <a:moveTo>
                    <a:pt x="269155" y="0"/>
                  </a:moveTo>
                  <a:cubicBezTo>
                    <a:pt x="415967" y="0"/>
                    <a:pt x="538311" y="122239"/>
                    <a:pt x="538311" y="268927"/>
                  </a:cubicBezTo>
                  <a:cubicBezTo>
                    <a:pt x="538311" y="268927"/>
                    <a:pt x="538311" y="268927"/>
                    <a:pt x="538311" y="4253925"/>
                  </a:cubicBezTo>
                  <a:cubicBezTo>
                    <a:pt x="538311" y="4253925"/>
                    <a:pt x="538311" y="4253925"/>
                    <a:pt x="4624575" y="4253925"/>
                  </a:cubicBezTo>
                  <a:cubicBezTo>
                    <a:pt x="4771387" y="4253925"/>
                    <a:pt x="4893730" y="4376164"/>
                    <a:pt x="4893730" y="4522851"/>
                  </a:cubicBezTo>
                  <a:cubicBezTo>
                    <a:pt x="4893730" y="4669538"/>
                    <a:pt x="4771387" y="4791777"/>
                    <a:pt x="4624575" y="4791777"/>
                  </a:cubicBezTo>
                  <a:cubicBezTo>
                    <a:pt x="4624575" y="4791777"/>
                    <a:pt x="4624575" y="4791777"/>
                    <a:pt x="269155" y="4791777"/>
                  </a:cubicBezTo>
                  <a:cubicBezTo>
                    <a:pt x="122344" y="4791777"/>
                    <a:pt x="0" y="4669538"/>
                    <a:pt x="0" y="4522851"/>
                  </a:cubicBezTo>
                  <a:cubicBezTo>
                    <a:pt x="0" y="4522851"/>
                    <a:pt x="0" y="4522851"/>
                    <a:pt x="0" y="268927"/>
                  </a:cubicBezTo>
                  <a:cubicBezTo>
                    <a:pt x="0" y="122239"/>
                    <a:pt x="122344" y="0"/>
                    <a:pt x="269155"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37148" tIns="109719" rIns="137148" bIns="109719"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699261"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9" name="Rectangle 88"/>
            <p:cNvSpPr/>
            <p:nvPr/>
          </p:nvSpPr>
          <p:spPr bwMode="auto">
            <a:xfrm rot="2745734">
              <a:off x="279530" y="1141266"/>
              <a:ext cx="1260714" cy="1255193"/>
            </a:xfrm>
            <a:prstGeom prst="rect">
              <a:avLst/>
            </a:prstGeom>
            <a:solidFill>
              <a:schemeClr val="tx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0" name="Rectangle 89"/>
            <p:cNvSpPr/>
            <p:nvPr/>
          </p:nvSpPr>
          <p:spPr bwMode="auto">
            <a:xfrm rot="2745734">
              <a:off x="1305789" y="4246825"/>
              <a:ext cx="416505" cy="1235003"/>
            </a:xfrm>
            <a:prstGeom prst="rect">
              <a:avLst/>
            </a:prstGeom>
            <a:solidFill>
              <a:schemeClr val="tx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2" name="Rectangle 91"/>
            <p:cNvSpPr/>
            <p:nvPr/>
          </p:nvSpPr>
          <p:spPr bwMode="auto">
            <a:xfrm rot="2745734">
              <a:off x="1315610" y="4915701"/>
              <a:ext cx="1263370" cy="1255989"/>
            </a:xfrm>
            <a:prstGeom prst="rect">
              <a:avLst/>
            </a:prstGeom>
            <a:solidFill>
              <a:schemeClr val="tx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40" name="TextBox 39"/>
          <p:cNvSpPr txBox="1"/>
          <p:nvPr/>
        </p:nvSpPr>
        <p:spPr>
          <a:xfrm>
            <a:off x="3" y="51415"/>
            <a:ext cx="2849058" cy="430887"/>
          </a:xfrm>
          <a:prstGeom prst="rect">
            <a:avLst/>
          </a:prstGeom>
        </p:spPr>
        <p:txBody>
          <a:bodyPr wrap="square">
            <a:spAutoFit/>
          </a:bodyPr>
          <a:lstStyle>
            <a:defPPr>
              <a:defRPr lang="en-US"/>
            </a:defPPr>
            <a:lvl1pPr defTabSz="914192">
              <a:defRPr sz="2800" b="1" spc="-100">
                <a:ln w="3175">
                  <a:noFill/>
                </a:ln>
                <a:solidFill>
                  <a:srgbClr val="F2C812"/>
                </a:solidFill>
                <a:latin typeface="Segoe UI" panose="020B0502040204020203" pitchFamily="34" charset="0"/>
                <a:ea typeface="ＭＳ Ｐゴシック" charset="0"/>
                <a:cs typeface="Segoe UI" panose="020B0502040204020203" pitchFamily="34" charset="0"/>
              </a:defRPr>
            </a:lvl1pPr>
          </a:lstStyle>
          <a:p>
            <a:pPr marL="0" marR="0" lvl="0" indent="0" algn="l" defTabSz="914192" rtl="0" eaLnBrk="1" fontAlgn="auto" latinLnBrk="0" hangingPunct="1">
              <a:lnSpc>
                <a:spcPct val="100000"/>
              </a:lnSpc>
              <a:spcBef>
                <a:spcPts val="0"/>
              </a:spcBef>
              <a:spcAft>
                <a:spcPts val="0"/>
              </a:spcAft>
              <a:buClrTx/>
              <a:buSzTx/>
              <a:buFontTx/>
              <a:buNone/>
              <a:tabLst/>
              <a:defRPr/>
            </a:pPr>
            <a:r>
              <a:rPr kumimoji="0" lang="en-US" sz="2200" b="1" i="0" u="none" strike="noStrike" kern="1200" cap="none" spc="-100" normalizeH="0" baseline="0" noProof="0">
                <a:ln w="3175">
                  <a:noFill/>
                </a:ln>
                <a:solidFill>
                  <a:srgbClr val="F2C812"/>
                </a:solidFill>
                <a:effectLst/>
                <a:uLnTx/>
                <a:uFillTx/>
                <a:latin typeface="Segoe UI Light"/>
                <a:ea typeface="ＭＳ Ｐゴシック" charset="0"/>
                <a:cs typeface="Segoe UI" panose="020B0502040204020203" pitchFamily="34" charset="0"/>
              </a:rPr>
              <a:t>Power BI Desktop</a:t>
            </a:r>
          </a:p>
        </p:txBody>
      </p:sp>
      <p:sp>
        <p:nvSpPr>
          <p:cNvPr id="41" name="Rectangle 40"/>
          <p:cNvSpPr/>
          <p:nvPr/>
        </p:nvSpPr>
        <p:spPr bwMode="auto">
          <a:xfrm rot="19005967">
            <a:off x="922420" y="2122148"/>
            <a:ext cx="1260714" cy="369589"/>
          </a:xfrm>
          <a:prstGeom prst="rect">
            <a:avLst/>
          </a:prstGeom>
          <a:solidFill>
            <a:schemeClr val="tx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7" name="Rectangle 36"/>
          <p:cNvSpPr/>
          <p:nvPr/>
        </p:nvSpPr>
        <p:spPr bwMode="auto">
          <a:xfrm rot="2745734">
            <a:off x="1371067" y="2420930"/>
            <a:ext cx="1194544" cy="1235003"/>
          </a:xfrm>
          <a:prstGeom prst="rect">
            <a:avLst/>
          </a:prstGeom>
          <a:solidFill>
            <a:schemeClr val="tx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2" name="Text Placeholder 2"/>
          <p:cNvSpPr txBox="1">
            <a:spLocks/>
          </p:cNvSpPr>
          <p:nvPr/>
        </p:nvSpPr>
        <p:spPr>
          <a:xfrm>
            <a:off x="3173233" y="916802"/>
            <a:ext cx="6954422" cy="897374"/>
          </a:xfrm>
          <a:prstGeom prst="rect">
            <a:avLst/>
          </a:prstGeom>
        </p:spPr>
        <p:txBody>
          <a:bodyPr vert="horz" wrap="square" lIns="182880" tIns="146304" rIns="182880" bIns="146304" rtlCol="0">
            <a:noAutofit/>
          </a:bodyPr>
          <a:lstStyle>
            <a:lvl1pPr marL="182845" marR="0"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3921" kern="1200" spc="0" baseline="0">
                <a:gradFill>
                  <a:gsLst>
                    <a:gs pos="1250">
                      <a:schemeClr val="tx2"/>
                    </a:gs>
                    <a:gs pos="99000">
                      <a:schemeClr val="tx2"/>
                    </a:gs>
                  </a:gsLst>
                  <a:lin ang="5400000" scaled="0"/>
                </a:gradFill>
                <a:latin typeface="+mj-lt"/>
                <a:ea typeface="+mn-ea"/>
                <a:cs typeface="+mn-cs"/>
              </a:defRPr>
            </a:lvl1pPr>
            <a:lvl2pPr marL="365690" marR="0"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2400" kern="1200" spc="0" baseline="0">
                <a:solidFill>
                  <a:schemeClr val="tx2"/>
                </a:solidFill>
                <a:latin typeface="+mj-lt"/>
                <a:ea typeface="+mn-ea"/>
                <a:cs typeface="+mn-cs"/>
              </a:defRPr>
            </a:lvl2pPr>
            <a:lvl3pPr marL="548535" marR="0"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2000" kern="1200" spc="0" baseline="0">
                <a:solidFill>
                  <a:schemeClr val="tx2"/>
                </a:solidFill>
                <a:latin typeface="+mj-lt"/>
                <a:ea typeface="+mn-ea"/>
                <a:cs typeface="+mn-cs"/>
              </a:defRPr>
            </a:lvl3pPr>
            <a:lvl4pPr marL="733802" marR="0" indent="-28569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1765" kern="1200" spc="0" baseline="0">
                <a:solidFill>
                  <a:schemeClr val="tx2"/>
                </a:solidFill>
                <a:latin typeface="+mn-lt"/>
                <a:ea typeface="+mn-ea"/>
                <a:cs typeface="+mn-cs"/>
              </a:defRPr>
            </a:lvl4pPr>
            <a:lvl5pPr marL="957856" marR="0" indent="-28569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1765" kern="1200" spc="0" baseline="0">
                <a:solidFill>
                  <a:schemeClr val="tx2"/>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1"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r>
              <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rPr>
              <a:t>Provide </a:t>
            </a:r>
            <a:r>
              <a:rPr kumimoji="0" lang="en-US" sz="2000" b="1"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rPr>
              <a:t>additional context when hovering </a:t>
            </a:r>
            <a:r>
              <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rPr>
              <a:t>over a series in a visualization</a:t>
            </a: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r>
              <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rPr>
              <a:t>They are customizable but only Measures or aggregations can be shown</a:t>
            </a: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a:p>
            <a:pPr marL="182845" marR="0" lvl="1" indent="0" algn="l" defTabSz="914367" rtl="0" eaLnBrk="1" fontAlgn="auto" latinLnBrk="0" hangingPunct="1">
              <a:lnSpc>
                <a:spcPct val="90000"/>
              </a:lnSpc>
              <a:spcBef>
                <a:spcPct val="20000"/>
              </a:spcBef>
              <a:spcAft>
                <a:spcPts val="0"/>
              </a:spcAft>
              <a:buClrTx/>
              <a:buSzPct val="90000"/>
              <a:buFont typeface="Arial" panose="020B0604020202020204" pitchFamily="34" charset="0"/>
              <a:buNone/>
              <a:tabLst/>
              <a:defRPr/>
            </a:pPr>
            <a:endParaRPr kumimoji="0" lang="en-US" sz="2000" b="1" i="0" u="none" strike="noStrike" kern="1200" cap="none" spc="0" normalizeH="0" baseline="0" noProof="0">
              <a:ln>
                <a:noFill/>
              </a:ln>
              <a:solidFill>
                <a:srgbClr val="000000"/>
              </a:solidFill>
              <a:effectLst/>
              <a:uLnTx/>
              <a:uFillTx/>
              <a:latin typeface="Segoe UI Light"/>
              <a:ea typeface="+mn-ea"/>
              <a:cs typeface="+mn-cs"/>
            </a:endParaRPr>
          </a:p>
          <a:p>
            <a:pPr marL="182845" marR="0" lvl="1" indent="0" algn="l" defTabSz="914367" rtl="0" eaLnBrk="1" fontAlgn="auto" latinLnBrk="0" hangingPunct="1">
              <a:lnSpc>
                <a:spcPct val="90000"/>
              </a:lnSpc>
              <a:spcBef>
                <a:spcPct val="20000"/>
              </a:spcBef>
              <a:spcAft>
                <a:spcPts val="0"/>
              </a:spcAft>
              <a:buClrTx/>
              <a:buSzPct val="90000"/>
              <a:buFont typeface="Arial" panose="020B0604020202020204" pitchFamily="34" charset="0"/>
              <a:buNone/>
              <a:tabLst/>
              <a:defRPr/>
            </a:pPr>
            <a:endParaRPr kumimoji="0" lang="en-US" sz="2000" b="0" i="0" u="none" strike="noStrike" kern="1200" cap="none" spc="0" normalizeH="0" baseline="0" noProof="0">
              <a:ln>
                <a:noFill/>
              </a:ln>
              <a:solidFill>
                <a:srgbClr val="000000"/>
              </a:solidFill>
              <a:effectLst/>
              <a:uLnTx/>
              <a:uFillTx/>
              <a:latin typeface="Segoe UI Light"/>
              <a:ea typeface="+mn-ea"/>
              <a:cs typeface="+mn-cs"/>
            </a:endParaRPr>
          </a:p>
          <a:p>
            <a:pPr marL="182845" marR="0" lvl="1" indent="0" algn="l" defTabSz="914367" rtl="0" eaLnBrk="1" fontAlgn="auto" latinLnBrk="0" hangingPunct="1">
              <a:lnSpc>
                <a:spcPct val="90000"/>
              </a:lnSpc>
              <a:spcBef>
                <a:spcPct val="20000"/>
              </a:spcBef>
              <a:spcAft>
                <a:spcPts val="0"/>
              </a:spcAft>
              <a:buClrTx/>
              <a:buSzPct val="90000"/>
              <a:buFont typeface="Arial" panose="020B0604020202020204" pitchFamily="34" charset="0"/>
              <a:buNone/>
              <a:tabLst/>
              <a:defRPr/>
            </a:pPr>
            <a:endParaRPr kumimoji="0" lang="en-US" sz="2000" b="0" i="0" u="none" strike="noStrike" kern="1200" cap="none" spc="0" normalizeH="0" baseline="0" noProof="0">
              <a:ln>
                <a:noFill/>
              </a:ln>
              <a:solidFill>
                <a:srgbClr val="000000"/>
              </a:solidFill>
              <a:effectLst/>
              <a:uLnTx/>
              <a:uFillTx/>
              <a:latin typeface="Segoe UI Light"/>
              <a:ea typeface="+mn-ea"/>
              <a:cs typeface="+mn-cs"/>
            </a:endParaRPr>
          </a:p>
          <a:p>
            <a:pPr marL="182845" marR="0" lvl="1" indent="0" algn="l" defTabSz="914367" rtl="0" eaLnBrk="1" fontAlgn="auto" latinLnBrk="0" hangingPunct="1">
              <a:lnSpc>
                <a:spcPct val="90000"/>
              </a:lnSpc>
              <a:spcBef>
                <a:spcPct val="20000"/>
              </a:spcBef>
              <a:spcAft>
                <a:spcPts val="0"/>
              </a:spcAft>
              <a:buClrTx/>
              <a:buSzPct val="90000"/>
              <a:buFont typeface="Arial" panose="020B0604020202020204" pitchFamily="34" charset="0"/>
              <a:buNone/>
              <a:tabLst/>
              <a:defRPr/>
            </a:pPr>
            <a:endParaRPr kumimoji="0" lang="en-US" sz="2000" b="0" i="0" u="none" strike="noStrike" kern="1200" cap="none" spc="0" normalizeH="0" baseline="0" noProof="0">
              <a:ln>
                <a:noFill/>
              </a:ln>
              <a:solidFill>
                <a:srgbClr val="000000"/>
              </a:solidFill>
              <a:effectLst/>
              <a:uLnTx/>
              <a:uFillTx/>
              <a:latin typeface="Segoe UI Light"/>
              <a:ea typeface="+mn-ea"/>
              <a:cs typeface="+mn-cs"/>
            </a:endParaRPr>
          </a:p>
        </p:txBody>
      </p:sp>
      <p:pic>
        <p:nvPicPr>
          <p:cNvPr id="4" name="Picture 3"/>
          <p:cNvPicPr>
            <a:picLocks noChangeAspect="1"/>
          </p:cNvPicPr>
          <p:nvPr/>
        </p:nvPicPr>
        <p:blipFill>
          <a:blip r:embed="rId3"/>
          <a:stretch>
            <a:fillRect/>
          </a:stretch>
        </p:blipFill>
        <p:spPr>
          <a:xfrm>
            <a:off x="3894588" y="3162964"/>
            <a:ext cx="7635260" cy="3506892"/>
          </a:xfrm>
          <a:prstGeom prst="rect">
            <a:avLst/>
          </a:prstGeom>
          <a:ln>
            <a:noFill/>
          </a:ln>
          <a:effectLst>
            <a:outerShdw blurRad="190500" algn="tl" rotWithShape="0">
              <a:srgbClr val="000000">
                <a:alpha val="70000"/>
              </a:srgbClr>
            </a:outerShdw>
          </a:effectLst>
        </p:spPr>
      </p:pic>
      <p:sp>
        <p:nvSpPr>
          <p:cNvPr id="44" name="Rectangle 43"/>
          <p:cNvSpPr/>
          <p:nvPr/>
        </p:nvSpPr>
        <p:spPr bwMode="auto">
          <a:xfrm>
            <a:off x="10457793" y="5286703"/>
            <a:ext cx="1072055" cy="430925"/>
          </a:xfrm>
          <a:prstGeom prst="rect">
            <a:avLst/>
          </a:prstGeom>
          <a:noFill/>
          <a:ln w="38100">
            <a:solidFill>
              <a:srgbClr val="FF00F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9714044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solidFill>
            <a:schemeClr val="bg1"/>
          </a:solidFill>
        </p:spPr>
        <p:txBody>
          <a:bodyPr/>
          <a:lstStyle/>
          <a:p>
            <a:r>
              <a:rPr lang="en-US" sz="3600">
                <a:solidFill>
                  <a:schemeClr val="tx1"/>
                </a:solidFill>
              </a:rPr>
              <a:t>Report Filtering</a:t>
            </a:r>
          </a:p>
        </p:txBody>
      </p:sp>
      <p:grpSp>
        <p:nvGrpSpPr>
          <p:cNvPr id="52" name="Group 51"/>
          <p:cNvGrpSpPr/>
          <p:nvPr/>
        </p:nvGrpSpPr>
        <p:grpSpPr>
          <a:xfrm>
            <a:off x="2" y="1"/>
            <a:ext cx="2849058" cy="6858000"/>
            <a:chOff x="2" y="1"/>
            <a:chExt cx="2849058" cy="6858000"/>
          </a:xfrm>
        </p:grpSpPr>
        <p:sp>
          <p:nvSpPr>
            <p:cNvPr id="71" name="Rectangle 70"/>
            <p:cNvSpPr/>
            <p:nvPr/>
          </p:nvSpPr>
          <p:spPr bwMode="auto">
            <a:xfrm>
              <a:off x="2" y="1"/>
              <a:ext cx="2849058"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3" name="Oval 70"/>
            <p:cNvSpPr/>
            <p:nvPr/>
          </p:nvSpPr>
          <p:spPr>
            <a:xfrm>
              <a:off x="1413521" y="4951537"/>
              <a:ext cx="1119626" cy="1119626"/>
            </a:xfrm>
            <a:prstGeom prst="ellipse">
              <a:avLst/>
            </a:prstGeom>
            <a:solidFill>
              <a:srgbClr val="F2C812"/>
            </a:solidFill>
            <a:ln w="3175" cap="flat" cmpd="sng" algn="ctr">
              <a:noFill/>
              <a:prstDash val="solid"/>
            </a:ln>
            <a:effectLst/>
          </p:spPr>
          <p:txBody>
            <a:bodyPr vert="horz" wrap="none" lIns="0" tIns="45720" rIns="0" bIns="0" rtlCol="0" anchor="t"/>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Segoe UI"/>
                  <a:ea typeface="Segoe UI" pitchFamily="34" charset="0"/>
                  <a:cs typeface="Segoe UI" pitchFamily="34" charset="0"/>
                </a:rPr>
                <a:t>Share &amp;</a:t>
              </a:r>
            </a:p>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Segoe UI"/>
                  <a:ea typeface="Segoe UI" pitchFamily="34" charset="0"/>
                  <a:cs typeface="Segoe UI" pitchFamily="34" charset="0"/>
                </a:rPr>
                <a:t>collaborate </a:t>
              </a:r>
            </a:p>
          </p:txBody>
        </p:sp>
        <p:grpSp>
          <p:nvGrpSpPr>
            <p:cNvPr id="76" name="Group 38"/>
            <p:cNvGrpSpPr>
              <a:grpSpLocks noChangeAspect="1"/>
            </p:cNvGrpSpPr>
            <p:nvPr/>
          </p:nvGrpSpPr>
          <p:grpSpPr>
            <a:xfrm>
              <a:off x="676996" y="3930692"/>
              <a:ext cx="383905" cy="351536"/>
              <a:chOff x="4363684" y="5330386"/>
              <a:chExt cx="1409956" cy="1291077"/>
            </a:xfrm>
            <a:solidFill>
              <a:srgbClr val="217346"/>
            </a:solidFill>
          </p:grpSpPr>
          <p:sp>
            <p:nvSpPr>
              <p:cNvPr id="102" name="Donut 3"/>
              <p:cNvSpPr/>
              <p:nvPr/>
            </p:nvSpPr>
            <p:spPr bwMode="auto">
              <a:xfrm>
                <a:off x="4363684" y="5330386"/>
                <a:ext cx="1409956" cy="1291077"/>
              </a:xfrm>
              <a:custGeom>
                <a:avLst/>
                <a:gdLst/>
                <a:ahLst/>
                <a:cxnLst/>
                <a:rect l="l" t="t" r="r" b="b"/>
                <a:pathLst>
                  <a:path w="1409956" h="1291077">
                    <a:moveTo>
                      <a:pt x="956401" y="78410"/>
                    </a:moveTo>
                    <a:cubicBezTo>
                      <a:pt x="747518" y="78410"/>
                      <a:pt x="578184" y="247744"/>
                      <a:pt x="578184" y="456627"/>
                    </a:cubicBezTo>
                    <a:cubicBezTo>
                      <a:pt x="578184" y="665510"/>
                      <a:pt x="747518" y="834844"/>
                      <a:pt x="956401" y="834844"/>
                    </a:cubicBezTo>
                    <a:cubicBezTo>
                      <a:pt x="1165284" y="834844"/>
                      <a:pt x="1334618" y="665510"/>
                      <a:pt x="1334618" y="456627"/>
                    </a:cubicBezTo>
                    <a:cubicBezTo>
                      <a:pt x="1334618" y="247744"/>
                      <a:pt x="1165284" y="78410"/>
                      <a:pt x="956401" y="78410"/>
                    </a:cubicBezTo>
                    <a:close/>
                    <a:moveTo>
                      <a:pt x="952756" y="0"/>
                    </a:moveTo>
                    <a:cubicBezTo>
                      <a:pt x="1205261" y="0"/>
                      <a:pt x="1409956" y="204695"/>
                      <a:pt x="1409956" y="457200"/>
                    </a:cubicBezTo>
                    <a:cubicBezTo>
                      <a:pt x="1409956" y="709705"/>
                      <a:pt x="1205261" y="914400"/>
                      <a:pt x="952756" y="914400"/>
                    </a:cubicBezTo>
                    <a:cubicBezTo>
                      <a:pt x="862133" y="914400"/>
                      <a:pt x="777669" y="888034"/>
                      <a:pt x="707132" y="841746"/>
                    </a:cubicBezTo>
                    <a:lnTo>
                      <a:pt x="136495" y="1280102"/>
                    </a:lnTo>
                    <a:cubicBezTo>
                      <a:pt x="21896" y="1327168"/>
                      <a:pt x="-44029" y="1213730"/>
                      <a:pt x="33797" y="1113182"/>
                    </a:cubicBezTo>
                    <a:lnTo>
                      <a:pt x="568587" y="703518"/>
                    </a:lnTo>
                    <a:cubicBezTo>
                      <a:pt x="522087" y="632814"/>
                      <a:pt x="495556" y="548105"/>
                      <a:pt x="495556" y="457200"/>
                    </a:cubicBezTo>
                    <a:cubicBezTo>
                      <a:pt x="495556" y="204695"/>
                      <a:pt x="700251" y="0"/>
                      <a:pt x="952756" y="0"/>
                    </a:cubicBezTo>
                    <a:close/>
                  </a:path>
                </a:pathLst>
              </a:custGeom>
              <a:grpFill/>
              <a:ln>
                <a:solidFill>
                  <a:srgbClr val="21734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sp>
            <p:nvSpPr>
              <p:cNvPr id="103" name="Rectangle 4"/>
              <p:cNvSpPr/>
              <p:nvPr/>
            </p:nvSpPr>
            <p:spPr>
              <a:xfrm>
                <a:off x="5058389" y="5528247"/>
                <a:ext cx="490885" cy="490020"/>
              </a:xfrm>
              <a:custGeom>
                <a:avLst/>
                <a:gdLst/>
                <a:ahLst/>
                <a:cxnLst/>
                <a:rect l="l" t="t" r="r" b="b"/>
                <a:pathLst>
                  <a:path w="490885" h="490020">
                    <a:moveTo>
                      <a:pt x="240752" y="0"/>
                    </a:moveTo>
                    <a:cubicBezTo>
                      <a:pt x="253961" y="11844"/>
                      <a:pt x="293310" y="49692"/>
                      <a:pt x="337332" y="92439"/>
                    </a:cubicBezTo>
                    <a:lnTo>
                      <a:pt x="328342" y="81259"/>
                    </a:lnTo>
                    <a:cubicBezTo>
                      <a:pt x="356946" y="111282"/>
                      <a:pt x="377251" y="107167"/>
                      <a:pt x="382515" y="87941"/>
                    </a:cubicBezTo>
                    <a:cubicBezTo>
                      <a:pt x="383951" y="76921"/>
                      <a:pt x="384595" y="68732"/>
                      <a:pt x="396997" y="52239"/>
                    </a:cubicBezTo>
                    <a:cubicBezTo>
                      <a:pt x="420362" y="32084"/>
                      <a:pt x="442294" y="41736"/>
                      <a:pt x="454920" y="51330"/>
                    </a:cubicBezTo>
                    <a:cubicBezTo>
                      <a:pt x="467834" y="62761"/>
                      <a:pt x="477920" y="86882"/>
                      <a:pt x="460392" y="109714"/>
                    </a:cubicBezTo>
                    <a:cubicBezTo>
                      <a:pt x="451128" y="121912"/>
                      <a:pt x="437554" y="126838"/>
                      <a:pt x="425922" y="126505"/>
                    </a:cubicBezTo>
                    <a:cubicBezTo>
                      <a:pt x="424301" y="127609"/>
                      <a:pt x="382890" y="134974"/>
                      <a:pt x="427348" y="177672"/>
                    </a:cubicBezTo>
                    <a:lnTo>
                      <a:pt x="416886" y="169735"/>
                    </a:lnTo>
                    <a:cubicBezTo>
                      <a:pt x="450207" y="202177"/>
                      <a:pt x="478424" y="229744"/>
                      <a:pt x="490885" y="241900"/>
                    </a:cubicBezTo>
                    <a:lnTo>
                      <a:pt x="417150" y="317347"/>
                    </a:lnTo>
                    <a:cubicBezTo>
                      <a:pt x="417744" y="316535"/>
                      <a:pt x="418443" y="316123"/>
                      <a:pt x="419047" y="315822"/>
                    </a:cubicBezTo>
                    <a:cubicBezTo>
                      <a:pt x="389023" y="344426"/>
                      <a:pt x="393138" y="364731"/>
                      <a:pt x="412364" y="369995"/>
                    </a:cubicBezTo>
                    <a:cubicBezTo>
                      <a:pt x="423384" y="371431"/>
                      <a:pt x="431574" y="372075"/>
                      <a:pt x="448067" y="384477"/>
                    </a:cubicBezTo>
                    <a:cubicBezTo>
                      <a:pt x="468221" y="407842"/>
                      <a:pt x="458569" y="429774"/>
                      <a:pt x="448975" y="442400"/>
                    </a:cubicBezTo>
                    <a:cubicBezTo>
                      <a:pt x="437545" y="455314"/>
                      <a:pt x="413423" y="465400"/>
                      <a:pt x="390591" y="447872"/>
                    </a:cubicBezTo>
                    <a:cubicBezTo>
                      <a:pt x="378394" y="438608"/>
                      <a:pt x="373468" y="425034"/>
                      <a:pt x="373800" y="413402"/>
                    </a:cubicBezTo>
                    <a:cubicBezTo>
                      <a:pt x="372696" y="411781"/>
                      <a:pt x="365332" y="370370"/>
                      <a:pt x="322634" y="414828"/>
                    </a:cubicBezTo>
                    <a:lnTo>
                      <a:pt x="325243" y="411388"/>
                    </a:lnTo>
                    <a:lnTo>
                      <a:pt x="248395" y="490020"/>
                    </a:lnTo>
                    <a:cubicBezTo>
                      <a:pt x="208939" y="451897"/>
                      <a:pt x="199129" y="442073"/>
                      <a:pt x="174192" y="418236"/>
                    </a:cubicBezTo>
                    <a:cubicBezTo>
                      <a:pt x="145587" y="388212"/>
                      <a:pt x="125282" y="392327"/>
                      <a:pt x="120018" y="411553"/>
                    </a:cubicBezTo>
                    <a:cubicBezTo>
                      <a:pt x="118582" y="422573"/>
                      <a:pt x="117938" y="430763"/>
                      <a:pt x="105536" y="447256"/>
                    </a:cubicBezTo>
                    <a:cubicBezTo>
                      <a:pt x="82171" y="467410"/>
                      <a:pt x="60239" y="457758"/>
                      <a:pt x="47614" y="448164"/>
                    </a:cubicBezTo>
                    <a:cubicBezTo>
                      <a:pt x="34699" y="436734"/>
                      <a:pt x="24614" y="412612"/>
                      <a:pt x="42141" y="389780"/>
                    </a:cubicBezTo>
                    <a:cubicBezTo>
                      <a:pt x="51405" y="377583"/>
                      <a:pt x="64979" y="372657"/>
                      <a:pt x="76612" y="372989"/>
                    </a:cubicBezTo>
                    <a:cubicBezTo>
                      <a:pt x="78232" y="371886"/>
                      <a:pt x="119644" y="364521"/>
                      <a:pt x="75186" y="321823"/>
                    </a:cubicBezTo>
                    <a:cubicBezTo>
                      <a:pt x="58767" y="305402"/>
                      <a:pt x="23648" y="271235"/>
                      <a:pt x="0" y="248738"/>
                    </a:cubicBezTo>
                    <a:lnTo>
                      <a:pt x="77303" y="168146"/>
                    </a:lnTo>
                    <a:cubicBezTo>
                      <a:pt x="104269" y="140313"/>
                      <a:pt x="122130" y="156409"/>
                      <a:pt x="124388" y="175543"/>
                    </a:cubicBezTo>
                    <a:cubicBezTo>
                      <a:pt x="124457" y="182466"/>
                      <a:pt x="127106" y="193106"/>
                      <a:pt x="137575" y="203052"/>
                    </a:cubicBezTo>
                    <a:cubicBezTo>
                      <a:pt x="153931" y="220277"/>
                      <a:pt x="181252" y="217451"/>
                      <a:pt x="196721" y="201951"/>
                    </a:cubicBezTo>
                    <a:cubicBezTo>
                      <a:pt x="211961" y="185740"/>
                      <a:pt x="213057" y="157882"/>
                      <a:pt x="196146" y="142797"/>
                    </a:cubicBezTo>
                    <a:cubicBezTo>
                      <a:pt x="184301" y="132637"/>
                      <a:pt x="177155" y="131453"/>
                      <a:pt x="166513" y="129894"/>
                    </a:cubicBezTo>
                    <a:cubicBezTo>
                      <a:pt x="154522" y="129013"/>
                      <a:pt x="131185" y="112953"/>
                      <a:pt x="157905" y="85228"/>
                    </a:cubicBezTo>
                    <a:close/>
                  </a:path>
                </a:pathLst>
              </a:custGeom>
              <a:grpFill/>
              <a:ln>
                <a:solidFill>
                  <a:srgbClr val="21734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grpSp>
        <p:sp>
          <p:nvSpPr>
            <p:cNvPr id="77" name="Oval 47"/>
            <p:cNvSpPr/>
            <p:nvPr/>
          </p:nvSpPr>
          <p:spPr>
            <a:xfrm>
              <a:off x="388608" y="3710471"/>
              <a:ext cx="1119626" cy="1119626"/>
            </a:xfrm>
            <a:prstGeom prst="ellipse">
              <a:avLst/>
            </a:prstGeom>
            <a:solidFill>
              <a:srgbClr val="F2C812"/>
            </a:solidFill>
            <a:ln w="3175" cap="flat" cmpd="sng" algn="ctr">
              <a:noFill/>
              <a:prstDash val="solid"/>
            </a:ln>
            <a:effectLst/>
          </p:spPr>
          <p:txBody>
            <a:bodyPr vert="horz" wrap="none" lIns="0" tIns="45720" rIns="0" bIns="0" rtlCol="0" anchor="t"/>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Segoe UI"/>
                  <a:ea typeface="Segoe UI" pitchFamily="34" charset="0"/>
                  <a:cs typeface="Segoe UI" pitchFamily="34" charset="0"/>
                </a:rPr>
                <a:t>Report</a:t>
              </a:r>
            </a:p>
          </p:txBody>
        </p:sp>
        <p:sp>
          <p:nvSpPr>
            <p:cNvPr id="78" name="Oval 950"/>
            <p:cNvSpPr/>
            <p:nvPr/>
          </p:nvSpPr>
          <p:spPr>
            <a:xfrm>
              <a:off x="388608" y="1252295"/>
              <a:ext cx="1119626" cy="1119626"/>
            </a:xfrm>
            <a:prstGeom prst="ellipse">
              <a:avLst/>
            </a:prstGeom>
            <a:solidFill>
              <a:srgbClr val="F2C812"/>
            </a:solidFill>
            <a:ln w="3175" cap="flat" cmpd="sng" algn="ctr">
              <a:noFill/>
              <a:prstDash val="solid"/>
            </a:ln>
            <a:effectLst/>
          </p:spPr>
          <p:txBody>
            <a:bodyPr vert="horz" wrap="none" lIns="0" tIns="45720" rIns="0" bIns="0" rtlCol="0" anchor="t"/>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1" i="0" u="none" strike="noStrike" kern="1200" cap="none" spc="0" normalizeH="0" baseline="0" noProof="0">
                <a:ln>
                  <a:noFill/>
                </a:ln>
                <a:solidFill>
                  <a:srgbClr val="217346"/>
                </a:solidFill>
                <a:effectLst/>
                <a:uLnTx/>
                <a:uFillTx/>
                <a:latin typeface="Segoe UI"/>
                <a:ea typeface="Segoe UI" pitchFamily="34" charset="0"/>
                <a:cs typeface="Segoe UI" pitchFamily="34" charset="0"/>
              </a:endParaRPr>
            </a:p>
          </p:txBody>
        </p:sp>
        <p:grpSp>
          <p:nvGrpSpPr>
            <p:cNvPr id="79" name="Group 78"/>
            <p:cNvGrpSpPr/>
            <p:nvPr/>
          </p:nvGrpSpPr>
          <p:grpSpPr>
            <a:xfrm>
              <a:off x="1264851" y="3482890"/>
              <a:ext cx="292254" cy="354906"/>
              <a:chOff x="1296521" y="3253388"/>
              <a:chExt cx="292254" cy="354906"/>
            </a:xfrm>
            <a:solidFill>
              <a:srgbClr val="F2C812"/>
            </a:solidFill>
          </p:grpSpPr>
          <p:sp>
            <p:nvSpPr>
              <p:cNvPr id="99" name="Isosceles Triangle 98"/>
              <p:cNvSpPr/>
              <p:nvPr/>
            </p:nvSpPr>
            <p:spPr bwMode="auto">
              <a:xfrm rot="13636515">
                <a:off x="1461362" y="328936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0" name="Isosceles Triangle 99"/>
              <p:cNvSpPr/>
              <p:nvPr/>
            </p:nvSpPr>
            <p:spPr bwMode="auto">
              <a:xfrm rot="13636515">
                <a:off x="1357669" y="338258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1" name="Isosceles Triangle 100"/>
              <p:cNvSpPr/>
              <p:nvPr/>
            </p:nvSpPr>
            <p:spPr bwMode="auto">
              <a:xfrm rot="13636515">
                <a:off x="1260548" y="3480882"/>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80" name="Group 79"/>
            <p:cNvGrpSpPr/>
            <p:nvPr/>
          </p:nvGrpSpPr>
          <p:grpSpPr>
            <a:xfrm rot="15940603">
              <a:off x="1334576" y="2204404"/>
              <a:ext cx="292254" cy="354906"/>
              <a:chOff x="1296521" y="3253388"/>
              <a:chExt cx="292254" cy="354906"/>
            </a:xfrm>
            <a:solidFill>
              <a:srgbClr val="F2C812"/>
            </a:solidFill>
          </p:grpSpPr>
          <p:sp>
            <p:nvSpPr>
              <p:cNvPr id="96" name="Isosceles Triangle 95"/>
              <p:cNvSpPr/>
              <p:nvPr/>
            </p:nvSpPr>
            <p:spPr bwMode="auto">
              <a:xfrm rot="13636515">
                <a:off x="1461362" y="328936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7" name="Isosceles Triangle 96"/>
              <p:cNvSpPr/>
              <p:nvPr/>
            </p:nvSpPr>
            <p:spPr bwMode="auto">
              <a:xfrm rot="13636515">
                <a:off x="1357669" y="338258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8" name="Isosceles Triangle 97"/>
              <p:cNvSpPr/>
              <p:nvPr/>
            </p:nvSpPr>
            <p:spPr bwMode="auto">
              <a:xfrm rot="13636515">
                <a:off x="1260548" y="3480882"/>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81" name="Group 80"/>
            <p:cNvGrpSpPr/>
            <p:nvPr/>
          </p:nvGrpSpPr>
          <p:grpSpPr>
            <a:xfrm rot="16043978">
              <a:off x="1317220" y="4717577"/>
              <a:ext cx="292254" cy="354906"/>
              <a:chOff x="1296521" y="3253388"/>
              <a:chExt cx="292254" cy="354906"/>
            </a:xfrm>
            <a:solidFill>
              <a:srgbClr val="F2C812"/>
            </a:solidFill>
          </p:grpSpPr>
          <p:sp>
            <p:nvSpPr>
              <p:cNvPr id="93" name="Isosceles Triangle 92"/>
              <p:cNvSpPr/>
              <p:nvPr/>
            </p:nvSpPr>
            <p:spPr bwMode="auto">
              <a:xfrm rot="13636515">
                <a:off x="1461362" y="328936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4" name="Isosceles Triangle 93"/>
              <p:cNvSpPr/>
              <p:nvPr/>
            </p:nvSpPr>
            <p:spPr bwMode="auto">
              <a:xfrm rot="13636515">
                <a:off x="1357669" y="338258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5" name="Isosceles Triangle 94"/>
              <p:cNvSpPr/>
              <p:nvPr/>
            </p:nvSpPr>
            <p:spPr bwMode="auto">
              <a:xfrm rot="13636515">
                <a:off x="1260548" y="3480882"/>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82" name="Oval 36"/>
            <p:cNvSpPr/>
            <p:nvPr/>
          </p:nvSpPr>
          <p:spPr>
            <a:xfrm>
              <a:off x="1413521" y="2481383"/>
              <a:ext cx="1119626" cy="1119626"/>
            </a:xfrm>
            <a:prstGeom prst="ellipse">
              <a:avLst/>
            </a:prstGeom>
            <a:solidFill>
              <a:srgbClr val="F2C812"/>
            </a:solidFill>
            <a:ln w="3175" cap="flat" cmpd="sng" algn="ctr">
              <a:noFill/>
              <a:prstDash val="solid"/>
            </a:ln>
            <a:effectLst/>
          </p:spPr>
          <p:txBody>
            <a:bodyPr vert="horz" wrap="none" lIns="0" tIns="0" rIns="0" bIns="0" rtlCol="0" anchor="t"/>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400" b="1" i="0" u="none" strike="noStrike" kern="1200" cap="none" spc="0" normalizeH="0" baseline="0" noProof="0">
                <a:ln>
                  <a:noFill/>
                </a:ln>
                <a:solidFill>
                  <a:srgbClr val="217346"/>
                </a:solidFill>
                <a:effectLst/>
                <a:uLnTx/>
                <a:uFillTx/>
                <a:latin typeface="Segoe UI"/>
                <a:ea typeface="Segoe UI" pitchFamily="34" charset="0"/>
                <a:cs typeface="Segoe UI" pitchFamily="34" charset="0"/>
              </a:endParaRPr>
            </a:p>
          </p:txBody>
        </p:sp>
        <p:sp>
          <p:nvSpPr>
            <p:cNvPr id="83" name="Donut 3"/>
            <p:cNvSpPr/>
            <p:nvPr/>
          </p:nvSpPr>
          <p:spPr bwMode="auto">
            <a:xfrm>
              <a:off x="1742065" y="3002355"/>
              <a:ext cx="383905" cy="351537"/>
            </a:xfrm>
            <a:custGeom>
              <a:avLst/>
              <a:gdLst/>
              <a:ahLst/>
              <a:cxnLst/>
              <a:rect l="l" t="t" r="r" b="b"/>
              <a:pathLst>
                <a:path w="1409956" h="1291077">
                  <a:moveTo>
                    <a:pt x="956401" y="78410"/>
                  </a:moveTo>
                  <a:cubicBezTo>
                    <a:pt x="747518" y="78410"/>
                    <a:pt x="578184" y="247744"/>
                    <a:pt x="578184" y="456627"/>
                  </a:cubicBezTo>
                  <a:cubicBezTo>
                    <a:pt x="578184" y="665510"/>
                    <a:pt x="747518" y="834844"/>
                    <a:pt x="956401" y="834844"/>
                  </a:cubicBezTo>
                  <a:cubicBezTo>
                    <a:pt x="1165284" y="834844"/>
                    <a:pt x="1334618" y="665510"/>
                    <a:pt x="1334618" y="456627"/>
                  </a:cubicBezTo>
                  <a:cubicBezTo>
                    <a:pt x="1334618" y="247744"/>
                    <a:pt x="1165284" y="78410"/>
                    <a:pt x="956401" y="78410"/>
                  </a:cubicBezTo>
                  <a:close/>
                  <a:moveTo>
                    <a:pt x="952756" y="0"/>
                  </a:moveTo>
                  <a:cubicBezTo>
                    <a:pt x="1205261" y="0"/>
                    <a:pt x="1409956" y="204695"/>
                    <a:pt x="1409956" y="457200"/>
                  </a:cubicBezTo>
                  <a:cubicBezTo>
                    <a:pt x="1409956" y="709705"/>
                    <a:pt x="1205261" y="914400"/>
                    <a:pt x="952756" y="914400"/>
                  </a:cubicBezTo>
                  <a:cubicBezTo>
                    <a:pt x="862133" y="914400"/>
                    <a:pt x="777669" y="888034"/>
                    <a:pt x="707132" y="841746"/>
                  </a:cubicBezTo>
                  <a:lnTo>
                    <a:pt x="136495" y="1280102"/>
                  </a:lnTo>
                  <a:cubicBezTo>
                    <a:pt x="21896" y="1327168"/>
                    <a:pt x="-44029" y="1213730"/>
                    <a:pt x="33797" y="1113182"/>
                  </a:cubicBezTo>
                  <a:lnTo>
                    <a:pt x="568587" y="703518"/>
                  </a:lnTo>
                  <a:cubicBezTo>
                    <a:pt x="522087" y="632814"/>
                    <a:pt x="495556" y="548105"/>
                    <a:pt x="495556" y="457200"/>
                  </a:cubicBezTo>
                  <a:cubicBezTo>
                    <a:pt x="495556" y="204695"/>
                    <a:pt x="700251" y="0"/>
                    <a:pt x="952756" y="0"/>
                  </a:cubicBezTo>
                  <a:close/>
                </a:path>
              </a:pathLst>
            </a:cu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sp>
          <p:nvSpPr>
            <p:cNvPr id="84" name="Rectangle 83"/>
            <p:cNvSpPr/>
            <p:nvPr/>
          </p:nvSpPr>
          <p:spPr>
            <a:xfrm>
              <a:off x="1600398" y="2677430"/>
              <a:ext cx="820353" cy="307777"/>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Segoe UI"/>
                  <a:ea typeface="Segoe UI" pitchFamily="34" charset="0"/>
                  <a:cs typeface="Segoe UI" pitchFamily="34" charset="0"/>
                </a:rPr>
                <a:t>Explore</a:t>
              </a:r>
              <a:endParaRPr kumimoji="0" lang="en-US" sz="1600" b="0" i="0" u="none" strike="noStrike" kern="1200" cap="none" spc="0" normalizeH="0" baseline="0" noProof="0">
                <a:ln>
                  <a:noFill/>
                </a:ln>
                <a:solidFill>
                  <a:srgbClr val="000000"/>
                </a:solidFill>
                <a:effectLst/>
                <a:uLnTx/>
                <a:uFillTx/>
                <a:latin typeface="Segoe UI"/>
                <a:ea typeface="+mn-ea"/>
                <a:cs typeface="+mn-cs"/>
              </a:endParaRPr>
            </a:p>
          </p:txBody>
        </p:sp>
        <p:sp>
          <p:nvSpPr>
            <p:cNvPr id="85" name="Rectangle 84"/>
            <p:cNvSpPr/>
            <p:nvPr/>
          </p:nvSpPr>
          <p:spPr>
            <a:xfrm>
              <a:off x="509174" y="1475232"/>
              <a:ext cx="838756" cy="307777"/>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Segoe UI"/>
                  <a:ea typeface="Segoe UI" pitchFamily="34" charset="0"/>
                  <a:cs typeface="Segoe UI" pitchFamily="34" charset="0"/>
                </a:rPr>
                <a:t>Prepare</a:t>
              </a: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86" name="Freeform 85"/>
            <p:cNvSpPr>
              <a:spLocks noChangeAspect="1"/>
            </p:cNvSpPr>
            <p:nvPr/>
          </p:nvSpPr>
          <p:spPr bwMode="black">
            <a:xfrm>
              <a:off x="1836174" y="5643069"/>
              <a:ext cx="274320" cy="284173"/>
            </a:xfrm>
            <a:custGeom>
              <a:avLst/>
              <a:gdLst>
                <a:gd name="T0" fmla="*/ 539 w 669"/>
                <a:gd name="T1" fmla="*/ 5 h 693"/>
                <a:gd name="T2" fmla="*/ 640 w 669"/>
                <a:gd name="T3" fmla="*/ 55 h 693"/>
                <a:gd name="T4" fmla="*/ 603 w 669"/>
                <a:gd name="T5" fmla="*/ 195 h 693"/>
                <a:gd name="T6" fmla="*/ 490 w 669"/>
                <a:gd name="T7" fmla="*/ 188 h 693"/>
                <a:gd name="T8" fmla="*/ 479 w 669"/>
                <a:gd name="T9" fmla="*/ 176 h 693"/>
                <a:gd name="T10" fmla="*/ 213 w 669"/>
                <a:gd name="T11" fmla="*/ 330 h 693"/>
                <a:gd name="T12" fmla="*/ 218 w 669"/>
                <a:gd name="T13" fmla="*/ 345 h 693"/>
                <a:gd name="T14" fmla="*/ 218 w 669"/>
                <a:gd name="T15" fmla="*/ 375 h 693"/>
                <a:gd name="T16" fmla="*/ 209 w 669"/>
                <a:gd name="T17" fmla="*/ 402 h 693"/>
                <a:gd name="T18" fmla="*/ 369 w 669"/>
                <a:gd name="T19" fmla="*/ 503 h 693"/>
                <a:gd name="T20" fmla="*/ 373 w 669"/>
                <a:gd name="T21" fmla="*/ 498 h 693"/>
                <a:gd name="T22" fmla="*/ 456 w 669"/>
                <a:gd name="T23" fmla="*/ 475 h 693"/>
                <a:gd name="T24" fmla="*/ 494 w 669"/>
                <a:gd name="T25" fmla="*/ 489 h 693"/>
                <a:gd name="T26" fmla="*/ 527 w 669"/>
                <a:gd name="T27" fmla="*/ 630 h 693"/>
                <a:gd name="T28" fmla="*/ 386 w 669"/>
                <a:gd name="T29" fmla="*/ 663 h 693"/>
                <a:gd name="T30" fmla="*/ 339 w 669"/>
                <a:gd name="T31" fmla="*/ 560 h 693"/>
                <a:gd name="T32" fmla="*/ 345 w 669"/>
                <a:gd name="T33" fmla="*/ 544 h 693"/>
                <a:gd name="T34" fmla="*/ 177 w 669"/>
                <a:gd name="T35" fmla="*/ 439 h 693"/>
                <a:gd name="T36" fmla="*/ 168 w 669"/>
                <a:gd name="T37" fmla="*/ 446 h 693"/>
                <a:gd name="T38" fmla="*/ 28 w 669"/>
                <a:gd name="T39" fmla="*/ 409 h 693"/>
                <a:gd name="T40" fmla="*/ 65 w 669"/>
                <a:gd name="T41" fmla="*/ 269 h 693"/>
                <a:gd name="T42" fmla="*/ 178 w 669"/>
                <a:gd name="T43" fmla="*/ 276 h 693"/>
                <a:gd name="T44" fmla="*/ 189 w 669"/>
                <a:gd name="T45" fmla="*/ 288 h 693"/>
                <a:gd name="T46" fmla="*/ 455 w 669"/>
                <a:gd name="T47" fmla="*/ 134 h 693"/>
                <a:gd name="T48" fmla="*/ 450 w 669"/>
                <a:gd name="T49" fmla="*/ 119 h 693"/>
                <a:gd name="T50" fmla="*/ 501 w 669"/>
                <a:gd name="T51" fmla="*/ 18 h 693"/>
                <a:gd name="T52" fmla="*/ 539 w 669"/>
                <a:gd name="T53" fmla="*/ 5 h 6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69" h="693">
                  <a:moveTo>
                    <a:pt x="539" y="5"/>
                  </a:moveTo>
                  <a:cubicBezTo>
                    <a:pt x="579" y="0"/>
                    <a:pt x="619" y="19"/>
                    <a:pt x="640" y="55"/>
                  </a:cubicBezTo>
                  <a:cubicBezTo>
                    <a:pt x="669" y="104"/>
                    <a:pt x="652" y="167"/>
                    <a:pt x="603" y="195"/>
                  </a:cubicBezTo>
                  <a:cubicBezTo>
                    <a:pt x="566" y="216"/>
                    <a:pt x="522" y="212"/>
                    <a:pt x="490" y="188"/>
                  </a:cubicBezTo>
                  <a:cubicBezTo>
                    <a:pt x="479" y="176"/>
                    <a:pt x="479" y="176"/>
                    <a:pt x="479" y="176"/>
                  </a:cubicBezTo>
                  <a:cubicBezTo>
                    <a:pt x="213" y="330"/>
                    <a:pt x="213" y="330"/>
                    <a:pt x="213" y="330"/>
                  </a:cubicBezTo>
                  <a:cubicBezTo>
                    <a:pt x="218" y="345"/>
                    <a:pt x="218" y="345"/>
                    <a:pt x="218" y="345"/>
                  </a:cubicBezTo>
                  <a:cubicBezTo>
                    <a:pt x="219" y="355"/>
                    <a:pt x="219" y="365"/>
                    <a:pt x="218" y="375"/>
                  </a:cubicBezTo>
                  <a:cubicBezTo>
                    <a:pt x="209" y="402"/>
                    <a:pt x="209" y="402"/>
                    <a:pt x="209" y="402"/>
                  </a:cubicBezTo>
                  <a:cubicBezTo>
                    <a:pt x="369" y="503"/>
                    <a:pt x="369" y="503"/>
                    <a:pt x="369" y="503"/>
                  </a:cubicBezTo>
                  <a:cubicBezTo>
                    <a:pt x="373" y="498"/>
                    <a:pt x="373" y="498"/>
                    <a:pt x="373" y="498"/>
                  </a:cubicBezTo>
                  <a:cubicBezTo>
                    <a:pt x="396" y="479"/>
                    <a:pt x="427" y="470"/>
                    <a:pt x="456" y="475"/>
                  </a:cubicBezTo>
                  <a:cubicBezTo>
                    <a:pt x="470" y="477"/>
                    <a:pt x="482" y="482"/>
                    <a:pt x="494" y="489"/>
                  </a:cubicBezTo>
                  <a:cubicBezTo>
                    <a:pt x="542" y="519"/>
                    <a:pt x="557" y="583"/>
                    <a:pt x="527" y="630"/>
                  </a:cubicBezTo>
                  <a:cubicBezTo>
                    <a:pt x="497" y="678"/>
                    <a:pt x="433" y="693"/>
                    <a:pt x="386" y="663"/>
                  </a:cubicBezTo>
                  <a:cubicBezTo>
                    <a:pt x="350" y="640"/>
                    <a:pt x="333" y="599"/>
                    <a:pt x="339" y="560"/>
                  </a:cubicBezTo>
                  <a:cubicBezTo>
                    <a:pt x="345" y="544"/>
                    <a:pt x="345" y="544"/>
                    <a:pt x="345" y="544"/>
                  </a:cubicBezTo>
                  <a:cubicBezTo>
                    <a:pt x="177" y="439"/>
                    <a:pt x="177" y="439"/>
                    <a:pt x="177" y="439"/>
                  </a:cubicBezTo>
                  <a:cubicBezTo>
                    <a:pt x="168" y="446"/>
                    <a:pt x="168" y="446"/>
                    <a:pt x="168" y="446"/>
                  </a:cubicBezTo>
                  <a:cubicBezTo>
                    <a:pt x="119" y="475"/>
                    <a:pt x="56" y="458"/>
                    <a:pt x="28" y="409"/>
                  </a:cubicBezTo>
                  <a:cubicBezTo>
                    <a:pt x="0" y="360"/>
                    <a:pt x="16" y="297"/>
                    <a:pt x="65" y="269"/>
                  </a:cubicBezTo>
                  <a:cubicBezTo>
                    <a:pt x="102" y="248"/>
                    <a:pt x="147" y="252"/>
                    <a:pt x="178" y="276"/>
                  </a:cubicBezTo>
                  <a:cubicBezTo>
                    <a:pt x="189" y="288"/>
                    <a:pt x="189" y="288"/>
                    <a:pt x="189" y="288"/>
                  </a:cubicBezTo>
                  <a:cubicBezTo>
                    <a:pt x="455" y="134"/>
                    <a:pt x="455" y="134"/>
                    <a:pt x="455" y="134"/>
                  </a:cubicBezTo>
                  <a:cubicBezTo>
                    <a:pt x="450" y="119"/>
                    <a:pt x="450" y="119"/>
                    <a:pt x="450" y="119"/>
                  </a:cubicBezTo>
                  <a:cubicBezTo>
                    <a:pt x="445" y="80"/>
                    <a:pt x="464" y="39"/>
                    <a:pt x="501" y="18"/>
                  </a:cubicBezTo>
                  <a:cubicBezTo>
                    <a:pt x="513" y="11"/>
                    <a:pt x="526" y="6"/>
                    <a:pt x="539" y="5"/>
                  </a:cubicBezTo>
                  <a:close/>
                </a:path>
              </a:pathLst>
            </a:custGeom>
            <a:solidFill>
              <a:schemeClr val="tx1"/>
            </a:solidFill>
            <a:ln>
              <a:noFill/>
            </a:ln>
          </p:spPr>
          <p:txBody>
            <a:bodyPr vert="horz" wrap="square" lIns="68574" tIns="34287" rIns="68574" bIns="34287"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0000"/>
                </a:solidFill>
                <a:effectLst/>
                <a:uLnTx/>
                <a:uFillTx/>
                <a:latin typeface="Segoe UI"/>
                <a:ea typeface="+mn-ea"/>
                <a:cs typeface="+mn-cs"/>
              </a:endParaRPr>
            </a:p>
          </p:txBody>
        </p:sp>
        <p:sp>
          <p:nvSpPr>
            <p:cNvPr id="87" name="Freeform 86"/>
            <p:cNvSpPr>
              <a:spLocks noChangeAspect="1" noEditPoints="1"/>
            </p:cNvSpPr>
            <p:nvPr/>
          </p:nvSpPr>
          <p:spPr bwMode="black">
            <a:xfrm>
              <a:off x="722320" y="1783009"/>
              <a:ext cx="452202" cy="366660"/>
            </a:xfrm>
            <a:custGeom>
              <a:avLst/>
              <a:gdLst>
                <a:gd name="T0" fmla="*/ 600 w 1107"/>
                <a:gd name="T1" fmla="*/ 625 h 897"/>
                <a:gd name="T2" fmla="*/ 649 w 1107"/>
                <a:gd name="T3" fmla="*/ 567 h 897"/>
                <a:gd name="T4" fmla="*/ 727 w 1107"/>
                <a:gd name="T5" fmla="*/ 482 h 897"/>
                <a:gd name="T6" fmla="*/ 601 w 1107"/>
                <a:gd name="T7" fmla="*/ 434 h 897"/>
                <a:gd name="T8" fmla="*/ 628 w 1107"/>
                <a:gd name="T9" fmla="*/ 305 h 897"/>
                <a:gd name="T10" fmla="*/ 547 w 1107"/>
                <a:gd name="T11" fmla="*/ 240 h 897"/>
                <a:gd name="T12" fmla="*/ 427 w 1107"/>
                <a:gd name="T13" fmla="*/ 287 h 897"/>
                <a:gd name="T14" fmla="*/ 368 w 1107"/>
                <a:gd name="T15" fmla="*/ 170 h 897"/>
                <a:gd name="T16" fmla="*/ 285 w 1107"/>
                <a:gd name="T17" fmla="*/ 263 h 897"/>
                <a:gd name="T18" fmla="*/ 241 w 1107"/>
                <a:gd name="T19" fmla="*/ 313 h 897"/>
                <a:gd name="T20" fmla="*/ 139 w 1107"/>
                <a:gd name="T21" fmla="*/ 281 h 897"/>
                <a:gd name="T22" fmla="*/ 79 w 1107"/>
                <a:gd name="T23" fmla="*/ 355 h 897"/>
                <a:gd name="T24" fmla="*/ 132 w 1107"/>
                <a:gd name="T25" fmla="*/ 446 h 897"/>
                <a:gd name="T26" fmla="*/ 83 w 1107"/>
                <a:gd name="T27" fmla="*/ 505 h 897"/>
                <a:gd name="T28" fmla="*/ 5 w 1107"/>
                <a:gd name="T29" fmla="*/ 590 h 897"/>
                <a:gd name="T30" fmla="*/ 132 w 1107"/>
                <a:gd name="T31" fmla="*/ 638 h 897"/>
                <a:gd name="T32" fmla="*/ 145 w 1107"/>
                <a:gd name="T33" fmla="*/ 669 h 897"/>
                <a:gd name="T34" fmla="*/ 110 w 1107"/>
                <a:gd name="T35" fmla="*/ 793 h 897"/>
                <a:gd name="T36" fmla="*/ 230 w 1107"/>
                <a:gd name="T37" fmla="*/ 781 h 897"/>
                <a:gd name="T38" fmla="*/ 306 w 1107"/>
                <a:gd name="T39" fmla="*/ 785 h 897"/>
                <a:gd name="T40" fmla="*/ 346 w 1107"/>
                <a:gd name="T41" fmla="*/ 878 h 897"/>
                <a:gd name="T42" fmla="*/ 440 w 1107"/>
                <a:gd name="T43" fmla="*/ 872 h 897"/>
                <a:gd name="T44" fmla="*/ 466 w 1107"/>
                <a:gd name="T45" fmla="*/ 764 h 897"/>
                <a:gd name="T46" fmla="*/ 539 w 1107"/>
                <a:gd name="T47" fmla="*/ 755 h 897"/>
                <a:gd name="T48" fmla="*/ 659 w 1107"/>
                <a:gd name="T49" fmla="*/ 743 h 897"/>
                <a:gd name="T50" fmla="*/ 263 w 1107"/>
                <a:gd name="T51" fmla="*/ 452 h 897"/>
                <a:gd name="T52" fmla="*/ 281 w 1107"/>
                <a:gd name="T53" fmla="*/ 633 h 897"/>
                <a:gd name="T54" fmla="*/ 1002 w 1107"/>
                <a:gd name="T55" fmla="*/ 332 h 897"/>
                <a:gd name="T56" fmla="*/ 1043 w 1107"/>
                <a:gd name="T57" fmla="*/ 304 h 897"/>
                <a:gd name="T58" fmla="*/ 1107 w 1107"/>
                <a:gd name="T59" fmla="*/ 266 h 897"/>
                <a:gd name="T60" fmla="*/ 1037 w 1107"/>
                <a:gd name="T61" fmla="*/ 213 h 897"/>
                <a:gd name="T62" fmla="*/ 1077 w 1107"/>
                <a:gd name="T63" fmla="*/ 138 h 897"/>
                <a:gd name="T64" fmla="*/ 1038 w 1107"/>
                <a:gd name="T65" fmla="*/ 83 h 897"/>
                <a:gd name="T66" fmla="*/ 956 w 1107"/>
                <a:gd name="T67" fmla="*/ 91 h 897"/>
                <a:gd name="T68" fmla="*/ 940 w 1107"/>
                <a:gd name="T69" fmla="*/ 7 h 897"/>
                <a:gd name="T70" fmla="*/ 872 w 1107"/>
                <a:gd name="T71" fmla="*/ 50 h 897"/>
                <a:gd name="T72" fmla="*/ 836 w 1107"/>
                <a:gd name="T73" fmla="*/ 74 h 897"/>
                <a:gd name="T74" fmla="*/ 778 w 1107"/>
                <a:gd name="T75" fmla="*/ 35 h 897"/>
                <a:gd name="T76" fmla="*/ 728 w 1107"/>
                <a:gd name="T77" fmla="*/ 70 h 897"/>
                <a:gd name="T78" fmla="*/ 744 w 1107"/>
                <a:gd name="T79" fmla="*/ 136 h 897"/>
                <a:gd name="T80" fmla="*/ 703 w 1107"/>
                <a:gd name="T81" fmla="*/ 164 h 897"/>
                <a:gd name="T82" fmla="*/ 640 w 1107"/>
                <a:gd name="T83" fmla="*/ 203 h 897"/>
                <a:gd name="T84" fmla="*/ 710 w 1107"/>
                <a:gd name="T85" fmla="*/ 255 h 897"/>
                <a:gd name="T86" fmla="*/ 712 w 1107"/>
                <a:gd name="T87" fmla="*/ 277 h 897"/>
                <a:gd name="T88" fmla="*/ 668 w 1107"/>
                <a:gd name="T89" fmla="*/ 347 h 897"/>
                <a:gd name="T90" fmla="*/ 745 w 1107"/>
                <a:gd name="T91" fmla="*/ 361 h 897"/>
                <a:gd name="T92" fmla="*/ 791 w 1107"/>
                <a:gd name="T93" fmla="*/ 377 h 897"/>
                <a:gd name="T94" fmla="*/ 799 w 1107"/>
                <a:gd name="T95" fmla="*/ 443 h 897"/>
                <a:gd name="T96" fmla="*/ 859 w 1107"/>
                <a:gd name="T97" fmla="*/ 456 h 897"/>
                <a:gd name="T98" fmla="*/ 894 w 1107"/>
                <a:gd name="T99" fmla="*/ 393 h 897"/>
                <a:gd name="T100" fmla="*/ 941 w 1107"/>
                <a:gd name="T101" fmla="*/ 401 h 897"/>
                <a:gd name="T102" fmla="*/ 1018 w 1107"/>
                <a:gd name="T103" fmla="*/ 415 h 897"/>
                <a:gd name="T104" fmla="*/ 825 w 1107"/>
                <a:gd name="T105" fmla="*/ 164 h 897"/>
                <a:gd name="T106" fmla="*/ 803 w 1107"/>
                <a:gd name="T107" fmla="*/ 279 h 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107" h="897">
                  <a:moveTo>
                    <a:pt x="654" y="716"/>
                  </a:moveTo>
                  <a:cubicBezTo>
                    <a:pt x="616" y="670"/>
                    <a:pt x="616" y="670"/>
                    <a:pt x="616" y="670"/>
                  </a:cubicBezTo>
                  <a:cubicBezTo>
                    <a:pt x="593" y="654"/>
                    <a:pt x="603" y="638"/>
                    <a:pt x="600" y="625"/>
                  </a:cubicBezTo>
                  <a:cubicBezTo>
                    <a:pt x="600" y="625"/>
                    <a:pt x="600" y="625"/>
                    <a:pt x="600" y="625"/>
                  </a:cubicBezTo>
                  <a:cubicBezTo>
                    <a:pt x="605" y="617"/>
                    <a:pt x="611" y="609"/>
                    <a:pt x="608" y="596"/>
                  </a:cubicBezTo>
                  <a:cubicBezTo>
                    <a:pt x="618" y="580"/>
                    <a:pt x="623" y="572"/>
                    <a:pt x="649" y="567"/>
                  </a:cubicBezTo>
                  <a:cubicBezTo>
                    <a:pt x="715" y="553"/>
                    <a:pt x="715" y="553"/>
                    <a:pt x="715" y="553"/>
                  </a:cubicBezTo>
                  <a:cubicBezTo>
                    <a:pt x="728" y="550"/>
                    <a:pt x="733" y="542"/>
                    <a:pt x="730" y="529"/>
                  </a:cubicBezTo>
                  <a:cubicBezTo>
                    <a:pt x="727" y="482"/>
                    <a:pt x="727" y="482"/>
                    <a:pt x="727" y="482"/>
                  </a:cubicBezTo>
                  <a:cubicBezTo>
                    <a:pt x="724" y="469"/>
                    <a:pt x="717" y="463"/>
                    <a:pt x="701" y="453"/>
                  </a:cubicBezTo>
                  <a:cubicBezTo>
                    <a:pt x="641" y="459"/>
                    <a:pt x="641" y="459"/>
                    <a:pt x="641" y="459"/>
                  </a:cubicBezTo>
                  <a:cubicBezTo>
                    <a:pt x="620" y="457"/>
                    <a:pt x="604" y="447"/>
                    <a:pt x="601" y="434"/>
                  </a:cubicBezTo>
                  <a:cubicBezTo>
                    <a:pt x="598" y="421"/>
                    <a:pt x="590" y="416"/>
                    <a:pt x="580" y="397"/>
                  </a:cubicBezTo>
                  <a:cubicBezTo>
                    <a:pt x="577" y="384"/>
                    <a:pt x="574" y="371"/>
                    <a:pt x="584" y="355"/>
                  </a:cubicBezTo>
                  <a:cubicBezTo>
                    <a:pt x="628" y="305"/>
                    <a:pt x="628" y="305"/>
                    <a:pt x="628" y="305"/>
                  </a:cubicBezTo>
                  <a:cubicBezTo>
                    <a:pt x="634" y="297"/>
                    <a:pt x="631" y="284"/>
                    <a:pt x="623" y="279"/>
                  </a:cubicBezTo>
                  <a:cubicBezTo>
                    <a:pt x="581" y="240"/>
                    <a:pt x="581" y="240"/>
                    <a:pt x="581" y="240"/>
                  </a:cubicBezTo>
                  <a:cubicBezTo>
                    <a:pt x="573" y="235"/>
                    <a:pt x="560" y="238"/>
                    <a:pt x="547" y="240"/>
                  </a:cubicBezTo>
                  <a:cubicBezTo>
                    <a:pt x="503" y="291"/>
                    <a:pt x="503" y="291"/>
                    <a:pt x="503" y="291"/>
                  </a:cubicBezTo>
                  <a:cubicBezTo>
                    <a:pt x="484" y="302"/>
                    <a:pt x="471" y="304"/>
                    <a:pt x="463" y="299"/>
                  </a:cubicBezTo>
                  <a:cubicBezTo>
                    <a:pt x="456" y="294"/>
                    <a:pt x="435" y="292"/>
                    <a:pt x="427" y="287"/>
                  </a:cubicBezTo>
                  <a:cubicBezTo>
                    <a:pt x="419" y="282"/>
                    <a:pt x="403" y="271"/>
                    <a:pt x="400" y="258"/>
                  </a:cubicBezTo>
                  <a:cubicBezTo>
                    <a:pt x="386" y="193"/>
                    <a:pt x="386" y="193"/>
                    <a:pt x="386" y="193"/>
                  </a:cubicBezTo>
                  <a:cubicBezTo>
                    <a:pt x="384" y="180"/>
                    <a:pt x="368" y="170"/>
                    <a:pt x="368" y="170"/>
                  </a:cubicBezTo>
                  <a:cubicBezTo>
                    <a:pt x="308" y="176"/>
                    <a:pt x="308" y="176"/>
                    <a:pt x="308" y="176"/>
                  </a:cubicBezTo>
                  <a:cubicBezTo>
                    <a:pt x="308" y="176"/>
                    <a:pt x="289" y="187"/>
                    <a:pt x="292" y="200"/>
                  </a:cubicBezTo>
                  <a:cubicBezTo>
                    <a:pt x="285" y="263"/>
                    <a:pt x="285" y="263"/>
                    <a:pt x="285" y="263"/>
                  </a:cubicBezTo>
                  <a:cubicBezTo>
                    <a:pt x="291" y="289"/>
                    <a:pt x="277" y="292"/>
                    <a:pt x="272" y="300"/>
                  </a:cubicBezTo>
                  <a:cubicBezTo>
                    <a:pt x="272" y="300"/>
                    <a:pt x="272" y="300"/>
                    <a:pt x="267" y="308"/>
                  </a:cubicBezTo>
                  <a:cubicBezTo>
                    <a:pt x="259" y="302"/>
                    <a:pt x="246" y="305"/>
                    <a:pt x="241" y="313"/>
                  </a:cubicBezTo>
                  <a:cubicBezTo>
                    <a:pt x="236" y="321"/>
                    <a:pt x="236" y="321"/>
                    <a:pt x="236" y="321"/>
                  </a:cubicBezTo>
                  <a:cubicBezTo>
                    <a:pt x="223" y="324"/>
                    <a:pt x="210" y="327"/>
                    <a:pt x="194" y="317"/>
                  </a:cubicBezTo>
                  <a:cubicBezTo>
                    <a:pt x="139" y="281"/>
                    <a:pt x="139" y="281"/>
                    <a:pt x="139" y="281"/>
                  </a:cubicBezTo>
                  <a:cubicBezTo>
                    <a:pt x="131" y="276"/>
                    <a:pt x="110" y="273"/>
                    <a:pt x="104" y="281"/>
                  </a:cubicBezTo>
                  <a:cubicBezTo>
                    <a:pt x="79" y="321"/>
                    <a:pt x="79" y="321"/>
                    <a:pt x="79" y="321"/>
                  </a:cubicBezTo>
                  <a:cubicBezTo>
                    <a:pt x="66" y="324"/>
                    <a:pt x="68" y="337"/>
                    <a:pt x="79" y="355"/>
                  </a:cubicBezTo>
                  <a:cubicBezTo>
                    <a:pt x="121" y="394"/>
                    <a:pt x="121" y="394"/>
                    <a:pt x="121" y="394"/>
                  </a:cubicBezTo>
                  <a:cubicBezTo>
                    <a:pt x="140" y="417"/>
                    <a:pt x="135" y="425"/>
                    <a:pt x="132" y="446"/>
                  </a:cubicBezTo>
                  <a:cubicBezTo>
                    <a:pt x="132" y="446"/>
                    <a:pt x="132" y="446"/>
                    <a:pt x="132" y="446"/>
                  </a:cubicBezTo>
                  <a:cubicBezTo>
                    <a:pt x="127" y="454"/>
                    <a:pt x="122" y="462"/>
                    <a:pt x="117" y="470"/>
                  </a:cubicBezTo>
                  <a:cubicBezTo>
                    <a:pt x="117" y="470"/>
                    <a:pt x="117" y="470"/>
                    <a:pt x="117" y="470"/>
                  </a:cubicBezTo>
                  <a:cubicBezTo>
                    <a:pt x="120" y="483"/>
                    <a:pt x="109" y="499"/>
                    <a:pt x="83" y="505"/>
                  </a:cubicBezTo>
                  <a:cubicBezTo>
                    <a:pt x="23" y="511"/>
                    <a:pt x="23" y="511"/>
                    <a:pt x="23" y="511"/>
                  </a:cubicBezTo>
                  <a:cubicBezTo>
                    <a:pt x="10" y="514"/>
                    <a:pt x="0" y="529"/>
                    <a:pt x="2" y="543"/>
                  </a:cubicBezTo>
                  <a:cubicBezTo>
                    <a:pt x="5" y="590"/>
                    <a:pt x="5" y="590"/>
                    <a:pt x="5" y="590"/>
                  </a:cubicBezTo>
                  <a:cubicBezTo>
                    <a:pt x="8" y="603"/>
                    <a:pt x="16" y="608"/>
                    <a:pt x="37" y="610"/>
                  </a:cubicBezTo>
                  <a:cubicBezTo>
                    <a:pt x="92" y="612"/>
                    <a:pt x="92" y="612"/>
                    <a:pt x="92" y="612"/>
                  </a:cubicBezTo>
                  <a:cubicBezTo>
                    <a:pt x="113" y="614"/>
                    <a:pt x="129" y="625"/>
                    <a:pt x="132" y="638"/>
                  </a:cubicBezTo>
                  <a:cubicBezTo>
                    <a:pt x="132" y="638"/>
                    <a:pt x="132" y="638"/>
                    <a:pt x="132" y="638"/>
                  </a:cubicBezTo>
                  <a:cubicBezTo>
                    <a:pt x="140" y="643"/>
                    <a:pt x="142" y="656"/>
                    <a:pt x="150" y="661"/>
                  </a:cubicBezTo>
                  <a:cubicBezTo>
                    <a:pt x="145" y="669"/>
                    <a:pt x="145" y="669"/>
                    <a:pt x="145" y="669"/>
                  </a:cubicBezTo>
                  <a:cubicBezTo>
                    <a:pt x="153" y="674"/>
                    <a:pt x="156" y="687"/>
                    <a:pt x="140" y="711"/>
                  </a:cubicBezTo>
                  <a:cubicBezTo>
                    <a:pt x="109" y="759"/>
                    <a:pt x="109" y="759"/>
                    <a:pt x="109" y="759"/>
                  </a:cubicBezTo>
                  <a:cubicBezTo>
                    <a:pt x="99" y="775"/>
                    <a:pt x="102" y="788"/>
                    <a:pt x="110" y="793"/>
                  </a:cubicBezTo>
                  <a:cubicBezTo>
                    <a:pt x="152" y="832"/>
                    <a:pt x="152" y="832"/>
                    <a:pt x="152" y="832"/>
                  </a:cubicBezTo>
                  <a:cubicBezTo>
                    <a:pt x="160" y="837"/>
                    <a:pt x="173" y="834"/>
                    <a:pt x="178" y="826"/>
                  </a:cubicBezTo>
                  <a:cubicBezTo>
                    <a:pt x="230" y="781"/>
                    <a:pt x="230" y="781"/>
                    <a:pt x="230" y="781"/>
                  </a:cubicBezTo>
                  <a:cubicBezTo>
                    <a:pt x="248" y="770"/>
                    <a:pt x="261" y="767"/>
                    <a:pt x="269" y="772"/>
                  </a:cubicBezTo>
                  <a:cubicBezTo>
                    <a:pt x="269" y="772"/>
                    <a:pt x="269" y="772"/>
                    <a:pt x="269" y="772"/>
                  </a:cubicBezTo>
                  <a:cubicBezTo>
                    <a:pt x="282" y="769"/>
                    <a:pt x="298" y="779"/>
                    <a:pt x="306" y="785"/>
                  </a:cubicBezTo>
                  <a:cubicBezTo>
                    <a:pt x="306" y="785"/>
                    <a:pt x="306" y="785"/>
                    <a:pt x="306" y="785"/>
                  </a:cubicBezTo>
                  <a:cubicBezTo>
                    <a:pt x="319" y="782"/>
                    <a:pt x="327" y="787"/>
                    <a:pt x="332" y="813"/>
                  </a:cubicBezTo>
                  <a:cubicBezTo>
                    <a:pt x="346" y="878"/>
                    <a:pt x="346" y="878"/>
                    <a:pt x="346" y="878"/>
                  </a:cubicBezTo>
                  <a:cubicBezTo>
                    <a:pt x="349" y="892"/>
                    <a:pt x="357" y="897"/>
                    <a:pt x="370" y="894"/>
                  </a:cubicBezTo>
                  <a:cubicBezTo>
                    <a:pt x="425" y="896"/>
                    <a:pt x="425" y="896"/>
                    <a:pt x="425" y="896"/>
                  </a:cubicBezTo>
                  <a:cubicBezTo>
                    <a:pt x="430" y="888"/>
                    <a:pt x="443" y="885"/>
                    <a:pt x="440" y="872"/>
                  </a:cubicBezTo>
                  <a:cubicBezTo>
                    <a:pt x="440" y="804"/>
                    <a:pt x="440" y="804"/>
                    <a:pt x="440" y="804"/>
                  </a:cubicBezTo>
                  <a:cubicBezTo>
                    <a:pt x="442" y="783"/>
                    <a:pt x="460" y="772"/>
                    <a:pt x="466" y="764"/>
                  </a:cubicBezTo>
                  <a:cubicBezTo>
                    <a:pt x="466" y="764"/>
                    <a:pt x="466" y="764"/>
                    <a:pt x="466" y="764"/>
                  </a:cubicBezTo>
                  <a:cubicBezTo>
                    <a:pt x="479" y="761"/>
                    <a:pt x="492" y="758"/>
                    <a:pt x="497" y="750"/>
                  </a:cubicBezTo>
                  <a:cubicBezTo>
                    <a:pt x="497" y="750"/>
                    <a:pt x="497" y="750"/>
                    <a:pt x="497" y="750"/>
                  </a:cubicBezTo>
                  <a:cubicBezTo>
                    <a:pt x="510" y="747"/>
                    <a:pt x="523" y="745"/>
                    <a:pt x="539" y="755"/>
                  </a:cubicBezTo>
                  <a:cubicBezTo>
                    <a:pt x="594" y="791"/>
                    <a:pt x="594" y="791"/>
                    <a:pt x="594" y="791"/>
                  </a:cubicBezTo>
                  <a:cubicBezTo>
                    <a:pt x="602" y="796"/>
                    <a:pt x="623" y="798"/>
                    <a:pt x="628" y="790"/>
                  </a:cubicBezTo>
                  <a:cubicBezTo>
                    <a:pt x="659" y="743"/>
                    <a:pt x="659" y="743"/>
                    <a:pt x="659" y="743"/>
                  </a:cubicBezTo>
                  <a:cubicBezTo>
                    <a:pt x="659" y="743"/>
                    <a:pt x="669" y="727"/>
                    <a:pt x="654" y="716"/>
                  </a:cubicBezTo>
                  <a:close/>
                  <a:moveTo>
                    <a:pt x="281" y="633"/>
                  </a:moveTo>
                  <a:cubicBezTo>
                    <a:pt x="223" y="584"/>
                    <a:pt x="219" y="502"/>
                    <a:pt x="263" y="452"/>
                  </a:cubicBezTo>
                  <a:cubicBezTo>
                    <a:pt x="313" y="393"/>
                    <a:pt x="399" y="382"/>
                    <a:pt x="457" y="431"/>
                  </a:cubicBezTo>
                  <a:cubicBezTo>
                    <a:pt x="507" y="475"/>
                    <a:pt x="518" y="561"/>
                    <a:pt x="469" y="619"/>
                  </a:cubicBezTo>
                  <a:cubicBezTo>
                    <a:pt x="420" y="678"/>
                    <a:pt x="339" y="682"/>
                    <a:pt x="281" y="633"/>
                  </a:cubicBezTo>
                  <a:close/>
                  <a:moveTo>
                    <a:pt x="1019" y="398"/>
                  </a:moveTo>
                  <a:cubicBezTo>
                    <a:pt x="1004" y="362"/>
                    <a:pt x="1004" y="362"/>
                    <a:pt x="1004" y="362"/>
                  </a:cubicBezTo>
                  <a:cubicBezTo>
                    <a:pt x="992" y="348"/>
                    <a:pt x="1002" y="340"/>
                    <a:pt x="1002" y="332"/>
                  </a:cubicBezTo>
                  <a:cubicBezTo>
                    <a:pt x="1002" y="332"/>
                    <a:pt x="1002" y="332"/>
                    <a:pt x="1002" y="332"/>
                  </a:cubicBezTo>
                  <a:cubicBezTo>
                    <a:pt x="1007" y="328"/>
                    <a:pt x="1011" y="324"/>
                    <a:pt x="1012" y="315"/>
                  </a:cubicBezTo>
                  <a:cubicBezTo>
                    <a:pt x="1021" y="307"/>
                    <a:pt x="1026" y="303"/>
                    <a:pt x="1043" y="304"/>
                  </a:cubicBezTo>
                  <a:cubicBezTo>
                    <a:pt x="1086" y="307"/>
                    <a:pt x="1086" y="307"/>
                    <a:pt x="1086" y="307"/>
                  </a:cubicBezTo>
                  <a:cubicBezTo>
                    <a:pt x="1095" y="308"/>
                    <a:pt x="1099" y="304"/>
                    <a:pt x="1100" y="295"/>
                  </a:cubicBezTo>
                  <a:cubicBezTo>
                    <a:pt x="1107" y="266"/>
                    <a:pt x="1107" y="266"/>
                    <a:pt x="1107" y="266"/>
                  </a:cubicBezTo>
                  <a:cubicBezTo>
                    <a:pt x="1107" y="257"/>
                    <a:pt x="1103" y="252"/>
                    <a:pt x="1095" y="243"/>
                  </a:cubicBezTo>
                  <a:cubicBezTo>
                    <a:pt x="1057" y="236"/>
                    <a:pt x="1057" y="236"/>
                    <a:pt x="1057" y="236"/>
                  </a:cubicBezTo>
                  <a:cubicBezTo>
                    <a:pt x="1044" y="231"/>
                    <a:pt x="1036" y="222"/>
                    <a:pt x="1037" y="213"/>
                  </a:cubicBezTo>
                  <a:cubicBezTo>
                    <a:pt x="1038" y="205"/>
                    <a:pt x="1034" y="200"/>
                    <a:pt x="1030" y="187"/>
                  </a:cubicBezTo>
                  <a:cubicBezTo>
                    <a:pt x="1031" y="178"/>
                    <a:pt x="1032" y="170"/>
                    <a:pt x="1041" y="162"/>
                  </a:cubicBezTo>
                  <a:cubicBezTo>
                    <a:pt x="1077" y="138"/>
                    <a:pt x="1077" y="138"/>
                    <a:pt x="1077" y="138"/>
                  </a:cubicBezTo>
                  <a:cubicBezTo>
                    <a:pt x="1082" y="134"/>
                    <a:pt x="1083" y="126"/>
                    <a:pt x="1079" y="121"/>
                  </a:cubicBezTo>
                  <a:cubicBezTo>
                    <a:pt x="1059" y="89"/>
                    <a:pt x="1059" y="89"/>
                    <a:pt x="1059" y="89"/>
                  </a:cubicBezTo>
                  <a:cubicBezTo>
                    <a:pt x="1055" y="85"/>
                    <a:pt x="1047" y="84"/>
                    <a:pt x="1038" y="83"/>
                  </a:cubicBezTo>
                  <a:cubicBezTo>
                    <a:pt x="1002" y="107"/>
                    <a:pt x="1002" y="107"/>
                    <a:pt x="1002" y="107"/>
                  </a:cubicBezTo>
                  <a:cubicBezTo>
                    <a:pt x="989" y="110"/>
                    <a:pt x="980" y="110"/>
                    <a:pt x="976" y="105"/>
                  </a:cubicBezTo>
                  <a:cubicBezTo>
                    <a:pt x="972" y="100"/>
                    <a:pt x="960" y="95"/>
                    <a:pt x="956" y="91"/>
                  </a:cubicBezTo>
                  <a:cubicBezTo>
                    <a:pt x="952" y="86"/>
                    <a:pt x="944" y="77"/>
                    <a:pt x="944" y="68"/>
                  </a:cubicBezTo>
                  <a:cubicBezTo>
                    <a:pt x="948" y="25"/>
                    <a:pt x="948" y="25"/>
                    <a:pt x="948" y="25"/>
                  </a:cubicBezTo>
                  <a:cubicBezTo>
                    <a:pt x="948" y="17"/>
                    <a:pt x="940" y="7"/>
                    <a:pt x="940" y="7"/>
                  </a:cubicBezTo>
                  <a:cubicBezTo>
                    <a:pt x="902" y="0"/>
                    <a:pt x="902" y="0"/>
                    <a:pt x="902" y="0"/>
                  </a:cubicBezTo>
                  <a:cubicBezTo>
                    <a:pt x="902" y="0"/>
                    <a:pt x="889" y="4"/>
                    <a:pt x="888" y="12"/>
                  </a:cubicBezTo>
                  <a:cubicBezTo>
                    <a:pt x="872" y="50"/>
                    <a:pt x="872" y="50"/>
                    <a:pt x="872" y="50"/>
                  </a:cubicBezTo>
                  <a:cubicBezTo>
                    <a:pt x="871" y="67"/>
                    <a:pt x="862" y="67"/>
                    <a:pt x="858" y="71"/>
                  </a:cubicBezTo>
                  <a:cubicBezTo>
                    <a:pt x="858" y="71"/>
                    <a:pt x="858" y="71"/>
                    <a:pt x="853" y="75"/>
                  </a:cubicBezTo>
                  <a:cubicBezTo>
                    <a:pt x="849" y="70"/>
                    <a:pt x="840" y="70"/>
                    <a:pt x="836" y="74"/>
                  </a:cubicBezTo>
                  <a:cubicBezTo>
                    <a:pt x="831" y="78"/>
                    <a:pt x="831" y="78"/>
                    <a:pt x="831" y="78"/>
                  </a:cubicBezTo>
                  <a:cubicBezTo>
                    <a:pt x="822" y="77"/>
                    <a:pt x="814" y="76"/>
                    <a:pt x="806" y="67"/>
                  </a:cubicBezTo>
                  <a:cubicBezTo>
                    <a:pt x="778" y="35"/>
                    <a:pt x="778" y="35"/>
                    <a:pt x="778" y="35"/>
                  </a:cubicBezTo>
                  <a:cubicBezTo>
                    <a:pt x="774" y="30"/>
                    <a:pt x="762" y="25"/>
                    <a:pt x="757" y="29"/>
                  </a:cubicBezTo>
                  <a:cubicBezTo>
                    <a:pt x="734" y="49"/>
                    <a:pt x="734" y="49"/>
                    <a:pt x="734" y="49"/>
                  </a:cubicBezTo>
                  <a:cubicBezTo>
                    <a:pt x="725" y="49"/>
                    <a:pt x="725" y="57"/>
                    <a:pt x="728" y="70"/>
                  </a:cubicBezTo>
                  <a:cubicBezTo>
                    <a:pt x="747" y="102"/>
                    <a:pt x="747" y="102"/>
                    <a:pt x="747" y="102"/>
                  </a:cubicBezTo>
                  <a:cubicBezTo>
                    <a:pt x="754" y="120"/>
                    <a:pt x="750" y="124"/>
                    <a:pt x="744" y="136"/>
                  </a:cubicBezTo>
                  <a:cubicBezTo>
                    <a:pt x="744" y="136"/>
                    <a:pt x="744" y="136"/>
                    <a:pt x="744" y="136"/>
                  </a:cubicBezTo>
                  <a:cubicBezTo>
                    <a:pt x="740" y="140"/>
                    <a:pt x="735" y="144"/>
                    <a:pt x="731" y="148"/>
                  </a:cubicBezTo>
                  <a:cubicBezTo>
                    <a:pt x="731" y="148"/>
                    <a:pt x="731" y="148"/>
                    <a:pt x="731" y="148"/>
                  </a:cubicBezTo>
                  <a:cubicBezTo>
                    <a:pt x="730" y="157"/>
                    <a:pt x="721" y="165"/>
                    <a:pt x="703" y="164"/>
                  </a:cubicBezTo>
                  <a:cubicBezTo>
                    <a:pt x="665" y="157"/>
                    <a:pt x="665" y="157"/>
                    <a:pt x="665" y="157"/>
                  </a:cubicBezTo>
                  <a:cubicBezTo>
                    <a:pt x="656" y="156"/>
                    <a:pt x="647" y="164"/>
                    <a:pt x="647" y="173"/>
                  </a:cubicBezTo>
                  <a:cubicBezTo>
                    <a:pt x="640" y="203"/>
                    <a:pt x="640" y="203"/>
                    <a:pt x="640" y="203"/>
                  </a:cubicBezTo>
                  <a:cubicBezTo>
                    <a:pt x="639" y="211"/>
                    <a:pt x="643" y="216"/>
                    <a:pt x="656" y="221"/>
                  </a:cubicBezTo>
                  <a:cubicBezTo>
                    <a:pt x="690" y="232"/>
                    <a:pt x="690" y="232"/>
                    <a:pt x="690" y="232"/>
                  </a:cubicBezTo>
                  <a:cubicBezTo>
                    <a:pt x="702" y="237"/>
                    <a:pt x="710" y="246"/>
                    <a:pt x="710" y="255"/>
                  </a:cubicBezTo>
                  <a:cubicBezTo>
                    <a:pt x="710" y="255"/>
                    <a:pt x="710" y="255"/>
                    <a:pt x="710" y="255"/>
                  </a:cubicBezTo>
                  <a:cubicBezTo>
                    <a:pt x="714" y="260"/>
                    <a:pt x="713" y="268"/>
                    <a:pt x="717" y="273"/>
                  </a:cubicBezTo>
                  <a:cubicBezTo>
                    <a:pt x="712" y="277"/>
                    <a:pt x="712" y="277"/>
                    <a:pt x="712" y="277"/>
                  </a:cubicBezTo>
                  <a:cubicBezTo>
                    <a:pt x="716" y="281"/>
                    <a:pt x="716" y="290"/>
                    <a:pt x="702" y="302"/>
                  </a:cubicBezTo>
                  <a:cubicBezTo>
                    <a:pt x="674" y="326"/>
                    <a:pt x="674" y="326"/>
                    <a:pt x="674" y="326"/>
                  </a:cubicBezTo>
                  <a:cubicBezTo>
                    <a:pt x="665" y="334"/>
                    <a:pt x="664" y="343"/>
                    <a:pt x="668" y="347"/>
                  </a:cubicBezTo>
                  <a:cubicBezTo>
                    <a:pt x="687" y="379"/>
                    <a:pt x="687" y="379"/>
                    <a:pt x="687" y="379"/>
                  </a:cubicBezTo>
                  <a:cubicBezTo>
                    <a:pt x="691" y="383"/>
                    <a:pt x="700" y="384"/>
                    <a:pt x="704" y="380"/>
                  </a:cubicBezTo>
                  <a:cubicBezTo>
                    <a:pt x="745" y="361"/>
                    <a:pt x="745" y="361"/>
                    <a:pt x="745" y="361"/>
                  </a:cubicBezTo>
                  <a:cubicBezTo>
                    <a:pt x="758" y="358"/>
                    <a:pt x="767" y="358"/>
                    <a:pt x="771" y="363"/>
                  </a:cubicBezTo>
                  <a:cubicBezTo>
                    <a:pt x="771" y="363"/>
                    <a:pt x="771" y="363"/>
                    <a:pt x="771" y="363"/>
                  </a:cubicBezTo>
                  <a:cubicBezTo>
                    <a:pt x="779" y="364"/>
                    <a:pt x="787" y="373"/>
                    <a:pt x="791" y="377"/>
                  </a:cubicBezTo>
                  <a:cubicBezTo>
                    <a:pt x="791" y="377"/>
                    <a:pt x="791" y="377"/>
                    <a:pt x="791" y="377"/>
                  </a:cubicBezTo>
                  <a:cubicBezTo>
                    <a:pt x="800" y="378"/>
                    <a:pt x="804" y="383"/>
                    <a:pt x="802" y="400"/>
                  </a:cubicBezTo>
                  <a:cubicBezTo>
                    <a:pt x="799" y="443"/>
                    <a:pt x="799" y="443"/>
                    <a:pt x="799" y="443"/>
                  </a:cubicBezTo>
                  <a:cubicBezTo>
                    <a:pt x="798" y="451"/>
                    <a:pt x="802" y="456"/>
                    <a:pt x="811" y="457"/>
                  </a:cubicBezTo>
                  <a:cubicBezTo>
                    <a:pt x="845" y="468"/>
                    <a:pt x="845" y="468"/>
                    <a:pt x="845" y="468"/>
                  </a:cubicBezTo>
                  <a:cubicBezTo>
                    <a:pt x="849" y="464"/>
                    <a:pt x="858" y="464"/>
                    <a:pt x="859" y="456"/>
                  </a:cubicBezTo>
                  <a:cubicBezTo>
                    <a:pt x="871" y="413"/>
                    <a:pt x="871" y="413"/>
                    <a:pt x="871" y="413"/>
                  </a:cubicBezTo>
                  <a:cubicBezTo>
                    <a:pt x="876" y="401"/>
                    <a:pt x="889" y="397"/>
                    <a:pt x="894" y="393"/>
                  </a:cubicBezTo>
                  <a:cubicBezTo>
                    <a:pt x="894" y="393"/>
                    <a:pt x="894" y="393"/>
                    <a:pt x="894" y="393"/>
                  </a:cubicBezTo>
                  <a:cubicBezTo>
                    <a:pt x="902" y="394"/>
                    <a:pt x="911" y="395"/>
                    <a:pt x="916" y="391"/>
                  </a:cubicBezTo>
                  <a:cubicBezTo>
                    <a:pt x="916" y="391"/>
                    <a:pt x="916" y="391"/>
                    <a:pt x="916" y="391"/>
                  </a:cubicBezTo>
                  <a:cubicBezTo>
                    <a:pt x="924" y="391"/>
                    <a:pt x="933" y="392"/>
                    <a:pt x="941" y="401"/>
                  </a:cubicBezTo>
                  <a:cubicBezTo>
                    <a:pt x="969" y="433"/>
                    <a:pt x="969" y="433"/>
                    <a:pt x="969" y="433"/>
                  </a:cubicBezTo>
                  <a:cubicBezTo>
                    <a:pt x="973" y="438"/>
                    <a:pt x="985" y="443"/>
                    <a:pt x="990" y="439"/>
                  </a:cubicBezTo>
                  <a:cubicBezTo>
                    <a:pt x="1018" y="415"/>
                    <a:pt x="1018" y="415"/>
                    <a:pt x="1018" y="415"/>
                  </a:cubicBezTo>
                  <a:cubicBezTo>
                    <a:pt x="1018" y="415"/>
                    <a:pt x="1027" y="407"/>
                    <a:pt x="1019" y="398"/>
                  </a:cubicBezTo>
                  <a:close/>
                  <a:moveTo>
                    <a:pt x="803" y="279"/>
                  </a:moveTo>
                  <a:cubicBezTo>
                    <a:pt x="776" y="238"/>
                    <a:pt x="788" y="187"/>
                    <a:pt x="825" y="164"/>
                  </a:cubicBezTo>
                  <a:cubicBezTo>
                    <a:pt x="866" y="136"/>
                    <a:pt x="921" y="144"/>
                    <a:pt x="948" y="185"/>
                  </a:cubicBezTo>
                  <a:cubicBezTo>
                    <a:pt x="972" y="221"/>
                    <a:pt x="963" y="277"/>
                    <a:pt x="922" y="304"/>
                  </a:cubicBezTo>
                  <a:cubicBezTo>
                    <a:pt x="881" y="332"/>
                    <a:pt x="830" y="320"/>
                    <a:pt x="803" y="279"/>
                  </a:cubicBezTo>
                  <a:close/>
                </a:path>
              </a:pathLst>
            </a:custGeom>
            <a:solidFill>
              <a:schemeClr val="tx1"/>
            </a:solidFill>
            <a:ln>
              <a:noFill/>
            </a:ln>
          </p:spPr>
          <p:txBody>
            <a:bodyPr vert="horz" wrap="square" lIns="68574" tIns="34287" rIns="68574" bIns="34287"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17346"/>
                </a:solidFill>
                <a:effectLst/>
                <a:uLnTx/>
                <a:uFillTx/>
                <a:latin typeface="Segoe UI"/>
                <a:ea typeface="+mn-ea"/>
                <a:cs typeface="+mn-cs"/>
              </a:endParaRPr>
            </a:p>
          </p:txBody>
        </p:sp>
        <p:sp>
          <p:nvSpPr>
            <p:cNvPr id="88" name="Freeform 87"/>
            <p:cNvSpPr>
              <a:spLocks noChangeAspect="1"/>
            </p:cNvSpPr>
            <p:nvPr/>
          </p:nvSpPr>
          <p:spPr bwMode="black">
            <a:xfrm>
              <a:off x="776985" y="4213905"/>
              <a:ext cx="342871" cy="335728"/>
            </a:xfrm>
            <a:custGeom>
              <a:avLst/>
              <a:gdLst>
                <a:gd name="connsiteX0" fmla="*/ 3713863 w 4893730"/>
                <a:gd name="connsiteY0" fmla="*/ 2130808 h 4791777"/>
                <a:gd name="connsiteX1" fmla="*/ 4426142 w 4893730"/>
                <a:gd name="connsiteY1" fmla="*/ 2130808 h 4791777"/>
                <a:gd name="connsiteX2" fmla="*/ 4598071 w 4893730"/>
                <a:gd name="connsiteY2" fmla="*/ 2301547 h 4791777"/>
                <a:gd name="connsiteX3" fmla="*/ 4598071 w 4893730"/>
                <a:gd name="connsiteY3" fmla="*/ 3886978 h 4791777"/>
                <a:gd name="connsiteX4" fmla="*/ 4426142 w 4893730"/>
                <a:gd name="connsiteY4" fmla="*/ 4057717 h 4791777"/>
                <a:gd name="connsiteX5" fmla="*/ 3713863 w 4893730"/>
                <a:gd name="connsiteY5" fmla="*/ 4057717 h 4791777"/>
                <a:gd name="connsiteX6" fmla="*/ 3517372 w 4893730"/>
                <a:gd name="connsiteY6" fmla="*/ 3886978 h 4791777"/>
                <a:gd name="connsiteX7" fmla="*/ 3517372 w 4893730"/>
                <a:gd name="connsiteY7" fmla="*/ 2301547 h 4791777"/>
                <a:gd name="connsiteX8" fmla="*/ 3713863 w 4893730"/>
                <a:gd name="connsiteY8" fmla="*/ 2130808 h 4791777"/>
                <a:gd name="connsiteX9" fmla="*/ 904368 w 4893730"/>
                <a:gd name="connsiteY9" fmla="*/ 1223432 h 4791777"/>
                <a:gd name="connsiteX10" fmla="*/ 1609930 w 4893730"/>
                <a:gd name="connsiteY10" fmla="*/ 1223432 h 4791777"/>
                <a:gd name="connsiteX11" fmla="*/ 1804567 w 4893730"/>
                <a:gd name="connsiteY11" fmla="*/ 1394467 h 4791777"/>
                <a:gd name="connsiteX12" fmla="*/ 1804567 w 4893730"/>
                <a:gd name="connsiteY12" fmla="*/ 3886683 h 4791777"/>
                <a:gd name="connsiteX13" fmla="*/ 1609930 w 4893730"/>
                <a:gd name="connsiteY13" fmla="*/ 4057717 h 4791777"/>
                <a:gd name="connsiteX14" fmla="*/ 904368 w 4893730"/>
                <a:gd name="connsiteY14" fmla="*/ 4057717 h 4791777"/>
                <a:gd name="connsiteX15" fmla="*/ 734060 w 4893730"/>
                <a:gd name="connsiteY15" fmla="*/ 3886683 h 4791777"/>
                <a:gd name="connsiteX16" fmla="*/ 734060 w 4893730"/>
                <a:gd name="connsiteY16" fmla="*/ 1394467 h 4791777"/>
                <a:gd name="connsiteX17" fmla="*/ 904368 w 4893730"/>
                <a:gd name="connsiteY17" fmla="*/ 1223432 h 4791777"/>
                <a:gd name="connsiteX18" fmla="*/ 2325453 w 4893730"/>
                <a:gd name="connsiteY18" fmla="*/ 316050 h 4791777"/>
                <a:gd name="connsiteX19" fmla="*/ 3031014 w 4893730"/>
                <a:gd name="connsiteY19" fmla="*/ 316050 h 4791777"/>
                <a:gd name="connsiteX20" fmla="*/ 3201322 w 4893730"/>
                <a:gd name="connsiteY20" fmla="*/ 487238 h 4791777"/>
                <a:gd name="connsiteX21" fmla="*/ 3201322 w 4893730"/>
                <a:gd name="connsiteY21" fmla="*/ 3886530 h 4791777"/>
                <a:gd name="connsiteX22" fmla="*/ 3031014 w 4893730"/>
                <a:gd name="connsiteY22" fmla="*/ 4057717 h 4791777"/>
                <a:gd name="connsiteX23" fmla="*/ 2325453 w 4893730"/>
                <a:gd name="connsiteY23" fmla="*/ 4057717 h 4791777"/>
                <a:gd name="connsiteX24" fmla="*/ 2130815 w 4893730"/>
                <a:gd name="connsiteY24" fmla="*/ 3886530 h 4791777"/>
                <a:gd name="connsiteX25" fmla="*/ 2130815 w 4893730"/>
                <a:gd name="connsiteY25" fmla="*/ 487238 h 4791777"/>
                <a:gd name="connsiteX26" fmla="*/ 2325453 w 4893730"/>
                <a:gd name="connsiteY26" fmla="*/ 316050 h 4791777"/>
                <a:gd name="connsiteX27" fmla="*/ 269155 w 4893730"/>
                <a:gd name="connsiteY27" fmla="*/ 0 h 4791777"/>
                <a:gd name="connsiteX28" fmla="*/ 538311 w 4893730"/>
                <a:gd name="connsiteY28" fmla="*/ 268927 h 4791777"/>
                <a:gd name="connsiteX29" fmla="*/ 538311 w 4893730"/>
                <a:gd name="connsiteY29" fmla="*/ 4253925 h 4791777"/>
                <a:gd name="connsiteX30" fmla="*/ 4624575 w 4893730"/>
                <a:gd name="connsiteY30" fmla="*/ 4253925 h 4791777"/>
                <a:gd name="connsiteX31" fmla="*/ 4893730 w 4893730"/>
                <a:gd name="connsiteY31" fmla="*/ 4522851 h 4791777"/>
                <a:gd name="connsiteX32" fmla="*/ 4624575 w 4893730"/>
                <a:gd name="connsiteY32" fmla="*/ 4791777 h 4791777"/>
                <a:gd name="connsiteX33" fmla="*/ 269155 w 4893730"/>
                <a:gd name="connsiteY33" fmla="*/ 4791777 h 4791777"/>
                <a:gd name="connsiteX34" fmla="*/ 0 w 4893730"/>
                <a:gd name="connsiteY34" fmla="*/ 4522851 h 4791777"/>
                <a:gd name="connsiteX35" fmla="*/ 0 w 4893730"/>
                <a:gd name="connsiteY35" fmla="*/ 268927 h 4791777"/>
                <a:gd name="connsiteX36" fmla="*/ 269155 w 4893730"/>
                <a:gd name="connsiteY36" fmla="*/ 0 h 4791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4893730" h="4791777">
                  <a:moveTo>
                    <a:pt x="3713863" y="2130808"/>
                  </a:moveTo>
                  <a:cubicBezTo>
                    <a:pt x="3713863" y="2130808"/>
                    <a:pt x="3713863" y="2130808"/>
                    <a:pt x="4426142" y="2130808"/>
                  </a:cubicBezTo>
                  <a:cubicBezTo>
                    <a:pt x="4524387" y="2130808"/>
                    <a:pt x="4598071" y="2203982"/>
                    <a:pt x="4598071" y="2301547"/>
                  </a:cubicBezTo>
                  <a:cubicBezTo>
                    <a:pt x="4598071" y="2301547"/>
                    <a:pt x="4598071" y="2301547"/>
                    <a:pt x="4598071" y="3886978"/>
                  </a:cubicBezTo>
                  <a:cubicBezTo>
                    <a:pt x="4598071" y="3984543"/>
                    <a:pt x="4524387" y="4057717"/>
                    <a:pt x="4426142" y="4057717"/>
                  </a:cubicBezTo>
                  <a:cubicBezTo>
                    <a:pt x="4426142" y="4057717"/>
                    <a:pt x="4426142" y="4057717"/>
                    <a:pt x="3713863" y="4057717"/>
                  </a:cubicBezTo>
                  <a:cubicBezTo>
                    <a:pt x="3615618" y="4057717"/>
                    <a:pt x="3517372" y="3984543"/>
                    <a:pt x="3517372" y="3886978"/>
                  </a:cubicBezTo>
                  <a:cubicBezTo>
                    <a:pt x="3517372" y="3886978"/>
                    <a:pt x="3517372" y="3886978"/>
                    <a:pt x="3517372" y="2301547"/>
                  </a:cubicBezTo>
                  <a:cubicBezTo>
                    <a:pt x="3517372" y="2203982"/>
                    <a:pt x="3615618" y="2130808"/>
                    <a:pt x="3713863" y="2130808"/>
                  </a:cubicBezTo>
                  <a:close/>
                  <a:moveTo>
                    <a:pt x="904368" y="1223432"/>
                  </a:moveTo>
                  <a:cubicBezTo>
                    <a:pt x="904368" y="1223432"/>
                    <a:pt x="904368" y="1223432"/>
                    <a:pt x="1609930" y="1223432"/>
                  </a:cubicBezTo>
                  <a:cubicBezTo>
                    <a:pt x="1731578" y="1223432"/>
                    <a:pt x="1804567" y="1296733"/>
                    <a:pt x="1804567" y="1394467"/>
                  </a:cubicBezTo>
                  <a:cubicBezTo>
                    <a:pt x="1804567" y="1394467"/>
                    <a:pt x="1804567" y="1394467"/>
                    <a:pt x="1804567" y="3886683"/>
                  </a:cubicBezTo>
                  <a:cubicBezTo>
                    <a:pt x="1804567" y="3984417"/>
                    <a:pt x="1731578" y="4057717"/>
                    <a:pt x="1609930" y="4057717"/>
                  </a:cubicBezTo>
                  <a:cubicBezTo>
                    <a:pt x="1609930" y="4057717"/>
                    <a:pt x="1609930" y="4057717"/>
                    <a:pt x="904368" y="4057717"/>
                  </a:cubicBezTo>
                  <a:cubicBezTo>
                    <a:pt x="807049" y="4057717"/>
                    <a:pt x="734060" y="3984417"/>
                    <a:pt x="734060" y="3886683"/>
                  </a:cubicBezTo>
                  <a:cubicBezTo>
                    <a:pt x="734060" y="3886683"/>
                    <a:pt x="734060" y="3886683"/>
                    <a:pt x="734060" y="1394467"/>
                  </a:cubicBezTo>
                  <a:cubicBezTo>
                    <a:pt x="734060" y="1296733"/>
                    <a:pt x="807049" y="1223432"/>
                    <a:pt x="904368" y="1223432"/>
                  </a:cubicBezTo>
                  <a:close/>
                  <a:moveTo>
                    <a:pt x="2325453" y="316050"/>
                  </a:moveTo>
                  <a:cubicBezTo>
                    <a:pt x="2325453" y="316050"/>
                    <a:pt x="2325453" y="316050"/>
                    <a:pt x="3031014" y="316050"/>
                  </a:cubicBezTo>
                  <a:cubicBezTo>
                    <a:pt x="3128333" y="316050"/>
                    <a:pt x="3201322" y="389416"/>
                    <a:pt x="3201322" y="487238"/>
                  </a:cubicBezTo>
                  <a:cubicBezTo>
                    <a:pt x="3201322" y="487238"/>
                    <a:pt x="3201322" y="487238"/>
                    <a:pt x="3201322" y="3886530"/>
                  </a:cubicBezTo>
                  <a:cubicBezTo>
                    <a:pt x="3201322" y="3984351"/>
                    <a:pt x="3128333" y="4057717"/>
                    <a:pt x="3031014" y="4057717"/>
                  </a:cubicBezTo>
                  <a:cubicBezTo>
                    <a:pt x="3031014" y="4057717"/>
                    <a:pt x="3031014" y="4057717"/>
                    <a:pt x="2325453" y="4057717"/>
                  </a:cubicBezTo>
                  <a:cubicBezTo>
                    <a:pt x="2203804" y="4057717"/>
                    <a:pt x="2130815" y="3984351"/>
                    <a:pt x="2130815" y="3886530"/>
                  </a:cubicBezTo>
                  <a:cubicBezTo>
                    <a:pt x="2130815" y="3886530"/>
                    <a:pt x="2130815" y="3886530"/>
                    <a:pt x="2130815" y="487238"/>
                  </a:cubicBezTo>
                  <a:cubicBezTo>
                    <a:pt x="2130815" y="389416"/>
                    <a:pt x="2203804" y="316050"/>
                    <a:pt x="2325453" y="316050"/>
                  </a:cubicBezTo>
                  <a:close/>
                  <a:moveTo>
                    <a:pt x="269155" y="0"/>
                  </a:moveTo>
                  <a:cubicBezTo>
                    <a:pt x="415967" y="0"/>
                    <a:pt x="538311" y="122239"/>
                    <a:pt x="538311" y="268927"/>
                  </a:cubicBezTo>
                  <a:cubicBezTo>
                    <a:pt x="538311" y="268927"/>
                    <a:pt x="538311" y="268927"/>
                    <a:pt x="538311" y="4253925"/>
                  </a:cubicBezTo>
                  <a:cubicBezTo>
                    <a:pt x="538311" y="4253925"/>
                    <a:pt x="538311" y="4253925"/>
                    <a:pt x="4624575" y="4253925"/>
                  </a:cubicBezTo>
                  <a:cubicBezTo>
                    <a:pt x="4771387" y="4253925"/>
                    <a:pt x="4893730" y="4376164"/>
                    <a:pt x="4893730" y="4522851"/>
                  </a:cubicBezTo>
                  <a:cubicBezTo>
                    <a:pt x="4893730" y="4669538"/>
                    <a:pt x="4771387" y="4791777"/>
                    <a:pt x="4624575" y="4791777"/>
                  </a:cubicBezTo>
                  <a:cubicBezTo>
                    <a:pt x="4624575" y="4791777"/>
                    <a:pt x="4624575" y="4791777"/>
                    <a:pt x="269155" y="4791777"/>
                  </a:cubicBezTo>
                  <a:cubicBezTo>
                    <a:pt x="122344" y="4791777"/>
                    <a:pt x="0" y="4669538"/>
                    <a:pt x="0" y="4522851"/>
                  </a:cubicBezTo>
                  <a:cubicBezTo>
                    <a:pt x="0" y="4522851"/>
                    <a:pt x="0" y="4522851"/>
                    <a:pt x="0" y="268927"/>
                  </a:cubicBezTo>
                  <a:cubicBezTo>
                    <a:pt x="0" y="122239"/>
                    <a:pt x="122344" y="0"/>
                    <a:pt x="269155"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37148" tIns="109719" rIns="137148" bIns="109719"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699261"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9" name="Rectangle 88"/>
            <p:cNvSpPr/>
            <p:nvPr/>
          </p:nvSpPr>
          <p:spPr bwMode="auto">
            <a:xfrm rot="2745734">
              <a:off x="279530" y="1141266"/>
              <a:ext cx="1260714" cy="1255193"/>
            </a:xfrm>
            <a:prstGeom prst="rect">
              <a:avLst/>
            </a:prstGeom>
            <a:solidFill>
              <a:schemeClr val="tx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0" name="Rectangle 89"/>
            <p:cNvSpPr/>
            <p:nvPr/>
          </p:nvSpPr>
          <p:spPr bwMode="auto">
            <a:xfrm rot="2745734">
              <a:off x="1305789" y="4246825"/>
              <a:ext cx="416505" cy="1235003"/>
            </a:xfrm>
            <a:prstGeom prst="rect">
              <a:avLst/>
            </a:prstGeom>
            <a:solidFill>
              <a:schemeClr val="tx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2" name="Rectangle 91"/>
            <p:cNvSpPr/>
            <p:nvPr/>
          </p:nvSpPr>
          <p:spPr bwMode="auto">
            <a:xfrm rot="2745734">
              <a:off x="1315610" y="4915701"/>
              <a:ext cx="1263370" cy="1255989"/>
            </a:xfrm>
            <a:prstGeom prst="rect">
              <a:avLst/>
            </a:prstGeom>
            <a:solidFill>
              <a:schemeClr val="tx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40" name="TextBox 39"/>
          <p:cNvSpPr txBox="1"/>
          <p:nvPr/>
        </p:nvSpPr>
        <p:spPr>
          <a:xfrm>
            <a:off x="3" y="51415"/>
            <a:ext cx="2849058" cy="430887"/>
          </a:xfrm>
          <a:prstGeom prst="rect">
            <a:avLst/>
          </a:prstGeom>
        </p:spPr>
        <p:txBody>
          <a:bodyPr wrap="square">
            <a:spAutoFit/>
          </a:bodyPr>
          <a:lstStyle>
            <a:defPPr>
              <a:defRPr lang="en-US"/>
            </a:defPPr>
            <a:lvl1pPr defTabSz="914192">
              <a:defRPr sz="2800" b="1" spc="-100">
                <a:ln w="3175">
                  <a:noFill/>
                </a:ln>
                <a:solidFill>
                  <a:srgbClr val="F2C812"/>
                </a:solidFill>
                <a:latin typeface="Segoe UI" panose="020B0502040204020203" pitchFamily="34" charset="0"/>
                <a:ea typeface="ＭＳ Ｐゴシック" charset="0"/>
                <a:cs typeface="Segoe UI" panose="020B0502040204020203" pitchFamily="34" charset="0"/>
              </a:defRPr>
            </a:lvl1pPr>
          </a:lstStyle>
          <a:p>
            <a:pPr marL="0" marR="0" lvl="0" indent="0" algn="l" defTabSz="914192" rtl="0" eaLnBrk="1" fontAlgn="auto" latinLnBrk="0" hangingPunct="1">
              <a:lnSpc>
                <a:spcPct val="100000"/>
              </a:lnSpc>
              <a:spcBef>
                <a:spcPts val="0"/>
              </a:spcBef>
              <a:spcAft>
                <a:spcPts val="0"/>
              </a:spcAft>
              <a:buClrTx/>
              <a:buSzTx/>
              <a:buFontTx/>
              <a:buNone/>
              <a:tabLst/>
              <a:defRPr/>
            </a:pPr>
            <a:r>
              <a:rPr kumimoji="0" lang="en-US" sz="2200" b="1" i="0" u="none" strike="noStrike" kern="1200" cap="none" spc="-100" normalizeH="0" baseline="0" noProof="0">
                <a:ln w="3175">
                  <a:noFill/>
                </a:ln>
                <a:solidFill>
                  <a:srgbClr val="F2C812"/>
                </a:solidFill>
                <a:effectLst/>
                <a:uLnTx/>
                <a:uFillTx/>
                <a:latin typeface="Segoe UI Light"/>
                <a:ea typeface="ＭＳ Ｐゴシック" charset="0"/>
                <a:cs typeface="Segoe UI" panose="020B0502040204020203" pitchFamily="34" charset="0"/>
              </a:rPr>
              <a:t>Power BI Desktop</a:t>
            </a:r>
          </a:p>
        </p:txBody>
      </p:sp>
      <p:sp>
        <p:nvSpPr>
          <p:cNvPr id="41" name="Rectangle 40"/>
          <p:cNvSpPr/>
          <p:nvPr/>
        </p:nvSpPr>
        <p:spPr bwMode="auto">
          <a:xfrm rot="19005967">
            <a:off x="922420" y="2122148"/>
            <a:ext cx="1260714" cy="369589"/>
          </a:xfrm>
          <a:prstGeom prst="rect">
            <a:avLst/>
          </a:prstGeom>
          <a:solidFill>
            <a:schemeClr val="tx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7" name="Rectangle 36"/>
          <p:cNvSpPr/>
          <p:nvPr/>
        </p:nvSpPr>
        <p:spPr bwMode="auto">
          <a:xfrm rot="2745734">
            <a:off x="1371067" y="2420930"/>
            <a:ext cx="1194544" cy="1235003"/>
          </a:xfrm>
          <a:prstGeom prst="rect">
            <a:avLst/>
          </a:prstGeom>
          <a:solidFill>
            <a:schemeClr val="tx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2" name="Text Placeholder 2"/>
          <p:cNvSpPr txBox="1">
            <a:spLocks/>
          </p:cNvSpPr>
          <p:nvPr/>
        </p:nvSpPr>
        <p:spPr>
          <a:xfrm>
            <a:off x="3173233" y="1058696"/>
            <a:ext cx="5314784" cy="897374"/>
          </a:xfrm>
          <a:prstGeom prst="rect">
            <a:avLst/>
          </a:prstGeom>
        </p:spPr>
        <p:txBody>
          <a:bodyPr vert="horz" wrap="square" lIns="182880" tIns="146304" rIns="182880" bIns="146304" rtlCol="0">
            <a:noAutofit/>
          </a:bodyPr>
          <a:lstStyle>
            <a:lvl1pPr marL="182845" marR="0"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3921" kern="1200" spc="0" baseline="0">
                <a:gradFill>
                  <a:gsLst>
                    <a:gs pos="1250">
                      <a:schemeClr val="tx2"/>
                    </a:gs>
                    <a:gs pos="99000">
                      <a:schemeClr val="tx2"/>
                    </a:gs>
                  </a:gsLst>
                  <a:lin ang="5400000" scaled="0"/>
                </a:gradFill>
                <a:latin typeface="+mj-lt"/>
                <a:ea typeface="+mn-ea"/>
                <a:cs typeface="+mn-cs"/>
              </a:defRPr>
            </a:lvl1pPr>
            <a:lvl2pPr marL="365690" marR="0"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2400" kern="1200" spc="0" baseline="0">
                <a:solidFill>
                  <a:schemeClr val="tx2"/>
                </a:solidFill>
                <a:latin typeface="+mj-lt"/>
                <a:ea typeface="+mn-ea"/>
                <a:cs typeface="+mn-cs"/>
              </a:defRPr>
            </a:lvl2pPr>
            <a:lvl3pPr marL="548535" marR="0"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2000" kern="1200" spc="0" baseline="0">
                <a:solidFill>
                  <a:schemeClr val="tx2"/>
                </a:solidFill>
                <a:latin typeface="+mj-lt"/>
                <a:ea typeface="+mn-ea"/>
                <a:cs typeface="+mn-cs"/>
              </a:defRPr>
            </a:lvl3pPr>
            <a:lvl4pPr marL="733802" marR="0" indent="-28569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1765" kern="1200" spc="0" baseline="0">
                <a:solidFill>
                  <a:schemeClr val="tx2"/>
                </a:solidFill>
                <a:latin typeface="+mn-lt"/>
                <a:ea typeface="+mn-ea"/>
                <a:cs typeface="+mn-cs"/>
              </a:defRPr>
            </a:lvl4pPr>
            <a:lvl5pPr marL="957856" marR="0" indent="-28569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1765" kern="1200" spc="0" baseline="0">
                <a:solidFill>
                  <a:schemeClr val="tx2"/>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1"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r>
              <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rPr>
              <a:t>Filters can be applied at three different levels:</a:t>
            </a: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r>
              <a:rPr kumimoji="0" lang="en-US" sz="2000" b="1"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rPr>
              <a:t>Visual</a:t>
            </a:r>
            <a:r>
              <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rPr>
              <a:t> – The filter only applies to the current visualization</a:t>
            </a: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1"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r>
              <a:rPr kumimoji="0" lang="en-US" sz="2000" b="1"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rPr>
              <a:t>Page</a:t>
            </a:r>
            <a:r>
              <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rPr>
              <a:t> – The filter applies for every visualization on the page</a:t>
            </a: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1"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r>
              <a:rPr kumimoji="0" lang="en-US" sz="2000" b="1"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rPr>
              <a:t>Report</a:t>
            </a:r>
            <a:r>
              <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rPr>
              <a:t> – The filter applies for every visualization for every page in the report (file)</a:t>
            </a:r>
            <a:endParaRPr kumimoji="0" lang="en-US" sz="2000" b="1"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a:p>
            <a:pPr marL="182845" marR="0" lvl="1" indent="0" algn="l" defTabSz="914367" rtl="0" eaLnBrk="1" fontAlgn="auto" latinLnBrk="0" hangingPunct="1">
              <a:lnSpc>
                <a:spcPct val="90000"/>
              </a:lnSpc>
              <a:spcBef>
                <a:spcPct val="20000"/>
              </a:spcBef>
              <a:spcAft>
                <a:spcPts val="0"/>
              </a:spcAft>
              <a:buClrTx/>
              <a:buSzPct val="90000"/>
              <a:buFont typeface="Arial" panose="020B0604020202020204" pitchFamily="34" charset="0"/>
              <a:buNone/>
              <a:tabLst/>
              <a:defRPr/>
            </a:pPr>
            <a:endParaRPr kumimoji="0" lang="en-US" sz="2000" b="1" i="0" u="none" strike="noStrike" kern="1200" cap="none" spc="0" normalizeH="0" baseline="0" noProof="0">
              <a:ln>
                <a:noFill/>
              </a:ln>
              <a:solidFill>
                <a:srgbClr val="000000"/>
              </a:solidFill>
              <a:effectLst/>
              <a:uLnTx/>
              <a:uFillTx/>
              <a:latin typeface="Segoe UI Light"/>
              <a:ea typeface="+mn-ea"/>
              <a:cs typeface="+mn-cs"/>
            </a:endParaRPr>
          </a:p>
          <a:p>
            <a:pPr marL="182845" marR="0" lvl="1" indent="0" algn="l" defTabSz="914367" rtl="0" eaLnBrk="1" fontAlgn="auto" latinLnBrk="0" hangingPunct="1">
              <a:lnSpc>
                <a:spcPct val="90000"/>
              </a:lnSpc>
              <a:spcBef>
                <a:spcPct val="20000"/>
              </a:spcBef>
              <a:spcAft>
                <a:spcPts val="0"/>
              </a:spcAft>
              <a:buClrTx/>
              <a:buSzPct val="90000"/>
              <a:buFont typeface="Arial" panose="020B0604020202020204" pitchFamily="34" charset="0"/>
              <a:buNone/>
              <a:tabLst/>
              <a:defRPr/>
            </a:pPr>
            <a:endParaRPr kumimoji="0" lang="en-US" sz="2000" b="0" i="0" u="none" strike="noStrike" kern="1200" cap="none" spc="0" normalizeH="0" baseline="0" noProof="0">
              <a:ln>
                <a:noFill/>
              </a:ln>
              <a:solidFill>
                <a:srgbClr val="000000"/>
              </a:solidFill>
              <a:effectLst/>
              <a:uLnTx/>
              <a:uFillTx/>
              <a:latin typeface="Segoe UI Light"/>
              <a:ea typeface="+mn-ea"/>
              <a:cs typeface="+mn-cs"/>
            </a:endParaRPr>
          </a:p>
          <a:p>
            <a:pPr marL="182845" marR="0" lvl="1" indent="0" algn="l" defTabSz="914367" rtl="0" eaLnBrk="1" fontAlgn="auto" latinLnBrk="0" hangingPunct="1">
              <a:lnSpc>
                <a:spcPct val="90000"/>
              </a:lnSpc>
              <a:spcBef>
                <a:spcPct val="20000"/>
              </a:spcBef>
              <a:spcAft>
                <a:spcPts val="0"/>
              </a:spcAft>
              <a:buClrTx/>
              <a:buSzPct val="90000"/>
              <a:buFont typeface="Arial" panose="020B0604020202020204" pitchFamily="34" charset="0"/>
              <a:buNone/>
              <a:tabLst/>
              <a:defRPr/>
            </a:pPr>
            <a:endParaRPr kumimoji="0" lang="en-US" sz="2000" b="0" i="0" u="none" strike="noStrike" kern="1200" cap="none" spc="0" normalizeH="0" baseline="0" noProof="0">
              <a:ln>
                <a:noFill/>
              </a:ln>
              <a:solidFill>
                <a:srgbClr val="000000"/>
              </a:solidFill>
              <a:effectLst/>
              <a:uLnTx/>
              <a:uFillTx/>
              <a:latin typeface="Segoe UI Light"/>
              <a:ea typeface="+mn-ea"/>
              <a:cs typeface="+mn-cs"/>
            </a:endParaRPr>
          </a:p>
          <a:p>
            <a:pPr marL="182845" marR="0" lvl="1" indent="0" algn="l" defTabSz="914367" rtl="0" eaLnBrk="1" fontAlgn="auto" latinLnBrk="0" hangingPunct="1">
              <a:lnSpc>
                <a:spcPct val="90000"/>
              </a:lnSpc>
              <a:spcBef>
                <a:spcPct val="20000"/>
              </a:spcBef>
              <a:spcAft>
                <a:spcPts val="0"/>
              </a:spcAft>
              <a:buClrTx/>
              <a:buSzPct val="90000"/>
              <a:buFont typeface="Arial" panose="020B0604020202020204" pitchFamily="34" charset="0"/>
              <a:buNone/>
              <a:tabLst/>
              <a:defRPr/>
            </a:pPr>
            <a:endParaRPr kumimoji="0" lang="en-US" sz="2000" b="0" i="0" u="none" strike="noStrike" kern="1200" cap="none" spc="0" normalizeH="0" baseline="0" noProof="0">
              <a:ln>
                <a:noFill/>
              </a:ln>
              <a:solidFill>
                <a:srgbClr val="000000"/>
              </a:solidFill>
              <a:effectLst/>
              <a:uLnTx/>
              <a:uFillTx/>
              <a:latin typeface="Segoe UI Light"/>
              <a:ea typeface="+mn-ea"/>
              <a:cs typeface="+mn-cs"/>
            </a:endParaRPr>
          </a:p>
        </p:txBody>
      </p:sp>
      <p:pic>
        <p:nvPicPr>
          <p:cNvPr id="5" name="Picture 4"/>
          <p:cNvPicPr>
            <a:picLocks noChangeAspect="1"/>
          </p:cNvPicPr>
          <p:nvPr/>
        </p:nvPicPr>
        <p:blipFill>
          <a:blip r:embed="rId3"/>
          <a:stretch>
            <a:fillRect/>
          </a:stretch>
        </p:blipFill>
        <p:spPr>
          <a:xfrm>
            <a:off x="9205140" y="1354216"/>
            <a:ext cx="1743075" cy="4705350"/>
          </a:xfrm>
          <a:prstGeom prst="rect">
            <a:avLst/>
          </a:prstGeom>
          <a:ln>
            <a:noFill/>
          </a:ln>
          <a:effectLst>
            <a:outerShdw blurRad="190500" algn="tl" rotWithShape="0">
              <a:srgbClr val="000000">
                <a:alpha val="70000"/>
              </a:srgbClr>
            </a:outerShdw>
          </a:effectLst>
        </p:spPr>
      </p:pic>
    </p:spTree>
    <p:extLst>
      <p:ext uri="{BB962C8B-B14F-4D97-AF65-F5344CB8AC3E}">
        <p14:creationId xmlns:p14="http://schemas.microsoft.com/office/powerpoint/2010/main" val="30139980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solidFill>
            <a:schemeClr val="bg1"/>
          </a:solidFill>
        </p:spPr>
        <p:txBody>
          <a:bodyPr/>
          <a:lstStyle/>
          <a:p>
            <a:r>
              <a:rPr lang="en-US" sz="3600">
                <a:solidFill>
                  <a:schemeClr val="tx1"/>
                </a:solidFill>
              </a:rPr>
              <a:t>Cross-Filtering and Cross-Highlighting</a:t>
            </a:r>
          </a:p>
        </p:txBody>
      </p:sp>
      <p:grpSp>
        <p:nvGrpSpPr>
          <p:cNvPr id="52" name="Group 51"/>
          <p:cNvGrpSpPr/>
          <p:nvPr/>
        </p:nvGrpSpPr>
        <p:grpSpPr>
          <a:xfrm>
            <a:off x="2" y="1"/>
            <a:ext cx="2849058" cy="6858000"/>
            <a:chOff x="2" y="1"/>
            <a:chExt cx="2849058" cy="6858000"/>
          </a:xfrm>
        </p:grpSpPr>
        <p:sp>
          <p:nvSpPr>
            <p:cNvPr id="71" name="Rectangle 70"/>
            <p:cNvSpPr/>
            <p:nvPr/>
          </p:nvSpPr>
          <p:spPr bwMode="auto">
            <a:xfrm>
              <a:off x="2" y="1"/>
              <a:ext cx="2849058"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3" name="Oval 70"/>
            <p:cNvSpPr/>
            <p:nvPr/>
          </p:nvSpPr>
          <p:spPr>
            <a:xfrm>
              <a:off x="1413521" y="4951537"/>
              <a:ext cx="1119626" cy="1119626"/>
            </a:xfrm>
            <a:prstGeom prst="ellipse">
              <a:avLst/>
            </a:prstGeom>
            <a:solidFill>
              <a:srgbClr val="F2C812"/>
            </a:solidFill>
            <a:ln w="3175" cap="flat" cmpd="sng" algn="ctr">
              <a:noFill/>
              <a:prstDash val="solid"/>
            </a:ln>
            <a:effectLst/>
          </p:spPr>
          <p:txBody>
            <a:bodyPr vert="horz" wrap="none" lIns="0" tIns="45720" rIns="0" bIns="0" rtlCol="0" anchor="t"/>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Segoe UI"/>
                  <a:ea typeface="Segoe UI" pitchFamily="34" charset="0"/>
                  <a:cs typeface="Segoe UI" pitchFamily="34" charset="0"/>
                </a:rPr>
                <a:t>Share &amp;</a:t>
              </a:r>
            </a:p>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Segoe UI"/>
                  <a:ea typeface="Segoe UI" pitchFamily="34" charset="0"/>
                  <a:cs typeface="Segoe UI" pitchFamily="34" charset="0"/>
                </a:rPr>
                <a:t>collaborate </a:t>
              </a:r>
            </a:p>
          </p:txBody>
        </p:sp>
        <p:grpSp>
          <p:nvGrpSpPr>
            <p:cNvPr id="76" name="Group 38"/>
            <p:cNvGrpSpPr>
              <a:grpSpLocks noChangeAspect="1"/>
            </p:cNvGrpSpPr>
            <p:nvPr/>
          </p:nvGrpSpPr>
          <p:grpSpPr>
            <a:xfrm>
              <a:off x="676996" y="3930692"/>
              <a:ext cx="383905" cy="351536"/>
              <a:chOff x="4363684" y="5330386"/>
              <a:chExt cx="1409956" cy="1291077"/>
            </a:xfrm>
            <a:solidFill>
              <a:srgbClr val="217346"/>
            </a:solidFill>
          </p:grpSpPr>
          <p:sp>
            <p:nvSpPr>
              <p:cNvPr id="102" name="Donut 3"/>
              <p:cNvSpPr/>
              <p:nvPr/>
            </p:nvSpPr>
            <p:spPr bwMode="auto">
              <a:xfrm>
                <a:off x="4363684" y="5330386"/>
                <a:ext cx="1409956" cy="1291077"/>
              </a:xfrm>
              <a:custGeom>
                <a:avLst/>
                <a:gdLst/>
                <a:ahLst/>
                <a:cxnLst/>
                <a:rect l="l" t="t" r="r" b="b"/>
                <a:pathLst>
                  <a:path w="1409956" h="1291077">
                    <a:moveTo>
                      <a:pt x="956401" y="78410"/>
                    </a:moveTo>
                    <a:cubicBezTo>
                      <a:pt x="747518" y="78410"/>
                      <a:pt x="578184" y="247744"/>
                      <a:pt x="578184" y="456627"/>
                    </a:cubicBezTo>
                    <a:cubicBezTo>
                      <a:pt x="578184" y="665510"/>
                      <a:pt x="747518" y="834844"/>
                      <a:pt x="956401" y="834844"/>
                    </a:cubicBezTo>
                    <a:cubicBezTo>
                      <a:pt x="1165284" y="834844"/>
                      <a:pt x="1334618" y="665510"/>
                      <a:pt x="1334618" y="456627"/>
                    </a:cubicBezTo>
                    <a:cubicBezTo>
                      <a:pt x="1334618" y="247744"/>
                      <a:pt x="1165284" y="78410"/>
                      <a:pt x="956401" y="78410"/>
                    </a:cubicBezTo>
                    <a:close/>
                    <a:moveTo>
                      <a:pt x="952756" y="0"/>
                    </a:moveTo>
                    <a:cubicBezTo>
                      <a:pt x="1205261" y="0"/>
                      <a:pt x="1409956" y="204695"/>
                      <a:pt x="1409956" y="457200"/>
                    </a:cubicBezTo>
                    <a:cubicBezTo>
                      <a:pt x="1409956" y="709705"/>
                      <a:pt x="1205261" y="914400"/>
                      <a:pt x="952756" y="914400"/>
                    </a:cubicBezTo>
                    <a:cubicBezTo>
                      <a:pt x="862133" y="914400"/>
                      <a:pt x="777669" y="888034"/>
                      <a:pt x="707132" y="841746"/>
                    </a:cubicBezTo>
                    <a:lnTo>
                      <a:pt x="136495" y="1280102"/>
                    </a:lnTo>
                    <a:cubicBezTo>
                      <a:pt x="21896" y="1327168"/>
                      <a:pt x="-44029" y="1213730"/>
                      <a:pt x="33797" y="1113182"/>
                    </a:cubicBezTo>
                    <a:lnTo>
                      <a:pt x="568587" y="703518"/>
                    </a:lnTo>
                    <a:cubicBezTo>
                      <a:pt x="522087" y="632814"/>
                      <a:pt x="495556" y="548105"/>
                      <a:pt x="495556" y="457200"/>
                    </a:cubicBezTo>
                    <a:cubicBezTo>
                      <a:pt x="495556" y="204695"/>
                      <a:pt x="700251" y="0"/>
                      <a:pt x="952756" y="0"/>
                    </a:cubicBezTo>
                    <a:close/>
                  </a:path>
                </a:pathLst>
              </a:custGeom>
              <a:grpFill/>
              <a:ln>
                <a:solidFill>
                  <a:srgbClr val="21734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sp>
            <p:nvSpPr>
              <p:cNvPr id="103" name="Rectangle 4"/>
              <p:cNvSpPr/>
              <p:nvPr/>
            </p:nvSpPr>
            <p:spPr>
              <a:xfrm>
                <a:off x="5058389" y="5528247"/>
                <a:ext cx="490885" cy="490020"/>
              </a:xfrm>
              <a:custGeom>
                <a:avLst/>
                <a:gdLst/>
                <a:ahLst/>
                <a:cxnLst/>
                <a:rect l="l" t="t" r="r" b="b"/>
                <a:pathLst>
                  <a:path w="490885" h="490020">
                    <a:moveTo>
                      <a:pt x="240752" y="0"/>
                    </a:moveTo>
                    <a:cubicBezTo>
                      <a:pt x="253961" y="11844"/>
                      <a:pt x="293310" y="49692"/>
                      <a:pt x="337332" y="92439"/>
                    </a:cubicBezTo>
                    <a:lnTo>
                      <a:pt x="328342" y="81259"/>
                    </a:lnTo>
                    <a:cubicBezTo>
                      <a:pt x="356946" y="111282"/>
                      <a:pt x="377251" y="107167"/>
                      <a:pt x="382515" y="87941"/>
                    </a:cubicBezTo>
                    <a:cubicBezTo>
                      <a:pt x="383951" y="76921"/>
                      <a:pt x="384595" y="68732"/>
                      <a:pt x="396997" y="52239"/>
                    </a:cubicBezTo>
                    <a:cubicBezTo>
                      <a:pt x="420362" y="32084"/>
                      <a:pt x="442294" y="41736"/>
                      <a:pt x="454920" y="51330"/>
                    </a:cubicBezTo>
                    <a:cubicBezTo>
                      <a:pt x="467834" y="62761"/>
                      <a:pt x="477920" y="86882"/>
                      <a:pt x="460392" y="109714"/>
                    </a:cubicBezTo>
                    <a:cubicBezTo>
                      <a:pt x="451128" y="121912"/>
                      <a:pt x="437554" y="126838"/>
                      <a:pt x="425922" y="126505"/>
                    </a:cubicBezTo>
                    <a:cubicBezTo>
                      <a:pt x="424301" y="127609"/>
                      <a:pt x="382890" y="134974"/>
                      <a:pt x="427348" y="177672"/>
                    </a:cubicBezTo>
                    <a:lnTo>
                      <a:pt x="416886" y="169735"/>
                    </a:lnTo>
                    <a:cubicBezTo>
                      <a:pt x="450207" y="202177"/>
                      <a:pt x="478424" y="229744"/>
                      <a:pt x="490885" y="241900"/>
                    </a:cubicBezTo>
                    <a:lnTo>
                      <a:pt x="417150" y="317347"/>
                    </a:lnTo>
                    <a:cubicBezTo>
                      <a:pt x="417744" y="316535"/>
                      <a:pt x="418443" y="316123"/>
                      <a:pt x="419047" y="315822"/>
                    </a:cubicBezTo>
                    <a:cubicBezTo>
                      <a:pt x="389023" y="344426"/>
                      <a:pt x="393138" y="364731"/>
                      <a:pt x="412364" y="369995"/>
                    </a:cubicBezTo>
                    <a:cubicBezTo>
                      <a:pt x="423384" y="371431"/>
                      <a:pt x="431574" y="372075"/>
                      <a:pt x="448067" y="384477"/>
                    </a:cubicBezTo>
                    <a:cubicBezTo>
                      <a:pt x="468221" y="407842"/>
                      <a:pt x="458569" y="429774"/>
                      <a:pt x="448975" y="442400"/>
                    </a:cubicBezTo>
                    <a:cubicBezTo>
                      <a:pt x="437545" y="455314"/>
                      <a:pt x="413423" y="465400"/>
                      <a:pt x="390591" y="447872"/>
                    </a:cubicBezTo>
                    <a:cubicBezTo>
                      <a:pt x="378394" y="438608"/>
                      <a:pt x="373468" y="425034"/>
                      <a:pt x="373800" y="413402"/>
                    </a:cubicBezTo>
                    <a:cubicBezTo>
                      <a:pt x="372696" y="411781"/>
                      <a:pt x="365332" y="370370"/>
                      <a:pt x="322634" y="414828"/>
                    </a:cubicBezTo>
                    <a:lnTo>
                      <a:pt x="325243" y="411388"/>
                    </a:lnTo>
                    <a:lnTo>
                      <a:pt x="248395" y="490020"/>
                    </a:lnTo>
                    <a:cubicBezTo>
                      <a:pt x="208939" y="451897"/>
                      <a:pt x="199129" y="442073"/>
                      <a:pt x="174192" y="418236"/>
                    </a:cubicBezTo>
                    <a:cubicBezTo>
                      <a:pt x="145587" y="388212"/>
                      <a:pt x="125282" y="392327"/>
                      <a:pt x="120018" y="411553"/>
                    </a:cubicBezTo>
                    <a:cubicBezTo>
                      <a:pt x="118582" y="422573"/>
                      <a:pt x="117938" y="430763"/>
                      <a:pt x="105536" y="447256"/>
                    </a:cubicBezTo>
                    <a:cubicBezTo>
                      <a:pt x="82171" y="467410"/>
                      <a:pt x="60239" y="457758"/>
                      <a:pt x="47614" y="448164"/>
                    </a:cubicBezTo>
                    <a:cubicBezTo>
                      <a:pt x="34699" y="436734"/>
                      <a:pt x="24614" y="412612"/>
                      <a:pt x="42141" y="389780"/>
                    </a:cubicBezTo>
                    <a:cubicBezTo>
                      <a:pt x="51405" y="377583"/>
                      <a:pt x="64979" y="372657"/>
                      <a:pt x="76612" y="372989"/>
                    </a:cubicBezTo>
                    <a:cubicBezTo>
                      <a:pt x="78232" y="371886"/>
                      <a:pt x="119644" y="364521"/>
                      <a:pt x="75186" y="321823"/>
                    </a:cubicBezTo>
                    <a:cubicBezTo>
                      <a:pt x="58767" y="305402"/>
                      <a:pt x="23648" y="271235"/>
                      <a:pt x="0" y="248738"/>
                    </a:cubicBezTo>
                    <a:lnTo>
                      <a:pt x="77303" y="168146"/>
                    </a:lnTo>
                    <a:cubicBezTo>
                      <a:pt x="104269" y="140313"/>
                      <a:pt x="122130" y="156409"/>
                      <a:pt x="124388" y="175543"/>
                    </a:cubicBezTo>
                    <a:cubicBezTo>
                      <a:pt x="124457" y="182466"/>
                      <a:pt x="127106" y="193106"/>
                      <a:pt x="137575" y="203052"/>
                    </a:cubicBezTo>
                    <a:cubicBezTo>
                      <a:pt x="153931" y="220277"/>
                      <a:pt x="181252" y="217451"/>
                      <a:pt x="196721" y="201951"/>
                    </a:cubicBezTo>
                    <a:cubicBezTo>
                      <a:pt x="211961" y="185740"/>
                      <a:pt x="213057" y="157882"/>
                      <a:pt x="196146" y="142797"/>
                    </a:cubicBezTo>
                    <a:cubicBezTo>
                      <a:pt x="184301" y="132637"/>
                      <a:pt x="177155" y="131453"/>
                      <a:pt x="166513" y="129894"/>
                    </a:cubicBezTo>
                    <a:cubicBezTo>
                      <a:pt x="154522" y="129013"/>
                      <a:pt x="131185" y="112953"/>
                      <a:pt x="157905" y="85228"/>
                    </a:cubicBezTo>
                    <a:close/>
                  </a:path>
                </a:pathLst>
              </a:custGeom>
              <a:grpFill/>
              <a:ln>
                <a:solidFill>
                  <a:srgbClr val="21734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grpSp>
        <p:sp>
          <p:nvSpPr>
            <p:cNvPr id="77" name="Oval 47"/>
            <p:cNvSpPr/>
            <p:nvPr/>
          </p:nvSpPr>
          <p:spPr>
            <a:xfrm>
              <a:off x="388608" y="3710471"/>
              <a:ext cx="1119626" cy="1119626"/>
            </a:xfrm>
            <a:prstGeom prst="ellipse">
              <a:avLst/>
            </a:prstGeom>
            <a:solidFill>
              <a:srgbClr val="F2C812"/>
            </a:solidFill>
            <a:ln w="3175" cap="flat" cmpd="sng" algn="ctr">
              <a:noFill/>
              <a:prstDash val="solid"/>
            </a:ln>
            <a:effectLst/>
          </p:spPr>
          <p:txBody>
            <a:bodyPr vert="horz" wrap="none" lIns="0" tIns="45720" rIns="0" bIns="0" rtlCol="0" anchor="t"/>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Segoe UI"/>
                  <a:ea typeface="Segoe UI" pitchFamily="34" charset="0"/>
                  <a:cs typeface="Segoe UI" pitchFamily="34" charset="0"/>
                </a:rPr>
                <a:t>Report</a:t>
              </a:r>
            </a:p>
          </p:txBody>
        </p:sp>
        <p:sp>
          <p:nvSpPr>
            <p:cNvPr id="78" name="Oval 950"/>
            <p:cNvSpPr/>
            <p:nvPr/>
          </p:nvSpPr>
          <p:spPr>
            <a:xfrm>
              <a:off x="388608" y="1252295"/>
              <a:ext cx="1119626" cy="1119626"/>
            </a:xfrm>
            <a:prstGeom prst="ellipse">
              <a:avLst/>
            </a:prstGeom>
            <a:solidFill>
              <a:srgbClr val="F2C812"/>
            </a:solidFill>
            <a:ln w="3175" cap="flat" cmpd="sng" algn="ctr">
              <a:noFill/>
              <a:prstDash val="solid"/>
            </a:ln>
            <a:effectLst/>
          </p:spPr>
          <p:txBody>
            <a:bodyPr vert="horz" wrap="none" lIns="0" tIns="45720" rIns="0" bIns="0" rtlCol="0" anchor="t"/>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1" i="0" u="none" strike="noStrike" kern="1200" cap="none" spc="0" normalizeH="0" baseline="0" noProof="0">
                <a:ln>
                  <a:noFill/>
                </a:ln>
                <a:solidFill>
                  <a:srgbClr val="217346"/>
                </a:solidFill>
                <a:effectLst/>
                <a:uLnTx/>
                <a:uFillTx/>
                <a:latin typeface="Segoe UI"/>
                <a:ea typeface="Segoe UI" pitchFamily="34" charset="0"/>
                <a:cs typeface="Segoe UI" pitchFamily="34" charset="0"/>
              </a:endParaRPr>
            </a:p>
          </p:txBody>
        </p:sp>
        <p:grpSp>
          <p:nvGrpSpPr>
            <p:cNvPr id="79" name="Group 78"/>
            <p:cNvGrpSpPr/>
            <p:nvPr/>
          </p:nvGrpSpPr>
          <p:grpSpPr>
            <a:xfrm>
              <a:off x="1264851" y="3482890"/>
              <a:ext cx="292254" cy="354906"/>
              <a:chOff x="1296521" y="3253388"/>
              <a:chExt cx="292254" cy="354906"/>
            </a:xfrm>
            <a:solidFill>
              <a:srgbClr val="F2C812"/>
            </a:solidFill>
          </p:grpSpPr>
          <p:sp>
            <p:nvSpPr>
              <p:cNvPr id="99" name="Isosceles Triangle 98"/>
              <p:cNvSpPr/>
              <p:nvPr/>
            </p:nvSpPr>
            <p:spPr bwMode="auto">
              <a:xfrm rot="13636515">
                <a:off x="1461362" y="328936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0" name="Isosceles Triangle 99"/>
              <p:cNvSpPr/>
              <p:nvPr/>
            </p:nvSpPr>
            <p:spPr bwMode="auto">
              <a:xfrm rot="13636515">
                <a:off x="1357669" y="338258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1" name="Isosceles Triangle 100"/>
              <p:cNvSpPr/>
              <p:nvPr/>
            </p:nvSpPr>
            <p:spPr bwMode="auto">
              <a:xfrm rot="13636515">
                <a:off x="1260548" y="3480882"/>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80" name="Group 79"/>
            <p:cNvGrpSpPr/>
            <p:nvPr/>
          </p:nvGrpSpPr>
          <p:grpSpPr>
            <a:xfrm rot="15940603">
              <a:off x="1334576" y="2204404"/>
              <a:ext cx="292254" cy="354906"/>
              <a:chOff x="1296521" y="3253388"/>
              <a:chExt cx="292254" cy="354906"/>
            </a:xfrm>
            <a:solidFill>
              <a:srgbClr val="F2C812"/>
            </a:solidFill>
          </p:grpSpPr>
          <p:sp>
            <p:nvSpPr>
              <p:cNvPr id="96" name="Isosceles Triangle 95"/>
              <p:cNvSpPr/>
              <p:nvPr/>
            </p:nvSpPr>
            <p:spPr bwMode="auto">
              <a:xfrm rot="13636515">
                <a:off x="1461362" y="328936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7" name="Isosceles Triangle 96"/>
              <p:cNvSpPr/>
              <p:nvPr/>
            </p:nvSpPr>
            <p:spPr bwMode="auto">
              <a:xfrm rot="13636515">
                <a:off x="1357669" y="338258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8" name="Isosceles Triangle 97"/>
              <p:cNvSpPr/>
              <p:nvPr/>
            </p:nvSpPr>
            <p:spPr bwMode="auto">
              <a:xfrm rot="13636515">
                <a:off x="1260548" y="3480882"/>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81" name="Group 80"/>
            <p:cNvGrpSpPr/>
            <p:nvPr/>
          </p:nvGrpSpPr>
          <p:grpSpPr>
            <a:xfrm rot="16043978">
              <a:off x="1317220" y="4717577"/>
              <a:ext cx="292254" cy="354906"/>
              <a:chOff x="1296521" y="3253388"/>
              <a:chExt cx="292254" cy="354906"/>
            </a:xfrm>
            <a:solidFill>
              <a:srgbClr val="F2C812"/>
            </a:solidFill>
          </p:grpSpPr>
          <p:sp>
            <p:nvSpPr>
              <p:cNvPr id="93" name="Isosceles Triangle 92"/>
              <p:cNvSpPr/>
              <p:nvPr/>
            </p:nvSpPr>
            <p:spPr bwMode="auto">
              <a:xfrm rot="13636515">
                <a:off x="1461362" y="328936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4" name="Isosceles Triangle 93"/>
              <p:cNvSpPr/>
              <p:nvPr/>
            </p:nvSpPr>
            <p:spPr bwMode="auto">
              <a:xfrm rot="13636515">
                <a:off x="1357669" y="338258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5" name="Isosceles Triangle 94"/>
              <p:cNvSpPr/>
              <p:nvPr/>
            </p:nvSpPr>
            <p:spPr bwMode="auto">
              <a:xfrm rot="13636515">
                <a:off x="1260548" y="3480882"/>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82" name="Oval 36"/>
            <p:cNvSpPr/>
            <p:nvPr/>
          </p:nvSpPr>
          <p:spPr>
            <a:xfrm>
              <a:off x="1413521" y="2481383"/>
              <a:ext cx="1119626" cy="1119626"/>
            </a:xfrm>
            <a:prstGeom prst="ellipse">
              <a:avLst/>
            </a:prstGeom>
            <a:solidFill>
              <a:srgbClr val="F2C812"/>
            </a:solidFill>
            <a:ln w="3175" cap="flat" cmpd="sng" algn="ctr">
              <a:noFill/>
              <a:prstDash val="solid"/>
            </a:ln>
            <a:effectLst/>
          </p:spPr>
          <p:txBody>
            <a:bodyPr vert="horz" wrap="none" lIns="0" tIns="0" rIns="0" bIns="0" rtlCol="0" anchor="t"/>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400" b="1" i="0" u="none" strike="noStrike" kern="1200" cap="none" spc="0" normalizeH="0" baseline="0" noProof="0">
                <a:ln>
                  <a:noFill/>
                </a:ln>
                <a:solidFill>
                  <a:srgbClr val="217346"/>
                </a:solidFill>
                <a:effectLst/>
                <a:uLnTx/>
                <a:uFillTx/>
                <a:latin typeface="Segoe UI"/>
                <a:ea typeface="Segoe UI" pitchFamily="34" charset="0"/>
                <a:cs typeface="Segoe UI" pitchFamily="34" charset="0"/>
              </a:endParaRPr>
            </a:p>
          </p:txBody>
        </p:sp>
        <p:sp>
          <p:nvSpPr>
            <p:cNvPr id="83" name="Donut 3"/>
            <p:cNvSpPr/>
            <p:nvPr/>
          </p:nvSpPr>
          <p:spPr bwMode="auto">
            <a:xfrm>
              <a:off x="1742065" y="3002355"/>
              <a:ext cx="383905" cy="351537"/>
            </a:xfrm>
            <a:custGeom>
              <a:avLst/>
              <a:gdLst/>
              <a:ahLst/>
              <a:cxnLst/>
              <a:rect l="l" t="t" r="r" b="b"/>
              <a:pathLst>
                <a:path w="1409956" h="1291077">
                  <a:moveTo>
                    <a:pt x="956401" y="78410"/>
                  </a:moveTo>
                  <a:cubicBezTo>
                    <a:pt x="747518" y="78410"/>
                    <a:pt x="578184" y="247744"/>
                    <a:pt x="578184" y="456627"/>
                  </a:cubicBezTo>
                  <a:cubicBezTo>
                    <a:pt x="578184" y="665510"/>
                    <a:pt x="747518" y="834844"/>
                    <a:pt x="956401" y="834844"/>
                  </a:cubicBezTo>
                  <a:cubicBezTo>
                    <a:pt x="1165284" y="834844"/>
                    <a:pt x="1334618" y="665510"/>
                    <a:pt x="1334618" y="456627"/>
                  </a:cubicBezTo>
                  <a:cubicBezTo>
                    <a:pt x="1334618" y="247744"/>
                    <a:pt x="1165284" y="78410"/>
                    <a:pt x="956401" y="78410"/>
                  </a:cubicBezTo>
                  <a:close/>
                  <a:moveTo>
                    <a:pt x="952756" y="0"/>
                  </a:moveTo>
                  <a:cubicBezTo>
                    <a:pt x="1205261" y="0"/>
                    <a:pt x="1409956" y="204695"/>
                    <a:pt x="1409956" y="457200"/>
                  </a:cubicBezTo>
                  <a:cubicBezTo>
                    <a:pt x="1409956" y="709705"/>
                    <a:pt x="1205261" y="914400"/>
                    <a:pt x="952756" y="914400"/>
                  </a:cubicBezTo>
                  <a:cubicBezTo>
                    <a:pt x="862133" y="914400"/>
                    <a:pt x="777669" y="888034"/>
                    <a:pt x="707132" y="841746"/>
                  </a:cubicBezTo>
                  <a:lnTo>
                    <a:pt x="136495" y="1280102"/>
                  </a:lnTo>
                  <a:cubicBezTo>
                    <a:pt x="21896" y="1327168"/>
                    <a:pt x="-44029" y="1213730"/>
                    <a:pt x="33797" y="1113182"/>
                  </a:cubicBezTo>
                  <a:lnTo>
                    <a:pt x="568587" y="703518"/>
                  </a:lnTo>
                  <a:cubicBezTo>
                    <a:pt x="522087" y="632814"/>
                    <a:pt x="495556" y="548105"/>
                    <a:pt x="495556" y="457200"/>
                  </a:cubicBezTo>
                  <a:cubicBezTo>
                    <a:pt x="495556" y="204695"/>
                    <a:pt x="700251" y="0"/>
                    <a:pt x="952756" y="0"/>
                  </a:cubicBezTo>
                  <a:close/>
                </a:path>
              </a:pathLst>
            </a:cu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sp>
          <p:nvSpPr>
            <p:cNvPr id="84" name="Rectangle 83"/>
            <p:cNvSpPr/>
            <p:nvPr/>
          </p:nvSpPr>
          <p:spPr>
            <a:xfrm>
              <a:off x="1600398" y="2677430"/>
              <a:ext cx="820353" cy="307777"/>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Segoe UI"/>
                  <a:ea typeface="Segoe UI" pitchFamily="34" charset="0"/>
                  <a:cs typeface="Segoe UI" pitchFamily="34" charset="0"/>
                </a:rPr>
                <a:t>Explore</a:t>
              </a:r>
              <a:endParaRPr kumimoji="0" lang="en-US" sz="1600" b="0" i="0" u="none" strike="noStrike" kern="1200" cap="none" spc="0" normalizeH="0" baseline="0" noProof="0">
                <a:ln>
                  <a:noFill/>
                </a:ln>
                <a:solidFill>
                  <a:srgbClr val="000000"/>
                </a:solidFill>
                <a:effectLst/>
                <a:uLnTx/>
                <a:uFillTx/>
                <a:latin typeface="Segoe UI"/>
                <a:ea typeface="+mn-ea"/>
                <a:cs typeface="+mn-cs"/>
              </a:endParaRPr>
            </a:p>
          </p:txBody>
        </p:sp>
        <p:sp>
          <p:nvSpPr>
            <p:cNvPr id="85" name="Rectangle 84"/>
            <p:cNvSpPr/>
            <p:nvPr/>
          </p:nvSpPr>
          <p:spPr>
            <a:xfrm>
              <a:off x="509174" y="1475232"/>
              <a:ext cx="838756" cy="307777"/>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Segoe UI"/>
                  <a:ea typeface="Segoe UI" pitchFamily="34" charset="0"/>
                  <a:cs typeface="Segoe UI" pitchFamily="34" charset="0"/>
                </a:rPr>
                <a:t>Prepare</a:t>
              </a: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86" name="Freeform 85"/>
            <p:cNvSpPr>
              <a:spLocks noChangeAspect="1"/>
            </p:cNvSpPr>
            <p:nvPr/>
          </p:nvSpPr>
          <p:spPr bwMode="black">
            <a:xfrm>
              <a:off x="1836174" y="5643069"/>
              <a:ext cx="274320" cy="284173"/>
            </a:xfrm>
            <a:custGeom>
              <a:avLst/>
              <a:gdLst>
                <a:gd name="T0" fmla="*/ 539 w 669"/>
                <a:gd name="T1" fmla="*/ 5 h 693"/>
                <a:gd name="T2" fmla="*/ 640 w 669"/>
                <a:gd name="T3" fmla="*/ 55 h 693"/>
                <a:gd name="T4" fmla="*/ 603 w 669"/>
                <a:gd name="T5" fmla="*/ 195 h 693"/>
                <a:gd name="T6" fmla="*/ 490 w 669"/>
                <a:gd name="T7" fmla="*/ 188 h 693"/>
                <a:gd name="T8" fmla="*/ 479 w 669"/>
                <a:gd name="T9" fmla="*/ 176 h 693"/>
                <a:gd name="T10" fmla="*/ 213 w 669"/>
                <a:gd name="T11" fmla="*/ 330 h 693"/>
                <a:gd name="T12" fmla="*/ 218 w 669"/>
                <a:gd name="T13" fmla="*/ 345 h 693"/>
                <a:gd name="T14" fmla="*/ 218 w 669"/>
                <a:gd name="T15" fmla="*/ 375 h 693"/>
                <a:gd name="T16" fmla="*/ 209 w 669"/>
                <a:gd name="T17" fmla="*/ 402 h 693"/>
                <a:gd name="T18" fmla="*/ 369 w 669"/>
                <a:gd name="T19" fmla="*/ 503 h 693"/>
                <a:gd name="T20" fmla="*/ 373 w 669"/>
                <a:gd name="T21" fmla="*/ 498 h 693"/>
                <a:gd name="T22" fmla="*/ 456 w 669"/>
                <a:gd name="T23" fmla="*/ 475 h 693"/>
                <a:gd name="T24" fmla="*/ 494 w 669"/>
                <a:gd name="T25" fmla="*/ 489 h 693"/>
                <a:gd name="T26" fmla="*/ 527 w 669"/>
                <a:gd name="T27" fmla="*/ 630 h 693"/>
                <a:gd name="T28" fmla="*/ 386 w 669"/>
                <a:gd name="T29" fmla="*/ 663 h 693"/>
                <a:gd name="T30" fmla="*/ 339 w 669"/>
                <a:gd name="T31" fmla="*/ 560 h 693"/>
                <a:gd name="T32" fmla="*/ 345 w 669"/>
                <a:gd name="T33" fmla="*/ 544 h 693"/>
                <a:gd name="T34" fmla="*/ 177 w 669"/>
                <a:gd name="T35" fmla="*/ 439 h 693"/>
                <a:gd name="T36" fmla="*/ 168 w 669"/>
                <a:gd name="T37" fmla="*/ 446 h 693"/>
                <a:gd name="T38" fmla="*/ 28 w 669"/>
                <a:gd name="T39" fmla="*/ 409 h 693"/>
                <a:gd name="T40" fmla="*/ 65 w 669"/>
                <a:gd name="T41" fmla="*/ 269 h 693"/>
                <a:gd name="T42" fmla="*/ 178 w 669"/>
                <a:gd name="T43" fmla="*/ 276 h 693"/>
                <a:gd name="T44" fmla="*/ 189 w 669"/>
                <a:gd name="T45" fmla="*/ 288 h 693"/>
                <a:gd name="T46" fmla="*/ 455 w 669"/>
                <a:gd name="T47" fmla="*/ 134 h 693"/>
                <a:gd name="T48" fmla="*/ 450 w 669"/>
                <a:gd name="T49" fmla="*/ 119 h 693"/>
                <a:gd name="T50" fmla="*/ 501 w 669"/>
                <a:gd name="T51" fmla="*/ 18 h 693"/>
                <a:gd name="T52" fmla="*/ 539 w 669"/>
                <a:gd name="T53" fmla="*/ 5 h 6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69" h="693">
                  <a:moveTo>
                    <a:pt x="539" y="5"/>
                  </a:moveTo>
                  <a:cubicBezTo>
                    <a:pt x="579" y="0"/>
                    <a:pt x="619" y="19"/>
                    <a:pt x="640" y="55"/>
                  </a:cubicBezTo>
                  <a:cubicBezTo>
                    <a:pt x="669" y="104"/>
                    <a:pt x="652" y="167"/>
                    <a:pt x="603" y="195"/>
                  </a:cubicBezTo>
                  <a:cubicBezTo>
                    <a:pt x="566" y="216"/>
                    <a:pt x="522" y="212"/>
                    <a:pt x="490" y="188"/>
                  </a:cubicBezTo>
                  <a:cubicBezTo>
                    <a:pt x="479" y="176"/>
                    <a:pt x="479" y="176"/>
                    <a:pt x="479" y="176"/>
                  </a:cubicBezTo>
                  <a:cubicBezTo>
                    <a:pt x="213" y="330"/>
                    <a:pt x="213" y="330"/>
                    <a:pt x="213" y="330"/>
                  </a:cubicBezTo>
                  <a:cubicBezTo>
                    <a:pt x="218" y="345"/>
                    <a:pt x="218" y="345"/>
                    <a:pt x="218" y="345"/>
                  </a:cubicBezTo>
                  <a:cubicBezTo>
                    <a:pt x="219" y="355"/>
                    <a:pt x="219" y="365"/>
                    <a:pt x="218" y="375"/>
                  </a:cubicBezTo>
                  <a:cubicBezTo>
                    <a:pt x="209" y="402"/>
                    <a:pt x="209" y="402"/>
                    <a:pt x="209" y="402"/>
                  </a:cubicBezTo>
                  <a:cubicBezTo>
                    <a:pt x="369" y="503"/>
                    <a:pt x="369" y="503"/>
                    <a:pt x="369" y="503"/>
                  </a:cubicBezTo>
                  <a:cubicBezTo>
                    <a:pt x="373" y="498"/>
                    <a:pt x="373" y="498"/>
                    <a:pt x="373" y="498"/>
                  </a:cubicBezTo>
                  <a:cubicBezTo>
                    <a:pt x="396" y="479"/>
                    <a:pt x="427" y="470"/>
                    <a:pt x="456" y="475"/>
                  </a:cubicBezTo>
                  <a:cubicBezTo>
                    <a:pt x="470" y="477"/>
                    <a:pt x="482" y="482"/>
                    <a:pt x="494" y="489"/>
                  </a:cubicBezTo>
                  <a:cubicBezTo>
                    <a:pt x="542" y="519"/>
                    <a:pt x="557" y="583"/>
                    <a:pt x="527" y="630"/>
                  </a:cubicBezTo>
                  <a:cubicBezTo>
                    <a:pt x="497" y="678"/>
                    <a:pt x="433" y="693"/>
                    <a:pt x="386" y="663"/>
                  </a:cubicBezTo>
                  <a:cubicBezTo>
                    <a:pt x="350" y="640"/>
                    <a:pt x="333" y="599"/>
                    <a:pt x="339" y="560"/>
                  </a:cubicBezTo>
                  <a:cubicBezTo>
                    <a:pt x="345" y="544"/>
                    <a:pt x="345" y="544"/>
                    <a:pt x="345" y="544"/>
                  </a:cubicBezTo>
                  <a:cubicBezTo>
                    <a:pt x="177" y="439"/>
                    <a:pt x="177" y="439"/>
                    <a:pt x="177" y="439"/>
                  </a:cubicBezTo>
                  <a:cubicBezTo>
                    <a:pt x="168" y="446"/>
                    <a:pt x="168" y="446"/>
                    <a:pt x="168" y="446"/>
                  </a:cubicBezTo>
                  <a:cubicBezTo>
                    <a:pt x="119" y="475"/>
                    <a:pt x="56" y="458"/>
                    <a:pt x="28" y="409"/>
                  </a:cubicBezTo>
                  <a:cubicBezTo>
                    <a:pt x="0" y="360"/>
                    <a:pt x="16" y="297"/>
                    <a:pt x="65" y="269"/>
                  </a:cubicBezTo>
                  <a:cubicBezTo>
                    <a:pt x="102" y="248"/>
                    <a:pt x="147" y="252"/>
                    <a:pt x="178" y="276"/>
                  </a:cubicBezTo>
                  <a:cubicBezTo>
                    <a:pt x="189" y="288"/>
                    <a:pt x="189" y="288"/>
                    <a:pt x="189" y="288"/>
                  </a:cubicBezTo>
                  <a:cubicBezTo>
                    <a:pt x="455" y="134"/>
                    <a:pt x="455" y="134"/>
                    <a:pt x="455" y="134"/>
                  </a:cubicBezTo>
                  <a:cubicBezTo>
                    <a:pt x="450" y="119"/>
                    <a:pt x="450" y="119"/>
                    <a:pt x="450" y="119"/>
                  </a:cubicBezTo>
                  <a:cubicBezTo>
                    <a:pt x="445" y="80"/>
                    <a:pt x="464" y="39"/>
                    <a:pt x="501" y="18"/>
                  </a:cubicBezTo>
                  <a:cubicBezTo>
                    <a:pt x="513" y="11"/>
                    <a:pt x="526" y="6"/>
                    <a:pt x="539" y="5"/>
                  </a:cubicBezTo>
                  <a:close/>
                </a:path>
              </a:pathLst>
            </a:custGeom>
            <a:solidFill>
              <a:schemeClr val="tx1"/>
            </a:solidFill>
            <a:ln>
              <a:noFill/>
            </a:ln>
          </p:spPr>
          <p:txBody>
            <a:bodyPr vert="horz" wrap="square" lIns="68574" tIns="34287" rIns="68574" bIns="34287"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0000"/>
                </a:solidFill>
                <a:effectLst/>
                <a:uLnTx/>
                <a:uFillTx/>
                <a:latin typeface="Segoe UI"/>
                <a:ea typeface="+mn-ea"/>
                <a:cs typeface="+mn-cs"/>
              </a:endParaRPr>
            </a:p>
          </p:txBody>
        </p:sp>
        <p:sp>
          <p:nvSpPr>
            <p:cNvPr id="87" name="Freeform 86"/>
            <p:cNvSpPr>
              <a:spLocks noChangeAspect="1" noEditPoints="1"/>
            </p:cNvSpPr>
            <p:nvPr/>
          </p:nvSpPr>
          <p:spPr bwMode="black">
            <a:xfrm>
              <a:off x="722320" y="1783009"/>
              <a:ext cx="452202" cy="366660"/>
            </a:xfrm>
            <a:custGeom>
              <a:avLst/>
              <a:gdLst>
                <a:gd name="T0" fmla="*/ 600 w 1107"/>
                <a:gd name="T1" fmla="*/ 625 h 897"/>
                <a:gd name="T2" fmla="*/ 649 w 1107"/>
                <a:gd name="T3" fmla="*/ 567 h 897"/>
                <a:gd name="T4" fmla="*/ 727 w 1107"/>
                <a:gd name="T5" fmla="*/ 482 h 897"/>
                <a:gd name="T6" fmla="*/ 601 w 1107"/>
                <a:gd name="T7" fmla="*/ 434 h 897"/>
                <a:gd name="T8" fmla="*/ 628 w 1107"/>
                <a:gd name="T9" fmla="*/ 305 h 897"/>
                <a:gd name="T10" fmla="*/ 547 w 1107"/>
                <a:gd name="T11" fmla="*/ 240 h 897"/>
                <a:gd name="T12" fmla="*/ 427 w 1107"/>
                <a:gd name="T13" fmla="*/ 287 h 897"/>
                <a:gd name="T14" fmla="*/ 368 w 1107"/>
                <a:gd name="T15" fmla="*/ 170 h 897"/>
                <a:gd name="T16" fmla="*/ 285 w 1107"/>
                <a:gd name="T17" fmla="*/ 263 h 897"/>
                <a:gd name="T18" fmla="*/ 241 w 1107"/>
                <a:gd name="T19" fmla="*/ 313 h 897"/>
                <a:gd name="T20" fmla="*/ 139 w 1107"/>
                <a:gd name="T21" fmla="*/ 281 h 897"/>
                <a:gd name="T22" fmla="*/ 79 w 1107"/>
                <a:gd name="T23" fmla="*/ 355 h 897"/>
                <a:gd name="T24" fmla="*/ 132 w 1107"/>
                <a:gd name="T25" fmla="*/ 446 h 897"/>
                <a:gd name="T26" fmla="*/ 83 w 1107"/>
                <a:gd name="T27" fmla="*/ 505 h 897"/>
                <a:gd name="T28" fmla="*/ 5 w 1107"/>
                <a:gd name="T29" fmla="*/ 590 h 897"/>
                <a:gd name="T30" fmla="*/ 132 w 1107"/>
                <a:gd name="T31" fmla="*/ 638 h 897"/>
                <a:gd name="T32" fmla="*/ 145 w 1107"/>
                <a:gd name="T33" fmla="*/ 669 h 897"/>
                <a:gd name="T34" fmla="*/ 110 w 1107"/>
                <a:gd name="T35" fmla="*/ 793 h 897"/>
                <a:gd name="T36" fmla="*/ 230 w 1107"/>
                <a:gd name="T37" fmla="*/ 781 h 897"/>
                <a:gd name="T38" fmla="*/ 306 w 1107"/>
                <a:gd name="T39" fmla="*/ 785 h 897"/>
                <a:gd name="T40" fmla="*/ 346 w 1107"/>
                <a:gd name="T41" fmla="*/ 878 h 897"/>
                <a:gd name="T42" fmla="*/ 440 w 1107"/>
                <a:gd name="T43" fmla="*/ 872 h 897"/>
                <a:gd name="T44" fmla="*/ 466 w 1107"/>
                <a:gd name="T45" fmla="*/ 764 h 897"/>
                <a:gd name="T46" fmla="*/ 539 w 1107"/>
                <a:gd name="T47" fmla="*/ 755 h 897"/>
                <a:gd name="T48" fmla="*/ 659 w 1107"/>
                <a:gd name="T49" fmla="*/ 743 h 897"/>
                <a:gd name="T50" fmla="*/ 263 w 1107"/>
                <a:gd name="T51" fmla="*/ 452 h 897"/>
                <a:gd name="T52" fmla="*/ 281 w 1107"/>
                <a:gd name="T53" fmla="*/ 633 h 897"/>
                <a:gd name="T54" fmla="*/ 1002 w 1107"/>
                <a:gd name="T55" fmla="*/ 332 h 897"/>
                <a:gd name="T56" fmla="*/ 1043 w 1107"/>
                <a:gd name="T57" fmla="*/ 304 h 897"/>
                <a:gd name="T58" fmla="*/ 1107 w 1107"/>
                <a:gd name="T59" fmla="*/ 266 h 897"/>
                <a:gd name="T60" fmla="*/ 1037 w 1107"/>
                <a:gd name="T61" fmla="*/ 213 h 897"/>
                <a:gd name="T62" fmla="*/ 1077 w 1107"/>
                <a:gd name="T63" fmla="*/ 138 h 897"/>
                <a:gd name="T64" fmla="*/ 1038 w 1107"/>
                <a:gd name="T65" fmla="*/ 83 h 897"/>
                <a:gd name="T66" fmla="*/ 956 w 1107"/>
                <a:gd name="T67" fmla="*/ 91 h 897"/>
                <a:gd name="T68" fmla="*/ 940 w 1107"/>
                <a:gd name="T69" fmla="*/ 7 h 897"/>
                <a:gd name="T70" fmla="*/ 872 w 1107"/>
                <a:gd name="T71" fmla="*/ 50 h 897"/>
                <a:gd name="T72" fmla="*/ 836 w 1107"/>
                <a:gd name="T73" fmla="*/ 74 h 897"/>
                <a:gd name="T74" fmla="*/ 778 w 1107"/>
                <a:gd name="T75" fmla="*/ 35 h 897"/>
                <a:gd name="T76" fmla="*/ 728 w 1107"/>
                <a:gd name="T77" fmla="*/ 70 h 897"/>
                <a:gd name="T78" fmla="*/ 744 w 1107"/>
                <a:gd name="T79" fmla="*/ 136 h 897"/>
                <a:gd name="T80" fmla="*/ 703 w 1107"/>
                <a:gd name="T81" fmla="*/ 164 h 897"/>
                <a:gd name="T82" fmla="*/ 640 w 1107"/>
                <a:gd name="T83" fmla="*/ 203 h 897"/>
                <a:gd name="T84" fmla="*/ 710 w 1107"/>
                <a:gd name="T85" fmla="*/ 255 h 897"/>
                <a:gd name="T86" fmla="*/ 712 w 1107"/>
                <a:gd name="T87" fmla="*/ 277 h 897"/>
                <a:gd name="T88" fmla="*/ 668 w 1107"/>
                <a:gd name="T89" fmla="*/ 347 h 897"/>
                <a:gd name="T90" fmla="*/ 745 w 1107"/>
                <a:gd name="T91" fmla="*/ 361 h 897"/>
                <a:gd name="T92" fmla="*/ 791 w 1107"/>
                <a:gd name="T93" fmla="*/ 377 h 897"/>
                <a:gd name="T94" fmla="*/ 799 w 1107"/>
                <a:gd name="T95" fmla="*/ 443 h 897"/>
                <a:gd name="T96" fmla="*/ 859 w 1107"/>
                <a:gd name="T97" fmla="*/ 456 h 897"/>
                <a:gd name="T98" fmla="*/ 894 w 1107"/>
                <a:gd name="T99" fmla="*/ 393 h 897"/>
                <a:gd name="T100" fmla="*/ 941 w 1107"/>
                <a:gd name="T101" fmla="*/ 401 h 897"/>
                <a:gd name="T102" fmla="*/ 1018 w 1107"/>
                <a:gd name="T103" fmla="*/ 415 h 897"/>
                <a:gd name="T104" fmla="*/ 825 w 1107"/>
                <a:gd name="T105" fmla="*/ 164 h 897"/>
                <a:gd name="T106" fmla="*/ 803 w 1107"/>
                <a:gd name="T107" fmla="*/ 279 h 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107" h="897">
                  <a:moveTo>
                    <a:pt x="654" y="716"/>
                  </a:moveTo>
                  <a:cubicBezTo>
                    <a:pt x="616" y="670"/>
                    <a:pt x="616" y="670"/>
                    <a:pt x="616" y="670"/>
                  </a:cubicBezTo>
                  <a:cubicBezTo>
                    <a:pt x="593" y="654"/>
                    <a:pt x="603" y="638"/>
                    <a:pt x="600" y="625"/>
                  </a:cubicBezTo>
                  <a:cubicBezTo>
                    <a:pt x="600" y="625"/>
                    <a:pt x="600" y="625"/>
                    <a:pt x="600" y="625"/>
                  </a:cubicBezTo>
                  <a:cubicBezTo>
                    <a:pt x="605" y="617"/>
                    <a:pt x="611" y="609"/>
                    <a:pt x="608" y="596"/>
                  </a:cubicBezTo>
                  <a:cubicBezTo>
                    <a:pt x="618" y="580"/>
                    <a:pt x="623" y="572"/>
                    <a:pt x="649" y="567"/>
                  </a:cubicBezTo>
                  <a:cubicBezTo>
                    <a:pt x="715" y="553"/>
                    <a:pt x="715" y="553"/>
                    <a:pt x="715" y="553"/>
                  </a:cubicBezTo>
                  <a:cubicBezTo>
                    <a:pt x="728" y="550"/>
                    <a:pt x="733" y="542"/>
                    <a:pt x="730" y="529"/>
                  </a:cubicBezTo>
                  <a:cubicBezTo>
                    <a:pt x="727" y="482"/>
                    <a:pt x="727" y="482"/>
                    <a:pt x="727" y="482"/>
                  </a:cubicBezTo>
                  <a:cubicBezTo>
                    <a:pt x="724" y="469"/>
                    <a:pt x="717" y="463"/>
                    <a:pt x="701" y="453"/>
                  </a:cubicBezTo>
                  <a:cubicBezTo>
                    <a:pt x="641" y="459"/>
                    <a:pt x="641" y="459"/>
                    <a:pt x="641" y="459"/>
                  </a:cubicBezTo>
                  <a:cubicBezTo>
                    <a:pt x="620" y="457"/>
                    <a:pt x="604" y="447"/>
                    <a:pt x="601" y="434"/>
                  </a:cubicBezTo>
                  <a:cubicBezTo>
                    <a:pt x="598" y="421"/>
                    <a:pt x="590" y="416"/>
                    <a:pt x="580" y="397"/>
                  </a:cubicBezTo>
                  <a:cubicBezTo>
                    <a:pt x="577" y="384"/>
                    <a:pt x="574" y="371"/>
                    <a:pt x="584" y="355"/>
                  </a:cubicBezTo>
                  <a:cubicBezTo>
                    <a:pt x="628" y="305"/>
                    <a:pt x="628" y="305"/>
                    <a:pt x="628" y="305"/>
                  </a:cubicBezTo>
                  <a:cubicBezTo>
                    <a:pt x="634" y="297"/>
                    <a:pt x="631" y="284"/>
                    <a:pt x="623" y="279"/>
                  </a:cubicBezTo>
                  <a:cubicBezTo>
                    <a:pt x="581" y="240"/>
                    <a:pt x="581" y="240"/>
                    <a:pt x="581" y="240"/>
                  </a:cubicBezTo>
                  <a:cubicBezTo>
                    <a:pt x="573" y="235"/>
                    <a:pt x="560" y="238"/>
                    <a:pt x="547" y="240"/>
                  </a:cubicBezTo>
                  <a:cubicBezTo>
                    <a:pt x="503" y="291"/>
                    <a:pt x="503" y="291"/>
                    <a:pt x="503" y="291"/>
                  </a:cubicBezTo>
                  <a:cubicBezTo>
                    <a:pt x="484" y="302"/>
                    <a:pt x="471" y="304"/>
                    <a:pt x="463" y="299"/>
                  </a:cubicBezTo>
                  <a:cubicBezTo>
                    <a:pt x="456" y="294"/>
                    <a:pt x="435" y="292"/>
                    <a:pt x="427" y="287"/>
                  </a:cubicBezTo>
                  <a:cubicBezTo>
                    <a:pt x="419" y="282"/>
                    <a:pt x="403" y="271"/>
                    <a:pt x="400" y="258"/>
                  </a:cubicBezTo>
                  <a:cubicBezTo>
                    <a:pt x="386" y="193"/>
                    <a:pt x="386" y="193"/>
                    <a:pt x="386" y="193"/>
                  </a:cubicBezTo>
                  <a:cubicBezTo>
                    <a:pt x="384" y="180"/>
                    <a:pt x="368" y="170"/>
                    <a:pt x="368" y="170"/>
                  </a:cubicBezTo>
                  <a:cubicBezTo>
                    <a:pt x="308" y="176"/>
                    <a:pt x="308" y="176"/>
                    <a:pt x="308" y="176"/>
                  </a:cubicBezTo>
                  <a:cubicBezTo>
                    <a:pt x="308" y="176"/>
                    <a:pt x="289" y="187"/>
                    <a:pt x="292" y="200"/>
                  </a:cubicBezTo>
                  <a:cubicBezTo>
                    <a:pt x="285" y="263"/>
                    <a:pt x="285" y="263"/>
                    <a:pt x="285" y="263"/>
                  </a:cubicBezTo>
                  <a:cubicBezTo>
                    <a:pt x="291" y="289"/>
                    <a:pt x="277" y="292"/>
                    <a:pt x="272" y="300"/>
                  </a:cubicBezTo>
                  <a:cubicBezTo>
                    <a:pt x="272" y="300"/>
                    <a:pt x="272" y="300"/>
                    <a:pt x="267" y="308"/>
                  </a:cubicBezTo>
                  <a:cubicBezTo>
                    <a:pt x="259" y="302"/>
                    <a:pt x="246" y="305"/>
                    <a:pt x="241" y="313"/>
                  </a:cubicBezTo>
                  <a:cubicBezTo>
                    <a:pt x="236" y="321"/>
                    <a:pt x="236" y="321"/>
                    <a:pt x="236" y="321"/>
                  </a:cubicBezTo>
                  <a:cubicBezTo>
                    <a:pt x="223" y="324"/>
                    <a:pt x="210" y="327"/>
                    <a:pt x="194" y="317"/>
                  </a:cubicBezTo>
                  <a:cubicBezTo>
                    <a:pt x="139" y="281"/>
                    <a:pt x="139" y="281"/>
                    <a:pt x="139" y="281"/>
                  </a:cubicBezTo>
                  <a:cubicBezTo>
                    <a:pt x="131" y="276"/>
                    <a:pt x="110" y="273"/>
                    <a:pt x="104" y="281"/>
                  </a:cubicBezTo>
                  <a:cubicBezTo>
                    <a:pt x="79" y="321"/>
                    <a:pt x="79" y="321"/>
                    <a:pt x="79" y="321"/>
                  </a:cubicBezTo>
                  <a:cubicBezTo>
                    <a:pt x="66" y="324"/>
                    <a:pt x="68" y="337"/>
                    <a:pt x="79" y="355"/>
                  </a:cubicBezTo>
                  <a:cubicBezTo>
                    <a:pt x="121" y="394"/>
                    <a:pt x="121" y="394"/>
                    <a:pt x="121" y="394"/>
                  </a:cubicBezTo>
                  <a:cubicBezTo>
                    <a:pt x="140" y="417"/>
                    <a:pt x="135" y="425"/>
                    <a:pt x="132" y="446"/>
                  </a:cubicBezTo>
                  <a:cubicBezTo>
                    <a:pt x="132" y="446"/>
                    <a:pt x="132" y="446"/>
                    <a:pt x="132" y="446"/>
                  </a:cubicBezTo>
                  <a:cubicBezTo>
                    <a:pt x="127" y="454"/>
                    <a:pt x="122" y="462"/>
                    <a:pt x="117" y="470"/>
                  </a:cubicBezTo>
                  <a:cubicBezTo>
                    <a:pt x="117" y="470"/>
                    <a:pt x="117" y="470"/>
                    <a:pt x="117" y="470"/>
                  </a:cubicBezTo>
                  <a:cubicBezTo>
                    <a:pt x="120" y="483"/>
                    <a:pt x="109" y="499"/>
                    <a:pt x="83" y="505"/>
                  </a:cubicBezTo>
                  <a:cubicBezTo>
                    <a:pt x="23" y="511"/>
                    <a:pt x="23" y="511"/>
                    <a:pt x="23" y="511"/>
                  </a:cubicBezTo>
                  <a:cubicBezTo>
                    <a:pt x="10" y="514"/>
                    <a:pt x="0" y="529"/>
                    <a:pt x="2" y="543"/>
                  </a:cubicBezTo>
                  <a:cubicBezTo>
                    <a:pt x="5" y="590"/>
                    <a:pt x="5" y="590"/>
                    <a:pt x="5" y="590"/>
                  </a:cubicBezTo>
                  <a:cubicBezTo>
                    <a:pt x="8" y="603"/>
                    <a:pt x="16" y="608"/>
                    <a:pt x="37" y="610"/>
                  </a:cubicBezTo>
                  <a:cubicBezTo>
                    <a:pt x="92" y="612"/>
                    <a:pt x="92" y="612"/>
                    <a:pt x="92" y="612"/>
                  </a:cubicBezTo>
                  <a:cubicBezTo>
                    <a:pt x="113" y="614"/>
                    <a:pt x="129" y="625"/>
                    <a:pt x="132" y="638"/>
                  </a:cubicBezTo>
                  <a:cubicBezTo>
                    <a:pt x="132" y="638"/>
                    <a:pt x="132" y="638"/>
                    <a:pt x="132" y="638"/>
                  </a:cubicBezTo>
                  <a:cubicBezTo>
                    <a:pt x="140" y="643"/>
                    <a:pt x="142" y="656"/>
                    <a:pt x="150" y="661"/>
                  </a:cubicBezTo>
                  <a:cubicBezTo>
                    <a:pt x="145" y="669"/>
                    <a:pt x="145" y="669"/>
                    <a:pt x="145" y="669"/>
                  </a:cubicBezTo>
                  <a:cubicBezTo>
                    <a:pt x="153" y="674"/>
                    <a:pt x="156" y="687"/>
                    <a:pt x="140" y="711"/>
                  </a:cubicBezTo>
                  <a:cubicBezTo>
                    <a:pt x="109" y="759"/>
                    <a:pt x="109" y="759"/>
                    <a:pt x="109" y="759"/>
                  </a:cubicBezTo>
                  <a:cubicBezTo>
                    <a:pt x="99" y="775"/>
                    <a:pt x="102" y="788"/>
                    <a:pt x="110" y="793"/>
                  </a:cubicBezTo>
                  <a:cubicBezTo>
                    <a:pt x="152" y="832"/>
                    <a:pt x="152" y="832"/>
                    <a:pt x="152" y="832"/>
                  </a:cubicBezTo>
                  <a:cubicBezTo>
                    <a:pt x="160" y="837"/>
                    <a:pt x="173" y="834"/>
                    <a:pt x="178" y="826"/>
                  </a:cubicBezTo>
                  <a:cubicBezTo>
                    <a:pt x="230" y="781"/>
                    <a:pt x="230" y="781"/>
                    <a:pt x="230" y="781"/>
                  </a:cubicBezTo>
                  <a:cubicBezTo>
                    <a:pt x="248" y="770"/>
                    <a:pt x="261" y="767"/>
                    <a:pt x="269" y="772"/>
                  </a:cubicBezTo>
                  <a:cubicBezTo>
                    <a:pt x="269" y="772"/>
                    <a:pt x="269" y="772"/>
                    <a:pt x="269" y="772"/>
                  </a:cubicBezTo>
                  <a:cubicBezTo>
                    <a:pt x="282" y="769"/>
                    <a:pt x="298" y="779"/>
                    <a:pt x="306" y="785"/>
                  </a:cubicBezTo>
                  <a:cubicBezTo>
                    <a:pt x="306" y="785"/>
                    <a:pt x="306" y="785"/>
                    <a:pt x="306" y="785"/>
                  </a:cubicBezTo>
                  <a:cubicBezTo>
                    <a:pt x="319" y="782"/>
                    <a:pt x="327" y="787"/>
                    <a:pt x="332" y="813"/>
                  </a:cubicBezTo>
                  <a:cubicBezTo>
                    <a:pt x="346" y="878"/>
                    <a:pt x="346" y="878"/>
                    <a:pt x="346" y="878"/>
                  </a:cubicBezTo>
                  <a:cubicBezTo>
                    <a:pt x="349" y="892"/>
                    <a:pt x="357" y="897"/>
                    <a:pt x="370" y="894"/>
                  </a:cubicBezTo>
                  <a:cubicBezTo>
                    <a:pt x="425" y="896"/>
                    <a:pt x="425" y="896"/>
                    <a:pt x="425" y="896"/>
                  </a:cubicBezTo>
                  <a:cubicBezTo>
                    <a:pt x="430" y="888"/>
                    <a:pt x="443" y="885"/>
                    <a:pt x="440" y="872"/>
                  </a:cubicBezTo>
                  <a:cubicBezTo>
                    <a:pt x="440" y="804"/>
                    <a:pt x="440" y="804"/>
                    <a:pt x="440" y="804"/>
                  </a:cubicBezTo>
                  <a:cubicBezTo>
                    <a:pt x="442" y="783"/>
                    <a:pt x="460" y="772"/>
                    <a:pt x="466" y="764"/>
                  </a:cubicBezTo>
                  <a:cubicBezTo>
                    <a:pt x="466" y="764"/>
                    <a:pt x="466" y="764"/>
                    <a:pt x="466" y="764"/>
                  </a:cubicBezTo>
                  <a:cubicBezTo>
                    <a:pt x="479" y="761"/>
                    <a:pt x="492" y="758"/>
                    <a:pt x="497" y="750"/>
                  </a:cubicBezTo>
                  <a:cubicBezTo>
                    <a:pt x="497" y="750"/>
                    <a:pt x="497" y="750"/>
                    <a:pt x="497" y="750"/>
                  </a:cubicBezTo>
                  <a:cubicBezTo>
                    <a:pt x="510" y="747"/>
                    <a:pt x="523" y="745"/>
                    <a:pt x="539" y="755"/>
                  </a:cubicBezTo>
                  <a:cubicBezTo>
                    <a:pt x="594" y="791"/>
                    <a:pt x="594" y="791"/>
                    <a:pt x="594" y="791"/>
                  </a:cubicBezTo>
                  <a:cubicBezTo>
                    <a:pt x="602" y="796"/>
                    <a:pt x="623" y="798"/>
                    <a:pt x="628" y="790"/>
                  </a:cubicBezTo>
                  <a:cubicBezTo>
                    <a:pt x="659" y="743"/>
                    <a:pt x="659" y="743"/>
                    <a:pt x="659" y="743"/>
                  </a:cubicBezTo>
                  <a:cubicBezTo>
                    <a:pt x="659" y="743"/>
                    <a:pt x="669" y="727"/>
                    <a:pt x="654" y="716"/>
                  </a:cubicBezTo>
                  <a:close/>
                  <a:moveTo>
                    <a:pt x="281" y="633"/>
                  </a:moveTo>
                  <a:cubicBezTo>
                    <a:pt x="223" y="584"/>
                    <a:pt x="219" y="502"/>
                    <a:pt x="263" y="452"/>
                  </a:cubicBezTo>
                  <a:cubicBezTo>
                    <a:pt x="313" y="393"/>
                    <a:pt x="399" y="382"/>
                    <a:pt x="457" y="431"/>
                  </a:cubicBezTo>
                  <a:cubicBezTo>
                    <a:pt x="507" y="475"/>
                    <a:pt x="518" y="561"/>
                    <a:pt x="469" y="619"/>
                  </a:cubicBezTo>
                  <a:cubicBezTo>
                    <a:pt x="420" y="678"/>
                    <a:pt x="339" y="682"/>
                    <a:pt x="281" y="633"/>
                  </a:cubicBezTo>
                  <a:close/>
                  <a:moveTo>
                    <a:pt x="1019" y="398"/>
                  </a:moveTo>
                  <a:cubicBezTo>
                    <a:pt x="1004" y="362"/>
                    <a:pt x="1004" y="362"/>
                    <a:pt x="1004" y="362"/>
                  </a:cubicBezTo>
                  <a:cubicBezTo>
                    <a:pt x="992" y="348"/>
                    <a:pt x="1002" y="340"/>
                    <a:pt x="1002" y="332"/>
                  </a:cubicBezTo>
                  <a:cubicBezTo>
                    <a:pt x="1002" y="332"/>
                    <a:pt x="1002" y="332"/>
                    <a:pt x="1002" y="332"/>
                  </a:cubicBezTo>
                  <a:cubicBezTo>
                    <a:pt x="1007" y="328"/>
                    <a:pt x="1011" y="324"/>
                    <a:pt x="1012" y="315"/>
                  </a:cubicBezTo>
                  <a:cubicBezTo>
                    <a:pt x="1021" y="307"/>
                    <a:pt x="1026" y="303"/>
                    <a:pt x="1043" y="304"/>
                  </a:cubicBezTo>
                  <a:cubicBezTo>
                    <a:pt x="1086" y="307"/>
                    <a:pt x="1086" y="307"/>
                    <a:pt x="1086" y="307"/>
                  </a:cubicBezTo>
                  <a:cubicBezTo>
                    <a:pt x="1095" y="308"/>
                    <a:pt x="1099" y="304"/>
                    <a:pt x="1100" y="295"/>
                  </a:cubicBezTo>
                  <a:cubicBezTo>
                    <a:pt x="1107" y="266"/>
                    <a:pt x="1107" y="266"/>
                    <a:pt x="1107" y="266"/>
                  </a:cubicBezTo>
                  <a:cubicBezTo>
                    <a:pt x="1107" y="257"/>
                    <a:pt x="1103" y="252"/>
                    <a:pt x="1095" y="243"/>
                  </a:cubicBezTo>
                  <a:cubicBezTo>
                    <a:pt x="1057" y="236"/>
                    <a:pt x="1057" y="236"/>
                    <a:pt x="1057" y="236"/>
                  </a:cubicBezTo>
                  <a:cubicBezTo>
                    <a:pt x="1044" y="231"/>
                    <a:pt x="1036" y="222"/>
                    <a:pt x="1037" y="213"/>
                  </a:cubicBezTo>
                  <a:cubicBezTo>
                    <a:pt x="1038" y="205"/>
                    <a:pt x="1034" y="200"/>
                    <a:pt x="1030" y="187"/>
                  </a:cubicBezTo>
                  <a:cubicBezTo>
                    <a:pt x="1031" y="178"/>
                    <a:pt x="1032" y="170"/>
                    <a:pt x="1041" y="162"/>
                  </a:cubicBezTo>
                  <a:cubicBezTo>
                    <a:pt x="1077" y="138"/>
                    <a:pt x="1077" y="138"/>
                    <a:pt x="1077" y="138"/>
                  </a:cubicBezTo>
                  <a:cubicBezTo>
                    <a:pt x="1082" y="134"/>
                    <a:pt x="1083" y="126"/>
                    <a:pt x="1079" y="121"/>
                  </a:cubicBezTo>
                  <a:cubicBezTo>
                    <a:pt x="1059" y="89"/>
                    <a:pt x="1059" y="89"/>
                    <a:pt x="1059" y="89"/>
                  </a:cubicBezTo>
                  <a:cubicBezTo>
                    <a:pt x="1055" y="85"/>
                    <a:pt x="1047" y="84"/>
                    <a:pt x="1038" y="83"/>
                  </a:cubicBezTo>
                  <a:cubicBezTo>
                    <a:pt x="1002" y="107"/>
                    <a:pt x="1002" y="107"/>
                    <a:pt x="1002" y="107"/>
                  </a:cubicBezTo>
                  <a:cubicBezTo>
                    <a:pt x="989" y="110"/>
                    <a:pt x="980" y="110"/>
                    <a:pt x="976" y="105"/>
                  </a:cubicBezTo>
                  <a:cubicBezTo>
                    <a:pt x="972" y="100"/>
                    <a:pt x="960" y="95"/>
                    <a:pt x="956" y="91"/>
                  </a:cubicBezTo>
                  <a:cubicBezTo>
                    <a:pt x="952" y="86"/>
                    <a:pt x="944" y="77"/>
                    <a:pt x="944" y="68"/>
                  </a:cubicBezTo>
                  <a:cubicBezTo>
                    <a:pt x="948" y="25"/>
                    <a:pt x="948" y="25"/>
                    <a:pt x="948" y="25"/>
                  </a:cubicBezTo>
                  <a:cubicBezTo>
                    <a:pt x="948" y="17"/>
                    <a:pt x="940" y="7"/>
                    <a:pt x="940" y="7"/>
                  </a:cubicBezTo>
                  <a:cubicBezTo>
                    <a:pt x="902" y="0"/>
                    <a:pt x="902" y="0"/>
                    <a:pt x="902" y="0"/>
                  </a:cubicBezTo>
                  <a:cubicBezTo>
                    <a:pt x="902" y="0"/>
                    <a:pt x="889" y="4"/>
                    <a:pt x="888" y="12"/>
                  </a:cubicBezTo>
                  <a:cubicBezTo>
                    <a:pt x="872" y="50"/>
                    <a:pt x="872" y="50"/>
                    <a:pt x="872" y="50"/>
                  </a:cubicBezTo>
                  <a:cubicBezTo>
                    <a:pt x="871" y="67"/>
                    <a:pt x="862" y="67"/>
                    <a:pt x="858" y="71"/>
                  </a:cubicBezTo>
                  <a:cubicBezTo>
                    <a:pt x="858" y="71"/>
                    <a:pt x="858" y="71"/>
                    <a:pt x="853" y="75"/>
                  </a:cubicBezTo>
                  <a:cubicBezTo>
                    <a:pt x="849" y="70"/>
                    <a:pt x="840" y="70"/>
                    <a:pt x="836" y="74"/>
                  </a:cubicBezTo>
                  <a:cubicBezTo>
                    <a:pt x="831" y="78"/>
                    <a:pt x="831" y="78"/>
                    <a:pt x="831" y="78"/>
                  </a:cubicBezTo>
                  <a:cubicBezTo>
                    <a:pt x="822" y="77"/>
                    <a:pt x="814" y="76"/>
                    <a:pt x="806" y="67"/>
                  </a:cubicBezTo>
                  <a:cubicBezTo>
                    <a:pt x="778" y="35"/>
                    <a:pt x="778" y="35"/>
                    <a:pt x="778" y="35"/>
                  </a:cubicBezTo>
                  <a:cubicBezTo>
                    <a:pt x="774" y="30"/>
                    <a:pt x="762" y="25"/>
                    <a:pt x="757" y="29"/>
                  </a:cubicBezTo>
                  <a:cubicBezTo>
                    <a:pt x="734" y="49"/>
                    <a:pt x="734" y="49"/>
                    <a:pt x="734" y="49"/>
                  </a:cubicBezTo>
                  <a:cubicBezTo>
                    <a:pt x="725" y="49"/>
                    <a:pt x="725" y="57"/>
                    <a:pt x="728" y="70"/>
                  </a:cubicBezTo>
                  <a:cubicBezTo>
                    <a:pt x="747" y="102"/>
                    <a:pt x="747" y="102"/>
                    <a:pt x="747" y="102"/>
                  </a:cubicBezTo>
                  <a:cubicBezTo>
                    <a:pt x="754" y="120"/>
                    <a:pt x="750" y="124"/>
                    <a:pt x="744" y="136"/>
                  </a:cubicBezTo>
                  <a:cubicBezTo>
                    <a:pt x="744" y="136"/>
                    <a:pt x="744" y="136"/>
                    <a:pt x="744" y="136"/>
                  </a:cubicBezTo>
                  <a:cubicBezTo>
                    <a:pt x="740" y="140"/>
                    <a:pt x="735" y="144"/>
                    <a:pt x="731" y="148"/>
                  </a:cubicBezTo>
                  <a:cubicBezTo>
                    <a:pt x="731" y="148"/>
                    <a:pt x="731" y="148"/>
                    <a:pt x="731" y="148"/>
                  </a:cubicBezTo>
                  <a:cubicBezTo>
                    <a:pt x="730" y="157"/>
                    <a:pt x="721" y="165"/>
                    <a:pt x="703" y="164"/>
                  </a:cubicBezTo>
                  <a:cubicBezTo>
                    <a:pt x="665" y="157"/>
                    <a:pt x="665" y="157"/>
                    <a:pt x="665" y="157"/>
                  </a:cubicBezTo>
                  <a:cubicBezTo>
                    <a:pt x="656" y="156"/>
                    <a:pt x="647" y="164"/>
                    <a:pt x="647" y="173"/>
                  </a:cubicBezTo>
                  <a:cubicBezTo>
                    <a:pt x="640" y="203"/>
                    <a:pt x="640" y="203"/>
                    <a:pt x="640" y="203"/>
                  </a:cubicBezTo>
                  <a:cubicBezTo>
                    <a:pt x="639" y="211"/>
                    <a:pt x="643" y="216"/>
                    <a:pt x="656" y="221"/>
                  </a:cubicBezTo>
                  <a:cubicBezTo>
                    <a:pt x="690" y="232"/>
                    <a:pt x="690" y="232"/>
                    <a:pt x="690" y="232"/>
                  </a:cubicBezTo>
                  <a:cubicBezTo>
                    <a:pt x="702" y="237"/>
                    <a:pt x="710" y="246"/>
                    <a:pt x="710" y="255"/>
                  </a:cubicBezTo>
                  <a:cubicBezTo>
                    <a:pt x="710" y="255"/>
                    <a:pt x="710" y="255"/>
                    <a:pt x="710" y="255"/>
                  </a:cubicBezTo>
                  <a:cubicBezTo>
                    <a:pt x="714" y="260"/>
                    <a:pt x="713" y="268"/>
                    <a:pt x="717" y="273"/>
                  </a:cubicBezTo>
                  <a:cubicBezTo>
                    <a:pt x="712" y="277"/>
                    <a:pt x="712" y="277"/>
                    <a:pt x="712" y="277"/>
                  </a:cubicBezTo>
                  <a:cubicBezTo>
                    <a:pt x="716" y="281"/>
                    <a:pt x="716" y="290"/>
                    <a:pt x="702" y="302"/>
                  </a:cubicBezTo>
                  <a:cubicBezTo>
                    <a:pt x="674" y="326"/>
                    <a:pt x="674" y="326"/>
                    <a:pt x="674" y="326"/>
                  </a:cubicBezTo>
                  <a:cubicBezTo>
                    <a:pt x="665" y="334"/>
                    <a:pt x="664" y="343"/>
                    <a:pt x="668" y="347"/>
                  </a:cubicBezTo>
                  <a:cubicBezTo>
                    <a:pt x="687" y="379"/>
                    <a:pt x="687" y="379"/>
                    <a:pt x="687" y="379"/>
                  </a:cubicBezTo>
                  <a:cubicBezTo>
                    <a:pt x="691" y="383"/>
                    <a:pt x="700" y="384"/>
                    <a:pt x="704" y="380"/>
                  </a:cubicBezTo>
                  <a:cubicBezTo>
                    <a:pt x="745" y="361"/>
                    <a:pt x="745" y="361"/>
                    <a:pt x="745" y="361"/>
                  </a:cubicBezTo>
                  <a:cubicBezTo>
                    <a:pt x="758" y="358"/>
                    <a:pt x="767" y="358"/>
                    <a:pt x="771" y="363"/>
                  </a:cubicBezTo>
                  <a:cubicBezTo>
                    <a:pt x="771" y="363"/>
                    <a:pt x="771" y="363"/>
                    <a:pt x="771" y="363"/>
                  </a:cubicBezTo>
                  <a:cubicBezTo>
                    <a:pt x="779" y="364"/>
                    <a:pt x="787" y="373"/>
                    <a:pt x="791" y="377"/>
                  </a:cubicBezTo>
                  <a:cubicBezTo>
                    <a:pt x="791" y="377"/>
                    <a:pt x="791" y="377"/>
                    <a:pt x="791" y="377"/>
                  </a:cubicBezTo>
                  <a:cubicBezTo>
                    <a:pt x="800" y="378"/>
                    <a:pt x="804" y="383"/>
                    <a:pt x="802" y="400"/>
                  </a:cubicBezTo>
                  <a:cubicBezTo>
                    <a:pt x="799" y="443"/>
                    <a:pt x="799" y="443"/>
                    <a:pt x="799" y="443"/>
                  </a:cubicBezTo>
                  <a:cubicBezTo>
                    <a:pt x="798" y="451"/>
                    <a:pt x="802" y="456"/>
                    <a:pt x="811" y="457"/>
                  </a:cubicBezTo>
                  <a:cubicBezTo>
                    <a:pt x="845" y="468"/>
                    <a:pt x="845" y="468"/>
                    <a:pt x="845" y="468"/>
                  </a:cubicBezTo>
                  <a:cubicBezTo>
                    <a:pt x="849" y="464"/>
                    <a:pt x="858" y="464"/>
                    <a:pt x="859" y="456"/>
                  </a:cubicBezTo>
                  <a:cubicBezTo>
                    <a:pt x="871" y="413"/>
                    <a:pt x="871" y="413"/>
                    <a:pt x="871" y="413"/>
                  </a:cubicBezTo>
                  <a:cubicBezTo>
                    <a:pt x="876" y="401"/>
                    <a:pt x="889" y="397"/>
                    <a:pt x="894" y="393"/>
                  </a:cubicBezTo>
                  <a:cubicBezTo>
                    <a:pt x="894" y="393"/>
                    <a:pt x="894" y="393"/>
                    <a:pt x="894" y="393"/>
                  </a:cubicBezTo>
                  <a:cubicBezTo>
                    <a:pt x="902" y="394"/>
                    <a:pt x="911" y="395"/>
                    <a:pt x="916" y="391"/>
                  </a:cubicBezTo>
                  <a:cubicBezTo>
                    <a:pt x="916" y="391"/>
                    <a:pt x="916" y="391"/>
                    <a:pt x="916" y="391"/>
                  </a:cubicBezTo>
                  <a:cubicBezTo>
                    <a:pt x="924" y="391"/>
                    <a:pt x="933" y="392"/>
                    <a:pt x="941" y="401"/>
                  </a:cubicBezTo>
                  <a:cubicBezTo>
                    <a:pt x="969" y="433"/>
                    <a:pt x="969" y="433"/>
                    <a:pt x="969" y="433"/>
                  </a:cubicBezTo>
                  <a:cubicBezTo>
                    <a:pt x="973" y="438"/>
                    <a:pt x="985" y="443"/>
                    <a:pt x="990" y="439"/>
                  </a:cubicBezTo>
                  <a:cubicBezTo>
                    <a:pt x="1018" y="415"/>
                    <a:pt x="1018" y="415"/>
                    <a:pt x="1018" y="415"/>
                  </a:cubicBezTo>
                  <a:cubicBezTo>
                    <a:pt x="1018" y="415"/>
                    <a:pt x="1027" y="407"/>
                    <a:pt x="1019" y="398"/>
                  </a:cubicBezTo>
                  <a:close/>
                  <a:moveTo>
                    <a:pt x="803" y="279"/>
                  </a:moveTo>
                  <a:cubicBezTo>
                    <a:pt x="776" y="238"/>
                    <a:pt x="788" y="187"/>
                    <a:pt x="825" y="164"/>
                  </a:cubicBezTo>
                  <a:cubicBezTo>
                    <a:pt x="866" y="136"/>
                    <a:pt x="921" y="144"/>
                    <a:pt x="948" y="185"/>
                  </a:cubicBezTo>
                  <a:cubicBezTo>
                    <a:pt x="972" y="221"/>
                    <a:pt x="963" y="277"/>
                    <a:pt x="922" y="304"/>
                  </a:cubicBezTo>
                  <a:cubicBezTo>
                    <a:pt x="881" y="332"/>
                    <a:pt x="830" y="320"/>
                    <a:pt x="803" y="279"/>
                  </a:cubicBezTo>
                  <a:close/>
                </a:path>
              </a:pathLst>
            </a:custGeom>
            <a:solidFill>
              <a:schemeClr val="tx1"/>
            </a:solidFill>
            <a:ln>
              <a:noFill/>
            </a:ln>
          </p:spPr>
          <p:txBody>
            <a:bodyPr vert="horz" wrap="square" lIns="68574" tIns="34287" rIns="68574" bIns="34287"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17346"/>
                </a:solidFill>
                <a:effectLst/>
                <a:uLnTx/>
                <a:uFillTx/>
                <a:latin typeface="Segoe UI"/>
                <a:ea typeface="+mn-ea"/>
                <a:cs typeface="+mn-cs"/>
              </a:endParaRPr>
            </a:p>
          </p:txBody>
        </p:sp>
        <p:sp>
          <p:nvSpPr>
            <p:cNvPr id="88" name="Freeform 87"/>
            <p:cNvSpPr>
              <a:spLocks noChangeAspect="1"/>
            </p:cNvSpPr>
            <p:nvPr/>
          </p:nvSpPr>
          <p:spPr bwMode="black">
            <a:xfrm>
              <a:off x="776985" y="4213905"/>
              <a:ext cx="342871" cy="335728"/>
            </a:xfrm>
            <a:custGeom>
              <a:avLst/>
              <a:gdLst>
                <a:gd name="connsiteX0" fmla="*/ 3713863 w 4893730"/>
                <a:gd name="connsiteY0" fmla="*/ 2130808 h 4791777"/>
                <a:gd name="connsiteX1" fmla="*/ 4426142 w 4893730"/>
                <a:gd name="connsiteY1" fmla="*/ 2130808 h 4791777"/>
                <a:gd name="connsiteX2" fmla="*/ 4598071 w 4893730"/>
                <a:gd name="connsiteY2" fmla="*/ 2301547 h 4791777"/>
                <a:gd name="connsiteX3" fmla="*/ 4598071 w 4893730"/>
                <a:gd name="connsiteY3" fmla="*/ 3886978 h 4791777"/>
                <a:gd name="connsiteX4" fmla="*/ 4426142 w 4893730"/>
                <a:gd name="connsiteY4" fmla="*/ 4057717 h 4791777"/>
                <a:gd name="connsiteX5" fmla="*/ 3713863 w 4893730"/>
                <a:gd name="connsiteY5" fmla="*/ 4057717 h 4791777"/>
                <a:gd name="connsiteX6" fmla="*/ 3517372 w 4893730"/>
                <a:gd name="connsiteY6" fmla="*/ 3886978 h 4791777"/>
                <a:gd name="connsiteX7" fmla="*/ 3517372 w 4893730"/>
                <a:gd name="connsiteY7" fmla="*/ 2301547 h 4791777"/>
                <a:gd name="connsiteX8" fmla="*/ 3713863 w 4893730"/>
                <a:gd name="connsiteY8" fmla="*/ 2130808 h 4791777"/>
                <a:gd name="connsiteX9" fmla="*/ 904368 w 4893730"/>
                <a:gd name="connsiteY9" fmla="*/ 1223432 h 4791777"/>
                <a:gd name="connsiteX10" fmla="*/ 1609930 w 4893730"/>
                <a:gd name="connsiteY10" fmla="*/ 1223432 h 4791777"/>
                <a:gd name="connsiteX11" fmla="*/ 1804567 w 4893730"/>
                <a:gd name="connsiteY11" fmla="*/ 1394467 h 4791777"/>
                <a:gd name="connsiteX12" fmla="*/ 1804567 w 4893730"/>
                <a:gd name="connsiteY12" fmla="*/ 3886683 h 4791777"/>
                <a:gd name="connsiteX13" fmla="*/ 1609930 w 4893730"/>
                <a:gd name="connsiteY13" fmla="*/ 4057717 h 4791777"/>
                <a:gd name="connsiteX14" fmla="*/ 904368 w 4893730"/>
                <a:gd name="connsiteY14" fmla="*/ 4057717 h 4791777"/>
                <a:gd name="connsiteX15" fmla="*/ 734060 w 4893730"/>
                <a:gd name="connsiteY15" fmla="*/ 3886683 h 4791777"/>
                <a:gd name="connsiteX16" fmla="*/ 734060 w 4893730"/>
                <a:gd name="connsiteY16" fmla="*/ 1394467 h 4791777"/>
                <a:gd name="connsiteX17" fmla="*/ 904368 w 4893730"/>
                <a:gd name="connsiteY17" fmla="*/ 1223432 h 4791777"/>
                <a:gd name="connsiteX18" fmla="*/ 2325453 w 4893730"/>
                <a:gd name="connsiteY18" fmla="*/ 316050 h 4791777"/>
                <a:gd name="connsiteX19" fmla="*/ 3031014 w 4893730"/>
                <a:gd name="connsiteY19" fmla="*/ 316050 h 4791777"/>
                <a:gd name="connsiteX20" fmla="*/ 3201322 w 4893730"/>
                <a:gd name="connsiteY20" fmla="*/ 487238 h 4791777"/>
                <a:gd name="connsiteX21" fmla="*/ 3201322 w 4893730"/>
                <a:gd name="connsiteY21" fmla="*/ 3886530 h 4791777"/>
                <a:gd name="connsiteX22" fmla="*/ 3031014 w 4893730"/>
                <a:gd name="connsiteY22" fmla="*/ 4057717 h 4791777"/>
                <a:gd name="connsiteX23" fmla="*/ 2325453 w 4893730"/>
                <a:gd name="connsiteY23" fmla="*/ 4057717 h 4791777"/>
                <a:gd name="connsiteX24" fmla="*/ 2130815 w 4893730"/>
                <a:gd name="connsiteY24" fmla="*/ 3886530 h 4791777"/>
                <a:gd name="connsiteX25" fmla="*/ 2130815 w 4893730"/>
                <a:gd name="connsiteY25" fmla="*/ 487238 h 4791777"/>
                <a:gd name="connsiteX26" fmla="*/ 2325453 w 4893730"/>
                <a:gd name="connsiteY26" fmla="*/ 316050 h 4791777"/>
                <a:gd name="connsiteX27" fmla="*/ 269155 w 4893730"/>
                <a:gd name="connsiteY27" fmla="*/ 0 h 4791777"/>
                <a:gd name="connsiteX28" fmla="*/ 538311 w 4893730"/>
                <a:gd name="connsiteY28" fmla="*/ 268927 h 4791777"/>
                <a:gd name="connsiteX29" fmla="*/ 538311 w 4893730"/>
                <a:gd name="connsiteY29" fmla="*/ 4253925 h 4791777"/>
                <a:gd name="connsiteX30" fmla="*/ 4624575 w 4893730"/>
                <a:gd name="connsiteY30" fmla="*/ 4253925 h 4791777"/>
                <a:gd name="connsiteX31" fmla="*/ 4893730 w 4893730"/>
                <a:gd name="connsiteY31" fmla="*/ 4522851 h 4791777"/>
                <a:gd name="connsiteX32" fmla="*/ 4624575 w 4893730"/>
                <a:gd name="connsiteY32" fmla="*/ 4791777 h 4791777"/>
                <a:gd name="connsiteX33" fmla="*/ 269155 w 4893730"/>
                <a:gd name="connsiteY33" fmla="*/ 4791777 h 4791777"/>
                <a:gd name="connsiteX34" fmla="*/ 0 w 4893730"/>
                <a:gd name="connsiteY34" fmla="*/ 4522851 h 4791777"/>
                <a:gd name="connsiteX35" fmla="*/ 0 w 4893730"/>
                <a:gd name="connsiteY35" fmla="*/ 268927 h 4791777"/>
                <a:gd name="connsiteX36" fmla="*/ 269155 w 4893730"/>
                <a:gd name="connsiteY36" fmla="*/ 0 h 4791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4893730" h="4791777">
                  <a:moveTo>
                    <a:pt x="3713863" y="2130808"/>
                  </a:moveTo>
                  <a:cubicBezTo>
                    <a:pt x="3713863" y="2130808"/>
                    <a:pt x="3713863" y="2130808"/>
                    <a:pt x="4426142" y="2130808"/>
                  </a:cubicBezTo>
                  <a:cubicBezTo>
                    <a:pt x="4524387" y="2130808"/>
                    <a:pt x="4598071" y="2203982"/>
                    <a:pt x="4598071" y="2301547"/>
                  </a:cubicBezTo>
                  <a:cubicBezTo>
                    <a:pt x="4598071" y="2301547"/>
                    <a:pt x="4598071" y="2301547"/>
                    <a:pt x="4598071" y="3886978"/>
                  </a:cubicBezTo>
                  <a:cubicBezTo>
                    <a:pt x="4598071" y="3984543"/>
                    <a:pt x="4524387" y="4057717"/>
                    <a:pt x="4426142" y="4057717"/>
                  </a:cubicBezTo>
                  <a:cubicBezTo>
                    <a:pt x="4426142" y="4057717"/>
                    <a:pt x="4426142" y="4057717"/>
                    <a:pt x="3713863" y="4057717"/>
                  </a:cubicBezTo>
                  <a:cubicBezTo>
                    <a:pt x="3615618" y="4057717"/>
                    <a:pt x="3517372" y="3984543"/>
                    <a:pt x="3517372" y="3886978"/>
                  </a:cubicBezTo>
                  <a:cubicBezTo>
                    <a:pt x="3517372" y="3886978"/>
                    <a:pt x="3517372" y="3886978"/>
                    <a:pt x="3517372" y="2301547"/>
                  </a:cubicBezTo>
                  <a:cubicBezTo>
                    <a:pt x="3517372" y="2203982"/>
                    <a:pt x="3615618" y="2130808"/>
                    <a:pt x="3713863" y="2130808"/>
                  </a:cubicBezTo>
                  <a:close/>
                  <a:moveTo>
                    <a:pt x="904368" y="1223432"/>
                  </a:moveTo>
                  <a:cubicBezTo>
                    <a:pt x="904368" y="1223432"/>
                    <a:pt x="904368" y="1223432"/>
                    <a:pt x="1609930" y="1223432"/>
                  </a:cubicBezTo>
                  <a:cubicBezTo>
                    <a:pt x="1731578" y="1223432"/>
                    <a:pt x="1804567" y="1296733"/>
                    <a:pt x="1804567" y="1394467"/>
                  </a:cubicBezTo>
                  <a:cubicBezTo>
                    <a:pt x="1804567" y="1394467"/>
                    <a:pt x="1804567" y="1394467"/>
                    <a:pt x="1804567" y="3886683"/>
                  </a:cubicBezTo>
                  <a:cubicBezTo>
                    <a:pt x="1804567" y="3984417"/>
                    <a:pt x="1731578" y="4057717"/>
                    <a:pt x="1609930" y="4057717"/>
                  </a:cubicBezTo>
                  <a:cubicBezTo>
                    <a:pt x="1609930" y="4057717"/>
                    <a:pt x="1609930" y="4057717"/>
                    <a:pt x="904368" y="4057717"/>
                  </a:cubicBezTo>
                  <a:cubicBezTo>
                    <a:pt x="807049" y="4057717"/>
                    <a:pt x="734060" y="3984417"/>
                    <a:pt x="734060" y="3886683"/>
                  </a:cubicBezTo>
                  <a:cubicBezTo>
                    <a:pt x="734060" y="3886683"/>
                    <a:pt x="734060" y="3886683"/>
                    <a:pt x="734060" y="1394467"/>
                  </a:cubicBezTo>
                  <a:cubicBezTo>
                    <a:pt x="734060" y="1296733"/>
                    <a:pt x="807049" y="1223432"/>
                    <a:pt x="904368" y="1223432"/>
                  </a:cubicBezTo>
                  <a:close/>
                  <a:moveTo>
                    <a:pt x="2325453" y="316050"/>
                  </a:moveTo>
                  <a:cubicBezTo>
                    <a:pt x="2325453" y="316050"/>
                    <a:pt x="2325453" y="316050"/>
                    <a:pt x="3031014" y="316050"/>
                  </a:cubicBezTo>
                  <a:cubicBezTo>
                    <a:pt x="3128333" y="316050"/>
                    <a:pt x="3201322" y="389416"/>
                    <a:pt x="3201322" y="487238"/>
                  </a:cubicBezTo>
                  <a:cubicBezTo>
                    <a:pt x="3201322" y="487238"/>
                    <a:pt x="3201322" y="487238"/>
                    <a:pt x="3201322" y="3886530"/>
                  </a:cubicBezTo>
                  <a:cubicBezTo>
                    <a:pt x="3201322" y="3984351"/>
                    <a:pt x="3128333" y="4057717"/>
                    <a:pt x="3031014" y="4057717"/>
                  </a:cubicBezTo>
                  <a:cubicBezTo>
                    <a:pt x="3031014" y="4057717"/>
                    <a:pt x="3031014" y="4057717"/>
                    <a:pt x="2325453" y="4057717"/>
                  </a:cubicBezTo>
                  <a:cubicBezTo>
                    <a:pt x="2203804" y="4057717"/>
                    <a:pt x="2130815" y="3984351"/>
                    <a:pt x="2130815" y="3886530"/>
                  </a:cubicBezTo>
                  <a:cubicBezTo>
                    <a:pt x="2130815" y="3886530"/>
                    <a:pt x="2130815" y="3886530"/>
                    <a:pt x="2130815" y="487238"/>
                  </a:cubicBezTo>
                  <a:cubicBezTo>
                    <a:pt x="2130815" y="389416"/>
                    <a:pt x="2203804" y="316050"/>
                    <a:pt x="2325453" y="316050"/>
                  </a:cubicBezTo>
                  <a:close/>
                  <a:moveTo>
                    <a:pt x="269155" y="0"/>
                  </a:moveTo>
                  <a:cubicBezTo>
                    <a:pt x="415967" y="0"/>
                    <a:pt x="538311" y="122239"/>
                    <a:pt x="538311" y="268927"/>
                  </a:cubicBezTo>
                  <a:cubicBezTo>
                    <a:pt x="538311" y="268927"/>
                    <a:pt x="538311" y="268927"/>
                    <a:pt x="538311" y="4253925"/>
                  </a:cubicBezTo>
                  <a:cubicBezTo>
                    <a:pt x="538311" y="4253925"/>
                    <a:pt x="538311" y="4253925"/>
                    <a:pt x="4624575" y="4253925"/>
                  </a:cubicBezTo>
                  <a:cubicBezTo>
                    <a:pt x="4771387" y="4253925"/>
                    <a:pt x="4893730" y="4376164"/>
                    <a:pt x="4893730" y="4522851"/>
                  </a:cubicBezTo>
                  <a:cubicBezTo>
                    <a:pt x="4893730" y="4669538"/>
                    <a:pt x="4771387" y="4791777"/>
                    <a:pt x="4624575" y="4791777"/>
                  </a:cubicBezTo>
                  <a:cubicBezTo>
                    <a:pt x="4624575" y="4791777"/>
                    <a:pt x="4624575" y="4791777"/>
                    <a:pt x="269155" y="4791777"/>
                  </a:cubicBezTo>
                  <a:cubicBezTo>
                    <a:pt x="122344" y="4791777"/>
                    <a:pt x="0" y="4669538"/>
                    <a:pt x="0" y="4522851"/>
                  </a:cubicBezTo>
                  <a:cubicBezTo>
                    <a:pt x="0" y="4522851"/>
                    <a:pt x="0" y="4522851"/>
                    <a:pt x="0" y="268927"/>
                  </a:cubicBezTo>
                  <a:cubicBezTo>
                    <a:pt x="0" y="122239"/>
                    <a:pt x="122344" y="0"/>
                    <a:pt x="269155"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37148" tIns="109719" rIns="137148" bIns="109719"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699261"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9" name="Rectangle 88"/>
            <p:cNvSpPr/>
            <p:nvPr/>
          </p:nvSpPr>
          <p:spPr bwMode="auto">
            <a:xfrm rot="2745734">
              <a:off x="279530" y="1141266"/>
              <a:ext cx="1260714" cy="1255193"/>
            </a:xfrm>
            <a:prstGeom prst="rect">
              <a:avLst/>
            </a:prstGeom>
            <a:solidFill>
              <a:schemeClr val="tx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0" name="Rectangle 89"/>
            <p:cNvSpPr/>
            <p:nvPr/>
          </p:nvSpPr>
          <p:spPr bwMode="auto">
            <a:xfrm rot="2745734">
              <a:off x="1305789" y="4246825"/>
              <a:ext cx="416505" cy="1235003"/>
            </a:xfrm>
            <a:prstGeom prst="rect">
              <a:avLst/>
            </a:prstGeom>
            <a:solidFill>
              <a:schemeClr val="tx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2" name="Rectangle 91"/>
            <p:cNvSpPr/>
            <p:nvPr/>
          </p:nvSpPr>
          <p:spPr bwMode="auto">
            <a:xfrm rot="2745734">
              <a:off x="1315610" y="4915701"/>
              <a:ext cx="1263370" cy="1255989"/>
            </a:xfrm>
            <a:prstGeom prst="rect">
              <a:avLst/>
            </a:prstGeom>
            <a:solidFill>
              <a:schemeClr val="tx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40" name="TextBox 39"/>
          <p:cNvSpPr txBox="1"/>
          <p:nvPr/>
        </p:nvSpPr>
        <p:spPr>
          <a:xfrm>
            <a:off x="3" y="51415"/>
            <a:ext cx="2849058" cy="430887"/>
          </a:xfrm>
          <a:prstGeom prst="rect">
            <a:avLst/>
          </a:prstGeom>
        </p:spPr>
        <p:txBody>
          <a:bodyPr wrap="square">
            <a:spAutoFit/>
          </a:bodyPr>
          <a:lstStyle>
            <a:defPPr>
              <a:defRPr lang="en-US"/>
            </a:defPPr>
            <a:lvl1pPr defTabSz="914192">
              <a:defRPr sz="2800" b="1" spc="-100">
                <a:ln w="3175">
                  <a:noFill/>
                </a:ln>
                <a:solidFill>
                  <a:srgbClr val="F2C812"/>
                </a:solidFill>
                <a:latin typeface="Segoe UI" panose="020B0502040204020203" pitchFamily="34" charset="0"/>
                <a:ea typeface="ＭＳ Ｐゴシック" charset="0"/>
                <a:cs typeface="Segoe UI" panose="020B0502040204020203" pitchFamily="34" charset="0"/>
              </a:defRPr>
            </a:lvl1pPr>
          </a:lstStyle>
          <a:p>
            <a:pPr marL="0" marR="0" lvl="0" indent="0" algn="l" defTabSz="914192" rtl="0" eaLnBrk="1" fontAlgn="auto" latinLnBrk="0" hangingPunct="1">
              <a:lnSpc>
                <a:spcPct val="100000"/>
              </a:lnSpc>
              <a:spcBef>
                <a:spcPts val="0"/>
              </a:spcBef>
              <a:spcAft>
                <a:spcPts val="0"/>
              </a:spcAft>
              <a:buClrTx/>
              <a:buSzTx/>
              <a:buFontTx/>
              <a:buNone/>
              <a:tabLst/>
              <a:defRPr/>
            </a:pPr>
            <a:r>
              <a:rPr kumimoji="0" lang="en-US" sz="2200" b="1" i="0" u="none" strike="noStrike" kern="1200" cap="none" spc="-100" normalizeH="0" baseline="0" noProof="0">
                <a:ln w="3175">
                  <a:noFill/>
                </a:ln>
                <a:solidFill>
                  <a:srgbClr val="F2C812"/>
                </a:solidFill>
                <a:effectLst/>
                <a:uLnTx/>
                <a:uFillTx/>
                <a:latin typeface="Segoe UI Light"/>
                <a:ea typeface="ＭＳ Ｐゴシック" charset="0"/>
                <a:cs typeface="Segoe UI" panose="020B0502040204020203" pitchFamily="34" charset="0"/>
              </a:rPr>
              <a:t>Power BI Desktop</a:t>
            </a:r>
          </a:p>
        </p:txBody>
      </p:sp>
      <p:sp>
        <p:nvSpPr>
          <p:cNvPr id="41" name="Rectangle 40"/>
          <p:cNvSpPr/>
          <p:nvPr/>
        </p:nvSpPr>
        <p:spPr bwMode="auto">
          <a:xfrm rot="19005967">
            <a:off x="922420" y="2122148"/>
            <a:ext cx="1260714" cy="369589"/>
          </a:xfrm>
          <a:prstGeom prst="rect">
            <a:avLst/>
          </a:prstGeom>
          <a:solidFill>
            <a:schemeClr val="tx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7" name="Rectangle 36"/>
          <p:cNvSpPr/>
          <p:nvPr/>
        </p:nvSpPr>
        <p:spPr bwMode="auto">
          <a:xfrm rot="2745734">
            <a:off x="1371067" y="2420930"/>
            <a:ext cx="1194544" cy="1235003"/>
          </a:xfrm>
          <a:prstGeom prst="rect">
            <a:avLst/>
          </a:prstGeom>
          <a:solidFill>
            <a:schemeClr val="tx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2" name="Text Placeholder 2"/>
          <p:cNvSpPr txBox="1">
            <a:spLocks/>
          </p:cNvSpPr>
          <p:nvPr/>
        </p:nvSpPr>
        <p:spPr>
          <a:xfrm>
            <a:off x="3173232" y="916802"/>
            <a:ext cx="7640541" cy="897374"/>
          </a:xfrm>
          <a:prstGeom prst="rect">
            <a:avLst/>
          </a:prstGeom>
        </p:spPr>
        <p:txBody>
          <a:bodyPr vert="horz" wrap="square" lIns="182880" tIns="146304" rIns="182880" bIns="146304" rtlCol="0">
            <a:noAutofit/>
          </a:bodyPr>
          <a:lstStyle>
            <a:lvl1pPr marL="182845" marR="0"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3921" kern="1200" spc="0" baseline="0">
                <a:gradFill>
                  <a:gsLst>
                    <a:gs pos="1250">
                      <a:schemeClr val="tx2"/>
                    </a:gs>
                    <a:gs pos="99000">
                      <a:schemeClr val="tx2"/>
                    </a:gs>
                  </a:gsLst>
                  <a:lin ang="5400000" scaled="0"/>
                </a:gradFill>
                <a:latin typeface="+mj-lt"/>
                <a:ea typeface="+mn-ea"/>
                <a:cs typeface="+mn-cs"/>
              </a:defRPr>
            </a:lvl1pPr>
            <a:lvl2pPr marL="365690" marR="0"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2400" kern="1200" spc="0" baseline="0">
                <a:solidFill>
                  <a:schemeClr val="tx2"/>
                </a:solidFill>
                <a:latin typeface="+mj-lt"/>
                <a:ea typeface="+mn-ea"/>
                <a:cs typeface="+mn-cs"/>
              </a:defRPr>
            </a:lvl2pPr>
            <a:lvl3pPr marL="548535" marR="0"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2000" kern="1200" spc="0" baseline="0">
                <a:solidFill>
                  <a:schemeClr val="tx2"/>
                </a:solidFill>
                <a:latin typeface="+mj-lt"/>
                <a:ea typeface="+mn-ea"/>
                <a:cs typeface="+mn-cs"/>
              </a:defRPr>
            </a:lvl3pPr>
            <a:lvl4pPr marL="733802" marR="0" indent="-28569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1765" kern="1200" spc="0" baseline="0">
                <a:solidFill>
                  <a:schemeClr val="tx2"/>
                </a:solidFill>
                <a:latin typeface="+mn-lt"/>
                <a:ea typeface="+mn-ea"/>
                <a:cs typeface="+mn-cs"/>
              </a:defRPr>
            </a:lvl4pPr>
            <a:lvl5pPr marL="957856" marR="0" indent="-28569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1765" kern="1200" spc="0" baseline="0">
                <a:solidFill>
                  <a:schemeClr val="tx2"/>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1"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r>
              <a:rPr kumimoji="0" lang="en-US" sz="2000" b="1"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rPr>
              <a:t>Clicking a </a:t>
            </a:r>
            <a:r>
              <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rPr>
              <a:t>visualization </a:t>
            </a:r>
            <a:r>
              <a:rPr kumimoji="0" lang="en-US" sz="2000" b="1"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rPr>
              <a:t>element</a:t>
            </a:r>
            <a:r>
              <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rPr>
              <a:t>, filters other visualizations</a:t>
            </a: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r>
              <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rPr>
              <a:t>A </a:t>
            </a:r>
            <a:r>
              <a:rPr kumimoji="0" lang="en-US" sz="2000" b="1"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rPr>
              <a:t>tooltip</a:t>
            </a:r>
            <a:r>
              <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rPr>
              <a:t> displays the </a:t>
            </a:r>
            <a:r>
              <a:rPr kumimoji="0" lang="en-US" sz="2000" b="1"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rPr>
              <a:t>highlighted portion </a:t>
            </a:r>
            <a:r>
              <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rPr>
              <a:t>and the </a:t>
            </a:r>
            <a:r>
              <a:rPr kumimoji="0" lang="en-US" sz="2000" b="1"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rPr>
              <a:t>total</a:t>
            </a: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r>
              <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rPr>
              <a:t>Click an </a:t>
            </a:r>
            <a:r>
              <a:rPr kumimoji="0" lang="en-US" sz="2000" b="1"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rPr>
              <a:t>empty space to clear the filter</a:t>
            </a: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p:txBody>
      </p:sp>
      <p:grpSp>
        <p:nvGrpSpPr>
          <p:cNvPr id="4" name="Group 3"/>
          <p:cNvGrpSpPr/>
          <p:nvPr/>
        </p:nvGrpSpPr>
        <p:grpSpPr>
          <a:xfrm>
            <a:off x="3089552" y="3389602"/>
            <a:ext cx="8861955" cy="3123869"/>
            <a:chOff x="3131699" y="3014625"/>
            <a:chExt cx="8861955" cy="3123869"/>
          </a:xfrm>
        </p:grpSpPr>
        <p:pic>
          <p:nvPicPr>
            <p:cNvPr id="3" name="Picture 2"/>
            <p:cNvPicPr>
              <a:picLocks noChangeAspect="1"/>
            </p:cNvPicPr>
            <p:nvPr/>
          </p:nvPicPr>
          <p:blipFill>
            <a:blip r:embed="rId3"/>
            <a:stretch>
              <a:fillRect/>
            </a:stretch>
          </p:blipFill>
          <p:spPr>
            <a:xfrm>
              <a:off x="3131699" y="3014625"/>
              <a:ext cx="8861955" cy="3123869"/>
            </a:xfrm>
            <a:prstGeom prst="rect">
              <a:avLst/>
            </a:prstGeom>
            <a:ln>
              <a:noFill/>
            </a:ln>
            <a:effectLst>
              <a:outerShdw blurRad="190500" algn="tl" rotWithShape="0">
                <a:srgbClr val="000000">
                  <a:alpha val="70000"/>
                </a:srgbClr>
              </a:outerShdw>
            </a:effectLst>
          </p:spPr>
        </p:pic>
        <p:sp>
          <p:nvSpPr>
            <p:cNvPr id="44" name="Rectangle 43"/>
            <p:cNvSpPr/>
            <p:nvPr/>
          </p:nvSpPr>
          <p:spPr bwMode="auto">
            <a:xfrm>
              <a:off x="8339343" y="4282228"/>
              <a:ext cx="1349946" cy="491626"/>
            </a:xfrm>
            <a:prstGeom prst="rect">
              <a:avLst/>
            </a:prstGeom>
            <a:noFill/>
            <a:ln w="38100">
              <a:solidFill>
                <a:srgbClr val="FF00F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5" name="Right Arrow 44"/>
            <p:cNvSpPr/>
            <p:nvPr/>
          </p:nvSpPr>
          <p:spPr bwMode="auto">
            <a:xfrm rot="8966298">
              <a:off x="5453460" y="4224950"/>
              <a:ext cx="510766" cy="472838"/>
            </a:xfrm>
            <a:prstGeom prst="rightArrow">
              <a:avLst/>
            </a:prstGeom>
            <a:solidFill>
              <a:srgbClr val="FF00FF"/>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pt-PT"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Tree>
    <p:extLst>
      <p:ext uri="{BB962C8B-B14F-4D97-AF65-F5344CB8AC3E}">
        <p14:creationId xmlns:p14="http://schemas.microsoft.com/office/powerpoint/2010/main" val="1189510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solidFill>
            <a:schemeClr val="bg1"/>
          </a:solidFill>
        </p:spPr>
        <p:txBody>
          <a:bodyPr/>
          <a:lstStyle/>
          <a:p>
            <a:r>
              <a:rPr lang="en-US" sz="3600">
                <a:solidFill>
                  <a:schemeClr val="tx1"/>
                </a:solidFill>
              </a:rPr>
              <a:t>Grouping and Binning</a:t>
            </a:r>
          </a:p>
        </p:txBody>
      </p:sp>
      <p:grpSp>
        <p:nvGrpSpPr>
          <p:cNvPr id="52" name="Group 51"/>
          <p:cNvGrpSpPr/>
          <p:nvPr/>
        </p:nvGrpSpPr>
        <p:grpSpPr>
          <a:xfrm>
            <a:off x="2" y="1"/>
            <a:ext cx="2849058" cy="6858000"/>
            <a:chOff x="2" y="1"/>
            <a:chExt cx="2849058" cy="6858000"/>
          </a:xfrm>
        </p:grpSpPr>
        <p:sp>
          <p:nvSpPr>
            <p:cNvPr id="71" name="Rectangle 70"/>
            <p:cNvSpPr/>
            <p:nvPr/>
          </p:nvSpPr>
          <p:spPr bwMode="auto">
            <a:xfrm>
              <a:off x="2" y="1"/>
              <a:ext cx="2849058"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3" name="Oval 70"/>
            <p:cNvSpPr/>
            <p:nvPr/>
          </p:nvSpPr>
          <p:spPr>
            <a:xfrm>
              <a:off x="1413521" y="4951537"/>
              <a:ext cx="1119626" cy="1119626"/>
            </a:xfrm>
            <a:prstGeom prst="ellipse">
              <a:avLst/>
            </a:prstGeom>
            <a:solidFill>
              <a:srgbClr val="F2C812"/>
            </a:solidFill>
            <a:ln w="3175" cap="flat" cmpd="sng" algn="ctr">
              <a:noFill/>
              <a:prstDash val="solid"/>
            </a:ln>
            <a:effectLst/>
          </p:spPr>
          <p:txBody>
            <a:bodyPr vert="horz" wrap="none" lIns="0" tIns="45720" rIns="0" bIns="0" rtlCol="0" anchor="t"/>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Segoe UI"/>
                  <a:ea typeface="Segoe UI" pitchFamily="34" charset="0"/>
                  <a:cs typeface="Segoe UI" pitchFamily="34" charset="0"/>
                </a:rPr>
                <a:t>Share &amp;</a:t>
              </a:r>
            </a:p>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Segoe UI"/>
                  <a:ea typeface="Segoe UI" pitchFamily="34" charset="0"/>
                  <a:cs typeface="Segoe UI" pitchFamily="34" charset="0"/>
                </a:rPr>
                <a:t>collaborate </a:t>
              </a:r>
            </a:p>
          </p:txBody>
        </p:sp>
        <p:grpSp>
          <p:nvGrpSpPr>
            <p:cNvPr id="76" name="Group 38"/>
            <p:cNvGrpSpPr>
              <a:grpSpLocks noChangeAspect="1"/>
            </p:cNvGrpSpPr>
            <p:nvPr/>
          </p:nvGrpSpPr>
          <p:grpSpPr>
            <a:xfrm>
              <a:off x="676996" y="3930692"/>
              <a:ext cx="383905" cy="351536"/>
              <a:chOff x="4363684" y="5330386"/>
              <a:chExt cx="1409956" cy="1291077"/>
            </a:xfrm>
            <a:solidFill>
              <a:srgbClr val="217346"/>
            </a:solidFill>
          </p:grpSpPr>
          <p:sp>
            <p:nvSpPr>
              <p:cNvPr id="102" name="Donut 3"/>
              <p:cNvSpPr/>
              <p:nvPr/>
            </p:nvSpPr>
            <p:spPr bwMode="auto">
              <a:xfrm>
                <a:off x="4363684" y="5330386"/>
                <a:ext cx="1409956" cy="1291077"/>
              </a:xfrm>
              <a:custGeom>
                <a:avLst/>
                <a:gdLst/>
                <a:ahLst/>
                <a:cxnLst/>
                <a:rect l="l" t="t" r="r" b="b"/>
                <a:pathLst>
                  <a:path w="1409956" h="1291077">
                    <a:moveTo>
                      <a:pt x="956401" y="78410"/>
                    </a:moveTo>
                    <a:cubicBezTo>
                      <a:pt x="747518" y="78410"/>
                      <a:pt x="578184" y="247744"/>
                      <a:pt x="578184" y="456627"/>
                    </a:cubicBezTo>
                    <a:cubicBezTo>
                      <a:pt x="578184" y="665510"/>
                      <a:pt x="747518" y="834844"/>
                      <a:pt x="956401" y="834844"/>
                    </a:cubicBezTo>
                    <a:cubicBezTo>
                      <a:pt x="1165284" y="834844"/>
                      <a:pt x="1334618" y="665510"/>
                      <a:pt x="1334618" y="456627"/>
                    </a:cubicBezTo>
                    <a:cubicBezTo>
                      <a:pt x="1334618" y="247744"/>
                      <a:pt x="1165284" y="78410"/>
                      <a:pt x="956401" y="78410"/>
                    </a:cubicBezTo>
                    <a:close/>
                    <a:moveTo>
                      <a:pt x="952756" y="0"/>
                    </a:moveTo>
                    <a:cubicBezTo>
                      <a:pt x="1205261" y="0"/>
                      <a:pt x="1409956" y="204695"/>
                      <a:pt x="1409956" y="457200"/>
                    </a:cubicBezTo>
                    <a:cubicBezTo>
                      <a:pt x="1409956" y="709705"/>
                      <a:pt x="1205261" y="914400"/>
                      <a:pt x="952756" y="914400"/>
                    </a:cubicBezTo>
                    <a:cubicBezTo>
                      <a:pt x="862133" y="914400"/>
                      <a:pt x="777669" y="888034"/>
                      <a:pt x="707132" y="841746"/>
                    </a:cubicBezTo>
                    <a:lnTo>
                      <a:pt x="136495" y="1280102"/>
                    </a:lnTo>
                    <a:cubicBezTo>
                      <a:pt x="21896" y="1327168"/>
                      <a:pt x="-44029" y="1213730"/>
                      <a:pt x="33797" y="1113182"/>
                    </a:cubicBezTo>
                    <a:lnTo>
                      <a:pt x="568587" y="703518"/>
                    </a:lnTo>
                    <a:cubicBezTo>
                      <a:pt x="522087" y="632814"/>
                      <a:pt x="495556" y="548105"/>
                      <a:pt x="495556" y="457200"/>
                    </a:cubicBezTo>
                    <a:cubicBezTo>
                      <a:pt x="495556" y="204695"/>
                      <a:pt x="700251" y="0"/>
                      <a:pt x="952756" y="0"/>
                    </a:cubicBezTo>
                    <a:close/>
                  </a:path>
                </a:pathLst>
              </a:custGeom>
              <a:grpFill/>
              <a:ln>
                <a:solidFill>
                  <a:srgbClr val="21734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sp>
            <p:nvSpPr>
              <p:cNvPr id="103" name="Rectangle 4"/>
              <p:cNvSpPr/>
              <p:nvPr/>
            </p:nvSpPr>
            <p:spPr>
              <a:xfrm>
                <a:off x="5058389" y="5528247"/>
                <a:ext cx="490885" cy="490020"/>
              </a:xfrm>
              <a:custGeom>
                <a:avLst/>
                <a:gdLst/>
                <a:ahLst/>
                <a:cxnLst/>
                <a:rect l="l" t="t" r="r" b="b"/>
                <a:pathLst>
                  <a:path w="490885" h="490020">
                    <a:moveTo>
                      <a:pt x="240752" y="0"/>
                    </a:moveTo>
                    <a:cubicBezTo>
                      <a:pt x="253961" y="11844"/>
                      <a:pt x="293310" y="49692"/>
                      <a:pt x="337332" y="92439"/>
                    </a:cubicBezTo>
                    <a:lnTo>
                      <a:pt x="328342" y="81259"/>
                    </a:lnTo>
                    <a:cubicBezTo>
                      <a:pt x="356946" y="111282"/>
                      <a:pt x="377251" y="107167"/>
                      <a:pt x="382515" y="87941"/>
                    </a:cubicBezTo>
                    <a:cubicBezTo>
                      <a:pt x="383951" y="76921"/>
                      <a:pt x="384595" y="68732"/>
                      <a:pt x="396997" y="52239"/>
                    </a:cubicBezTo>
                    <a:cubicBezTo>
                      <a:pt x="420362" y="32084"/>
                      <a:pt x="442294" y="41736"/>
                      <a:pt x="454920" y="51330"/>
                    </a:cubicBezTo>
                    <a:cubicBezTo>
                      <a:pt x="467834" y="62761"/>
                      <a:pt x="477920" y="86882"/>
                      <a:pt x="460392" y="109714"/>
                    </a:cubicBezTo>
                    <a:cubicBezTo>
                      <a:pt x="451128" y="121912"/>
                      <a:pt x="437554" y="126838"/>
                      <a:pt x="425922" y="126505"/>
                    </a:cubicBezTo>
                    <a:cubicBezTo>
                      <a:pt x="424301" y="127609"/>
                      <a:pt x="382890" y="134974"/>
                      <a:pt x="427348" y="177672"/>
                    </a:cubicBezTo>
                    <a:lnTo>
                      <a:pt x="416886" y="169735"/>
                    </a:lnTo>
                    <a:cubicBezTo>
                      <a:pt x="450207" y="202177"/>
                      <a:pt x="478424" y="229744"/>
                      <a:pt x="490885" y="241900"/>
                    </a:cubicBezTo>
                    <a:lnTo>
                      <a:pt x="417150" y="317347"/>
                    </a:lnTo>
                    <a:cubicBezTo>
                      <a:pt x="417744" y="316535"/>
                      <a:pt x="418443" y="316123"/>
                      <a:pt x="419047" y="315822"/>
                    </a:cubicBezTo>
                    <a:cubicBezTo>
                      <a:pt x="389023" y="344426"/>
                      <a:pt x="393138" y="364731"/>
                      <a:pt x="412364" y="369995"/>
                    </a:cubicBezTo>
                    <a:cubicBezTo>
                      <a:pt x="423384" y="371431"/>
                      <a:pt x="431574" y="372075"/>
                      <a:pt x="448067" y="384477"/>
                    </a:cubicBezTo>
                    <a:cubicBezTo>
                      <a:pt x="468221" y="407842"/>
                      <a:pt x="458569" y="429774"/>
                      <a:pt x="448975" y="442400"/>
                    </a:cubicBezTo>
                    <a:cubicBezTo>
                      <a:pt x="437545" y="455314"/>
                      <a:pt x="413423" y="465400"/>
                      <a:pt x="390591" y="447872"/>
                    </a:cubicBezTo>
                    <a:cubicBezTo>
                      <a:pt x="378394" y="438608"/>
                      <a:pt x="373468" y="425034"/>
                      <a:pt x="373800" y="413402"/>
                    </a:cubicBezTo>
                    <a:cubicBezTo>
                      <a:pt x="372696" y="411781"/>
                      <a:pt x="365332" y="370370"/>
                      <a:pt x="322634" y="414828"/>
                    </a:cubicBezTo>
                    <a:lnTo>
                      <a:pt x="325243" y="411388"/>
                    </a:lnTo>
                    <a:lnTo>
                      <a:pt x="248395" y="490020"/>
                    </a:lnTo>
                    <a:cubicBezTo>
                      <a:pt x="208939" y="451897"/>
                      <a:pt x="199129" y="442073"/>
                      <a:pt x="174192" y="418236"/>
                    </a:cubicBezTo>
                    <a:cubicBezTo>
                      <a:pt x="145587" y="388212"/>
                      <a:pt x="125282" y="392327"/>
                      <a:pt x="120018" y="411553"/>
                    </a:cubicBezTo>
                    <a:cubicBezTo>
                      <a:pt x="118582" y="422573"/>
                      <a:pt x="117938" y="430763"/>
                      <a:pt x="105536" y="447256"/>
                    </a:cubicBezTo>
                    <a:cubicBezTo>
                      <a:pt x="82171" y="467410"/>
                      <a:pt x="60239" y="457758"/>
                      <a:pt x="47614" y="448164"/>
                    </a:cubicBezTo>
                    <a:cubicBezTo>
                      <a:pt x="34699" y="436734"/>
                      <a:pt x="24614" y="412612"/>
                      <a:pt x="42141" y="389780"/>
                    </a:cubicBezTo>
                    <a:cubicBezTo>
                      <a:pt x="51405" y="377583"/>
                      <a:pt x="64979" y="372657"/>
                      <a:pt x="76612" y="372989"/>
                    </a:cubicBezTo>
                    <a:cubicBezTo>
                      <a:pt x="78232" y="371886"/>
                      <a:pt x="119644" y="364521"/>
                      <a:pt x="75186" y="321823"/>
                    </a:cubicBezTo>
                    <a:cubicBezTo>
                      <a:pt x="58767" y="305402"/>
                      <a:pt x="23648" y="271235"/>
                      <a:pt x="0" y="248738"/>
                    </a:cubicBezTo>
                    <a:lnTo>
                      <a:pt x="77303" y="168146"/>
                    </a:lnTo>
                    <a:cubicBezTo>
                      <a:pt x="104269" y="140313"/>
                      <a:pt x="122130" y="156409"/>
                      <a:pt x="124388" y="175543"/>
                    </a:cubicBezTo>
                    <a:cubicBezTo>
                      <a:pt x="124457" y="182466"/>
                      <a:pt x="127106" y="193106"/>
                      <a:pt x="137575" y="203052"/>
                    </a:cubicBezTo>
                    <a:cubicBezTo>
                      <a:pt x="153931" y="220277"/>
                      <a:pt x="181252" y="217451"/>
                      <a:pt x="196721" y="201951"/>
                    </a:cubicBezTo>
                    <a:cubicBezTo>
                      <a:pt x="211961" y="185740"/>
                      <a:pt x="213057" y="157882"/>
                      <a:pt x="196146" y="142797"/>
                    </a:cubicBezTo>
                    <a:cubicBezTo>
                      <a:pt x="184301" y="132637"/>
                      <a:pt x="177155" y="131453"/>
                      <a:pt x="166513" y="129894"/>
                    </a:cubicBezTo>
                    <a:cubicBezTo>
                      <a:pt x="154522" y="129013"/>
                      <a:pt x="131185" y="112953"/>
                      <a:pt x="157905" y="85228"/>
                    </a:cubicBezTo>
                    <a:close/>
                  </a:path>
                </a:pathLst>
              </a:custGeom>
              <a:grpFill/>
              <a:ln>
                <a:solidFill>
                  <a:srgbClr val="21734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grpSp>
        <p:sp>
          <p:nvSpPr>
            <p:cNvPr id="77" name="Oval 47"/>
            <p:cNvSpPr/>
            <p:nvPr/>
          </p:nvSpPr>
          <p:spPr>
            <a:xfrm>
              <a:off x="388608" y="3710471"/>
              <a:ext cx="1119626" cy="1119626"/>
            </a:xfrm>
            <a:prstGeom prst="ellipse">
              <a:avLst/>
            </a:prstGeom>
            <a:solidFill>
              <a:srgbClr val="F2C812"/>
            </a:solidFill>
            <a:ln w="3175" cap="flat" cmpd="sng" algn="ctr">
              <a:noFill/>
              <a:prstDash val="solid"/>
            </a:ln>
            <a:effectLst/>
          </p:spPr>
          <p:txBody>
            <a:bodyPr vert="horz" wrap="none" lIns="0" tIns="45720" rIns="0" bIns="0" rtlCol="0" anchor="t"/>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Segoe UI"/>
                  <a:ea typeface="Segoe UI" pitchFamily="34" charset="0"/>
                  <a:cs typeface="Segoe UI" pitchFamily="34" charset="0"/>
                </a:rPr>
                <a:t>Report</a:t>
              </a:r>
            </a:p>
          </p:txBody>
        </p:sp>
        <p:sp>
          <p:nvSpPr>
            <p:cNvPr id="78" name="Oval 950"/>
            <p:cNvSpPr/>
            <p:nvPr/>
          </p:nvSpPr>
          <p:spPr>
            <a:xfrm>
              <a:off x="388608" y="1252295"/>
              <a:ext cx="1119626" cy="1119626"/>
            </a:xfrm>
            <a:prstGeom prst="ellipse">
              <a:avLst/>
            </a:prstGeom>
            <a:solidFill>
              <a:srgbClr val="F2C812"/>
            </a:solidFill>
            <a:ln w="3175" cap="flat" cmpd="sng" algn="ctr">
              <a:noFill/>
              <a:prstDash val="solid"/>
            </a:ln>
            <a:effectLst/>
          </p:spPr>
          <p:txBody>
            <a:bodyPr vert="horz" wrap="none" lIns="0" tIns="45720" rIns="0" bIns="0" rtlCol="0" anchor="t"/>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1" i="0" u="none" strike="noStrike" kern="1200" cap="none" spc="0" normalizeH="0" baseline="0" noProof="0">
                <a:ln>
                  <a:noFill/>
                </a:ln>
                <a:solidFill>
                  <a:srgbClr val="217346"/>
                </a:solidFill>
                <a:effectLst/>
                <a:uLnTx/>
                <a:uFillTx/>
                <a:latin typeface="Segoe UI"/>
                <a:ea typeface="Segoe UI" pitchFamily="34" charset="0"/>
                <a:cs typeface="Segoe UI" pitchFamily="34" charset="0"/>
              </a:endParaRPr>
            </a:p>
          </p:txBody>
        </p:sp>
        <p:grpSp>
          <p:nvGrpSpPr>
            <p:cNvPr id="79" name="Group 78"/>
            <p:cNvGrpSpPr/>
            <p:nvPr/>
          </p:nvGrpSpPr>
          <p:grpSpPr>
            <a:xfrm>
              <a:off x="1264851" y="3482890"/>
              <a:ext cx="292254" cy="354906"/>
              <a:chOff x="1296521" y="3253388"/>
              <a:chExt cx="292254" cy="354906"/>
            </a:xfrm>
            <a:solidFill>
              <a:srgbClr val="F2C812"/>
            </a:solidFill>
          </p:grpSpPr>
          <p:sp>
            <p:nvSpPr>
              <p:cNvPr id="99" name="Isosceles Triangle 98"/>
              <p:cNvSpPr/>
              <p:nvPr/>
            </p:nvSpPr>
            <p:spPr bwMode="auto">
              <a:xfrm rot="13636515">
                <a:off x="1461362" y="328936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0" name="Isosceles Triangle 99"/>
              <p:cNvSpPr/>
              <p:nvPr/>
            </p:nvSpPr>
            <p:spPr bwMode="auto">
              <a:xfrm rot="13636515">
                <a:off x="1357669" y="338258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1" name="Isosceles Triangle 100"/>
              <p:cNvSpPr/>
              <p:nvPr/>
            </p:nvSpPr>
            <p:spPr bwMode="auto">
              <a:xfrm rot="13636515">
                <a:off x="1260548" y="3480882"/>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80" name="Group 79"/>
            <p:cNvGrpSpPr/>
            <p:nvPr/>
          </p:nvGrpSpPr>
          <p:grpSpPr>
            <a:xfrm rot="15940603">
              <a:off x="1334576" y="2204404"/>
              <a:ext cx="292254" cy="354906"/>
              <a:chOff x="1296521" y="3253388"/>
              <a:chExt cx="292254" cy="354906"/>
            </a:xfrm>
            <a:solidFill>
              <a:srgbClr val="F2C812"/>
            </a:solidFill>
          </p:grpSpPr>
          <p:sp>
            <p:nvSpPr>
              <p:cNvPr id="96" name="Isosceles Triangle 95"/>
              <p:cNvSpPr/>
              <p:nvPr/>
            </p:nvSpPr>
            <p:spPr bwMode="auto">
              <a:xfrm rot="13636515">
                <a:off x="1461362" y="328936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7" name="Isosceles Triangle 96"/>
              <p:cNvSpPr/>
              <p:nvPr/>
            </p:nvSpPr>
            <p:spPr bwMode="auto">
              <a:xfrm rot="13636515">
                <a:off x="1357669" y="338258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8" name="Isosceles Triangle 97"/>
              <p:cNvSpPr/>
              <p:nvPr/>
            </p:nvSpPr>
            <p:spPr bwMode="auto">
              <a:xfrm rot="13636515">
                <a:off x="1260548" y="3480882"/>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81" name="Group 80"/>
            <p:cNvGrpSpPr/>
            <p:nvPr/>
          </p:nvGrpSpPr>
          <p:grpSpPr>
            <a:xfrm rot="16043978">
              <a:off x="1317220" y="4717577"/>
              <a:ext cx="292254" cy="354906"/>
              <a:chOff x="1296521" y="3253388"/>
              <a:chExt cx="292254" cy="354906"/>
            </a:xfrm>
            <a:solidFill>
              <a:srgbClr val="F2C812"/>
            </a:solidFill>
          </p:grpSpPr>
          <p:sp>
            <p:nvSpPr>
              <p:cNvPr id="93" name="Isosceles Triangle 92"/>
              <p:cNvSpPr/>
              <p:nvPr/>
            </p:nvSpPr>
            <p:spPr bwMode="auto">
              <a:xfrm rot="13636515">
                <a:off x="1461362" y="328936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4" name="Isosceles Triangle 93"/>
              <p:cNvSpPr/>
              <p:nvPr/>
            </p:nvSpPr>
            <p:spPr bwMode="auto">
              <a:xfrm rot="13636515">
                <a:off x="1357669" y="338258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5" name="Isosceles Triangle 94"/>
              <p:cNvSpPr/>
              <p:nvPr/>
            </p:nvSpPr>
            <p:spPr bwMode="auto">
              <a:xfrm rot="13636515">
                <a:off x="1260548" y="3480882"/>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82" name="Oval 36"/>
            <p:cNvSpPr/>
            <p:nvPr/>
          </p:nvSpPr>
          <p:spPr>
            <a:xfrm>
              <a:off x="1413521" y="2481383"/>
              <a:ext cx="1119626" cy="1119626"/>
            </a:xfrm>
            <a:prstGeom prst="ellipse">
              <a:avLst/>
            </a:prstGeom>
            <a:solidFill>
              <a:srgbClr val="F2C812"/>
            </a:solidFill>
            <a:ln w="3175" cap="flat" cmpd="sng" algn="ctr">
              <a:noFill/>
              <a:prstDash val="solid"/>
            </a:ln>
            <a:effectLst/>
          </p:spPr>
          <p:txBody>
            <a:bodyPr vert="horz" wrap="none" lIns="0" tIns="0" rIns="0" bIns="0" rtlCol="0" anchor="t"/>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400" b="1" i="0" u="none" strike="noStrike" kern="1200" cap="none" spc="0" normalizeH="0" baseline="0" noProof="0">
                <a:ln>
                  <a:noFill/>
                </a:ln>
                <a:solidFill>
                  <a:srgbClr val="217346"/>
                </a:solidFill>
                <a:effectLst/>
                <a:uLnTx/>
                <a:uFillTx/>
                <a:latin typeface="Segoe UI"/>
                <a:ea typeface="Segoe UI" pitchFamily="34" charset="0"/>
                <a:cs typeface="Segoe UI" pitchFamily="34" charset="0"/>
              </a:endParaRPr>
            </a:p>
          </p:txBody>
        </p:sp>
        <p:sp>
          <p:nvSpPr>
            <p:cNvPr id="83" name="Donut 3"/>
            <p:cNvSpPr/>
            <p:nvPr/>
          </p:nvSpPr>
          <p:spPr bwMode="auto">
            <a:xfrm>
              <a:off x="1742065" y="3002355"/>
              <a:ext cx="383905" cy="351537"/>
            </a:xfrm>
            <a:custGeom>
              <a:avLst/>
              <a:gdLst/>
              <a:ahLst/>
              <a:cxnLst/>
              <a:rect l="l" t="t" r="r" b="b"/>
              <a:pathLst>
                <a:path w="1409956" h="1291077">
                  <a:moveTo>
                    <a:pt x="956401" y="78410"/>
                  </a:moveTo>
                  <a:cubicBezTo>
                    <a:pt x="747518" y="78410"/>
                    <a:pt x="578184" y="247744"/>
                    <a:pt x="578184" y="456627"/>
                  </a:cubicBezTo>
                  <a:cubicBezTo>
                    <a:pt x="578184" y="665510"/>
                    <a:pt x="747518" y="834844"/>
                    <a:pt x="956401" y="834844"/>
                  </a:cubicBezTo>
                  <a:cubicBezTo>
                    <a:pt x="1165284" y="834844"/>
                    <a:pt x="1334618" y="665510"/>
                    <a:pt x="1334618" y="456627"/>
                  </a:cubicBezTo>
                  <a:cubicBezTo>
                    <a:pt x="1334618" y="247744"/>
                    <a:pt x="1165284" y="78410"/>
                    <a:pt x="956401" y="78410"/>
                  </a:cubicBezTo>
                  <a:close/>
                  <a:moveTo>
                    <a:pt x="952756" y="0"/>
                  </a:moveTo>
                  <a:cubicBezTo>
                    <a:pt x="1205261" y="0"/>
                    <a:pt x="1409956" y="204695"/>
                    <a:pt x="1409956" y="457200"/>
                  </a:cubicBezTo>
                  <a:cubicBezTo>
                    <a:pt x="1409956" y="709705"/>
                    <a:pt x="1205261" y="914400"/>
                    <a:pt x="952756" y="914400"/>
                  </a:cubicBezTo>
                  <a:cubicBezTo>
                    <a:pt x="862133" y="914400"/>
                    <a:pt x="777669" y="888034"/>
                    <a:pt x="707132" y="841746"/>
                  </a:cubicBezTo>
                  <a:lnTo>
                    <a:pt x="136495" y="1280102"/>
                  </a:lnTo>
                  <a:cubicBezTo>
                    <a:pt x="21896" y="1327168"/>
                    <a:pt x="-44029" y="1213730"/>
                    <a:pt x="33797" y="1113182"/>
                  </a:cubicBezTo>
                  <a:lnTo>
                    <a:pt x="568587" y="703518"/>
                  </a:lnTo>
                  <a:cubicBezTo>
                    <a:pt x="522087" y="632814"/>
                    <a:pt x="495556" y="548105"/>
                    <a:pt x="495556" y="457200"/>
                  </a:cubicBezTo>
                  <a:cubicBezTo>
                    <a:pt x="495556" y="204695"/>
                    <a:pt x="700251" y="0"/>
                    <a:pt x="952756" y="0"/>
                  </a:cubicBezTo>
                  <a:close/>
                </a:path>
              </a:pathLst>
            </a:cu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sp>
          <p:nvSpPr>
            <p:cNvPr id="84" name="Rectangle 83"/>
            <p:cNvSpPr/>
            <p:nvPr/>
          </p:nvSpPr>
          <p:spPr>
            <a:xfrm>
              <a:off x="1600398" y="2677430"/>
              <a:ext cx="820353" cy="307777"/>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Segoe UI"/>
                  <a:ea typeface="Segoe UI" pitchFamily="34" charset="0"/>
                  <a:cs typeface="Segoe UI" pitchFamily="34" charset="0"/>
                </a:rPr>
                <a:t>Explore</a:t>
              </a:r>
              <a:endParaRPr kumimoji="0" lang="en-US" sz="1600" b="0" i="0" u="none" strike="noStrike" kern="1200" cap="none" spc="0" normalizeH="0" baseline="0" noProof="0">
                <a:ln>
                  <a:noFill/>
                </a:ln>
                <a:solidFill>
                  <a:srgbClr val="000000"/>
                </a:solidFill>
                <a:effectLst/>
                <a:uLnTx/>
                <a:uFillTx/>
                <a:latin typeface="Segoe UI"/>
                <a:ea typeface="+mn-ea"/>
                <a:cs typeface="+mn-cs"/>
              </a:endParaRPr>
            </a:p>
          </p:txBody>
        </p:sp>
        <p:sp>
          <p:nvSpPr>
            <p:cNvPr id="85" name="Rectangle 84"/>
            <p:cNvSpPr/>
            <p:nvPr/>
          </p:nvSpPr>
          <p:spPr>
            <a:xfrm>
              <a:off x="509174" y="1475232"/>
              <a:ext cx="838756" cy="307777"/>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Segoe UI"/>
                  <a:ea typeface="Segoe UI" pitchFamily="34" charset="0"/>
                  <a:cs typeface="Segoe UI" pitchFamily="34" charset="0"/>
                </a:rPr>
                <a:t>Prepare</a:t>
              </a: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86" name="Freeform 85"/>
            <p:cNvSpPr>
              <a:spLocks noChangeAspect="1"/>
            </p:cNvSpPr>
            <p:nvPr/>
          </p:nvSpPr>
          <p:spPr bwMode="black">
            <a:xfrm>
              <a:off x="1836174" y="5643069"/>
              <a:ext cx="274320" cy="284173"/>
            </a:xfrm>
            <a:custGeom>
              <a:avLst/>
              <a:gdLst>
                <a:gd name="T0" fmla="*/ 539 w 669"/>
                <a:gd name="T1" fmla="*/ 5 h 693"/>
                <a:gd name="T2" fmla="*/ 640 w 669"/>
                <a:gd name="T3" fmla="*/ 55 h 693"/>
                <a:gd name="T4" fmla="*/ 603 w 669"/>
                <a:gd name="T5" fmla="*/ 195 h 693"/>
                <a:gd name="T6" fmla="*/ 490 w 669"/>
                <a:gd name="T7" fmla="*/ 188 h 693"/>
                <a:gd name="T8" fmla="*/ 479 w 669"/>
                <a:gd name="T9" fmla="*/ 176 h 693"/>
                <a:gd name="T10" fmla="*/ 213 w 669"/>
                <a:gd name="T11" fmla="*/ 330 h 693"/>
                <a:gd name="T12" fmla="*/ 218 w 669"/>
                <a:gd name="T13" fmla="*/ 345 h 693"/>
                <a:gd name="T14" fmla="*/ 218 w 669"/>
                <a:gd name="T15" fmla="*/ 375 h 693"/>
                <a:gd name="T16" fmla="*/ 209 w 669"/>
                <a:gd name="T17" fmla="*/ 402 h 693"/>
                <a:gd name="T18" fmla="*/ 369 w 669"/>
                <a:gd name="T19" fmla="*/ 503 h 693"/>
                <a:gd name="T20" fmla="*/ 373 w 669"/>
                <a:gd name="T21" fmla="*/ 498 h 693"/>
                <a:gd name="T22" fmla="*/ 456 w 669"/>
                <a:gd name="T23" fmla="*/ 475 h 693"/>
                <a:gd name="T24" fmla="*/ 494 w 669"/>
                <a:gd name="T25" fmla="*/ 489 h 693"/>
                <a:gd name="T26" fmla="*/ 527 w 669"/>
                <a:gd name="T27" fmla="*/ 630 h 693"/>
                <a:gd name="T28" fmla="*/ 386 w 669"/>
                <a:gd name="T29" fmla="*/ 663 h 693"/>
                <a:gd name="T30" fmla="*/ 339 w 669"/>
                <a:gd name="T31" fmla="*/ 560 h 693"/>
                <a:gd name="T32" fmla="*/ 345 w 669"/>
                <a:gd name="T33" fmla="*/ 544 h 693"/>
                <a:gd name="T34" fmla="*/ 177 w 669"/>
                <a:gd name="T35" fmla="*/ 439 h 693"/>
                <a:gd name="T36" fmla="*/ 168 w 669"/>
                <a:gd name="T37" fmla="*/ 446 h 693"/>
                <a:gd name="T38" fmla="*/ 28 w 669"/>
                <a:gd name="T39" fmla="*/ 409 h 693"/>
                <a:gd name="T40" fmla="*/ 65 w 669"/>
                <a:gd name="T41" fmla="*/ 269 h 693"/>
                <a:gd name="T42" fmla="*/ 178 w 669"/>
                <a:gd name="T43" fmla="*/ 276 h 693"/>
                <a:gd name="T44" fmla="*/ 189 w 669"/>
                <a:gd name="T45" fmla="*/ 288 h 693"/>
                <a:gd name="T46" fmla="*/ 455 w 669"/>
                <a:gd name="T47" fmla="*/ 134 h 693"/>
                <a:gd name="T48" fmla="*/ 450 w 669"/>
                <a:gd name="T49" fmla="*/ 119 h 693"/>
                <a:gd name="T50" fmla="*/ 501 w 669"/>
                <a:gd name="T51" fmla="*/ 18 h 693"/>
                <a:gd name="T52" fmla="*/ 539 w 669"/>
                <a:gd name="T53" fmla="*/ 5 h 6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69" h="693">
                  <a:moveTo>
                    <a:pt x="539" y="5"/>
                  </a:moveTo>
                  <a:cubicBezTo>
                    <a:pt x="579" y="0"/>
                    <a:pt x="619" y="19"/>
                    <a:pt x="640" y="55"/>
                  </a:cubicBezTo>
                  <a:cubicBezTo>
                    <a:pt x="669" y="104"/>
                    <a:pt x="652" y="167"/>
                    <a:pt x="603" y="195"/>
                  </a:cubicBezTo>
                  <a:cubicBezTo>
                    <a:pt x="566" y="216"/>
                    <a:pt x="522" y="212"/>
                    <a:pt x="490" y="188"/>
                  </a:cubicBezTo>
                  <a:cubicBezTo>
                    <a:pt x="479" y="176"/>
                    <a:pt x="479" y="176"/>
                    <a:pt x="479" y="176"/>
                  </a:cubicBezTo>
                  <a:cubicBezTo>
                    <a:pt x="213" y="330"/>
                    <a:pt x="213" y="330"/>
                    <a:pt x="213" y="330"/>
                  </a:cubicBezTo>
                  <a:cubicBezTo>
                    <a:pt x="218" y="345"/>
                    <a:pt x="218" y="345"/>
                    <a:pt x="218" y="345"/>
                  </a:cubicBezTo>
                  <a:cubicBezTo>
                    <a:pt x="219" y="355"/>
                    <a:pt x="219" y="365"/>
                    <a:pt x="218" y="375"/>
                  </a:cubicBezTo>
                  <a:cubicBezTo>
                    <a:pt x="209" y="402"/>
                    <a:pt x="209" y="402"/>
                    <a:pt x="209" y="402"/>
                  </a:cubicBezTo>
                  <a:cubicBezTo>
                    <a:pt x="369" y="503"/>
                    <a:pt x="369" y="503"/>
                    <a:pt x="369" y="503"/>
                  </a:cubicBezTo>
                  <a:cubicBezTo>
                    <a:pt x="373" y="498"/>
                    <a:pt x="373" y="498"/>
                    <a:pt x="373" y="498"/>
                  </a:cubicBezTo>
                  <a:cubicBezTo>
                    <a:pt x="396" y="479"/>
                    <a:pt x="427" y="470"/>
                    <a:pt x="456" y="475"/>
                  </a:cubicBezTo>
                  <a:cubicBezTo>
                    <a:pt x="470" y="477"/>
                    <a:pt x="482" y="482"/>
                    <a:pt x="494" y="489"/>
                  </a:cubicBezTo>
                  <a:cubicBezTo>
                    <a:pt x="542" y="519"/>
                    <a:pt x="557" y="583"/>
                    <a:pt x="527" y="630"/>
                  </a:cubicBezTo>
                  <a:cubicBezTo>
                    <a:pt x="497" y="678"/>
                    <a:pt x="433" y="693"/>
                    <a:pt x="386" y="663"/>
                  </a:cubicBezTo>
                  <a:cubicBezTo>
                    <a:pt x="350" y="640"/>
                    <a:pt x="333" y="599"/>
                    <a:pt x="339" y="560"/>
                  </a:cubicBezTo>
                  <a:cubicBezTo>
                    <a:pt x="345" y="544"/>
                    <a:pt x="345" y="544"/>
                    <a:pt x="345" y="544"/>
                  </a:cubicBezTo>
                  <a:cubicBezTo>
                    <a:pt x="177" y="439"/>
                    <a:pt x="177" y="439"/>
                    <a:pt x="177" y="439"/>
                  </a:cubicBezTo>
                  <a:cubicBezTo>
                    <a:pt x="168" y="446"/>
                    <a:pt x="168" y="446"/>
                    <a:pt x="168" y="446"/>
                  </a:cubicBezTo>
                  <a:cubicBezTo>
                    <a:pt x="119" y="475"/>
                    <a:pt x="56" y="458"/>
                    <a:pt x="28" y="409"/>
                  </a:cubicBezTo>
                  <a:cubicBezTo>
                    <a:pt x="0" y="360"/>
                    <a:pt x="16" y="297"/>
                    <a:pt x="65" y="269"/>
                  </a:cubicBezTo>
                  <a:cubicBezTo>
                    <a:pt x="102" y="248"/>
                    <a:pt x="147" y="252"/>
                    <a:pt x="178" y="276"/>
                  </a:cubicBezTo>
                  <a:cubicBezTo>
                    <a:pt x="189" y="288"/>
                    <a:pt x="189" y="288"/>
                    <a:pt x="189" y="288"/>
                  </a:cubicBezTo>
                  <a:cubicBezTo>
                    <a:pt x="455" y="134"/>
                    <a:pt x="455" y="134"/>
                    <a:pt x="455" y="134"/>
                  </a:cubicBezTo>
                  <a:cubicBezTo>
                    <a:pt x="450" y="119"/>
                    <a:pt x="450" y="119"/>
                    <a:pt x="450" y="119"/>
                  </a:cubicBezTo>
                  <a:cubicBezTo>
                    <a:pt x="445" y="80"/>
                    <a:pt x="464" y="39"/>
                    <a:pt x="501" y="18"/>
                  </a:cubicBezTo>
                  <a:cubicBezTo>
                    <a:pt x="513" y="11"/>
                    <a:pt x="526" y="6"/>
                    <a:pt x="539" y="5"/>
                  </a:cubicBezTo>
                  <a:close/>
                </a:path>
              </a:pathLst>
            </a:custGeom>
            <a:solidFill>
              <a:schemeClr val="tx1"/>
            </a:solidFill>
            <a:ln>
              <a:noFill/>
            </a:ln>
          </p:spPr>
          <p:txBody>
            <a:bodyPr vert="horz" wrap="square" lIns="68574" tIns="34287" rIns="68574" bIns="34287"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0000"/>
                </a:solidFill>
                <a:effectLst/>
                <a:uLnTx/>
                <a:uFillTx/>
                <a:latin typeface="Segoe UI"/>
                <a:ea typeface="+mn-ea"/>
                <a:cs typeface="+mn-cs"/>
              </a:endParaRPr>
            </a:p>
          </p:txBody>
        </p:sp>
        <p:sp>
          <p:nvSpPr>
            <p:cNvPr id="87" name="Freeform 86"/>
            <p:cNvSpPr>
              <a:spLocks noChangeAspect="1" noEditPoints="1"/>
            </p:cNvSpPr>
            <p:nvPr/>
          </p:nvSpPr>
          <p:spPr bwMode="black">
            <a:xfrm>
              <a:off x="722320" y="1783009"/>
              <a:ext cx="452202" cy="366660"/>
            </a:xfrm>
            <a:custGeom>
              <a:avLst/>
              <a:gdLst>
                <a:gd name="T0" fmla="*/ 600 w 1107"/>
                <a:gd name="T1" fmla="*/ 625 h 897"/>
                <a:gd name="T2" fmla="*/ 649 w 1107"/>
                <a:gd name="T3" fmla="*/ 567 h 897"/>
                <a:gd name="T4" fmla="*/ 727 w 1107"/>
                <a:gd name="T5" fmla="*/ 482 h 897"/>
                <a:gd name="T6" fmla="*/ 601 w 1107"/>
                <a:gd name="T7" fmla="*/ 434 h 897"/>
                <a:gd name="T8" fmla="*/ 628 w 1107"/>
                <a:gd name="T9" fmla="*/ 305 h 897"/>
                <a:gd name="T10" fmla="*/ 547 w 1107"/>
                <a:gd name="T11" fmla="*/ 240 h 897"/>
                <a:gd name="T12" fmla="*/ 427 w 1107"/>
                <a:gd name="T13" fmla="*/ 287 h 897"/>
                <a:gd name="T14" fmla="*/ 368 w 1107"/>
                <a:gd name="T15" fmla="*/ 170 h 897"/>
                <a:gd name="T16" fmla="*/ 285 w 1107"/>
                <a:gd name="T17" fmla="*/ 263 h 897"/>
                <a:gd name="T18" fmla="*/ 241 w 1107"/>
                <a:gd name="T19" fmla="*/ 313 h 897"/>
                <a:gd name="T20" fmla="*/ 139 w 1107"/>
                <a:gd name="T21" fmla="*/ 281 h 897"/>
                <a:gd name="T22" fmla="*/ 79 w 1107"/>
                <a:gd name="T23" fmla="*/ 355 h 897"/>
                <a:gd name="T24" fmla="*/ 132 w 1107"/>
                <a:gd name="T25" fmla="*/ 446 h 897"/>
                <a:gd name="T26" fmla="*/ 83 w 1107"/>
                <a:gd name="T27" fmla="*/ 505 h 897"/>
                <a:gd name="T28" fmla="*/ 5 w 1107"/>
                <a:gd name="T29" fmla="*/ 590 h 897"/>
                <a:gd name="T30" fmla="*/ 132 w 1107"/>
                <a:gd name="T31" fmla="*/ 638 h 897"/>
                <a:gd name="T32" fmla="*/ 145 w 1107"/>
                <a:gd name="T33" fmla="*/ 669 h 897"/>
                <a:gd name="T34" fmla="*/ 110 w 1107"/>
                <a:gd name="T35" fmla="*/ 793 h 897"/>
                <a:gd name="T36" fmla="*/ 230 w 1107"/>
                <a:gd name="T37" fmla="*/ 781 h 897"/>
                <a:gd name="T38" fmla="*/ 306 w 1107"/>
                <a:gd name="T39" fmla="*/ 785 h 897"/>
                <a:gd name="T40" fmla="*/ 346 w 1107"/>
                <a:gd name="T41" fmla="*/ 878 h 897"/>
                <a:gd name="T42" fmla="*/ 440 w 1107"/>
                <a:gd name="T43" fmla="*/ 872 h 897"/>
                <a:gd name="T44" fmla="*/ 466 w 1107"/>
                <a:gd name="T45" fmla="*/ 764 h 897"/>
                <a:gd name="T46" fmla="*/ 539 w 1107"/>
                <a:gd name="T47" fmla="*/ 755 h 897"/>
                <a:gd name="T48" fmla="*/ 659 w 1107"/>
                <a:gd name="T49" fmla="*/ 743 h 897"/>
                <a:gd name="T50" fmla="*/ 263 w 1107"/>
                <a:gd name="T51" fmla="*/ 452 h 897"/>
                <a:gd name="T52" fmla="*/ 281 w 1107"/>
                <a:gd name="T53" fmla="*/ 633 h 897"/>
                <a:gd name="T54" fmla="*/ 1002 w 1107"/>
                <a:gd name="T55" fmla="*/ 332 h 897"/>
                <a:gd name="T56" fmla="*/ 1043 w 1107"/>
                <a:gd name="T57" fmla="*/ 304 h 897"/>
                <a:gd name="T58" fmla="*/ 1107 w 1107"/>
                <a:gd name="T59" fmla="*/ 266 h 897"/>
                <a:gd name="T60" fmla="*/ 1037 w 1107"/>
                <a:gd name="T61" fmla="*/ 213 h 897"/>
                <a:gd name="T62" fmla="*/ 1077 w 1107"/>
                <a:gd name="T63" fmla="*/ 138 h 897"/>
                <a:gd name="T64" fmla="*/ 1038 w 1107"/>
                <a:gd name="T65" fmla="*/ 83 h 897"/>
                <a:gd name="T66" fmla="*/ 956 w 1107"/>
                <a:gd name="T67" fmla="*/ 91 h 897"/>
                <a:gd name="T68" fmla="*/ 940 w 1107"/>
                <a:gd name="T69" fmla="*/ 7 h 897"/>
                <a:gd name="T70" fmla="*/ 872 w 1107"/>
                <a:gd name="T71" fmla="*/ 50 h 897"/>
                <a:gd name="T72" fmla="*/ 836 w 1107"/>
                <a:gd name="T73" fmla="*/ 74 h 897"/>
                <a:gd name="T74" fmla="*/ 778 w 1107"/>
                <a:gd name="T75" fmla="*/ 35 h 897"/>
                <a:gd name="T76" fmla="*/ 728 w 1107"/>
                <a:gd name="T77" fmla="*/ 70 h 897"/>
                <a:gd name="T78" fmla="*/ 744 w 1107"/>
                <a:gd name="T79" fmla="*/ 136 h 897"/>
                <a:gd name="T80" fmla="*/ 703 w 1107"/>
                <a:gd name="T81" fmla="*/ 164 h 897"/>
                <a:gd name="T82" fmla="*/ 640 w 1107"/>
                <a:gd name="T83" fmla="*/ 203 h 897"/>
                <a:gd name="T84" fmla="*/ 710 w 1107"/>
                <a:gd name="T85" fmla="*/ 255 h 897"/>
                <a:gd name="T86" fmla="*/ 712 w 1107"/>
                <a:gd name="T87" fmla="*/ 277 h 897"/>
                <a:gd name="T88" fmla="*/ 668 w 1107"/>
                <a:gd name="T89" fmla="*/ 347 h 897"/>
                <a:gd name="T90" fmla="*/ 745 w 1107"/>
                <a:gd name="T91" fmla="*/ 361 h 897"/>
                <a:gd name="T92" fmla="*/ 791 w 1107"/>
                <a:gd name="T93" fmla="*/ 377 h 897"/>
                <a:gd name="T94" fmla="*/ 799 w 1107"/>
                <a:gd name="T95" fmla="*/ 443 h 897"/>
                <a:gd name="T96" fmla="*/ 859 w 1107"/>
                <a:gd name="T97" fmla="*/ 456 h 897"/>
                <a:gd name="T98" fmla="*/ 894 w 1107"/>
                <a:gd name="T99" fmla="*/ 393 h 897"/>
                <a:gd name="T100" fmla="*/ 941 w 1107"/>
                <a:gd name="T101" fmla="*/ 401 h 897"/>
                <a:gd name="T102" fmla="*/ 1018 w 1107"/>
                <a:gd name="T103" fmla="*/ 415 h 897"/>
                <a:gd name="T104" fmla="*/ 825 w 1107"/>
                <a:gd name="T105" fmla="*/ 164 h 897"/>
                <a:gd name="T106" fmla="*/ 803 w 1107"/>
                <a:gd name="T107" fmla="*/ 279 h 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107" h="897">
                  <a:moveTo>
                    <a:pt x="654" y="716"/>
                  </a:moveTo>
                  <a:cubicBezTo>
                    <a:pt x="616" y="670"/>
                    <a:pt x="616" y="670"/>
                    <a:pt x="616" y="670"/>
                  </a:cubicBezTo>
                  <a:cubicBezTo>
                    <a:pt x="593" y="654"/>
                    <a:pt x="603" y="638"/>
                    <a:pt x="600" y="625"/>
                  </a:cubicBezTo>
                  <a:cubicBezTo>
                    <a:pt x="600" y="625"/>
                    <a:pt x="600" y="625"/>
                    <a:pt x="600" y="625"/>
                  </a:cubicBezTo>
                  <a:cubicBezTo>
                    <a:pt x="605" y="617"/>
                    <a:pt x="611" y="609"/>
                    <a:pt x="608" y="596"/>
                  </a:cubicBezTo>
                  <a:cubicBezTo>
                    <a:pt x="618" y="580"/>
                    <a:pt x="623" y="572"/>
                    <a:pt x="649" y="567"/>
                  </a:cubicBezTo>
                  <a:cubicBezTo>
                    <a:pt x="715" y="553"/>
                    <a:pt x="715" y="553"/>
                    <a:pt x="715" y="553"/>
                  </a:cubicBezTo>
                  <a:cubicBezTo>
                    <a:pt x="728" y="550"/>
                    <a:pt x="733" y="542"/>
                    <a:pt x="730" y="529"/>
                  </a:cubicBezTo>
                  <a:cubicBezTo>
                    <a:pt x="727" y="482"/>
                    <a:pt x="727" y="482"/>
                    <a:pt x="727" y="482"/>
                  </a:cubicBezTo>
                  <a:cubicBezTo>
                    <a:pt x="724" y="469"/>
                    <a:pt x="717" y="463"/>
                    <a:pt x="701" y="453"/>
                  </a:cubicBezTo>
                  <a:cubicBezTo>
                    <a:pt x="641" y="459"/>
                    <a:pt x="641" y="459"/>
                    <a:pt x="641" y="459"/>
                  </a:cubicBezTo>
                  <a:cubicBezTo>
                    <a:pt x="620" y="457"/>
                    <a:pt x="604" y="447"/>
                    <a:pt x="601" y="434"/>
                  </a:cubicBezTo>
                  <a:cubicBezTo>
                    <a:pt x="598" y="421"/>
                    <a:pt x="590" y="416"/>
                    <a:pt x="580" y="397"/>
                  </a:cubicBezTo>
                  <a:cubicBezTo>
                    <a:pt x="577" y="384"/>
                    <a:pt x="574" y="371"/>
                    <a:pt x="584" y="355"/>
                  </a:cubicBezTo>
                  <a:cubicBezTo>
                    <a:pt x="628" y="305"/>
                    <a:pt x="628" y="305"/>
                    <a:pt x="628" y="305"/>
                  </a:cubicBezTo>
                  <a:cubicBezTo>
                    <a:pt x="634" y="297"/>
                    <a:pt x="631" y="284"/>
                    <a:pt x="623" y="279"/>
                  </a:cubicBezTo>
                  <a:cubicBezTo>
                    <a:pt x="581" y="240"/>
                    <a:pt x="581" y="240"/>
                    <a:pt x="581" y="240"/>
                  </a:cubicBezTo>
                  <a:cubicBezTo>
                    <a:pt x="573" y="235"/>
                    <a:pt x="560" y="238"/>
                    <a:pt x="547" y="240"/>
                  </a:cubicBezTo>
                  <a:cubicBezTo>
                    <a:pt x="503" y="291"/>
                    <a:pt x="503" y="291"/>
                    <a:pt x="503" y="291"/>
                  </a:cubicBezTo>
                  <a:cubicBezTo>
                    <a:pt x="484" y="302"/>
                    <a:pt x="471" y="304"/>
                    <a:pt x="463" y="299"/>
                  </a:cubicBezTo>
                  <a:cubicBezTo>
                    <a:pt x="456" y="294"/>
                    <a:pt x="435" y="292"/>
                    <a:pt x="427" y="287"/>
                  </a:cubicBezTo>
                  <a:cubicBezTo>
                    <a:pt x="419" y="282"/>
                    <a:pt x="403" y="271"/>
                    <a:pt x="400" y="258"/>
                  </a:cubicBezTo>
                  <a:cubicBezTo>
                    <a:pt x="386" y="193"/>
                    <a:pt x="386" y="193"/>
                    <a:pt x="386" y="193"/>
                  </a:cubicBezTo>
                  <a:cubicBezTo>
                    <a:pt x="384" y="180"/>
                    <a:pt x="368" y="170"/>
                    <a:pt x="368" y="170"/>
                  </a:cubicBezTo>
                  <a:cubicBezTo>
                    <a:pt x="308" y="176"/>
                    <a:pt x="308" y="176"/>
                    <a:pt x="308" y="176"/>
                  </a:cubicBezTo>
                  <a:cubicBezTo>
                    <a:pt x="308" y="176"/>
                    <a:pt x="289" y="187"/>
                    <a:pt x="292" y="200"/>
                  </a:cubicBezTo>
                  <a:cubicBezTo>
                    <a:pt x="285" y="263"/>
                    <a:pt x="285" y="263"/>
                    <a:pt x="285" y="263"/>
                  </a:cubicBezTo>
                  <a:cubicBezTo>
                    <a:pt x="291" y="289"/>
                    <a:pt x="277" y="292"/>
                    <a:pt x="272" y="300"/>
                  </a:cubicBezTo>
                  <a:cubicBezTo>
                    <a:pt x="272" y="300"/>
                    <a:pt x="272" y="300"/>
                    <a:pt x="267" y="308"/>
                  </a:cubicBezTo>
                  <a:cubicBezTo>
                    <a:pt x="259" y="302"/>
                    <a:pt x="246" y="305"/>
                    <a:pt x="241" y="313"/>
                  </a:cubicBezTo>
                  <a:cubicBezTo>
                    <a:pt x="236" y="321"/>
                    <a:pt x="236" y="321"/>
                    <a:pt x="236" y="321"/>
                  </a:cubicBezTo>
                  <a:cubicBezTo>
                    <a:pt x="223" y="324"/>
                    <a:pt x="210" y="327"/>
                    <a:pt x="194" y="317"/>
                  </a:cubicBezTo>
                  <a:cubicBezTo>
                    <a:pt x="139" y="281"/>
                    <a:pt x="139" y="281"/>
                    <a:pt x="139" y="281"/>
                  </a:cubicBezTo>
                  <a:cubicBezTo>
                    <a:pt x="131" y="276"/>
                    <a:pt x="110" y="273"/>
                    <a:pt x="104" y="281"/>
                  </a:cubicBezTo>
                  <a:cubicBezTo>
                    <a:pt x="79" y="321"/>
                    <a:pt x="79" y="321"/>
                    <a:pt x="79" y="321"/>
                  </a:cubicBezTo>
                  <a:cubicBezTo>
                    <a:pt x="66" y="324"/>
                    <a:pt x="68" y="337"/>
                    <a:pt x="79" y="355"/>
                  </a:cubicBezTo>
                  <a:cubicBezTo>
                    <a:pt x="121" y="394"/>
                    <a:pt x="121" y="394"/>
                    <a:pt x="121" y="394"/>
                  </a:cubicBezTo>
                  <a:cubicBezTo>
                    <a:pt x="140" y="417"/>
                    <a:pt x="135" y="425"/>
                    <a:pt x="132" y="446"/>
                  </a:cubicBezTo>
                  <a:cubicBezTo>
                    <a:pt x="132" y="446"/>
                    <a:pt x="132" y="446"/>
                    <a:pt x="132" y="446"/>
                  </a:cubicBezTo>
                  <a:cubicBezTo>
                    <a:pt x="127" y="454"/>
                    <a:pt x="122" y="462"/>
                    <a:pt x="117" y="470"/>
                  </a:cubicBezTo>
                  <a:cubicBezTo>
                    <a:pt x="117" y="470"/>
                    <a:pt x="117" y="470"/>
                    <a:pt x="117" y="470"/>
                  </a:cubicBezTo>
                  <a:cubicBezTo>
                    <a:pt x="120" y="483"/>
                    <a:pt x="109" y="499"/>
                    <a:pt x="83" y="505"/>
                  </a:cubicBezTo>
                  <a:cubicBezTo>
                    <a:pt x="23" y="511"/>
                    <a:pt x="23" y="511"/>
                    <a:pt x="23" y="511"/>
                  </a:cubicBezTo>
                  <a:cubicBezTo>
                    <a:pt x="10" y="514"/>
                    <a:pt x="0" y="529"/>
                    <a:pt x="2" y="543"/>
                  </a:cubicBezTo>
                  <a:cubicBezTo>
                    <a:pt x="5" y="590"/>
                    <a:pt x="5" y="590"/>
                    <a:pt x="5" y="590"/>
                  </a:cubicBezTo>
                  <a:cubicBezTo>
                    <a:pt x="8" y="603"/>
                    <a:pt x="16" y="608"/>
                    <a:pt x="37" y="610"/>
                  </a:cubicBezTo>
                  <a:cubicBezTo>
                    <a:pt x="92" y="612"/>
                    <a:pt x="92" y="612"/>
                    <a:pt x="92" y="612"/>
                  </a:cubicBezTo>
                  <a:cubicBezTo>
                    <a:pt x="113" y="614"/>
                    <a:pt x="129" y="625"/>
                    <a:pt x="132" y="638"/>
                  </a:cubicBezTo>
                  <a:cubicBezTo>
                    <a:pt x="132" y="638"/>
                    <a:pt x="132" y="638"/>
                    <a:pt x="132" y="638"/>
                  </a:cubicBezTo>
                  <a:cubicBezTo>
                    <a:pt x="140" y="643"/>
                    <a:pt x="142" y="656"/>
                    <a:pt x="150" y="661"/>
                  </a:cubicBezTo>
                  <a:cubicBezTo>
                    <a:pt x="145" y="669"/>
                    <a:pt x="145" y="669"/>
                    <a:pt x="145" y="669"/>
                  </a:cubicBezTo>
                  <a:cubicBezTo>
                    <a:pt x="153" y="674"/>
                    <a:pt x="156" y="687"/>
                    <a:pt x="140" y="711"/>
                  </a:cubicBezTo>
                  <a:cubicBezTo>
                    <a:pt x="109" y="759"/>
                    <a:pt x="109" y="759"/>
                    <a:pt x="109" y="759"/>
                  </a:cubicBezTo>
                  <a:cubicBezTo>
                    <a:pt x="99" y="775"/>
                    <a:pt x="102" y="788"/>
                    <a:pt x="110" y="793"/>
                  </a:cubicBezTo>
                  <a:cubicBezTo>
                    <a:pt x="152" y="832"/>
                    <a:pt x="152" y="832"/>
                    <a:pt x="152" y="832"/>
                  </a:cubicBezTo>
                  <a:cubicBezTo>
                    <a:pt x="160" y="837"/>
                    <a:pt x="173" y="834"/>
                    <a:pt x="178" y="826"/>
                  </a:cubicBezTo>
                  <a:cubicBezTo>
                    <a:pt x="230" y="781"/>
                    <a:pt x="230" y="781"/>
                    <a:pt x="230" y="781"/>
                  </a:cubicBezTo>
                  <a:cubicBezTo>
                    <a:pt x="248" y="770"/>
                    <a:pt x="261" y="767"/>
                    <a:pt x="269" y="772"/>
                  </a:cubicBezTo>
                  <a:cubicBezTo>
                    <a:pt x="269" y="772"/>
                    <a:pt x="269" y="772"/>
                    <a:pt x="269" y="772"/>
                  </a:cubicBezTo>
                  <a:cubicBezTo>
                    <a:pt x="282" y="769"/>
                    <a:pt x="298" y="779"/>
                    <a:pt x="306" y="785"/>
                  </a:cubicBezTo>
                  <a:cubicBezTo>
                    <a:pt x="306" y="785"/>
                    <a:pt x="306" y="785"/>
                    <a:pt x="306" y="785"/>
                  </a:cubicBezTo>
                  <a:cubicBezTo>
                    <a:pt x="319" y="782"/>
                    <a:pt x="327" y="787"/>
                    <a:pt x="332" y="813"/>
                  </a:cubicBezTo>
                  <a:cubicBezTo>
                    <a:pt x="346" y="878"/>
                    <a:pt x="346" y="878"/>
                    <a:pt x="346" y="878"/>
                  </a:cubicBezTo>
                  <a:cubicBezTo>
                    <a:pt x="349" y="892"/>
                    <a:pt x="357" y="897"/>
                    <a:pt x="370" y="894"/>
                  </a:cubicBezTo>
                  <a:cubicBezTo>
                    <a:pt x="425" y="896"/>
                    <a:pt x="425" y="896"/>
                    <a:pt x="425" y="896"/>
                  </a:cubicBezTo>
                  <a:cubicBezTo>
                    <a:pt x="430" y="888"/>
                    <a:pt x="443" y="885"/>
                    <a:pt x="440" y="872"/>
                  </a:cubicBezTo>
                  <a:cubicBezTo>
                    <a:pt x="440" y="804"/>
                    <a:pt x="440" y="804"/>
                    <a:pt x="440" y="804"/>
                  </a:cubicBezTo>
                  <a:cubicBezTo>
                    <a:pt x="442" y="783"/>
                    <a:pt x="460" y="772"/>
                    <a:pt x="466" y="764"/>
                  </a:cubicBezTo>
                  <a:cubicBezTo>
                    <a:pt x="466" y="764"/>
                    <a:pt x="466" y="764"/>
                    <a:pt x="466" y="764"/>
                  </a:cubicBezTo>
                  <a:cubicBezTo>
                    <a:pt x="479" y="761"/>
                    <a:pt x="492" y="758"/>
                    <a:pt x="497" y="750"/>
                  </a:cubicBezTo>
                  <a:cubicBezTo>
                    <a:pt x="497" y="750"/>
                    <a:pt x="497" y="750"/>
                    <a:pt x="497" y="750"/>
                  </a:cubicBezTo>
                  <a:cubicBezTo>
                    <a:pt x="510" y="747"/>
                    <a:pt x="523" y="745"/>
                    <a:pt x="539" y="755"/>
                  </a:cubicBezTo>
                  <a:cubicBezTo>
                    <a:pt x="594" y="791"/>
                    <a:pt x="594" y="791"/>
                    <a:pt x="594" y="791"/>
                  </a:cubicBezTo>
                  <a:cubicBezTo>
                    <a:pt x="602" y="796"/>
                    <a:pt x="623" y="798"/>
                    <a:pt x="628" y="790"/>
                  </a:cubicBezTo>
                  <a:cubicBezTo>
                    <a:pt x="659" y="743"/>
                    <a:pt x="659" y="743"/>
                    <a:pt x="659" y="743"/>
                  </a:cubicBezTo>
                  <a:cubicBezTo>
                    <a:pt x="659" y="743"/>
                    <a:pt x="669" y="727"/>
                    <a:pt x="654" y="716"/>
                  </a:cubicBezTo>
                  <a:close/>
                  <a:moveTo>
                    <a:pt x="281" y="633"/>
                  </a:moveTo>
                  <a:cubicBezTo>
                    <a:pt x="223" y="584"/>
                    <a:pt x="219" y="502"/>
                    <a:pt x="263" y="452"/>
                  </a:cubicBezTo>
                  <a:cubicBezTo>
                    <a:pt x="313" y="393"/>
                    <a:pt x="399" y="382"/>
                    <a:pt x="457" y="431"/>
                  </a:cubicBezTo>
                  <a:cubicBezTo>
                    <a:pt x="507" y="475"/>
                    <a:pt x="518" y="561"/>
                    <a:pt x="469" y="619"/>
                  </a:cubicBezTo>
                  <a:cubicBezTo>
                    <a:pt x="420" y="678"/>
                    <a:pt x="339" y="682"/>
                    <a:pt x="281" y="633"/>
                  </a:cubicBezTo>
                  <a:close/>
                  <a:moveTo>
                    <a:pt x="1019" y="398"/>
                  </a:moveTo>
                  <a:cubicBezTo>
                    <a:pt x="1004" y="362"/>
                    <a:pt x="1004" y="362"/>
                    <a:pt x="1004" y="362"/>
                  </a:cubicBezTo>
                  <a:cubicBezTo>
                    <a:pt x="992" y="348"/>
                    <a:pt x="1002" y="340"/>
                    <a:pt x="1002" y="332"/>
                  </a:cubicBezTo>
                  <a:cubicBezTo>
                    <a:pt x="1002" y="332"/>
                    <a:pt x="1002" y="332"/>
                    <a:pt x="1002" y="332"/>
                  </a:cubicBezTo>
                  <a:cubicBezTo>
                    <a:pt x="1007" y="328"/>
                    <a:pt x="1011" y="324"/>
                    <a:pt x="1012" y="315"/>
                  </a:cubicBezTo>
                  <a:cubicBezTo>
                    <a:pt x="1021" y="307"/>
                    <a:pt x="1026" y="303"/>
                    <a:pt x="1043" y="304"/>
                  </a:cubicBezTo>
                  <a:cubicBezTo>
                    <a:pt x="1086" y="307"/>
                    <a:pt x="1086" y="307"/>
                    <a:pt x="1086" y="307"/>
                  </a:cubicBezTo>
                  <a:cubicBezTo>
                    <a:pt x="1095" y="308"/>
                    <a:pt x="1099" y="304"/>
                    <a:pt x="1100" y="295"/>
                  </a:cubicBezTo>
                  <a:cubicBezTo>
                    <a:pt x="1107" y="266"/>
                    <a:pt x="1107" y="266"/>
                    <a:pt x="1107" y="266"/>
                  </a:cubicBezTo>
                  <a:cubicBezTo>
                    <a:pt x="1107" y="257"/>
                    <a:pt x="1103" y="252"/>
                    <a:pt x="1095" y="243"/>
                  </a:cubicBezTo>
                  <a:cubicBezTo>
                    <a:pt x="1057" y="236"/>
                    <a:pt x="1057" y="236"/>
                    <a:pt x="1057" y="236"/>
                  </a:cubicBezTo>
                  <a:cubicBezTo>
                    <a:pt x="1044" y="231"/>
                    <a:pt x="1036" y="222"/>
                    <a:pt x="1037" y="213"/>
                  </a:cubicBezTo>
                  <a:cubicBezTo>
                    <a:pt x="1038" y="205"/>
                    <a:pt x="1034" y="200"/>
                    <a:pt x="1030" y="187"/>
                  </a:cubicBezTo>
                  <a:cubicBezTo>
                    <a:pt x="1031" y="178"/>
                    <a:pt x="1032" y="170"/>
                    <a:pt x="1041" y="162"/>
                  </a:cubicBezTo>
                  <a:cubicBezTo>
                    <a:pt x="1077" y="138"/>
                    <a:pt x="1077" y="138"/>
                    <a:pt x="1077" y="138"/>
                  </a:cubicBezTo>
                  <a:cubicBezTo>
                    <a:pt x="1082" y="134"/>
                    <a:pt x="1083" y="126"/>
                    <a:pt x="1079" y="121"/>
                  </a:cubicBezTo>
                  <a:cubicBezTo>
                    <a:pt x="1059" y="89"/>
                    <a:pt x="1059" y="89"/>
                    <a:pt x="1059" y="89"/>
                  </a:cubicBezTo>
                  <a:cubicBezTo>
                    <a:pt x="1055" y="85"/>
                    <a:pt x="1047" y="84"/>
                    <a:pt x="1038" y="83"/>
                  </a:cubicBezTo>
                  <a:cubicBezTo>
                    <a:pt x="1002" y="107"/>
                    <a:pt x="1002" y="107"/>
                    <a:pt x="1002" y="107"/>
                  </a:cubicBezTo>
                  <a:cubicBezTo>
                    <a:pt x="989" y="110"/>
                    <a:pt x="980" y="110"/>
                    <a:pt x="976" y="105"/>
                  </a:cubicBezTo>
                  <a:cubicBezTo>
                    <a:pt x="972" y="100"/>
                    <a:pt x="960" y="95"/>
                    <a:pt x="956" y="91"/>
                  </a:cubicBezTo>
                  <a:cubicBezTo>
                    <a:pt x="952" y="86"/>
                    <a:pt x="944" y="77"/>
                    <a:pt x="944" y="68"/>
                  </a:cubicBezTo>
                  <a:cubicBezTo>
                    <a:pt x="948" y="25"/>
                    <a:pt x="948" y="25"/>
                    <a:pt x="948" y="25"/>
                  </a:cubicBezTo>
                  <a:cubicBezTo>
                    <a:pt x="948" y="17"/>
                    <a:pt x="940" y="7"/>
                    <a:pt x="940" y="7"/>
                  </a:cubicBezTo>
                  <a:cubicBezTo>
                    <a:pt x="902" y="0"/>
                    <a:pt x="902" y="0"/>
                    <a:pt x="902" y="0"/>
                  </a:cubicBezTo>
                  <a:cubicBezTo>
                    <a:pt x="902" y="0"/>
                    <a:pt x="889" y="4"/>
                    <a:pt x="888" y="12"/>
                  </a:cubicBezTo>
                  <a:cubicBezTo>
                    <a:pt x="872" y="50"/>
                    <a:pt x="872" y="50"/>
                    <a:pt x="872" y="50"/>
                  </a:cubicBezTo>
                  <a:cubicBezTo>
                    <a:pt x="871" y="67"/>
                    <a:pt x="862" y="67"/>
                    <a:pt x="858" y="71"/>
                  </a:cubicBezTo>
                  <a:cubicBezTo>
                    <a:pt x="858" y="71"/>
                    <a:pt x="858" y="71"/>
                    <a:pt x="853" y="75"/>
                  </a:cubicBezTo>
                  <a:cubicBezTo>
                    <a:pt x="849" y="70"/>
                    <a:pt x="840" y="70"/>
                    <a:pt x="836" y="74"/>
                  </a:cubicBezTo>
                  <a:cubicBezTo>
                    <a:pt x="831" y="78"/>
                    <a:pt x="831" y="78"/>
                    <a:pt x="831" y="78"/>
                  </a:cubicBezTo>
                  <a:cubicBezTo>
                    <a:pt x="822" y="77"/>
                    <a:pt x="814" y="76"/>
                    <a:pt x="806" y="67"/>
                  </a:cubicBezTo>
                  <a:cubicBezTo>
                    <a:pt x="778" y="35"/>
                    <a:pt x="778" y="35"/>
                    <a:pt x="778" y="35"/>
                  </a:cubicBezTo>
                  <a:cubicBezTo>
                    <a:pt x="774" y="30"/>
                    <a:pt x="762" y="25"/>
                    <a:pt x="757" y="29"/>
                  </a:cubicBezTo>
                  <a:cubicBezTo>
                    <a:pt x="734" y="49"/>
                    <a:pt x="734" y="49"/>
                    <a:pt x="734" y="49"/>
                  </a:cubicBezTo>
                  <a:cubicBezTo>
                    <a:pt x="725" y="49"/>
                    <a:pt x="725" y="57"/>
                    <a:pt x="728" y="70"/>
                  </a:cubicBezTo>
                  <a:cubicBezTo>
                    <a:pt x="747" y="102"/>
                    <a:pt x="747" y="102"/>
                    <a:pt x="747" y="102"/>
                  </a:cubicBezTo>
                  <a:cubicBezTo>
                    <a:pt x="754" y="120"/>
                    <a:pt x="750" y="124"/>
                    <a:pt x="744" y="136"/>
                  </a:cubicBezTo>
                  <a:cubicBezTo>
                    <a:pt x="744" y="136"/>
                    <a:pt x="744" y="136"/>
                    <a:pt x="744" y="136"/>
                  </a:cubicBezTo>
                  <a:cubicBezTo>
                    <a:pt x="740" y="140"/>
                    <a:pt x="735" y="144"/>
                    <a:pt x="731" y="148"/>
                  </a:cubicBezTo>
                  <a:cubicBezTo>
                    <a:pt x="731" y="148"/>
                    <a:pt x="731" y="148"/>
                    <a:pt x="731" y="148"/>
                  </a:cubicBezTo>
                  <a:cubicBezTo>
                    <a:pt x="730" y="157"/>
                    <a:pt x="721" y="165"/>
                    <a:pt x="703" y="164"/>
                  </a:cubicBezTo>
                  <a:cubicBezTo>
                    <a:pt x="665" y="157"/>
                    <a:pt x="665" y="157"/>
                    <a:pt x="665" y="157"/>
                  </a:cubicBezTo>
                  <a:cubicBezTo>
                    <a:pt x="656" y="156"/>
                    <a:pt x="647" y="164"/>
                    <a:pt x="647" y="173"/>
                  </a:cubicBezTo>
                  <a:cubicBezTo>
                    <a:pt x="640" y="203"/>
                    <a:pt x="640" y="203"/>
                    <a:pt x="640" y="203"/>
                  </a:cubicBezTo>
                  <a:cubicBezTo>
                    <a:pt x="639" y="211"/>
                    <a:pt x="643" y="216"/>
                    <a:pt x="656" y="221"/>
                  </a:cubicBezTo>
                  <a:cubicBezTo>
                    <a:pt x="690" y="232"/>
                    <a:pt x="690" y="232"/>
                    <a:pt x="690" y="232"/>
                  </a:cubicBezTo>
                  <a:cubicBezTo>
                    <a:pt x="702" y="237"/>
                    <a:pt x="710" y="246"/>
                    <a:pt x="710" y="255"/>
                  </a:cubicBezTo>
                  <a:cubicBezTo>
                    <a:pt x="710" y="255"/>
                    <a:pt x="710" y="255"/>
                    <a:pt x="710" y="255"/>
                  </a:cubicBezTo>
                  <a:cubicBezTo>
                    <a:pt x="714" y="260"/>
                    <a:pt x="713" y="268"/>
                    <a:pt x="717" y="273"/>
                  </a:cubicBezTo>
                  <a:cubicBezTo>
                    <a:pt x="712" y="277"/>
                    <a:pt x="712" y="277"/>
                    <a:pt x="712" y="277"/>
                  </a:cubicBezTo>
                  <a:cubicBezTo>
                    <a:pt x="716" y="281"/>
                    <a:pt x="716" y="290"/>
                    <a:pt x="702" y="302"/>
                  </a:cubicBezTo>
                  <a:cubicBezTo>
                    <a:pt x="674" y="326"/>
                    <a:pt x="674" y="326"/>
                    <a:pt x="674" y="326"/>
                  </a:cubicBezTo>
                  <a:cubicBezTo>
                    <a:pt x="665" y="334"/>
                    <a:pt x="664" y="343"/>
                    <a:pt x="668" y="347"/>
                  </a:cubicBezTo>
                  <a:cubicBezTo>
                    <a:pt x="687" y="379"/>
                    <a:pt x="687" y="379"/>
                    <a:pt x="687" y="379"/>
                  </a:cubicBezTo>
                  <a:cubicBezTo>
                    <a:pt x="691" y="383"/>
                    <a:pt x="700" y="384"/>
                    <a:pt x="704" y="380"/>
                  </a:cubicBezTo>
                  <a:cubicBezTo>
                    <a:pt x="745" y="361"/>
                    <a:pt x="745" y="361"/>
                    <a:pt x="745" y="361"/>
                  </a:cubicBezTo>
                  <a:cubicBezTo>
                    <a:pt x="758" y="358"/>
                    <a:pt x="767" y="358"/>
                    <a:pt x="771" y="363"/>
                  </a:cubicBezTo>
                  <a:cubicBezTo>
                    <a:pt x="771" y="363"/>
                    <a:pt x="771" y="363"/>
                    <a:pt x="771" y="363"/>
                  </a:cubicBezTo>
                  <a:cubicBezTo>
                    <a:pt x="779" y="364"/>
                    <a:pt x="787" y="373"/>
                    <a:pt x="791" y="377"/>
                  </a:cubicBezTo>
                  <a:cubicBezTo>
                    <a:pt x="791" y="377"/>
                    <a:pt x="791" y="377"/>
                    <a:pt x="791" y="377"/>
                  </a:cubicBezTo>
                  <a:cubicBezTo>
                    <a:pt x="800" y="378"/>
                    <a:pt x="804" y="383"/>
                    <a:pt x="802" y="400"/>
                  </a:cubicBezTo>
                  <a:cubicBezTo>
                    <a:pt x="799" y="443"/>
                    <a:pt x="799" y="443"/>
                    <a:pt x="799" y="443"/>
                  </a:cubicBezTo>
                  <a:cubicBezTo>
                    <a:pt x="798" y="451"/>
                    <a:pt x="802" y="456"/>
                    <a:pt x="811" y="457"/>
                  </a:cubicBezTo>
                  <a:cubicBezTo>
                    <a:pt x="845" y="468"/>
                    <a:pt x="845" y="468"/>
                    <a:pt x="845" y="468"/>
                  </a:cubicBezTo>
                  <a:cubicBezTo>
                    <a:pt x="849" y="464"/>
                    <a:pt x="858" y="464"/>
                    <a:pt x="859" y="456"/>
                  </a:cubicBezTo>
                  <a:cubicBezTo>
                    <a:pt x="871" y="413"/>
                    <a:pt x="871" y="413"/>
                    <a:pt x="871" y="413"/>
                  </a:cubicBezTo>
                  <a:cubicBezTo>
                    <a:pt x="876" y="401"/>
                    <a:pt x="889" y="397"/>
                    <a:pt x="894" y="393"/>
                  </a:cubicBezTo>
                  <a:cubicBezTo>
                    <a:pt x="894" y="393"/>
                    <a:pt x="894" y="393"/>
                    <a:pt x="894" y="393"/>
                  </a:cubicBezTo>
                  <a:cubicBezTo>
                    <a:pt x="902" y="394"/>
                    <a:pt x="911" y="395"/>
                    <a:pt x="916" y="391"/>
                  </a:cubicBezTo>
                  <a:cubicBezTo>
                    <a:pt x="916" y="391"/>
                    <a:pt x="916" y="391"/>
                    <a:pt x="916" y="391"/>
                  </a:cubicBezTo>
                  <a:cubicBezTo>
                    <a:pt x="924" y="391"/>
                    <a:pt x="933" y="392"/>
                    <a:pt x="941" y="401"/>
                  </a:cubicBezTo>
                  <a:cubicBezTo>
                    <a:pt x="969" y="433"/>
                    <a:pt x="969" y="433"/>
                    <a:pt x="969" y="433"/>
                  </a:cubicBezTo>
                  <a:cubicBezTo>
                    <a:pt x="973" y="438"/>
                    <a:pt x="985" y="443"/>
                    <a:pt x="990" y="439"/>
                  </a:cubicBezTo>
                  <a:cubicBezTo>
                    <a:pt x="1018" y="415"/>
                    <a:pt x="1018" y="415"/>
                    <a:pt x="1018" y="415"/>
                  </a:cubicBezTo>
                  <a:cubicBezTo>
                    <a:pt x="1018" y="415"/>
                    <a:pt x="1027" y="407"/>
                    <a:pt x="1019" y="398"/>
                  </a:cubicBezTo>
                  <a:close/>
                  <a:moveTo>
                    <a:pt x="803" y="279"/>
                  </a:moveTo>
                  <a:cubicBezTo>
                    <a:pt x="776" y="238"/>
                    <a:pt x="788" y="187"/>
                    <a:pt x="825" y="164"/>
                  </a:cubicBezTo>
                  <a:cubicBezTo>
                    <a:pt x="866" y="136"/>
                    <a:pt x="921" y="144"/>
                    <a:pt x="948" y="185"/>
                  </a:cubicBezTo>
                  <a:cubicBezTo>
                    <a:pt x="972" y="221"/>
                    <a:pt x="963" y="277"/>
                    <a:pt x="922" y="304"/>
                  </a:cubicBezTo>
                  <a:cubicBezTo>
                    <a:pt x="881" y="332"/>
                    <a:pt x="830" y="320"/>
                    <a:pt x="803" y="279"/>
                  </a:cubicBezTo>
                  <a:close/>
                </a:path>
              </a:pathLst>
            </a:custGeom>
            <a:solidFill>
              <a:schemeClr val="tx1"/>
            </a:solidFill>
            <a:ln>
              <a:noFill/>
            </a:ln>
          </p:spPr>
          <p:txBody>
            <a:bodyPr vert="horz" wrap="square" lIns="68574" tIns="34287" rIns="68574" bIns="34287"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17346"/>
                </a:solidFill>
                <a:effectLst/>
                <a:uLnTx/>
                <a:uFillTx/>
                <a:latin typeface="Segoe UI"/>
                <a:ea typeface="+mn-ea"/>
                <a:cs typeface="+mn-cs"/>
              </a:endParaRPr>
            </a:p>
          </p:txBody>
        </p:sp>
        <p:sp>
          <p:nvSpPr>
            <p:cNvPr id="88" name="Freeform 87"/>
            <p:cNvSpPr>
              <a:spLocks noChangeAspect="1"/>
            </p:cNvSpPr>
            <p:nvPr/>
          </p:nvSpPr>
          <p:spPr bwMode="black">
            <a:xfrm>
              <a:off x="776985" y="4213905"/>
              <a:ext cx="342871" cy="335728"/>
            </a:xfrm>
            <a:custGeom>
              <a:avLst/>
              <a:gdLst>
                <a:gd name="connsiteX0" fmla="*/ 3713863 w 4893730"/>
                <a:gd name="connsiteY0" fmla="*/ 2130808 h 4791777"/>
                <a:gd name="connsiteX1" fmla="*/ 4426142 w 4893730"/>
                <a:gd name="connsiteY1" fmla="*/ 2130808 h 4791777"/>
                <a:gd name="connsiteX2" fmla="*/ 4598071 w 4893730"/>
                <a:gd name="connsiteY2" fmla="*/ 2301547 h 4791777"/>
                <a:gd name="connsiteX3" fmla="*/ 4598071 w 4893730"/>
                <a:gd name="connsiteY3" fmla="*/ 3886978 h 4791777"/>
                <a:gd name="connsiteX4" fmla="*/ 4426142 w 4893730"/>
                <a:gd name="connsiteY4" fmla="*/ 4057717 h 4791777"/>
                <a:gd name="connsiteX5" fmla="*/ 3713863 w 4893730"/>
                <a:gd name="connsiteY5" fmla="*/ 4057717 h 4791777"/>
                <a:gd name="connsiteX6" fmla="*/ 3517372 w 4893730"/>
                <a:gd name="connsiteY6" fmla="*/ 3886978 h 4791777"/>
                <a:gd name="connsiteX7" fmla="*/ 3517372 w 4893730"/>
                <a:gd name="connsiteY7" fmla="*/ 2301547 h 4791777"/>
                <a:gd name="connsiteX8" fmla="*/ 3713863 w 4893730"/>
                <a:gd name="connsiteY8" fmla="*/ 2130808 h 4791777"/>
                <a:gd name="connsiteX9" fmla="*/ 904368 w 4893730"/>
                <a:gd name="connsiteY9" fmla="*/ 1223432 h 4791777"/>
                <a:gd name="connsiteX10" fmla="*/ 1609930 w 4893730"/>
                <a:gd name="connsiteY10" fmla="*/ 1223432 h 4791777"/>
                <a:gd name="connsiteX11" fmla="*/ 1804567 w 4893730"/>
                <a:gd name="connsiteY11" fmla="*/ 1394467 h 4791777"/>
                <a:gd name="connsiteX12" fmla="*/ 1804567 w 4893730"/>
                <a:gd name="connsiteY12" fmla="*/ 3886683 h 4791777"/>
                <a:gd name="connsiteX13" fmla="*/ 1609930 w 4893730"/>
                <a:gd name="connsiteY13" fmla="*/ 4057717 h 4791777"/>
                <a:gd name="connsiteX14" fmla="*/ 904368 w 4893730"/>
                <a:gd name="connsiteY14" fmla="*/ 4057717 h 4791777"/>
                <a:gd name="connsiteX15" fmla="*/ 734060 w 4893730"/>
                <a:gd name="connsiteY15" fmla="*/ 3886683 h 4791777"/>
                <a:gd name="connsiteX16" fmla="*/ 734060 w 4893730"/>
                <a:gd name="connsiteY16" fmla="*/ 1394467 h 4791777"/>
                <a:gd name="connsiteX17" fmla="*/ 904368 w 4893730"/>
                <a:gd name="connsiteY17" fmla="*/ 1223432 h 4791777"/>
                <a:gd name="connsiteX18" fmla="*/ 2325453 w 4893730"/>
                <a:gd name="connsiteY18" fmla="*/ 316050 h 4791777"/>
                <a:gd name="connsiteX19" fmla="*/ 3031014 w 4893730"/>
                <a:gd name="connsiteY19" fmla="*/ 316050 h 4791777"/>
                <a:gd name="connsiteX20" fmla="*/ 3201322 w 4893730"/>
                <a:gd name="connsiteY20" fmla="*/ 487238 h 4791777"/>
                <a:gd name="connsiteX21" fmla="*/ 3201322 w 4893730"/>
                <a:gd name="connsiteY21" fmla="*/ 3886530 h 4791777"/>
                <a:gd name="connsiteX22" fmla="*/ 3031014 w 4893730"/>
                <a:gd name="connsiteY22" fmla="*/ 4057717 h 4791777"/>
                <a:gd name="connsiteX23" fmla="*/ 2325453 w 4893730"/>
                <a:gd name="connsiteY23" fmla="*/ 4057717 h 4791777"/>
                <a:gd name="connsiteX24" fmla="*/ 2130815 w 4893730"/>
                <a:gd name="connsiteY24" fmla="*/ 3886530 h 4791777"/>
                <a:gd name="connsiteX25" fmla="*/ 2130815 w 4893730"/>
                <a:gd name="connsiteY25" fmla="*/ 487238 h 4791777"/>
                <a:gd name="connsiteX26" fmla="*/ 2325453 w 4893730"/>
                <a:gd name="connsiteY26" fmla="*/ 316050 h 4791777"/>
                <a:gd name="connsiteX27" fmla="*/ 269155 w 4893730"/>
                <a:gd name="connsiteY27" fmla="*/ 0 h 4791777"/>
                <a:gd name="connsiteX28" fmla="*/ 538311 w 4893730"/>
                <a:gd name="connsiteY28" fmla="*/ 268927 h 4791777"/>
                <a:gd name="connsiteX29" fmla="*/ 538311 w 4893730"/>
                <a:gd name="connsiteY29" fmla="*/ 4253925 h 4791777"/>
                <a:gd name="connsiteX30" fmla="*/ 4624575 w 4893730"/>
                <a:gd name="connsiteY30" fmla="*/ 4253925 h 4791777"/>
                <a:gd name="connsiteX31" fmla="*/ 4893730 w 4893730"/>
                <a:gd name="connsiteY31" fmla="*/ 4522851 h 4791777"/>
                <a:gd name="connsiteX32" fmla="*/ 4624575 w 4893730"/>
                <a:gd name="connsiteY32" fmla="*/ 4791777 h 4791777"/>
                <a:gd name="connsiteX33" fmla="*/ 269155 w 4893730"/>
                <a:gd name="connsiteY33" fmla="*/ 4791777 h 4791777"/>
                <a:gd name="connsiteX34" fmla="*/ 0 w 4893730"/>
                <a:gd name="connsiteY34" fmla="*/ 4522851 h 4791777"/>
                <a:gd name="connsiteX35" fmla="*/ 0 w 4893730"/>
                <a:gd name="connsiteY35" fmla="*/ 268927 h 4791777"/>
                <a:gd name="connsiteX36" fmla="*/ 269155 w 4893730"/>
                <a:gd name="connsiteY36" fmla="*/ 0 h 4791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4893730" h="4791777">
                  <a:moveTo>
                    <a:pt x="3713863" y="2130808"/>
                  </a:moveTo>
                  <a:cubicBezTo>
                    <a:pt x="3713863" y="2130808"/>
                    <a:pt x="3713863" y="2130808"/>
                    <a:pt x="4426142" y="2130808"/>
                  </a:cubicBezTo>
                  <a:cubicBezTo>
                    <a:pt x="4524387" y="2130808"/>
                    <a:pt x="4598071" y="2203982"/>
                    <a:pt x="4598071" y="2301547"/>
                  </a:cubicBezTo>
                  <a:cubicBezTo>
                    <a:pt x="4598071" y="2301547"/>
                    <a:pt x="4598071" y="2301547"/>
                    <a:pt x="4598071" y="3886978"/>
                  </a:cubicBezTo>
                  <a:cubicBezTo>
                    <a:pt x="4598071" y="3984543"/>
                    <a:pt x="4524387" y="4057717"/>
                    <a:pt x="4426142" y="4057717"/>
                  </a:cubicBezTo>
                  <a:cubicBezTo>
                    <a:pt x="4426142" y="4057717"/>
                    <a:pt x="4426142" y="4057717"/>
                    <a:pt x="3713863" y="4057717"/>
                  </a:cubicBezTo>
                  <a:cubicBezTo>
                    <a:pt x="3615618" y="4057717"/>
                    <a:pt x="3517372" y="3984543"/>
                    <a:pt x="3517372" y="3886978"/>
                  </a:cubicBezTo>
                  <a:cubicBezTo>
                    <a:pt x="3517372" y="3886978"/>
                    <a:pt x="3517372" y="3886978"/>
                    <a:pt x="3517372" y="2301547"/>
                  </a:cubicBezTo>
                  <a:cubicBezTo>
                    <a:pt x="3517372" y="2203982"/>
                    <a:pt x="3615618" y="2130808"/>
                    <a:pt x="3713863" y="2130808"/>
                  </a:cubicBezTo>
                  <a:close/>
                  <a:moveTo>
                    <a:pt x="904368" y="1223432"/>
                  </a:moveTo>
                  <a:cubicBezTo>
                    <a:pt x="904368" y="1223432"/>
                    <a:pt x="904368" y="1223432"/>
                    <a:pt x="1609930" y="1223432"/>
                  </a:cubicBezTo>
                  <a:cubicBezTo>
                    <a:pt x="1731578" y="1223432"/>
                    <a:pt x="1804567" y="1296733"/>
                    <a:pt x="1804567" y="1394467"/>
                  </a:cubicBezTo>
                  <a:cubicBezTo>
                    <a:pt x="1804567" y="1394467"/>
                    <a:pt x="1804567" y="1394467"/>
                    <a:pt x="1804567" y="3886683"/>
                  </a:cubicBezTo>
                  <a:cubicBezTo>
                    <a:pt x="1804567" y="3984417"/>
                    <a:pt x="1731578" y="4057717"/>
                    <a:pt x="1609930" y="4057717"/>
                  </a:cubicBezTo>
                  <a:cubicBezTo>
                    <a:pt x="1609930" y="4057717"/>
                    <a:pt x="1609930" y="4057717"/>
                    <a:pt x="904368" y="4057717"/>
                  </a:cubicBezTo>
                  <a:cubicBezTo>
                    <a:pt x="807049" y="4057717"/>
                    <a:pt x="734060" y="3984417"/>
                    <a:pt x="734060" y="3886683"/>
                  </a:cubicBezTo>
                  <a:cubicBezTo>
                    <a:pt x="734060" y="3886683"/>
                    <a:pt x="734060" y="3886683"/>
                    <a:pt x="734060" y="1394467"/>
                  </a:cubicBezTo>
                  <a:cubicBezTo>
                    <a:pt x="734060" y="1296733"/>
                    <a:pt x="807049" y="1223432"/>
                    <a:pt x="904368" y="1223432"/>
                  </a:cubicBezTo>
                  <a:close/>
                  <a:moveTo>
                    <a:pt x="2325453" y="316050"/>
                  </a:moveTo>
                  <a:cubicBezTo>
                    <a:pt x="2325453" y="316050"/>
                    <a:pt x="2325453" y="316050"/>
                    <a:pt x="3031014" y="316050"/>
                  </a:cubicBezTo>
                  <a:cubicBezTo>
                    <a:pt x="3128333" y="316050"/>
                    <a:pt x="3201322" y="389416"/>
                    <a:pt x="3201322" y="487238"/>
                  </a:cubicBezTo>
                  <a:cubicBezTo>
                    <a:pt x="3201322" y="487238"/>
                    <a:pt x="3201322" y="487238"/>
                    <a:pt x="3201322" y="3886530"/>
                  </a:cubicBezTo>
                  <a:cubicBezTo>
                    <a:pt x="3201322" y="3984351"/>
                    <a:pt x="3128333" y="4057717"/>
                    <a:pt x="3031014" y="4057717"/>
                  </a:cubicBezTo>
                  <a:cubicBezTo>
                    <a:pt x="3031014" y="4057717"/>
                    <a:pt x="3031014" y="4057717"/>
                    <a:pt x="2325453" y="4057717"/>
                  </a:cubicBezTo>
                  <a:cubicBezTo>
                    <a:pt x="2203804" y="4057717"/>
                    <a:pt x="2130815" y="3984351"/>
                    <a:pt x="2130815" y="3886530"/>
                  </a:cubicBezTo>
                  <a:cubicBezTo>
                    <a:pt x="2130815" y="3886530"/>
                    <a:pt x="2130815" y="3886530"/>
                    <a:pt x="2130815" y="487238"/>
                  </a:cubicBezTo>
                  <a:cubicBezTo>
                    <a:pt x="2130815" y="389416"/>
                    <a:pt x="2203804" y="316050"/>
                    <a:pt x="2325453" y="316050"/>
                  </a:cubicBezTo>
                  <a:close/>
                  <a:moveTo>
                    <a:pt x="269155" y="0"/>
                  </a:moveTo>
                  <a:cubicBezTo>
                    <a:pt x="415967" y="0"/>
                    <a:pt x="538311" y="122239"/>
                    <a:pt x="538311" y="268927"/>
                  </a:cubicBezTo>
                  <a:cubicBezTo>
                    <a:pt x="538311" y="268927"/>
                    <a:pt x="538311" y="268927"/>
                    <a:pt x="538311" y="4253925"/>
                  </a:cubicBezTo>
                  <a:cubicBezTo>
                    <a:pt x="538311" y="4253925"/>
                    <a:pt x="538311" y="4253925"/>
                    <a:pt x="4624575" y="4253925"/>
                  </a:cubicBezTo>
                  <a:cubicBezTo>
                    <a:pt x="4771387" y="4253925"/>
                    <a:pt x="4893730" y="4376164"/>
                    <a:pt x="4893730" y="4522851"/>
                  </a:cubicBezTo>
                  <a:cubicBezTo>
                    <a:pt x="4893730" y="4669538"/>
                    <a:pt x="4771387" y="4791777"/>
                    <a:pt x="4624575" y="4791777"/>
                  </a:cubicBezTo>
                  <a:cubicBezTo>
                    <a:pt x="4624575" y="4791777"/>
                    <a:pt x="4624575" y="4791777"/>
                    <a:pt x="269155" y="4791777"/>
                  </a:cubicBezTo>
                  <a:cubicBezTo>
                    <a:pt x="122344" y="4791777"/>
                    <a:pt x="0" y="4669538"/>
                    <a:pt x="0" y="4522851"/>
                  </a:cubicBezTo>
                  <a:cubicBezTo>
                    <a:pt x="0" y="4522851"/>
                    <a:pt x="0" y="4522851"/>
                    <a:pt x="0" y="268927"/>
                  </a:cubicBezTo>
                  <a:cubicBezTo>
                    <a:pt x="0" y="122239"/>
                    <a:pt x="122344" y="0"/>
                    <a:pt x="269155"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37148" tIns="109719" rIns="137148" bIns="109719"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699261"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9" name="Rectangle 88"/>
            <p:cNvSpPr/>
            <p:nvPr/>
          </p:nvSpPr>
          <p:spPr bwMode="auto">
            <a:xfrm rot="2745734">
              <a:off x="279530" y="1141266"/>
              <a:ext cx="1260714" cy="1255193"/>
            </a:xfrm>
            <a:prstGeom prst="rect">
              <a:avLst/>
            </a:prstGeom>
            <a:solidFill>
              <a:schemeClr val="tx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0" name="Rectangle 89"/>
            <p:cNvSpPr/>
            <p:nvPr/>
          </p:nvSpPr>
          <p:spPr bwMode="auto">
            <a:xfrm rot="2745734">
              <a:off x="1305789" y="4246825"/>
              <a:ext cx="416505" cy="1235003"/>
            </a:xfrm>
            <a:prstGeom prst="rect">
              <a:avLst/>
            </a:prstGeom>
            <a:solidFill>
              <a:schemeClr val="tx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2" name="Rectangle 91"/>
            <p:cNvSpPr/>
            <p:nvPr/>
          </p:nvSpPr>
          <p:spPr bwMode="auto">
            <a:xfrm rot="2745734">
              <a:off x="1315610" y="4915701"/>
              <a:ext cx="1263370" cy="1255989"/>
            </a:xfrm>
            <a:prstGeom prst="rect">
              <a:avLst/>
            </a:prstGeom>
            <a:solidFill>
              <a:schemeClr val="tx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40" name="TextBox 39"/>
          <p:cNvSpPr txBox="1"/>
          <p:nvPr/>
        </p:nvSpPr>
        <p:spPr>
          <a:xfrm>
            <a:off x="3" y="51415"/>
            <a:ext cx="2849058" cy="430887"/>
          </a:xfrm>
          <a:prstGeom prst="rect">
            <a:avLst/>
          </a:prstGeom>
        </p:spPr>
        <p:txBody>
          <a:bodyPr wrap="square">
            <a:spAutoFit/>
          </a:bodyPr>
          <a:lstStyle>
            <a:defPPr>
              <a:defRPr lang="en-US"/>
            </a:defPPr>
            <a:lvl1pPr defTabSz="914192">
              <a:defRPr sz="2800" b="1" spc="-100">
                <a:ln w="3175">
                  <a:noFill/>
                </a:ln>
                <a:solidFill>
                  <a:srgbClr val="F2C812"/>
                </a:solidFill>
                <a:latin typeface="Segoe UI" panose="020B0502040204020203" pitchFamily="34" charset="0"/>
                <a:ea typeface="ＭＳ Ｐゴシック" charset="0"/>
                <a:cs typeface="Segoe UI" panose="020B0502040204020203" pitchFamily="34" charset="0"/>
              </a:defRPr>
            </a:lvl1pPr>
          </a:lstStyle>
          <a:p>
            <a:pPr marL="0" marR="0" lvl="0" indent="0" algn="l" defTabSz="914192" rtl="0" eaLnBrk="1" fontAlgn="auto" latinLnBrk="0" hangingPunct="1">
              <a:lnSpc>
                <a:spcPct val="100000"/>
              </a:lnSpc>
              <a:spcBef>
                <a:spcPts val="0"/>
              </a:spcBef>
              <a:spcAft>
                <a:spcPts val="0"/>
              </a:spcAft>
              <a:buClrTx/>
              <a:buSzTx/>
              <a:buFontTx/>
              <a:buNone/>
              <a:tabLst/>
              <a:defRPr/>
            </a:pPr>
            <a:r>
              <a:rPr kumimoji="0" lang="en-US" sz="2200" b="1" i="0" u="none" strike="noStrike" kern="1200" cap="none" spc="-100" normalizeH="0" baseline="0" noProof="0">
                <a:ln w="3175">
                  <a:noFill/>
                </a:ln>
                <a:solidFill>
                  <a:srgbClr val="F2C812"/>
                </a:solidFill>
                <a:effectLst/>
                <a:uLnTx/>
                <a:uFillTx/>
                <a:latin typeface="Segoe UI Light"/>
                <a:ea typeface="ＭＳ Ｐゴシック" charset="0"/>
                <a:cs typeface="Segoe UI" panose="020B0502040204020203" pitchFamily="34" charset="0"/>
              </a:rPr>
              <a:t>Power BI Desktop</a:t>
            </a:r>
          </a:p>
        </p:txBody>
      </p:sp>
      <p:sp>
        <p:nvSpPr>
          <p:cNvPr id="41" name="Rectangle 40"/>
          <p:cNvSpPr/>
          <p:nvPr/>
        </p:nvSpPr>
        <p:spPr bwMode="auto">
          <a:xfrm rot="19005967">
            <a:off x="922420" y="2122148"/>
            <a:ext cx="1260714" cy="369589"/>
          </a:xfrm>
          <a:prstGeom prst="rect">
            <a:avLst/>
          </a:prstGeom>
          <a:solidFill>
            <a:schemeClr val="tx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7" name="Rectangle 36"/>
          <p:cNvSpPr/>
          <p:nvPr/>
        </p:nvSpPr>
        <p:spPr bwMode="auto">
          <a:xfrm rot="2745734">
            <a:off x="1371067" y="2420930"/>
            <a:ext cx="1194544" cy="1235003"/>
          </a:xfrm>
          <a:prstGeom prst="rect">
            <a:avLst/>
          </a:prstGeom>
          <a:solidFill>
            <a:schemeClr val="tx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2" name="Text Placeholder 2"/>
          <p:cNvSpPr txBox="1">
            <a:spLocks/>
          </p:cNvSpPr>
          <p:nvPr/>
        </p:nvSpPr>
        <p:spPr>
          <a:xfrm>
            <a:off x="3173232" y="916802"/>
            <a:ext cx="3619454" cy="2930336"/>
          </a:xfrm>
          <a:prstGeom prst="rect">
            <a:avLst/>
          </a:prstGeom>
        </p:spPr>
        <p:txBody>
          <a:bodyPr vert="horz" wrap="square" lIns="182880" tIns="146304" rIns="182880" bIns="146304" rtlCol="0">
            <a:noAutofit/>
          </a:bodyPr>
          <a:lstStyle>
            <a:lvl1pPr marL="182845" marR="0"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3921" kern="1200" spc="0" baseline="0">
                <a:gradFill>
                  <a:gsLst>
                    <a:gs pos="1250">
                      <a:schemeClr val="tx2"/>
                    </a:gs>
                    <a:gs pos="99000">
                      <a:schemeClr val="tx2"/>
                    </a:gs>
                  </a:gsLst>
                  <a:lin ang="5400000" scaled="0"/>
                </a:gradFill>
                <a:latin typeface="+mj-lt"/>
                <a:ea typeface="+mn-ea"/>
                <a:cs typeface="+mn-cs"/>
              </a:defRPr>
            </a:lvl1pPr>
            <a:lvl2pPr marL="365690" marR="0"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2400" kern="1200" spc="0" baseline="0">
                <a:solidFill>
                  <a:schemeClr val="tx2"/>
                </a:solidFill>
                <a:latin typeface="+mj-lt"/>
                <a:ea typeface="+mn-ea"/>
                <a:cs typeface="+mn-cs"/>
              </a:defRPr>
            </a:lvl2pPr>
            <a:lvl3pPr marL="548535" marR="0"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2000" kern="1200" spc="0" baseline="0">
                <a:solidFill>
                  <a:schemeClr val="tx2"/>
                </a:solidFill>
                <a:latin typeface="+mj-lt"/>
                <a:ea typeface="+mn-ea"/>
                <a:cs typeface="+mn-cs"/>
              </a:defRPr>
            </a:lvl3pPr>
            <a:lvl4pPr marL="733802" marR="0" indent="-28569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1765" kern="1200" spc="0" baseline="0">
                <a:solidFill>
                  <a:schemeClr val="tx2"/>
                </a:solidFill>
                <a:latin typeface="+mn-lt"/>
                <a:ea typeface="+mn-ea"/>
                <a:cs typeface="+mn-cs"/>
              </a:defRPr>
            </a:lvl4pPr>
            <a:lvl5pPr marL="957856" marR="0" indent="-28569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1765" kern="1200" spc="0" baseline="0">
                <a:solidFill>
                  <a:schemeClr val="tx2"/>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1"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r>
              <a:rPr kumimoji="0" lang="en-US" sz="2000" b="1"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rPr>
              <a:t>Group</a:t>
            </a:r>
            <a:r>
              <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rPr>
              <a:t> up points on your visual to easily explore and analyze related categories</a:t>
            </a: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a:p>
            <a:pPr marL="182845" marR="0" lvl="1" indent="0" algn="l" defTabSz="914367" rtl="0" eaLnBrk="1" fontAlgn="auto" latinLnBrk="0" hangingPunct="1">
              <a:lnSpc>
                <a:spcPct val="90000"/>
              </a:lnSpc>
              <a:spcBef>
                <a:spcPct val="20000"/>
              </a:spcBef>
              <a:spcAft>
                <a:spcPts val="0"/>
              </a:spcAft>
              <a:buClrTx/>
              <a:buSzPct val="90000"/>
              <a:buFont typeface="Arial" panose="020B0604020202020204" pitchFamily="34" charset="0"/>
              <a:buNone/>
              <a:tabLst/>
              <a:defRPr/>
            </a:pPr>
            <a:endPar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r>
              <a:rPr kumimoji="0" lang="en-US" sz="2000" b="1"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rPr>
              <a:t>Bin</a:t>
            </a:r>
            <a:r>
              <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rPr>
              <a:t> on numerical and time fields to create data categories</a:t>
            </a: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p:txBody>
      </p:sp>
      <p:pic>
        <p:nvPicPr>
          <p:cNvPr id="10" name="Picture 9"/>
          <p:cNvPicPr>
            <a:picLocks noChangeAspect="1"/>
          </p:cNvPicPr>
          <p:nvPr/>
        </p:nvPicPr>
        <p:blipFill>
          <a:blip r:embed="rId3"/>
          <a:stretch>
            <a:fillRect/>
          </a:stretch>
        </p:blipFill>
        <p:spPr>
          <a:xfrm>
            <a:off x="7345363" y="665151"/>
            <a:ext cx="4511201" cy="3272753"/>
          </a:xfrm>
          <a:prstGeom prst="rect">
            <a:avLst/>
          </a:prstGeom>
        </p:spPr>
      </p:pic>
      <p:pic>
        <p:nvPicPr>
          <p:cNvPr id="11" name="Picture 10"/>
          <p:cNvPicPr>
            <a:picLocks noChangeAspect="1"/>
          </p:cNvPicPr>
          <p:nvPr/>
        </p:nvPicPr>
        <p:blipFill>
          <a:blip r:embed="rId4"/>
          <a:stretch>
            <a:fillRect/>
          </a:stretch>
        </p:blipFill>
        <p:spPr>
          <a:xfrm>
            <a:off x="7345363" y="3984566"/>
            <a:ext cx="4755506" cy="2810667"/>
          </a:xfrm>
          <a:prstGeom prst="rect">
            <a:avLst/>
          </a:prstGeom>
        </p:spPr>
      </p:pic>
      <p:pic>
        <p:nvPicPr>
          <p:cNvPr id="12" name="Picture 11"/>
          <p:cNvPicPr>
            <a:picLocks noChangeAspect="1"/>
          </p:cNvPicPr>
          <p:nvPr/>
        </p:nvPicPr>
        <p:blipFill>
          <a:blip r:embed="rId5"/>
          <a:stretch>
            <a:fillRect/>
          </a:stretch>
        </p:blipFill>
        <p:spPr>
          <a:xfrm>
            <a:off x="3042722" y="4549634"/>
            <a:ext cx="1268104" cy="2245600"/>
          </a:xfrm>
          <a:prstGeom prst="rect">
            <a:avLst/>
          </a:prstGeom>
        </p:spPr>
      </p:pic>
      <p:pic>
        <p:nvPicPr>
          <p:cNvPr id="13" name="Picture 12"/>
          <p:cNvPicPr>
            <a:picLocks noChangeAspect="1"/>
          </p:cNvPicPr>
          <p:nvPr/>
        </p:nvPicPr>
        <p:blipFill>
          <a:blip r:embed="rId6"/>
          <a:stretch>
            <a:fillRect/>
          </a:stretch>
        </p:blipFill>
        <p:spPr>
          <a:xfrm>
            <a:off x="4436656" y="5073454"/>
            <a:ext cx="3690628" cy="1139229"/>
          </a:xfrm>
          <a:prstGeom prst="rect">
            <a:avLst/>
          </a:prstGeom>
        </p:spPr>
      </p:pic>
    </p:spTree>
    <p:extLst>
      <p:ext uri="{BB962C8B-B14F-4D97-AF65-F5344CB8AC3E}">
        <p14:creationId xmlns:p14="http://schemas.microsoft.com/office/powerpoint/2010/main" val="8055565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solidFill>
            <a:schemeClr val="bg1"/>
          </a:solidFill>
        </p:spPr>
        <p:txBody>
          <a:bodyPr/>
          <a:lstStyle/>
          <a:p>
            <a:r>
              <a:rPr lang="en-US" sz="3600">
                <a:solidFill>
                  <a:schemeClr val="tx1"/>
                </a:solidFill>
              </a:rPr>
              <a:t>Analytics Pane</a:t>
            </a:r>
          </a:p>
        </p:txBody>
      </p:sp>
      <p:grpSp>
        <p:nvGrpSpPr>
          <p:cNvPr id="52" name="Group 51"/>
          <p:cNvGrpSpPr/>
          <p:nvPr/>
        </p:nvGrpSpPr>
        <p:grpSpPr>
          <a:xfrm>
            <a:off x="2" y="1"/>
            <a:ext cx="2849058" cy="6858000"/>
            <a:chOff x="2" y="1"/>
            <a:chExt cx="2849058" cy="6858000"/>
          </a:xfrm>
        </p:grpSpPr>
        <p:sp>
          <p:nvSpPr>
            <p:cNvPr id="71" name="Rectangle 70"/>
            <p:cNvSpPr/>
            <p:nvPr/>
          </p:nvSpPr>
          <p:spPr bwMode="auto">
            <a:xfrm>
              <a:off x="2" y="1"/>
              <a:ext cx="2849058"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3" name="Oval 70"/>
            <p:cNvSpPr/>
            <p:nvPr/>
          </p:nvSpPr>
          <p:spPr>
            <a:xfrm>
              <a:off x="1413521" y="4951537"/>
              <a:ext cx="1119626" cy="1119626"/>
            </a:xfrm>
            <a:prstGeom prst="ellipse">
              <a:avLst/>
            </a:prstGeom>
            <a:solidFill>
              <a:srgbClr val="F2C812"/>
            </a:solidFill>
            <a:ln w="3175" cap="flat" cmpd="sng" algn="ctr">
              <a:noFill/>
              <a:prstDash val="solid"/>
            </a:ln>
            <a:effectLst/>
          </p:spPr>
          <p:txBody>
            <a:bodyPr vert="horz" wrap="none" lIns="0" tIns="45720" rIns="0" bIns="0" rtlCol="0" anchor="t"/>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Segoe UI"/>
                  <a:ea typeface="Segoe UI" pitchFamily="34" charset="0"/>
                  <a:cs typeface="Segoe UI" pitchFamily="34" charset="0"/>
                </a:rPr>
                <a:t>Share &amp;</a:t>
              </a:r>
            </a:p>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Segoe UI"/>
                  <a:ea typeface="Segoe UI" pitchFamily="34" charset="0"/>
                  <a:cs typeface="Segoe UI" pitchFamily="34" charset="0"/>
                </a:rPr>
                <a:t>collaborate </a:t>
              </a:r>
            </a:p>
          </p:txBody>
        </p:sp>
        <p:grpSp>
          <p:nvGrpSpPr>
            <p:cNvPr id="76" name="Group 38"/>
            <p:cNvGrpSpPr>
              <a:grpSpLocks noChangeAspect="1"/>
            </p:cNvGrpSpPr>
            <p:nvPr/>
          </p:nvGrpSpPr>
          <p:grpSpPr>
            <a:xfrm>
              <a:off x="676996" y="3930692"/>
              <a:ext cx="383905" cy="351536"/>
              <a:chOff x="4363684" y="5330386"/>
              <a:chExt cx="1409956" cy="1291077"/>
            </a:xfrm>
            <a:solidFill>
              <a:srgbClr val="217346"/>
            </a:solidFill>
          </p:grpSpPr>
          <p:sp>
            <p:nvSpPr>
              <p:cNvPr id="102" name="Donut 3"/>
              <p:cNvSpPr/>
              <p:nvPr/>
            </p:nvSpPr>
            <p:spPr bwMode="auto">
              <a:xfrm>
                <a:off x="4363684" y="5330386"/>
                <a:ext cx="1409956" cy="1291077"/>
              </a:xfrm>
              <a:custGeom>
                <a:avLst/>
                <a:gdLst/>
                <a:ahLst/>
                <a:cxnLst/>
                <a:rect l="l" t="t" r="r" b="b"/>
                <a:pathLst>
                  <a:path w="1409956" h="1291077">
                    <a:moveTo>
                      <a:pt x="956401" y="78410"/>
                    </a:moveTo>
                    <a:cubicBezTo>
                      <a:pt x="747518" y="78410"/>
                      <a:pt x="578184" y="247744"/>
                      <a:pt x="578184" y="456627"/>
                    </a:cubicBezTo>
                    <a:cubicBezTo>
                      <a:pt x="578184" y="665510"/>
                      <a:pt x="747518" y="834844"/>
                      <a:pt x="956401" y="834844"/>
                    </a:cubicBezTo>
                    <a:cubicBezTo>
                      <a:pt x="1165284" y="834844"/>
                      <a:pt x="1334618" y="665510"/>
                      <a:pt x="1334618" y="456627"/>
                    </a:cubicBezTo>
                    <a:cubicBezTo>
                      <a:pt x="1334618" y="247744"/>
                      <a:pt x="1165284" y="78410"/>
                      <a:pt x="956401" y="78410"/>
                    </a:cubicBezTo>
                    <a:close/>
                    <a:moveTo>
                      <a:pt x="952756" y="0"/>
                    </a:moveTo>
                    <a:cubicBezTo>
                      <a:pt x="1205261" y="0"/>
                      <a:pt x="1409956" y="204695"/>
                      <a:pt x="1409956" y="457200"/>
                    </a:cubicBezTo>
                    <a:cubicBezTo>
                      <a:pt x="1409956" y="709705"/>
                      <a:pt x="1205261" y="914400"/>
                      <a:pt x="952756" y="914400"/>
                    </a:cubicBezTo>
                    <a:cubicBezTo>
                      <a:pt x="862133" y="914400"/>
                      <a:pt x="777669" y="888034"/>
                      <a:pt x="707132" y="841746"/>
                    </a:cubicBezTo>
                    <a:lnTo>
                      <a:pt x="136495" y="1280102"/>
                    </a:lnTo>
                    <a:cubicBezTo>
                      <a:pt x="21896" y="1327168"/>
                      <a:pt x="-44029" y="1213730"/>
                      <a:pt x="33797" y="1113182"/>
                    </a:cubicBezTo>
                    <a:lnTo>
                      <a:pt x="568587" y="703518"/>
                    </a:lnTo>
                    <a:cubicBezTo>
                      <a:pt x="522087" y="632814"/>
                      <a:pt x="495556" y="548105"/>
                      <a:pt x="495556" y="457200"/>
                    </a:cubicBezTo>
                    <a:cubicBezTo>
                      <a:pt x="495556" y="204695"/>
                      <a:pt x="700251" y="0"/>
                      <a:pt x="952756" y="0"/>
                    </a:cubicBezTo>
                    <a:close/>
                  </a:path>
                </a:pathLst>
              </a:custGeom>
              <a:grpFill/>
              <a:ln>
                <a:solidFill>
                  <a:srgbClr val="21734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sp>
            <p:nvSpPr>
              <p:cNvPr id="103" name="Rectangle 4"/>
              <p:cNvSpPr/>
              <p:nvPr/>
            </p:nvSpPr>
            <p:spPr>
              <a:xfrm>
                <a:off x="5058389" y="5528247"/>
                <a:ext cx="490885" cy="490020"/>
              </a:xfrm>
              <a:custGeom>
                <a:avLst/>
                <a:gdLst/>
                <a:ahLst/>
                <a:cxnLst/>
                <a:rect l="l" t="t" r="r" b="b"/>
                <a:pathLst>
                  <a:path w="490885" h="490020">
                    <a:moveTo>
                      <a:pt x="240752" y="0"/>
                    </a:moveTo>
                    <a:cubicBezTo>
                      <a:pt x="253961" y="11844"/>
                      <a:pt x="293310" y="49692"/>
                      <a:pt x="337332" y="92439"/>
                    </a:cubicBezTo>
                    <a:lnTo>
                      <a:pt x="328342" y="81259"/>
                    </a:lnTo>
                    <a:cubicBezTo>
                      <a:pt x="356946" y="111282"/>
                      <a:pt x="377251" y="107167"/>
                      <a:pt x="382515" y="87941"/>
                    </a:cubicBezTo>
                    <a:cubicBezTo>
                      <a:pt x="383951" y="76921"/>
                      <a:pt x="384595" y="68732"/>
                      <a:pt x="396997" y="52239"/>
                    </a:cubicBezTo>
                    <a:cubicBezTo>
                      <a:pt x="420362" y="32084"/>
                      <a:pt x="442294" y="41736"/>
                      <a:pt x="454920" y="51330"/>
                    </a:cubicBezTo>
                    <a:cubicBezTo>
                      <a:pt x="467834" y="62761"/>
                      <a:pt x="477920" y="86882"/>
                      <a:pt x="460392" y="109714"/>
                    </a:cubicBezTo>
                    <a:cubicBezTo>
                      <a:pt x="451128" y="121912"/>
                      <a:pt x="437554" y="126838"/>
                      <a:pt x="425922" y="126505"/>
                    </a:cubicBezTo>
                    <a:cubicBezTo>
                      <a:pt x="424301" y="127609"/>
                      <a:pt x="382890" y="134974"/>
                      <a:pt x="427348" y="177672"/>
                    </a:cubicBezTo>
                    <a:lnTo>
                      <a:pt x="416886" y="169735"/>
                    </a:lnTo>
                    <a:cubicBezTo>
                      <a:pt x="450207" y="202177"/>
                      <a:pt x="478424" y="229744"/>
                      <a:pt x="490885" y="241900"/>
                    </a:cubicBezTo>
                    <a:lnTo>
                      <a:pt x="417150" y="317347"/>
                    </a:lnTo>
                    <a:cubicBezTo>
                      <a:pt x="417744" y="316535"/>
                      <a:pt x="418443" y="316123"/>
                      <a:pt x="419047" y="315822"/>
                    </a:cubicBezTo>
                    <a:cubicBezTo>
                      <a:pt x="389023" y="344426"/>
                      <a:pt x="393138" y="364731"/>
                      <a:pt x="412364" y="369995"/>
                    </a:cubicBezTo>
                    <a:cubicBezTo>
                      <a:pt x="423384" y="371431"/>
                      <a:pt x="431574" y="372075"/>
                      <a:pt x="448067" y="384477"/>
                    </a:cubicBezTo>
                    <a:cubicBezTo>
                      <a:pt x="468221" y="407842"/>
                      <a:pt x="458569" y="429774"/>
                      <a:pt x="448975" y="442400"/>
                    </a:cubicBezTo>
                    <a:cubicBezTo>
                      <a:pt x="437545" y="455314"/>
                      <a:pt x="413423" y="465400"/>
                      <a:pt x="390591" y="447872"/>
                    </a:cubicBezTo>
                    <a:cubicBezTo>
                      <a:pt x="378394" y="438608"/>
                      <a:pt x="373468" y="425034"/>
                      <a:pt x="373800" y="413402"/>
                    </a:cubicBezTo>
                    <a:cubicBezTo>
                      <a:pt x="372696" y="411781"/>
                      <a:pt x="365332" y="370370"/>
                      <a:pt x="322634" y="414828"/>
                    </a:cubicBezTo>
                    <a:lnTo>
                      <a:pt x="325243" y="411388"/>
                    </a:lnTo>
                    <a:lnTo>
                      <a:pt x="248395" y="490020"/>
                    </a:lnTo>
                    <a:cubicBezTo>
                      <a:pt x="208939" y="451897"/>
                      <a:pt x="199129" y="442073"/>
                      <a:pt x="174192" y="418236"/>
                    </a:cubicBezTo>
                    <a:cubicBezTo>
                      <a:pt x="145587" y="388212"/>
                      <a:pt x="125282" y="392327"/>
                      <a:pt x="120018" y="411553"/>
                    </a:cubicBezTo>
                    <a:cubicBezTo>
                      <a:pt x="118582" y="422573"/>
                      <a:pt x="117938" y="430763"/>
                      <a:pt x="105536" y="447256"/>
                    </a:cubicBezTo>
                    <a:cubicBezTo>
                      <a:pt x="82171" y="467410"/>
                      <a:pt x="60239" y="457758"/>
                      <a:pt x="47614" y="448164"/>
                    </a:cubicBezTo>
                    <a:cubicBezTo>
                      <a:pt x="34699" y="436734"/>
                      <a:pt x="24614" y="412612"/>
                      <a:pt x="42141" y="389780"/>
                    </a:cubicBezTo>
                    <a:cubicBezTo>
                      <a:pt x="51405" y="377583"/>
                      <a:pt x="64979" y="372657"/>
                      <a:pt x="76612" y="372989"/>
                    </a:cubicBezTo>
                    <a:cubicBezTo>
                      <a:pt x="78232" y="371886"/>
                      <a:pt x="119644" y="364521"/>
                      <a:pt x="75186" y="321823"/>
                    </a:cubicBezTo>
                    <a:cubicBezTo>
                      <a:pt x="58767" y="305402"/>
                      <a:pt x="23648" y="271235"/>
                      <a:pt x="0" y="248738"/>
                    </a:cubicBezTo>
                    <a:lnTo>
                      <a:pt x="77303" y="168146"/>
                    </a:lnTo>
                    <a:cubicBezTo>
                      <a:pt x="104269" y="140313"/>
                      <a:pt x="122130" y="156409"/>
                      <a:pt x="124388" y="175543"/>
                    </a:cubicBezTo>
                    <a:cubicBezTo>
                      <a:pt x="124457" y="182466"/>
                      <a:pt x="127106" y="193106"/>
                      <a:pt x="137575" y="203052"/>
                    </a:cubicBezTo>
                    <a:cubicBezTo>
                      <a:pt x="153931" y="220277"/>
                      <a:pt x="181252" y="217451"/>
                      <a:pt x="196721" y="201951"/>
                    </a:cubicBezTo>
                    <a:cubicBezTo>
                      <a:pt x="211961" y="185740"/>
                      <a:pt x="213057" y="157882"/>
                      <a:pt x="196146" y="142797"/>
                    </a:cubicBezTo>
                    <a:cubicBezTo>
                      <a:pt x="184301" y="132637"/>
                      <a:pt x="177155" y="131453"/>
                      <a:pt x="166513" y="129894"/>
                    </a:cubicBezTo>
                    <a:cubicBezTo>
                      <a:pt x="154522" y="129013"/>
                      <a:pt x="131185" y="112953"/>
                      <a:pt x="157905" y="85228"/>
                    </a:cubicBezTo>
                    <a:close/>
                  </a:path>
                </a:pathLst>
              </a:custGeom>
              <a:grpFill/>
              <a:ln>
                <a:solidFill>
                  <a:srgbClr val="21734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grpSp>
        <p:sp>
          <p:nvSpPr>
            <p:cNvPr id="77" name="Oval 47"/>
            <p:cNvSpPr/>
            <p:nvPr/>
          </p:nvSpPr>
          <p:spPr>
            <a:xfrm>
              <a:off x="388608" y="3710471"/>
              <a:ext cx="1119626" cy="1119626"/>
            </a:xfrm>
            <a:prstGeom prst="ellipse">
              <a:avLst/>
            </a:prstGeom>
            <a:solidFill>
              <a:srgbClr val="F2C812"/>
            </a:solidFill>
            <a:ln w="3175" cap="flat" cmpd="sng" algn="ctr">
              <a:noFill/>
              <a:prstDash val="solid"/>
            </a:ln>
            <a:effectLst/>
          </p:spPr>
          <p:txBody>
            <a:bodyPr vert="horz" wrap="none" lIns="0" tIns="45720" rIns="0" bIns="0" rtlCol="0" anchor="t"/>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Segoe UI"/>
                  <a:ea typeface="Segoe UI" pitchFamily="34" charset="0"/>
                  <a:cs typeface="Segoe UI" pitchFamily="34" charset="0"/>
                </a:rPr>
                <a:t>Report</a:t>
              </a:r>
            </a:p>
          </p:txBody>
        </p:sp>
        <p:sp>
          <p:nvSpPr>
            <p:cNvPr id="78" name="Oval 950"/>
            <p:cNvSpPr/>
            <p:nvPr/>
          </p:nvSpPr>
          <p:spPr>
            <a:xfrm>
              <a:off x="388608" y="1252295"/>
              <a:ext cx="1119626" cy="1119626"/>
            </a:xfrm>
            <a:prstGeom prst="ellipse">
              <a:avLst/>
            </a:prstGeom>
            <a:solidFill>
              <a:srgbClr val="F2C812"/>
            </a:solidFill>
            <a:ln w="3175" cap="flat" cmpd="sng" algn="ctr">
              <a:noFill/>
              <a:prstDash val="solid"/>
            </a:ln>
            <a:effectLst/>
          </p:spPr>
          <p:txBody>
            <a:bodyPr vert="horz" wrap="none" lIns="0" tIns="45720" rIns="0" bIns="0" rtlCol="0" anchor="t"/>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1" i="0" u="none" strike="noStrike" kern="1200" cap="none" spc="0" normalizeH="0" baseline="0" noProof="0">
                <a:ln>
                  <a:noFill/>
                </a:ln>
                <a:solidFill>
                  <a:srgbClr val="217346"/>
                </a:solidFill>
                <a:effectLst/>
                <a:uLnTx/>
                <a:uFillTx/>
                <a:latin typeface="Segoe UI"/>
                <a:ea typeface="Segoe UI" pitchFamily="34" charset="0"/>
                <a:cs typeface="Segoe UI" pitchFamily="34" charset="0"/>
              </a:endParaRPr>
            </a:p>
          </p:txBody>
        </p:sp>
        <p:grpSp>
          <p:nvGrpSpPr>
            <p:cNvPr id="79" name="Group 78"/>
            <p:cNvGrpSpPr/>
            <p:nvPr/>
          </p:nvGrpSpPr>
          <p:grpSpPr>
            <a:xfrm>
              <a:off x="1264851" y="3482890"/>
              <a:ext cx="292254" cy="354906"/>
              <a:chOff x="1296521" y="3253388"/>
              <a:chExt cx="292254" cy="354906"/>
            </a:xfrm>
            <a:solidFill>
              <a:srgbClr val="F2C812"/>
            </a:solidFill>
          </p:grpSpPr>
          <p:sp>
            <p:nvSpPr>
              <p:cNvPr id="99" name="Isosceles Triangle 98"/>
              <p:cNvSpPr/>
              <p:nvPr/>
            </p:nvSpPr>
            <p:spPr bwMode="auto">
              <a:xfrm rot="13636515">
                <a:off x="1461362" y="328936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0" name="Isosceles Triangle 99"/>
              <p:cNvSpPr/>
              <p:nvPr/>
            </p:nvSpPr>
            <p:spPr bwMode="auto">
              <a:xfrm rot="13636515">
                <a:off x="1357669" y="338258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1" name="Isosceles Triangle 100"/>
              <p:cNvSpPr/>
              <p:nvPr/>
            </p:nvSpPr>
            <p:spPr bwMode="auto">
              <a:xfrm rot="13636515">
                <a:off x="1260548" y="3480882"/>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80" name="Group 79"/>
            <p:cNvGrpSpPr/>
            <p:nvPr/>
          </p:nvGrpSpPr>
          <p:grpSpPr>
            <a:xfrm rot="15940603">
              <a:off x="1334576" y="2204404"/>
              <a:ext cx="292254" cy="354906"/>
              <a:chOff x="1296521" y="3253388"/>
              <a:chExt cx="292254" cy="354906"/>
            </a:xfrm>
            <a:solidFill>
              <a:srgbClr val="F2C812"/>
            </a:solidFill>
          </p:grpSpPr>
          <p:sp>
            <p:nvSpPr>
              <p:cNvPr id="96" name="Isosceles Triangle 95"/>
              <p:cNvSpPr/>
              <p:nvPr/>
            </p:nvSpPr>
            <p:spPr bwMode="auto">
              <a:xfrm rot="13636515">
                <a:off x="1461362" y="328936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7" name="Isosceles Triangle 96"/>
              <p:cNvSpPr/>
              <p:nvPr/>
            </p:nvSpPr>
            <p:spPr bwMode="auto">
              <a:xfrm rot="13636515">
                <a:off x="1357669" y="338258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8" name="Isosceles Triangle 97"/>
              <p:cNvSpPr/>
              <p:nvPr/>
            </p:nvSpPr>
            <p:spPr bwMode="auto">
              <a:xfrm rot="13636515">
                <a:off x="1260548" y="3480882"/>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81" name="Group 80"/>
            <p:cNvGrpSpPr/>
            <p:nvPr/>
          </p:nvGrpSpPr>
          <p:grpSpPr>
            <a:xfrm rot="16043978">
              <a:off x="1317220" y="4717577"/>
              <a:ext cx="292254" cy="354906"/>
              <a:chOff x="1296521" y="3253388"/>
              <a:chExt cx="292254" cy="354906"/>
            </a:xfrm>
            <a:solidFill>
              <a:srgbClr val="F2C812"/>
            </a:solidFill>
          </p:grpSpPr>
          <p:sp>
            <p:nvSpPr>
              <p:cNvPr id="93" name="Isosceles Triangle 92"/>
              <p:cNvSpPr/>
              <p:nvPr/>
            </p:nvSpPr>
            <p:spPr bwMode="auto">
              <a:xfrm rot="13636515">
                <a:off x="1461362" y="328936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4" name="Isosceles Triangle 93"/>
              <p:cNvSpPr/>
              <p:nvPr/>
            </p:nvSpPr>
            <p:spPr bwMode="auto">
              <a:xfrm rot="13636515">
                <a:off x="1357669" y="338258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5" name="Isosceles Triangle 94"/>
              <p:cNvSpPr/>
              <p:nvPr/>
            </p:nvSpPr>
            <p:spPr bwMode="auto">
              <a:xfrm rot="13636515">
                <a:off x="1260548" y="3480882"/>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82" name="Oval 36"/>
            <p:cNvSpPr/>
            <p:nvPr/>
          </p:nvSpPr>
          <p:spPr>
            <a:xfrm>
              <a:off x="1413521" y="2481383"/>
              <a:ext cx="1119626" cy="1119626"/>
            </a:xfrm>
            <a:prstGeom prst="ellipse">
              <a:avLst/>
            </a:prstGeom>
            <a:solidFill>
              <a:srgbClr val="F2C812"/>
            </a:solidFill>
            <a:ln w="3175" cap="flat" cmpd="sng" algn="ctr">
              <a:noFill/>
              <a:prstDash val="solid"/>
            </a:ln>
            <a:effectLst/>
          </p:spPr>
          <p:txBody>
            <a:bodyPr vert="horz" wrap="none" lIns="0" tIns="0" rIns="0" bIns="0" rtlCol="0" anchor="t"/>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400" b="1" i="0" u="none" strike="noStrike" kern="1200" cap="none" spc="0" normalizeH="0" baseline="0" noProof="0">
                <a:ln>
                  <a:noFill/>
                </a:ln>
                <a:solidFill>
                  <a:srgbClr val="217346"/>
                </a:solidFill>
                <a:effectLst/>
                <a:uLnTx/>
                <a:uFillTx/>
                <a:latin typeface="Segoe UI"/>
                <a:ea typeface="Segoe UI" pitchFamily="34" charset="0"/>
                <a:cs typeface="Segoe UI" pitchFamily="34" charset="0"/>
              </a:endParaRPr>
            </a:p>
          </p:txBody>
        </p:sp>
        <p:sp>
          <p:nvSpPr>
            <p:cNvPr id="83" name="Donut 3"/>
            <p:cNvSpPr/>
            <p:nvPr/>
          </p:nvSpPr>
          <p:spPr bwMode="auto">
            <a:xfrm>
              <a:off x="1742065" y="3002355"/>
              <a:ext cx="383905" cy="351537"/>
            </a:xfrm>
            <a:custGeom>
              <a:avLst/>
              <a:gdLst/>
              <a:ahLst/>
              <a:cxnLst/>
              <a:rect l="l" t="t" r="r" b="b"/>
              <a:pathLst>
                <a:path w="1409956" h="1291077">
                  <a:moveTo>
                    <a:pt x="956401" y="78410"/>
                  </a:moveTo>
                  <a:cubicBezTo>
                    <a:pt x="747518" y="78410"/>
                    <a:pt x="578184" y="247744"/>
                    <a:pt x="578184" y="456627"/>
                  </a:cubicBezTo>
                  <a:cubicBezTo>
                    <a:pt x="578184" y="665510"/>
                    <a:pt x="747518" y="834844"/>
                    <a:pt x="956401" y="834844"/>
                  </a:cubicBezTo>
                  <a:cubicBezTo>
                    <a:pt x="1165284" y="834844"/>
                    <a:pt x="1334618" y="665510"/>
                    <a:pt x="1334618" y="456627"/>
                  </a:cubicBezTo>
                  <a:cubicBezTo>
                    <a:pt x="1334618" y="247744"/>
                    <a:pt x="1165284" y="78410"/>
                    <a:pt x="956401" y="78410"/>
                  </a:cubicBezTo>
                  <a:close/>
                  <a:moveTo>
                    <a:pt x="952756" y="0"/>
                  </a:moveTo>
                  <a:cubicBezTo>
                    <a:pt x="1205261" y="0"/>
                    <a:pt x="1409956" y="204695"/>
                    <a:pt x="1409956" y="457200"/>
                  </a:cubicBezTo>
                  <a:cubicBezTo>
                    <a:pt x="1409956" y="709705"/>
                    <a:pt x="1205261" y="914400"/>
                    <a:pt x="952756" y="914400"/>
                  </a:cubicBezTo>
                  <a:cubicBezTo>
                    <a:pt x="862133" y="914400"/>
                    <a:pt x="777669" y="888034"/>
                    <a:pt x="707132" y="841746"/>
                  </a:cubicBezTo>
                  <a:lnTo>
                    <a:pt x="136495" y="1280102"/>
                  </a:lnTo>
                  <a:cubicBezTo>
                    <a:pt x="21896" y="1327168"/>
                    <a:pt x="-44029" y="1213730"/>
                    <a:pt x="33797" y="1113182"/>
                  </a:cubicBezTo>
                  <a:lnTo>
                    <a:pt x="568587" y="703518"/>
                  </a:lnTo>
                  <a:cubicBezTo>
                    <a:pt x="522087" y="632814"/>
                    <a:pt x="495556" y="548105"/>
                    <a:pt x="495556" y="457200"/>
                  </a:cubicBezTo>
                  <a:cubicBezTo>
                    <a:pt x="495556" y="204695"/>
                    <a:pt x="700251" y="0"/>
                    <a:pt x="952756" y="0"/>
                  </a:cubicBezTo>
                  <a:close/>
                </a:path>
              </a:pathLst>
            </a:cu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sp>
          <p:nvSpPr>
            <p:cNvPr id="84" name="Rectangle 83"/>
            <p:cNvSpPr/>
            <p:nvPr/>
          </p:nvSpPr>
          <p:spPr>
            <a:xfrm>
              <a:off x="1600398" y="2677430"/>
              <a:ext cx="820353" cy="307777"/>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Segoe UI"/>
                  <a:ea typeface="Segoe UI" pitchFamily="34" charset="0"/>
                  <a:cs typeface="Segoe UI" pitchFamily="34" charset="0"/>
                </a:rPr>
                <a:t>Explore</a:t>
              </a:r>
              <a:endParaRPr kumimoji="0" lang="en-US" sz="1600" b="0" i="0" u="none" strike="noStrike" kern="1200" cap="none" spc="0" normalizeH="0" baseline="0" noProof="0">
                <a:ln>
                  <a:noFill/>
                </a:ln>
                <a:solidFill>
                  <a:srgbClr val="000000"/>
                </a:solidFill>
                <a:effectLst/>
                <a:uLnTx/>
                <a:uFillTx/>
                <a:latin typeface="Segoe UI"/>
                <a:ea typeface="+mn-ea"/>
                <a:cs typeface="+mn-cs"/>
              </a:endParaRPr>
            </a:p>
          </p:txBody>
        </p:sp>
        <p:sp>
          <p:nvSpPr>
            <p:cNvPr id="85" name="Rectangle 84"/>
            <p:cNvSpPr/>
            <p:nvPr/>
          </p:nvSpPr>
          <p:spPr>
            <a:xfrm>
              <a:off x="509174" y="1475232"/>
              <a:ext cx="838756" cy="307777"/>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Segoe UI"/>
                  <a:ea typeface="Segoe UI" pitchFamily="34" charset="0"/>
                  <a:cs typeface="Segoe UI" pitchFamily="34" charset="0"/>
                </a:rPr>
                <a:t>Prepare</a:t>
              </a: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86" name="Freeform 85"/>
            <p:cNvSpPr>
              <a:spLocks noChangeAspect="1"/>
            </p:cNvSpPr>
            <p:nvPr/>
          </p:nvSpPr>
          <p:spPr bwMode="black">
            <a:xfrm>
              <a:off x="1836174" y="5643069"/>
              <a:ext cx="274320" cy="284173"/>
            </a:xfrm>
            <a:custGeom>
              <a:avLst/>
              <a:gdLst>
                <a:gd name="T0" fmla="*/ 539 w 669"/>
                <a:gd name="T1" fmla="*/ 5 h 693"/>
                <a:gd name="T2" fmla="*/ 640 w 669"/>
                <a:gd name="T3" fmla="*/ 55 h 693"/>
                <a:gd name="T4" fmla="*/ 603 w 669"/>
                <a:gd name="T5" fmla="*/ 195 h 693"/>
                <a:gd name="T6" fmla="*/ 490 w 669"/>
                <a:gd name="T7" fmla="*/ 188 h 693"/>
                <a:gd name="T8" fmla="*/ 479 w 669"/>
                <a:gd name="T9" fmla="*/ 176 h 693"/>
                <a:gd name="T10" fmla="*/ 213 w 669"/>
                <a:gd name="T11" fmla="*/ 330 h 693"/>
                <a:gd name="T12" fmla="*/ 218 w 669"/>
                <a:gd name="T13" fmla="*/ 345 h 693"/>
                <a:gd name="T14" fmla="*/ 218 w 669"/>
                <a:gd name="T15" fmla="*/ 375 h 693"/>
                <a:gd name="T16" fmla="*/ 209 w 669"/>
                <a:gd name="T17" fmla="*/ 402 h 693"/>
                <a:gd name="T18" fmla="*/ 369 w 669"/>
                <a:gd name="T19" fmla="*/ 503 h 693"/>
                <a:gd name="T20" fmla="*/ 373 w 669"/>
                <a:gd name="T21" fmla="*/ 498 h 693"/>
                <a:gd name="T22" fmla="*/ 456 w 669"/>
                <a:gd name="T23" fmla="*/ 475 h 693"/>
                <a:gd name="T24" fmla="*/ 494 w 669"/>
                <a:gd name="T25" fmla="*/ 489 h 693"/>
                <a:gd name="T26" fmla="*/ 527 w 669"/>
                <a:gd name="T27" fmla="*/ 630 h 693"/>
                <a:gd name="T28" fmla="*/ 386 w 669"/>
                <a:gd name="T29" fmla="*/ 663 h 693"/>
                <a:gd name="T30" fmla="*/ 339 w 669"/>
                <a:gd name="T31" fmla="*/ 560 h 693"/>
                <a:gd name="T32" fmla="*/ 345 w 669"/>
                <a:gd name="T33" fmla="*/ 544 h 693"/>
                <a:gd name="T34" fmla="*/ 177 w 669"/>
                <a:gd name="T35" fmla="*/ 439 h 693"/>
                <a:gd name="T36" fmla="*/ 168 w 669"/>
                <a:gd name="T37" fmla="*/ 446 h 693"/>
                <a:gd name="T38" fmla="*/ 28 w 669"/>
                <a:gd name="T39" fmla="*/ 409 h 693"/>
                <a:gd name="T40" fmla="*/ 65 w 669"/>
                <a:gd name="T41" fmla="*/ 269 h 693"/>
                <a:gd name="T42" fmla="*/ 178 w 669"/>
                <a:gd name="T43" fmla="*/ 276 h 693"/>
                <a:gd name="T44" fmla="*/ 189 w 669"/>
                <a:gd name="T45" fmla="*/ 288 h 693"/>
                <a:gd name="T46" fmla="*/ 455 w 669"/>
                <a:gd name="T47" fmla="*/ 134 h 693"/>
                <a:gd name="T48" fmla="*/ 450 w 669"/>
                <a:gd name="T49" fmla="*/ 119 h 693"/>
                <a:gd name="T50" fmla="*/ 501 w 669"/>
                <a:gd name="T51" fmla="*/ 18 h 693"/>
                <a:gd name="T52" fmla="*/ 539 w 669"/>
                <a:gd name="T53" fmla="*/ 5 h 6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69" h="693">
                  <a:moveTo>
                    <a:pt x="539" y="5"/>
                  </a:moveTo>
                  <a:cubicBezTo>
                    <a:pt x="579" y="0"/>
                    <a:pt x="619" y="19"/>
                    <a:pt x="640" y="55"/>
                  </a:cubicBezTo>
                  <a:cubicBezTo>
                    <a:pt x="669" y="104"/>
                    <a:pt x="652" y="167"/>
                    <a:pt x="603" y="195"/>
                  </a:cubicBezTo>
                  <a:cubicBezTo>
                    <a:pt x="566" y="216"/>
                    <a:pt x="522" y="212"/>
                    <a:pt x="490" y="188"/>
                  </a:cubicBezTo>
                  <a:cubicBezTo>
                    <a:pt x="479" y="176"/>
                    <a:pt x="479" y="176"/>
                    <a:pt x="479" y="176"/>
                  </a:cubicBezTo>
                  <a:cubicBezTo>
                    <a:pt x="213" y="330"/>
                    <a:pt x="213" y="330"/>
                    <a:pt x="213" y="330"/>
                  </a:cubicBezTo>
                  <a:cubicBezTo>
                    <a:pt x="218" y="345"/>
                    <a:pt x="218" y="345"/>
                    <a:pt x="218" y="345"/>
                  </a:cubicBezTo>
                  <a:cubicBezTo>
                    <a:pt x="219" y="355"/>
                    <a:pt x="219" y="365"/>
                    <a:pt x="218" y="375"/>
                  </a:cubicBezTo>
                  <a:cubicBezTo>
                    <a:pt x="209" y="402"/>
                    <a:pt x="209" y="402"/>
                    <a:pt x="209" y="402"/>
                  </a:cubicBezTo>
                  <a:cubicBezTo>
                    <a:pt x="369" y="503"/>
                    <a:pt x="369" y="503"/>
                    <a:pt x="369" y="503"/>
                  </a:cubicBezTo>
                  <a:cubicBezTo>
                    <a:pt x="373" y="498"/>
                    <a:pt x="373" y="498"/>
                    <a:pt x="373" y="498"/>
                  </a:cubicBezTo>
                  <a:cubicBezTo>
                    <a:pt x="396" y="479"/>
                    <a:pt x="427" y="470"/>
                    <a:pt x="456" y="475"/>
                  </a:cubicBezTo>
                  <a:cubicBezTo>
                    <a:pt x="470" y="477"/>
                    <a:pt x="482" y="482"/>
                    <a:pt x="494" y="489"/>
                  </a:cubicBezTo>
                  <a:cubicBezTo>
                    <a:pt x="542" y="519"/>
                    <a:pt x="557" y="583"/>
                    <a:pt x="527" y="630"/>
                  </a:cubicBezTo>
                  <a:cubicBezTo>
                    <a:pt x="497" y="678"/>
                    <a:pt x="433" y="693"/>
                    <a:pt x="386" y="663"/>
                  </a:cubicBezTo>
                  <a:cubicBezTo>
                    <a:pt x="350" y="640"/>
                    <a:pt x="333" y="599"/>
                    <a:pt x="339" y="560"/>
                  </a:cubicBezTo>
                  <a:cubicBezTo>
                    <a:pt x="345" y="544"/>
                    <a:pt x="345" y="544"/>
                    <a:pt x="345" y="544"/>
                  </a:cubicBezTo>
                  <a:cubicBezTo>
                    <a:pt x="177" y="439"/>
                    <a:pt x="177" y="439"/>
                    <a:pt x="177" y="439"/>
                  </a:cubicBezTo>
                  <a:cubicBezTo>
                    <a:pt x="168" y="446"/>
                    <a:pt x="168" y="446"/>
                    <a:pt x="168" y="446"/>
                  </a:cubicBezTo>
                  <a:cubicBezTo>
                    <a:pt x="119" y="475"/>
                    <a:pt x="56" y="458"/>
                    <a:pt x="28" y="409"/>
                  </a:cubicBezTo>
                  <a:cubicBezTo>
                    <a:pt x="0" y="360"/>
                    <a:pt x="16" y="297"/>
                    <a:pt x="65" y="269"/>
                  </a:cubicBezTo>
                  <a:cubicBezTo>
                    <a:pt x="102" y="248"/>
                    <a:pt x="147" y="252"/>
                    <a:pt x="178" y="276"/>
                  </a:cubicBezTo>
                  <a:cubicBezTo>
                    <a:pt x="189" y="288"/>
                    <a:pt x="189" y="288"/>
                    <a:pt x="189" y="288"/>
                  </a:cubicBezTo>
                  <a:cubicBezTo>
                    <a:pt x="455" y="134"/>
                    <a:pt x="455" y="134"/>
                    <a:pt x="455" y="134"/>
                  </a:cubicBezTo>
                  <a:cubicBezTo>
                    <a:pt x="450" y="119"/>
                    <a:pt x="450" y="119"/>
                    <a:pt x="450" y="119"/>
                  </a:cubicBezTo>
                  <a:cubicBezTo>
                    <a:pt x="445" y="80"/>
                    <a:pt x="464" y="39"/>
                    <a:pt x="501" y="18"/>
                  </a:cubicBezTo>
                  <a:cubicBezTo>
                    <a:pt x="513" y="11"/>
                    <a:pt x="526" y="6"/>
                    <a:pt x="539" y="5"/>
                  </a:cubicBezTo>
                  <a:close/>
                </a:path>
              </a:pathLst>
            </a:custGeom>
            <a:solidFill>
              <a:schemeClr val="tx1"/>
            </a:solidFill>
            <a:ln>
              <a:noFill/>
            </a:ln>
          </p:spPr>
          <p:txBody>
            <a:bodyPr vert="horz" wrap="square" lIns="68574" tIns="34287" rIns="68574" bIns="34287"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0000"/>
                </a:solidFill>
                <a:effectLst/>
                <a:uLnTx/>
                <a:uFillTx/>
                <a:latin typeface="Segoe UI"/>
                <a:ea typeface="+mn-ea"/>
                <a:cs typeface="+mn-cs"/>
              </a:endParaRPr>
            </a:p>
          </p:txBody>
        </p:sp>
        <p:sp>
          <p:nvSpPr>
            <p:cNvPr id="87" name="Freeform 86"/>
            <p:cNvSpPr>
              <a:spLocks noChangeAspect="1" noEditPoints="1"/>
            </p:cNvSpPr>
            <p:nvPr/>
          </p:nvSpPr>
          <p:spPr bwMode="black">
            <a:xfrm>
              <a:off x="722320" y="1783009"/>
              <a:ext cx="452202" cy="366660"/>
            </a:xfrm>
            <a:custGeom>
              <a:avLst/>
              <a:gdLst>
                <a:gd name="T0" fmla="*/ 600 w 1107"/>
                <a:gd name="T1" fmla="*/ 625 h 897"/>
                <a:gd name="T2" fmla="*/ 649 w 1107"/>
                <a:gd name="T3" fmla="*/ 567 h 897"/>
                <a:gd name="T4" fmla="*/ 727 w 1107"/>
                <a:gd name="T5" fmla="*/ 482 h 897"/>
                <a:gd name="T6" fmla="*/ 601 w 1107"/>
                <a:gd name="T7" fmla="*/ 434 h 897"/>
                <a:gd name="T8" fmla="*/ 628 w 1107"/>
                <a:gd name="T9" fmla="*/ 305 h 897"/>
                <a:gd name="T10" fmla="*/ 547 w 1107"/>
                <a:gd name="T11" fmla="*/ 240 h 897"/>
                <a:gd name="T12" fmla="*/ 427 w 1107"/>
                <a:gd name="T13" fmla="*/ 287 h 897"/>
                <a:gd name="T14" fmla="*/ 368 w 1107"/>
                <a:gd name="T15" fmla="*/ 170 h 897"/>
                <a:gd name="T16" fmla="*/ 285 w 1107"/>
                <a:gd name="T17" fmla="*/ 263 h 897"/>
                <a:gd name="T18" fmla="*/ 241 w 1107"/>
                <a:gd name="T19" fmla="*/ 313 h 897"/>
                <a:gd name="T20" fmla="*/ 139 w 1107"/>
                <a:gd name="T21" fmla="*/ 281 h 897"/>
                <a:gd name="T22" fmla="*/ 79 w 1107"/>
                <a:gd name="T23" fmla="*/ 355 h 897"/>
                <a:gd name="T24" fmla="*/ 132 w 1107"/>
                <a:gd name="T25" fmla="*/ 446 h 897"/>
                <a:gd name="T26" fmla="*/ 83 w 1107"/>
                <a:gd name="T27" fmla="*/ 505 h 897"/>
                <a:gd name="T28" fmla="*/ 5 w 1107"/>
                <a:gd name="T29" fmla="*/ 590 h 897"/>
                <a:gd name="T30" fmla="*/ 132 w 1107"/>
                <a:gd name="T31" fmla="*/ 638 h 897"/>
                <a:gd name="T32" fmla="*/ 145 w 1107"/>
                <a:gd name="T33" fmla="*/ 669 h 897"/>
                <a:gd name="T34" fmla="*/ 110 w 1107"/>
                <a:gd name="T35" fmla="*/ 793 h 897"/>
                <a:gd name="T36" fmla="*/ 230 w 1107"/>
                <a:gd name="T37" fmla="*/ 781 h 897"/>
                <a:gd name="T38" fmla="*/ 306 w 1107"/>
                <a:gd name="T39" fmla="*/ 785 h 897"/>
                <a:gd name="T40" fmla="*/ 346 w 1107"/>
                <a:gd name="T41" fmla="*/ 878 h 897"/>
                <a:gd name="T42" fmla="*/ 440 w 1107"/>
                <a:gd name="T43" fmla="*/ 872 h 897"/>
                <a:gd name="T44" fmla="*/ 466 w 1107"/>
                <a:gd name="T45" fmla="*/ 764 h 897"/>
                <a:gd name="T46" fmla="*/ 539 w 1107"/>
                <a:gd name="T47" fmla="*/ 755 h 897"/>
                <a:gd name="T48" fmla="*/ 659 w 1107"/>
                <a:gd name="T49" fmla="*/ 743 h 897"/>
                <a:gd name="T50" fmla="*/ 263 w 1107"/>
                <a:gd name="T51" fmla="*/ 452 h 897"/>
                <a:gd name="T52" fmla="*/ 281 w 1107"/>
                <a:gd name="T53" fmla="*/ 633 h 897"/>
                <a:gd name="T54" fmla="*/ 1002 w 1107"/>
                <a:gd name="T55" fmla="*/ 332 h 897"/>
                <a:gd name="T56" fmla="*/ 1043 w 1107"/>
                <a:gd name="T57" fmla="*/ 304 h 897"/>
                <a:gd name="T58" fmla="*/ 1107 w 1107"/>
                <a:gd name="T59" fmla="*/ 266 h 897"/>
                <a:gd name="T60" fmla="*/ 1037 w 1107"/>
                <a:gd name="T61" fmla="*/ 213 h 897"/>
                <a:gd name="T62" fmla="*/ 1077 w 1107"/>
                <a:gd name="T63" fmla="*/ 138 h 897"/>
                <a:gd name="T64" fmla="*/ 1038 w 1107"/>
                <a:gd name="T65" fmla="*/ 83 h 897"/>
                <a:gd name="T66" fmla="*/ 956 w 1107"/>
                <a:gd name="T67" fmla="*/ 91 h 897"/>
                <a:gd name="T68" fmla="*/ 940 w 1107"/>
                <a:gd name="T69" fmla="*/ 7 h 897"/>
                <a:gd name="T70" fmla="*/ 872 w 1107"/>
                <a:gd name="T71" fmla="*/ 50 h 897"/>
                <a:gd name="T72" fmla="*/ 836 w 1107"/>
                <a:gd name="T73" fmla="*/ 74 h 897"/>
                <a:gd name="T74" fmla="*/ 778 w 1107"/>
                <a:gd name="T75" fmla="*/ 35 h 897"/>
                <a:gd name="T76" fmla="*/ 728 w 1107"/>
                <a:gd name="T77" fmla="*/ 70 h 897"/>
                <a:gd name="T78" fmla="*/ 744 w 1107"/>
                <a:gd name="T79" fmla="*/ 136 h 897"/>
                <a:gd name="T80" fmla="*/ 703 w 1107"/>
                <a:gd name="T81" fmla="*/ 164 h 897"/>
                <a:gd name="T82" fmla="*/ 640 w 1107"/>
                <a:gd name="T83" fmla="*/ 203 h 897"/>
                <a:gd name="T84" fmla="*/ 710 w 1107"/>
                <a:gd name="T85" fmla="*/ 255 h 897"/>
                <a:gd name="T86" fmla="*/ 712 w 1107"/>
                <a:gd name="T87" fmla="*/ 277 h 897"/>
                <a:gd name="T88" fmla="*/ 668 w 1107"/>
                <a:gd name="T89" fmla="*/ 347 h 897"/>
                <a:gd name="T90" fmla="*/ 745 w 1107"/>
                <a:gd name="T91" fmla="*/ 361 h 897"/>
                <a:gd name="T92" fmla="*/ 791 w 1107"/>
                <a:gd name="T93" fmla="*/ 377 h 897"/>
                <a:gd name="T94" fmla="*/ 799 w 1107"/>
                <a:gd name="T95" fmla="*/ 443 h 897"/>
                <a:gd name="T96" fmla="*/ 859 w 1107"/>
                <a:gd name="T97" fmla="*/ 456 h 897"/>
                <a:gd name="T98" fmla="*/ 894 w 1107"/>
                <a:gd name="T99" fmla="*/ 393 h 897"/>
                <a:gd name="T100" fmla="*/ 941 w 1107"/>
                <a:gd name="T101" fmla="*/ 401 h 897"/>
                <a:gd name="T102" fmla="*/ 1018 w 1107"/>
                <a:gd name="T103" fmla="*/ 415 h 897"/>
                <a:gd name="T104" fmla="*/ 825 w 1107"/>
                <a:gd name="T105" fmla="*/ 164 h 897"/>
                <a:gd name="T106" fmla="*/ 803 w 1107"/>
                <a:gd name="T107" fmla="*/ 279 h 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107" h="897">
                  <a:moveTo>
                    <a:pt x="654" y="716"/>
                  </a:moveTo>
                  <a:cubicBezTo>
                    <a:pt x="616" y="670"/>
                    <a:pt x="616" y="670"/>
                    <a:pt x="616" y="670"/>
                  </a:cubicBezTo>
                  <a:cubicBezTo>
                    <a:pt x="593" y="654"/>
                    <a:pt x="603" y="638"/>
                    <a:pt x="600" y="625"/>
                  </a:cubicBezTo>
                  <a:cubicBezTo>
                    <a:pt x="600" y="625"/>
                    <a:pt x="600" y="625"/>
                    <a:pt x="600" y="625"/>
                  </a:cubicBezTo>
                  <a:cubicBezTo>
                    <a:pt x="605" y="617"/>
                    <a:pt x="611" y="609"/>
                    <a:pt x="608" y="596"/>
                  </a:cubicBezTo>
                  <a:cubicBezTo>
                    <a:pt x="618" y="580"/>
                    <a:pt x="623" y="572"/>
                    <a:pt x="649" y="567"/>
                  </a:cubicBezTo>
                  <a:cubicBezTo>
                    <a:pt x="715" y="553"/>
                    <a:pt x="715" y="553"/>
                    <a:pt x="715" y="553"/>
                  </a:cubicBezTo>
                  <a:cubicBezTo>
                    <a:pt x="728" y="550"/>
                    <a:pt x="733" y="542"/>
                    <a:pt x="730" y="529"/>
                  </a:cubicBezTo>
                  <a:cubicBezTo>
                    <a:pt x="727" y="482"/>
                    <a:pt x="727" y="482"/>
                    <a:pt x="727" y="482"/>
                  </a:cubicBezTo>
                  <a:cubicBezTo>
                    <a:pt x="724" y="469"/>
                    <a:pt x="717" y="463"/>
                    <a:pt x="701" y="453"/>
                  </a:cubicBezTo>
                  <a:cubicBezTo>
                    <a:pt x="641" y="459"/>
                    <a:pt x="641" y="459"/>
                    <a:pt x="641" y="459"/>
                  </a:cubicBezTo>
                  <a:cubicBezTo>
                    <a:pt x="620" y="457"/>
                    <a:pt x="604" y="447"/>
                    <a:pt x="601" y="434"/>
                  </a:cubicBezTo>
                  <a:cubicBezTo>
                    <a:pt x="598" y="421"/>
                    <a:pt x="590" y="416"/>
                    <a:pt x="580" y="397"/>
                  </a:cubicBezTo>
                  <a:cubicBezTo>
                    <a:pt x="577" y="384"/>
                    <a:pt x="574" y="371"/>
                    <a:pt x="584" y="355"/>
                  </a:cubicBezTo>
                  <a:cubicBezTo>
                    <a:pt x="628" y="305"/>
                    <a:pt x="628" y="305"/>
                    <a:pt x="628" y="305"/>
                  </a:cubicBezTo>
                  <a:cubicBezTo>
                    <a:pt x="634" y="297"/>
                    <a:pt x="631" y="284"/>
                    <a:pt x="623" y="279"/>
                  </a:cubicBezTo>
                  <a:cubicBezTo>
                    <a:pt x="581" y="240"/>
                    <a:pt x="581" y="240"/>
                    <a:pt x="581" y="240"/>
                  </a:cubicBezTo>
                  <a:cubicBezTo>
                    <a:pt x="573" y="235"/>
                    <a:pt x="560" y="238"/>
                    <a:pt x="547" y="240"/>
                  </a:cubicBezTo>
                  <a:cubicBezTo>
                    <a:pt x="503" y="291"/>
                    <a:pt x="503" y="291"/>
                    <a:pt x="503" y="291"/>
                  </a:cubicBezTo>
                  <a:cubicBezTo>
                    <a:pt x="484" y="302"/>
                    <a:pt x="471" y="304"/>
                    <a:pt x="463" y="299"/>
                  </a:cubicBezTo>
                  <a:cubicBezTo>
                    <a:pt x="456" y="294"/>
                    <a:pt x="435" y="292"/>
                    <a:pt x="427" y="287"/>
                  </a:cubicBezTo>
                  <a:cubicBezTo>
                    <a:pt x="419" y="282"/>
                    <a:pt x="403" y="271"/>
                    <a:pt x="400" y="258"/>
                  </a:cubicBezTo>
                  <a:cubicBezTo>
                    <a:pt x="386" y="193"/>
                    <a:pt x="386" y="193"/>
                    <a:pt x="386" y="193"/>
                  </a:cubicBezTo>
                  <a:cubicBezTo>
                    <a:pt x="384" y="180"/>
                    <a:pt x="368" y="170"/>
                    <a:pt x="368" y="170"/>
                  </a:cubicBezTo>
                  <a:cubicBezTo>
                    <a:pt x="308" y="176"/>
                    <a:pt x="308" y="176"/>
                    <a:pt x="308" y="176"/>
                  </a:cubicBezTo>
                  <a:cubicBezTo>
                    <a:pt x="308" y="176"/>
                    <a:pt x="289" y="187"/>
                    <a:pt x="292" y="200"/>
                  </a:cubicBezTo>
                  <a:cubicBezTo>
                    <a:pt x="285" y="263"/>
                    <a:pt x="285" y="263"/>
                    <a:pt x="285" y="263"/>
                  </a:cubicBezTo>
                  <a:cubicBezTo>
                    <a:pt x="291" y="289"/>
                    <a:pt x="277" y="292"/>
                    <a:pt x="272" y="300"/>
                  </a:cubicBezTo>
                  <a:cubicBezTo>
                    <a:pt x="272" y="300"/>
                    <a:pt x="272" y="300"/>
                    <a:pt x="267" y="308"/>
                  </a:cubicBezTo>
                  <a:cubicBezTo>
                    <a:pt x="259" y="302"/>
                    <a:pt x="246" y="305"/>
                    <a:pt x="241" y="313"/>
                  </a:cubicBezTo>
                  <a:cubicBezTo>
                    <a:pt x="236" y="321"/>
                    <a:pt x="236" y="321"/>
                    <a:pt x="236" y="321"/>
                  </a:cubicBezTo>
                  <a:cubicBezTo>
                    <a:pt x="223" y="324"/>
                    <a:pt x="210" y="327"/>
                    <a:pt x="194" y="317"/>
                  </a:cubicBezTo>
                  <a:cubicBezTo>
                    <a:pt x="139" y="281"/>
                    <a:pt x="139" y="281"/>
                    <a:pt x="139" y="281"/>
                  </a:cubicBezTo>
                  <a:cubicBezTo>
                    <a:pt x="131" y="276"/>
                    <a:pt x="110" y="273"/>
                    <a:pt x="104" y="281"/>
                  </a:cubicBezTo>
                  <a:cubicBezTo>
                    <a:pt x="79" y="321"/>
                    <a:pt x="79" y="321"/>
                    <a:pt x="79" y="321"/>
                  </a:cubicBezTo>
                  <a:cubicBezTo>
                    <a:pt x="66" y="324"/>
                    <a:pt x="68" y="337"/>
                    <a:pt x="79" y="355"/>
                  </a:cubicBezTo>
                  <a:cubicBezTo>
                    <a:pt x="121" y="394"/>
                    <a:pt x="121" y="394"/>
                    <a:pt x="121" y="394"/>
                  </a:cubicBezTo>
                  <a:cubicBezTo>
                    <a:pt x="140" y="417"/>
                    <a:pt x="135" y="425"/>
                    <a:pt x="132" y="446"/>
                  </a:cubicBezTo>
                  <a:cubicBezTo>
                    <a:pt x="132" y="446"/>
                    <a:pt x="132" y="446"/>
                    <a:pt x="132" y="446"/>
                  </a:cubicBezTo>
                  <a:cubicBezTo>
                    <a:pt x="127" y="454"/>
                    <a:pt x="122" y="462"/>
                    <a:pt x="117" y="470"/>
                  </a:cubicBezTo>
                  <a:cubicBezTo>
                    <a:pt x="117" y="470"/>
                    <a:pt x="117" y="470"/>
                    <a:pt x="117" y="470"/>
                  </a:cubicBezTo>
                  <a:cubicBezTo>
                    <a:pt x="120" y="483"/>
                    <a:pt x="109" y="499"/>
                    <a:pt x="83" y="505"/>
                  </a:cubicBezTo>
                  <a:cubicBezTo>
                    <a:pt x="23" y="511"/>
                    <a:pt x="23" y="511"/>
                    <a:pt x="23" y="511"/>
                  </a:cubicBezTo>
                  <a:cubicBezTo>
                    <a:pt x="10" y="514"/>
                    <a:pt x="0" y="529"/>
                    <a:pt x="2" y="543"/>
                  </a:cubicBezTo>
                  <a:cubicBezTo>
                    <a:pt x="5" y="590"/>
                    <a:pt x="5" y="590"/>
                    <a:pt x="5" y="590"/>
                  </a:cubicBezTo>
                  <a:cubicBezTo>
                    <a:pt x="8" y="603"/>
                    <a:pt x="16" y="608"/>
                    <a:pt x="37" y="610"/>
                  </a:cubicBezTo>
                  <a:cubicBezTo>
                    <a:pt x="92" y="612"/>
                    <a:pt x="92" y="612"/>
                    <a:pt x="92" y="612"/>
                  </a:cubicBezTo>
                  <a:cubicBezTo>
                    <a:pt x="113" y="614"/>
                    <a:pt x="129" y="625"/>
                    <a:pt x="132" y="638"/>
                  </a:cubicBezTo>
                  <a:cubicBezTo>
                    <a:pt x="132" y="638"/>
                    <a:pt x="132" y="638"/>
                    <a:pt x="132" y="638"/>
                  </a:cubicBezTo>
                  <a:cubicBezTo>
                    <a:pt x="140" y="643"/>
                    <a:pt x="142" y="656"/>
                    <a:pt x="150" y="661"/>
                  </a:cubicBezTo>
                  <a:cubicBezTo>
                    <a:pt x="145" y="669"/>
                    <a:pt x="145" y="669"/>
                    <a:pt x="145" y="669"/>
                  </a:cubicBezTo>
                  <a:cubicBezTo>
                    <a:pt x="153" y="674"/>
                    <a:pt x="156" y="687"/>
                    <a:pt x="140" y="711"/>
                  </a:cubicBezTo>
                  <a:cubicBezTo>
                    <a:pt x="109" y="759"/>
                    <a:pt x="109" y="759"/>
                    <a:pt x="109" y="759"/>
                  </a:cubicBezTo>
                  <a:cubicBezTo>
                    <a:pt x="99" y="775"/>
                    <a:pt x="102" y="788"/>
                    <a:pt x="110" y="793"/>
                  </a:cubicBezTo>
                  <a:cubicBezTo>
                    <a:pt x="152" y="832"/>
                    <a:pt x="152" y="832"/>
                    <a:pt x="152" y="832"/>
                  </a:cubicBezTo>
                  <a:cubicBezTo>
                    <a:pt x="160" y="837"/>
                    <a:pt x="173" y="834"/>
                    <a:pt x="178" y="826"/>
                  </a:cubicBezTo>
                  <a:cubicBezTo>
                    <a:pt x="230" y="781"/>
                    <a:pt x="230" y="781"/>
                    <a:pt x="230" y="781"/>
                  </a:cubicBezTo>
                  <a:cubicBezTo>
                    <a:pt x="248" y="770"/>
                    <a:pt x="261" y="767"/>
                    <a:pt x="269" y="772"/>
                  </a:cubicBezTo>
                  <a:cubicBezTo>
                    <a:pt x="269" y="772"/>
                    <a:pt x="269" y="772"/>
                    <a:pt x="269" y="772"/>
                  </a:cubicBezTo>
                  <a:cubicBezTo>
                    <a:pt x="282" y="769"/>
                    <a:pt x="298" y="779"/>
                    <a:pt x="306" y="785"/>
                  </a:cubicBezTo>
                  <a:cubicBezTo>
                    <a:pt x="306" y="785"/>
                    <a:pt x="306" y="785"/>
                    <a:pt x="306" y="785"/>
                  </a:cubicBezTo>
                  <a:cubicBezTo>
                    <a:pt x="319" y="782"/>
                    <a:pt x="327" y="787"/>
                    <a:pt x="332" y="813"/>
                  </a:cubicBezTo>
                  <a:cubicBezTo>
                    <a:pt x="346" y="878"/>
                    <a:pt x="346" y="878"/>
                    <a:pt x="346" y="878"/>
                  </a:cubicBezTo>
                  <a:cubicBezTo>
                    <a:pt x="349" y="892"/>
                    <a:pt x="357" y="897"/>
                    <a:pt x="370" y="894"/>
                  </a:cubicBezTo>
                  <a:cubicBezTo>
                    <a:pt x="425" y="896"/>
                    <a:pt x="425" y="896"/>
                    <a:pt x="425" y="896"/>
                  </a:cubicBezTo>
                  <a:cubicBezTo>
                    <a:pt x="430" y="888"/>
                    <a:pt x="443" y="885"/>
                    <a:pt x="440" y="872"/>
                  </a:cubicBezTo>
                  <a:cubicBezTo>
                    <a:pt x="440" y="804"/>
                    <a:pt x="440" y="804"/>
                    <a:pt x="440" y="804"/>
                  </a:cubicBezTo>
                  <a:cubicBezTo>
                    <a:pt x="442" y="783"/>
                    <a:pt x="460" y="772"/>
                    <a:pt x="466" y="764"/>
                  </a:cubicBezTo>
                  <a:cubicBezTo>
                    <a:pt x="466" y="764"/>
                    <a:pt x="466" y="764"/>
                    <a:pt x="466" y="764"/>
                  </a:cubicBezTo>
                  <a:cubicBezTo>
                    <a:pt x="479" y="761"/>
                    <a:pt x="492" y="758"/>
                    <a:pt x="497" y="750"/>
                  </a:cubicBezTo>
                  <a:cubicBezTo>
                    <a:pt x="497" y="750"/>
                    <a:pt x="497" y="750"/>
                    <a:pt x="497" y="750"/>
                  </a:cubicBezTo>
                  <a:cubicBezTo>
                    <a:pt x="510" y="747"/>
                    <a:pt x="523" y="745"/>
                    <a:pt x="539" y="755"/>
                  </a:cubicBezTo>
                  <a:cubicBezTo>
                    <a:pt x="594" y="791"/>
                    <a:pt x="594" y="791"/>
                    <a:pt x="594" y="791"/>
                  </a:cubicBezTo>
                  <a:cubicBezTo>
                    <a:pt x="602" y="796"/>
                    <a:pt x="623" y="798"/>
                    <a:pt x="628" y="790"/>
                  </a:cubicBezTo>
                  <a:cubicBezTo>
                    <a:pt x="659" y="743"/>
                    <a:pt x="659" y="743"/>
                    <a:pt x="659" y="743"/>
                  </a:cubicBezTo>
                  <a:cubicBezTo>
                    <a:pt x="659" y="743"/>
                    <a:pt x="669" y="727"/>
                    <a:pt x="654" y="716"/>
                  </a:cubicBezTo>
                  <a:close/>
                  <a:moveTo>
                    <a:pt x="281" y="633"/>
                  </a:moveTo>
                  <a:cubicBezTo>
                    <a:pt x="223" y="584"/>
                    <a:pt x="219" y="502"/>
                    <a:pt x="263" y="452"/>
                  </a:cubicBezTo>
                  <a:cubicBezTo>
                    <a:pt x="313" y="393"/>
                    <a:pt x="399" y="382"/>
                    <a:pt x="457" y="431"/>
                  </a:cubicBezTo>
                  <a:cubicBezTo>
                    <a:pt x="507" y="475"/>
                    <a:pt x="518" y="561"/>
                    <a:pt x="469" y="619"/>
                  </a:cubicBezTo>
                  <a:cubicBezTo>
                    <a:pt x="420" y="678"/>
                    <a:pt x="339" y="682"/>
                    <a:pt x="281" y="633"/>
                  </a:cubicBezTo>
                  <a:close/>
                  <a:moveTo>
                    <a:pt x="1019" y="398"/>
                  </a:moveTo>
                  <a:cubicBezTo>
                    <a:pt x="1004" y="362"/>
                    <a:pt x="1004" y="362"/>
                    <a:pt x="1004" y="362"/>
                  </a:cubicBezTo>
                  <a:cubicBezTo>
                    <a:pt x="992" y="348"/>
                    <a:pt x="1002" y="340"/>
                    <a:pt x="1002" y="332"/>
                  </a:cubicBezTo>
                  <a:cubicBezTo>
                    <a:pt x="1002" y="332"/>
                    <a:pt x="1002" y="332"/>
                    <a:pt x="1002" y="332"/>
                  </a:cubicBezTo>
                  <a:cubicBezTo>
                    <a:pt x="1007" y="328"/>
                    <a:pt x="1011" y="324"/>
                    <a:pt x="1012" y="315"/>
                  </a:cubicBezTo>
                  <a:cubicBezTo>
                    <a:pt x="1021" y="307"/>
                    <a:pt x="1026" y="303"/>
                    <a:pt x="1043" y="304"/>
                  </a:cubicBezTo>
                  <a:cubicBezTo>
                    <a:pt x="1086" y="307"/>
                    <a:pt x="1086" y="307"/>
                    <a:pt x="1086" y="307"/>
                  </a:cubicBezTo>
                  <a:cubicBezTo>
                    <a:pt x="1095" y="308"/>
                    <a:pt x="1099" y="304"/>
                    <a:pt x="1100" y="295"/>
                  </a:cubicBezTo>
                  <a:cubicBezTo>
                    <a:pt x="1107" y="266"/>
                    <a:pt x="1107" y="266"/>
                    <a:pt x="1107" y="266"/>
                  </a:cubicBezTo>
                  <a:cubicBezTo>
                    <a:pt x="1107" y="257"/>
                    <a:pt x="1103" y="252"/>
                    <a:pt x="1095" y="243"/>
                  </a:cubicBezTo>
                  <a:cubicBezTo>
                    <a:pt x="1057" y="236"/>
                    <a:pt x="1057" y="236"/>
                    <a:pt x="1057" y="236"/>
                  </a:cubicBezTo>
                  <a:cubicBezTo>
                    <a:pt x="1044" y="231"/>
                    <a:pt x="1036" y="222"/>
                    <a:pt x="1037" y="213"/>
                  </a:cubicBezTo>
                  <a:cubicBezTo>
                    <a:pt x="1038" y="205"/>
                    <a:pt x="1034" y="200"/>
                    <a:pt x="1030" y="187"/>
                  </a:cubicBezTo>
                  <a:cubicBezTo>
                    <a:pt x="1031" y="178"/>
                    <a:pt x="1032" y="170"/>
                    <a:pt x="1041" y="162"/>
                  </a:cubicBezTo>
                  <a:cubicBezTo>
                    <a:pt x="1077" y="138"/>
                    <a:pt x="1077" y="138"/>
                    <a:pt x="1077" y="138"/>
                  </a:cubicBezTo>
                  <a:cubicBezTo>
                    <a:pt x="1082" y="134"/>
                    <a:pt x="1083" y="126"/>
                    <a:pt x="1079" y="121"/>
                  </a:cubicBezTo>
                  <a:cubicBezTo>
                    <a:pt x="1059" y="89"/>
                    <a:pt x="1059" y="89"/>
                    <a:pt x="1059" y="89"/>
                  </a:cubicBezTo>
                  <a:cubicBezTo>
                    <a:pt x="1055" y="85"/>
                    <a:pt x="1047" y="84"/>
                    <a:pt x="1038" y="83"/>
                  </a:cubicBezTo>
                  <a:cubicBezTo>
                    <a:pt x="1002" y="107"/>
                    <a:pt x="1002" y="107"/>
                    <a:pt x="1002" y="107"/>
                  </a:cubicBezTo>
                  <a:cubicBezTo>
                    <a:pt x="989" y="110"/>
                    <a:pt x="980" y="110"/>
                    <a:pt x="976" y="105"/>
                  </a:cubicBezTo>
                  <a:cubicBezTo>
                    <a:pt x="972" y="100"/>
                    <a:pt x="960" y="95"/>
                    <a:pt x="956" y="91"/>
                  </a:cubicBezTo>
                  <a:cubicBezTo>
                    <a:pt x="952" y="86"/>
                    <a:pt x="944" y="77"/>
                    <a:pt x="944" y="68"/>
                  </a:cubicBezTo>
                  <a:cubicBezTo>
                    <a:pt x="948" y="25"/>
                    <a:pt x="948" y="25"/>
                    <a:pt x="948" y="25"/>
                  </a:cubicBezTo>
                  <a:cubicBezTo>
                    <a:pt x="948" y="17"/>
                    <a:pt x="940" y="7"/>
                    <a:pt x="940" y="7"/>
                  </a:cubicBezTo>
                  <a:cubicBezTo>
                    <a:pt x="902" y="0"/>
                    <a:pt x="902" y="0"/>
                    <a:pt x="902" y="0"/>
                  </a:cubicBezTo>
                  <a:cubicBezTo>
                    <a:pt x="902" y="0"/>
                    <a:pt x="889" y="4"/>
                    <a:pt x="888" y="12"/>
                  </a:cubicBezTo>
                  <a:cubicBezTo>
                    <a:pt x="872" y="50"/>
                    <a:pt x="872" y="50"/>
                    <a:pt x="872" y="50"/>
                  </a:cubicBezTo>
                  <a:cubicBezTo>
                    <a:pt x="871" y="67"/>
                    <a:pt x="862" y="67"/>
                    <a:pt x="858" y="71"/>
                  </a:cubicBezTo>
                  <a:cubicBezTo>
                    <a:pt x="858" y="71"/>
                    <a:pt x="858" y="71"/>
                    <a:pt x="853" y="75"/>
                  </a:cubicBezTo>
                  <a:cubicBezTo>
                    <a:pt x="849" y="70"/>
                    <a:pt x="840" y="70"/>
                    <a:pt x="836" y="74"/>
                  </a:cubicBezTo>
                  <a:cubicBezTo>
                    <a:pt x="831" y="78"/>
                    <a:pt x="831" y="78"/>
                    <a:pt x="831" y="78"/>
                  </a:cubicBezTo>
                  <a:cubicBezTo>
                    <a:pt x="822" y="77"/>
                    <a:pt x="814" y="76"/>
                    <a:pt x="806" y="67"/>
                  </a:cubicBezTo>
                  <a:cubicBezTo>
                    <a:pt x="778" y="35"/>
                    <a:pt x="778" y="35"/>
                    <a:pt x="778" y="35"/>
                  </a:cubicBezTo>
                  <a:cubicBezTo>
                    <a:pt x="774" y="30"/>
                    <a:pt x="762" y="25"/>
                    <a:pt x="757" y="29"/>
                  </a:cubicBezTo>
                  <a:cubicBezTo>
                    <a:pt x="734" y="49"/>
                    <a:pt x="734" y="49"/>
                    <a:pt x="734" y="49"/>
                  </a:cubicBezTo>
                  <a:cubicBezTo>
                    <a:pt x="725" y="49"/>
                    <a:pt x="725" y="57"/>
                    <a:pt x="728" y="70"/>
                  </a:cubicBezTo>
                  <a:cubicBezTo>
                    <a:pt x="747" y="102"/>
                    <a:pt x="747" y="102"/>
                    <a:pt x="747" y="102"/>
                  </a:cubicBezTo>
                  <a:cubicBezTo>
                    <a:pt x="754" y="120"/>
                    <a:pt x="750" y="124"/>
                    <a:pt x="744" y="136"/>
                  </a:cubicBezTo>
                  <a:cubicBezTo>
                    <a:pt x="744" y="136"/>
                    <a:pt x="744" y="136"/>
                    <a:pt x="744" y="136"/>
                  </a:cubicBezTo>
                  <a:cubicBezTo>
                    <a:pt x="740" y="140"/>
                    <a:pt x="735" y="144"/>
                    <a:pt x="731" y="148"/>
                  </a:cubicBezTo>
                  <a:cubicBezTo>
                    <a:pt x="731" y="148"/>
                    <a:pt x="731" y="148"/>
                    <a:pt x="731" y="148"/>
                  </a:cubicBezTo>
                  <a:cubicBezTo>
                    <a:pt x="730" y="157"/>
                    <a:pt x="721" y="165"/>
                    <a:pt x="703" y="164"/>
                  </a:cubicBezTo>
                  <a:cubicBezTo>
                    <a:pt x="665" y="157"/>
                    <a:pt x="665" y="157"/>
                    <a:pt x="665" y="157"/>
                  </a:cubicBezTo>
                  <a:cubicBezTo>
                    <a:pt x="656" y="156"/>
                    <a:pt x="647" y="164"/>
                    <a:pt x="647" y="173"/>
                  </a:cubicBezTo>
                  <a:cubicBezTo>
                    <a:pt x="640" y="203"/>
                    <a:pt x="640" y="203"/>
                    <a:pt x="640" y="203"/>
                  </a:cubicBezTo>
                  <a:cubicBezTo>
                    <a:pt x="639" y="211"/>
                    <a:pt x="643" y="216"/>
                    <a:pt x="656" y="221"/>
                  </a:cubicBezTo>
                  <a:cubicBezTo>
                    <a:pt x="690" y="232"/>
                    <a:pt x="690" y="232"/>
                    <a:pt x="690" y="232"/>
                  </a:cubicBezTo>
                  <a:cubicBezTo>
                    <a:pt x="702" y="237"/>
                    <a:pt x="710" y="246"/>
                    <a:pt x="710" y="255"/>
                  </a:cubicBezTo>
                  <a:cubicBezTo>
                    <a:pt x="710" y="255"/>
                    <a:pt x="710" y="255"/>
                    <a:pt x="710" y="255"/>
                  </a:cubicBezTo>
                  <a:cubicBezTo>
                    <a:pt x="714" y="260"/>
                    <a:pt x="713" y="268"/>
                    <a:pt x="717" y="273"/>
                  </a:cubicBezTo>
                  <a:cubicBezTo>
                    <a:pt x="712" y="277"/>
                    <a:pt x="712" y="277"/>
                    <a:pt x="712" y="277"/>
                  </a:cubicBezTo>
                  <a:cubicBezTo>
                    <a:pt x="716" y="281"/>
                    <a:pt x="716" y="290"/>
                    <a:pt x="702" y="302"/>
                  </a:cubicBezTo>
                  <a:cubicBezTo>
                    <a:pt x="674" y="326"/>
                    <a:pt x="674" y="326"/>
                    <a:pt x="674" y="326"/>
                  </a:cubicBezTo>
                  <a:cubicBezTo>
                    <a:pt x="665" y="334"/>
                    <a:pt x="664" y="343"/>
                    <a:pt x="668" y="347"/>
                  </a:cubicBezTo>
                  <a:cubicBezTo>
                    <a:pt x="687" y="379"/>
                    <a:pt x="687" y="379"/>
                    <a:pt x="687" y="379"/>
                  </a:cubicBezTo>
                  <a:cubicBezTo>
                    <a:pt x="691" y="383"/>
                    <a:pt x="700" y="384"/>
                    <a:pt x="704" y="380"/>
                  </a:cubicBezTo>
                  <a:cubicBezTo>
                    <a:pt x="745" y="361"/>
                    <a:pt x="745" y="361"/>
                    <a:pt x="745" y="361"/>
                  </a:cubicBezTo>
                  <a:cubicBezTo>
                    <a:pt x="758" y="358"/>
                    <a:pt x="767" y="358"/>
                    <a:pt x="771" y="363"/>
                  </a:cubicBezTo>
                  <a:cubicBezTo>
                    <a:pt x="771" y="363"/>
                    <a:pt x="771" y="363"/>
                    <a:pt x="771" y="363"/>
                  </a:cubicBezTo>
                  <a:cubicBezTo>
                    <a:pt x="779" y="364"/>
                    <a:pt x="787" y="373"/>
                    <a:pt x="791" y="377"/>
                  </a:cubicBezTo>
                  <a:cubicBezTo>
                    <a:pt x="791" y="377"/>
                    <a:pt x="791" y="377"/>
                    <a:pt x="791" y="377"/>
                  </a:cubicBezTo>
                  <a:cubicBezTo>
                    <a:pt x="800" y="378"/>
                    <a:pt x="804" y="383"/>
                    <a:pt x="802" y="400"/>
                  </a:cubicBezTo>
                  <a:cubicBezTo>
                    <a:pt x="799" y="443"/>
                    <a:pt x="799" y="443"/>
                    <a:pt x="799" y="443"/>
                  </a:cubicBezTo>
                  <a:cubicBezTo>
                    <a:pt x="798" y="451"/>
                    <a:pt x="802" y="456"/>
                    <a:pt x="811" y="457"/>
                  </a:cubicBezTo>
                  <a:cubicBezTo>
                    <a:pt x="845" y="468"/>
                    <a:pt x="845" y="468"/>
                    <a:pt x="845" y="468"/>
                  </a:cubicBezTo>
                  <a:cubicBezTo>
                    <a:pt x="849" y="464"/>
                    <a:pt x="858" y="464"/>
                    <a:pt x="859" y="456"/>
                  </a:cubicBezTo>
                  <a:cubicBezTo>
                    <a:pt x="871" y="413"/>
                    <a:pt x="871" y="413"/>
                    <a:pt x="871" y="413"/>
                  </a:cubicBezTo>
                  <a:cubicBezTo>
                    <a:pt x="876" y="401"/>
                    <a:pt x="889" y="397"/>
                    <a:pt x="894" y="393"/>
                  </a:cubicBezTo>
                  <a:cubicBezTo>
                    <a:pt x="894" y="393"/>
                    <a:pt x="894" y="393"/>
                    <a:pt x="894" y="393"/>
                  </a:cubicBezTo>
                  <a:cubicBezTo>
                    <a:pt x="902" y="394"/>
                    <a:pt x="911" y="395"/>
                    <a:pt x="916" y="391"/>
                  </a:cubicBezTo>
                  <a:cubicBezTo>
                    <a:pt x="916" y="391"/>
                    <a:pt x="916" y="391"/>
                    <a:pt x="916" y="391"/>
                  </a:cubicBezTo>
                  <a:cubicBezTo>
                    <a:pt x="924" y="391"/>
                    <a:pt x="933" y="392"/>
                    <a:pt x="941" y="401"/>
                  </a:cubicBezTo>
                  <a:cubicBezTo>
                    <a:pt x="969" y="433"/>
                    <a:pt x="969" y="433"/>
                    <a:pt x="969" y="433"/>
                  </a:cubicBezTo>
                  <a:cubicBezTo>
                    <a:pt x="973" y="438"/>
                    <a:pt x="985" y="443"/>
                    <a:pt x="990" y="439"/>
                  </a:cubicBezTo>
                  <a:cubicBezTo>
                    <a:pt x="1018" y="415"/>
                    <a:pt x="1018" y="415"/>
                    <a:pt x="1018" y="415"/>
                  </a:cubicBezTo>
                  <a:cubicBezTo>
                    <a:pt x="1018" y="415"/>
                    <a:pt x="1027" y="407"/>
                    <a:pt x="1019" y="398"/>
                  </a:cubicBezTo>
                  <a:close/>
                  <a:moveTo>
                    <a:pt x="803" y="279"/>
                  </a:moveTo>
                  <a:cubicBezTo>
                    <a:pt x="776" y="238"/>
                    <a:pt x="788" y="187"/>
                    <a:pt x="825" y="164"/>
                  </a:cubicBezTo>
                  <a:cubicBezTo>
                    <a:pt x="866" y="136"/>
                    <a:pt x="921" y="144"/>
                    <a:pt x="948" y="185"/>
                  </a:cubicBezTo>
                  <a:cubicBezTo>
                    <a:pt x="972" y="221"/>
                    <a:pt x="963" y="277"/>
                    <a:pt x="922" y="304"/>
                  </a:cubicBezTo>
                  <a:cubicBezTo>
                    <a:pt x="881" y="332"/>
                    <a:pt x="830" y="320"/>
                    <a:pt x="803" y="279"/>
                  </a:cubicBezTo>
                  <a:close/>
                </a:path>
              </a:pathLst>
            </a:custGeom>
            <a:solidFill>
              <a:schemeClr val="tx1"/>
            </a:solidFill>
            <a:ln>
              <a:noFill/>
            </a:ln>
          </p:spPr>
          <p:txBody>
            <a:bodyPr vert="horz" wrap="square" lIns="68574" tIns="34287" rIns="68574" bIns="34287"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17346"/>
                </a:solidFill>
                <a:effectLst/>
                <a:uLnTx/>
                <a:uFillTx/>
                <a:latin typeface="Segoe UI"/>
                <a:ea typeface="+mn-ea"/>
                <a:cs typeface="+mn-cs"/>
              </a:endParaRPr>
            </a:p>
          </p:txBody>
        </p:sp>
        <p:sp>
          <p:nvSpPr>
            <p:cNvPr id="88" name="Freeform 87"/>
            <p:cNvSpPr>
              <a:spLocks noChangeAspect="1"/>
            </p:cNvSpPr>
            <p:nvPr/>
          </p:nvSpPr>
          <p:spPr bwMode="black">
            <a:xfrm>
              <a:off x="776985" y="4213905"/>
              <a:ext cx="342871" cy="335728"/>
            </a:xfrm>
            <a:custGeom>
              <a:avLst/>
              <a:gdLst>
                <a:gd name="connsiteX0" fmla="*/ 3713863 w 4893730"/>
                <a:gd name="connsiteY0" fmla="*/ 2130808 h 4791777"/>
                <a:gd name="connsiteX1" fmla="*/ 4426142 w 4893730"/>
                <a:gd name="connsiteY1" fmla="*/ 2130808 h 4791777"/>
                <a:gd name="connsiteX2" fmla="*/ 4598071 w 4893730"/>
                <a:gd name="connsiteY2" fmla="*/ 2301547 h 4791777"/>
                <a:gd name="connsiteX3" fmla="*/ 4598071 w 4893730"/>
                <a:gd name="connsiteY3" fmla="*/ 3886978 h 4791777"/>
                <a:gd name="connsiteX4" fmla="*/ 4426142 w 4893730"/>
                <a:gd name="connsiteY4" fmla="*/ 4057717 h 4791777"/>
                <a:gd name="connsiteX5" fmla="*/ 3713863 w 4893730"/>
                <a:gd name="connsiteY5" fmla="*/ 4057717 h 4791777"/>
                <a:gd name="connsiteX6" fmla="*/ 3517372 w 4893730"/>
                <a:gd name="connsiteY6" fmla="*/ 3886978 h 4791777"/>
                <a:gd name="connsiteX7" fmla="*/ 3517372 w 4893730"/>
                <a:gd name="connsiteY7" fmla="*/ 2301547 h 4791777"/>
                <a:gd name="connsiteX8" fmla="*/ 3713863 w 4893730"/>
                <a:gd name="connsiteY8" fmla="*/ 2130808 h 4791777"/>
                <a:gd name="connsiteX9" fmla="*/ 904368 w 4893730"/>
                <a:gd name="connsiteY9" fmla="*/ 1223432 h 4791777"/>
                <a:gd name="connsiteX10" fmla="*/ 1609930 w 4893730"/>
                <a:gd name="connsiteY10" fmla="*/ 1223432 h 4791777"/>
                <a:gd name="connsiteX11" fmla="*/ 1804567 w 4893730"/>
                <a:gd name="connsiteY11" fmla="*/ 1394467 h 4791777"/>
                <a:gd name="connsiteX12" fmla="*/ 1804567 w 4893730"/>
                <a:gd name="connsiteY12" fmla="*/ 3886683 h 4791777"/>
                <a:gd name="connsiteX13" fmla="*/ 1609930 w 4893730"/>
                <a:gd name="connsiteY13" fmla="*/ 4057717 h 4791777"/>
                <a:gd name="connsiteX14" fmla="*/ 904368 w 4893730"/>
                <a:gd name="connsiteY14" fmla="*/ 4057717 h 4791777"/>
                <a:gd name="connsiteX15" fmla="*/ 734060 w 4893730"/>
                <a:gd name="connsiteY15" fmla="*/ 3886683 h 4791777"/>
                <a:gd name="connsiteX16" fmla="*/ 734060 w 4893730"/>
                <a:gd name="connsiteY16" fmla="*/ 1394467 h 4791777"/>
                <a:gd name="connsiteX17" fmla="*/ 904368 w 4893730"/>
                <a:gd name="connsiteY17" fmla="*/ 1223432 h 4791777"/>
                <a:gd name="connsiteX18" fmla="*/ 2325453 w 4893730"/>
                <a:gd name="connsiteY18" fmla="*/ 316050 h 4791777"/>
                <a:gd name="connsiteX19" fmla="*/ 3031014 w 4893730"/>
                <a:gd name="connsiteY19" fmla="*/ 316050 h 4791777"/>
                <a:gd name="connsiteX20" fmla="*/ 3201322 w 4893730"/>
                <a:gd name="connsiteY20" fmla="*/ 487238 h 4791777"/>
                <a:gd name="connsiteX21" fmla="*/ 3201322 w 4893730"/>
                <a:gd name="connsiteY21" fmla="*/ 3886530 h 4791777"/>
                <a:gd name="connsiteX22" fmla="*/ 3031014 w 4893730"/>
                <a:gd name="connsiteY22" fmla="*/ 4057717 h 4791777"/>
                <a:gd name="connsiteX23" fmla="*/ 2325453 w 4893730"/>
                <a:gd name="connsiteY23" fmla="*/ 4057717 h 4791777"/>
                <a:gd name="connsiteX24" fmla="*/ 2130815 w 4893730"/>
                <a:gd name="connsiteY24" fmla="*/ 3886530 h 4791777"/>
                <a:gd name="connsiteX25" fmla="*/ 2130815 w 4893730"/>
                <a:gd name="connsiteY25" fmla="*/ 487238 h 4791777"/>
                <a:gd name="connsiteX26" fmla="*/ 2325453 w 4893730"/>
                <a:gd name="connsiteY26" fmla="*/ 316050 h 4791777"/>
                <a:gd name="connsiteX27" fmla="*/ 269155 w 4893730"/>
                <a:gd name="connsiteY27" fmla="*/ 0 h 4791777"/>
                <a:gd name="connsiteX28" fmla="*/ 538311 w 4893730"/>
                <a:gd name="connsiteY28" fmla="*/ 268927 h 4791777"/>
                <a:gd name="connsiteX29" fmla="*/ 538311 w 4893730"/>
                <a:gd name="connsiteY29" fmla="*/ 4253925 h 4791777"/>
                <a:gd name="connsiteX30" fmla="*/ 4624575 w 4893730"/>
                <a:gd name="connsiteY30" fmla="*/ 4253925 h 4791777"/>
                <a:gd name="connsiteX31" fmla="*/ 4893730 w 4893730"/>
                <a:gd name="connsiteY31" fmla="*/ 4522851 h 4791777"/>
                <a:gd name="connsiteX32" fmla="*/ 4624575 w 4893730"/>
                <a:gd name="connsiteY32" fmla="*/ 4791777 h 4791777"/>
                <a:gd name="connsiteX33" fmla="*/ 269155 w 4893730"/>
                <a:gd name="connsiteY33" fmla="*/ 4791777 h 4791777"/>
                <a:gd name="connsiteX34" fmla="*/ 0 w 4893730"/>
                <a:gd name="connsiteY34" fmla="*/ 4522851 h 4791777"/>
                <a:gd name="connsiteX35" fmla="*/ 0 w 4893730"/>
                <a:gd name="connsiteY35" fmla="*/ 268927 h 4791777"/>
                <a:gd name="connsiteX36" fmla="*/ 269155 w 4893730"/>
                <a:gd name="connsiteY36" fmla="*/ 0 h 4791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4893730" h="4791777">
                  <a:moveTo>
                    <a:pt x="3713863" y="2130808"/>
                  </a:moveTo>
                  <a:cubicBezTo>
                    <a:pt x="3713863" y="2130808"/>
                    <a:pt x="3713863" y="2130808"/>
                    <a:pt x="4426142" y="2130808"/>
                  </a:cubicBezTo>
                  <a:cubicBezTo>
                    <a:pt x="4524387" y="2130808"/>
                    <a:pt x="4598071" y="2203982"/>
                    <a:pt x="4598071" y="2301547"/>
                  </a:cubicBezTo>
                  <a:cubicBezTo>
                    <a:pt x="4598071" y="2301547"/>
                    <a:pt x="4598071" y="2301547"/>
                    <a:pt x="4598071" y="3886978"/>
                  </a:cubicBezTo>
                  <a:cubicBezTo>
                    <a:pt x="4598071" y="3984543"/>
                    <a:pt x="4524387" y="4057717"/>
                    <a:pt x="4426142" y="4057717"/>
                  </a:cubicBezTo>
                  <a:cubicBezTo>
                    <a:pt x="4426142" y="4057717"/>
                    <a:pt x="4426142" y="4057717"/>
                    <a:pt x="3713863" y="4057717"/>
                  </a:cubicBezTo>
                  <a:cubicBezTo>
                    <a:pt x="3615618" y="4057717"/>
                    <a:pt x="3517372" y="3984543"/>
                    <a:pt x="3517372" y="3886978"/>
                  </a:cubicBezTo>
                  <a:cubicBezTo>
                    <a:pt x="3517372" y="3886978"/>
                    <a:pt x="3517372" y="3886978"/>
                    <a:pt x="3517372" y="2301547"/>
                  </a:cubicBezTo>
                  <a:cubicBezTo>
                    <a:pt x="3517372" y="2203982"/>
                    <a:pt x="3615618" y="2130808"/>
                    <a:pt x="3713863" y="2130808"/>
                  </a:cubicBezTo>
                  <a:close/>
                  <a:moveTo>
                    <a:pt x="904368" y="1223432"/>
                  </a:moveTo>
                  <a:cubicBezTo>
                    <a:pt x="904368" y="1223432"/>
                    <a:pt x="904368" y="1223432"/>
                    <a:pt x="1609930" y="1223432"/>
                  </a:cubicBezTo>
                  <a:cubicBezTo>
                    <a:pt x="1731578" y="1223432"/>
                    <a:pt x="1804567" y="1296733"/>
                    <a:pt x="1804567" y="1394467"/>
                  </a:cubicBezTo>
                  <a:cubicBezTo>
                    <a:pt x="1804567" y="1394467"/>
                    <a:pt x="1804567" y="1394467"/>
                    <a:pt x="1804567" y="3886683"/>
                  </a:cubicBezTo>
                  <a:cubicBezTo>
                    <a:pt x="1804567" y="3984417"/>
                    <a:pt x="1731578" y="4057717"/>
                    <a:pt x="1609930" y="4057717"/>
                  </a:cubicBezTo>
                  <a:cubicBezTo>
                    <a:pt x="1609930" y="4057717"/>
                    <a:pt x="1609930" y="4057717"/>
                    <a:pt x="904368" y="4057717"/>
                  </a:cubicBezTo>
                  <a:cubicBezTo>
                    <a:pt x="807049" y="4057717"/>
                    <a:pt x="734060" y="3984417"/>
                    <a:pt x="734060" y="3886683"/>
                  </a:cubicBezTo>
                  <a:cubicBezTo>
                    <a:pt x="734060" y="3886683"/>
                    <a:pt x="734060" y="3886683"/>
                    <a:pt x="734060" y="1394467"/>
                  </a:cubicBezTo>
                  <a:cubicBezTo>
                    <a:pt x="734060" y="1296733"/>
                    <a:pt x="807049" y="1223432"/>
                    <a:pt x="904368" y="1223432"/>
                  </a:cubicBezTo>
                  <a:close/>
                  <a:moveTo>
                    <a:pt x="2325453" y="316050"/>
                  </a:moveTo>
                  <a:cubicBezTo>
                    <a:pt x="2325453" y="316050"/>
                    <a:pt x="2325453" y="316050"/>
                    <a:pt x="3031014" y="316050"/>
                  </a:cubicBezTo>
                  <a:cubicBezTo>
                    <a:pt x="3128333" y="316050"/>
                    <a:pt x="3201322" y="389416"/>
                    <a:pt x="3201322" y="487238"/>
                  </a:cubicBezTo>
                  <a:cubicBezTo>
                    <a:pt x="3201322" y="487238"/>
                    <a:pt x="3201322" y="487238"/>
                    <a:pt x="3201322" y="3886530"/>
                  </a:cubicBezTo>
                  <a:cubicBezTo>
                    <a:pt x="3201322" y="3984351"/>
                    <a:pt x="3128333" y="4057717"/>
                    <a:pt x="3031014" y="4057717"/>
                  </a:cubicBezTo>
                  <a:cubicBezTo>
                    <a:pt x="3031014" y="4057717"/>
                    <a:pt x="3031014" y="4057717"/>
                    <a:pt x="2325453" y="4057717"/>
                  </a:cubicBezTo>
                  <a:cubicBezTo>
                    <a:pt x="2203804" y="4057717"/>
                    <a:pt x="2130815" y="3984351"/>
                    <a:pt x="2130815" y="3886530"/>
                  </a:cubicBezTo>
                  <a:cubicBezTo>
                    <a:pt x="2130815" y="3886530"/>
                    <a:pt x="2130815" y="3886530"/>
                    <a:pt x="2130815" y="487238"/>
                  </a:cubicBezTo>
                  <a:cubicBezTo>
                    <a:pt x="2130815" y="389416"/>
                    <a:pt x="2203804" y="316050"/>
                    <a:pt x="2325453" y="316050"/>
                  </a:cubicBezTo>
                  <a:close/>
                  <a:moveTo>
                    <a:pt x="269155" y="0"/>
                  </a:moveTo>
                  <a:cubicBezTo>
                    <a:pt x="415967" y="0"/>
                    <a:pt x="538311" y="122239"/>
                    <a:pt x="538311" y="268927"/>
                  </a:cubicBezTo>
                  <a:cubicBezTo>
                    <a:pt x="538311" y="268927"/>
                    <a:pt x="538311" y="268927"/>
                    <a:pt x="538311" y="4253925"/>
                  </a:cubicBezTo>
                  <a:cubicBezTo>
                    <a:pt x="538311" y="4253925"/>
                    <a:pt x="538311" y="4253925"/>
                    <a:pt x="4624575" y="4253925"/>
                  </a:cubicBezTo>
                  <a:cubicBezTo>
                    <a:pt x="4771387" y="4253925"/>
                    <a:pt x="4893730" y="4376164"/>
                    <a:pt x="4893730" y="4522851"/>
                  </a:cubicBezTo>
                  <a:cubicBezTo>
                    <a:pt x="4893730" y="4669538"/>
                    <a:pt x="4771387" y="4791777"/>
                    <a:pt x="4624575" y="4791777"/>
                  </a:cubicBezTo>
                  <a:cubicBezTo>
                    <a:pt x="4624575" y="4791777"/>
                    <a:pt x="4624575" y="4791777"/>
                    <a:pt x="269155" y="4791777"/>
                  </a:cubicBezTo>
                  <a:cubicBezTo>
                    <a:pt x="122344" y="4791777"/>
                    <a:pt x="0" y="4669538"/>
                    <a:pt x="0" y="4522851"/>
                  </a:cubicBezTo>
                  <a:cubicBezTo>
                    <a:pt x="0" y="4522851"/>
                    <a:pt x="0" y="4522851"/>
                    <a:pt x="0" y="268927"/>
                  </a:cubicBezTo>
                  <a:cubicBezTo>
                    <a:pt x="0" y="122239"/>
                    <a:pt x="122344" y="0"/>
                    <a:pt x="269155"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37148" tIns="109719" rIns="137148" bIns="109719"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699261"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9" name="Rectangle 88"/>
            <p:cNvSpPr/>
            <p:nvPr/>
          </p:nvSpPr>
          <p:spPr bwMode="auto">
            <a:xfrm rot="2745734">
              <a:off x="279530" y="1141266"/>
              <a:ext cx="1260714" cy="1255193"/>
            </a:xfrm>
            <a:prstGeom prst="rect">
              <a:avLst/>
            </a:prstGeom>
            <a:solidFill>
              <a:schemeClr val="tx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0" name="Rectangle 89"/>
            <p:cNvSpPr/>
            <p:nvPr/>
          </p:nvSpPr>
          <p:spPr bwMode="auto">
            <a:xfrm rot="2745734">
              <a:off x="1305789" y="4246825"/>
              <a:ext cx="416505" cy="1235003"/>
            </a:xfrm>
            <a:prstGeom prst="rect">
              <a:avLst/>
            </a:prstGeom>
            <a:solidFill>
              <a:schemeClr val="tx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2" name="Rectangle 91"/>
            <p:cNvSpPr/>
            <p:nvPr/>
          </p:nvSpPr>
          <p:spPr bwMode="auto">
            <a:xfrm rot="2745734">
              <a:off x="1315610" y="4915701"/>
              <a:ext cx="1263370" cy="1255989"/>
            </a:xfrm>
            <a:prstGeom prst="rect">
              <a:avLst/>
            </a:prstGeom>
            <a:solidFill>
              <a:schemeClr val="tx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40" name="TextBox 39"/>
          <p:cNvSpPr txBox="1"/>
          <p:nvPr/>
        </p:nvSpPr>
        <p:spPr>
          <a:xfrm>
            <a:off x="3" y="51415"/>
            <a:ext cx="2849058" cy="430887"/>
          </a:xfrm>
          <a:prstGeom prst="rect">
            <a:avLst/>
          </a:prstGeom>
        </p:spPr>
        <p:txBody>
          <a:bodyPr wrap="square">
            <a:spAutoFit/>
          </a:bodyPr>
          <a:lstStyle>
            <a:defPPr>
              <a:defRPr lang="en-US"/>
            </a:defPPr>
            <a:lvl1pPr defTabSz="914192">
              <a:defRPr sz="2800" b="1" spc="-100">
                <a:ln w="3175">
                  <a:noFill/>
                </a:ln>
                <a:solidFill>
                  <a:srgbClr val="F2C812"/>
                </a:solidFill>
                <a:latin typeface="Segoe UI" panose="020B0502040204020203" pitchFamily="34" charset="0"/>
                <a:ea typeface="ＭＳ Ｐゴシック" charset="0"/>
                <a:cs typeface="Segoe UI" panose="020B0502040204020203" pitchFamily="34" charset="0"/>
              </a:defRPr>
            </a:lvl1pPr>
          </a:lstStyle>
          <a:p>
            <a:pPr marL="0" marR="0" lvl="0" indent="0" algn="l" defTabSz="914192" rtl="0" eaLnBrk="1" fontAlgn="auto" latinLnBrk="0" hangingPunct="1">
              <a:lnSpc>
                <a:spcPct val="100000"/>
              </a:lnSpc>
              <a:spcBef>
                <a:spcPts val="0"/>
              </a:spcBef>
              <a:spcAft>
                <a:spcPts val="0"/>
              </a:spcAft>
              <a:buClrTx/>
              <a:buSzTx/>
              <a:buFontTx/>
              <a:buNone/>
              <a:tabLst/>
              <a:defRPr/>
            </a:pPr>
            <a:r>
              <a:rPr kumimoji="0" lang="en-US" sz="2200" b="1" i="0" u="none" strike="noStrike" kern="1200" cap="none" spc="-100" normalizeH="0" baseline="0" noProof="0">
                <a:ln w="3175">
                  <a:noFill/>
                </a:ln>
                <a:solidFill>
                  <a:srgbClr val="F2C812"/>
                </a:solidFill>
                <a:effectLst/>
                <a:uLnTx/>
                <a:uFillTx/>
                <a:latin typeface="Segoe UI Light"/>
                <a:ea typeface="ＭＳ Ｐゴシック" charset="0"/>
                <a:cs typeface="Segoe UI" panose="020B0502040204020203" pitchFamily="34" charset="0"/>
              </a:rPr>
              <a:t>Power BI Desktop</a:t>
            </a:r>
          </a:p>
        </p:txBody>
      </p:sp>
      <p:sp>
        <p:nvSpPr>
          <p:cNvPr id="41" name="Rectangle 40"/>
          <p:cNvSpPr/>
          <p:nvPr/>
        </p:nvSpPr>
        <p:spPr bwMode="auto">
          <a:xfrm rot="19005967">
            <a:off x="922420" y="2122148"/>
            <a:ext cx="1260714" cy="369589"/>
          </a:xfrm>
          <a:prstGeom prst="rect">
            <a:avLst/>
          </a:prstGeom>
          <a:solidFill>
            <a:schemeClr val="tx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7" name="Rectangle 36"/>
          <p:cNvSpPr/>
          <p:nvPr/>
        </p:nvSpPr>
        <p:spPr bwMode="auto">
          <a:xfrm rot="2745734">
            <a:off x="1371067" y="2420930"/>
            <a:ext cx="1194544" cy="1235003"/>
          </a:xfrm>
          <a:prstGeom prst="rect">
            <a:avLst/>
          </a:prstGeom>
          <a:solidFill>
            <a:schemeClr val="tx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2" name="Text Placeholder 2"/>
          <p:cNvSpPr txBox="1">
            <a:spLocks/>
          </p:cNvSpPr>
          <p:nvPr/>
        </p:nvSpPr>
        <p:spPr>
          <a:xfrm>
            <a:off x="3173232" y="916802"/>
            <a:ext cx="6196399" cy="1956556"/>
          </a:xfrm>
          <a:prstGeom prst="rect">
            <a:avLst/>
          </a:prstGeom>
        </p:spPr>
        <p:txBody>
          <a:bodyPr vert="horz" wrap="square" lIns="182880" tIns="146304" rIns="182880" bIns="146304" rtlCol="0">
            <a:noAutofit/>
          </a:bodyPr>
          <a:lstStyle>
            <a:lvl1pPr marL="182845" marR="0"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3921" kern="1200" spc="0" baseline="0">
                <a:gradFill>
                  <a:gsLst>
                    <a:gs pos="1250">
                      <a:schemeClr val="tx2"/>
                    </a:gs>
                    <a:gs pos="99000">
                      <a:schemeClr val="tx2"/>
                    </a:gs>
                  </a:gsLst>
                  <a:lin ang="5400000" scaled="0"/>
                </a:gradFill>
                <a:latin typeface="+mj-lt"/>
                <a:ea typeface="+mn-ea"/>
                <a:cs typeface="+mn-cs"/>
              </a:defRPr>
            </a:lvl1pPr>
            <a:lvl2pPr marL="365690" marR="0"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2400" kern="1200" spc="0" baseline="0">
                <a:solidFill>
                  <a:schemeClr val="tx2"/>
                </a:solidFill>
                <a:latin typeface="+mj-lt"/>
                <a:ea typeface="+mn-ea"/>
                <a:cs typeface="+mn-cs"/>
              </a:defRPr>
            </a:lvl2pPr>
            <a:lvl3pPr marL="548535" marR="0"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2000" kern="1200" spc="0" baseline="0">
                <a:solidFill>
                  <a:schemeClr val="tx2"/>
                </a:solidFill>
                <a:latin typeface="+mj-lt"/>
                <a:ea typeface="+mn-ea"/>
                <a:cs typeface="+mn-cs"/>
              </a:defRPr>
            </a:lvl3pPr>
            <a:lvl4pPr marL="733802" marR="0" indent="-28569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1765" kern="1200" spc="0" baseline="0">
                <a:solidFill>
                  <a:schemeClr val="tx2"/>
                </a:solidFill>
                <a:latin typeface="+mn-lt"/>
                <a:ea typeface="+mn-ea"/>
                <a:cs typeface="+mn-cs"/>
              </a:defRPr>
            </a:lvl4pPr>
            <a:lvl5pPr marL="957856" marR="0" indent="-28569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1765" kern="1200" spc="0" baseline="0">
                <a:solidFill>
                  <a:schemeClr val="tx2"/>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1"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r>
              <a:rPr kumimoji="0" lang="en-US" sz="2000" b="1"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rPr>
              <a:t>Analytics pane</a:t>
            </a:r>
            <a:r>
              <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rPr>
              <a:t> will be the central location for all analytical features</a:t>
            </a: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1"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r>
              <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rPr>
              <a:t>Add dynamic reference lines and trend lines on charts</a:t>
            </a: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r>
              <a:rPr kumimoji="0" lang="en-US" sz="2000" b="1"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rPr>
              <a:t>More</a:t>
            </a:r>
            <a:r>
              <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rPr>
              <a:t> analytical features will be added in future</a:t>
            </a: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p:txBody>
      </p:sp>
      <p:pic>
        <p:nvPicPr>
          <p:cNvPr id="11" name="Picture 10"/>
          <p:cNvPicPr>
            <a:picLocks noChangeAspect="1"/>
          </p:cNvPicPr>
          <p:nvPr/>
        </p:nvPicPr>
        <p:blipFill>
          <a:blip r:embed="rId3"/>
          <a:stretch>
            <a:fillRect/>
          </a:stretch>
        </p:blipFill>
        <p:spPr>
          <a:xfrm>
            <a:off x="9166140" y="707233"/>
            <a:ext cx="2824589" cy="4589956"/>
          </a:xfrm>
          <a:prstGeom prst="rect">
            <a:avLst/>
          </a:prstGeom>
        </p:spPr>
      </p:pic>
      <p:sp>
        <p:nvSpPr>
          <p:cNvPr id="49" name="Rectangle 48"/>
          <p:cNvSpPr/>
          <p:nvPr/>
        </p:nvSpPr>
        <p:spPr bwMode="auto">
          <a:xfrm>
            <a:off x="11307528" y="1928616"/>
            <a:ext cx="320163" cy="306812"/>
          </a:xfrm>
          <a:prstGeom prst="rect">
            <a:avLst/>
          </a:prstGeom>
          <a:noFill/>
          <a:ln w="38100">
            <a:solidFill>
              <a:srgbClr val="FF00F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2" name="Picture 11"/>
          <p:cNvPicPr>
            <a:picLocks noChangeAspect="1"/>
          </p:cNvPicPr>
          <p:nvPr/>
        </p:nvPicPr>
        <p:blipFill>
          <a:blip r:embed="rId4"/>
          <a:stretch>
            <a:fillRect/>
          </a:stretch>
        </p:blipFill>
        <p:spPr>
          <a:xfrm>
            <a:off x="3271713" y="3618280"/>
            <a:ext cx="6357106" cy="3163393"/>
          </a:xfrm>
          <a:prstGeom prst="rect">
            <a:avLst/>
          </a:prstGeom>
        </p:spPr>
      </p:pic>
    </p:spTree>
    <p:extLst>
      <p:ext uri="{BB962C8B-B14F-4D97-AF65-F5344CB8AC3E}">
        <p14:creationId xmlns:p14="http://schemas.microsoft.com/office/powerpoint/2010/main" val="21936708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solidFill>
            <a:schemeClr val="bg1"/>
          </a:solidFill>
        </p:spPr>
        <p:txBody>
          <a:bodyPr/>
          <a:lstStyle/>
          <a:p>
            <a:r>
              <a:rPr lang="en-US" sz="3600">
                <a:solidFill>
                  <a:schemeClr val="tx1"/>
                </a:solidFill>
              </a:rPr>
              <a:t>Mobile Report Layout</a:t>
            </a:r>
          </a:p>
        </p:txBody>
      </p:sp>
      <p:grpSp>
        <p:nvGrpSpPr>
          <p:cNvPr id="52" name="Group 51"/>
          <p:cNvGrpSpPr/>
          <p:nvPr/>
        </p:nvGrpSpPr>
        <p:grpSpPr>
          <a:xfrm>
            <a:off x="2" y="1"/>
            <a:ext cx="2849058" cy="6858000"/>
            <a:chOff x="2" y="1"/>
            <a:chExt cx="2849058" cy="6858000"/>
          </a:xfrm>
        </p:grpSpPr>
        <p:sp>
          <p:nvSpPr>
            <p:cNvPr id="71" name="Rectangle 70"/>
            <p:cNvSpPr/>
            <p:nvPr/>
          </p:nvSpPr>
          <p:spPr bwMode="auto">
            <a:xfrm>
              <a:off x="2" y="1"/>
              <a:ext cx="2849058"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3" name="Oval 70"/>
            <p:cNvSpPr/>
            <p:nvPr/>
          </p:nvSpPr>
          <p:spPr>
            <a:xfrm>
              <a:off x="1413521" y="4951537"/>
              <a:ext cx="1119626" cy="1119626"/>
            </a:xfrm>
            <a:prstGeom prst="ellipse">
              <a:avLst/>
            </a:prstGeom>
            <a:solidFill>
              <a:srgbClr val="F2C812"/>
            </a:solidFill>
            <a:ln w="3175" cap="flat" cmpd="sng" algn="ctr">
              <a:noFill/>
              <a:prstDash val="solid"/>
            </a:ln>
            <a:effectLst/>
          </p:spPr>
          <p:txBody>
            <a:bodyPr vert="horz" wrap="none" lIns="0" tIns="45720" rIns="0" bIns="0" rtlCol="0" anchor="t"/>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Segoe UI"/>
                  <a:ea typeface="Segoe UI" pitchFamily="34" charset="0"/>
                  <a:cs typeface="Segoe UI" pitchFamily="34" charset="0"/>
                </a:rPr>
                <a:t>Share &amp;</a:t>
              </a:r>
            </a:p>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Segoe UI"/>
                  <a:ea typeface="Segoe UI" pitchFamily="34" charset="0"/>
                  <a:cs typeface="Segoe UI" pitchFamily="34" charset="0"/>
                </a:rPr>
                <a:t>collaborate </a:t>
              </a:r>
            </a:p>
          </p:txBody>
        </p:sp>
        <p:grpSp>
          <p:nvGrpSpPr>
            <p:cNvPr id="76" name="Group 38"/>
            <p:cNvGrpSpPr>
              <a:grpSpLocks noChangeAspect="1"/>
            </p:cNvGrpSpPr>
            <p:nvPr/>
          </p:nvGrpSpPr>
          <p:grpSpPr>
            <a:xfrm>
              <a:off x="676996" y="3930692"/>
              <a:ext cx="383905" cy="351536"/>
              <a:chOff x="4363684" y="5330386"/>
              <a:chExt cx="1409956" cy="1291077"/>
            </a:xfrm>
            <a:solidFill>
              <a:srgbClr val="217346"/>
            </a:solidFill>
          </p:grpSpPr>
          <p:sp>
            <p:nvSpPr>
              <p:cNvPr id="102" name="Donut 3"/>
              <p:cNvSpPr/>
              <p:nvPr/>
            </p:nvSpPr>
            <p:spPr bwMode="auto">
              <a:xfrm>
                <a:off x="4363684" y="5330386"/>
                <a:ext cx="1409956" cy="1291077"/>
              </a:xfrm>
              <a:custGeom>
                <a:avLst/>
                <a:gdLst/>
                <a:ahLst/>
                <a:cxnLst/>
                <a:rect l="l" t="t" r="r" b="b"/>
                <a:pathLst>
                  <a:path w="1409956" h="1291077">
                    <a:moveTo>
                      <a:pt x="956401" y="78410"/>
                    </a:moveTo>
                    <a:cubicBezTo>
                      <a:pt x="747518" y="78410"/>
                      <a:pt x="578184" y="247744"/>
                      <a:pt x="578184" y="456627"/>
                    </a:cubicBezTo>
                    <a:cubicBezTo>
                      <a:pt x="578184" y="665510"/>
                      <a:pt x="747518" y="834844"/>
                      <a:pt x="956401" y="834844"/>
                    </a:cubicBezTo>
                    <a:cubicBezTo>
                      <a:pt x="1165284" y="834844"/>
                      <a:pt x="1334618" y="665510"/>
                      <a:pt x="1334618" y="456627"/>
                    </a:cubicBezTo>
                    <a:cubicBezTo>
                      <a:pt x="1334618" y="247744"/>
                      <a:pt x="1165284" y="78410"/>
                      <a:pt x="956401" y="78410"/>
                    </a:cubicBezTo>
                    <a:close/>
                    <a:moveTo>
                      <a:pt x="952756" y="0"/>
                    </a:moveTo>
                    <a:cubicBezTo>
                      <a:pt x="1205261" y="0"/>
                      <a:pt x="1409956" y="204695"/>
                      <a:pt x="1409956" y="457200"/>
                    </a:cubicBezTo>
                    <a:cubicBezTo>
                      <a:pt x="1409956" y="709705"/>
                      <a:pt x="1205261" y="914400"/>
                      <a:pt x="952756" y="914400"/>
                    </a:cubicBezTo>
                    <a:cubicBezTo>
                      <a:pt x="862133" y="914400"/>
                      <a:pt x="777669" y="888034"/>
                      <a:pt x="707132" y="841746"/>
                    </a:cubicBezTo>
                    <a:lnTo>
                      <a:pt x="136495" y="1280102"/>
                    </a:lnTo>
                    <a:cubicBezTo>
                      <a:pt x="21896" y="1327168"/>
                      <a:pt x="-44029" y="1213730"/>
                      <a:pt x="33797" y="1113182"/>
                    </a:cubicBezTo>
                    <a:lnTo>
                      <a:pt x="568587" y="703518"/>
                    </a:lnTo>
                    <a:cubicBezTo>
                      <a:pt x="522087" y="632814"/>
                      <a:pt x="495556" y="548105"/>
                      <a:pt x="495556" y="457200"/>
                    </a:cubicBezTo>
                    <a:cubicBezTo>
                      <a:pt x="495556" y="204695"/>
                      <a:pt x="700251" y="0"/>
                      <a:pt x="952756" y="0"/>
                    </a:cubicBezTo>
                    <a:close/>
                  </a:path>
                </a:pathLst>
              </a:custGeom>
              <a:grpFill/>
              <a:ln>
                <a:solidFill>
                  <a:srgbClr val="21734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sp>
            <p:nvSpPr>
              <p:cNvPr id="103" name="Rectangle 4"/>
              <p:cNvSpPr/>
              <p:nvPr/>
            </p:nvSpPr>
            <p:spPr>
              <a:xfrm>
                <a:off x="5058389" y="5528247"/>
                <a:ext cx="490885" cy="490020"/>
              </a:xfrm>
              <a:custGeom>
                <a:avLst/>
                <a:gdLst/>
                <a:ahLst/>
                <a:cxnLst/>
                <a:rect l="l" t="t" r="r" b="b"/>
                <a:pathLst>
                  <a:path w="490885" h="490020">
                    <a:moveTo>
                      <a:pt x="240752" y="0"/>
                    </a:moveTo>
                    <a:cubicBezTo>
                      <a:pt x="253961" y="11844"/>
                      <a:pt x="293310" y="49692"/>
                      <a:pt x="337332" y="92439"/>
                    </a:cubicBezTo>
                    <a:lnTo>
                      <a:pt x="328342" y="81259"/>
                    </a:lnTo>
                    <a:cubicBezTo>
                      <a:pt x="356946" y="111282"/>
                      <a:pt x="377251" y="107167"/>
                      <a:pt x="382515" y="87941"/>
                    </a:cubicBezTo>
                    <a:cubicBezTo>
                      <a:pt x="383951" y="76921"/>
                      <a:pt x="384595" y="68732"/>
                      <a:pt x="396997" y="52239"/>
                    </a:cubicBezTo>
                    <a:cubicBezTo>
                      <a:pt x="420362" y="32084"/>
                      <a:pt x="442294" y="41736"/>
                      <a:pt x="454920" y="51330"/>
                    </a:cubicBezTo>
                    <a:cubicBezTo>
                      <a:pt x="467834" y="62761"/>
                      <a:pt x="477920" y="86882"/>
                      <a:pt x="460392" y="109714"/>
                    </a:cubicBezTo>
                    <a:cubicBezTo>
                      <a:pt x="451128" y="121912"/>
                      <a:pt x="437554" y="126838"/>
                      <a:pt x="425922" y="126505"/>
                    </a:cubicBezTo>
                    <a:cubicBezTo>
                      <a:pt x="424301" y="127609"/>
                      <a:pt x="382890" y="134974"/>
                      <a:pt x="427348" y="177672"/>
                    </a:cubicBezTo>
                    <a:lnTo>
                      <a:pt x="416886" y="169735"/>
                    </a:lnTo>
                    <a:cubicBezTo>
                      <a:pt x="450207" y="202177"/>
                      <a:pt x="478424" y="229744"/>
                      <a:pt x="490885" y="241900"/>
                    </a:cubicBezTo>
                    <a:lnTo>
                      <a:pt x="417150" y="317347"/>
                    </a:lnTo>
                    <a:cubicBezTo>
                      <a:pt x="417744" y="316535"/>
                      <a:pt x="418443" y="316123"/>
                      <a:pt x="419047" y="315822"/>
                    </a:cubicBezTo>
                    <a:cubicBezTo>
                      <a:pt x="389023" y="344426"/>
                      <a:pt x="393138" y="364731"/>
                      <a:pt x="412364" y="369995"/>
                    </a:cubicBezTo>
                    <a:cubicBezTo>
                      <a:pt x="423384" y="371431"/>
                      <a:pt x="431574" y="372075"/>
                      <a:pt x="448067" y="384477"/>
                    </a:cubicBezTo>
                    <a:cubicBezTo>
                      <a:pt x="468221" y="407842"/>
                      <a:pt x="458569" y="429774"/>
                      <a:pt x="448975" y="442400"/>
                    </a:cubicBezTo>
                    <a:cubicBezTo>
                      <a:pt x="437545" y="455314"/>
                      <a:pt x="413423" y="465400"/>
                      <a:pt x="390591" y="447872"/>
                    </a:cubicBezTo>
                    <a:cubicBezTo>
                      <a:pt x="378394" y="438608"/>
                      <a:pt x="373468" y="425034"/>
                      <a:pt x="373800" y="413402"/>
                    </a:cubicBezTo>
                    <a:cubicBezTo>
                      <a:pt x="372696" y="411781"/>
                      <a:pt x="365332" y="370370"/>
                      <a:pt x="322634" y="414828"/>
                    </a:cubicBezTo>
                    <a:lnTo>
                      <a:pt x="325243" y="411388"/>
                    </a:lnTo>
                    <a:lnTo>
                      <a:pt x="248395" y="490020"/>
                    </a:lnTo>
                    <a:cubicBezTo>
                      <a:pt x="208939" y="451897"/>
                      <a:pt x="199129" y="442073"/>
                      <a:pt x="174192" y="418236"/>
                    </a:cubicBezTo>
                    <a:cubicBezTo>
                      <a:pt x="145587" y="388212"/>
                      <a:pt x="125282" y="392327"/>
                      <a:pt x="120018" y="411553"/>
                    </a:cubicBezTo>
                    <a:cubicBezTo>
                      <a:pt x="118582" y="422573"/>
                      <a:pt x="117938" y="430763"/>
                      <a:pt x="105536" y="447256"/>
                    </a:cubicBezTo>
                    <a:cubicBezTo>
                      <a:pt x="82171" y="467410"/>
                      <a:pt x="60239" y="457758"/>
                      <a:pt x="47614" y="448164"/>
                    </a:cubicBezTo>
                    <a:cubicBezTo>
                      <a:pt x="34699" y="436734"/>
                      <a:pt x="24614" y="412612"/>
                      <a:pt x="42141" y="389780"/>
                    </a:cubicBezTo>
                    <a:cubicBezTo>
                      <a:pt x="51405" y="377583"/>
                      <a:pt x="64979" y="372657"/>
                      <a:pt x="76612" y="372989"/>
                    </a:cubicBezTo>
                    <a:cubicBezTo>
                      <a:pt x="78232" y="371886"/>
                      <a:pt x="119644" y="364521"/>
                      <a:pt x="75186" y="321823"/>
                    </a:cubicBezTo>
                    <a:cubicBezTo>
                      <a:pt x="58767" y="305402"/>
                      <a:pt x="23648" y="271235"/>
                      <a:pt x="0" y="248738"/>
                    </a:cubicBezTo>
                    <a:lnTo>
                      <a:pt x="77303" y="168146"/>
                    </a:lnTo>
                    <a:cubicBezTo>
                      <a:pt x="104269" y="140313"/>
                      <a:pt x="122130" y="156409"/>
                      <a:pt x="124388" y="175543"/>
                    </a:cubicBezTo>
                    <a:cubicBezTo>
                      <a:pt x="124457" y="182466"/>
                      <a:pt x="127106" y="193106"/>
                      <a:pt x="137575" y="203052"/>
                    </a:cubicBezTo>
                    <a:cubicBezTo>
                      <a:pt x="153931" y="220277"/>
                      <a:pt x="181252" y="217451"/>
                      <a:pt x="196721" y="201951"/>
                    </a:cubicBezTo>
                    <a:cubicBezTo>
                      <a:pt x="211961" y="185740"/>
                      <a:pt x="213057" y="157882"/>
                      <a:pt x="196146" y="142797"/>
                    </a:cubicBezTo>
                    <a:cubicBezTo>
                      <a:pt x="184301" y="132637"/>
                      <a:pt x="177155" y="131453"/>
                      <a:pt x="166513" y="129894"/>
                    </a:cubicBezTo>
                    <a:cubicBezTo>
                      <a:pt x="154522" y="129013"/>
                      <a:pt x="131185" y="112953"/>
                      <a:pt x="157905" y="85228"/>
                    </a:cubicBezTo>
                    <a:close/>
                  </a:path>
                </a:pathLst>
              </a:custGeom>
              <a:grpFill/>
              <a:ln>
                <a:solidFill>
                  <a:srgbClr val="21734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grpSp>
        <p:sp>
          <p:nvSpPr>
            <p:cNvPr id="77" name="Oval 47"/>
            <p:cNvSpPr/>
            <p:nvPr/>
          </p:nvSpPr>
          <p:spPr>
            <a:xfrm>
              <a:off x="388608" y="3710471"/>
              <a:ext cx="1119626" cy="1119626"/>
            </a:xfrm>
            <a:prstGeom prst="ellipse">
              <a:avLst/>
            </a:prstGeom>
            <a:solidFill>
              <a:srgbClr val="F2C812"/>
            </a:solidFill>
            <a:ln w="3175" cap="flat" cmpd="sng" algn="ctr">
              <a:noFill/>
              <a:prstDash val="solid"/>
            </a:ln>
            <a:effectLst/>
          </p:spPr>
          <p:txBody>
            <a:bodyPr vert="horz" wrap="none" lIns="0" tIns="45720" rIns="0" bIns="0" rtlCol="0" anchor="t"/>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Segoe UI"/>
                  <a:ea typeface="Segoe UI" pitchFamily="34" charset="0"/>
                  <a:cs typeface="Segoe UI" pitchFamily="34" charset="0"/>
                </a:rPr>
                <a:t>Report</a:t>
              </a:r>
            </a:p>
          </p:txBody>
        </p:sp>
        <p:sp>
          <p:nvSpPr>
            <p:cNvPr id="78" name="Oval 950"/>
            <p:cNvSpPr/>
            <p:nvPr/>
          </p:nvSpPr>
          <p:spPr>
            <a:xfrm>
              <a:off x="388608" y="1252295"/>
              <a:ext cx="1119626" cy="1119626"/>
            </a:xfrm>
            <a:prstGeom prst="ellipse">
              <a:avLst/>
            </a:prstGeom>
            <a:solidFill>
              <a:srgbClr val="F2C812"/>
            </a:solidFill>
            <a:ln w="3175" cap="flat" cmpd="sng" algn="ctr">
              <a:noFill/>
              <a:prstDash val="solid"/>
            </a:ln>
            <a:effectLst/>
          </p:spPr>
          <p:txBody>
            <a:bodyPr vert="horz" wrap="none" lIns="0" tIns="45720" rIns="0" bIns="0" rtlCol="0" anchor="t"/>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1" i="0" u="none" strike="noStrike" kern="1200" cap="none" spc="0" normalizeH="0" baseline="0" noProof="0">
                <a:ln>
                  <a:noFill/>
                </a:ln>
                <a:solidFill>
                  <a:srgbClr val="217346"/>
                </a:solidFill>
                <a:effectLst/>
                <a:uLnTx/>
                <a:uFillTx/>
                <a:latin typeface="Segoe UI"/>
                <a:ea typeface="Segoe UI" pitchFamily="34" charset="0"/>
                <a:cs typeface="Segoe UI" pitchFamily="34" charset="0"/>
              </a:endParaRPr>
            </a:p>
          </p:txBody>
        </p:sp>
        <p:grpSp>
          <p:nvGrpSpPr>
            <p:cNvPr id="79" name="Group 78"/>
            <p:cNvGrpSpPr/>
            <p:nvPr/>
          </p:nvGrpSpPr>
          <p:grpSpPr>
            <a:xfrm>
              <a:off x="1264851" y="3482890"/>
              <a:ext cx="292254" cy="354906"/>
              <a:chOff x="1296521" y="3253388"/>
              <a:chExt cx="292254" cy="354906"/>
            </a:xfrm>
            <a:solidFill>
              <a:srgbClr val="F2C812"/>
            </a:solidFill>
          </p:grpSpPr>
          <p:sp>
            <p:nvSpPr>
              <p:cNvPr id="99" name="Isosceles Triangle 98"/>
              <p:cNvSpPr/>
              <p:nvPr/>
            </p:nvSpPr>
            <p:spPr bwMode="auto">
              <a:xfrm rot="13636515">
                <a:off x="1461362" y="328936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0" name="Isosceles Triangle 99"/>
              <p:cNvSpPr/>
              <p:nvPr/>
            </p:nvSpPr>
            <p:spPr bwMode="auto">
              <a:xfrm rot="13636515">
                <a:off x="1357669" y="338258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1" name="Isosceles Triangle 100"/>
              <p:cNvSpPr/>
              <p:nvPr/>
            </p:nvSpPr>
            <p:spPr bwMode="auto">
              <a:xfrm rot="13636515">
                <a:off x="1260548" y="3480882"/>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80" name="Group 79"/>
            <p:cNvGrpSpPr/>
            <p:nvPr/>
          </p:nvGrpSpPr>
          <p:grpSpPr>
            <a:xfrm rot="15940603">
              <a:off x="1334576" y="2204404"/>
              <a:ext cx="292254" cy="354906"/>
              <a:chOff x="1296521" y="3253388"/>
              <a:chExt cx="292254" cy="354906"/>
            </a:xfrm>
            <a:solidFill>
              <a:srgbClr val="F2C812"/>
            </a:solidFill>
          </p:grpSpPr>
          <p:sp>
            <p:nvSpPr>
              <p:cNvPr id="96" name="Isosceles Triangle 95"/>
              <p:cNvSpPr/>
              <p:nvPr/>
            </p:nvSpPr>
            <p:spPr bwMode="auto">
              <a:xfrm rot="13636515">
                <a:off x="1461362" y="328936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7" name="Isosceles Triangle 96"/>
              <p:cNvSpPr/>
              <p:nvPr/>
            </p:nvSpPr>
            <p:spPr bwMode="auto">
              <a:xfrm rot="13636515">
                <a:off x="1357669" y="338258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8" name="Isosceles Triangle 97"/>
              <p:cNvSpPr/>
              <p:nvPr/>
            </p:nvSpPr>
            <p:spPr bwMode="auto">
              <a:xfrm rot="13636515">
                <a:off x="1260548" y="3480882"/>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81" name="Group 80"/>
            <p:cNvGrpSpPr/>
            <p:nvPr/>
          </p:nvGrpSpPr>
          <p:grpSpPr>
            <a:xfrm rot="16043978">
              <a:off x="1317220" y="4717577"/>
              <a:ext cx="292254" cy="354906"/>
              <a:chOff x="1296521" y="3253388"/>
              <a:chExt cx="292254" cy="354906"/>
            </a:xfrm>
            <a:solidFill>
              <a:srgbClr val="F2C812"/>
            </a:solidFill>
          </p:grpSpPr>
          <p:sp>
            <p:nvSpPr>
              <p:cNvPr id="93" name="Isosceles Triangle 92"/>
              <p:cNvSpPr/>
              <p:nvPr/>
            </p:nvSpPr>
            <p:spPr bwMode="auto">
              <a:xfrm rot="13636515">
                <a:off x="1461362" y="328936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4" name="Isosceles Triangle 93"/>
              <p:cNvSpPr/>
              <p:nvPr/>
            </p:nvSpPr>
            <p:spPr bwMode="auto">
              <a:xfrm rot="13636515">
                <a:off x="1357669" y="338258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5" name="Isosceles Triangle 94"/>
              <p:cNvSpPr/>
              <p:nvPr/>
            </p:nvSpPr>
            <p:spPr bwMode="auto">
              <a:xfrm rot="13636515">
                <a:off x="1260548" y="3480882"/>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82" name="Oval 36"/>
            <p:cNvSpPr/>
            <p:nvPr/>
          </p:nvSpPr>
          <p:spPr>
            <a:xfrm>
              <a:off x="1413521" y="2481383"/>
              <a:ext cx="1119626" cy="1119626"/>
            </a:xfrm>
            <a:prstGeom prst="ellipse">
              <a:avLst/>
            </a:prstGeom>
            <a:solidFill>
              <a:srgbClr val="F2C812"/>
            </a:solidFill>
            <a:ln w="3175" cap="flat" cmpd="sng" algn="ctr">
              <a:noFill/>
              <a:prstDash val="solid"/>
            </a:ln>
            <a:effectLst/>
          </p:spPr>
          <p:txBody>
            <a:bodyPr vert="horz" wrap="none" lIns="0" tIns="0" rIns="0" bIns="0" rtlCol="0" anchor="t"/>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400" b="1" i="0" u="none" strike="noStrike" kern="1200" cap="none" spc="0" normalizeH="0" baseline="0" noProof="0">
                <a:ln>
                  <a:noFill/>
                </a:ln>
                <a:solidFill>
                  <a:srgbClr val="217346"/>
                </a:solidFill>
                <a:effectLst/>
                <a:uLnTx/>
                <a:uFillTx/>
                <a:latin typeface="Segoe UI"/>
                <a:ea typeface="Segoe UI" pitchFamily="34" charset="0"/>
                <a:cs typeface="Segoe UI" pitchFamily="34" charset="0"/>
              </a:endParaRPr>
            </a:p>
          </p:txBody>
        </p:sp>
        <p:sp>
          <p:nvSpPr>
            <p:cNvPr id="83" name="Donut 3"/>
            <p:cNvSpPr/>
            <p:nvPr/>
          </p:nvSpPr>
          <p:spPr bwMode="auto">
            <a:xfrm>
              <a:off x="1742065" y="3002355"/>
              <a:ext cx="383905" cy="351537"/>
            </a:xfrm>
            <a:custGeom>
              <a:avLst/>
              <a:gdLst/>
              <a:ahLst/>
              <a:cxnLst/>
              <a:rect l="l" t="t" r="r" b="b"/>
              <a:pathLst>
                <a:path w="1409956" h="1291077">
                  <a:moveTo>
                    <a:pt x="956401" y="78410"/>
                  </a:moveTo>
                  <a:cubicBezTo>
                    <a:pt x="747518" y="78410"/>
                    <a:pt x="578184" y="247744"/>
                    <a:pt x="578184" y="456627"/>
                  </a:cubicBezTo>
                  <a:cubicBezTo>
                    <a:pt x="578184" y="665510"/>
                    <a:pt x="747518" y="834844"/>
                    <a:pt x="956401" y="834844"/>
                  </a:cubicBezTo>
                  <a:cubicBezTo>
                    <a:pt x="1165284" y="834844"/>
                    <a:pt x="1334618" y="665510"/>
                    <a:pt x="1334618" y="456627"/>
                  </a:cubicBezTo>
                  <a:cubicBezTo>
                    <a:pt x="1334618" y="247744"/>
                    <a:pt x="1165284" y="78410"/>
                    <a:pt x="956401" y="78410"/>
                  </a:cubicBezTo>
                  <a:close/>
                  <a:moveTo>
                    <a:pt x="952756" y="0"/>
                  </a:moveTo>
                  <a:cubicBezTo>
                    <a:pt x="1205261" y="0"/>
                    <a:pt x="1409956" y="204695"/>
                    <a:pt x="1409956" y="457200"/>
                  </a:cubicBezTo>
                  <a:cubicBezTo>
                    <a:pt x="1409956" y="709705"/>
                    <a:pt x="1205261" y="914400"/>
                    <a:pt x="952756" y="914400"/>
                  </a:cubicBezTo>
                  <a:cubicBezTo>
                    <a:pt x="862133" y="914400"/>
                    <a:pt x="777669" y="888034"/>
                    <a:pt x="707132" y="841746"/>
                  </a:cubicBezTo>
                  <a:lnTo>
                    <a:pt x="136495" y="1280102"/>
                  </a:lnTo>
                  <a:cubicBezTo>
                    <a:pt x="21896" y="1327168"/>
                    <a:pt x="-44029" y="1213730"/>
                    <a:pt x="33797" y="1113182"/>
                  </a:cubicBezTo>
                  <a:lnTo>
                    <a:pt x="568587" y="703518"/>
                  </a:lnTo>
                  <a:cubicBezTo>
                    <a:pt x="522087" y="632814"/>
                    <a:pt x="495556" y="548105"/>
                    <a:pt x="495556" y="457200"/>
                  </a:cubicBezTo>
                  <a:cubicBezTo>
                    <a:pt x="495556" y="204695"/>
                    <a:pt x="700251" y="0"/>
                    <a:pt x="952756" y="0"/>
                  </a:cubicBezTo>
                  <a:close/>
                </a:path>
              </a:pathLst>
            </a:cu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sp>
          <p:nvSpPr>
            <p:cNvPr id="84" name="Rectangle 83"/>
            <p:cNvSpPr/>
            <p:nvPr/>
          </p:nvSpPr>
          <p:spPr>
            <a:xfrm>
              <a:off x="1600398" y="2677430"/>
              <a:ext cx="820353" cy="307777"/>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Segoe UI"/>
                  <a:ea typeface="Segoe UI" pitchFamily="34" charset="0"/>
                  <a:cs typeface="Segoe UI" pitchFamily="34" charset="0"/>
                </a:rPr>
                <a:t>Explore</a:t>
              </a:r>
              <a:endParaRPr kumimoji="0" lang="en-US" sz="1600" b="0" i="0" u="none" strike="noStrike" kern="1200" cap="none" spc="0" normalizeH="0" baseline="0" noProof="0">
                <a:ln>
                  <a:noFill/>
                </a:ln>
                <a:solidFill>
                  <a:srgbClr val="000000"/>
                </a:solidFill>
                <a:effectLst/>
                <a:uLnTx/>
                <a:uFillTx/>
                <a:latin typeface="Segoe UI"/>
                <a:ea typeface="+mn-ea"/>
                <a:cs typeface="+mn-cs"/>
              </a:endParaRPr>
            </a:p>
          </p:txBody>
        </p:sp>
        <p:sp>
          <p:nvSpPr>
            <p:cNvPr id="85" name="Rectangle 84"/>
            <p:cNvSpPr/>
            <p:nvPr/>
          </p:nvSpPr>
          <p:spPr>
            <a:xfrm>
              <a:off x="509174" y="1475232"/>
              <a:ext cx="838756" cy="307777"/>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Segoe UI"/>
                  <a:ea typeface="Segoe UI" pitchFamily="34" charset="0"/>
                  <a:cs typeface="Segoe UI" pitchFamily="34" charset="0"/>
                </a:rPr>
                <a:t>Prepare</a:t>
              </a: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86" name="Freeform 85"/>
            <p:cNvSpPr>
              <a:spLocks noChangeAspect="1"/>
            </p:cNvSpPr>
            <p:nvPr/>
          </p:nvSpPr>
          <p:spPr bwMode="black">
            <a:xfrm>
              <a:off x="1836174" y="5643069"/>
              <a:ext cx="274320" cy="284173"/>
            </a:xfrm>
            <a:custGeom>
              <a:avLst/>
              <a:gdLst>
                <a:gd name="T0" fmla="*/ 539 w 669"/>
                <a:gd name="T1" fmla="*/ 5 h 693"/>
                <a:gd name="T2" fmla="*/ 640 w 669"/>
                <a:gd name="T3" fmla="*/ 55 h 693"/>
                <a:gd name="T4" fmla="*/ 603 w 669"/>
                <a:gd name="T5" fmla="*/ 195 h 693"/>
                <a:gd name="T6" fmla="*/ 490 w 669"/>
                <a:gd name="T7" fmla="*/ 188 h 693"/>
                <a:gd name="T8" fmla="*/ 479 w 669"/>
                <a:gd name="T9" fmla="*/ 176 h 693"/>
                <a:gd name="T10" fmla="*/ 213 w 669"/>
                <a:gd name="T11" fmla="*/ 330 h 693"/>
                <a:gd name="T12" fmla="*/ 218 w 669"/>
                <a:gd name="T13" fmla="*/ 345 h 693"/>
                <a:gd name="T14" fmla="*/ 218 w 669"/>
                <a:gd name="T15" fmla="*/ 375 h 693"/>
                <a:gd name="T16" fmla="*/ 209 w 669"/>
                <a:gd name="T17" fmla="*/ 402 h 693"/>
                <a:gd name="T18" fmla="*/ 369 w 669"/>
                <a:gd name="T19" fmla="*/ 503 h 693"/>
                <a:gd name="T20" fmla="*/ 373 w 669"/>
                <a:gd name="T21" fmla="*/ 498 h 693"/>
                <a:gd name="T22" fmla="*/ 456 w 669"/>
                <a:gd name="T23" fmla="*/ 475 h 693"/>
                <a:gd name="T24" fmla="*/ 494 w 669"/>
                <a:gd name="T25" fmla="*/ 489 h 693"/>
                <a:gd name="T26" fmla="*/ 527 w 669"/>
                <a:gd name="T27" fmla="*/ 630 h 693"/>
                <a:gd name="T28" fmla="*/ 386 w 669"/>
                <a:gd name="T29" fmla="*/ 663 h 693"/>
                <a:gd name="T30" fmla="*/ 339 w 669"/>
                <a:gd name="T31" fmla="*/ 560 h 693"/>
                <a:gd name="T32" fmla="*/ 345 w 669"/>
                <a:gd name="T33" fmla="*/ 544 h 693"/>
                <a:gd name="T34" fmla="*/ 177 w 669"/>
                <a:gd name="T35" fmla="*/ 439 h 693"/>
                <a:gd name="T36" fmla="*/ 168 w 669"/>
                <a:gd name="T37" fmla="*/ 446 h 693"/>
                <a:gd name="T38" fmla="*/ 28 w 669"/>
                <a:gd name="T39" fmla="*/ 409 h 693"/>
                <a:gd name="T40" fmla="*/ 65 w 669"/>
                <a:gd name="T41" fmla="*/ 269 h 693"/>
                <a:gd name="T42" fmla="*/ 178 w 669"/>
                <a:gd name="T43" fmla="*/ 276 h 693"/>
                <a:gd name="T44" fmla="*/ 189 w 669"/>
                <a:gd name="T45" fmla="*/ 288 h 693"/>
                <a:gd name="T46" fmla="*/ 455 w 669"/>
                <a:gd name="T47" fmla="*/ 134 h 693"/>
                <a:gd name="T48" fmla="*/ 450 w 669"/>
                <a:gd name="T49" fmla="*/ 119 h 693"/>
                <a:gd name="T50" fmla="*/ 501 w 669"/>
                <a:gd name="T51" fmla="*/ 18 h 693"/>
                <a:gd name="T52" fmla="*/ 539 w 669"/>
                <a:gd name="T53" fmla="*/ 5 h 6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69" h="693">
                  <a:moveTo>
                    <a:pt x="539" y="5"/>
                  </a:moveTo>
                  <a:cubicBezTo>
                    <a:pt x="579" y="0"/>
                    <a:pt x="619" y="19"/>
                    <a:pt x="640" y="55"/>
                  </a:cubicBezTo>
                  <a:cubicBezTo>
                    <a:pt x="669" y="104"/>
                    <a:pt x="652" y="167"/>
                    <a:pt x="603" y="195"/>
                  </a:cubicBezTo>
                  <a:cubicBezTo>
                    <a:pt x="566" y="216"/>
                    <a:pt x="522" y="212"/>
                    <a:pt x="490" y="188"/>
                  </a:cubicBezTo>
                  <a:cubicBezTo>
                    <a:pt x="479" y="176"/>
                    <a:pt x="479" y="176"/>
                    <a:pt x="479" y="176"/>
                  </a:cubicBezTo>
                  <a:cubicBezTo>
                    <a:pt x="213" y="330"/>
                    <a:pt x="213" y="330"/>
                    <a:pt x="213" y="330"/>
                  </a:cubicBezTo>
                  <a:cubicBezTo>
                    <a:pt x="218" y="345"/>
                    <a:pt x="218" y="345"/>
                    <a:pt x="218" y="345"/>
                  </a:cubicBezTo>
                  <a:cubicBezTo>
                    <a:pt x="219" y="355"/>
                    <a:pt x="219" y="365"/>
                    <a:pt x="218" y="375"/>
                  </a:cubicBezTo>
                  <a:cubicBezTo>
                    <a:pt x="209" y="402"/>
                    <a:pt x="209" y="402"/>
                    <a:pt x="209" y="402"/>
                  </a:cubicBezTo>
                  <a:cubicBezTo>
                    <a:pt x="369" y="503"/>
                    <a:pt x="369" y="503"/>
                    <a:pt x="369" y="503"/>
                  </a:cubicBezTo>
                  <a:cubicBezTo>
                    <a:pt x="373" y="498"/>
                    <a:pt x="373" y="498"/>
                    <a:pt x="373" y="498"/>
                  </a:cubicBezTo>
                  <a:cubicBezTo>
                    <a:pt x="396" y="479"/>
                    <a:pt x="427" y="470"/>
                    <a:pt x="456" y="475"/>
                  </a:cubicBezTo>
                  <a:cubicBezTo>
                    <a:pt x="470" y="477"/>
                    <a:pt x="482" y="482"/>
                    <a:pt x="494" y="489"/>
                  </a:cubicBezTo>
                  <a:cubicBezTo>
                    <a:pt x="542" y="519"/>
                    <a:pt x="557" y="583"/>
                    <a:pt x="527" y="630"/>
                  </a:cubicBezTo>
                  <a:cubicBezTo>
                    <a:pt x="497" y="678"/>
                    <a:pt x="433" y="693"/>
                    <a:pt x="386" y="663"/>
                  </a:cubicBezTo>
                  <a:cubicBezTo>
                    <a:pt x="350" y="640"/>
                    <a:pt x="333" y="599"/>
                    <a:pt x="339" y="560"/>
                  </a:cubicBezTo>
                  <a:cubicBezTo>
                    <a:pt x="345" y="544"/>
                    <a:pt x="345" y="544"/>
                    <a:pt x="345" y="544"/>
                  </a:cubicBezTo>
                  <a:cubicBezTo>
                    <a:pt x="177" y="439"/>
                    <a:pt x="177" y="439"/>
                    <a:pt x="177" y="439"/>
                  </a:cubicBezTo>
                  <a:cubicBezTo>
                    <a:pt x="168" y="446"/>
                    <a:pt x="168" y="446"/>
                    <a:pt x="168" y="446"/>
                  </a:cubicBezTo>
                  <a:cubicBezTo>
                    <a:pt x="119" y="475"/>
                    <a:pt x="56" y="458"/>
                    <a:pt x="28" y="409"/>
                  </a:cubicBezTo>
                  <a:cubicBezTo>
                    <a:pt x="0" y="360"/>
                    <a:pt x="16" y="297"/>
                    <a:pt x="65" y="269"/>
                  </a:cubicBezTo>
                  <a:cubicBezTo>
                    <a:pt x="102" y="248"/>
                    <a:pt x="147" y="252"/>
                    <a:pt x="178" y="276"/>
                  </a:cubicBezTo>
                  <a:cubicBezTo>
                    <a:pt x="189" y="288"/>
                    <a:pt x="189" y="288"/>
                    <a:pt x="189" y="288"/>
                  </a:cubicBezTo>
                  <a:cubicBezTo>
                    <a:pt x="455" y="134"/>
                    <a:pt x="455" y="134"/>
                    <a:pt x="455" y="134"/>
                  </a:cubicBezTo>
                  <a:cubicBezTo>
                    <a:pt x="450" y="119"/>
                    <a:pt x="450" y="119"/>
                    <a:pt x="450" y="119"/>
                  </a:cubicBezTo>
                  <a:cubicBezTo>
                    <a:pt x="445" y="80"/>
                    <a:pt x="464" y="39"/>
                    <a:pt x="501" y="18"/>
                  </a:cubicBezTo>
                  <a:cubicBezTo>
                    <a:pt x="513" y="11"/>
                    <a:pt x="526" y="6"/>
                    <a:pt x="539" y="5"/>
                  </a:cubicBezTo>
                  <a:close/>
                </a:path>
              </a:pathLst>
            </a:custGeom>
            <a:solidFill>
              <a:schemeClr val="tx1"/>
            </a:solidFill>
            <a:ln>
              <a:noFill/>
            </a:ln>
          </p:spPr>
          <p:txBody>
            <a:bodyPr vert="horz" wrap="square" lIns="68574" tIns="34287" rIns="68574" bIns="34287"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0000"/>
                </a:solidFill>
                <a:effectLst/>
                <a:uLnTx/>
                <a:uFillTx/>
                <a:latin typeface="Segoe UI"/>
                <a:ea typeface="+mn-ea"/>
                <a:cs typeface="+mn-cs"/>
              </a:endParaRPr>
            </a:p>
          </p:txBody>
        </p:sp>
        <p:sp>
          <p:nvSpPr>
            <p:cNvPr id="87" name="Freeform 86"/>
            <p:cNvSpPr>
              <a:spLocks noChangeAspect="1" noEditPoints="1"/>
            </p:cNvSpPr>
            <p:nvPr/>
          </p:nvSpPr>
          <p:spPr bwMode="black">
            <a:xfrm>
              <a:off x="722320" y="1783009"/>
              <a:ext cx="452202" cy="366660"/>
            </a:xfrm>
            <a:custGeom>
              <a:avLst/>
              <a:gdLst>
                <a:gd name="T0" fmla="*/ 600 w 1107"/>
                <a:gd name="T1" fmla="*/ 625 h 897"/>
                <a:gd name="T2" fmla="*/ 649 w 1107"/>
                <a:gd name="T3" fmla="*/ 567 h 897"/>
                <a:gd name="T4" fmla="*/ 727 w 1107"/>
                <a:gd name="T5" fmla="*/ 482 h 897"/>
                <a:gd name="T6" fmla="*/ 601 w 1107"/>
                <a:gd name="T7" fmla="*/ 434 h 897"/>
                <a:gd name="T8" fmla="*/ 628 w 1107"/>
                <a:gd name="T9" fmla="*/ 305 h 897"/>
                <a:gd name="T10" fmla="*/ 547 w 1107"/>
                <a:gd name="T11" fmla="*/ 240 h 897"/>
                <a:gd name="T12" fmla="*/ 427 w 1107"/>
                <a:gd name="T13" fmla="*/ 287 h 897"/>
                <a:gd name="T14" fmla="*/ 368 w 1107"/>
                <a:gd name="T15" fmla="*/ 170 h 897"/>
                <a:gd name="T16" fmla="*/ 285 w 1107"/>
                <a:gd name="T17" fmla="*/ 263 h 897"/>
                <a:gd name="T18" fmla="*/ 241 w 1107"/>
                <a:gd name="T19" fmla="*/ 313 h 897"/>
                <a:gd name="T20" fmla="*/ 139 w 1107"/>
                <a:gd name="T21" fmla="*/ 281 h 897"/>
                <a:gd name="T22" fmla="*/ 79 w 1107"/>
                <a:gd name="T23" fmla="*/ 355 h 897"/>
                <a:gd name="T24" fmla="*/ 132 w 1107"/>
                <a:gd name="T25" fmla="*/ 446 h 897"/>
                <a:gd name="T26" fmla="*/ 83 w 1107"/>
                <a:gd name="T27" fmla="*/ 505 h 897"/>
                <a:gd name="T28" fmla="*/ 5 w 1107"/>
                <a:gd name="T29" fmla="*/ 590 h 897"/>
                <a:gd name="T30" fmla="*/ 132 w 1107"/>
                <a:gd name="T31" fmla="*/ 638 h 897"/>
                <a:gd name="T32" fmla="*/ 145 w 1107"/>
                <a:gd name="T33" fmla="*/ 669 h 897"/>
                <a:gd name="T34" fmla="*/ 110 w 1107"/>
                <a:gd name="T35" fmla="*/ 793 h 897"/>
                <a:gd name="T36" fmla="*/ 230 w 1107"/>
                <a:gd name="T37" fmla="*/ 781 h 897"/>
                <a:gd name="T38" fmla="*/ 306 w 1107"/>
                <a:gd name="T39" fmla="*/ 785 h 897"/>
                <a:gd name="T40" fmla="*/ 346 w 1107"/>
                <a:gd name="T41" fmla="*/ 878 h 897"/>
                <a:gd name="T42" fmla="*/ 440 w 1107"/>
                <a:gd name="T43" fmla="*/ 872 h 897"/>
                <a:gd name="T44" fmla="*/ 466 w 1107"/>
                <a:gd name="T45" fmla="*/ 764 h 897"/>
                <a:gd name="T46" fmla="*/ 539 w 1107"/>
                <a:gd name="T47" fmla="*/ 755 h 897"/>
                <a:gd name="T48" fmla="*/ 659 w 1107"/>
                <a:gd name="T49" fmla="*/ 743 h 897"/>
                <a:gd name="T50" fmla="*/ 263 w 1107"/>
                <a:gd name="T51" fmla="*/ 452 h 897"/>
                <a:gd name="T52" fmla="*/ 281 w 1107"/>
                <a:gd name="T53" fmla="*/ 633 h 897"/>
                <a:gd name="T54" fmla="*/ 1002 w 1107"/>
                <a:gd name="T55" fmla="*/ 332 h 897"/>
                <a:gd name="T56" fmla="*/ 1043 w 1107"/>
                <a:gd name="T57" fmla="*/ 304 h 897"/>
                <a:gd name="T58" fmla="*/ 1107 w 1107"/>
                <a:gd name="T59" fmla="*/ 266 h 897"/>
                <a:gd name="T60" fmla="*/ 1037 w 1107"/>
                <a:gd name="T61" fmla="*/ 213 h 897"/>
                <a:gd name="T62" fmla="*/ 1077 w 1107"/>
                <a:gd name="T63" fmla="*/ 138 h 897"/>
                <a:gd name="T64" fmla="*/ 1038 w 1107"/>
                <a:gd name="T65" fmla="*/ 83 h 897"/>
                <a:gd name="T66" fmla="*/ 956 w 1107"/>
                <a:gd name="T67" fmla="*/ 91 h 897"/>
                <a:gd name="T68" fmla="*/ 940 w 1107"/>
                <a:gd name="T69" fmla="*/ 7 h 897"/>
                <a:gd name="T70" fmla="*/ 872 w 1107"/>
                <a:gd name="T71" fmla="*/ 50 h 897"/>
                <a:gd name="T72" fmla="*/ 836 w 1107"/>
                <a:gd name="T73" fmla="*/ 74 h 897"/>
                <a:gd name="T74" fmla="*/ 778 w 1107"/>
                <a:gd name="T75" fmla="*/ 35 h 897"/>
                <a:gd name="T76" fmla="*/ 728 w 1107"/>
                <a:gd name="T77" fmla="*/ 70 h 897"/>
                <a:gd name="T78" fmla="*/ 744 w 1107"/>
                <a:gd name="T79" fmla="*/ 136 h 897"/>
                <a:gd name="T80" fmla="*/ 703 w 1107"/>
                <a:gd name="T81" fmla="*/ 164 h 897"/>
                <a:gd name="T82" fmla="*/ 640 w 1107"/>
                <a:gd name="T83" fmla="*/ 203 h 897"/>
                <a:gd name="T84" fmla="*/ 710 w 1107"/>
                <a:gd name="T85" fmla="*/ 255 h 897"/>
                <a:gd name="T86" fmla="*/ 712 w 1107"/>
                <a:gd name="T87" fmla="*/ 277 h 897"/>
                <a:gd name="T88" fmla="*/ 668 w 1107"/>
                <a:gd name="T89" fmla="*/ 347 h 897"/>
                <a:gd name="T90" fmla="*/ 745 w 1107"/>
                <a:gd name="T91" fmla="*/ 361 h 897"/>
                <a:gd name="T92" fmla="*/ 791 w 1107"/>
                <a:gd name="T93" fmla="*/ 377 h 897"/>
                <a:gd name="T94" fmla="*/ 799 w 1107"/>
                <a:gd name="T95" fmla="*/ 443 h 897"/>
                <a:gd name="T96" fmla="*/ 859 w 1107"/>
                <a:gd name="T97" fmla="*/ 456 h 897"/>
                <a:gd name="T98" fmla="*/ 894 w 1107"/>
                <a:gd name="T99" fmla="*/ 393 h 897"/>
                <a:gd name="T100" fmla="*/ 941 w 1107"/>
                <a:gd name="T101" fmla="*/ 401 h 897"/>
                <a:gd name="T102" fmla="*/ 1018 w 1107"/>
                <a:gd name="T103" fmla="*/ 415 h 897"/>
                <a:gd name="T104" fmla="*/ 825 w 1107"/>
                <a:gd name="T105" fmla="*/ 164 h 897"/>
                <a:gd name="T106" fmla="*/ 803 w 1107"/>
                <a:gd name="T107" fmla="*/ 279 h 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107" h="897">
                  <a:moveTo>
                    <a:pt x="654" y="716"/>
                  </a:moveTo>
                  <a:cubicBezTo>
                    <a:pt x="616" y="670"/>
                    <a:pt x="616" y="670"/>
                    <a:pt x="616" y="670"/>
                  </a:cubicBezTo>
                  <a:cubicBezTo>
                    <a:pt x="593" y="654"/>
                    <a:pt x="603" y="638"/>
                    <a:pt x="600" y="625"/>
                  </a:cubicBezTo>
                  <a:cubicBezTo>
                    <a:pt x="600" y="625"/>
                    <a:pt x="600" y="625"/>
                    <a:pt x="600" y="625"/>
                  </a:cubicBezTo>
                  <a:cubicBezTo>
                    <a:pt x="605" y="617"/>
                    <a:pt x="611" y="609"/>
                    <a:pt x="608" y="596"/>
                  </a:cubicBezTo>
                  <a:cubicBezTo>
                    <a:pt x="618" y="580"/>
                    <a:pt x="623" y="572"/>
                    <a:pt x="649" y="567"/>
                  </a:cubicBezTo>
                  <a:cubicBezTo>
                    <a:pt x="715" y="553"/>
                    <a:pt x="715" y="553"/>
                    <a:pt x="715" y="553"/>
                  </a:cubicBezTo>
                  <a:cubicBezTo>
                    <a:pt x="728" y="550"/>
                    <a:pt x="733" y="542"/>
                    <a:pt x="730" y="529"/>
                  </a:cubicBezTo>
                  <a:cubicBezTo>
                    <a:pt x="727" y="482"/>
                    <a:pt x="727" y="482"/>
                    <a:pt x="727" y="482"/>
                  </a:cubicBezTo>
                  <a:cubicBezTo>
                    <a:pt x="724" y="469"/>
                    <a:pt x="717" y="463"/>
                    <a:pt x="701" y="453"/>
                  </a:cubicBezTo>
                  <a:cubicBezTo>
                    <a:pt x="641" y="459"/>
                    <a:pt x="641" y="459"/>
                    <a:pt x="641" y="459"/>
                  </a:cubicBezTo>
                  <a:cubicBezTo>
                    <a:pt x="620" y="457"/>
                    <a:pt x="604" y="447"/>
                    <a:pt x="601" y="434"/>
                  </a:cubicBezTo>
                  <a:cubicBezTo>
                    <a:pt x="598" y="421"/>
                    <a:pt x="590" y="416"/>
                    <a:pt x="580" y="397"/>
                  </a:cubicBezTo>
                  <a:cubicBezTo>
                    <a:pt x="577" y="384"/>
                    <a:pt x="574" y="371"/>
                    <a:pt x="584" y="355"/>
                  </a:cubicBezTo>
                  <a:cubicBezTo>
                    <a:pt x="628" y="305"/>
                    <a:pt x="628" y="305"/>
                    <a:pt x="628" y="305"/>
                  </a:cubicBezTo>
                  <a:cubicBezTo>
                    <a:pt x="634" y="297"/>
                    <a:pt x="631" y="284"/>
                    <a:pt x="623" y="279"/>
                  </a:cubicBezTo>
                  <a:cubicBezTo>
                    <a:pt x="581" y="240"/>
                    <a:pt x="581" y="240"/>
                    <a:pt x="581" y="240"/>
                  </a:cubicBezTo>
                  <a:cubicBezTo>
                    <a:pt x="573" y="235"/>
                    <a:pt x="560" y="238"/>
                    <a:pt x="547" y="240"/>
                  </a:cubicBezTo>
                  <a:cubicBezTo>
                    <a:pt x="503" y="291"/>
                    <a:pt x="503" y="291"/>
                    <a:pt x="503" y="291"/>
                  </a:cubicBezTo>
                  <a:cubicBezTo>
                    <a:pt x="484" y="302"/>
                    <a:pt x="471" y="304"/>
                    <a:pt x="463" y="299"/>
                  </a:cubicBezTo>
                  <a:cubicBezTo>
                    <a:pt x="456" y="294"/>
                    <a:pt x="435" y="292"/>
                    <a:pt x="427" y="287"/>
                  </a:cubicBezTo>
                  <a:cubicBezTo>
                    <a:pt x="419" y="282"/>
                    <a:pt x="403" y="271"/>
                    <a:pt x="400" y="258"/>
                  </a:cubicBezTo>
                  <a:cubicBezTo>
                    <a:pt x="386" y="193"/>
                    <a:pt x="386" y="193"/>
                    <a:pt x="386" y="193"/>
                  </a:cubicBezTo>
                  <a:cubicBezTo>
                    <a:pt x="384" y="180"/>
                    <a:pt x="368" y="170"/>
                    <a:pt x="368" y="170"/>
                  </a:cubicBezTo>
                  <a:cubicBezTo>
                    <a:pt x="308" y="176"/>
                    <a:pt x="308" y="176"/>
                    <a:pt x="308" y="176"/>
                  </a:cubicBezTo>
                  <a:cubicBezTo>
                    <a:pt x="308" y="176"/>
                    <a:pt x="289" y="187"/>
                    <a:pt x="292" y="200"/>
                  </a:cubicBezTo>
                  <a:cubicBezTo>
                    <a:pt x="285" y="263"/>
                    <a:pt x="285" y="263"/>
                    <a:pt x="285" y="263"/>
                  </a:cubicBezTo>
                  <a:cubicBezTo>
                    <a:pt x="291" y="289"/>
                    <a:pt x="277" y="292"/>
                    <a:pt x="272" y="300"/>
                  </a:cubicBezTo>
                  <a:cubicBezTo>
                    <a:pt x="272" y="300"/>
                    <a:pt x="272" y="300"/>
                    <a:pt x="267" y="308"/>
                  </a:cubicBezTo>
                  <a:cubicBezTo>
                    <a:pt x="259" y="302"/>
                    <a:pt x="246" y="305"/>
                    <a:pt x="241" y="313"/>
                  </a:cubicBezTo>
                  <a:cubicBezTo>
                    <a:pt x="236" y="321"/>
                    <a:pt x="236" y="321"/>
                    <a:pt x="236" y="321"/>
                  </a:cubicBezTo>
                  <a:cubicBezTo>
                    <a:pt x="223" y="324"/>
                    <a:pt x="210" y="327"/>
                    <a:pt x="194" y="317"/>
                  </a:cubicBezTo>
                  <a:cubicBezTo>
                    <a:pt x="139" y="281"/>
                    <a:pt x="139" y="281"/>
                    <a:pt x="139" y="281"/>
                  </a:cubicBezTo>
                  <a:cubicBezTo>
                    <a:pt x="131" y="276"/>
                    <a:pt x="110" y="273"/>
                    <a:pt x="104" y="281"/>
                  </a:cubicBezTo>
                  <a:cubicBezTo>
                    <a:pt x="79" y="321"/>
                    <a:pt x="79" y="321"/>
                    <a:pt x="79" y="321"/>
                  </a:cubicBezTo>
                  <a:cubicBezTo>
                    <a:pt x="66" y="324"/>
                    <a:pt x="68" y="337"/>
                    <a:pt x="79" y="355"/>
                  </a:cubicBezTo>
                  <a:cubicBezTo>
                    <a:pt x="121" y="394"/>
                    <a:pt x="121" y="394"/>
                    <a:pt x="121" y="394"/>
                  </a:cubicBezTo>
                  <a:cubicBezTo>
                    <a:pt x="140" y="417"/>
                    <a:pt x="135" y="425"/>
                    <a:pt x="132" y="446"/>
                  </a:cubicBezTo>
                  <a:cubicBezTo>
                    <a:pt x="132" y="446"/>
                    <a:pt x="132" y="446"/>
                    <a:pt x="132" y="446"/>
                  </a:cubicBezTo>
                  <a:cubicBezTo>
                    <a:pt x="127" y="454"/>
                    <a:pt x="122" y="462"/>
                    <a:pt x="117" y="470"/>
                  </a:cubicBezTo>
                  <a:cubicBezTo>
                    <a:pt x="117" y="470"/>
                    <a:pt x="117" y="470"/>
                    <a:pt x="117" y="470"/>
                  </a:cubicBezTo>
                  <a:cubicBezTo>
                    <a:pt x="120" y="483"/>
                    <a:pt x="109" y="499"/>
                    <a:pt x="83" y="505"/>
                  </a:cubicBezTo>
                  <a:cubicBezTo>
                    <a:pt x="23" y="511"/>
                    <a:pt x="23" y="511"/>
                    <a:pt x="23" y="511"/>
                  </a:cubicBezTo>
                  <a:cubicBezTo>
                    <a:pt x="10" y="514"/>
                    <a:pt x="0" y="529"/>
                    <a:pt x="2" y="543"/>
                  </a:cubicBezTo>
                  <a:cubicBezTo>
                    <a:pt x="5" y="590"/>
                    <a:pt x="5" y="590"/>
                    <a:pt x="5" y="590"/>
                  </a:cubicBezTo>
                  <a:cubicBezTo>
                    <a:pt x="8" y="603"/>
                    <a:pt x="16" y="608"/>
                    <a:pt x="37" y="610"/>
                  </a:cubicBezTo>
                  <a:cubicBezTo>
                    <a:pt x="92" y="612"/>
                    <a:pt x="92" y="612"/>
                    <a:pt x="92" y="612"/>
                  </a:cubicBezTo>
                  <a:cubicBezTo>
                    <a:pt x="113" y="614"/>
                    <a:pt x="129" y="625"/>
                    <a:pt x="132" y="638"/>
                  </a:cubicBezTo>
                  <a:cubicBezTo>
                    <a:pt x="132" y="638"/>
                    <a:pt x="132" y="638"/>
                    <a:pt x="132" y="638"/>
                  </a:cubicBezTo>
                  <a:cubicBezTo>
                    <a:pt x="140" y="643"/>
                    <a:pt x="142" y="656"/>
                    <a:pt x="150" y="661"/>
                  </a:cubicBezTo>
                  <a:cubicBezTo>
                    <a:pt x="145" y="669"/>
                    <a:pt x="145" y="669"/>
                    <a:pt x="145" y="669"/>
                  </a:cubicBezTo>
                  <a:cubicBezTo>
                    <a:pt x="153" y="674"/>
                    <a:pt x="156" y="687"/>
                    <a:pt x="140" y="711"/>
                  </a:cubicBezTo>
                  <a:cubicBezTo>
                    <a:pt x="109" y="759"/>
                    <a:pt x="109" y="759"/>
                    <a:pt x="109" y="759"/>
                  </a:cubicBezTo>
                  <a:cubicBezTo>
                    <a:pt x="99" y="775"/>
                    <a:pt x="102" y="788"/>
                    <a:pt x="110" y="793"/>
                  </a:cubicBezTo>
                  <a:cubicBezTo>
                    <a:pt x="152" y="832"/>
                    <a:pt x="152" y="832"/>
                    <a:pt x="152" y="832"/>
                  </a:cubicBezTo>
                  <a:cubicBezTo>
                    <a:pt x="160" y="837"/>
                    <a:pt x="173" y="834"/>
                    <a:pt x="178" y="826"/>
                  </a:cubicBezTo>
                  <a:cubicBezTo>
                    <a:pt x="230" y="781"/>
                    <a:pt x="230" y="781"/>
                    <a:pt x="230" y="781"/>
                  </a:cubicBezTo>
                  <a:cubicBezTo>
                    <a:pt x="248" y="770"/>
                    <a:pt x="261" y="767"/>
                    <a:pt x="269" y="772"/>
                  </a:cubicBezTo>
                  <a:cubicBezTo>
                    <a:pt x="269" y="772"/>
                    <a:pt x="269" y="772"/>
                    <a:pt x="269" y="772"/>
                  </a:cubicBezTo>
                  <a:cubicBezTo>
                    <a:pt x="282" y="769"/>
                    <a:pt x="298" y="779"/>
                    <a:pt x="306" y="785"/>
                  </a:cubicBezTo>
                  <a:cubicBezTo>
                    <a:pt x="306" y="785"/>
                    <a:pt x="306" y="785"/>
                    <a:pt x="306" y="785"/>
                  </a:cubicBezTo>
                  <a:cubicBezTo>
                    <a:pt x="319" y="782"/>
                    <a:pt x="327" y="787"/>
                    <a:pt x="332" y="813"/>
                  </a:cubicBezTo>
                  <a:cubicBezTo>
                    <a:pt x="346" y="878"/>
                    <a:pt x="346" y="878"/>
                    <a:pt x="346" y="878"/>
                  </a:cubicBezTo>
                  <a:cubicBezTo>
                    <a:pt x="349" y="892"/>
                    <a:pt x="357" y="897"/>
                    <a:pt x="370" y="894"/>
                  </a:cubicBezTo>
                  <a:cubicBezTo>
                    <a:pt x="425" y="896"/>
                    <a:pt x="425" y="896"/>
                    <a:pt x="425" y="896"/>
                  </a:cubicBezTo>
                  <a:cubicBezTo>
                    <a:pt x="430" y="888"/>
                    <a:pt x="443" y="885"/>
                    <a:pt x="440" y="872"/>
                  </a:cubicBezTo>
                  <a:cubicBezTo>
                    <a:pt x="440" y="804"/>
                    <a:pt x="440" y="804"/>
                    <a:pt x="440" y="804"/>
                  </a:cubicBezTo>
                  <a:cubicBezTo>
                    <a:pt x="442" y="783"/>
                    <a:pt x="460" y="772"/>
                    <a:pt x="466" y="764"/>
                  </a:cubicBezTo>
                  <a:cubicBezTo>
                    <a:pt x="466" y="764"/>
                    <a:pt x="466" y="764"/>
                    <a:pt x="466" y="764"/>
                  </a:cubicBezTo>
                  <a:cubicBezTo>
                    <a:pt x="479" y="761"/>
                    <a:pt x="492" y="758"/>
                    <a:pt x="497" y="750"/>
                  </a:cubicBezTo>
                  <a:cubicBezTo>
                    <a:pt x="497" y="750"/>
                    <a:pt x="497" y="750"/>
                    <a:pt x="497" y="750"/>
                  </a:cubicBezTo>
                  <a:cubicBezTo>
                    <a:pt x="510" y="747"/>
                    <a:pt x="523" y="745"/>
                    <a:pt x="539" y="755"/>
                  </a:cubicBezTo>
                  <a:cubicBezTo>
                    <a:pt x="594" y="791"/>
                    <a:pt x="594" y="791"/>
                    <a:pt x="594" y="791"/>
                  </a:cubicBezTo>
                  <a:cubicBezTo>
                    <a:pt x="602" y="796"/>
                    <a:pt x="623" y="798"/>
                    <a:pt x="628" y="790"/>
                  </a:cubicBezTo>
                  <a:cubicBezTo>
                    <a:pt x="659" y="743"/>
                    <a:pt x="659" y="743"/>
                    <a:pt x="659" y="743"/>
                  </a:cubicBezTo>
                  <a:cubicBezTo>
                    <a:pt x="659" y="743"/>
                    <a:pt x="669" y="727"/>
                    <a:pt x="654" y="716"/>
                  </a:cubicBezTo>
                  <a:close/>
                  <a:moveTo>
                    <a:pt x="281" y="633"/>
                  </a:moveTo>
                  <a:cubicBezTo>
                    <a:pt x="223" y="584"/>
                    <a:pt x="219" y="502"/>
                    <a:pt x="263" y="452"/>
                  </a:cubicBezTo>
                  <a:cubicBezTo>
                    <a:pt x="313" y="393"/>
                    <a:pt x="399" y="382"/>
                    <a:pt x="457" y="431"/>
                  </a:cubicBezTo>
                  <a:cubicBezTo>
                    <a:pt x="507" y="475"/>
                    <a:pt x="518" y="561"/>
                    <a:pt x="469" y="619"/>
                  </a:cubicBezTo>
                  <a:cubicBezTo>
                    <a:pt x="420" y="678"/>
                    <a:pt x="339" y="682"/>
                    <a:pt x="281" y="633"/>
                  </a:cubicBezTo>
                  <a:close/>
                  <a:moveTo>
                    <a:pt x="1019" y="398"/>
                  </a:moveTo>
                  <a:cubicBezTo>
                    <a:pt x="1004" y="362"/>
                    <a:pt x="1004" y="362"/>
                    <a:pt x="1004" y="362"/>
                  </a:cubicBezTo>
                  <a:cubicBezTo>
                    <a:pt x="992" y="348"/>
                    <a:pt x="1002" y="340"/>
                    <a:pt x="1002" y="332"/>
                  </a:cubicBezTo>
                  <a:cubicBezTo>
                    <a:pt x="1002" y="332"/>
                    <a:pt x="1002" y="332"/>
                    <a:pt x="1002" y="332"/>
                  </a:cubicBezTo>
                  <a:cubicBezTo>
                    <a:pt x="1007" y="328"/>
                    <a:pt x="1011" y="324"/>
                    <a:pt x="1012" y="315"/>
                  </a:cubicBezTo>
                  <a:cubicBezTo>
                    <a:pt x="1021" y="307"/>
                    <a:pt x="1026" y="303"/>
                    <a:pt x="1043" y="304"/>
                  </a:cubicBezTo>
                  <a:cubicBezTo>
                    <a:pt x="1086" y="307"/>
                    <a:pt x="1086" y="307"/>
                    <a:pt x="1086" y="307"/>
                  </a:cubicBezTo>
                  <a:cubicBezTo>
                    <a:pt x="1095" y="308"/>
                    <a:pt x="1099" y="304"/>
                    <a:pt x="1100" y="295"/>
                  </a:cubicBezTo>
                  <a:cubicBezTo>
                    <a:pt x="1107" y="266"/>
                    <a:pt x="1107" y="266"/>
                    <a:pt x="1107" y="266"/>
                  </a:cubicBezTo>
                  <a:cubicBezTo>
                    <a:pt x="1107" y="257"/>
                    <a:pt x="1103" y="252"/>
                    <a:pt x="1095" y="243"/>
                  </a:cubicBezTo>
                  <a:cubicBezTo>
                    <a:pt x="1057" y="236"/>
                    <a:pt x="1057" y="236"/>
                    <a:pt x="1057" y="236"/>
                  </a:cubicBezTo>
                  <a:cubicBezTo>
                    <a:pt x="1044" y="231"/>
                    <a:pt x="1036" y="222"/>
                    <a:pt x="1037" y="213"/>
                  </a:cubicBezTo>
                  <a:cubicBezTo>
                    <a:pt x="1038" y="205"/>
                    <a:pt x="1034" y="200"/>
                    <a:pt x="1030" y="187"/>
                  </a:cubicBezTo>
                  <a:cubicBezTo>
                    <a:pt x="1031" y="178"/>
                    <a:pt x="1032" y="170"/>
                    <a:pt x="1041" y="162"/>
                  </a:cubicBezTo>
                  <a:cubicBezTo>
                    <a:pt x="1077" y="138"/>
                    <a:pt x="1077" y="138"/>
                    <a:pt x="1077" y="138"/>
                  </a:cubicBezTo>
                  <a:cubicBezTo>
                    <a:pt x="1082" y="134"/>
                    <a:pt x="1083" y="126"/>
                    <a:pt x="1079" y="121"/>
                  </a:cubicBezTo>
                  <a:cubicBezTo>
                    <a:pt x="1059" y="89"/>
                    <a:pt x="1059" y="89"/>
                    <a:pt x="1059" y="89"/>
                  </a:cubicBezTo>
                  <a:cubicBezTo>
                    <a:pt x="1055" y="85"/>
                    <a:pt x="1047" y="84"/>
                    <a:pt x="1038" y="83"/>
                  </a:cubicBezTo>
                  <a:cubicBezTo>
                    <a:pt x="1002" y="107"/>
                    <a:pt x="1002" y="107"/>
                    <a:pt x="1002" y="107"/>
                  </a:cubicBezTo>
                  <a:cubicBezTo>
                    <a:pt x="989" y="110"/>
                    <a:pt x="980" y="110"/>
                    <a:pt x="976" y="105"/>
                  </a:cubicBezTo>
                  <a:cubicBezTo>
                    <a:pt x="972" y="100"/>
                    <a:pt x="960" y="95"/>
                    <a:pt x="956" y="91"/>
                  </a:cubicBezTo>
                  <a:cubicBezTo>
                    <a:pt x="952" y="86"/>
                    <a:pt x="944" y="77"/>
                    <a:pt x="944" y="68"/>
                  </a:cubicBezTo>
                  <a:cubicBezTo>
                    <a:pt x="948" y="25"/>
                    <a:pt x="948" y="25"/>
                    <a:pt x="948" y="25"/>
                  </a:cubicBezTo>
                  <a:cubicBezTo>
                    <a:pt x="948" y="17"/>
                    <a:pt x="940" y="7"/>
                    <a:pt x="940" y="7"/>
                  </a:cubicBezTo>
                  <a:cubicBezTo>
                    <a:pt x="902" y="0"/>
                    <a:pt x="902" y="0"/>
                    <a:pt x="902" y="0"/>
                  </a:cubicBezTo>
                  <a:cubicBezTo>
                    <a:pt x="902" y="0"/>
                    <a:pt x="889" y="4"/>
                    <a:pt x="888" y="12"/>
                  </a:cubicBezTo>
                  <a:cubicBezTo>
                    <a:pt x="872" y="50"/>
                    <a:pt x="872" y="50"/>
                    <a:pt x="872" y="50"/>
                  </a:cubicBezTo>
                  <a:cubicBezTo>
                    <a:pt x="871" y="67"/>
                    <a:pt x="862" y="67"/>
                    <a:pt x="858" y="71"/>
                  </a:cubicBezTo>
                  <a:cubicBezTo>
                    <a:pt x="858" y="71"/>
                    <a:pt x="858" y="71"/>
                    <a:pt x="853" y="75"/>
                  </a:cubicBezTo>
                  <a:cubicBezTo>
                    <a:pt x="849" y="70"/>
                    <a:pt x="840" y="70"/>
                    <a:pt x="836" y="74"/>
                  </a:cubicBezTo>
                  <a:cubicBezTo>
                    <a:pt x="831" y="78"/>
                    <a:pt x="831" y="78"/>
                    <a:pt x="831" y="78"/>
                  </a:cubicBezTo>
                  <a:cubicBezTo>
                    <a:pt x="822" y="77"/>
                    <a:pt x="814" y="76"/>
                    <a:pt x="806" y="67"/>
                  </a:cubicBezTo>
                  <a:cubicBezTo>
                    <a:pt x="778" y="35"/>
                    <a:pt x="778" y="35"/>
                    <a:pt x="778" y="35"/>
                  </a:cubicBezTo>
                  <a:cubicBezTo>
                    <a:pt x="774" y="30"/>
                    <a:pt x="762" y="25"/>
                    <a:pt x="757" y="29"/>
                  </a:cubicBezTo>
                  <a:cubicBezTo>
                    <a:pt x="734" y="49"/>
                    <a:pt x="734" y="49"/>
                    <a:pt x="734" y="49"/>
                  </a:cubicBezTo>
                  <a:cubicBezTo>
                    <a:pt x="725" y="49"/>
                    <a:pt x="725" y="57"/>
                    <a:pt x="728" y="70"/>
                  </a:cubicBezTo>
                  <a:cubicBezTo>
                    <a:pt x="747" y="102"/>
                    <a:pt x="747" y="102"/>
                    <a:pt x="747" y="102"/>
                  </a:cubicBezTo>
                  <a:cubicBezTo>
                    <a:pt x="754" y="120"/>
                    <a:pt x="750" y="124"/>
                    <a:pt x="744" y="136"/>
                  </a:cubicBezTo>
                  <a:cubicBezTo>
                    <a:pt x="744" y="136"/>
                    <a:pt x="744" y="136"/>
                    <a:pt x="744" y="136"/>
                  </a:cubicBezTo>
                  <a:cubicBezTo>
                    <a:pt x="740" y="140"/>
                    <a:pt x="735" y="144"/>
                    <a:pt x="731" y="148"/>
                  </a:cubicBezTo>
                  <a:cubicBezTo>
                    <a:pt x="731" y="148"/>
                    <a:pt x="731" y="148"/>
                    <a:pt x="731" y="148"/>
                  </a:cubicBezTo>
                  <a:cubicBezTo>
                    <a:pt x="730" y="157"/>
                    <a:pt x="721" y="165"/>
                    <a:pt x="703" y="164"/>
                  </a:cubicBezTo>
                  <a:cubicBezTo>
                    <a:pt x="665" y="157"/>
                    <a:pt x="665" y="157"/>
                    <a:pt x="665" y="157"/>
                  </a:cubicBezTo>
                  <a:cubicBezTo>
                    <a:pt x="656" y="156"/>
                    <a:pt x="647" y="164"/>
                    <a:pt x="647" y="173"/>
                  </a:cubicBezTo>
                  <a:cubicBezTo>
                    <a:pt x="640" y="203"/>
                    <a:pt x="640" y="203"/>
                    <a:pt x="640" y="203"/>
                  </a:cubicBezTo>
                  <a:cubicBezTo>
                    <a:pt x="639" y="211"/>
                    <a:pt x="643" y="216"/>
                    <a:pt x="656" y="221"/>
                  </a:cubicBezTo>
                  <a:cubicBezTo>
                    <a:pt x="690" y="232"/>
                    <a:pt x="690" y="232"/>
                    <a:pt x="690" y="232"/>
                  </a:cubicBezTo>
                  <a:cubicBezTo>
                    <a:pt x="702" y="237"/>
                    <a:pt x="710" y="246"/>
                    <a:pt x="710" y="255"/>
                  </a:cubicBezTo>
                  <a:cubicBezTo>
                    <a:pt x="710" y="255"/>
                    <a:pt x="710" y="255"/>
                    <a:pt x="710" y="255"/>
                  </a:cubicBezTo>
                  <a:cubicBezTo>
                    <a:pt x="714" y="260"/>
                    <a:pt x="713" y="268"/>
                    <a:pt x="717" y="273"/>
                  </a:cubicBezTo>
                  <a:cubicBezTo>
                    <a:pt x="712" y="277"/>
                    <a:pt x="712" y="277"/>
                    <a:pt x="712" y="277"/>
                  </a:cubicBezTo>
                  <a:cubicBezTo>
                    <a:pt x="716" y="281"/>
                    <a:pt x="716" y="290"/>
                    <a:pt x="702" y="302"/>
                  </a:cubicBezTo>
                  <a:cubicBezTo>
                    <a:pt x="674" y="326"/>
                    <a:pt x="674" y="326"/>
                    <a:pt x="674" y="326"/>
                  </a:cubicBezTo>
                  <a:cubicBezTo>
                    <a:pt x="665" y="334"/>
                    <a:pt x="664" y="343"/>
                    <a:pt x="668" y="347"/>
                  </a:cubicBezTo>
                  <a:cubicBezTo>
                    <a:pt x="687" y="379"/>
                    <a:pt x="687" y="379"/>
                    <a:pt x="687" y="379"/>
                  </a:cubicBezTo>
                  <a:cubicBezTo>
                    <a:pt x="691" y="383"/>
                    <a:pt x="700" y="384"/>
                    <a:pt x="704" y="380"/>
                  </a:cubicBezTo>
                  <a:cubicBezTo>
                    <a:pt x="745" y="361"/>
                    <a:pt x="745" y="361"/>
                    <a:pt x="745" y="361"/>
                  </a:cubicBezTo>
                  <a:cubicBezTo>
                    <a:pt x="758" y="358"/>
                    <a:pt x="767" y="358"/>
                    <a:pt x="771" y="363"/>
                  </a:cubicBezTo>
                  <a:cubicBezTo>
                    <a:pt x="771" y="363"/>
                    <a:pt x="771" y="363"/>
                    <a:pt x="771" y="363"/>
                  </a:cubicBezTo>
                  <a:cubicBezTo>
                    <a:pt x="779" y="364"/>
                    <a:pt x="787" y="373"/>
                    <a:pt x="791" y="377"/>
                  </a:cubicBezTo>
                  <a:cubicBezTo>
                    <a:pt x="791" y="377"/>
                    <a:pt x="791" y="377"/>
                    <a:pt x="791" y="377"/>
                  </a:cubicBezTo>
                  <a:cubicBezTo>
                    <a:pt x="800" y="378"/>
                    <a:pt x="804" y="383"/>
                    <a:pt x="802" y="400"/>
                  </a:cubicBezTo>
                  <a:cubicBezTo>
                    <a:pt x="799" y="443"/>
                    <a:pt x="799" y="443"/>
                    <a:pt x="799" y="443"/>
                  </a:cubicBezTo>
                  <a:cubicBezTo>
                    <a:pt x="798" y="451"/>
                    <a:pt x="802" y="456"/>
                    <a:pt x="811" y="457"/>
                  </a:cubicBezTo>
                  <a:cubicBezTo>
                    <a:pt x="845" y="468"/>
                    <a:pt x="845" y="468"/>
                    <a:pt x="845" y="468"/>
                  </a:cubicBezTo>
                  <a:cubicBezTo>
                    <a:pt x="849" y="464"/>
                    <a:pt x="858" y="464"/>
                    <a:pt x="859" y="456"/>
                  </a:cubicBezTo>
                  <a:cubicBezTo>
                    <a:pt x="871" y="413"/>
                    <a:pt x="871" y="413"/>
                    <a:pt x="871" y="413"/>
                  </a:cubicBezTo>
                  <a:cubicBezTo>
                    <a:pt x="876" y="401"/>
                    <a:pt x="889" y="397"/>
                    <a:pt x="894" y="393"/>
                  </a:cubicBezTo>
                  <a:cubicBezTo>
                    <a:pt x="894" y="393"/>
                    <a:pt x="894" y="393"/>
                    <a:pt x="894" y="393"/>
                  </a:cubicBezTo>
                  <a:cubicBezTo>
                    <a:pt x="902" y="394"/>
                    <a:pt x="911" y="395"/>
                    <a:pt x="916" y="391"/>
                  </a:cubicBezTo>
                  <a:cubicBezTo>
                    <a:pt x="916" y="391"/>
                    <a:pt x="916" y="391"/>
                    <a:pt x="916" y="391"/>
                  </a:cubicBezTo>
                  <a:cubicBezTo>
                    <a:pt x="924" y="391"/>
                    <a:pt x="933" y="392"/>
                    <a:pt x="941" y="401"/>
                  </a:cubicBezTo>
                  <a:cubicBezTo>
                    <a:pt x="969" y="433"/>
                    <a:pt x="969" y="433"/>
                    <a:pt x="969" y="433"/>
                  </a:cubicBezTo>
                  <a:cubicBezTo>
                    <a:pt x="973" y="438"/>
                    <a:pt x="985" y="443"/>
                    <a:pt x="990" y="439"/>
                  </a:cubicBezTo>
                  <a:cubicBezTo>
                    <a:pt x="1018" y="415"/>
                    <a:pt x="1018" y="415"/>
                    <a:pt x="1018" y="415"/>
                  </a:cubicBezTo>
                  <a:cubicBezTo>
                    <a:pt x="1018" y="415"/>
                    <a:pt x="1027" y="407"/>
                    <a:pt x="1019" y="398"/>
                  </a:cubicBezTo>
                  <a:close/>
                  <a:moveTo>
                    <a:pt x="803" y="279"/>
                  </a:moveTo>
                  <a:cubicBezTo>
                    <a:pt x="776" y="238"/>
                    <a:pt x="788" y="187"/>
                    <a:pt x="825" y="164"/>
                  </a:cubicBezTo>
                  <a:cubicBezTo>
                    <a:pt x="866" y="136"/>
                    <a:pt x="921" y="144"/>
                    <a:pt x="948" y="185"/>
                  </a:cubicBezTo>
                  <a:cubicBezTo>
                    <a:pt x="972" y="221"/>
                    <a:pt x="963" y="277"/>
                    <a:pt x="922" y="304"/>
                  </a:cubicBezTo>
                  <a:cubicBezTo>
                    <a:pt x="881" y="332"/>
                    <a:pt x="830" y="320"/>
                    <a:pt x="803" y="279"/>
                  </a:cubicBezTo>
                  <a:close/>
                </a:path>
              </a:pathLst>
            </a:custGeom>
            <a:solidFill>
              <a:schemeClr val="tx1"/>
            </a:solidFill>
            <a:ln>
              <a:noFill/>
            </a:ln>
          </p:spPr>
          <p:txBody>
            <a:bodyPr vert="horz" wrap="square" lIns="68574" tIns="34287" rIns="68574" bIns="34287"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17346"/>
                </a:solidFill>
                <a:effectLst/>
                <a:uLnTx/>
                <a:uFillTx/>
                <a:latin typeface="Segoe UI"/>
                <a:ea typeface="+mn-ea"/>
                <a:cs typeface="+mn-cs"/>
              </a:endParaRPr>
            </a:p>
          </p:txBody>
        </p:sp>
        <p:sp>
          <p:nvSpPr>
            <p:cNvPr id="88" name="Freeform 87"/>
            <p:cNvSpPr>
              <a:spLocks noChangeAspect="1"/>
            </p:cNvSpPr>
            <p:nvPr/>
          </p:nvSpPr>
          <p:spPr bwMode="black">
            <a:xfrm>
              <a:off x="776985" y="4213905"/>
              <a:ext cx="342871" cy="335728"/>
            </a:xfrm>
            <a:custGeom>
              <a:avLst/>
              <a:gdLst>
                <a:gd name="connsiteX0" fmla="*/ 3713863 w 4893730"/>
                <a:gd name="connsiteY0" fmla="*/ 2130808 h 4791777"/>
                <a:gd name="connsiteX1" fmla="*/ 4426142 w 4893730"/>
                <a:gd name="connsiteY1" fmla="*/ 2130808 h 4791777"/>
                <a:gd name="connsiteX2" fmla="*/ 4598071 w 4893730"/>
                <a:gd name="connsiteY2" fmla="*/ 2301547 h 4791777"/>
                <a:gd name="connsiteX3" fmla="*/ 4598071 w 4893730"/>
                <a:gd name="connsiteY3" fmla="*/ 3886978 h 4791777"/>
                <a:gd name="connsiteX4" fmla="*/ 4426142 w 4893730"/>
                <a:gd name="connsiteY4" fmla="*/ 4057717 h 4791777"/>
                <a:gd name="connsiteX5" fmla="*/ 3713863 w 4893730"/>
                <a:gd name="connsiteY5" fmla="*/ 4057717 h 4791777"/>
                <a:gd name="connsiteX6" fmla="*/ 3517372 w 4893730"/>
                <a:gd name="connsiteY6" fmla="*/ 3886978 h 4791777"/>
                <a:gd name="connsiteX7" fmla="*/ 3517372 w 4893730"/>
                <a:gd name="connsiteY7" fmla="*/ 2301547 h 4791777"/>
                <a:gd name="connsiteX8" fmla="*/ 3713863 w 4893730"/>
                <a:gd name="connsiteY8" fmla="*/ 2130808 h 4791777"/>
                <a:gd name="connsiteX9" fmla="*/ 904368 w 4893730"/>
                <a:gd name="connsiteY9" fmla="*/ 1223432 h 4791777"/>
                <a:gd name="connsiteX10" fmla="*/ 1609930 w 4893730"/>
                <a:gd name="connsiteY10" fmla="*/ 1223432 h 4791777"/>
                <a:gd name="connsiteX11" fmla="*/ 1804567 w 4893730"/>
                <a:gd name="connsiteY11" fmla="*/ 1394467 h 4791777"/>
                <a:gd name="connsiteX12" fmla="*/ 1804567 w 4893730"/>
                <a:gd name="connsiteY12" fmla="*/ 3886683 h 4791777"/>
                <a:gd name="connsiteX13" fmla="*/ 1609930 w 4893730"/>
                <a:gd name="connsiteY13" fmla="*/ 4057717 h 4791777"/>
                <a:gd name="connsiteX14" fmla="*/ 904368 w 4893730"/>
                <a:gd name="connsiteY14" fmla="*/ 4057717 h 4791777"/>
                <a:gd name="connsiteX15" fmla="*/ 734060 w 4893730"/>
                <a:gd name="connsiteY15" fmla="*/ 3886683 h 4791777"/>
                <a:gd name="connsiteX16" fmla="*/ 734060 w 4893730"/>
                <a:gd name="connsiteY16" fmla="*/ 1394467 h 4791777"/>
                <a:gd name="connsiteX17" fmla="*/ 904368 w 4893730"/>
                <a:gd name="connsiteY17" fmla="*/ 1223432 h 4791777"/>
                <a:gd name="connsiteX18" fmla="*/ 2325453 w 4893730"/>
                <a:gd name="connsiteY18" fmla="*/ 316050 h 4791777"/>
                <a:gd name="connsiteX19" fmla="*/ 3031014 w 4893730"/>
                <a:gd name="connsiteY19" fmla="*/ 316050 h 4791777"/>
                <a:gd name="connsiteX20" fmla="*/ 3201322 w 4893730"/>
                <a:gd name="connsiteY20" fmla="*/ 487238 h 4791777"/>
                <a:gd name="connsiteX21" fmla="*/ 3201322 w 4893730"/>
                <a:gd name="connsiteY21" fmla="*/ 3886530 h 4791777"/>
                <a:gd name="connsiteX22" fmla="*/ 3031014 w 4893730"/>
                <a:gd name="connsiteY22" fmla="*/ 4057717 h 4791777"/>
                <a:gd name="connsiteX23" fmla="*/ 2325453 w 4893730"/>
                <a:gd name="connsiteY23" fmla="*/ 4057717 h 4791777"/>
                <a:gd name="connsiteX24" fmla="*/ 2130815 w 4893730"/>
                <a:gd name="connsiteY24" fmla="*/ 3886530 h 4791777"/>
                <a:gd name="connsiteX25" fmla="*/ 2130815 w 4893730"/>
                <a:gd name="connsiteY25" fmla="*/ 487238 h 4791777"/>
                <a:gd name="connsiteX26" fmla="*/ 2325453 w 4893730"/>
                <a:gd name="connsiteY26" fmla="*/ 316050 h 4791777"/>
                <a:gd name="connsiteX27" fmla="*/ 269155 w 4893730"/>
                <a:gd name="connsiteY27" fmla="*/ 0 h 4791777"/>
                <a:gd name="connsiteX28" fmla="*/ 538311 w 4893730"/>
                <a:gd name="connsiteY28" fmla="*/ 268927 h 4791777"/>
                <a:gd name="connsiteX29" fmla="*/ 538311 w 4893730"/>
                <a:gd name="connsiteY29" fmla="*/ 4253925 h 4791777"/>
                <a:gd name="connsiteX30" fmla="*/ 4624575 w 4893730"/>
                <a:gd name="connsiteY30" fmla="*/ 4253925 h 4791777"/>
                <a:gd name="connsiteX31" fmla="*/ 4893730 w 4893730"/>
                <a:gd name="connsiteY31" fmla="*/ 4522851 h 4791777"/>
                <a:gd name="connsiteX32" fmla="*/ 4624575 w 4893730"/>
                <a:gd name="connsiteY32" fmla="*/ 4791777 h 4791777"/>
                <a:gd name="connsiteX33" fmla="*/ 269155 w 4893730"/>
                <a:gd name="connsiteY33" fmla="*/ 4791777 h 4791777"/>
                <a:gd name="connsiteX34" fmla="*/ 0 w 4893730"/>
                <a:gd name="connsiteY34" fmla="*/ 4522851 h 4791777"/>
                <a:gd name="connsiteX35" fmla="*/ 0 w 4893730"/>
                <a:gd name="connsiteY35" fmla="*/ 268927 h 4791777"/>
                <a:gd name="connsiteX36" fmla="*/ 269155 w 4893730"/>
                <a:gd name="connsiteY36" fmla="*/ 0 h 4791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4893730" h="4791777">
                  <a:moveTo>
                    <a:pt x="3713863" y="2130808"/>
                  </a:moveTo>
                  <a:cubicBezTo>
                    <a:pt x="3713863" y="2130808"/>
                    <a:pt x="3713863" y="2130808"/>
                    <a:pt x="4426142" y="2130808"/>
                  </a:cubicBezTo>
                  <a:cubicBezTo>
                    <a:pt x="4524387" y="2130808"/>
                    <a:pt x="4598071" y="2203982"/>
                    <a:pt x="4598071" y="2301547"/>
                  </a:cubicBezTo>
                  <a:cubicBezTo>
                    <a:pt x="4598071" y="2301547"/>
                    <a:pt x="4598071" y="2301547"/>
                    <a:pt x="4598071" y="3886978"/>
                  </a:cubicBezTo>
                  <a:cubicBezTo>
                    <a:pt x="4598071" y="3984543"/>
                    <a:pt x="4524387" y="4057717"/>
                    <a:pt x="4426142" y="4057717"/>
                  </a:cubicBezTo>
                  <a:cubicBezTo>
                    <a:pt x="4426142" y="4057717"/>
                    <a:pt x="4426142" y="4057717"/>
                    <a:pt x="3713863" y="4057717"/>
                  </a:cubicBezTo>
                  <a:cubicBezTo>
                    <a:pt x="3615618" y="4057717"/>
                    <a:pt x="3517372" y="3984543"/>
                    <a:pt x="3517372" y="3886978"/>
                  </a:cubicBezTo>
                  <a:cubicBezTo>
                    <a:pt x="3517372" y="3886978"/>
                    <a:pt x="3517372" y="3886978"/>
                    <a:pt x="3517372" y="2301547"/>
                  </a:cubicBezTo>
                  <a:cubicBezTo>
                    <a:pt x="3517372" y="2203982"/>
                    <a:pt x="3615618" y="2130808"/>
                    <a:pt x="3713863" y="2130808"/>
                  </a:cubicBezTo>
                  <a:close/>
                  <a:moveTo>
                    <a:pt x="904368" y="1223432"/>
                  </a:moveTo>
                  <a:cubicBezTo>
                    <a:pt x="904368" y="1223432"/>
                    <a:pt x="904368" y="1223432"/>
                    <a:pt x="1609930" y="1223432"/>
                  </a:cubicBezTo>
                  <a:cubicBezTo>
                    <a:pt x="1731578" y="1223432"/>
                    <a:pt x="1804567" y="1296733"/>
                    <a:pt x="1804567" y="1394467"/>
                  </a:cubicBezTo>
                  <a:cubicBezTo>
                    <a:pt x="1804567" y="1394467"/>
                    <a:pt x="1804567" y="1394467"/>
                    <a:pt x="1804567" y="3886683"/>
                  </a:cubicBezTo>
                  <a:cubicBezTo>
                    <a:pt x="1804567" y="3984417"/>
                    <a:pt x="1731578" y="4057717"/>
                    <a:pt x="1609930" y="4057717"/>
                  </a:cubicBezTo>
                  <a:cubicBezTo>
                    <a:pt x="1609930" y="4057717"/>
                    <a:pt x="1609930" y="4057717"/>
                    <a:pt x="904368" y="4057717"/>
                  </a:cubicBezTo>
                  <a:cubicBezTo>
                    <a:pt x="807049" y="4057717"/>
                    <a:pt x="734060" y="3984417"/>
                    <a:pt x="734060" y="3886683"/>
                  </a:cubicBezTo>
                  <a:cubicBezTo>
                    <a:pt x="734060" y="3886683"/>
                    <a:pt x="734060" y="3886683"/>
                    <a:pt x="734060" y="1394467"/>
                  </a:cubicBezTo>
                  <a:cubicBezTo>
                    <a:pt x="734060" y="1296733"/>
                    <a:pt x="807049" y="1223432"/>
                    <a:pt x="904368" y="1223432"/>
                  </a:cubicBezTo>
                  <a:close/>
                  <a:moveTo>
                    <a:pt x="2325453" y="316050"/>
                  </a:moveTo>
                  <a:cubicBezTo>
                    <a:pt x="2325453" y="316050"/>
                    <a:pt x="2325453" y="316050"/>
                    <a:pt x="3031014" y="316050"/>
                  </a:cubicBezTo>
                  <a:cubicBezTo>
                    <a:pt x="3128333" y="316050"/>
                    <a:pt x="3201322" y="389416"/>
                    <a:pt x="3201322" y="487238"/>
                  </a:cubicBezTo>
                  <a:cubicBezTo>
                    <a:pt x="3201322" y="487238"/>
                    <a:pt x="3201322" y="487238"/>
                    <a:pt x="3201322" y="3886530"/>
                  </a:cubicBezTo>
                  <a:cubicBezTo>
                    <a:pt x="3201322" y="3984351"/>
                    <a:pt x="3128333" y="4057717"/>
                    <a:pt x="3031014" y="4057717"/>
                  </a:cubicBezTo>
                  <a:cubicBezTo>
                    <a:pt x="3031014" y="4057717"/>
                    <a:pt x="3031014" y="4057717"/>
                    <a:pt x="2325453" y="4057717"/>
                  </a:cubicBezTo>
                  <a:cubicBezTo>
                    <a:pt x="2203804" y="4057717"/>
                    <a:pt x="2130815" y="3984351"/>
                    <a:pt x="2130815" y="3886530"/>
                  </a:cubicBezTo>
                  <a:cubicBezTo>
                    <a:pt x="2130815" y="3886530"/>
                    <a:pt x="2130815" y="3886530"/>
                    <a:pt x="2130815" y="487238"/>
                  </a:cubicBezTo>
                  <a:cubicBezTo>
                    <a:pt x="2130815" y="389416"/>
                    <a:pt x="2203804" y="316050"/>
                    <a:pt x="2325453" y="316050"/>
                  </a:cubicBezTo>
                  <a:close/>
                  <a:moveTo>
                    <a:pt x="269155" y="0"/>
                  </a:moveTo>
                  <a:cubicBezTo>
                    <a:pt x="415967" y="0"/>
                    <a:pt x="538311" y="122239"/>
                    <a:pt x="538311" y="268927"/>
                  </a:cubicBezTo>
                  <a:cubicBezTo>
                    <a:pt x="538311" y="268927"/>
                    <a:pt x="538311" y="268927"/>
                    <a:pt x="538311" y="4253925"/>
                  </a:cubicBezTo>
                  <a:cubicBezTo>
                    <a:pt x="538311" y="4253925"/>
                    <a:pt x="538311" y="4253925"/>
                    <a:pt x="4624575" y="4253925"/>
                  </a:cubicBezTo>
                  <a:cubicBezTo>
                    <a:pt x="4771387" y="4253925"/>
                    <a:pt x="4893730" y="4376164"/>
                    <a:pt x="4893730" y="4522851"/>
                  </a:cubicBezTo>
                  <a:cubicBezTo>
                    <a:pt x="4893730" y="4669538"/>
                    <a:pt x="4771387" y="4791777"/>
                    <a:pt x="4624575" y="4791777"/>
                  </a:cubicBezTo>
                  <a:cubicBezTo>
                    <a:pt x="4624575" y="4791777"/>
                    <a:pt x="4624575" y="4791777"/>
                    <a:pt x="269155" y="4791777"/>
                  </a:cubicBezTo>
                  <a:cubicBezTo>
                    <a:pt x="122344" y="4791777"/>
                    <a:pt x="0" y="4669538"/>
                    <a:pt x="0" y="4522851"/>
                  </a:cubicBezTo>
                  <a:cubicBezTo>
                    <a:pt x="0" y="4522851"/>
                    <a:pt x="0" y="4522851"/>
                    <a:pt x="0" y="268927"/>
                  </a:cubicBezTo>
                  <a:cubicBezTo>
                    <a:pt x="0" y="122239"/>
                    <a:pt x="122344" y="0"/>
                    <a:pt x="269155"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37148" tIns="109719" rIns="137148" bIns="109719"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699261"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9" name="Rectangle 88"/>
            <p:cNvSpPr/>
            <p:nvPr/>
          </p:nvSpPr>
          <p:spPr bwMode="auto">
            <a:xfrm rot="2745734">
              <a:off x="279530" y="1141266"/>
              <a:ext cx="1260714" cy="1255193"/>
            </a:xfrm>
            <a:prstGeom prst="rect">
              <a:avLst/>
            </a:prstGeom>
            <a:solidFill>
              <a:schemeClr val="tx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0" name="Rectangle 89"/>
            <p:cNvSpPr/>
            <p:nvPr/>
          </p:nvSpPr>
          <p:spPr bwMode="auto">
            <a:xfrm rot="2745734">
              <a:off x="1305789" y="4246825"/>
              <a:ext cx="416505" cy="1235003"/>
            </a:xfrm>
            <a:prstGeom prst="rect">
              <a:avLst/>
            </a:prstGeom>
            <a:solidFill>
              <a:schemeClr val="tx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2" name="Rectangle 91"/>
            <p:cNvSpPr/>
            <p:nvPr/>
          </p:nvSpPr>
          <p:spPr bwMode="auto">
            <a:xfrm rot="2745734">
              <a:off x="1315610" y="4915701"/>
              <a:ext cx="1263370" cy="1255989"/>
            </a:xfrm>
            <a:prstGeom prst="rect">
              <a:avLst/>
            </a:prstGeom>
            <a:solidFill>
              <a:schemeClr val="tx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40" name="TextBox 39"/>
          <p:cNvSpPr txBox="1"/>
          <p:nvPr/>
        </p:nvSpPr>
        <p:spPr>
          <a:xfrm>
            <a:off x="3" y="51415"/>
            <a:ext cx="2849058" cy="430887"/>
          </a:xfrm>
          <a:prstGeom prst="rect">
            <a:avLst/>
          </a:prstGeom>
        </p:spPr>
        <p:txBody>
          <a:bodyPr wrap="square">
            <a:spAutoFit/>
          </a:bodyPr>
          <a:lstStyle>
            <a:defPPr>
              <a:defRPr lang="en-US"/>
            </a:defPPr>
            <a:lvl1pPr defTabSz="914192">
              <a:defRPr sz="2800" b="1" spc="-100">
                <a:ln w="3175">
                  <a:noFill/>
                </a:ln>
                <a:solidFill>
                  <a:srgbClr val="F2C812"/>
                </a:solidFill>
                <a:latin typeface="Segoe UI" panose="020B0502040204020203" pitchFamily="34" charset="0"/>
                <a:ea typeface="ＭＳ Ｐゴシック" charset="0"/>
                <a:cs typeface="Segoe UI" panose="020B0502040204020203" pitchFamily="34" charset="0"/>
              </a:defRPr>
            </a:lvl1pPr>
          </a:lstStyle>
          <a:p>
            <a:pPr marL="0" marR="0" lvl="0" indent="0" algn="l" defTabSz="914192" rtl="0" eaLnBrk="1" fontAlgn="auto" latinLnBrk="0" hangingPunct="1">
              <a:lnSpc>
                <a:spcPct val="100000"/>
              </a:lnSpc>
              <a:spcBef>
                <a:spcPts val="0"/>
              </a:spcBef>
              <a:spcAft>
                <a:spcPts val="0"/>
              </a:spcAft>
              <a:buClrTx/>
              <a:buSzTx/>
              <a:buFontTx/>
              <a:buNone/>
              <a:tabLst/>
              <a:defRPr/>
            </a:pPr>
            <a:r>
              <a:rPr kumimoji="0" lang="en-US" sz="2200" b="1" i="0" u="none" strike="noStrike" kern="1200" cap="none" spc="-100" normalizeH="0" baseline="0" noProof="0">
                <a:ln w="3175">
                  <a:noFill/>
                </a:ln>
                <a:solidFill>
                  <a:srgbClr val="F2C812"/>
                </a:solidFill>
                <a:effectLst/>
                <a:uLnTx/>
                <a:uFillTx/>
                <a:latin typeface="Segoe UI Light"/>
                <a:ea typeface="ＭＳ Ｐゴシック" charset="0"/>
                <a:cs typeface="Segoe UI" panose="020B0502040204020203" pitchFamily="34" charset="0"/>
              </a:rPr>
              <a:t>Power BI Desktop</a:t>
            </a:r>
          </a:p>
        </p:txBody>
      </p:sp>
      <p:sp>
        <p:nvSpPr>
          <p:cNvPr id="41" name="Rectangle 40"/>
          <p:cNvSpPr/>
          <p:nvPr/>
        </p:nvSpPr>
        <p:spPr bwMode="auto">
          <a:xfrm rot="19005967">
            <a:off x="922420" y="2122148"/>
            <a:ext cx="1260714" cy="369589"/>
          </a:xfrm>
          <a:prstGeom prst="rect">
            <a:avLst/>
          </a:prstGeom>
          <a:solidFill>
            <a:schemeClr val="tx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7" name="Rectangle 36"/>
          <p:cNvSpPr/>
          <p:nvPr/>
        </p:nvSpPr>
        <p:spPr bwMode="auto">
          <a:xfrm rot="2745734">
            <a:off x="1371067" y="2420930"/>
            <a:ext cx="1194544" cy="1235003"/>
          </a:xfrm>
          <a:prstGeom prst="rect">
            <a:avLst/>
          </a:prstGeom>
          <a:solidFill>
            <a:schemeClr val="tx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2" name="Text Placeholder 2"/>
          <p:cNvSpPr txBox="1">
            <a:spLocks/>
          </p:cNvSpPr>
          <p:nvPr/>
        </p:nvSpPr>
        <p:spPr>
          <a:xfrm>
            <a:off x="3173232" y="916802"/>
            <a:ext cx="4067999" cy="1956556"/>
          </a:xfrm>
          <a:prstGeom prst="rect">
            <a:avLst/>
          </a:prstGeom>
        </p:spPr>
        <p:txBody>
          <a:bodyPr vert="horz" wrap="square" lIns="182880" tIns="146304" rIns="182880" bIns="146304" rtlCol="0">
            <a:noAutofit/>
          </a:bodyPr>
          <a:lstStyle>
            <a:lvl1pPr marL="182845" marR="0"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3921" kern="1200" spc="0" baseline="0">
                <a:gradFill>
                  <a:gsLst>
                    <a:gs pos="1250">
                      <a:schemeClr val="tx2"/>
                    </a:gs>
                    <a:gs pos="99000">
                      <a:schemeClr val="tx2"/>
                    </a:gs>
                  </a:gsLst>
                  <a:lin ang="5400000" scaled="0"/>
                </a:gradFill>
                <a:latin typeface="+mj-lt"/>
                <a:ea typeface="+mn-ea"/>
                <a:cs typeface="+mn-cs"/>
              </a:defRPr>
            </a:lvl1pPr>
            <a:lvl2pPr marL="365690" marR="0"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2400" kern="1200" spc="0" baseline="0">
                <a:solidFill>
                  <a:schemeClr val="tx2"/>
                </a:solidFill>
                <a:latin typeface="+mj-lt"/>
                <a:ea typeface="+mn-ea"/>
                <a:cs typeface="+mn-cs"/>
              </a:defRPr>
            </a:lvl2pPr>
            <a:lvl3pPr marL="548535" marR="0"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2000" kern="1200" spc="0" baseline="0">
                <a:solidFill>
                  <a:schemeClr val="tx2"/>
                </a:solidFill>
                <a:latin typeface="+mj-lt"/>
                <a:ea typeface="+mn-ea"/>
                <a:cs typeface="+mn-cs"/>
              </a:defRPr>
            </a:lvl3pPr>
            <a:lvl4pPr marL="733802" marR="0" indent="-28569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1765" kern="1200" spc="0" baseline="0">
                <a:solidFill>
                  <a:schemeClr val="tx2"/>
                </a:solidFill>
                <a:latin typeface="+mn-lt"/>
                <a:ea typeface="+mn-ea"/>
                <a:cs typeface="+mn-cs"/>
              </a:defRPr>
            </a:lvl4pPr>
            <a:lvl5pPr marL="957856" marR="0" indent="-28569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1765" kern="1200" spc="0" baseline="0">
                <a:solidFill>
                  <a:schemeClr val="tx2"/>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r>
              <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rPr>
              <a:t>Create report </a:t>
            </a:r>
            <a:r>
              <a:rPr kumimoji="0" lang="en-US" sz="2000" b="1"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rPr>
              <a:t>layouts</a:t>
            </a:r>
            <a:r>
              <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rPr>
              <a:t> </a:t>
            </a:r>
            <a:r>
              <a:rPr kumimoji="0" lang="en-US" sz="2000" b="1"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rPr>
              <a:t>specific to mobile </a:t>
            </a:r>
            <a:r>
              <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rPr>
              <a:t>devices</a:t>
            </a: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a:p>
            <a:pPr marL="182845" marR="0" lvl="1" indent="0" algn="l" defTabSz="914367" rtl="0" eaLnBrk="1" fontAlgn="auto" latinLnBrk="0" hangingPunct="1">
              <a:lnSpc>
                <a:spcPct val="90000"/>
              </a:lnSpc>
              <a:spcBef>
                <a:spcPct val="20000"/>
              </a:spcBef>
              <a:spcAft>
                <a:spcPts val="0"/>
              </a:spcAft>
              <a:buClrTx/>
              <a:buSzPct val="90000"/>
              <a:buFont typeface="Arial" panose="020B0604020202020204" pitchFamily="34" charset="0"/>
              <a:buNone/>
              <a:tabLst/>
              <a:defRPr/>
            </a:pPr>
            <a:endPar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p:txBody>
      </p:sp>
      <p:pic>
        <p:nvPicPr>
          <p:cNvPr id="3" name="Picture 2"/>
          <p:cNvPicPr>
            <a:picLocks noChangeAspect="1"/>
          </p:cNvPicPr>
          <p:nvPr/>
        </p:nvPicPr>
        <p:blipFill>
          <a:blip r:embed="rId3"/>
          <a:stretch>
            <a:fillRect/>
          </a:stretch>
        </p:blipFill>
        <p:spPr>
          <a:xfrm>
            <a:off x="8047545" y="748296"/>
            <a:ext cx="3887155" cy="3553572"/>
          </a:xfrm>
          <a:prstGeom prst="rect">
            <a:avLst/>
          </a:prstGeom>
        </p:spPr>
      </p:pic>
      <p:pic>
        <p:nvPicPr>
          <p:cNvPr id="4" name="Picture 3"/>
          <p:cNvPicPr>
            <a:picLocks noChangeAspect="1"/>
          </p:cNvPicPr>
          <p:nvPr/>
        </p:nvPicPr>
        <p:blipFill>
          <a:blip r:embed="rId4"/>
          <a:stretch>
            <a:fillRect/>
          </a:stretch>
        </p:blipFill>
        <p:spPr>
          <a:xfrm>
            <a:off x="4264022" y="2490114"/>
            <a:ext cx="2990850" cy="1143000"/>
          </a:xfrm>
          <a:prstGeom prst="rect">
            <a:avLst/>
          </a:prstGeom>
        </p:spPr>
      </p:pic>
      <p:sp>
        <p:nvSpPr>
          <p:cNvPr id="44" name="Text Placeholder 2"/>
          <p:cNvSpPr txBox="1">
            <a:spLocks/>
          </p:cNvSpPr>
          <p:nvPr/>
        </p:nvSpPr>
        <p:spPr>
          <a:xfrm>
            <a:off x="3237438" y="3947969"/>
            <a:ext cx="4003793" cy="1695099"/>
          </a:xfrm>
          <a:prstGeom prst="rect">
            <a:avLst/>
          </a:prstGeom>
        </p:spPr>
        <p:txBody>
          <a:bodyPr vert="horz" wrap="square" lIns="182880" tIns="146304" rIns="182880" bIns="146304" rtlCol="0">
            <a:noAutofit/>
          </a:bodyPr>
          <a:lstStyle>
            <a:lvl1pPr marL="182845" marR="0"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3921" kern="1200" spc="0" baseline="0">
                <a:gradFill>
                  <a:gsLst>
                    <a:gs pos="1250">
                      <a:schemeClr val="tx2"/>
                    </a:gs>
                    <a:gs pos="99000">
                      <a:schemeClr val="tx2"/>
                    </a:gs>
                  </a:gsLst>
                  <a:lin ang="5400000" scaled="0"/>
                </a:gradFill>
                <a:latin typeface="+mj-lt"/>
                <a:ea typeface="+mn-ea"/>
                <a:cs typeface="+mn-cs"/>
              </a:defRPr>
            </a:lvl1pPr>
            <a:lvl2pPr marL="365690" marR="0"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2400" kern="1200" spc="0" baseline="0">
                <a:solidFill>
                  <a:schemeClr val="tx2"/>
                </a:solidFill>
                <a:latin typeface="+mj-lt"/>
                <a:ea typeface="+mn-ea"/>
                <a:cs typeface="+mn-cs"/>
              </a:defRPr>
            </a:lvl2pPr>
            <a:lvl3pPr marL="548535" marR="0"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2000" kern="1200" spc="0" baseline="0">
                <a:solidFill>
                  <a:schemeClr val="tx2"/>
                </a:solidFill>
                <a:latin typeface="+mj-lt"/>
                <a:ea typeface="+mn-ea"/>
                <a:cs typeface="+mn-cs"/>
              </a:defRPr>
            </a:lvl3pPr>
            <a:lvl4pPr marL="733802" marR="0" indent="-28569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1765" kern="1200" spc="0" baseline="0">
                <a:solidFill>
                  <a:schemeClr val="tx2"/>
                </a:solidFill>
                <a:latin typeface="+mn-lt"/>
                <a:ea typeface="+mn-ea"/>
                <a:cs typeface="+mn-cs"/>
              </a:defRPr>
            </a:lvl4pPr>
            <a:lvl5pPr marL="957856" marR="0" indent="-28569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1765" kern="1200" spc="0" baseline="0">
                <a:solidFill>
                  <a:schemeClr val="tx2"/>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r>
              <a:rPr kumimoji="0" lang="en-US" sz="2000" b="0" i="0" u="none" strike="noStrike" kern="1200" cap="none" spc="0" normalizeH="0" baseline="0" noProof="0">
                <a:ln>
                  <a:noFill/>
                </a:ln>
                <a:solidFill>
                  <a:srgbClr val="000000"/>
                </a:solidFill>
                <a:effectLst/>
                <a:uLnTx/>
                <a:uFillTx/>
                <a:latin typeface="Segoe UI Light"/>
                <a:ea typeface="+mn-ea"/>
                <a:cs typeface="+mn-cs"/>
              </a:rPr>
              <a:t>After publishing, anyone who views this report on their </a:t>
            </a:r>
            <a:r>
              <a:rPr kumimoji="0" lang="en-US" sz="2000" b="1" i="0" u="none" strike="noStrike" kern="1200" cap="none" spc="0" normalizeH="0" baseline="0" noProof="0">
                <a:ln>
                  <a:noFill/>
                </a:ln>
                <a:solidFill>
                  <a:srgbClr val="000000"/>
                </a:solidFill>
                <a:effectLst/>
                <a:uLnTx/>
                <a:uFillTx/>
                <a:latin typeface="Segoe UI Light"/>
                <a:ea typeface="+mn-ea"/>
                <a:cs typeface="+mn-cs"/>
              </a:rPr>
              <a:t>Power BI mobile app will see the phone layout </a:t>
            </a:r>
            <a:r>
              <a:rPr kumimoji="0" lang="en-US" sz="2000" b="0" i="0" u="none" strike="noStrike" kern="1200" cap="none" spc="0" normalizeH="0" baseline="0" noProof="0">
                <a:ln>
                  <a:noFill/>
                </a:ln>
                <a:solidFill>
                  <a:srgbClr val="000000"/>
                </a:solidFill>
                <a:effectLst/>
                <a:uLnTx/>
                <a:uFillTx/>
                <a:latin typeface="Segoe UI Light"/>
                <a:ea typeface="+mn-ea"/>
                <a:cs typeface="+mn-cs"/>
              </a:rPr>
              <a:t>of the report</a:t>
            </a:r>
            <a:endPar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p:txBody>
      </p:sp>
      <p:pic>
        <p:nvPicPr>
          <p:cNvPr id="5" name="Picture 4"/>
          <p:cNvPicPr>
            <a:picLocks noChangeAspect="1"/>
          </p:cNvPicPr>
          <p:nvPr/>
        </p:nvPicPr>
        <p:blipFill>
          <a:blip r:embed="rId5"/>
          <a:stretch>
            <a:fillRect/>
          </a:stretch>
        </p:blipFill>
        <p:spPr>
          <a:xfrm flipH="1">
            <a:off x="7254872" y="4381769"/>
            <a:ext cx="1250834" cy="2343295"/>
          </a:xfrm>
          <a:prstGeom prst="rect">
            <a:avLst/>
          </a:prstGeom>
        </p:spPr>
      </p:pic>
    </p:spTree>
    <p:extLst>
      <p:ext uri="{BB962C8B-B14F-4D97-AF65-F5344CB8AC3E}">
        <p14:creationId xmlns:p14="http://schemas.microsoft.com/office/powerpoint/2010/main" val="20674865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solidFill>
            <a:schemeClr val="bg1"/>
          </a:solidFill>
        </p:spPr>
        <p:txBody>
          <a:bodyPr/>
          <a:lstStyle/>
          <a:p>
            <a:r>
              <a:rPr lang="en-US" sz="3600">
                <a:solidFill>
                  <a:schemeClr val="tx1"/>
                </a:solidFill>
              </a:rPr>
              <a:t>Drill Down and Up</a:t>
            </a:r>
          </a:p>
        </p:txBody>
      </p:sp>
      <p:grpSp>
        <p:nvGrpSpPr>
          <p:cNvPr id="52" name="Group 51"/>
          <p:cNvGrpSpPr/>
          <p:nvPr/>
        </p:nvGrpSpPr>
        <p:grpSpPr>
          <a:xfrm>
            <a:off x="2" y="1"/>
            <a:ext cx="2849058" cy="6858000"/>
            <a:chOff x="2" y="1"/>
            <a:chExt cx="2849058" cy="6858000"/>
          </a:xfrm>
        </p:grpSpPr>
        <p:sp>
          <p:nvSpPr>
            <p:cNvPr id="71" name="Rectangle 70"/>
            <p:cNvSpPr/>
            <p:nvPr/>
          </p:nvSpPr>
          <p:spPr bwMode="auto">
            <a:xfrm>
              <a:off x="2" y="1"/>
              <a:ext cx="2849058"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3" name="Oval 70"/>
            <p:cNvSpPr/>
            <p:nvPr/>
          </p:nvSpPr>
          <p:spPr>
            <a:xfrm>
              <a:off x="1413521" y="4951537"/>
              <a:ext cx="1119626" cy="1119626"/>
            </a:xfrm>
            <a:prstGeom prst="ellipse">
              <a:avLst/>
            </a:prstGeom>
            <a:solidFill>
              <a:srgbClr val="F2C812"/>
            </a:solidFill>
            <a:ln w="3175" cap="flat" cmpd="sng" algn="ctr">
              <a:noFill/>
              <a:prstDash val="solid"/>
            </a:ln>
            <a:effectLst/>
          </p:spPr>
          <p:txBody>
            <a:bodyPr vert="horz" wrap="none" lIns="0" tIns="45720" rIns="0" bIns="0" rtlCol="0" anchor="t"/>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Segoe UI"/>
                  <a:ea typeface="Segoe UI" pitchFamily="34" charset="0"/>
                  <a:cs typeface="Segoe UI" pitchFamily="34" charset="0"/>
                </a:rPr>
                <a:t>Share &amp;</a:t>
              </a:r>
            </a:p>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Segoe UI"/>
                  <a:ea typeface="Segoe UI" pitchFamily="34" charset="0"/>
                  <a:cs typeface="Segoe UI" pitchFamily="34" charset="0"/>
                </a:rPr>
                <a:t>collaborate </a:t>
              </a:r>
            </a:p>
          </p:txBody>
        </p:sp>
        <p:grpSp>
          <p:nvGrpSpPr>
            <p:cNvPr id="76" name="Group 38"/>
            <p:cNvGrpSpPr>
              <a:grpSpLocks noChangeAspect="1"/>
            </p:cNvGrpSpPr>
            <p:nvPr/>
          </p:nvGrpSpPr>
          <p:grpSpPr>
            <a:xfrm>
              <a:off x="676996" y="3930692"/>
              <a:ext cx="383905" cy="351536"/>
              <a:chOff x="4363684" y="5330386"/>
              <a:chExt cx="1409956" cy="1291077"/>
            </a:xfrm>
            <a:solidFill>
              <a:srgbClr val="217346"/>
            </a:solidFill>
          </p:grpSpPr>
          <p:sp>
            <p:nvSpPr>
              <p:cNvPr id="102" name="Donut 3"/>
              <p:cNvSpPr/>
              <p:nvPr/>
            </p:nvSpPr>
            <p:spPr bwMode="auto">
              <a:xfrm>
                <a:off x="4363684" y="5330386"/>
                <a:ext cx="1409956" cy="1291077"/>
              </a:xfrm>
              <a:custGeom>
                <a:avLst/>
                <a:gdLst/>
                <a:ahLst/>
                <a:cxnLst/>
                <a:rect l="l" t="t" r="r" b="b"/>
                <a:pathLst>
                  <a:path w="1409956" h="1291077">
                    <a:moveTo>
                      <a:pt x="956401" y="78410"/>
                    </a:moveTo>
                    <a:cubicBezTo>
                      <a:pt x="747518" y="78410"/>
                      <a:pt x="578184" y="247744"/>
                      <a:pt x="578184" y="456627"/>
                    </a:cubicBezTo>
                    <a:cubicBezTo>
                      <a:pt x="578184" y="665510"/>
                      <a:pt x="747518" y="834844"/>
                      <a:pt x="956401" y="834844"/>
                    </a:cubicBezTo>
                    <a:cubicBezTo>
                      <a:pt x="1165284" y="834844"/>
                      <a:pt x="1334618" y="665510"/>
                      <a:pt x="1334618" y="456627"/>
                    </a:cubicBezTo>
                    <a:cubicBezTo>
                      <a:pt x="1334618" y="247744"/>
                      <a:pt x="1165284" y="78410"/>
                      <a:pt x="956401" y="78410"/>
                    </a:cubicBezTo>
                    <a:close/>
                    <a:moveTo>
                      <a:pt x="952756" y="0"/>
                    </a:moveTo>
                    <a:cubicBezTo>
                      <a:pt x="1205261" y="0"/>
                      <a:pt x="1409956" y="204695"/>
                      <a:pt x="1409956" y="457200"/>
                    </a:cubicBezTo>
                    <a:cubicBezTo>
                      <a:pt x="1409956" y="709705"/>
                      <a:pt x="1205261" y="914400"/>
                      <a:pt x="952756" y="914400"/>
                    </a:cubicBezTo>
                    <a:cubicBezTo>
                      <a:pt x="862133" y="914400"/>
                      <a:pt x="777669" y="888034"/>
                      <a:pt x="707132" y="841746"/>
                    </a:cubicBezTo>
                    <a:lnTo>
                      <a:pt x="136495" y="1280102"/>
                    </a:lnTo>
                    <a:cubicBezTo>
                      <a:pt x="21896" y="1327168"/>
                      <a:pt x="-44029" y="1213730"/>
                      <a:pt x="33797" y="1113182"/>
                    </a:cubicBezTo>
                    <a:lnTo>
                      <a:pt x="568587" y="703518"/>
                    </a:lnTo>
                    <a:cubicBezTo>
                      <a:pt x="522087" y="632814"/>
                      <a:pt x="495556" y="548105"/>
                      <a:pt x="495556" y="457200"/>
                    </a:cubicBezTo>
                    <a:cubicBezTo>
                      <a:pt x="495556" y="204695"/>
                      <a:pt x="700251" y="0"/>
                      <a:pt x="952756" y="0"/>
                    </a:cubicBezTo>
                    <a:close/>
                  </a:path>
                </a:pathLst>
              </a:custGeom>
              <a:grpFill/>
              <a:ln>
                <a:solidFill>
                  <a:srgbClr val="21734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sp>
            <p:nvSpPr>
              <p:cNvPr id="103" name="Rectangle 4"/>
              <p:cNvSpPr/>
              <p:nvPr/>
            </p:nvSpPr>
            <p:spPr>
              <a:xfrm>
                <a:off x="5058389" y="5528247"/>
                <a:ext cx="490885" cy="490020"/>
              </a:xfrm>
              <a:custGeom>
                <a:avLst/>
                <a:gdLst/>
                <a:ahLst/>
                <a:cxnLst/>
                <a:rect l="l" t="t" r="r" b="b"/>
                <a:pathLst>
                  <a:path w="490885" h="490020">
                    <a:moveTo>
                      <a:pt x="240752" y="0"/>
                    </a:moveTo>
                    <a:cubicBezTo>
                      <a:pt x="253961" y="11844"/>
                      <a:pt x="293310" y="49692"/>
                      <a:pt x="337332" y="92439"/>
                    </a:cubicBezTo>
                    <a:lnTo>
                      <a:pt x="328342" y="81259"/>
                    </a:lnTo>
                    <a:cubicBezTo>
                      <a:pt x="356946" y="111282"/>
                      <a:pt x="377251" y="107167"/>
                      <a:pt x="382515" y="87941"/>
                    </a:cubicBezTo>
                    <a:cubicBezTo>
                      <a:pt x="383951" y="76921"/>
                      <a:pt x="384595" y="68732"/>
                      <a:pt x="396997" y="52239"/>
                    </a:cubicBezTo>
                    <a:cubicBezTo>
                      <a:pt x="420362" y="32084"/>
                      <a:pt x="442294" y="41736"/>
                      <a:pt x="454920" y="51330"/>
                    </a:cubicBezTo>
                    <a:cubicBezTo>
                      <a:pt x="467834" y="62761"/>
                      <a:pt x="477920" y="86882"/>
                      <a:pt x="460392" y="109714"/>
                    </a:cubicBezTo>
                    <a:cubicBezTo>
                      <a:pt x="451128" y="121912"/>
                      <a:pt x="437554" y="126838"/>
                      <a:pt x="425922" y="126505"/>
                    </a:cubicBezTo>
                    <a:cubicBezTo>
                      <a:pt x="424301" y="127609"/>
                      <a:pt x="382890" y="134974"/>
                      <a:pt x="427348" y="177672"/>
                    </a:cubicBezTo>
                    <a:lnTo>
                      <a:pt x="416886" y="169735"/>
                    </a:lnTo>
                    <a:cubicBezTo>
                      <a:pt x="450207" y="202177"/>
                      <a:pt x="478424" y="229744"/>
                      <a:pt x="490885" y="241900"/>
                    </a:cubicBezTo>
                    <a:lnTo>
                      <a:pt x="417150" y="317347"/>
                    </a:lnTo>
                    <a:cubicBezTo>
                      <a:pt x="417744" y="316535"/>
                      <a:pt x="418443" y="316123"/>
                      <a:pt x="419047" y="315822"/>
                    </a:cubicBezTo>
                    <a:cubicBezTo>
                      <a:pt x="389023" y="344426"/>
                      <a:pt x="393138" y="364731"/>
                      <a:pt x="412364" y="369995"/>
                    </a:cubicBezTo>
                    <a:cubicBezTo>
                      <a:pt x="423384" y="371431"/>
                      <a:pt x="431574" y="372075"/>
                      <a:pt x="448067" y="384477"/>
                    </a:cubicBezTo>
                    <a:cubicBezTo>
                      <a:pt x="468221" y="407842"/>
                      <a:pt x="458569" y="429774"/>
                      <a:pt x="448975" y="442400"/>
                    </a:cubicBezTo>
                    <a:cubicBezTo>
                      <a:pt x="437545" y="455314"/>
                      <a:pt x="413423" y="465400"/>
                      <a:pt x="390591" y="447872"/>
                    </a:cubicBezTo>
                    <a:cubicBezTo>
                      <a:pt x="378394" y="438608"/>
                      <a:pt x="373468" y="425034"/>
                      <a:pt x="373800" y="413402"/>
                    </a:cubicBezTo>
                    <a:cubicBezTo>
                      <a:pt x="372696" y="411781"/>
                      <a:pt x="365332" y="370370"/>
                      <a:pt x="322634" y="414828"/>
                    </a:cubicBezTo>
                    <a:lnTo>
                      <a:pt x="325243" y="411388"/>
                    </a:lnTo>
                    <a:lnTo>
                      <a:pt x="248395" y="490020"/>
                    </a:lnTo>
                    <a:cubicBezTo>
                      <a:pt x="208939" y="451897"/>
                      <a:pt x="199129" y="442073"/>
                      <a:pt x="174192" y="418236"/>
                    </a:cubicBezTo>
                    <a:cubicBezTo>
                      <a:pt x="145587" y="388212"/>
                      <a:pt x="125282" y="392327"/>
                      <a:pt x="120018" y="411553"/>
                    </a:cubicBezTo>
                    <a:cubicBezTo>
                      <a:pt x="118582" y="422573"/>
                      <a:pt x="117938" y="430763"/>
                      <a:pt x="105536" y="447256"/>
                    </a:cubicBezTo>
                    <a:cubicBezTo>
                      <a:pt x="82171" y="467410"/>
                      <a:pt x="60239" y="457758"/>
                      <a:pt x="47614" y="448164"/>
                    </a:cubicBezTo>
                    <a:cubicBezTo>
                      <a:pt x="34699" y="436734"/>
                      <a:pt x="24614" y="412612"/>
                      <a:pt x="42141" y="389780"/>
                    </a:cubicBezTo>
                    <a:cubicBezTo>
                      <a:pt x="51405" y="377583"/>
                      <a:pt x="64979" y="372657"/>
                      <a:pt x="76612" y="372989"/>
                    </a:cubicBezTo>
                    <a:cubicBezTo>
                      <a:pt x="78232" y="371886"/>
                      <a:pt x="119644" y="364521"/>
                      <a:pt x="75186" y="321823"/>
                    </a:cubicBezTo>
                    <a:cubicBezTo>
                      <a:pt x="58767" y="305402"/>
                      <a:pt x="23648" y="271235"/>
                      <a:pt x="0" y="248738"/>
                    </a:cubicBezTo>
                    <a:lnTo>
                      <a:pt x="77303" y="168146"/>
                    </a:lnTo>
                    <a:cubicBezTo>
                      <a:pt x="104269" y="140313"/>
                      <a:pt x="122130" y="156409"/>
                      <a:pt x="124388" y="175543"/>
                    </a:cubicBezTo>
                    <a:cubicBezTo>
                      <a:pt x="124457" y="182466"/>
                      <a:pt x="127106" y="193106"/>
                      <a:pt x="137575" y="203052"/>
                    </a:cubicBezTo>
                    <a:cubicBezTo>
                      <a:pt x="153931" y="220277"/>
                      <a:pt x="181252" y="217451"/>
                      <a:pt x="196721" y="201951"/>
                    </a:cubicBezTo>
                    <a:cubicBezTo>
                      <a:pt x="211961" y="185740"/>
                      <a:pt x="213057" y="157882"/>
                      <a:pt x="196146" y="142797"/>
                    </a:cubicBezTo>
                    <a:cubicBezTo>
                      <a:pt x="184301" y="132637"/>
                      <a:pt x="177155" y="131453"/>
                      <a:pt x="166513" y="129894"/>
                    </a:cubicBezTo>
                    <a:cubicBezTo>
                      <a:pt x="154522" y="129013"/>
                      <a:pt x="131185" y="112953"/>
                      <a:pt x="157905" y="85228"/>
                    </a:cubicBezTo>
                    <a:close/>
                  </a:path>
                </a:pathLst>
              </a:custGeom>
              <a:grpFill/>
              <a:ln>
                <a:solidFill>
                  <a:srgbClr val="21734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grpSp>
        <p:sp>
          <p:nvSpPr>
            <p:cNvPr id="77" name="Oval 47"/>
            <p:cNvSpPr/>
            <p:nvPr/>
          </p:nvSpPr>
          <p:spPr>
            <a:xfrm>
              <a:off x="388608" y="3710471"/>
              <a:ext cx="1119626" cy="1119626"/>
            </a:xfrm>
            <a:prstGeom prst="ellipse">
              <a:avLst/>
            </a:prstGeom>
            <a:solidFill>
              <a:srgbClr val="F2C812"/>
            </a:solidFill>
            <a:ln w="3175" cap="flat" cmpd="sng" algn="ctr">
              <a:noFill/>
              <a:prstDash val="solid"/>
            </a:ln>
            <a:effectLst/>
          </p:spPr>
          <p:txBody>
            <a:bodyPr vert="horz" wrap="none" lIns="0" tIns="45720" rIns="0" bIns="0" rtlCol="0" anchor="t"/>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Segoe UI"/>
                  <a:ea typeface="Segoe UI" pitchFamily="34" charset="0"/>
                  <a:cs typeface="Segoe UI" pitchFamily="34" charset="0"/>
                </a:rPr>
                <a:t>Report</a:t>
              </a:r>
            </a:p>
          </p:txBody>
        </p:sp>
        <p:sp>
          <p:nvSpPr>
            <p:cNvPr id="78" name="Oval 950"/>
            <p:cNvSpPr/>
            <p:nvPr/>
          </p:nvSpPr>
          <p:spPr>
            <a:xfrm>
              <a:off x="388608" y="1252295"/>
              <a:ext cx="1119626" cy="1119626"/>
            </a:xfrm>
            <a:prstGeom prst="ellipse">
              <a:avLst/>
            </a:prstGeom>
            <a:solidFill>
              <a:srgbClr val="F2C812"/>
            </a:solidFill>
            <a:ln w="3175" cap="flat" cmpd="sng" algn="ctr">
              <a:noFill/>
              <a:prstDash val="solid"/>
            </a:ln>
            <a:effectLst/>
          </p:spPr>
          <p:txBody>
            <a:bodyPr vert="horz" wrap="none" lIns="0" tIns="45720" rIns="0" bIns="0" rtlCol="0" anchor="t"/>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1" i="0" u="none" strike="noStrike" kern="1200" cap="none" spc="0" normalizeH="0" baseline="0" noProof="0">
                <a:ln>
                  <a:noFill/>
                </a:ln>
                <a:solidFill>
                  <a:srgbClr val="217346"/>
                </a:solidFill>
                <a:effectLst/>
                <a:uLnTx/>
                <a:uFillTx/>
                <a:latin typeface="Segoe UI"/>
                <a:ea typeface="Segoe UI" pitchFamily="34" charset="0"/>
                <a:cs typeface="Segoe UI" pitchFamily="34" charset="0"/>
              </a:endParaRPr>
            </a:p>
          </p:txBody>
        </p:sp>
        <p:grpSp>
          <p:nvGrpSpPr>
            <p:cNvPr id="79" name="Group 78"/>
            <p:cNvGrpSpPr/>
            <p:nvPr/>
          </p:nvGrpSpPr>
          <p:grpSpPr>
            <a:xfrm>
              <a:off x="1264851" y="3482890"/>
              <a:ext cx="292254" cy="354906"/>
              <a:chOff x="1296521" y="3253388"/>
              <a:chExt cx="292254" cy="354906"/>
            </a:xfrm>
            <a:solidFill>
              <a:srgbClr val="F2C812"/>
            </a:solidFill>
          </p:grpSpPr>
          <p:sp>
            <p:nvSpPr>
              <p:cNvPr id="99" name="Isosceles Triangle 98"/>
              <p:cNvSpPr/>
              <p:nvPr/>
            </p:nvSpPr>
            <p:spPr bwMode="auto">
              <a:xfrm rot="13636515">
                <a:off x="1461362" y="328936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0" name="Isosceles Triangle 99"/>
              <p:cNvSpPr/>
              <p:nvPr/>
            </p:nvSpPr>
            <p:spPr bwMode="auto">
              <a:xfrm rot="13636515">
                <a:off x="1357669" y="338258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1" name="Isosceles Triangle 100"/>
              <p:cNvSpPr/>
              <p:nvPr/>
            </p:nvSpPr>
            <p:spPr bwMode="auto">
              <a:xfrm rot="13636515">
                <a:off x="1260548" y="3480882"/>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80" name="Group 79"/>
            <p:cNvGrpSpPr/>
            <p:nvPr/>
          </p:nvGrpSpPr>
          <p:grpSpPr>
            <a:xfrm rot="15940603">
              <a:off x="1334576" y="2204404"/>
              <a:ext cx="292254" cy="354906"/>
              <a:chOff x="1296521" y="3253388"/>
              <a:chExt cx="292254" cy="354906"/>
            </a:xfrm>
            <a:solidFill>
              <a:srgbClr val="F2C812"/>
            </a:solidFill>
          </p:grpSpPr>
          <p:sp>
            <p:nvSpPr>
              <p:cNvPr id="96" name="Isosceles Triangle 95"/>
              <p:cNvSpPr/>
              <p:nvPr/>
            </p:nvSpPr>
            <p:spPr bwMode="auto">
              <a:xfrm rot="13636515">
                <a:off x="1461362" y="328936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7" name="Isosceles Triangle 96"/>
              <p:cNvSpPr/>
              <p:nvPr/>
            </p:nvSpPr>
            <p:spPr bwMode="auto">
              <a:xfrm rot="13636515">
                <a:off x="1357669" y="338258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8" name="Isosceles Triangle 97"/>
              <p:cNvSpPr/>
              <p:nvPr/>
            </p:nvSpPr>
            <p:spPr bwMode="auto">
              <a:xfrm rot="13636515">
                <a:off x="1260548" y="3480882"/>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81" name="Group 80"/>
            <p:cNvGrpSpPr/>
            <p:nvPr/>
          </p:nvGrpSpPr>
          <p:grpSpPr>
            <a:xfrm rot="16043978">
              <a:off x="1317220" y="4717577"/>
              <a:ext cx="292254" cy="354906"/>
              <a:chOff x="1296521" y="3253388"/>
              <a:chExt cx="292254" cy="354906"/>
            </a:xfrm>
            <a:solidFill>
              <a:srgbClr val="F2C812"/>
            </a:solidFill>
          </p:grpSpPr>
          <p:sp>
            <p:nvSpPr>
              <p:cNvPr id="93" name="Isosceles Triangle 92"/>
              <p:cNvSpPr/>
              <p:nvPr/>
            </p:nvSpPr>
            <p:spPr bwMode="auto">
              <a:xfrm rot="13636515">
                <a:off x="1461362" y="328936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4" name="Isosceles Triangle 93"/>
              <p:cNvSpPr/>
              <p:nvPr/>
            </p:nvSpPr>
            <p:spPr bwMode="auto">
              <a:xfrm rot="13636515">
                <a:off x="1357669" y="338258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5" name="Isosceles Triangle 94"/>
              <p:cNvSpPr/>
              <p:nvPr/>
            </p:nvSpPr>
            <p:spPr bwMode="auto">
              <a:xfrm rot="13636515">
                <a:off x="1260548" y="3480882"/>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82" name="Oval 36"/>
            <p:cNvSpPr/>
            <p:nvPr/>
          </p:nvSpPr>
          <p:spPr>
            <a:xfrm>
              <a:off x="1413521" y="2481383"/>
              <a:ext cx="1119626" cy="1119626"/>
            </a:xfrm>
            <a:prstGeom prst="ellipse">
              <a:avLst/>
            </a:prstGeom>
            <a:solidFill>
              <a:srgbClr val="F2C812"/>
            </a:solidFill>
            <a:ln w="3175" cap="flat" cmpd="sng" algn="ctr">
              <a:noFill/>
              <a:prstDash val="solid"/>
            </a:ln>
            <a:effectLst/>
          </p:spPr>
          <p:txBody>
            <a:bodyPr vert="horz" wrap="none" lIns="0" tIns="0" rIns="0" bIns="0" rtlCol="0" anchor="t"/>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400" b="1" i="0" u="none" strike="noStrike" kern="1200" cap="none" spc="0" normalizeH="0" baseline="0" noProof="0">
                <a:ln>
                  <a:noFill/>
                </a:ln>
                <a:solidFill>
                  <a:srgbClr val="217346"/>
                </a:solidFill>
                <a:effectLst/>
                <a:uLnTx/>
                <a:uFillTx/>
                <a:latin typeface="Segoe UI"/>
                <a:ea typeface="Segoe UI" pitchFamily="34" charset="0"/>
                <a:cs typeface="Segoe UI" pitchFamily="34" charset="0"/>
              </a:endParaRPr>
            </a:p>
          </p:txBody>
        </p:sp>
        <p:sp>
          <p:nvSpPr>
            <p:cNvPr id="83" name="Donut 3"/>
            <p:cNvSpPr/>
            <p:nvPr/>
          </p:nvSpPr>
          <p:spPr bwMode="auto">
            <a:xfrm>
              <a:off x="1742065" y="3002355"/>
              <a:ext cx="383905" cy="351537"/>
            </a:xfrm>
            <a:custGeom>
              <a:avLst/>
              <a:gdLst/>
              <a:ahLst/>
              <a:cxnLst/>
              <a:rect l="l" t="t" r="r" b="b"/>
              <a:pathLst>
                <a:path w="1409956" h="1291077">
                  <a:moveTo>
                    <a:pt x="956401" y="78410"/>
                  </a:moveTo>
                  <a:cubicBezTo>
                    <a:pt x="747518" y="78410"/>
                    <a:pt x="578184" y="247744"/>
                    <a:pt x="578184" y="456627"/>
                  </a:cubicBezTo>
                  <a:cubicBezTo>
                    <a:pt x="578184" y="665510"/>
                    <a:pt x="747518" y="834844"/>
                    <a:pt x="956401" y="834844"/>
                  </a:cubicBezTo>
                  <a:cubicBezTo>
                    <a:pt x="1165284" y="834844"/>
                    <a:pt x="1334618" y="665510"/>
                    <a:pt x="1334618" y="456627"/>
                  </a:cubicBezTo>
                  <a:cubicBezTo>
                    <a:pt x="1334618" y="247744"/>
                    <a:pt x="1165284" y="78410"/>
                    <a:pt x="956401" y="78410"/>
                  </a:cubicBezTo>
                  <a:close/>
                  <a:moveTo>
                    <a:pt x="952756" y="0"/>
                  </a:moveTo>
                  <a:cubicBezTo>
                    <a:pt x="1205261" y="0"/>
                    <a:pt x="1409956" y="204695"/>
                    <a:pt x="1409956" y="457200"/>
                  </a:cubicBezTo>
                  <a:cubicBezTo>
                    <a:pt x="1409956" y="709705"/>
                    <a:pt x="1205261" y="914400"/>
                    <a:pt x="952756" y="914400"/>
                  </a:cubicBezTo>
                  <a:cubicBezTo>
                    <a:pt x="862133" y="914400"/>
                    <a:pt x="777669" y="888034"/>
                    <a:pt x="707132" y="841746"/>
                  </a:cubicBezTo>
                  <a:lnTo>
                    <a:pt x="136495" y="1280102"/>
                  </a:lnTo>
                  <a:cubicBezTo>
                    <a:pt x="21896" y="1327168"/>
                    <a:pt x="-44029" y="1213730"/>
                    <a:pt x="33797" y="1113182"/>
                  </a:cubicBezTo>
                  <a:lnTo>
                    <a:pt x="568587" y="703518"/>
                  </a:lnTo>
                  <a:cubicBezTo>
                    <a:pt x="522087" y="632814"/>
                    <a:pt x="495556" y="548105"/>
                    <a:pt x="495556" y="457200"/>
                  </a:cubicBezTo>
                  <a:cubicBezTo>
                    <a:pt x="495556" y="204695"/>
                    <a:pt x="700251" y="0"/>
                    <a:pt x="952756" y="0"/>
                  </a:cubicBezTo>
                  <a:close/>
                </a:path>
              </a:pathLst>
            </a:cu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sp>
          <p:nvSpPr>
            <p:cNvPr id="84" name="Rectangle 83"/>
            <p:cNvSpPr/>
            <p:nvPr/>
          </p:nvSpPr>
          <p:spPr>
            <a:xfrm>
              <a:off x="1600398" y="2677430"/>
              <a:ext cx="820353" cy="307777"/>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Segoe UI"/>
                  <a:ea typeface="Segoe UI" pitchFamily="34" charset="0"/>
                  <a:cs typeface="Segoe UI" pitchFamily="34" charset="0"/>
                </a:rPr>
                <a:t>Explore</a:t>
              </a:r>
              <a:endParaRPr kumimoji="0" lang="en-US" sz="1600" b="0" i="0" u="none" strike="noStrike" kern="1200" cap="none" spc="0" normalizeH="0" baseline="0" noProof="0">
                <a:ln>
                  <a:noFill/>
                </a:ln>
                <a:solidFill>
                  <a:srgbClr val="000000"/>
                </a:solidFill>
                <a:effectLst/>
                <a:uLnTx/>
                <a:uFillTx/>
                <a:latin typeface="Segoe UI"/>
                <a:ea typeface="+mn-ea"/>
                <a:cs typeface="+mn-cs"/>
              </a:endParaRPr>
            </a:p>
          </p:txBody>
        </p:sp>
        <p:sp>
          <p:nvSpPr>
            <p:cNvPr id="85" name="Rectangle 84"/>
            <p:cNvSpPr/>
            <p:nvPr/>
          </p:nvSpPr>
          <p:spPr>
            <a:xfrm>
              <a:off x="509174" y="1475232"/>
              <a:ext cx="838756" cy="307777"/>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Segoe UI"/>
                  <a:ea typeface="Segoe UI" pitchFamily="34" charset="0"/>
                  <a:cs typeface="Segoe UI" pitchFamily="34" charset="0"/>
                </a:rPr>
                <a:t>Prepare</a:t>
              </a: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86" name="Freeform 85"/>
            <p:cNvSpPr>
              <a:spLocks noChangeAspect="1"/>
            </p:cNvSpPr>
            <p:nvPr/>
          </p:nvSpPr>
          <p:spPr bwMode="black">
            <a:xfrm>
              <a:off x="1836174" y="5643069"/>
              <a:ext cx="274320" cy="284173"/>
            </a:xfrm>
            <a:custGeom>
              <a:avLst/>
              <a:gdLst>
                <a:gd name="T0" fmla="*/ 539 w 669"/>
                <a:gd name="T1" fmla="*/ 5 h 693"/>
                <a:gd name="T2" fmla="*/ 640 w 669"/>
                <a:gd name="T3" fmla="*/ 55 h 693"/>
                <a:gd name="T4" fmla="*/ 603 w 669"/>
                <a:gd name="T5" fmla="*/ 195 h 693"/>
                <a:gd name="T6" fmla="*/ 490 w 669"/>
                <a:gd name="T7" fmla="*/ 188 h 693"/>
                <a:gd name="T8" fmla="*/ 479 w 669"/>
                <a:gd name="T9" fmla="*/ 176 h 693"/>
                <a:gd name="T10" fmla="*/ 213 w 669"/>
                <a:gd name="T11" fmla="*/ 330 h 693"/>
                <a:gd name="T12" fmla="*/ 218 w 669"/>
                <a:gd name="T13" fmla="*/ 345 h 693"/>
                <a:gd name="T14" fmla="*/ 218 w 669"/>
                <a:gd name="T15" fmla="*/ 375 h 693"/>
                <a:gd name="T16" fmla="*/ 209 w 669"/>
                <a:gd name="T17" fmla="*/ 402 h 693"/>
                <a:gd name="T18" fmla="*/ 369 w 669"/>
                <a:gd name="T19" fmla="*/ 503 h 693"/>
                <a:gd name="T20" fmla="*/ 373 w 669"/>
                <a:gd name="T21" fmla="*/ 498 h 693"/>
                <a:gd name="T22" fmla="*/ 456 w 669"/>
                <a:gd name="T23" fmla="*/ 475 h 693"/>
                <a:gd name="T24" fmla="*/ 494 w 669"/>
                <a:gd name="T25" fmla="*/ 489 h 693"/>
                <a:gd name="T26" fmla="*/ 527 w 669"/>
                <a:gd name="T27" fmla="*/ 630 h 693"/>
                <a:gd name="T28" fmla="*/ 386 w 669"/>
                <a:gd name="T29" fmla="*/ 663 h 693"/>
                <a:gd name="T30" fmla="*/ 339 w 669"/>
                <a:gd name="T31" fmla="*/ 560 h 693"/>
                <a:gd name="T32" fmla="*/ 345 w 669"/>
                <a:gd name="T33" fmla="*/ 544 h 693"/>
                <a:gd name="T34" fmla="*/ 177 w 669"/>
                <a:gd name="T35" fmla="*/ 439 h 693"/>
                <a:gd name="T36" fmla="*/ 168 w 669"/>
                <a:gd name="T37" fmla="*/ 446 h 693"/>
                <a:gd name="T38" fmla="*/ 28 w 669"/>
                <a:gd name="T39" fmla="*/ 409 h 693"/>
                <a:gd name="T40" fmla="*/ 65 w 669"/>
                <a:gd name="T41" fmla="*/ 269 h 693"/>
                <a:gd name="T42" fmla="*/ 178 w 669"/>
                <a:gd name="T43" fmla="*/ 276 h 693"/>
                <a:gd name="T44" fmla="*/ 189 w 669"/>
                <a:gd name="T45" fmla="*/ 288 h 693"/>
                <a:gd name="T46" fmla="*/ 455 w 669"/>
                <a:gd name="T47" fmla="*/ 134 h 693"/>
                <a:gd name="T48" fmla="*/ 450 w 669"/>
                <a:gd name="T49" fmla="*/ 119 h 693"/>
                <a:gd name="T50" fmla="*/ 501 w 669"/>
                <a:gd name="T51" fmla="*/ 18 h 693"/>
                <a:gd name="T52" fmla="*/ 539 w 669"/>
                <a:gd name="T53" fmla="*/ 5 h 6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69" h="693">
                  <a:moveTo>
                    <a:pt x="539" y="5"/>
                  </a:moveTo>
                  <a:cubicBezTo>
                    <a:pt x="579" y="0"/>
                    <a:pt x="619" y="19"/>
                    <a:pt x="640" y="55"/>
                  </a:cubicBezTo>
                  <a:cubicBezTo>
                    <a:pt x="669" y="104"/>
                    <a:pt x="652" y="167"/>
                    <a:pt x="603" y="195"/>
                  </a:cubicBezTo>
                  <a:cubicBezTo>
                    <a:pt x="566" y="216"/>
                    <a:pt x="522" y="212"/>
                    <a:pt x="490" y="188"/>
                  </a:cubicBezTo>
                  <a:cubicBezTo>
                    <a:pt x="479" y="176"/>
                    <a:pt x="479" y="176"/>
                    <a:pt x="479" y="176"/>
                  </a:cubicBezTo>
                  <a:cubicBezTo>
                    <a:pt x="213" y="330"/>
                    <a:pt x="213" y="330"/>
                    <a:pt x="213" y="330"/>
                  </a:cubicBezTo>
                  <a:cubicBezTo>
                    <a:pt x="218" y="345"/>
                    <a:pt x="218" y="345"/>
                    <a:pt x="218" y="345"/>
                  </a:cubicBezTo>
                  <a:cubicBezTo>
                    <a:pt x="219" y="355"/>
                    <a:pt x="219" y="365"/>
                    <a:pt x="218" y="375"/>
                  </a:cubicBezTo>
                  <a:cubicBezTo>
                    <a:pt x="209" y="402"/>
                    <a:pt x="209" y="402"/>
                    <a:pt x="209" y="402"/>
                  </a:cubicBezTo>
                  <a:cubicBezTo>
                    <a:pt x="369" y="503"/>
                    <a:pt x="369" y="503"/>
                    <a:pt x="369" y="503"/>
                  </a:cubicBezTo>
                  <a:cubicBezTo>
                    <a:pt x="373" y="498"/>
                    <a:pt x="373" y="498"/>
                    <a:pt x="373" y="498"/>
                  </a:cubicBezTo>
                  <a:cubicBezTo>
                    <a:pt x="396" y="479"/>
                    <a:pt x="427" y="470"/>
                    <a:pt x="456" y="475"/>
                  </a:cubicBezTo>
                  <a:cubicBezTo>
                    <a:pt x="470" y="477"/>
                    <a:pt x="482" y="482"/>
                    <a:pt x="494" y="489"/>
                  </a:cubicBezTo>
                  <a:cubicBezTo>
                    <a:pt x="542" y="519"/>
                    <a:pt x="557" y="583"/>
                    <a:pt x="527" y="630"/>
                  </a:cubicBezTo>
                  <a:cubicBezTo>
                    <a:pt x="497" y="678"/>
                    <a:pt x="433" y="693"/>
                    <a:pt x="386" y="663"/>
                  </a:cubicBezTo>
                  <a:cubicBezTo>
                    <a:pt x="350" y="640"/>
                    <a:pt x="333" y="599"/>
                    <a:pt x="339" y="560"/>
                  </a:cubicBezTo>
                  <a:cubicBezTo>
                    <a:pt x="345" y="544"/>
                    <a:pt x="345" y="544"/>
                    <a:pt x="345" y="544"/>
                  </a:cubicBezTo>
                  <a:cubicBezTo>
                    <a:pt x="177" y="439"/>
                    <a:pt x="177" y="439"/>
                    <a:pt x="177" y="439"/>
                  </a:cubicBezTo>
                  <a:cubicBezTo>
                    <a:pt x="168" y="446"/>
                    <a:pt x="168" y="446"/>
                    <a:pt x="168" y="446"/>
                  </a:cubicBezTo>
                  <a:cubicBezTo>
                    <a:pt x="119" y="475"/>
                    <a:pt x="56" y="458"/>
                    <a:pt x="28" y="409"/>
                  </a:cubicBezTo>
                  <a:cubicBezTo>
                    <a:pt x="0" y="360"/>
                    <a:pt x="16" y="297"/>
                    <a:pt x="65" y="269"/>
                  </a:cubicBezTo>
                  <a:cubicBezTo>
                    <a:pt x="102" y="248"/>
                    <a:pt x="147" y="252"/>
                    <a:pt x="178" y="276"/>
                  </a:cubicBezTo>
                  <a:cubicBezTo>
                    <a:pt x="189" y="288"/>
                    <a:pt x="189" y="288"/>
                    <a:pt x="189" y="288"/>
                  </a:cubicBezTo>
                  <a:cubicBezTo>
                    <a:pt x="455" y="134"/>
                    <a:pt x="455" y="134"/>
                    <a:pt x="455" y="134"/>
                  </a:cubicBezTo>
                  <a:cubicBezTo>
                    <a:pt x="450" y="119"/>
                    <a:pt x="450" y="119"/>
                    <a:pt x="450" y="119"/>
                  </a:cubicBezTo>
                  <a:cubicBezTo>
                    <a:pt x="445" y="80"/>
                    <a:pt x="464" y="39"/>
                    <a:pt x="501" y="18"/>
                  </a:cubicBezTo>
                  <a:cubicBezTo>
                    <a:pt x="513" y="11"/>
                    <a:pt x="526" y="6"/>
                    <a:pt x="539" y="5"/>
                  </a:cubicBezTo>
                  <a:close/>
                </a:path>
              </a:pathLst>
            </a:custGeom>
            <a:solidFill>
              <a:schemeClr val="tx1"/>
            </a:solidFill>
            <a:ln>
              <a:noFill/>
            </a:ln>
          </p:spPr>
          <p:txBody>
            <a:bodyPr vert="horz" wrap="square" lIns="68574" tIns="34287" rIns="68574" bIns="34287"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0000"/>
                </a:solidFill>
                <a:effectLst/>
                <a:uLnTx/>
                <a:uFillTx/>
                <a:latin typeface="Segoe UI"/>
                <a:ea typeface="+mn-ea"/>
                <a:cs typeface="+mn-cs"/>
              </a:endParaRPr>
            </a:p>
          </p:txBody>
        </p:sp>
        <p:sp>
          <p:nvSpPr>
            <p:cNvPr id="87" name="Freeform 86"/>
            <p:cNvSpPr>
              <a:spLocks noChangeAspect="1" noEditPoints="1"/>
            </p:cNvSpPr>
            <p:nvPr/>
          </p:nvSpPr>
          <p:spPr bwMode="black">
            <a:xfrm>
              <a:off x="722320" y="1783009"/>
              <a:ext cx="452202" cy="366660"/>
            </a:xfrm>
            <a:custGeom>
              <a:avLst/>
              <a:gdLst>
                <a:gd name="T0" fmla="*/ 600 w 1107"/>
                <a:gd name="T1" fmla="*/ 625 h 897"/>
                <a:gd name="T2" fmla="*/ 649 w 1107"/>
                <a:gd name="T3" fmla="*/ 567 h 897"/>
                <a:gd name="T4" fmla="*/ 727 w 1107"/>
                <a:gd name="T5" fmla="*/ 482 h 897"/>
                <a:gd name="T6" fmla="*/ 601 w 1107"/>
                <a:gd name="T7" fmla="*/ 434 h 897"/>
                <a:gd name="T8" fmla="*/ 628 w 1107"/>
                <a:gd name="T9" fmla="*/ 305 h 897"/>
                <a:gd name="T10" fmla="*/ 547 w 1107"/>
                <a:gd name="T11" fmla="*/ 240 h 897"/>
                <a:gd name="T12" fmla="*/ 427 w 1107"/>
                <a:gd name="T13" fmla="*/ 287 h 897"/>
                <a:gd name="T14" fmla="*/ 368 w 1107"/>
                <a:gd name="T15" fmla="*/ 170 h 897"/>
                <a:gd name="T16" fmla="*/ 285 w 1107"/>
                <a:gd name="T17" fmla="*/ 263 h 897"/>
                <a:gd name="T18" fmla="*/ 241 w 1107"/>
                <a:gd name="T19" fmla="*/ 313 h 897"/>
                <a:gd name="T20" fmla="*/ 139 w 1107"/>
                <a:gd name="T21" fmla="*/ 281 h 897"/>
                <a:gd name="T22" fmla="*/ 79 w 1107"/>
                <a:gd name="T23" fmla="*/ 355 h 897"/>
                <a:gd name="T24" fmla="*/ 132 w 1107"/>
                <a:gd name="T25" fmla="*/ 446 h 897"/>
                <a:gd name="T26" fmla="*/ 83 w 1107"/>
                <a:gd name="T27" fmla="*/ 505 h 897"/>
                <a:gd name="T28" fmla="*/ 5 w 1107"/>
                <a:gd name="T29" fmla="*/ 590 h 897"/>
                <a:gd name="T30" fmla="*/ 132 w 1107"/>
                <a:gd name="T31" fmla="*/ 638 h 897"/>
                <a:gd name="T32" fmla="*/ 145 w 1107"/>
                <a:gd name="T33" fmla="*/ 669 h 897"/>
                <a:gd name="T34" fmla="*/ 110 w 1107"/>
                <a:gd name="T35" fmla="*/ 793 h 897"/>
                <a:gd name="T36" fmla="*/ 230 w 1107"/>
                <a:gd name="T37" fmla="*/ 781 h 897"/>
                <a:gd name="T38" fmla="*/ 306 w 1107"/>
                <a:gd name="T39" fmla="*/ 785 h 897"/>
                <a:gd name="T40" fmla="*/ 346 w 1107"/>
                <a:gd name="T41" fmla="*/ 878 h 897"/>
                <a:gd name="T42" fmla="*/ 440 w 1107"/>
                <a:gd name="T43" fmla="*/ 872 h 897"/>
                <a:gd name="T44" fmla="*/ 466 w 1107"/>
                <a:gd name="T45" fmla="*/ 764 h 897"/>
                <a:gd name="T46" fmla="*/ 539 w 1107"/>
                <a:gd name="T47" fmla="*/ 755 h 897"/>
                <a:gd name="T48" fmla="*/ 659 w 1107"/>
                <a:gd name="T49" fmla="*/ 743 h 897"/>
                <a:gd name="T50" fmla="*/ 263 w 1107"/>
                <a:gd name="T51" fmla="*/ 452 h 897"/>
                <a:gd name="T52" fmla="*/ 281 w 1107"/>
                <a:gd name="T53" fmla="*/ 633 h 897"/>
                <a:gd name="T54" fmla="*/ 1002 w 1107"/>
                <a:gd name="T55" fmla="*/ 332 h 897"/>
                <a:gd name="T56" fmla="*/ 1043 w 1107"/>
                <a:gd name="T57" fmla="*/ 304 h 897"/>
                <a:gd name="T58" fmla="*/ 1107 w 1107"/>
                <a:gd name="T59" fmla="*/ 266 h 897"/>
                <a:gd name="T60" fmla="*/ 1037 w 1107"/>
                <a:gd name="T61" fmla="*/ 213 h 897"/>
                <a:gd name="T62" fmla="*/ 1077 w 1107"/>
                <a:gd name="T63" fmla="*/ 138 h 897"/>
                <a:gd name="T64" fmla="*/ 1038 w 1107"/>
                <a:gd name="T65" fmla="*/ 83 h 897"/>
                <a:gd name="T66" fmla="*/ 956 w 1107"/>
                <a:gd name="T67" fmla="*/ 91 h 897"/>
                <a:gd name="T68" fmla="*/ 940 w 1107"/>
                <a:gd name="T69" fmla="*/ 7 h 897"/>
                <a:gd name="T70" fmla="*/ 872 w 1107"/>
                <a:gd name="T71" fmla="*/ 50 h 897"/>
                <a:gd name="T72" fmla="*/ 836 w 1107"/>
                <a:gd name="T73" fmla="*/ 74 h 897"/>
                <a:gd name="T74" fmla="*/ 778 w 1107"/>
                <a:gd name="T75" fmla="*/ 35 h 897"/>
                <a:gd name="T76" fmla="*/ 728 w 1107"/>
                <a:gd name="T77" fmla="*/ 70 h 897"/>
                <a:gd name="T78" fmla="*/ 744 w 1107"/>
                <a:gd name="T79" fmla="*/ 136 h 897"/>
                <a:gd name="T80" fmla="*/ 703 w 1107"/>
                <a:gd name="T81" fmla="*/ 164 h 897"/>
                <a:gd name="T82" fmla="*/ 640 w 1107"/>
                <a:gd name="T83" fmla="*/ 203 h 897"/>
                <a:gd name="T84" fmla="*/ 710 w 1107"/>
                <a:gd name="T85" fmla="*/ 255 h 897"/>
                <a:gd name="T86" fmla="*/ 712 w 1107"/>
                <a:gd name="T87" fmla="*/ 277 h 897"/>
                <a:gd name="T88" fmla="*/ 668 w 1107"/>
                <a:gd name="T89" fmla="*/ 347 h 897"/>
                <a:gd name="T90" fmla="*/ 745 w 1107"/>
                <a:gd name="T91" fmla="*/ 361 h 897"/>
                <a:gd name="T92" fmla="*/ 791 w 1107"/>
                <a:gd name="T93" fmla="*/ 377 h 897"/>
                <a:gd name="T94" fmla="*/ 799 w 1107"/>
                <a:gd name="T95" fmla="*/ 443 h 897"/>
                <a:gd name="T96" fmla="*/ 859 w 1107"/>
                <a:gd name="T97" fmla="*/ 456 h 897"/>
                <a:gd name="T98" fmla="*/ 894 w 1107"/>
                <a:gd name="T99" fmla="*/ 393 h 897"/>
                <a:gd name="T100" fmla="*/ 941 w 1107"/>
                <a:gd name="T101" fmla="*/ 401 h 897"/>
                <a:gd name="T102" fmla="*/ 1018 w 1107"/>
                <a:gd name="T103" fmla="*/ 415 h 897"/>
                <a:gd name="T104" fmla="*/ 825 w 1107"/>
                <a:gd name="T105" fmla="*/ 164 h 897"/>
                <a:gd name="T106" fmla="*/ 803 w 1107"/>
                <a:gd name="T107" fmla="*/ 279 h 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107" h="897">
                  <a:moveTo>
                    <a:pt x="654" y="716"/>
                  </a:moveTo>
                  <a:cubicBezTo>
                    <a:pt x="616" y="670"/>
                    <a:pt x="616" y="670"/>
                    <a:pt x="616" y="670"/>
                  </a:cubicBezTo>
                  <a:cubicBezTo>
                    <a:pt x="593" y="654"/>
                    <a:pt x="603" y="638"/>
                    <a:pt x="600" y="625"/>
                  </a:cubicBezTo>
                  <a:cubicBezTo>
                    <a:pt x="600" y="625"/>
                    <a:pt x="600" y="625"/>
                    <a:pt x="600" y="625"/>
                  </a:cubicBezTo>
                  <a:cubicBezTo>
                    <a:pt x="605" y="617"/>
                    <a:pt x="611" y="609"/>
                    <a:pt x="608" y="596"/>
                  </a:cubicBezTo>
                  <a:cubicBezTo>
                    <a:pt x="618" y="580"/>
                    <a:pt x="623" y="572"/>
                    <a:pt x="649" y="567"/>
                  </a:cubicBezTo>
                  <a:cubicBezTo>
                    <a:pt x="715" y="553"/>
                    <a:pt x="715" y="553"/>
                    <a:pt x="715" y="553"/>
                  </a:cubicBezTo>
                  <a:cubicBezTo>
                    <a:pt x="728" y="550"/>
                    <a:pt x="733" y="542"/>
                    <a:pt x="730" y="529"/>
                  </a:cubicBezTo>
                  <a:cubicBezTo>
                    <a:pt x="727" y="482"/>
                    <a:pt x="727" y="482"/>
                    <a:pt x="727" y="482"/>
                  </a:cubicBezTo>
                  <a:cubicBezTo>
                    <a:pt x="724" y="469"/>
                    <a:pt x="717" y="463"/>
                    <a:pt x="701" y="453"/>
                  </a:cubicBezTo>
                  <a:cubicBezTo>
                    <a:pt x="641" y="459"/>
                    <a:pt x="641" y="459"/>
                    <a:pt x="641" y="459"/>
                  </a:cubicBezTo>
                  <a:cubicBezTo>
                    <a:pt x="620" y="457"/>
                    <a:pt x="604" y="447"/>
                    <a:pt x="601" y="434"/>
                  </a:cubicBezTo>
                  <a:cubicBezTo>
                    <a:pt x="598" y="421"/>
                    <a:pt x="590" y="416"/>
                    <a:pt x="580" y="397"/>
                  </a:cubicBezTo>
                  <a:cubicBezTo>
                    <a:pt x="577" y="384"/>
                    <a:pt x="574" y="371"/>
                    <a:pt x="584" y="355"/>
                  </a:cubicBezTo>
                  <a:cubicBezTo>
                    <a:pt x="628" y="305"/>
                    <a:pt x="628" y="305"/>
                    <a:pt x="628" y="305"/>
                  </a:cubicBezTo>
                  <a:cubicBezTo>
                    <a:pt x="634" y="297"/>
                    <a:pt x="631" y="284"/>
                    <a:pt x="623" y="279"/>
                  </a:cubicBezTo>
                  <a:cubicBezTo>
                    <a:pt x="581" y="240"/>
                    <a:pt x="581" y="240"/>
                    <a:pt x="581" y="240"/>
                  </a:cubicBezTo>
                  <a:cubicBezTo>
                    <a:pt x="573" y="235"/>
                    <a:pt x="560" y="238"/>
                    <a:pt x="547" y="240"/>
                  </a:cubicBezTo>
                  <a:cubicBezTo>
                    <a:pt x="503" y="291"/>
                    <a:pt x="503" y="291"/>
                    <a:pt x="503" y="291"/>
                  </a:cubicBezTo>
                  <a:cubicBezTo>
                    <a:pt x="484" y="302"/>
                    <a:pt x="471" y="304"/>
                    <a:pt x="463" y="299"/>
                  </a:cubicBezTo>
                  <a:cubicBezTo>
                    <a:pt x="456" y="294"/>
                    <a:pt x="435" y="292"/>
                    <a:pt x="427" y="287"/>
                  </a:cubicBezTo>
                  <a:cubicBezTo>
                    <a:pt x="419" y="282"/>
                    <a:pt x="403" y="271"/>
                    <a:pt x="400" y="258"/>
                  </a:cubicBezTo>
                  <a:cubicBezTo>
                    <a:pt x="386" y="193"/>
                    <a:pt x="386" y="193"/>
                    <a:pt x="386" y="193"/>
                  </a:cubicBezTo>
                  <a:cubicBezTo>
                    <a:pt x="384" y="180"/>
                    <a:pt x="368" y="170"/>
                    <a:pt x="368" y="170"/>
                  </a:cubicBezTo>
                  <a:cubicBezTo>
                    <a:pt x="308" y="176"/>
                    <a:pt x="308" y="176"/>
                    <a:pt x="308" y="176"/>
                  </a:cubicBezTo>
                  <a:cubicBezTo>
                    <a:pt x="308" y="176"/>
                    <a:pt x="289" y="187"/>
                    <a:pt x="292" y="200"/>
                  </a:cubicBezTo>
                  <a:cubicBezTo>
                    <a:pt x="285" y="263"/>
                    <a:pt x="285" y="263"/>
                    <a:pt x="285" y="263"/>
                  </a:cubicBezTo>
                  <a:cubicBezTo>
                    <a:pt x="291" y="289"/>
                    <a:pt x="277" y="292"/>
                    <a:pt x="272" y="300"/>
                  </a:cubicBezTo>
                  <a:cubicBezTo>
                    <a:pt x="272" y="300"/>
                    <a:pt x="272" y="300"/>
                    <a:pt x="267" y="308"/>
                  </a:cubicBezTo>
                  <a:cubicBezTo>
                    <a:pt x="259" y="302"/>
                    <a:pt x="246" y="305"/>
                    <a:pt x="241" y="313"/>
                  </a:cubicBezTo>
                  <a:cubicBezTo>
                    <a:pt x="236" y="321"/>
                    <a:pt x="236" y="321"/>
                    <a:pt x="236" y="321"/>
                  </a:cubicBezTo>
                  <a:cubicBezTo>
                    <a:pt x="223" y="324"/>
                    <a:pt x="210" y="327"/>
                    <a:pt x="194" y="317"/>
                  </a:cubicBezTo>
                  <a:cubicBezTo>
                    <a:pt x="139" y="281"/>
                    <a:pt x="139" y="281"/>
                    <a:pt x="139" y="281"/>
                  </a:cubicBezTo>
                  <a:cubicBezTo>
                    <a:pt x="131" y="276"/>
                    <a:pt x="110" y="273"/>
                    <a:pt x="104" y="281"/>
                  </a:cubicBezTo>
                  <a:cubicBezTo>
                    <a:pt x="79" y="321"/>
                    <a:pt x="79" y="321"/>
                    <a:pt x="79" y="321"/>
                  </a:cubicBezTo>
                  <a:cubicBezTo>
                    <a:pt x="66" y="324"/>
                    <a:pt x="68" y="337"/>
                    <a:pt x="79" y="355"/>
                  </a:cubicBezTo>
                  <a:cubicBezTo>
                    <a:pt x="121" y="394"/>
                    <a:pt x="121" y="394"/>
                    <a:pt x="121" y="394"/>
                  </a:cubicBezTo>
                  <a:cubicBezTo>
                    <a:pt x="140" y="417"/>
                    <a:pt x="135" y="425"/>
                    <a:pt x="132" y="446"/>
                  </a:cubicBezTo>
                  <a:cubicBezTo>
                    <a:pt x="132" y="446"/>
                    <a:pt x="132" y="446"/>
                    <a:pt x="132" y="446"/>
                  </a:cubicBezTo>
                  <a:cubicBezTo>
                    <a:pt x="127" y="454"/>
                    <a:pt x="122" y="462"/>
                    <a:pt x="117" y="470"/>
                  </a:cubicBezTo>
                  <a:cubicBezTo>
                    <a:pt x="117" y="470"/>
                    <a:pt x="117" y="470"/>
                    <a:pt x="117" y="470"/>
                  </a:cubicBezTo>
                  <a:cubicBezTo>
                    <a:pt x="120" y="483"/>
                    <a:pt x="109" y="499"/>
                    <a:pt x="83" y="505"/>
                  </a:cubicBezTo>
                  <a:cubicBezTo>
                    <a:pt x="23" y="511"/>
                    <a:pt x="23" y="511"/>
                    <a:pt x="23" y="511"/>
                  </a:cubicBezTo>
                  <a:cubicBezTo>
                    <a:pt x="10" y="514"/>
                    <a:pt x="0" y="529"/>
                    <a:pt x="2" y="543"/>
                  </a:cubicBezTo>
                  <a:cubicBezTo>
                    <a:pt x="5" y="590"/>
                    <a:pt x="5" y="590"/>
                    <a:pt x="5" y="590"/>
                  </a:cubicBezTo>
                  <a:cubicBezTo>
                    <a:pt x="8" y="603"/>
                    <a:pt x="16" y="608"/>
                    <a:pt x="37" y="610"/>
                  </a:cubicBezTo>
                  <a:cubicBezTo>
                    <a:pt x="92" y="612"/>
                    <a:pt x="92" y="612"/>
                    <a:pt x="92" y="612"/>
                  </a:cubicBezTo>
                  <a:cubicBezTo>
                    <a:pt x="113" y="614"/>
                    <a:pt x="129" y="625"/>
                    <a:pt x="132" y="638"/>
                  </a:cubicBezTo>
                  <a:cubicBezTo>
                    <a:pt x="132" y="638"/>
                    <a:pt x="132" y="638"/>
                    <a:pt x="132" y="638"/>
                  </a:cubicBezTo>
                  <a:cubicBezTo>
                    <a:pt x="140" y="643"/>
                    <a:pt x="142" y="656"/>
                    <a:pt x="150" y="661"/>
                  </a:cubicBezTo>
                  <a:cubicBezTo>
                    <a:pt x="145" y="669"/>
                    <a:pt x="145" y="669"/>
                    <a:pt x="145" y="669"/>
                  </a:cubicBezTo>
                  <a:cubicBezTo>
                    <a:pt x="153" y="674"/>
                    <a:pt x="156" y="687"/>
                    <a:pt x="140" y="711"/>
                  </a:cubicBezTo>
                  <a:cubicBezTo>
                    <a:pt x="109" y="759"/>
                    <a:pt x="109" y="759"/>
                    <a:pt x="109" y="759"/>
                  </a:cubicBezTo>
                  <a:cubicBezTo>
                    <a:pt x="99" y="775"/>
                    <a:pt x="102" y="788"/>
                    <a:pt x="110" y="793"/>
                  </a:cubicBezTo>
                  <a:cubicBezTo>
                    <a:pt x="152" y="832"/>
                    <a:pt x="152" y="832"/>
                    <a:pt x="152" y="832"/>
                  </a:cubicBezTo>
                  <a:cubicBezTo>
                    <a:pt x="160" y="837"/>
                    <a:pt x="173" y="834"/>
                    <a:pt x="178" y="826"/>
                  </a:cubicBezTo>
                  <a:cubicBezTo>
                    <a:pt x="230" y="781"/>
                    <a:pt x="230" y="781"/>
                    <a:pt x="230" y="781"/>
                  </a:cubicBezTo>
                  <a:cubicBezTo>
                    <a:pt x="248" y="770"/>
                    <a:pt x="261" y="767"/>
                    <a:pt x="269" y="772"/>
                  </a:cubicBezTo>
                  <a:cubicBezTo>
                    <a:pt x="269" y="772"/>
                    <a:pt x="269" y="772"/>
                    <a:pt x="269" y="772"/>
                  </a:cubicBezTo>
                  <a:cubicBezTo>
                    <a:pt x="282" y="769"/>
                    <a:pt x="298" y="779"/>
                    <a:pt x="306" y="785"/>
                  </a:cubicBezTo>
                  <a:cubicBezTo>
                    <a:pt x="306" y="785"/>
                    <a:pt x="306" y="785"/>
                    <a:pt x="306" y="785"/>
                  </a:cubicBezTo>
                  <a:cubicBezTo>
                    <a:pt x="319" y="782"/>
                    <a:pt x="327" y="787"/>
                    <a:pt x="332" y="813"/>
                  </a:cubicBezTo>
                  <a:cubicBezTo>
                    <a:pt x="346" y="878"/>
                    <a:pt x="346" y="878"/>
                    <a:pt x="346" y="878"/>
                  </a:cubicBezTo>
                  <a:cubicBezTo>
                    <a:pt x="349" y="892"/>
                    <a:pt x="357" y="897"/>
                    <a:pt x="370" y="894"/>
                  </a:cubicBezTo>
                  <a:cubicBezTo>
                    <a:pt x="425" y="896"/>
                    <a:pt x="425" y="896"/>
                    <a:pt x="425" y="896"/>
                  </a:cubicBezTo>
                  <a:cubicBezTo>
                    <a:pt x="430" y="888"/>
                    <a:pt x="443" y="885"/>
                    <a:pt x="440" y="872"/>
                  </a:cubicBezTo>
                  <a:cubicBezTo>
                    <a:pt x="440" y="804"/>
                    <a:pt x="440" y="804"/>
                    <a:pt x="440" y="804"/>
                  </a:cubicBezTo>
                  <a:cubicBezTo>
                    <a:pt x="442" y="783"/>
                    <a:pt x="460" y="772"/>
                    <a:pt x="466" y="764"/>
                  </a:cubicBezTo>
                  <a:cubicBezTo>
                    <a:pt x="466" y="764"/>
                    <a:pt x="466" y="764"/>
                    <a:pt x="466" y="764"/>
                  </a:cubicBezTo>
                  <a:cubicBezTo>
                    <a:pt x="479" y="761"/>
                    <a:pt x="492" y="758"/>
                    <a:pt x="497" y="750"/>
                  </a:cubicBezTo>
                  <a:cubicBezTo>
                    <a:pt x="497" y="750"/>
                    <a:pt x="497" y="750"/>
                    <a:pt x="497" y="750"/>
                  </a:cubicBezTo>
                  <a:cubicBezTo>
                    <a:pt x="510" y="747"/>
                    <a:pt x="523" y="745"/>
                    <a:pt x="539" y="755"/>
                  </a:cubicBezTo>
                  <a:cubicBezTo>
                    <a:pt x="594" y="791"/>
                    <a:pt x="594" y="791"/>
                    <a:pt x="594" y="791"/>
                  </a:cubicBezTo>
                  <a:cubicBezTo>
                    <a:pt x="602" y="796"/>
                    <a:pt x="623" y="798"/>
                    <a:pt x="628" y="790"/>
                  </a:cubicBezTo>
                  <a:cubicBezTo>
                    <a:pt x="659" y="743"/>
                    <a:pt x="659" y="743"/>
                    <a:pt x="659" y="743"/>
                  </a:cubicBezTo>
                  <a:cubicBezTo>
                    <a:pt x="659" y="743"/>
                    <a:pt x="669" y="727"/>
                    <a:pt x="654" y="716"/>
                  </a:cubicBezTo>
                  <a:close/>
                  <a:moveTo>
                    <a:pt x="281" y="633"/>
                  </a:moveTo>
                  <a:cubicBezTo>
                    <a:pt x="223" y="584"/>
                    <a:pt x="219" y="502"/>
                    <a:pt x="263" y="452"/>
                  </a:cubicBezTo>
                  <a:cubicBezTo>
                    <a:pt x="313" y="393"/>
                    <a:pt x="399" y="382"/>
                    <a:pt x="457" y="431"/>
                  </a:cubicBezTo>
                  <a:cubicBezTo>
                    <a:pt x="507" y="475"/>
                    <a:pt x="518" y="561"/>
                    <a:pt x="469" y="619"/>
                  </a:cubicBezTo>
                  <a:cubicBezTo>
                    <a:pt x="420" y="678"/>
                    <a:pt x="339" y="682"/>
                    <a:pt x="281" y="633"/>
                  </a:cubicBezTo>
                  <a:close/>
                  <a:moveTo>
                    <a:pt x="1019" y="398"/>
                  </a:moveTo>
                  <a:cubicBezTo>
                    <a:pt x="1004" y="362"/>
                    <a:pt x="1004" y="362"/>
                    <a:pt x="1004" y="362"/>
                  </a:cubicBezTo>
                  <a:cubicBezTo>
                    <a:pt x="992" y="348"/>
                    <a:pt x="1002" y="340"/>
                    <a:pt x="1002" y="332"/>
                  </a:cubicBezTo>
                  <a:cubicBezTo>
                    <a:pt x="1002" y="332"/>
                    <a:pt x="1002" y="332"/>
                    <a:pt x="1002" y="332"/>
                  </a:cubicBezTo>
                  <a:cubicBezTo>
                    <a:pt x="1007" y="328"/>
                    <a:pt x="1011" y="324"/>
                    <a:pt x="1012" y="315"/>
                  </a:cubicBezTo>
                  <a:cubicBezTo>
                    <a:pt x="1021" y="307"/>
                    <a:pt x="1026" y="303"/>
                    <a:pt x="1043" y="304"/>
                  </a:cubicBezTo>
                  <a:cubicBezTo>
                    <a:pt x="1086" y="307"/>
                    <a:pt x="1086" y="307"/>
                    <a:pt x="1086" y="307"/>
                  </a:cubicBezTo>
                  <a:cubicBezTo>
                    <a:pt x="1095" y="308"/>
                    <a:pt x="1099" y="304"/>
                    <a:pt x="1100" y="295"/>
                  </a:cubicBezTo>
                  <a:cubicBezTo>
                    <a:pt x="1107" y="266"/>
                    <a:pt x="1107" y="266"/>
                    <a:pt x="1107" y="266"/>
                  </a:cubicBezTo>
                  <a:cubicBezTo>
                    <a:pt x="1107" y="257"/>
                    <a:pt x="1103" y="252"/>
                    <a:pt x="1095" y="243"/>
                  </a:cubicBezTo>
                  <a:cubicBezTo>
                    <a:pt x="1057" y="236"/>
                    <a:pt x="1057" y="236"/>
                    <a:pt x="1057" y="236"/>
                  </a:cubicBezTo>
                  <a:cubicBezTo>
                    <a:pt x="1044" y="231"/>
                    <a:pt x="1036" y="222"/>
                    <a:pt x="1037" y="213"/>
                  </a:cubicBezTo>
                  <a:cubicBezTo>
                    <a:pt x="1038" y="205"/>
                    <a:pt x="1034" y="200"/>
                    <a:pt x="1030" y="187"/>
                  </a:cubicBezTo>
                  <a:cubicBezTo>
                    <a:pt x="1031" y="178"/>
                    <a:pt x="1032" y="170"/>
                    <a:pt x="1041" y="162"/>
                  </a:cubicBezTo>
                  <a:cubicBezTo>
                    <a:pt x="1077" y="138"/>
                    <a:pt x="1077" y="138"/>
                    <a:pt x="1077" y="138"/>
                  </a:cubicBezTo>
                  <a:cubicBezTo>
                    <a:pt x="1082" y="134"/>
                    <a:pt x="1083" y="126"/>
                    <a:pt x="1079" y="121"/>
                  </a:cubicBezTo>
                  <a:cubicBezTo>
                    <a:pt x="1059" y="89"/>
                    <a:pt x="1059" y="89"/>
                    <a:pt x="1059" y="89"/>
                  </a:cubicBezTo>
                  <a:cubicBezTo>
                    <a:pt x="1055" y="85"/>
                    <a:pt x="1047" y="84"/>
                    <a:pt x="1038" y="83"/>
                  </a:cubicBezTo>
                  <a:cubicBezTo>
                    <a:pt x="1002" y="107"/>
                    <a:pt x="1002" y="107"/>
                    <a:pt x="1002" y="107"/>
                  </a:cubicBezTo>
                  <a:cubicBezTo>
                    <a:pt x="989" y="110"/>
                    <a:pt x="980" y="110"/>
                    <a:pt x="976" y="105"/>
                  </a:cubicBezTo>
                  <a:cubicBezTo>
                    <a:pt x="972" y="100"/>
                    <a:pt x="960" y="95"/>
                    <a:pt x="956" y="91"/>
                  </a:cubicBezTo>
                  <a:cubicBezTo>
                    <a:pt x="952" y="86"/>
                    <a:pt x="944" y="77"/>
                    <a:pt x="944" y="68"/>
                  </a:cubicBezTo>
                  <a:cubicBezTo>
                    <a:pt x="948" y="25"/>
                    <a:pt x="948" y="25"/>
                    <a:pt x="948" y="25"/>
                  </a:cubicBezTo>
                  <a:cubicBezTo>
                    <a:pt x="948" y="17"/>
                    <a:pt x="940" y="7"/>
                    <a:pt x="940" y="7"/>
                  </a:cubicBezTo>
                  <a:cubicBezTo>
                    <a:pt x="902" y="0"/>
                    <a:pt x="902" y="0"/>
                    <a:pt x="902" y="0"/>
                  </a:cubicBezTo>
                  <a:cubicBezTo>
                    <a:pt x="902" y="0"/>
                    <a:pt x="889" y="4"/>
                    <a:pt x="888" y="12"/>
                  </a:cubicBezTo>
                  <a:cubicBezTo>
                    <a:pt x="872" y="50"/>
                    <a:pt x="872" y="50"/>
                    <a:pt x="872" y="50"/>
                  </a:cubicBezTo>
                  <a:cubicBezTo>
                    <a:pt x="871" y="67"/>
                    <a:pt x="862" y="67"/>
                    <a:pt x="858" y="71"/>
                  </a:cubicBezTo>
                  <a:cubicBezTo>
                    <a:pt x="858" y="71"/>
                    <a:pt x="858" y="71"/>
                    <a:pt x="853" y="75"/>
                  </a:cubicBezTo>
                  <a:cubicBezTo>
                    <a:pt x="849" y="70"/>
                    <a:pt x="840" y="70"/>
                    <a:pt x="836" y="74"/>
                  </a:cubicBezTo>
                  <a:cubicBezTo>
                    <a:pt x="831" y="78"/>
                    <a:pt x="831" y="78"/>
                    <a:pt x="831" y="78"/>
                  </a:cubicBezTo>
                  <a:cubicBezTo>
                    <a:pt x="822" y="77"/>
                    <a:pt x="814" y="76"/>
                    <a:pt x="806" y="67"/>
                  </a:cubicBezTo>
                  <a:cubicBezTo>
                    <a:pt x="778" y="35"/>
                    <a:pt x="778" y="35"/>
                    <a:pt x="778" y="35"/>
                  </a:cubicBezTo>
                  <a:cubicBezTo>
                    <a:pt x="774" y="30"/>
                    <a:pt x="762" y="25"/>
                    <a:pt x="757" y="29"/>
                  </a:cubicBezTo>
                  <a:cubicBezTo>
                    <a:pt x="734" y="49"/>
                    <a:pt x="734" y="49"/>
                    <a:pt x="734" y="49"/>
                  </a:cubicBezTo>
                  <a:cubicBezTo>
                    <a:pt x="725" y="49"/>
                    <a:pt x="725" y="57"/>
                    <a:pt x="728" y="70"/>
                  </a:cubicBezTo>
                  <a:cubicBezTo>
                    <a:pt x="747" y="102"/>
                    <a:pt x="747" y="102"/>
                    <a:pt x="747" y="102"/>
                  </a:cubicBezTo>
                  <a:cubicBezTo>
                    <a:pt x="754" y="120"/>
                    <a:pt x="750" y="124"/>
                    <a:pt x="744" y="136"/>
                  </a:cubicBezTo>
                  <a:cubicBezTo>
                    <a:pt x="744" y="136"/>
                    <a:pt x="744" y="136"/>
                    <a:pt x="744" y="136"/>
                  </a:cubicBezTo>
                  <a:cubicBezTo>
                    <a:pt x="740" y="140"/>
                    <a:pt x="735" y="144"/>
                    <a:pt x="731" y="148"/>
                  </a:cubicBezTo>
                  <a:cubicBezTo>
                    <a:pt x="731" y="148"/>
                    <a:pt x="731" y="148"/>
                    <a:pt x="731" y="148"/>
                  </a:cubicBezTo>
                  <a:cubicBezTo>
                    <a:pt x="730" y="157"/>
                    <a:pt x="721" y="165"/>
                    <a:pt x="703" y="164"/>
                  </a:cubicBezTo>
                  <a:cubicBezTo>
                    <a:pt x="665" y="157"/>
                    <a:pt x="665" y="157"/>
                    <a:pt x="665" y="157"/>
                  </a:cubicBezTo>
                  <a:cubicBezTo>
                    <a:pt x="656" y="156"/>
                    <a:pt x="647" y="164"/>
                    <a:pt x="647" y="173"/>
                  </a:cubicBezTo>
                  <a:cubicBezTo>
                    <a:pt x="640" y="203"/>
                    <a:pt x="640" y="203"/>
                    <a:pt x="640" y="203"/>
                  </a:cubicBezTo>
                  <a:cubicBezTo>
                    <a:pt x="639" y="211"/>
                    <a:pt x="643" y="216"/>
                    <a:pt x="656" y="221"/>
                  </a:cubicBezTo>
                  <a:cubicBezTo>
                    <a:pt x="690" y="232"/>
                    <a:pt x="690" y="232"/>
                    <a:pt x="690" y="232"/>
                  </a:cubicBezTo>
                  <a:cubicBezTo>
                    <a:pt x="702" y="237"/>
                    <a:pt x="710" y="246"/>
                    <a:pt x="710" y="255"/>
                  </a:cubicBezTo>
                  <a:cubicBezTo>
                    <a:pt x="710" y="255"/>
                    <a:pt x="710" y="255"/>
                    <a:pt x="710" y="255"/>
                  </a:cubicBezTo>
                  <a:cubicBezTo>
                    <a:pt x="714" y="260"/>
                    <a:pt x="713" y="268"/>
                    <a:pt x="717" y="273"/>
                  </a:cubicBezTo>
                  <a:cubicBezTo>
                    <a:pt x="712" y="277"/>
                    <a:pt x="712" y="277"/>
                    <a:pt x="712" y="277"/>
                  </a:cubicBezTo>
                  <a:cubicBezTo>
                    <a:pt x="716" y="281"/>
                    <a:pt x="716" y="290"/>
                    <a:pt x="702" y="302"/>
                  </a:cubicBezTo>
                  <a:cubicBezTo>
                    <a:pt x="674" y="326"/>
                    <a:pt x="674" y="326"/>
                    <a:pt x="674" y="326"/>
                  </a:cubicBezTo>
                  <a:cubicBezTo>
                    <a:pt x="665" y="334"/>
                    <a:pt x="664" y="343"/>
                    <a:pt x="668" y="347"/>
                  </a:cubicBezTo>
                  <a:cubicBezTo>
                    <a:pt x="687" y="379"/>
                    <a:pt x="687" y="379"/>
                    <a:pt x="687" y="379"/>
                  </a:cubicBezTo>
                  <a:cubicBezTo>
                    <a:pt x="691" y="383"/>
                    <a:pt x="700" y="384"/>
                    <a:pt x="704" y="380"/>
                  </a:cubicBezTo>
                  <a:cubicBezTo>
                    <a:pt x="745" y="361"/>
                    <a:pt x="745" y="361"/>
                    <a:pt x="745" y="361"/>
                  </a:cubicBezTo>
                  <a:cubicBezTo>
                    <a:pt x="758" y="358"/>
                    <a:pt x="767" y="358"/>
                    <a:pt x="771" y="363"/>
                  </a:cubicBezTo>
                  <a:cubicBezTo>
                    <a:pt x="771" y="363"/>
                    <a:pt x="771" y="363"/>
                    <a:pt x="771" y="363"/>
                  </a:cubicBezTo>
                  <a:cubicBezTo>
                    <a:pt x="779" y="364"/>
                    <a:pt x="787" y="373"/>
                    <a:pt x="791" y="377"/>
                  </a:cubicBezTo>
                  <a:cubicBezTo>
                    <a:pt x="791" y="377"/>
                    <a:pt x="791" y="377"/>
                    <a:pt x="791" y="377"/>
                  </a:cubicBezTo>
                  <a:cubicBezTo>
                    <a:pt x="800" y="378"/>
                    <a:pt x="804" y="383"/>
                    <a:pt x="802" y="400"/>
                  </a:cubicBezTo>
                  <a:cubicBezTo>
                    <a:pt x="799" y="443"/>
                    <a:pt x="799" y="443"/>
                    <a:pt x="799" y="443"/>
                  </a:cubicBezTo>
                  <a:cubicBezTo>
                    <a:pt x="798" y="451"/>
                    <a:pt x="802" y="456"/>
                    <a:pt x="811" y="457"/>
                  </a:cubicBezTo>
                  <a:cubicBezTo>
                    <a:pt x="845" y="468"/>
                    <a:pt x="845" y="468"/>
                    <a:pt x="845" y="468"/>
                  </a:cubicBezTo>
                  <a:cubicBezTo>
                    <a:pt x="849" y="464"/>
                    <a:pt x="858" y="464"/>
                    <a:pt x="859" y="456"/>
                  </a:cubicBezTo>
                  <a:cubicBezTo>
                    <a:pt x="871" y="413"/>
                    <a:pt x="871" y="413"/>
                    <a:pt x="871" y="413"/>
                  </a:cubicBezTo>
                  <a:cubicBezTo>
                    <a:pt x="876" y="401"/>
                    <a:pt x="889" y="397"/>
                    <a:pt x="894" y="393"/>
                  </a:cubicBezTo>
                  <a:cubicBezTo>
                    <a:pt x="894" y="393"/>
                    <a:pt x="894" y="393"/>
                    <a:pt x="894" y="393"/>
                  </a:cubicBezTo>
                  <a:cubicBezTo>
                    <a:pt x="902" y="394"/>
                    <a:pt x="911" y="395"/>
                    <a:pt x="916" y="391"/>
                  </a:cubicBezTo>
                  <a:cubicBezTo>
                    <a:pt x="916" y="391"/>
                    <a:pt x="916" y="391"/>
                    <a:pt x="916" y="391"/>
                  </a:cubicBezTo>
                  <a:cubicBezTo>
                    <a:pt x="924" y="391"/>
                    <a:pt x="933" y="392"/>
                    <a:pt x="941" y="401"/>
                  </a:cubicBezTo>
                  <a:cubicBezTo>
                    <a:pt x="969" y="433"/>
                    <a:pt x="969" y="433"/>
                    <a:pt x="969" y="433"/>
                  </a:cubicBezTo>
                  <a:cubicBezTo>
                    <a:pt x="973" y="438"/>
                    <a:pt x="985" y="443"/>
                    <a:pt x="990" y="439"/>
                  </a:cubicBezTo>
                  <a:cubicBezTo>
                    <a:pt x="1018" y="415"/>
                    <a:pt x="1018" y="415"/>
                    <a:pt x="1018" y="415"/>
                  </a:cubicBezTo>
                  <a:cubicBezTo>
                    <a:pt x="1018" y="415"/>
                    <a:pt x="1027" y="407"/>
                    <a:pt x="1019" y="398"/>
                  </a:cubicBezTo>
                  <a:close/>
                  <a:moveTo>
                    <a:pt x="803" y="279"/>
                  </a:moveTo>
                  <a:cubicBezTo>
                    <a:pt x="776" y="238"/>
                    <a:pt x="788" y="187"/>
                    <a:pt x="825" y="164"/>
                  </a:cubicBezTo>
                  <a:cubicBezTo>
                    <a:pt x="866" y="136"/>
                    <a:pt x="921" y="144"/>
                    <a:pt x="948" y="185"/>
                  </a:cubicBezTo>
                  <a:cubicBezTo>
                    <a:pt x="972" y="221"/>
                    <a:pt x="963" y="277"/>
                    <a:pt x="922" y="304"/>
                  </a:cubicBezTo>
                  <a:cubicBezTo>
                    <a:pt x="881" y="332"/>
                    <a:pt x="830" y="320"/>
                    <a:pt x="803" y="279"/>
                  </a:cubicBezTo>
                  <a:close/>
                </a:path>
              </a:pathLst>
            </a:custGeom>
            <a:solidFill>
              <a:schemeClr val="tx1"/>
            </a:solidFill>
            <a:ln>
              <a:noFill/>
            </a:ln>
          </p:spPr>
          <p:txBody>
            <a:bodyPr vert="horz" wrap="square" lIns="68574" tIns="34287" rIns="68574" bIns="34287"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17346"/>
                </a:solidFill>
                <a:effectLst/>
                <a:uLnTx/>
                <a:uFillTx/>
                <a:latin typeface="Segoe UI"/>
                <a:ea typeface="+mn-ea"/>
                <a:cs typeface="+mn-cs"/>
              </a:endParaRPr>
            </a:p>
          </p:txBody>
        </p:sp>
        <p:sp>
          <p:nvSpPr>
            <p:cNvPr id="88" name="Freeform 87"/>
            <p:cNvSpPr>
              <a:spLocks noChangeAspect="1"/>
            </p:cNvSpPr>
            <p:nvPr/>
          </p:nvSpPr>
          <p:spPr bwMode="black">
            <a:xfrm>
              <a:off x="776985" y="4213905"/>
              <a:ext cx="342871" cy="335728"/>
            </a:xfrm>
            <a:custGeom>
              <a:avLst/>
              <a:gdLst>
                <a:gd name="connsiteX0" fmla="*/ 3713863 w 4893730"/>
                <a:gd name="connsiteY0" fmla="*/ 2130808 h 4791777"/>
                <a:gd name="connsiteX1" fmla="*/ 4426142 w 4893730"/>
                <a:gd name="connsiteY1" fmla="*/ 2130808 h 4791777"/>
                <a:gd name="connsiteX2" fmla="*/ 4598071 w 4893730"/>
                <a:gd name="connsiteY2" fmla="*/ 2301547 h 4791777"/>
                <a:gd name="connsiteX3" fmla="*/ 4598071 w 4893730"/>
                <a:gd name="connsiteY3" fmla="*/ 3886978 h 4791777"/>
                <a:gd name="connsiteX4" fmla="*/ 4426142 w 4893730"/>
                <a:gd name="connsiteY4" fmla="*/ 4057717 h 4791777"/>
                <a:gd name="connsiteX5" fmla="*/ 3713863 w 4893730"/>
                <a:gd name="connsiteY5" fmla="*/ 4057717 h 4791777"/>
                <a:gd name="connsiteX6" fmla="*/ 3517372 w 4893730"/>
                <a:gd name="connsiteY6" fmla="*/ 3886978 h 4791777"/>
                <a:gd name="connsiteX7" fmla="*/ 3517372 w 4893730"/>
                <a:gd name="connsiteY7" fmla="*/ 2301547 h 4791777"/>
                <a:gd name="connsiteX8" fmla="*/ 3713863 w 4893730"/>
                <a:gd name="connsiteY8" fmla="*/ 2130808 h 4791777"/>
                <a:gd name="connsiteX9" fmla="*/ 904368 w 4893730"/>
                <a:gd name="connsiteY9" fmla="*/ 1223432 h 4791777"/>
                <a:gd name="connsiteX10" fmla="*/ 1609930 w 4893730"/>
                <a:gd name="connsiteY10" fmla="*/ 1223432 h 4791777"/>
                <a:gd name="connsiteX11" fmla="*/ 1804567 w 4893730"/>
                <a:gd name="connsiteY11" fmla="*/ 1394467 h 4791777"/>
                <a:gd name="connsiteX12" fmla="*/ 1804567 w 4893730"/>
                <a:gd name="connsiteY12" fmla="*/ 3886683 h 4791777"/>
                <a:gd name="connsiteX13" fmla="*/ 1609930 w 4893730"/>
                <a:gd name="connsiteY13" fmla="*/ 4057717 h 4791777"/>
                <a:gd name="connsiteX14" fmla="*/ 904368 w 4893730"/>
                <a:gd name="connsiteY14" fmla="*/ 4057717 h 4791777"/>
                <a:gd name="connsiteX15" fmla="*/ 734060 w 4893730"/>
                <a:gd name="connsiteY15" fmla="*/ 3886683 h 4791777"/>
                <a:gd name="connsiteX16" fmla="*/ 734060 w 4893730"/>
                <a:gd name="connsiteY16" fmla="*/ 1394467 h 4791777"/>
                <a:gd name="connsiteX17" fmla="*/ 904368 w 4893730"/>
                <a:gd name="connsiteY17" fmla="*/ 1223432 h 4791777"/>
                <a:gd name="connsiteX18" fmla="*/ 2325453 w 4893730"/>
                <a:gd name="connsiteY18" fmla="*/ 316050 h 4791777"/>
                <a:gd name="connsiteX19" fmla="*/ 3031014 w 4893730"/>
                <a:gd name="connsiteY19" fmla="*/ 316050 h 4791777"/>
                <a:gd name="connsiteX20" fmla="*/ 3201322 w 4893730"/>
                <a:gd name="connsiteY20" fmla="*/ 487238 h 4791777"/>
                <a:gd name="connsiteX21" fmla="*/ 3201322 w 4893730"/>
                <a:gd name="connsiteY21" fmla="*/ 3886530 h 4791777"/>
                <a:gd name="connsiteX22" fmla="*/ 3031014 w 4893730"/>
                <a:gd name="connsiteY22" fmla="*/ 4057717 h 4791777"/>
                <a:gd name="connsiteX23" fmla="*/ 2325453 w 4893730"/>
                <a:gd name="connsiteY23" fmla="*/ 4057717 h 4791777"/>
                <a:gd name="connsiteX24" fmla="*/ 2130815 w 4893730"/>
                <a:gd name="connsiteY24" fmla="*/ 3886530 h 4791777"/>
                <a:gd name="connsiteX25" fmla="*/ 2130815 w 4893730"/>
                <a:gd name="connsiteY25" fmla="*/ 487238 h 4791777"/>
                <a:gd name="connsiteX26" fmla="*/ 2325453 w 4893730"/>
                <a:gd name="connsiteY26" fmla="*/ 316050 h 4791777"/>
                <a:gd name="connsiteX27" fmla="*/ 269155 w 4893730"/>
                <a:gd name="connsiteY27" fmla="*/ 0 h 4791777"/>
                <a:gd name="connsiteX28" fmla="*/ 538311 w 4893730"/>
                <a:gd name="connsiteY28" fmla="*/ 268927 h 4791777"/>
                <a:gd name="connsiteX29" fmla="*/ 538311 w 4893730"/>
                <a:gd name="connsiteY29" fmla="*/ 4253925 h 4791777"/>
                <a:gd name="connsiteX30" fmla="*/ 4624575 w 4893730"/>
                <a:gd name="connsiteY30" fmla="*/ 4253925 h 4791777"/>
                <a:gd name="connsiteX31" fmla="*/ 4893730 w 4893730"/>
                <a:gd name="connsiteY31" fmla="*/ 4522851 h 4791777"/>
                <a:gd name="connsiteX32" fmla="*/ 4624575 w 4893730"/>
                <a:gd name="connsiteY32" fmla="*/ 4791777 h 4791777"/>
                <a:gd name="connsiteX33" fmla="*/ 269155 w 4893730"/>
                <a:gd name="connsiteY33" fmla="*/ 4791777 h 4791777"/>
                <a:gd name="connsiteX34" fmla="*/ 0 w 4893730"/>
                <a:gd name="connsiteY34" fmla="*/ 4522851 h 4791777"/>
                <a:gd name="connsiteX35" fmla="*/ 0 w 4893730"/>
                <a:gd name="connsiteY35" fmla="*/ 268927 h 4791777"/>
                <a:gd name="connsiteX36" fmla="*/ 269155 w 4893730"/>
                <a:gd name="connsiteY36" fmla="*/ 0 h 4791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4893730" h="4791777">
                  <a:moveTo>
                    <a:pt x="3713863" y="2130808"/>
                  </a:moveTo>
                  <a:cubicBezTo>
                    <a:pt x="3713863" y="2130808"/>
                    <a:pt x="3713863" y="2130808"/>
                    <a:pt x="4426142" y="2130808"/>
                  </a:cubicBezTo>
                  <a:cubicBezTo>
                    <a:pt x="4524387" y="2130808"/>
                    <a:pt x="4598071" y="2203982"/>
                    <a:pt x="4598071" y="2301547"/>
                  </a:cubicBezTo>
                  <a:cubicBezTo>
                    <a:pt x="4598071" y="2301547"/>
                    <a:pt x="4598071" y="2301547"/>
                    <a:pt x="4598071" y="3886978"/>
                  </a:cubicBezTo>
                  <a:cubicBezTo>
                    <a:pt x="4598071" y="3984543"/>
                    <a:pt x="4524387" y="4057717"/>
                    <a:pt x="4426142" y="4057717"/>
                  </a:cubicBezTo>
                  <a:cubicBezTo>
                    <a:pt x="4426142" y="4057717"/>
                    <a:pt x="4426142" y="4057717"/>
                    <a:pt x="3713863" y="4057717"/>
                  </a:cubicBezTo>
                  <a:cubicBezTo>
                    <a:pt x="3615618" y="4057717"/>
                    <a:pt x="3517372" y="3984543"/>
                    <a:pt x="3517372" y="3886978"/>
                  </a:cubicBezTo>
                  <a:cubicBezTo>
                    <a:pt x="3517372" y="3886978"/>
                    <a:pt x="3517372" y="3886978"/>
                    <a:pt x="3517372" y="2301547"/>
                  </a:cubicBezTo>
                  <a:cubicBezTo>
                    <a:pt x="3517372" y="2203982"/>
                    <a:pt x="3615618" y="2130808"/>
                    <a:pt x="3713863" y="2130808"/>
                  </a:cubicBezTo>
                  <a:close/>
                  <a:moveTo>
                    <a:pt x="904368" y="1223432"/>
                  </a:moveTo>
                  <a:cubicBezTo>
                    <a:pt x="904368" y="1223432"/>
                    <a:pt x="904368" y="1223432"/>
                    <a:pt x="1609930" y="1223432"/>
                  </a:cubicBezTo>
                  <a:cubicBezTo>
                    <a:pt x="1731578" y="1223432"/>
                    <a:pt x="1804567" y="1296733"/>
                    <a:pt x="1804567" y="1394467"/>
                  </a:cubicBezTo>
                  <a:cubicBezTo>
                    <a:pt x="1804567" y="1394467"/>
                    <a:pt x="1804567" y="1394467"/>
                    <a:pt x="1804567" y="3886683"/>
                  </a:cubicBezTo>
                  <a:cubicBezTo>
                    <a:pt x="1804567" y="3984417"/>
                    <a:pt x="1731578" y="4057717"/>
                    <a:pt x="1609930" y="4057717"/>
                  </a:cubicBezTo>
                  <a:cubicBezTo>
                    <a:pt x="1609930" y="4057717"/>
                    <a:pt x="1609930" y="4057717"/>
                    <a:pt x="904368" y="4057717"/>
                  </a:cubicBezTo>
                  <a:cubicBezTo>
                    <a:pt x="807049" y="4057717"/>
                    <a:pt x="734060" y="3984417"/>
                    <a:pt x="734060" y="3886683"/>
                  </a:cubicBezTo>
                  <a:cubicBezTo>
                    <a:pt x="734060" y="3886683"/>
                    <a:pt x="734060" y="3886683"/>
                    <a:pt x="734060" y="1394467"/>
                  </a:cubicBezTo>
                  <a:cubicBezTo>
                    <a:pt x="734060" y="1296733"/>
                    <a:pt x="807049" y="1223432"/>
                    <a:pt x="904368" y="1223432"/>
                  </a:cubicBezTo>
                  <a:close/>
                  <a:moveTo>
                    <a:pt x="2325453" y="316050"/>
                  </a:moveTo>
                  <a:cubicBezTo>
                    <a:pt x="2325453" y="316050"/>
                    <a:pt x="2325453" y="316050"/>
                    <a:pt x="3031014" y="316050"/>
                  </a:cubicBezTo>
                  <a:cubicBezTo>
                    <a:pt x="3128333" y="316050"/>
                    <a:pt x="3201322" y="389416"/>
                    <a:pt x="3201322" y="487238"/>
                  </a:cubicBezTo>
                  <a:cubicBezTo>
                    <a:pt x="3201322" y="487238"/>
                    <a:pt x="3201322" y="487238"/>
                    <a:pt x="3201322" y="3886530"/>
                  </a:cubicBezTo>
                  <a:cubicBezTo>
                    <a:pt x="3201322" y="3984351"/>
                    <a:pt x="3128333" y="4057717"/>
                    <a:pt x="3031014" y="4057717"/>
                  </a:cubicBezTo>
                  <a:cubicBezTo>
                    <a:pt x="3031014" y="4057717"/>
                    <a:pt x="3031014" y="4057717"/>
                    <a:pt x="2325453" y="4057717"/>
                  </a:cubicBezTo>
                  <a:cubicBezTo>
                    <a:pt x="2203804" y="4057717"/>
                    <a:pt x="2130815" y="3984351"/>
                    <a:pt x="2130815" y="3886530"/>
                  </a:cubicBezTo>
                  <a:cubicBezTo>
                    <a:pt x="2130815" y="3886530"/>
                    <a:pt x="2130815" y="3886530"/>
                    <a:pt x="2130815" y="487238"/>
                  </a:cubicBezTo>
                  <a:cubicBezTo>
                    <a:pt x="2130815" y="389416"/>
                    <a:pt x="2203804" y="316050"/>
                    <a:pt x="2325453" y="316050"/>
                  </a:cubicBezTo>
                  <a:close/>
                  <a:moveTo>
                    <a:pt x="269155" y="0"/>
                  </a:moveTo>
                  <a:cubicBezTo>
                    <a:pt x="415967" y="0"/>
                    <a:pt x="538311" y="122239"/>
                    <a:pt x="538311" y="268927"/>
                  </a:cubicBezTo>
                  <a:cubicBezTo>
                    <a:pt x="538311" y="268927"/>
                    <a:pt x="538311" y="268927"/>
                    <a:pt x="538311" y="4253925"/>
                  </a:cubicBezTo>
                  <a:cubicBezTo>
                    <a:pt x="538311" y="4253925"/>
                    <a:pt x="538311" y="4253925"/>
                    <a:pt x="4624575" y="4253925"/>
                  </a:cubicBezTo>
                  <a:cubicBezTo>
                    <a:pt x="4771387" y="4253925"/>
                    <a:pt x="4893730" y="4376164"/>
                    <a:pt x="4893730" y="4522851"/>
                  </a:cubicBezTo>
                  <a:cubicBezTo>
                    <a:pt x="4893730" y="4669538"/>
                    <a:pt x="4771387" y="4791777"/>
                    <a:pt x="4624575" y="4791777"/>
                  </a:cubicBezTo>
                  <a:cubicBezTo>
                    <a:pt x="4624575" y="4791777"/>
                    <a:pt x="4624575" y="4791777"/>
                    <a:pt x="269155" y="4791777"/>
                  </a:cubicBezTo>
                  <a:cubicBezTo>
                    <a:pt x="122344" y="4791777"/>
                    <a:pt x="0" y="4669538"/>
                    <a:pt x="0" y="4522851"/>
                  </a:cubicBezTo>
                  <a:cubicBezTo>
                    <a:pt x="0" y="4522851"/>
                    <a:pt x="0" y="4522851"/>
                    <a:pt x="0" y="268927"/>
                  </a:cubicBezTo>
                  <a:cubicBezTo>
                    <a:pt x="0" y="122239"/>
                    <a:pt x="122344" y="0"/>
                    <a:pt x="269155"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37148" tIns="109719" rIns="137148" bIns="109719"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699261"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9" name="Rectangle 88"/>
            <p:cNvSpPr/>
            <p:nvPr/>
          </p:nvSpPr>
          <p:spPr bwMode="auto">
            <a:xfrm rot="2745734">
              <a:off x="279530" y="1141266"/>
              <a:ext cx="1260714" cy="1255193"/>
            </a:xfrm>
            <a:prstGeom prst="rect">
              <a:avLst/>
            </a:prstGeom>
            <a:solidFill>
              <a:schemeClr val="tx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0" name="Rectangle 89"/>
            <p:cNvSpPr/>
            <p:nvPr/>
          </p:nvSpPr>
          <p:spPr bwMode="auto">
            <a:xfrm rot="2745734">
              <a:off x="1305789" y="4246825"/>
              <a:ext cx="416505" cy="1235003"/>
            </a:xfrm>
            <a:prstGeom prst="rect">
              <a:avLst/>
            </a:prstGeom>
            <a:solidFill>
              <a:schemeClr val="tx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2" name="Rectangle 91"/>
            <p:cNvSpPr/>
            <p:nvPr/>
          </p:nvSpPr>
          <p:spPr bwMode="auto">
            <a:xfrm rot="2745734">
              <a:off x="1315610" y="4915701"/>
              <a:ext cx="1263370" cy="1255989"/>
            </a:xfrm>
            <a:prstGeom prst="rect">
              <a:avLst/>
            </a:prstGeom>
            <a:solidFill>
              <a:schemeClr val="tx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40" name="TextBox 39"/>
          <p:cNvSpPr txBox="1"/>
          <p:nvPr/>
        </p:nvSpPr>
        <p:spPr>
          <a:xfrm>
            <a:off x="3" y="51415"/>
            <a:ext cx="2849058" cy="430887"/>
          </a:xfrm>
          <a:prstGeom prst="rect">
            <a:avLst/>
          </a:prstGeom>
        </p:spPr>
        <p:txBody>
          <a:bodyPr wrap="square">
            <a:spAutoFit/>
          </a:bodyPr>
          <a:lstStyle>
            <a:defPPr>
              <a:defRPr lang="en-US"/>
            </a:defPPr>
            <a:lvl1pPr defTabSz="914192">
              <a:defRPr sz="2800" b="1" spc="-100">
                <a:ln w="3175">
                  <a:noFill/>
                </a:ln>
                <a:solidFill>
                  <a:srgbClr val="F2C812"/>
                </a:solidFill>
                <a:latin typeface="Segoe UI" panose="020B0502040204020203" pitchFamily="34" charset="0"/>
                <a:ea typeface="ＭＳ Ｐゴシック" charset="0"/>
                <a:cs typeface="Segoe UI" panose="020B0502040204020203" pitchFamily="34" charset="0"/>
              </a:defRPr>
            </a:lvl1pPr>
          </a:lstStyle>
          <a:p>
            <a:pPr marL="0" marR="0" lvl="0" indent="0" algn="l" defTabSz="914192" rtl="0" eaLnBrk="1" fontAlgn="auto" latinLnBrk="0" hangingPunct="1">
              <a:lnSpc>
                <a:spcPct val="100000"/>
              </a:lnSpc>
              <a:spcBef>
                <a:spcPts val="0"/>
              </a:spcBef>
              <a:spcAft>
                <a:spcPts val="0"/>
              </a:spcAft>
              <a:buClrTx/>
              <a:buSzTx/>
              <a:buFontTx/>
              <a:buNone/>
              <a:tabLst/>
              <a:defRPr/>
            </a:pPr>
            <a:r>
              <a:rPr kumimoji="0" lang="en-US" sz="2200" b="1" i="0" u="none" strike="noStrike" kern="1200" cap="none" spc="-100" normalizeH="0" baseline="0" noProof="0">
                <a:ln w="3175">
                  <a:noFill/>
                </a:ln>
                <a:solidFill>
                  <a:srgbClr val="F2C812"/>
                </a:solidFill>
                <a:effectLst/>
                <a:uLnTx/>
                <a:uFillTx/>
                <a:latin typeface="Segoe UI Light"/>
                <a:ea typeface="ＭＳ Ｐゴシック" charset="0"/>
                <a:cs typeface="Segoe UI" panose="020B0502040204020203" pitchFamily="34" charset="0"/>
              </a:rPr>
              <a:t>Power BI Desktop</a:t>
            </a:r>
          </a:p>
        </p:txBody>
      </p:sp>
      <p:sp>
        <p:nvSpPr>
          <p:cNvPr id="41" name="Rectangle 40"/>
          <p:cNvSpPr/>
          <p:nvPr/>
        </p:nvSpPr>
        <p:spPr bwMode="auto">
          <a:xfrm rot="19005967">
            <a:off x="922420" y="2122148"/>
            <a:ext cx="1260714" cy="369589"/>
          </a:xfrm>
          <a:prstGeom prst="rect">
            <a:avLst/>
          </a:prstGeom>
          <a:solidFill>
            <a:schemeClr val="tx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7" name="Rectangle 36"/>
          <p:cNvSpPr/>
          <p:nvPr/>
        </p:nvSpPr>
        <p:spPr bwMode="auto">
          <a:xfrm rot="2745734">
            <a:off x="1371067" y="2420930"/>
            <a:ext cx="1194544" cy="1235003"/>
          </a:xfrm>
          <a:prstGeom prst="rect">
            <a:avLst/>
          </a:prstGeom>
          <a:solidFill>
            <a:schemeClr val="tx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2" name="Text Placeholder 2"/>
          <p:cNvSpPr txBox="1">
            <a:spLocks/>
          </p:cNvSpPr>
          <p:nvPr/>
        </p:nvSpPr>
        <p:spPr>
          <a:xfrm>
            <a:off x="3173232" y="916802"/>
            <a:ext cx="7640541" cy="897374"/>
          </a:xfrm>
          <a:prstGeom prst="rect">
            <a:avLst/>
          </a:prstGeom>
        </p:spPr>
        <p:txBody>
          <a:bodyPr vert="horz" wrap="square" lIns="182880" tIns="146304" rIns="182880" bIns="146304" rtlCol="0">
            <a:noAutofit/>
          </a:bodyPr>
          <a:lstStyle>
            <a:lvl1pPr marL="182845" marR="0"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3921" kern="1200" spc="0" baseline="0">
                <a:gradFill>
                  <a:gsLst>
                    <a:gs pos="1250">
                      <a:schemeClr val="tx2"/>
                    </a:gs>
                    <a:gs pos="99000">
                      <a:schemeClr val="tx2"/>
                    </a:gs>
                  </a:gsLst>
                  <a:lin ang="5400000" scaled="0"/>
                </a:gradFill>
                <a:latin typeface="+mj-lt"/>
                <a:ea typeface="+mn-ea"/>
                <a:cs typeface="+mn-cs"/>
              </a:defRPr>
            </a:lvl1pPr>
            <a:lvl2pPr marL="365690" marR="0"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2400" kern="1200" spc="0" baseline="0">
                <a:solidFill>
                  <a:schemeClr val="tx2"/>
                </a:solidFill>
                <a:latin typeface="+mj-lt"/>
                <a:ea typeface="+mn-ea"/>
                <a:cs typeface="+mn-cs"/>
              </a:defRPr>
            </a:lvl2pPr>
            <a:lvl3pPr marL="548535" marR="0"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2000" kern="1200" spc="0" baseline="0">
                <a:solidFill>
                  <a:schemeClr val="tx2"/>
                </a:solidFill>
                <a:latin typeface="+mj-lt"/>
                <a:ea typeface="+mn-ea"/>
                <a:cs typeface="+mn-cs"/>
              </a:defRPr>
            </a:lvl3pPr>
            <a:lvl4pPr marL="733802" marR="0" indent="-28569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1765" kern="1200" spc="0" baseline="0">
                <a:solidFill>
                  <a:schemeClr val="tx2"/>
                </a:solidFill>
                <a:latin typeface="+mn-lt"/>
                <a:ea typeface="+mn-ea"/>
                <a:cs typeface="+mn-cs"/>
              </a:defRPr>
            </a:lvl4pPr>
            <a:lvl5pPr marL="957856" marR="0" indent="-28569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1765" kern="1200" spc="0" baseline="0">
                <a:solidFill>
                  <a:schemeClr val="tx2"/>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1"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r>
              <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rPr>
              <a:t>It is possible to </a:t>
            </a:r>
            <a:r>
              <a:rPr kumimoji="0" lang="en-US" sz="2000" b="1"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rPr>
              <a:t>navigate across attributes </a:t>
            </a:r>
            <a:r>
              <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rPr>
              <a:t>if they are stacked on a particular area of a visualization (down/up/across)</a:t>
            </a: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r>
              <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rPr>
              <a:t>Those attributes don’t have to be </a:t>
            </a:r>
            <a:r>
              <a:rPr kumimoji="0" lang="en-US" sz="2000" b="1"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rPr>
              <a:t>natural hierarchies</a:t>
            </a:r>
            <a:r>
              <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rPr>
              <a:t>, all of them can be mixed.</a:t>
            </a: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p:txBody>
      </p:sp>
      <p:pic>
        <p:nvPicPr>
          <p:cNvPr id="4" name="Picture 3"/>
          <p:cNvPicPr>
            <a:picLocks noChangeAspect="1"/>
          </p:cNvPicPr>
          <p:nvPr/>
        </p:nvPicPr>
        <p:blipFill>
          <a:blip r:embed="rId3"/>
          <a:stretch>
            <a:fillRect/>
          </a:stretch>
        </p:blipFill>
        <p:spPr>
          <a:xfrm>
            <a:off x="3589002" y="4867262"/>
            <a:ext cx="1762125" cy="765322"/>
          </a:xfrm>
          <a:prstGeom prst="rect">
            <a:avLst/>
          </a:prstGeom>
          <a:ln>
            <a:noFill/>
          </a:ln>
          <a:effectLst>
            <a:outerShdw blurRad="190500" algn="tl" rotWithShape="0">
              <a:srgbClr val="000000">
                <a:alpha val="70000"/>
              </a:srgbClr>
            </a:outerShdw>
          </a:effectLst>
        </p:spPr>
      </p:pic>
      <p:pic>
        <p:nvPicPr>
          <p:cNvPr id="5" name="Picture 4"/>
          <p:cNvPicPr>
            <a:picLocks noChangeAspect="1"/>
          </p:cNvPicPr>
          <p:nvPr/>
        </p:nvPicPr>
        <p:blipFill>
          <a:blip r:embed="rId4"/>
          <a:stretch>
            <a:fillRect/>
          </a:stretch>
        </p:blipFill>
        <p:spPr>
          <a:xfrm>
            <a:off x="5818617" y="3160477"/>
            <a:ext cx="5674695" cy="2683640"/>
          </a:xfrm>
          <a:prstGeom prst="rect">
            <a:avLst/>
          </a:prstGeom>
          <a:ln>
            <a:noFill/>
          </a:ln>
          <a:effectLst>
            <a:outerShdw blurRad="190500" algn="tl" rotWithShape="0">
              <a:srgbClr val="000000">
                <a:alpha val="70000"/>
              </a:srgbClr>
            </a:outerShdw>
          </a:effectLst>
        </p:spPr>
      </p:pic>
      <p:pic>
        <p:nvPicPr>
          <p:cNvPr id="9" name="Picture 8"/>
          <p:cNvPicPr>
            <a:picLocks noChangeAspect="1"/>
          </p:cNvPicPr>
          <p:nvPr/>
        </p:nvPicPr>
        <p:blipFill>
          <a:blip r:embed="rId5"/>
          <a:stretch>
            <a:fillRect/>
          </a:stretch>
        </p:blipFill>
        <p:spPr>
          <a:xfrm>
            <a:off x="10258010" y="2914103"/>
            <a:ext cx="1579485" cy="445297"/>
          </a:xfrm>
          <a:prstGeom prst="rect">
            <a:avLst/>
          </a:prstGeom>
        </p:spPr>
      </p:pic>
      <p:sp>
        <p:nvSpPr>
          <p:cNvPr id="46" name="TextBox 45"/>
          <p:cNvSpPr txBox="1"/>
          <p:nvPr/>
        </p:nvSpPr>
        <p:spPr>
          <a:xfrm>
            <a:off x="10162888" y="3954420"/>
            <a:ext cx="1769727" cy="489365"/>
          </a:xfrm>
          <a:prstGeom prst="rect">
            <a:avLst/>
          </a:prstGeom>
        </p:spPr>
        <p:style>
          <a:lnRef idx="2">
            <a:schemeClr val="dk1"/>
          </a:lnRef>
          <a:fillRef idx="1">
            <a:schemeClr val="lt1"/>
          </a:fillRef>
          <a:effectRef idx="0">
            <a:schemeClr val="dk1"/>
          </a:effectRef>
          <a:fontRef idx="minor">
            <a:schemeClr val="dk1"/>
          </a:fontRef>
        </p:style>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a:ln>
                  <a:noFill/>
                </a:ln>
                <a:gradFill>
                  <a:gsLst>
                    <a:gs pos="2917">
                      <a:prstClr val="black"/>
                    </a:gs>
                    <a:gs pos="30000">
                      <a:prstClr val="black"/>
                    </a:gs>
                  </a:gsLst>
                  <a:lin ang="5400000" scaled="0"/>
                </a:gradFill>
                <a:effectLst/>
                <a:uLnTx/>
                <a:uFillTx/>
                <a:latin typeface="Segoe UI Light"/>
                <a:ea typeface="+mn-ea"/>
                <a:cs typeface="+mn-cs"/>
              </a:rPr>
              <a:t>Toggle drill mode</a:t>
            </a:r>
          </a:p>
        </p:txBody>
      </p:sp>
      <p:sp>
        <p:nvSpPr>
          <p:cNvPr id="45" name="Right Arrow 44"/>
          <p:cNvSpPr/>
          <p:nvPr/>
        </p:nvSpPr>
        <p:spPr bwMode="auto">
          <a:xfrm rot="4692383">
            <a:off x="10346005" y="3534552"/>
            <a:ext cx="471246" cy="127029"/>
          </a:xfrm>
          <a:prstGeom prst="rightArrow">
            <a:avLst/>
          </a:prstGeom>
          <a:solidFill>
            <a:srgbClr val="FF00FF"/>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pt-PT"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8" name="TextBox 47"/>
          <p:cNvSpPr txBox="1"/>
          <p:nvPr/>
        </p:nvSpPr>
        <p:spPr>
          <a:xfrm>
            <a:off x="7277859" y="3195915"/>
            <a:ext cx="2016443" cy="683264"/>
          </a:xfrm>
          <a:prstGeom prst="rect">
            <a:avLst/>
          </a:prstGeom>
        </p:spPr>
        <p:style>
          <a:lnRef idx="2">
            <a:schemeClr val="dk1"/>
          </a:lnRef>
          <a:fillRef idx="1">
            <a:schemeClr val="lt1"/>
          </a:fillRef>
          <a:effectRef idx="0">
            <a:schemeClr val="dk1"/>
          </a:effectRef>
          <a:fontRef idx="minor">
            <a:schemeClr val="dk1"/>
          </a:fontRef>
        </p:style>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a:ln>
                  <a:noFill/>
                </a:ln>
                <a:gradFill>
                  <a:gsLst>
                    <a:gs pos="2917">
                      <a:prstClr val="black"/>
                    </a:gs>
                    <a:gs pos="30000">
                      <a:prstClr val="black"/>
                    </a:gs>
                  </a:gsLst>
                  <a:lin ang="5400000" scaled="0"/>
                </a:gradFill>
                <a:effectLst/>
                <a:uLnTx/>
                <a:uFillTx/>
                <a:latin typeface="Segoe UI Light"/>
                <a:ea typeface="+mn-ea"/>
                <a:cs typeface="+mn-cs"/>
              </a:rPr>
              <a:t>Expand All down one level in the hierarchy</a:t>
            </a:r>
          </a:p>
        </p:txBody>
      </p:sp>
      <p:sp>
        <p:nvSpPr>
          <p:cNvPr id="50" name="TextBox 49"/>
          <p:cNvSpPr txBox="1"/>
          <p:nvPr/>
        </p:nvSpPr>
        <p:spPr>
          <a:xfrm>
            <a:off x="3979797" y="2995357"/>
            <a:ext cx="980536" cy="489365"/>
          </a:xfrm>
          <a:prstGeom prst="rect">
            <a:avLst/>
          </a:prstGeom>
        </p:spPr>
        <p:style>
          <a:lnRef idx="2">
            <a:schemeClr val="dk1"/>
          </a:lnRef>
          <a:fillRef idx="1">
            <a:schemeClr val="lt1"/>
          </a:fillRef>
          <a:effectRef idx="0">
            <a:schemeClr val="dk1"/>
          </a:effectRef>
          <a:fontRef idx="minor">
            <a:schemeClr val="dk1"/>
          </a:fontRef>
        </p:style>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a:ln>
                  <a:noFill/>
                </a:ln>
                <a:gradFill>
                  <a:gsLst>
                    <a:gs pos="2917">
                      <a:prstClr val="black"/>
                    </a:gs>
                    <a:gs pos="30000">
                      <a:prstClr val="black"/>
                    </a:gs>
                  </a:gsLst>
                  <a:lin ang="5400000" scaled="0"/>
                </a:gradFill>
                <a:effectLst/>
                <a:uLnTx/>
                <a:uFillTx/>
                <a:latin typeface="Segoe UI Light"/>
                <a:ea typeface="+mn-ea"/>
                <a:cs typeface="+mn-cs"/>
              </a:rPr>
              <a:t>Drill up</a:t>
            </a:r>
          </a:p>
        </p:txBody>
      </p:sp>
      <p:pic>
        <p:nvPicPr>
          <p:cNvPr id="3" name="Picture 2"/>
          <p:cNvPicPr>
            <a:picLocks noChangeAspect="1"/>
          </p:cNvPicPr>
          <p:nvPr/>
        </p:nvPicPr>
        <p:blipFill>
          <a:blip r:embed="rId6"/>
          <a:stretch>
            <a:fillRect/>
          </a:stretch>
        </p:blipFill>
        <p:spPr>
          <a:xfrm>
            <a:off x="5462267" y="2955819"/>
            <a:ext cx="1275040" cy="381587"/>
          </a:xfrm>
          <a:prstGeom prst="rect">
            <a:avLst/>
          </a:prstGeom>
        </p:spPr>
      </p:pic>
      <p:sp>
        <p:nvSpPr>
          <p:cNvPr id="51" name="Right Arrow 48"/>
          <p:cNvSpPr/>
          <p:nvPr/>
        </p:nvSpPr>
        <p:spPr bwMode="auto">
          <a:xfrm rot="10800000">
            <a:off x="4960333" y="3143738"/>
            <a:ext cx="557176" cy="107438"/>
          </a:xfrm>
          <a:prstGeom prst="rightArrow">
            <a:avLst/>
          </a:prstGeom>
          <a:solidFill>
            <a:srgbClr val="FF00FF"/>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pt-PT"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3" name="Right Arrow 46"/>
          <p:cNvSpPr/>
          <p:nvPr/>
        </p:nvSpPr>
        <p:spPr bwMode="auto">
          <a:xfrm rot="404017">
            <a:off x="6693319" y="3209644"/>
            <a:ext cx="557176" cy="107438"/>
          </a:xfrm>
          <a:prstGeom prst="rightArrow">
            <a:avLst/>
          </a:prstGeom>
          <a:solidFill>
            <a:srgbClr val="FF00FF"/>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pt-PT"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4" name="Right Arrow 48"/>
          <p:cNvSpPr/>
          <p:nvPr/>
        </p:nvSpPr>
        <p:spPr bwMode="auto">
          <a:xfrm rot="9511615">
            <a:off x="5076969" y="3448184"/>
            <a:ext cx="963431" cy="81292"/>
          </a:xfrm>
          <a:prstGeom prst="rightArrow">
            <a:avLst/>
          </a:prstGeom>
          <a:solidFill>
            <a:srgbClr val="FF00FF"/>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pt-PT"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5" name="TextBox 54"/>
          <p:cNvSpPr txBox="1"/>
          <p:nvPr/>
        </p:nvSpPr>
        <p:spPr>
          <a:xfrm>
            <a:off x="3219080" y="3581945"/>
            <a:ext cx="1825937" cy="683264"/>
          </a:xfrm>
          <a:prstGeom prst="rect">
            <a:avLst/>
          </a:prstGeom>
        </p:spPr>
        <p:style>
          <a:lnRef idx="2">
            <a:schemeClr val="dk1"/>
          </a:lnRef>
          <a:fillRef idx="1">
            <a:schemeClr val="lt1"/>
          </a:fillRef>
          <a:effectRef idx="0">
            <a:schemeClr val="dk1"/>
          </a:effectRef>
          <a:fontRef idx="minor">
            <a:schemeClr val="dk1"/>
          </a:fontRef>
        </p:style>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a:ln>
                  <a:noFill/>
                </a:ln>
                <a:gradFill>
                  <a:gsLst>
                    <a:gs pos="2917">
                      <a:prstClr val="black"/>
                    </a:gs>
                    <a:gs pos="30000">
                      <a:prstClr val="black"/>
                    </a:gs>
                  </a:gsLst>
                  <a:lin ang="5400000" scaled="0"/>
                </a:gradFill>
                <a:effectLst/>
                <a:uLnTx/>
                <a:uFillTx/>
                <a:latin typeface="Segoe UI Light"/>
                <a:ea typeface="+mn-ea"/>
                <a:cs typeface="+mn-cs"/>
              </a:rPr>
              <a:t>Go to the next level in the hierarchy</a:t>
            </a:r>
          </a:p>
        </p:txBody>
      </p:sp>
      <p:sp>
        <p:nvSpPr>
          <p:cNvPr id="56" name="Text Placeholder 2"/>
          <p:cNvSpPr txBox="1">
            <a:spLocks/>
          </p:cNvSpPr>
          <p:nvPr/>
        </p:nvSpPr>
        <p:spPr>
          <a:xfrm>
            <a:off x="3260563" y="5906205"/>
            <a:ext cx="7640541" cy="897374"/>
          </a:xfrm>
          <a:prstGeom prst="rect">
            <a:avLst/>
          </a:prstGeom>
        </p:spPr>
        <p:txBody>
          <a:bodyPr vert="horz" wrap="square" lIns="182880" tIns="146304" rIns="182880" bIns="146304" rtlCol="0">
            <a:noAutofit/>
          </a:bodyPr>
          <a:lstStyle>
            <a:lvl1pPr marL="182845" marR="0"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3921" kern="1200" spc="0" baseline="0">
                <a:gradFill>
                  <a:gsLst>
                    <a:gs pos="1250">
                      <a:schemeClr val="tx2"/>
                    </a:gs>
                    <a:gs pos="99000">
                      <a:schemeClr val="tx2"/>
                    </a:gs>
                  </a:gsLst>
                  <a:lin ang="5400000" scaled="0"/>
                </a:gradFill>
                <a:latin typeface="+mj-lt"/>
                <a:ea typeface="+mn-ea"/>
                <a:cs typeface="+mn-cs"/>
              </a:defRPr>
            </a:lvl1pPr>
            <a:lvl2pPr marL="365690" marR="0"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2400" kern="1200" spc="0" baseline="0">
                <a:solidFill>
                  <a:schemeClr val="tx2"/>
                </a:solidFill>
                <a:latin typeface="+mj-lt"/>
                <a:ea typeface="+mn-ea"/>
                <a:cs typeface="+mn-cs"/>
              </a:defRPr>
            </a:lvl2pPr>
            <a:lvl3pPr marL="548535" marR="0"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2000" kern="1200" spc="0" baseline="0">
                <a:solidFill>
                  <a:schemeClr val="tx2"/>
                </a:solidFill>
                <a:latin typeface="+mj-lt"/>
                <a:ea typeface="+mn-ea"/>
                <a:cs typeface="+mn-cs"/>
              </a:defRPr>
            </a:lvl3pPr>
            <a:lvl4pPr marL="733802" marR="0" indent="-28569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1765" kern="1200" spc="0" baseline="0">
                <a:solidFill>
                  <a:schemeClr val="tx2"/>
                </a:solidFill>
                <a:latin typeface="+mn-lt"/>
                <a:ea typeface="+mn-ea"/>
                <a:cs typeface="+mn-cs"/>
              </a:defRPr>
            </a:lvl4pPr>
            <a:lvl5pPr marL="957856" marR="0" indent="-28569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1765" kern="1200" spc="0" baseline="0">
                <a:solidFill>
                  <a:schemeClr val="tx2"/>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r>
              <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rPr>
              <a:t>Drill features works on bar and line charts</a:t>
            </a: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p:txBody>
      </p:sp>
    </p:spTree>
    <p:extLst>
      <p:ext uri="{BB962C8B-B14F-4D97-AF65-F5344CB8AC3E}">
        <p14:creationId xmlns:p14="http://schemas.microsoft.com/office/powerpoint/2010/main" val="27474875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 name="Title 10"/>
          <p:cNvSpPr txBox="1">
            <a:spLocks/>
          </p:cNvSpPr>
          <p:nvPr/>
        </p:nvSpPr>
        <p:spPr>
          <a:xfrm>
            <a:off x="2823811" y="9056"/>
            <a:ext cx="9250959" cy="665151"/>
          </a:xfrm>
          <a:prstGeom prst="rect">
            <a:avLst/>
          </a:prstGeom>
          <a:noFill/>
        </p:spPr>
        <p:txBody>
          <a:bodyPr vert="horz" wrap="square" lIns="0" tIns="91440" rIns="0" bIns="91440" rtlCol="0" anchor="t">
            <a:noAutofit/>
          </a:bodyPr>
          <a:lstStyle>
            <a:lvl1pPr defTabSz="914367">
              <a:lnSpc>
                <a:spcPct val="90000"/>
              </a:lnSpc>
              <a:spcBef>
                <a:spcPct val="0"/>
              </a:spcBef>
              <a:buNone/>
              <a:defRPr lang="en-US" sz="5294" b="0" cap="none" spc="-100" baseline="0" dirty="0" smtClean="0">
                <a:ln w="3175">
                  <a:noFill/>
                </a:ln>
                <a:solidFill>
                  <a:schemeClr val="tx2"/>
                </a:solidFill>
                <a:effectLst/>
                <a:latin typeface="+mj-lt"/>
                <a:cs typeface="Segoe UI" pitchFamily="34" charset="0"/>
              </a:defRPr>
            </a:lvl1pPr>
          </a:lstStyle>
          <a:p>
            <a:pPr marL="168275"/>
            <a:r>
              <a:rPr lang="en-US" sz="3600">
                <a:solidFill>
                  <a:schemeClr val="tx1"/>
                </a:solidFill>
              </a:rPr>
              <a:t>Create organizational content packs</a:t>
            </a:r>
            <a:endParaRPr lang="en-US" sz="3600" b="1">
              <a:solidFill>
                <a:schemeClr val="tx1"/>
              </a:solidFill>
            </a:endParaRPr>
          </a:p>
          <a:p>
            <a:pPr marL="168275"/>
            <a:endParaRPr lang="en-IN" sz="3600">
              <a:solidFill>
                <a:schemeClr val="tx1"/>
              </a:solidFill>
            </a:endParaRPr>
          </a:p>
        </p:txBody>
      </p:sp>
      <p:sp>
        <p:nvSpPr>
          <p:cNvPr id="37" name="Rectangle 15"/>
          <p:cNvSpPr/>
          <p:nvPr/>
        </p:nvSpPr>
        <p:spPr bwMode="auto">
          <a:xfrm>
            <a:off x="2" y="487"/>
            <a:ext cx="2815441" cy="685702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38" name="TextBox 37"/>
          <p:cNvSpPr txBox="1"/>
          <p:nvPr/>
        </p:nvSpPr>
        <p:spPr>
          <a:xfrm>
            <a:off x="2" y="487"/>
            <a:ext cx="2815441" cy="683264"/>
          </a:xfrm>
          <a:prstGeom prst="rect">
            <a:avLst/>
          </a:prstGeom>
          <a:noFill/>
        </p:spPr>
        <p:txBody>
          <a:bodyPr wrap="square" lIns="182880" tIns="146304" rIns="182880" bIns="146304" rtlCol="0">
            <a:spAutoFit/>
          </a:bodyPr>
          <a:lstStyle>
            <a:defPPr>
              <a:defRPr lang="en-US"/>
            </a:defPPr>
            <a:lvl1pPr>
              <a:lnSpc>
                <a:spcPct val="90000"/>
              </a:lnSpc>
              <a:spcAft>
                <a:spcPts val="600"/>
              </a:spcAft>
              <a:defRPr sz="2800" b="1">
                <a:solidFill>
                  <a:srgbClr val="F2C812"/>
                </a:solidFill>
                <a:latin typeface="Segoe UI Light"/>
              </a:defRPr>
            </a:lvl1pPr>
          </a:lstStyle>
          <a:p>
            <a:r>
              <a:rPr lang="en-US"/>
              <a:t>IT challenges</a:t>
            </a:r>
          </a:p>
        </p:txBody>
      </p:sp>
      <p:grpSp>
        <p:nvGrpSpPr>
          <p:cNvPr id="39" name="Group 38"/>
          <p:cNvGrpSpPr/>
          <p:nvPr/>
        </p:nvGrpSpPr>
        <p:grpSpPr>
          <a:xfrm>
            <a:off x="151322" y="867914"/>
            <a:ext cx="2636411" cy="548640"/>
            <a:chOff x="179032" y="1123407"/>
            <a:chExt cx="2636411" cy="548640"/>
          </a:xfrm>
        </p:grpSpPr>
        <p:sp>
          <p:nvSpPr>
            <p:cNvPr id="40" name="Oval 147"/>
            <p:cNvSpPr/>
            <p:nvPr/>
          </p:nvSpPr>
          <p:spPr bwMode="auto">
            <a:xfrm>
              <a:off x="179032" y="1123407"/>
              <a:ext cx="548640" cy="548640"/>
            </a:xfrm>
            <a:prstGeom prst="ellipse">
              <a:avLst/>
            </a:prstGeom>
            <a:solidFill>
              <a:srgbClr val="FFCC00"/>
            </a:solidFill>
            <a:ln>
              <a:solidFill>
                <a:srgbClr val="F2C81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err="1">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145"/>
            <p:cNvSpPr/>
            <p:nvPr/>
          </p:nvSpPr>
          <p:spPr bwMode="auto">
            <a:xfrm>
              <a:off x="805048" y="1206147"/>
              <a:ext cx="2010395" cy="3831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14367"/>
              <a:r>
                <a:rPr lang="en-US" sz="1400" b="1">
                  <a:solidFill>
                    <a:srgbClr val="F2C812"/>
                  </a:solidFill>
                  <a:cs typeface="Segoe UI Light" panose="020B0502040204020203" pitchFamily="34" charset="0"/>
                </a:rPr>
                <a:t>Management of BI systems</a:t>
              </a:r>
              <a:endParaRPr lang="en-US" sz="1200" b="1" i="1">
                <a:solidFill>
                  <a:srgbClr val="F2C812"/>
                </a:solidFill>
                <a:cs typeface="Segoe UI Light" panose="020B0502040204020203" pitchFamily="34" charset="0"/>
              </a:endParaRPr>
            </a:p>
          </p:txBody>
        </p:sp>
      </p:grpSp>
      <p:grpSp>
        <p:nvGrpSpPr>
          <p:cNvPr id="42" name="Group 41"/>
          <p:cNvGrpSpPr/>
          <p:nvPr/>
        </p:nvGrpSpPr>
        <p:grpSpPr>
          <a:xfrm>
            <a:off x="151322" y="1832204"/>
            <a:ext cx="2636411" cy="548640"/>
            <a:chOff x="212649" y="1959486"/>
            <a:chExt cx="2636411" cy="548640"/>
          </a:xfrm>
        </p:grpSpPr>
        <p:sp>
          <p:nvSpPr>
            <p:cNvPr id="43" name="Oval 147"/>
            <p:cNvSpPr/>
            <p:nvPr/>
          </p:nvSpPr>
          <p:spPr bwMode="auto">
            <a:xfrm>
              <a:off x="212649" y="1959486"/>
              <a:ext cx="548640" cy="548640"/>
            </a:xfrm>
            <a:prstGeom prst="ellipse">
              <a:avLst/>
            </a:prstGeom>
            <a:solidFill>
              <a:srgbClr val="FFCC00"/>
            </a:solidFill>
            <a:ln>
              <a:solidFill>
                <a:srgbClr val="F2C81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err="1">
                <a:gradFill>
                  <a:gsLst>
                    <a:gs pos="0">
                      <a:srgbClr val="FFFFFF"/>
                    </a:gs>
                    <a:gs pos="100000">
                      <a:srgbClr val="FFFFFF"/>
                    </a:gs>
                  </a:gsLst>
                  <a:lin ang="5400000" scaled="0"/>
                </a:gradFill>
                <a:ea typeface="Segoe UI" pitchFamily="34" charset="0"/>
                <a:cs typeface="Segoe UI" pitchFamily="34" charset="0"/>
              </a:endParaRPr>
            </a:p>
          </p:txBody>
        </p:sp>
        <p:sp>
          <p:nvSpPr>
            <p:cNvPr id="44" name="Rectangle 145"/>
            <p:cNvSpPr/>
            <p:nvPr/>
          </p:nvSpPr>
          <p:spPr bwMode="auto">
            <a:xfrm>
              <a:off x="838665" y="2042226"/>
              <a:ext cx="2010395" cy="3831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14367"/>
              <a:r>
                <a:rPr lang="en-US" sz="1400" b="1">
                  <a:solidFill>
                    <a:srgbClr val="F2C812"/>
                  </a:solidFill>
                  <a:cs typeface="Segoe UI Light" panose="020B0502040204020203" pitchFamily="34" charset="0"/>
                </a:rPr>
                <a:t>Variety of data sources</a:t>
              </a:r>
              <a:endParaRPr lang="en-US" sz="1200" b="1" i="1">
                <a:solidFill>
                  <a:srgbClr val="F2C812"/>
                </a:solidFill>
                <a:cs typeface="Segoe UI Light" panose="020B0502040204020203" pitchFamily="34" charset="0"/>
              </a:endParaRPr>
            </a:p>
          </p:txBody>
        </p:sp>
      </p:grpSp>
      <p:grpSp>
        <p:nvGrpSpPr>
          <p:cNvPr id="45" name="Group 44"/>
          <p:cNvGrpSpPr/>
          <p:nvPr/>
        </p:nvGrpSpPr>
        <p:grpSpPr>
          <a:xfrm>
            <a:off x="151322" y="2796494"/>
            <a:ext cx="2636411" cy="548640"/>
            <a:chOff x="179032" y="1123407"/>
            <a:chExt cx="2636411" cy="548640"/>
          </a:xfrm>
        </p:grpSpPr>
        <p:sp>
          <p:nvSpPr>
            <p:cNvPr id="46" name="Oval 147"/>
            <p:cNvSpPr/>
            <p:nvPr/>
          </p:nvSpPr>
          <p:spPr bwMode="auto">
            <a:xfrm>
              <a:off x="179032" y="1123407"/>
              <a:ext cx="548640" cy="548640"/>
            </a:xfrm>
            <a:prstGeom prst="ellipse">
              <a:avLst/>
            </a:prstGeom>
            <a:solidFill>
              <a:srgbClr val="FFCC00"/>
            </a:solidFill>
            <a:ln>
              <a:solidFill>
                <a:srgbClr val="F2C81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err="1">
                <a:gradFill>
                  <a:gsLst>
                    <a:gs pos="0">
                      <a:srgbClr val="FFFFFF"/>
                    </a:gs>
                    <a:gs pos="100000">
                      <a:srgbClr val="FFFFFF"/>
                    </a:gs>
                  </a:gsLst>
                  <a:lin ang="5400000" scaled="0"/>
                </a:gradFill>
                <a:ea typeface="Segoe UI" pitchFamily="34" charset="0"/>
                <a:cs typeface="Segoe UI" pitchFamily="34" charset="0"/>
              </a:endParaRPr>
            </a:p>
          </p:txBody>
        </p:sp>
        <p:sp>
          <p:nvSpPr>
            <p:cNvPr id="47" name="Rectangle 145"/>
            <p:cNvSpPr/>
            <p:nvPr/>
          </p:nvSpPr>
          <p:spPr bwMode="auto">
            <a:xfrm>
              <a:off x="805048" y="1206147"/>
              <a:ext cx="2010395" cy="3831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14367"/>
              <a:r>
                <a:rPr lang="en-US" sz="1400" b="1">
                  <a:solidFill>
                    <a:srgbClr val="F2C812"/>
                  </a:solidFill>
                  <a:cs typeface="Segoe UI Light" panose="020B0502040204020203" pitchFamily="34" charset="0"/>
                </a:rPr>
                <a:t>Managing data in the cloud</a:t>
              </a:r>
              <a:endParaRPr lang="en-US" sz="1200" b="1" i="1">
                <a:solidFill>
                  <a:srgbClr val="F2C812"/>
                </a:solidFill>
                <a:cs typeface="Segoe UI Light" panose="020B0502040204020203" pitchFamily="34" charset="0"/>
              </a:endParaRPr>
            </a:p>
          </p:txBody>
        </p:sp>
      </p:grpSp>
      <p:grpSp>
        <p:nvGrpSpPr>
          <p:cNvPr id="48" name="Group 47"/>
          <p:cNvGrpSpPr/>
          <p:nvPr/>
        </p:nvGrpSpPr>
        <p:grpSpPr>
          <a:xfrm>
            <a:off x="151322" y="3760784"/>
            <a:ext cx="2636411" cy="548640"/>
            <a:chOff x="179032" y="1123407"/>
            <a:chExt cx="2636411" cy="548640"/>
          </a:xfrm>
        </p:grpSpPr>
        <p:sp>
          <p:nvSpPr>
            <p:cNvPr id="50" name="Oval 147"/>
            <p:cNvSpPr/>
            <p:nvPr/>
          </p:nvSpPr>
          <p:spPr bwMode="auto">
            <a:xfrm>
              <a:off x="179032" y="1123407"/>
              <a:ext cx="548640" cy="548640"/>
            </a:xfrm>
            <a:prstGeom prst="ellipse">
              <a:avLst/>
            </a:prstGeom>
            <a:solidFill>
              <a:srgbClr val="FFCC00"/>
            </a:solidFill>
            <a:ln>
              <a:solidFill>
                <a:srgbClr val="F2C81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err="1">
                <a:gradFill>
                  <a:gsLst>
                    <a:gs pos="0">
                      <a:srgbClr val="FFFFFF"/>
                    </a:gs>
                    <a:gs pos="100000">
                      <a:srgbClr val="FFFFFF"/>
                    </a:gs>
                  </a:gsLst>
                  <a:lin ang="5400000" scaled="0"/>
                </a:gradFill>
                <a:ea typeface="Segoe UI" pitchFamily="34" charset="0"/>
                <a:cs typeface="Segoe UI" pitchFamily="34" charset="0"/>
              </a:endParaRPr>
            </a:p>
          </p:txBody>
        </p:sp>
        <p:sp>
          <p:nvSpPr>
            <p:cNvPr id="51" name="Rectangle 145"/>
            <p:cNvSpPr/>
            <p:nvPr/>
          </p:nvSpPr>
          <p:spPr bwMode="auto">
            <a:xfrm>
              <a:off x="805048" y="1206147"/>
              <a:ext cx="2010395" cy="3831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14367"/>
              <a:r>
                <a:rPr lang="en-US" sz="1400" b="1">
                  <a:solidFill>
                    <a:srgbClr val="F2C812"/>
                  </a:solidFill>
                  <a:cs typeface="Segoe UI Light" panose="020B0502040204020203" pitchFamily="34" charset="0"/>
                </a:rPr>
                <a:t>Integration with existing environment</a:t>
              </a:r>
              <a:endParaRPr lang="en-US" sz="1200" b="1" i="1">
                <a:solidFill>
                  <a:srgbClr val="F2C812"/>
                </a:solidFill>
                <a:cs typeface="Segoe UI Light" panose="020B0502040204020203" pitchFamily="34" charset="0"/>
              </a:endParaRPr>
            </a:p>
          </p:txBody>
        </p:sp>
      </p:grpSp>
      <p:grpSp>
        <p:nvGrpSpPr>
          <p:cNvPr id="52" name="Group 51"/>
          <p:cNvGrpSpPr/>
          <p:nvPr/>
        </p:nvGrpSpPr>
        <p:grpSpPr>
          <a:xfrm>
            <a:off x="132176" y="4725074"/>
            <a:ext cx="2655557" cy="548640"/>
            <a:chOff x="159886" y="1123407"/>
            <a:chExt cx="2655557" cy="548640"/>
          </a:xfrm>
        </p:grpSpPr>
        <p:sp>
          <p:nvSpPr>
            <p:cNvPr id="54" name="Oval 147"/>
            <p:cNvSpPr/>
            <p:nvPr/>
          </p:nvSpPr>
          <p:spPr bwMode="auto">
            <a:xfrm>
              <a:off x="159886" y="1123407"/>
              <a:ext cx="548640" cy="548640"/>
            </a:xfrm>
            <a:prstGeom prst="ellipse">
              <a:avLst/>
            </a:prstGeom>
            <a:solidFill>
              <a:srgbClr val="FFCC00"/>
            </a:solidFill>
            <a:ln>
              <a:solidFill>
                <a:srgbClr val="F2C81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err="1">
                <a:gradFill>
                  <a:gsLst>
                    <a:gs pos="0">
                      <a:srgbClr val="FFFFFF"/>
                    </a:gs>
                    <a:gs pos="100000">
                      <a:srgbClr val="FFFFFF"/>
                    </a:gs>
                  </a:gsLst>
                  <a:lin ang="5400000" scaled="0"/>
                </a:gradFill>
                <a:ea typeface="Segoe UI" pitchFamily="34" charset="0"/>
                <a:cs typeface="Segoe UI" pitchFamily="34" charset="0"/>
              </a:endParaRPr>
            </a:p>
          </p:txBody>
        </p:sp>
        <p:sp>
          <p:nvSpPr>
            <p:cNvPr id="55" name="Rectangle 145"/>
            <p:cNvSpPr/>
            <p:nvPr/>
          </p:nvSpPr>
          <p:spPr bwMode="auto">
            <a:xfrm>
              <a:off x="805048" y="1206147"/>
              <a:ext cx="2010395" cy="3831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14367"/>
              <a:r>
                <a:rPr lang="en-US" sz="1400" b="1">
                  <a:solidFill>
                    <a:srgbClr val="F2C812"/>
                  </a:solidFill>
                  <a:cs typeface="Segoe UI Light" panose="020B0502040204020203" pitchFamily="34" charset="0"/>
                </a:rPr>
                <a:t>Keeping data current</a:t>
              </a:r>
              <a:endParaRPr lang="en-US" sz="1200" b="1" i="1">
                <a:solidFill>
                  <a:srgbClr val="F2C812"/>
                </a:solidFill>
                <a:cs typeface="Segoe UI Light" panose="020B0502040204020203" pitchFamily="34" charset="0"/>
              </a:endParaRPr>
            </a:p>
          </p:txBody>
        </p:sp>
      </p:grpSp>
      <p:grpSp>
        <p:nvGrpSpPr>
          <p:cNvPr id="56" name="Group 55"/>
          <p:cNvGrpSpPr/>
          <p:nvPr/>
        </p:nvGrpSpPr>
        <p:grpSpPr>
          <a:xfrm>
            <a:off x="151322" y="5689364"/>
            <a:ext cx="2636411" cy="548640"/>
            <a:chOff x="179032" y="1123407"/>
            <a:chExt cx="2636411" cy="548640"/>
          </a:xfrm>
        </p:grpSpPr>
        <p:sp>
          <p:nvSpPr>
            <p:cNvPr id="57" name="Oval 147"/>
            <p:cNvSpPr/>
            <p:nvPr/>
          </p:nvSpPr>
          <p:spPr bwMode="auto">
            <a:xfrm>
              <a:off x="179032" y="1123407"/>
              <a:ext cx="548640" cy="548640"/>
            </a:xfrm>
            <a:prstGeom prst="ellipse">
              <a:avLst/>
            </a:prstGeom>
            <a:solidFill>
              <a:srgbClr val="FFCC00"/>
            </a:solidFill>
            <a:ln>
              <a:solidFill>
                <a:srgbClr val="F2C81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err="1">
                <a:gradFill>
                  <a:gsLst>
                    <a:gs pos="0">
                      <a:srgbClr val="FFFFFF"/>
                    </a:gs>
                    <a:gs pos="100000">
                      <a:srgbClr val="FFFFFF"/>
                    </a:gs>
                  </a:gsLst>
                  <a:lin ang="5400000" scaled="0"/>
                </a:gradFill>
                <a:ea typeface="Segoe UI" pitchFamily="34" charset="0"/>
                <a:cs typeface="Segoe UI" pitchFamily="34" charset="0"/>
              </a:endParaRPr>
            </a:p>
          </p:txBody>
        </p:sp>
        <p:sp>
          <p:nvSpPr>
            <p:cNvPr id="58" name="Rectangle 145"/>
            <p:cNvSpPr/>
            <p:nvPr/>
          </p:nvSpPr>
          <p:spPr bwMode="auto">
            <a:xfrm>
              <a:off x="805048" y="1206147"/>
              <a:ext cx="2010395" cy="3831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14367"/>
              <a:r>
                <a:rPr lang="en-US" sz="1400" b="1">
                  <a:solidFill>
                    <a:srgbClr val="F2C812"/>
                  </a:solidFill>
                  <a:cs typeface="Segoe UI Light" panose="020B0502040204020203" pitchFamily="34" charset="0"/>
                </a:rPr>
                <a:t>Ease of use and adoption</a:t>
              </a:r>
              <a:endParaRPr lang="en-US" sz="1200" b="1" i="1">
                <a:solidFill>
                  <a:srgbClr val="F2C812"/>
                </a:solidFill>
                <a:cs typeface="Segoe UI Light" panose="020B0502040204020203" pitchFamily="34" charset="0"/>
              </a:endParaRPr>
            </a:p>
          </p:txBody>
        </p:sp>
      </p:grpSp>
      <p:sp>
        <p:nvSpPr>
          <p:cNvPr id="59" name="Freeform 58"/>
          <p:cNvSpPr>
            <a:spLocks noChangeAspect="1"/>
          </p:cNvSpPr>
          <p:nvPr/>
        </p:nvSpPr>
        <p:spPr bwMode="black">
          <a:xfrm>
            <a:off x="242762" y="1024112"/>
            <a:ext cx="365760" cy="236244"/>
          </a:xfrm>
          <a:custGeom>
            <a:avLst/>
            <a:gdLst>
              <a:gd name="connsiteX0" fmla="*/ 93529 w 794079"/>
              <a:gd name="connsiteY0" fmla="*/ 409985 h 512894"/>
              <a:gd name="connsiteX1" fmla="*/ 57350 w 794079"/>
              <a:gd name="connsiteY1" fmla="*/ 446163 h 512894"/>
              <a:gd name="connsiteX2" fmla="*/ 93529 w 794079"/>
              <a:gd name="connsiteY2" fmla="*/ 482342 h 512894"/>
              <a:gd name="connsiteX3" fmla="*/ 129707 w 794079"/>
              <a:gd name="connsiteY3" fmla="*/ 446163 h 512894"/>
              <a:gd name="connsiteX4" fmla="*/ 93529 w 794079"/>
              <a:gd name="connsiteY4" fmla="*/ 409985 h 512894"/>
              <a:gd name="connsiteX5" fmla="*/ 22935 w 794079"/>
              <a:gd name="connsiteY5" fmla="*/ 375286 h 512894"/>
              <a:gd name="connsiteX6" fmla="*/ 771144 w 794079"/>
              <a:gd name="connsiteY6" fmla="*/ 375286 h 512894"/>
              <a:gd name="connsiteX7" fmla="*/ 794079 w 794079"/>
              <a:gd name="connsiteY7" fmla="*/ 398221 h 512894"/>
              <a:gd name="connsiteX8" fmla="*/ 794079 w 794079"/>
              <a:gd name="connsiteY8" fmla="*/ 489959 h 512894"/>
              <a:gd name="connsiteX9" fmla="*/ 771144 w 794079"/>
              <a:gd name="connsiteY9" fmla="*/ 512894 h 512894"/>
              <a:gd name="connsiteX10" fmla="*/ 22935 w 794079"/>
              <a:gd name="connsiteY10" fmla="*/ 512894 h 512894"/>
              <a:gd name="connsiteX11" fmla="*/ 0 w 794079"/>
              <a:gd name="connsiteY11" fmla="*/ 489959 h 512894"/>
              <a:gd name="connsiteX12" fmla="*/ 0 w 794079"/>
              <a:gd name="connsiteY12" fmla="*/ 398221 h 512894"/>
              <a:gd name="connsiteX13" fmla="*/ 22935 w 794079"/>
              <a:gd name="connsiteY13" fmla="*/ 375286 h 512894"/>
              <a:gd name="connsiteX14" fmla="*/ 93529 w 794079"/>
              <a:gd name="connsiteY14" fmla="*/ 222341 h 512894"/>
              <a:gd name="connsiteX15" fmla="*/ 57350 w 794079"/>
              <a:gd name="connsiteY15" fmla="*/ 258520 h 512894"/>
              <a:gd name="connsiteX16" fmla="*/ 93529 w 794079"/>
              <a:gd name="connsiteY16" fmla="*/ 294699 h 512894"/>
              <a:gd name="connsiteX17" fmla="*/ 129707 w 794079"/>
              <a:gd name="connsiteY17" fmla="*/ 258520 h 512894"/>
              <a:gd name="connsiteX18" fmla="*/ 93529 w 794079"/>
              <a:gd name="connsiteY18" fmla="*/ 222341 h 512894"/>
              <a:gd name="connsiteX19" fmla="*/ 22935 w 794079"/>
              <a:gd name="connsiteY19" fmla="*/ 187643 h 512894"/>
              <a:gd name="connsiteX20" fmla="*/ 771144 w 794079"/>
              <a:gd name="connsiteY20" fmla="*/ 187643 h 512894"/>
              <a:gd name="connsiteX21" fmla="*/ 794079 w 794079"/>
              <a:gd name="connsiteY21" fmla="*/ 210578 h 512894"/>
              <a:gd name="connsiteX22" fmla="*/ 794079 w 794079"/>
              <a:gd name="connsiteY22" fmla="*/ 302316 h 512894"/>
              <a:gd name="connsiteX23" fmla="*/ 771144 w 794079"/>
              <a:gd name="connsiteY23" fmla="*/ 325251 h 512894"/>
              <a:gd name="connsiteX24" fmla="*/ 22935 w 794079"/>
              <a:gd name="connsiteY24" fmla="*/ 325251 h 512894"/>
              <a:gd name="connsiteX25" fmla="*/ 0 w 794079"/>
              <a:gd name="connsiteY25" fmla="*/ 302316 h 512894"/>
              <a:gd name="connsiteX26" fmla="*/ 0 w 794079"/>
              <a:gd name="connsiteY26" fmla="*/ 210578 h 512894"/>
              <a:gd name="connsiteX27" fmla="*/ 22935 w 794079"/>
              <a:gd name="connsiteY27" fmla="*/ 187643 h 512894"/>
              <a:gd name="connsiteX28" fmla="*/ 93529 w 794079"/>
              <a:gd name="connsiteY28" fmla="*/ 34698 h 512894"/>
              <a:gd name="connsiteX29" fmla="*/ 57350 w 794079"/>
              <a:gd name="connsiteY29" fmla="*/ 70877 h 512894"/>
              <a:gd name="connsiteX30" fmla="*/ 93529 w 794079"/>
              <a:gd name="connsiteY30" fmla="*/ 107056 h 512894"/>
              <a:gd name="connsiteX31" fmla="*/ 129707 w 794079"/>
              <a:gd name="connsiteY31" fmla="*/ 70877 h 512894"/>
              <a:gd name="connsiteX32" fmla="*/ 93529 w 794079"/>
              <a:gd name="connsiteY32" fmla="*/ 34698 h 512894"/>
              <a:gd name="connsiteX33" fmla="*/ 22935 w 794079"/>
              <a:gd name="connsiteY33" fmla="*/ 0 h 512894"/>
              <a:gd name="connsiteX34" fmla="*/ 771144 w 794079"/>
              <a:gd name="connsiteY34" fmla="*/ 0 h 512894"/>
              <a:gd name="connsiteX35" fmla="*/ 794079 w 794079"/>
              <a:gd name="connsiteY35" fmla="*/ 22935 h 512894"/>
              <a:gd name="connsiteX36" fmla="*/ 794079 w 794079"/>
              <a:gd name="connsiteY36" fmla="*/ 114673 h 512894"/>
              <a:gd name="connsiteX37" fmla="*/ 771144 w 794079"/>
              <a:gd name="connsiteY37" fmla="*/ 137608 h 512894"/>
              <a:gd name="connsiteX38" fmla="*/ 22935 w 794079"/>
              <a:gd name="connsiteY38" fmla="*/ 137608 h 512894"/>
              <a:gd name="connsiteX39" fmla="*/ 0 w 794079"/>
              <a:gd name="connsiteY39" fmla="*/ 114673 h 512894"/>
              <a:gd name="connsiteX40" fmla="*/ 0 w 794079"/>
              <a:gd name="connsiteY40" fmla="*/ 22935 h 512894"/>
              <a:gd name="connsiteX41" fmla="*/ 22935 w 794079"/>
              <a:gd name="connsiteY41" fmla="*/ 0 h 5128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794079" h="512894">
                <a:moveTo>
                  <a:pt x="93529" y="409985"/>
                </a:moveTo>
                <a:cubicBezTo>
                  <a:pt x="73548" y="409985"/>
                  <a:pt x="57350" y="426182"/>
                  <a:pt x="57350" y="446163"/>
                </a:cubicBezTo>
                <a:cubicBezTo>
                  <a:pt x="57350" y="466144"/>
                  <a:pt x="73548" y="482342"/>
                  <a:pt x="93529" y="482342"/>
                </a:cubicBezTo>
                <a:cubicBezTo>
                  <a:pt x="113510" y="482342"/>
                  <a:pt x="129707" y="466144"/>
                  <a:pt x="129707" y="446163"/>
                </a:cubicBezTo>
                <a:cubicBezTo>
                  <a:pt x="129707" y="426182"/>
                  <a:pt x="113510" y="409985"/>
                  <a:pt x="93529" y="409985"/>
                </a:cubicBezTo>
                <a:close/>
                <a:moveTo>
                  <a:pt x="22935" y="375286"/>
                </a:moveTo>
                <a:lnTo>
                  <a:pt x="771144" y="375286"/>
                </a:lnTo>
                <a:cubicBezTo>
                  <a:pt x="783811" y="375286"/>
                  <a:pt x="794079" y="385555"/>
                  <a:pt x="794079" y="398221"/>
                </a:cubicBezTo>
                <a:lnTo>
                  <a:pt x="794079" y="489959"/>
                </a:lnTo>
                <a:cubicBezTo>
                  <a:pt x="794079" y="502626"/>
                  <a:pt x="783811" y="512894"/>
                  <a:pt x="771144" y="512894"/>
                </a:cubicBezTo>
                <a:lnTo>
                  <a:pt x="22935" y="512894"/>
                </a:lnTo>
                <a:cubicBezTo>
                  <a:pt x="10269" y="512894"/>
                  <a:pt x="0" y="502626"/>
                  <a:pt x="0" y="489959"/>
                </a:cubicBezTo>
                <a:lnTo>
                  <a:pt x="0" y="398221"/>
                </a:lnTo>
                <a:cubicBezTo>
                  <a:pt x="0" y="385555"/>
                  <a:pt x="10269" y="375286"/>
                  <a:pt x="22935" y="375286"/>
                </a:cubicBezTo>
                <a:close/>
                <a:moveTo>
                  <a:pt x="93529" y="222341"/>
                </a:moveTo>
                <a:cubicBezTo>
                  <a:pt x="73548" y="222341"/>
                  <a:pt x="57350" y="238539"/>
                  <a:pt x="57350" y="258520"/>
                </a:cubicBezTo>
                <a:cubicBezTo>
                  <a:pt x="57350" y="278501"/>
                  <a:pt x="73548" y="294699"/>
                  <a:pt x="93529" y="294699"/>
                </a:cubicBezTo>
                <a:cubicBezTo>
                  <a:pt x="113510" y="294699"/>
                  <a:pt x="129707" y="278501"/>
                  <a:pt x="129707" y="258520"/>
                </a:cubicBezTo>
                <a:cubicBezTo>
                  <a:pt x="129707" y="238539"/>
                  <a:pt x="113510" y="222341"/>
                  <a:pt x="93529" y="222341"/>
                </a:cubicBezTo>
                <a:close/>
                <a:moveTo>
                  <a:pt x="22935" y="187643"/>
                </a:moveTo>
                <a:lnTo>
                  <a:pt x="771144" y="187643"/>
                </a:lnTo>
                <a:cubicBezTo>
                  <a:pt x="783811" y="187643"/>
                  <a:pt x="794079" y="197911"/>
                  <a:pt x="794079" y="210578"/>
                </a:cubicBezTo>
                <a:lnTo>
                  <a:pt x="794079" y="302316"/>
                </a:lnTo>
                <a:cubicBezTo>
                  <a:pt x="794079" y="314982"/>
                  <a:pt x="783811" y="325251"/>
                  <a:pt x="771144" y="325251"/>
                </a:cubicBezTo>
                <a:lnTo>
                  <a:pt x="22935" y="325251"/>
                </a:lnTo>
                <a:cubicBezTo>
                  <a:pt x="10269" y="325251"/>
                  <a:pt x="0" y="314982"/>
                  <a:pt x="0" y="302316"/>
                </a:cubicBezTo>
                <a:lnTo>
                  <a:pt x="0" y="210578"/>
                </a:lnTo>
                <a:cubicBezTo>
                  <a:pt x="0" y="197911"/>
                  <a:pt x="10269" y="187643"/>
                  <a:pt x="22935" y="187643"/>
                </a:cubicBezTo>
                <a:close/>
                <a:moveTo>
                  <a:pt x="93529" y="34698"/>
                </a:moveTo>
                <a:cubicBezTo>
                  <a:pt x="73548" y="34698"/>
                  <a:pt x="57350" y="50896"/>
                  <a:pt x="57350" y="70877"/>
                </a:cubicBezTo>
                <a:cubicBezTo>
                  <a:pt x="57350" y="90858"/>
                  <a:pt x="73548" y="107056"/>
                  <a:pt x="93529" y="107056"/>
                </a:cubicBezTo>
                <a:cubicBezTo>
                  <a:pt x="113510" y="107056"/>
                  <a:pt x="129707" y="90858"/>
                  <a:pt x="129707" y="70877"/>
                </a:cubicBezTo>
                <a:cubicBezTo>
                  <a:pt x="129707" y="50896"/>
                  <a:pt x="113510" y="34698"/>
                  <a:pt x="93529" y="34698"/>
                </a:cubicBezTo>
                <a:close/>
                <a:moveTo>
                  <a:pt x="22935" y="0"/>
                </a:moveTo>
                <a:lnTo>
                  <a:pt x="771144" y="0"/>
                </a:lnTo>
                <a:cubicBezTo>
                  <a:pt x="783811" y="0"/>
                  <a:pt x="794079" y="10268"/>
                  <a:pt x="794079" y="22935"/>
                </a:cubicBezTo>
                <a:lnTo>
                  <a:pt x="794079" y="114673"/>
                </a:lnTo>
                <a:cubicBezTo>
                  <a:pt x="794079" y="127339"/>
                  <a:pt x="783811" y="137608"/>
                  <a:pt x="771144" y="137608"/>
                </a:cubicBezTo>
                <a:lnTo>
                  <a:pt x="22935" y="137608"/>
                </a:lnTo>
                <a:cubicBezTo>
                  <a:pt x="10269" y="137608"/>
                  <a:pt x="0" y="127339"/>
                  <a:pt x="0" y="114673"/>
                </a:cubicBezTo>
                <a:lnTo>
                  <a:pt x="0" y="22935"/>
                </a:lnTo>
                <a:cubicBezTo>
                  <a:pt x="0" y="10268"/>
                  <a:pt x="10269" y="0"/>
                  <a:pt x="22935"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8" tIns="109719" rIns="137148" bIns="109719" numCol="1" spcCol="0" rtlCol="0" fromWordArt="0" anchor="t" anchorCtr="0" forceAA="0" compatLnSpc="1">
            <a:prstTxWarp prst="textNoShape">
              <a:avLst/>
            </a:prstTxWarp>
            <a:noAutofit/>
          </a:bodyPr>
          <a:lstStyle/>
          <a:p>
            <a:pPr algn="ctr" defTabSz="699261" fontAlgn="base">
              <a:lnSpc>
                <a:spcPct val="90000"/>
              </a:lnSpc>
              <a:spcBef>
                <a:spcPct val="0"/>
              </a:spcBef>
              <a:spcAft>
                <a:spcPct val="0"/>
              </a:spcAft>
            </a:pPr>
            <a:endParaRPr lang="en-US">
              <a:gradFill>
                <a:gsLst>
                  <a:gs pos="0">
                    <a:srgbClr val="FFFFFF"/>
                  </a:gs>
                  <a:gs pos="100000">
                    <a:srgbClr val="FFFFFF"/>
                  </a:gs>
                </a:gsLst>
                <a:lin ang="5400000" scaled="0"/>
              </a:gradFill>
              <a:ea typeface="Segoe UI" pitchFamily="34" charset="0"/>
              <a:cs typeface="Segoe UI" pitchFamily="34" charset="0"/>
            </a:endParaRPr>
          </a:p>
        </p:txBody>
      </p:sp>
      <p:grpSp>
        <p:nvGrpSpPr>
          <p:cNvPr id="60" name="Group 59"/>
          <p:cNvGrpSpPr>
            <a:grpSpLocks noChangeAspect="1"/>
          </p:cNvGrpSpPr>
          <p:nvPr/>
        </p:nvGrpSpPr>
        <p:grpSpPr>
          <a:xfrm>
            <a:off x="284268" y="1947738"/>
            <a:ext cx="314004" cy="320040"/>
            <a:chOff x="810855" y="2271601"/>
            <a:chExt cx="457200" cy="465990"/>
          </a:xfrm>
        </p:grpSpPr>
        <p:sp>
          <p:nvSpPr>
            <p:cNvPr id="61" name="Freeform 5"/>
            <p:cNvSpPr>
              <a:spLocks noEditPoints="1"/>
            </p:cNvSpPr>
            <p:nvPr/>
          </p:nvSpPr>
          <p:spPr bwMode="black">
            <a:xfrm>
              <a:off x="892260" y="2271601"/>
              <a:ext cx="375795" cy="291633"/>
            </a:xfrm>
            <a:custGeom>
              <a:avLst/>
              <a:gdLst>
                <a:gd name="T0" fmla="*/ 22 w 277"/>
                <a:gd name="T1" fmla="*/ 1 h 215"/>
                <a:gd name="T2" fmla="*/ 22 w 277"/>
                <a:gd name="T3" fmla="*/ 10 h 215"/>
                <a:gd name="T4" fmla="*/ 22 w 277"/>
                <a:gd name="T5" fmla="*/ 10 h 215"/>
                <a:gd name="T6" fmla="*/ 66 w 277"/>
                <a:gd name="T7" fmla="*/ 15 h 215"/>
                <a:gd name="T8" fmla="*/ 54 w 277"/>
                <a:gd name="T9" fmla="*/ 20 h 215"/>
                <a:gd name="T10" fmla="*/ 79 w 277"/>
                <a:gd name="T11" fmla="*/ 0 h 215"/>
                <a:gd name="T12" fmla="*/ 118 w 277"/>
                <a:gd name="T13" fmla="*/ 1 h 215"/>
                <a:gd name="T14" fmla="*/ 118 w 277"/>
                <a:gd name="T15" fmla="*/ 10 h 215"/>
                <a:gd name="T16" fmla="*/ 118 w 277"/>
                <a:gd name="T17" fmla="*/ 10 h 215"/>
                <a:gd name="T18" fmla="*/ 163 w 277"/>
                <a:gd name="T19" fmla="*/ 15 h 215"/>
                <a:gd name="T20" fmla="*/ 150 w 277"/>
                <a:gd name="T21" fmla="*/ 20 h 215"/>
                <a:gd name="T22" fmla="*/ 176 w 277"/>
                <a:gd name="T23" fmla="*/ 0 h 215"/>
                <a:gd name="T24" fmla="*/ 215 w 277"/>
                <a:gd name="T25" fmla="*/ 1 h 215"/>
                <a:gd name="T26" fmla="*/ 214 w 277"/>
                <a:gd name="T27" fmla="*/ 10 h 215"/>
                <a:gd name="T28" fmla="*/ 214 w 277"/>
                <a:gd name="T29" fmla="*/ 10 h 215"/>
                <a:gd name="T30" fmla="*/ 259 w 277"/>
                <a:gd name="T31" fmla="*/ 15 h 215"/>
                <a:gd name="T32" fmla="*/ 247 w 277"/>
                <a:gd name="T33" fmla="*/ 20 h 215"/>
                <a:gd name="T34" fmla="*/ 272 w 277"/>
                <a:gd name="T35" fmla="*/ 0 h 215"/>
                <a:gd name="T36" fmla="*/ 12 w 277"/>
                <a:gd name="T37" fmla="*/ 92 h 215"/>
                <a:gd name="T38" fmla="*/ 0 w 277"/>
                <a:gd name="T39" fmla="*/ 97 h 215"/>
                <a:gd name="T40" fmla="*/ 25 w 277"/>
                <a:gd name="T41" fmla="*/ 77 h 215"/>
                <a:gd name="T42" fmla="*/ 64 w 277"/>
                <a:gd name="T43" fmla="*/ 77 h 215"/>
                <a:gd name="T44" fmla="*/ 64 w 277"/>
                <a:gd name="T45" fmla="*/ 87 h 215"/>
                <a:gd name="T46" fmla="*/ 64 w 277"/>
                <a:gd name="T47" fmla="*/ 87 h 215"/>
                <a:gd name="T48" fmla="*/ 109 w 277"/>
                <a:gd name="T49" fmla="*/ 92 h 215"/>
                <a:gd name="T50" fmla="*/ 96 w 277"/>
                <a:gd name="T51" fmla="*/ 97 h 215"/>
                <a:gd name="T52" fmla="*/ 122 w 277"/>
                <a:gd name="T53" fmla="*/ 77 h 215"/>
                <a:gd name="T54" fmla="*/ 161 w 277"/>
                <a:gd name="T55" fmla="*/ 77 h 215"/>
                <a:gd name="T56" fmla="*/ 160 w 277"/>
                <a:gd name="T57" fmla="*/ 87 h 215"/>
                <a:gd name="T58" fmla="*/ 160 w 277"/>
                <a:gd name="T59" fmla="*/ 87 h 215"/>
                <a:gd name="T60" fmla="*/ 205 w 277"/>
                <a:gd name="T61" fmla="*/ 92 h 215"/>
                <a:gd name="T62" fmla="*/ 192 w 277"/>
                <a:gd name="T63" fmla="*/ 97 h 215"/>
                <a:gd name="T64" fmla="*/ 218 w 277"/>
                <a:gd name="T65" fmla="*/ 77 h 215"/>
                <a:gd name="T66" fmla="*/ 257 w 277"/>
                <a:gd name="T67" fmla="*/ 77 h 215"/>
                <a:gd name="T68" fmla="*/ 256 w 277"/>
                <a:gd name="T69" fmla="*/ 87 h 215"/>
                <a:gd name="T70" fmla="*/ 256 w 277"/>
                <a:gd name="T71" fmla="*/ 87 h 215"/>
                <a:gd name="T72" fmla="*/ 22 w 277"/>
                <a:gd name="T73" fmla="*/ 154 h 215"/>
                <a:gd name="T74" fmla="*/ 22 w 277"/>
                <a:gd name="T75" fmla="*/ 164 h 215"/>
                <a:gd name="T76" fmla="*/ 22 w 277"/>
                <a:gd name="T77" fmla="*/ 164 h 215"/>
                <a:gd name="T78" fmla="*/ 66 w 277"/>
                <a:gd name="T79" fmla="*/ 168 h 215"/>
                <a:gd name="T80" fmla="*/ 54 w 277"/>
                <a:gd name="T81" fmla="*/ 173 h 215"/>
                <a:gd name="T82" fmla="*/ 79 w 277"/>
                <a:gd name="T83" fmla="*/ 154 h 215"/>
                <a:gd name="T84" fmla="*/ 118 w 277"/>
                <a:gd name="T85" fmla="*/ 154 h 215"/>
                <a:gd name="T86" fmla="*/ 118 w 277"/>
                <a:gd name="T87" fmla="*/ 164 h 215"/>
                <a:gd name="T88" fmla="*/ 118 w 277"/>
                <a:gd name="T89" fmla="*/ 164 h 215"/>
                <a:gd name="T90" fmla="*/ 163 w 277"/>
                <a:gd name="T91" fmla="*/ 168 h 215"/>
                <a:gd name="T92" fmla="*/ 150 w 277"/>
                <a:gd name="T93" fmla="*/ 173 h 215"/>
                <a:gd name="T94" fmla="*/ 176 w 277"/>
                <a:gd name="T95" fmla="*/ 154 h 215"/>
                <a:gd name="T96" fmla="*/ 215 w 277"/>
                <a:gd name="T97" fmla="*/ 154 h 215"/>
                <a:gd name="T98" fmla="*/ 214 w 277"/>
                <a:gd name="T99" fmla="*/ 164 h 215"/>
                <a:gd name="T100" fmla="*/ 214 w 277"/>
                <a:gd name="T101" fmla="*/ 164 h 215"/>
                <a:gd name="T102" fmla="*/ 259 w 277"/>
                <a:gd name="T103" fmla="*/ 168 h 215"/>
                <a:gd name="T104" fmla="*/ 247 w 277"/>
                <a:gd name="T105" fmla="*/ 173 h 215"/>
                <a:gd name="T106" fmla="*/ 272 w 277"/>
                <a:gd name="T107" fmla="*/ 154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77" h="215">
                  <a:moveTo>
                    <a:pt x="21" y="61"/>
                  </a:moveTo>
                  <a:cubicBezTo>
                    <a:pt x="7" y="61"/>
                    <a:pt x="0" y="51"/>
                    <a:pt x="0" y="32"/>
                  </a:cubicBezTo>
                  <a:cubicBezTo>
                    <a:pt x="0" y="22"/>
                    <a:pt x="2" y="14"/>
                    <a:pt x="6" y="9"/>
                  </a:cubicBezTo>
                  <a:cubicBezTo>
                    <a:pt x="9" y="3"/>
                    <a:pt x="15" y="1"/>
                    <a:pt x="22" y="1"/>
                  </a:cubicBezTo>
                  <a:cubicBezTo>
                    <a:pt x="36" y="1"/>
                    <a:pt x="43" y="11"/>
                    <a:pt x="43" y="30"/>
                  </a:cubicBezTo>
                  <a:cubicBezTo>
                    <a:pt x="43" y="40"/>
                    <a:pt x="41" y="48"/>
                    <a:pt x="37" y="53"/>
                  </a:cubicBezTo>
                  <a:cubicBezTo>
                    <a:pt x="33" y="59"/>
                    <a:pt x="28" y="61"/>
                    <a:pt x="21" y="61"/>
                  </a:cubicBezTo>
                  <a:close/>
                  <a:moveTo>
                    <a:pt x="22" y="10"/>
                  </a:moveTo>
                  <a:cubicBezTo>
                    <a:pt x="16" y="10"/>
                    <a:pt x="13" y="17"/>
                    <a:pt x="13" y="32"/>
                  </a:cubicBezTo>
                  <a:cubicBezTo>
                    <a:pt x="13" y="45"/>
                    <a:pt x="16" y="51"/>
                    <a:pt x="21" y="51"/>
                  </a:cubicBezTo>
                  <a:cubicBezTo>
                    <a:pt x="27" y="51"/>
                    <a:pt x="29" y="45"/>
                    <a:pt x="29" y="31"/>
                  </a:cubicBezTo>
                  <a:cubicBezTo>
                    <a:pt x="29" y="17"/>
                    <a:pt x="27" y="10"/>
                    <a:pt x="22" y="10"/>
                  </a:cubicBezTo>
                  <a:close/>
                  <a:moveTo>
                    <a:pt x="79" y="0"/>
                  </a:moveTo>
                  <a:cubicBezTo>
                    <a:pt x="79" y="60"/>
                    <a:pt x="79" y="60"/>
                    <a:pt x="79" y="60"/>
                  </a:cubicBezTo>
                  <a:cubicBezTo>
                    <a:pt x="66" y="60"/>
                    <a:pt x="66" y="60"/>
                    <a:pt x="66" y="60"/>
                  </a:cubicBezTo>
                  <a:cubicBezTo>
                    <a:pt x="66" y="15"/>
                    <a:pt x="66" y="15"/>
                    <a:pt x="66" y="15"/>
                  </a:cubicBezTo>
                  <a:cubicBezTo>
                    <a:pt x="66" y="15"/>
                    <a:pt x="65" y="16"/>
                    <a:pt x="64" y="17"/>
                  </a:cubicBezTo>
                  <a:cubicBezTo>
                    <a:pt x="63" y="17"/>
                    <a:pt x="62" y="18"/>
                    <a:pt x="61" y="18"/>
                  </a:cubicBezTo>
                  <a:cubicBezTo>
                    <a:pt x="60" y="19"/>
                    <a:pt x="59" y="19"/>
                    <a:pt x="57" y="19"/>
                  </a:cubicBezTo>
                  <a:cubicBezTo>
                    <a:pt x="56" y="20"/>
                    <a:pt x="55" y="20"/>
                    <a:pt x="54" y="20"/>
                  </a:cubicBezTo>
                  <a:cubicBezTo>
                    <a:pt x="54" y="9"/>
                    <a:pt x="54" y="9"/>
                    <a:pt x="54" y="9"/>
                  </a:cubicBezTo>
                  <a:cubicBezTo>
                    <a:pt x="57" y="8"/>
                    <a:pt x="61" y="7"/>
                    <a:pt x="64" y="5"/>
                  </a:cubicBezTo>
                  <a:cubicBezTo>
                    <a:pt x="66" y="4"/>
                    <a:pt x="69" y="2"/>
                    <a:pt x="72" y="0"/>
                  </a:cubicBezTo>
                  <a:lnTo>
                    <a:pt x="79" y="0"/>
                  </a:lnTo>
                  <a:close/>
                  <a:moveTo>
                    <a:pt x="117" y="61"/>
                  </a:moveTo>
                  <a:cubicBezTo>
                    <a:pt x="103" y="61"/>
                    <a:pt x="96" y="51"/>
                    <a:pt x="96" y="32"/>
                  </a:cubicBezTo>
                  <a:cubicBezTo>
                    <a:pt x="96" y="22"/>
                    <a:pt x="98" y="14"/>
                    <a:pt x="102" y="9"/>
                  </a:cubicBezTo>
                  <a:cubicBezTo>
                    <a:pt x="106" y="3"/>
                    <a:pt x="111" y="1"/>
                    <a:pt x="118" y="1"/>
                  </a:cubicBezTo>
                  <a:cubicBezTo>
                    <a:pt x="132" y="1"/>
                    <a:pt x="139" y="11"/>
                    <a:pt x="139" y="30"/>
                  </a:cubicBezTo>
                  <a:cubicBezTo>
                    <a:pt x="139" y="40"/>
                    <a:pt x="137" y="48"/>
                    <a:pt x="133" y="53"/>
                  </a:cubicBezTo>
                  <a:cubicBezTo>
                    <a:pt x="130" y="59"/>
                    <a:pt x="124" y="61"/>
                    <a:pt x="117" y="61"/>
                  </a:cubicBezTo>
                  <a:close/>
                  <a:moveTo>
                    <a:pt x="118" y="10"/>
                  </a:moveTo>
                  <a:cubicBezTo>
                    <a:pt x="112" y="10"/>
                    <a:pt x="109" y="17"/>
                    <a:pt x="109" y="32"/>
                  </a:cubicBezTo>
                  <a:cubicBezTo>
                    <a:pt x="109" y="45"/>
                    <a:pt x="112" y="51"/>
                    <a:pt x="118" y="51"/>
                  </a:cubicBezTo>
                  <a:cubicBezTo>
                    <a:pt x="123" y="51"/>
                    <a:pt x="126" y="45"/>
                    <a:pt x="126" y="31"/>
                  </a:cubicBezTo>
                  <a:cubicBezTo>
                    <a:pt x="126" y="17"/>
                    <a:pt x="123" y="10"/>
                    <a:pt x="118" y="10"/>
                  </a:cubicBezTo>
                  <a:close/>
                  <a:moveTo>
                    <a:pt x="176" y="0"/>
                  </a:moveTo>
                  <a:cubicBezTo>
                    <a:pt x="176" y="60"/>
                    <a:pt x="176" y="60"/>
                    <a:pt x="176" y="60"/>
                  </a:cubicBezTo>
                  <a:cubicBezTo>
                    <a:pt x="163" y="60"/>
                    <a:pt x="163" y="60"/>
                    <a:pt x="163" y="60"/>
                  </a:cubicBezTo>
                  <a:cubicBezTo>
                    <a:pt x="163" y="15"/>
                    <a:pt x="163" y="15"/>
                    <a:pt x="163" y="15"/>
                  </a:cubicBezTo>
                  <a:cubicBezTo>
                    <a:pt x="162" y="15"/>
                    <a:pt x="161" y="16"/>
                    <a:pt x="160" y="17"/>
                  </a:cubicBezTo>
                  <a:cubicBezTo>
                    <a:pt x="159" y="17"/>
                    <a:pt x="158" y="18"/>
                    <a:pt x="157" y="18"/>
                  </a:cubicBezTo>
                  <a:cubicBezTo>
                    <a:pt x="156" y="19"/>
                    <a:pt x="155" y="19"/>
                    <a:pt x="154" y="19"/>
                  </a:cubicBezTo>
                  <a:cubicBezTo>
                    <a:pt x="153" y="20"/>
                    <a:pt x="151" y="20"/>
                    <a:pt x="150" y="20"/>
                  </a:cubicBezTo>
                  <a:cubicBezTo>
                    <a:pt x="150" y="9"/>
                    <a:pt x="150" y="9"/>
                    <a:pt x="150" y="9"/>
                  </a:cubicBezTo>
                  <a:cubicBezTo>
                    <a:pt x="154" y="8"/>
                    <a:pt x="157" y="7"/>
                    <a:pt x="160" y="5"/>
                  </a:cubicBezTo>
                  <a:cubicBezTo>
                    <a:pt x="163" y="4"/>
                    <a:pt x="165" y="2"/>
                    <a:pt x="168" y="0"/>
                  </a:cubicBezTo>
                  <a:lnTo>
                    <a:pt x="176" y="0"/>
                  </a:lnTo>
                  <a:close/>
                  <a:moveTo>
                    <a:pt x="214" y="61"/>
                  </a:moveTo>
                  <a:cubicBezTo>
                    <a:pt x="200" y="61"/>
                    <a:pt x="193" y="51"/>
                    <a:pt x="193" y="32"/>
                  </a:cubicBezTo>
                  <a:cubicBezTo>
                    <a:pt x="193" y="22"/>
                    <a:pt x="195" y="14"/>
                    <a:pt x="198" y="9"/>
                  </a:cubicBezTo>
                  <a:cubicBezTo>
                    <a:pt x="202" y="3"/>
                    <a:pt x="208" y="1"/>
                    <a:pt x="215" y="1"/>
                  </a:cubicBezTo>
                  <a:cubicBezTo>
                    <a:pt x="228" y="1"/>
                    <a:pt x="235" y="11"/>
                    <a:pt x="235" y="30"/>
                  </a:cubicBezTo>
                  <a:cubicBezTo>
                    <a:pt x="235" y="40"/>
                    <a:pt x="233" y="48"/>
                    <a:pt x="230" y="53"/>
                  </a:cubicBezTo>
                  <a:cubicBezTo>
                    <a:pt x="226" y="59"/>
                    <a:pt x="221" y="61"/>
                    <a:pt x="214" y="61"/>
                  </a:cubicBezTo>
                  <a:close/>
                  <a:moveTo>
                    <a:pt x="214" y="10"/>
                  </a:moveTo>
                  <a:cubicBezTo>
                    <a:pt x="209" y="10"/>
                    <a:pt x="206" y="17"/>
                    <a:pt x="206" y="32"/>
                  </a:cubicBezTo>
                  <a:cubicBezTo>
                    <a:pt x="206" y="45"/>
                    <a:pt x="209" y="51"/>
                    <a:pt x="214" y="51"/>
                  </a:cubicBezTo>
                  <a:cubicBezTo>
                    <a:pt x="219" y="51"/>
                    <a:pt x="222" y="45"/>
                    <a:pt x="222" y="31"/>
                  </a:cubicBezTo>
                  <a:cubicBezTo>
                    <a:pt x="222" y="17"/>
                    <a:pt x="219" y="10"/>
                    <a:pt x="214" y="10"/>
                  </a:cubicBezTo>
                  <a:close/>
                  <a:moveTo>
                    <a:pt x="272" y="0"/>
                  </a:moveTo>
                  <a:cubicBezTo>
                    <a:pt x="272" y="60"/>
                    <a:pt x="272" y="60"/>
                    <a:pt x="272" y="60"/>
                  </a:cubicBezTo>
                  <a:cubicBezTo>
                    <a:pt x="259" y="60"/>
                    <a:pt x="259" y="60"/>
                    <a:pt x="259" y="60"/>
                  </a:cubicBezTo>
                  <a:cubicBezTo>
                    <a:pt x="259" y="15"/>
                    <a:pt x="259" y="15"/>
                    <a:pt x="259" y="15"/>
                  </a:cubicBezTo>
                  <a:cubicBezTo>
                    <a:pt x="258" y="15"/>
                    <a:pt x="258" y="16"/>
                    <a:pt x="257" y="17"/>
                  </a:cubicBezTo>
                  <a:cubicBezTo>
                    <a:pt x="256" y="17"/>
                    <a:pt x="255" y="18"/>
                    <a:pt x="254" y="18"/>
                  </a:cubicBezTo>
                  <a:cubicBezTo>
                    <a:pt x="252" y="19"/>
                    <a:pt x="251" y="19"/>
                    <a:pt x="250" y="19"/>
                  </a:cubicBezTo>
                  <a:cubicBezTo>
                    <a:pt x="249" y="20"/>
                    <a:pt x="248" y="20"/>
                    <a:pt x="247" y="20"/>
                  </a:cubicBezTo>
                  <a:cubicBezTo>
                    <a:pt x="247" y="9"/>
                    <a:pt x="247" y="9"/>
                    <a:pt x="247" y="9"/>
                  </a:cubicBezTo>
                  <a:cubicBezTo>
                    <a:pt x="250" y="8"/>
                    <a:pt x="253" y="7"/>
                    <a:pt x="256" y="5"/>
                  </a:cubicBezTo>
                  <a:cubicBezTo>
                    <a:pt x="259" y="4"/>
                    <a:pt x="262" y="2"/>
                    <a:pt x="264" y="0"/>
                  </a:cubicBezTo>
                  <a:lnTo>
                    <a:pt x="272" y="0"/>
                  </a:lnTo>
                  <a:close/>
                  <a:moveTo>
                    <a:pt x="25" y="77"/>
                  </a:moveTo>
                  <a:cubicBezTo>
                    <a:pt x="25" y="137"/>
                    <a:pt x="25" y="137"/>
                    <a:pt x="25" y="137"/>
                  </a:cubicBezTo>
                  <a:cubicBezTo>
                    <a:pt x="12" y="137"/>
                    <a:pt x="12" y="137"/>
                    <a:pt x="12" y="137"/>
                  </a:cubicBezTo>
                  <a:cubicBezTo>
                    <a:pt x="12" y="92"/>
                    <a:pt x="12" y="92"/>
                    <a:pt x="12" y="92"/>
                  </a:cubicBezTo>
                  <a:cubicBezTo>
                    <a:pt x="12" y="92"/>
                    <a:pt x="11" y="93"/>
                    <a:pt x="10" y="93"/>
                  </a:cubicBezTo>
                  <a:cubicBezTo>
                    <a:pt x="9" y="94"/>
                    <a:pt x="8" y="94"/>
                    <a:pt x="7" y="95"/>
                  </a:cubicBezTo>
                  <a:cubicBezTo>
                    <a:pt x="6" y="95"/>
                    <a:pt x="5" y="96"/>
                    <a:pt x="3" y="96"/>
                  </a:cubicBezTo>
                  <a:cubicBezTo>
                    <a:pt x="2" y="96"/>
                    <a:pt x="1" y="97"/>
                    <a:pt x="0" y="97"/>
                  </a:cubicBezTo>
                  <a:cubicBezTo>
                    <a:pt x="0" y="86"/>
                    <a:pt x="0" y="86"/>
                    <a:pt x="0" y="86"/>
                  </a:cubicBezTo>
                  <a:cubicBezTo>
                    <a:pt x="3" y="85"/>
                    <a:pt x="6" y="84"/>
                    <a:pt x="9" y="82"/>
                  </a:cubicBezTo>
                  <a:cubicBezTo>
                    <a:pt x="12" y="81"/>
                    <a:pt x="15" y="79"/>
                    <a:pt x="17" y="77"/>
                  </a:cubicBezTo>
                  <a:lnTo>
                    <a:pt x="25" y="77"/>
                  </a:lnTo>
                  <a:close/>
                  <a:moveTo>
                    <a:pt x="63" y="138"/>
                  </a:moveTo>
                  <a:cubicBezTo>
                    <a:pt x="49" y="138"/>
                    <a:pt x="42" y="128"/>
                    <a:pt x="42" y="109"/>
                  </a:cubicBezTo>
                  <a:cubicBezTo>
                    <a:pt x="42" y="98"/>
                    <a:pt x="44" y="91"/>
                    <a:pt x="48" y="85"/>
                  </a:cubicBezTo>
                  <a:cubicBezTo>
                    <a:pt x="52" y="80"/>
                    <a:pt x="57" y="77"/>
                    <a:pt x="64" y="77"/>
                  </a:cubicBezTo>
                  <a:cubicBezTo>
                    <a:pt x="78" y="77"/>
                    <a:pt x="85" y="87"/>
                    <a:pt x="85" y="107"/>
                  </a:cubicBezTo>
                  <a:cubicBezTo>
                    <a:pt x="85" y="117"/>
                    <a:pt x="83" y="125"/>
                    <a:pt x="79" y="130"/>
                  </a:cubicBezTo>
                  <a:cubicBezTo>
                    <a:pt x="75" y="135"/>
                    <a:pt x="70" y="138"/>
                    <a:pt x="63" y="138"/>
                  </a:cubicBezTo>
                  <a:close/>
                  <a:moveTo>
                    <a:pt x="64" y="87"/>
                  </a:moveTo>
                  <a:cubicBezTo>
                    <a:pt x="58" y="87"/>
                    <a:pt x="55" y="94"/>
                    <a:pt x="55" y="108"/>
                  </a:cubicBezTo>
                  <a:cubicBezTo>
                    <a:pt x="55" y="121"/>
                    <a:pt x="58" y="128"/>
                    <a:pt x="64" y="128"/>
                  </a:cubicBezTo>
                  <a:cubicBezTo>
                    <a:pt x="69" y="128"/>
                    <a:pt x="72" y="121"/>
                    <a:pt x="72" y="108"/>
                  </a:cubicBezTo>
                  <a:cubicBezTo>
                    <a:pt x="72" y="94"/>
                    <a:pt x="69" y="87"/>
                    <a:pt x="64" y="87"/>
                  </a:cubicBezTo>
                  <a:close/>
                  <a:moveTo>
                    <a:pt x="122" y="77"/>
                  </a:moveTo>
                  <a:cubicBezTo>
                    <a:pt x="122" y="137"/>
                    <a:pt x="122" y="137"/>
                    <a:pt x="122" y="137"/>
                  </a:cubicBezTo>
                  <a:cubicBezTo>
                    <a:pt x="109" y="137"/>
                    <a:pt x="109" y="137"/>
                    <a:pt x="109" y="137"/>
                  </a:cubicBezTo>
                  <a:cubicBezTo>
                    <a:pt x="109" y="92"/>
                    <a:pt x="109" y="92"/>
                    <a:pt x="109" y="92"/>
                  </a:cubicBezTo>
                  <a:cubicBezTo>
                    <a:pt x="108" y="92"/>
                    <a:pt x="107" y="93"/>
                    <a:pt x="106" y="93"/>
                  </a:cubicBezTo>
                  <a:cubicBezTo>
                    <a:pt x="105" y="94"/>
                    <a:pt x="104" y="94"/>
                    <a:pt x="103" y="95"/>
                  </a:cubicBezTo>
                  <a:cubicBezTo>
                    <a:pt x="102" y="95"/>
                    <a:pt x="101" y="96"/>
                    <a:pt x="100" y="96"/>
                  </a:cubicBezTo>
                  <a:cubicBezTo>
                    <a:pt x="98" y="96"/>
                    <a:pt x="97" y="97"/>
                    <a:pt x="96" y="97"/>
                  </a:cubicBezTo>
                  <a:cubicBezTo>
                    <a:pt x="96" y="86"/>
                    <a:pt x="96" y="86"/>
                    <a:pt x="96" y="86"/>
                  </a:cubicBezTo>
                  <a:cubicBezTo>
                    <a:pt x="100" y="85"/>
                    <a:pt x="103" y="84"/>
                    <a:pt x="106" y="82"/>
                  </a:cubicBezTo>
                  <a:cubicBezTo>
                    <a:pt x="109" y="81"/>
                    <a:pt x="111" y="79"/>
                    <a:pt x="114" y="77"/>
                  </a:cubicBezTo>
                  <a:lnTo>
                    <a:pt x="122" y="77"/>
                  </a:lnTo>
                  <a:close/>
                  <a:moveTo>
                    <a:pt x="159" y="138"/>
                  </a:moveTo>
                  <a:cubicBezTo>
                    <a:pt x="145" y="138"/>
                    <a:pt x="138" y="128"/>
                    <a:pt x="138" y="109"/>
                  </a:cubicBezTo>
                  <a:cubicBezTo>
                    <a:pt x="138" y="98"/>
                    <a:pt x="140" y="91"/>
                    <a:pt x="144" y="85"/>
                  </a:cubicBezTo>
                  <a:cubicBezTo>
                    <a:pt x="148" y="80"/>
                    <a:pt x="153" y="77"/>
                    <a:pt x="161" y="77"/>
                  </a:cubicBezTo>
                  <a:cubicBezTo>
                    <a:pt x="174" y="77"/>
                    <a:pt x="181" y="87"/>
                    <a:pt x="181" y="107"/>
                  </a:cubicBezTo>
                  <a:cubicBezTo>
                    <a:pt x="181" y="117"/>
                    <a:pt x="179" y="125"/>
                    <a:pt x="175" y="130"/>
                  </a:cubicBezTo>
                  <a:cubicBezTo>
                    <a:pt x="172" y="135"/>
                    <a:pt x="166" y="138"/>
                    <a:pt x="159" y="138"/>
                  </a:cubicBezTo>
                  <a:close/>
                  <a:moveTo>
                    <a:pt x="160" y="87"/>
                  </a:moveTo>
                  <a:cubicBezTo>
                    <a:pt x="154" y="87"/>
                    <a:pt x="152" y="94"/>
                    <a:pt x="152" y="108"/>
                  </a:cubicBezTo>
                  <a:cubicBezTo>
                    <a:pt x="152" y="121"/>
                    <a:pt x="154" y="128"/>
                    <a:pt x="160" y="128"/>
                  </a:cubicBezTo>
                  <a:cubicBezTo>
                    <a:pt x="165" y="128"/>
                    <a:pt x="168" y="121"/>
                    <a:pt x="168" y="108"/>
                  </a:cubicBezTo>
                  <a:cubicBezTo>
                    <a:pt x="168" y="94"/>
                    <a:pt x="165" y="87"/>
                    <a:pt x="160" y="87"/>
                  </a:cubicBezTo>
                  <a:close/>
                  <a:moveTo>
                    <a:pt x="218" y="77"/>
                  </a:moveTo>
                  <a:cubicBezTo>
                    <a:pt x="218" y="137"/>
                    <a:pt x="218" y="137"/>
                    <a:pt x="218" y="137"/>
                  </a:cubicBezTo>
                  <a:cubicBezTo>
                    <a:pt x="205" y="137"/>
                    <a:pt x="205" y="137"/>
                    <a:pt x="205" y="137"/>
                  </a:cubicBezTo>
                  <a:cubicBezTo>
                    <a:pt x="205" y="92"/>
                    <a:pt x="205" y="92"/>
                    <a:pt x="205" y="92"/>
                  </a:cubicBezTo>
                  <a:cubicBezTo>
                    <a:pt x="204" y="92"/>
                    <a:pt x="203" y="93"/>
                    <a:pt x="202" y="93"/>
                  </a:cubicBezTo>
                  <a:cubicBezTo>
                    <a:pt x="201" y="94"/>
                    <a:pt x="200" y="94"/>
                    <a:pt x="199" y="95"/>
                  </a:cubicBezTo>
                  <a:cubicBezTo>
                    <a:pt x="198" y="95"/>
                    <a:pt x="197" y="96"/>
                    <a:pt x="196" y="96"/>
                  </a:cubicBezTo>
                  <a:cubicBezTo>
                    <a:pt x="195" y="96"/>
                    <a:pt x="194" y="97"/>
                    <a:pt x="192" y="97"/>
                  </a:cubicBezTo>
                  <a:cubicBezTo>
                    <a:pt x="192" y="86"/>
                    <a:pt x="192" y="86"/>
                    <a:pt x="192" y="86"/>
                  </a:cubicBezTo>
                  <a:cubicBezTo>
                    <a:pt x="196" y="85"/>
                    <a:pt x="199" y="84"/>
                    <a:pt x="202" y="82"/>
                  </a:cubicBezTo>
                  <a:cubicBezTo>
                    <a:pt x="205" y="81"/>
                    <a:pt x="208" y="79"/>
                    <a:pt x="210" y="77"/>
                  </a:cubicBezTo>
                  <a:lnTo>
                    <a:pt x="218" y="77"/>
                  </a:lnTo>
                  <a:close/>
                  <a:moveTo>
                    <a:pt x="256" y="138"/>
                  </a:moveTo>
                  <a:cubicBezTo>
                    <a:pt x="242" y="138"/>
                    <a:pt x="235" y="128"/>
                    <a:pt x="235" y="109"/>
                  </a:cubicBezTo>
                  <a:cubicBezTo>
                    <a:pt x="235" y="98"/>
                    <a:pt x="237" y="91"/>
                    <a:pt x="240" y="85"/>
                  </a:cubicBezTo>
                  <a:cubicBezTo>
                    <a:pt x="244" y="80"/>
                    <a:pt x="250" y="77"/>
                    <a:pt x="257" y="77"/>
                  </a:cubicBezTo>
                  <a:cubicBezTo>
                    <a:pt x="270" y="77"/>
                    <a:pt x="277" y="87"/>
                    <a:pt x="277" y="107"/>
                  </a:cubicBezTo>
                  <a:cubicBezTo>
                    <a:pt x="277" y="117"/>
                    <a:pt x="275" y="125"/>
                    <a:pt x="272" y="130"/>
                  </a:cubicBezTo>
                  <a:cubicBezTo>
                    <a:pt x="268" y="135"/>
                    <a:pt x="263" y="138"/>
                    <a:pt x="256" y="138"/>
                  </a:cubicBezTo>
                  <a:close/>
                  <a:moveTo>
                    <a:pt x="256" y="87"/>
                  </a:moveTo>
                  <a:cubicBezTo>
                    <a:pt x="251" y="87"/>
                    <a:pt x="248" y="94"/>
                    <a:pt x="248" y="108"/>
                  </a:cubicBezTo>
                  <a:cubicBezTo>
                    <a:pt x="248" y="121"/>
                    <a:pt x="251" y="128"/>
                    <a:pt x="256" y="128"/>
                  </a:cubicBezTo>
                  <a:cubicBezTo>
                    <a:pt x="261" y="128"/>
                    <a:pt x="264" y="121"/>
                    <a:pt x="264" y="108"/>
                  </a:cubicBezTo>
                  <a:cubicBezTo>
                    <a:pt x="264" y="94"/>
                    <a:pt x="262" y="87"/>
                    <a:pt x="256" y="87"/>
                  </a:cubicBezTo>
                  <a:close/>
                  <a:moveTo>
                    <a:pt x="21" y="215"/>
                  </a:moveTo>
                  <a:cubicBezTo>
                    <a:pt x="7" y="215"/>
                    <a:pt x="0" y="205"/>
                    <a:pt x="0" y="185"/>
                  </a:cubicBezTo>
                  <a:cubicBezTo>
                    <a:pt x="0" y="175"/>
                    <a:pt x="2" y="167"/>
                    <a:pt x="6" y="162"/>
                  </a:cubicBezTo>
                  <a:cubicBezTo>
                    <a:pt x="9" y="157"/>
                    <a:pt x="15" y="154"/>
                    <a:pt x="22" y="154"/>
                  </a:cubicBezTo>
                  <a:cubicBezTo>
                    <a:pt x="36" y="154"/>
                    <a:pt x="43" y="164"/>
                    <a:pt x="43" y="184"/>
                  </a:cubicBezTo>
                  <a:cubicBezTo>
                    <a:pt x="43" y="194"/>
                    <a:pt x="41" y="201"/>
                    <a:pt x="37" y="207"/>
                  </a:cubicBezTo>
                  <a:cubicBezTo>
                    <a:pt x="33" y="212"/>
                    <a:pt x="28" y="215"/>
                    <a:pt x="21" y="215"/>
                  </a:cubicBezTo>
                  <a:close/>
                  <a:moveTo>
                    <a:pt x="22" y="164"/>
                  </a:moveTo>
                  <a:cubicBezTo>
                    <a:pt x="16" y="164"/>
                    <a:pt x="13" y="171"/>
                    <a:pt x="13" y="185"/>
                  </a:cubicBezTo>
                  <a:cubicBezTo>
                    <a:pt x="13" y="198"/>
                    <a:pt x="16" y="205"/>
                    <a:pt x="21" y="205"/>
                  </a:cubicBezTo>
                  <a:cubicBezTo>
                    <a:pt x="27" y="205"/>
                    <a:pt x="29" y="198"/>
                    <a:pt x="29" y="184"/>
                  </a:cubicBezTo>
                  <a:cubicBezTo>
                    <a:pt x="29" y="171"/>
                    <a:pt x="27" y="164"/>
                    <a:pt x="22" y="164"/>
                  </a:cubicBezTo>
                  <a:close/>
                  <a:moveTo>
                    <a:pt x="79" y="154"/>
                  </a:moveTo>
                  <a:cubicBezTo>
                    <a:pt x="79" y="214"/>
                    <a:pt x="79" y="214"/>
                    <a:pt x="79" y="214"/>
                  </a:cubicBezTo>
                  <a:cubicBezTo>
                    <a:pt x="66" y="214"/>
                    <a:pt x="66" y="214"/>
                    <a:pt x="66" y="214"/>
                  </a:cubicBezTo>
                  <a:cubicBezTo>
                    <a:pt x="66" y="168"/>
                    <a:pt x="66" y="168"/>
                    <a:pt x="66" y="168"/>
                  </a:cubicBezTo>
                  <a:cubicBezTo>
                    <a:pt x="66" y="169"/>
                    <a:pt x="65" y="170"/>
                    <a:pt x="64" y="170"/>
                  </a:cubicBezTo>
                  <a:cubicBezTo>
                    <a:pt x="63" y="171"/>
                    <a:pt x="62" y="171"/>
                    <a:pt x="61" y="172"/>
                  </a:cubicBezTo>
                  <a:cubicBezTo>
                    <a:pt x="60" y="172"/>
                    <a:pt x="59" y="172"/>
                    <a:pt x="57" y="173"/>
                  </a:cubicBezTo>
                  <a:cubicBezTo>
                    <a:pt x="56" y="173"/>
                    <a:pt x="55" y="173"/>
                    <a:pt x="54" y="173"/>
                  </a:cubicBezTo>
                  <a:cubicBezTo>
                    <a:pt x="54" y="163"/>
                    <a:pt x="54" y="163"/>
                    <a:pt x="54" y="163"/>
                  </a:cubicBezTo>
                  <a:cubicBezTo>
                    <a:pt x="57" y="162"/>
                    <a:pt x="61" y="160"/>
                    <a:pt x="64" y="159"/>
                  </a:cubicBezTo>
                  <a:cubicBezTo>
                    <a:pt x="66" y="157"/>
                    <a:pt x="69" y="156"/>
                    <a:pt x="72" y="154"/>
                  </a:cubicBezTo>
                  <a:lnTo>
                    <a:pt x="79" y="154"/>
                  </a:lnTo>
                  <a:close/>
                  <a:moveTo>
                    <a:pt x="117" y="215"/>
                  </a:moveTo>
                  <a:cubicBezTo>
                    <a:pt x="103" y="215"/>
                    <a:pt x="96" y="205"/>
                    <a:pt x="96" y="185"/>
                  </a:cubicBezTo>
                  <a:cubicBezTo>
                    <a:pt x="96" y="175"/>
                    <a:pt x="98" y="167"/>
                    <a:pt x="102" y="162"/>
                  </a:cubicBezTo>
                  <a:cubicBezTo>
                    <a:pt x="106" y="157"/>
                    <a:pt x="111" y="154"/>
                    <a:pt x="118" y="154"/>
                  </a:cubicBezTo>
                  <a:cubicBezTo>
                    <a:pt x="132" y="154"/>
                    <a:pt x="139" y="164"/>
                    <a:pt x="139" y="184"/>
                  </a:cubicBezTo>
                  <a:cubicBezTo>
                    <a:pt x="139" y="194"/>
                    <a:pt x="137" y="201"/>
                    <a:pt x="133" y="207"/>
                  </a:cubicBezTo>
                  <a:cubicBezTo>
                    <a:pt x="130" y="212"/>
                    <a:pt x="124" y="215"/>
                    <a:pt x="117" y="215"/>
                  </a:cubicBezTo>
                  <a:close/>
                  <a:moveTo>
                    <a:pt x="118" y="164"/>
                  </a:moveTo>
                  <a:cubicBezTo>
                    <a:pt x="112" y="164"/>
                    <a:pt x="109" y="171"/>
                    <a:pt x="109" y="185"/>
                  </a:cubicBezTo>
                  <a:cubicBezTo>
                    <a:pt x="109" y="198"/>
                    <a:pt x="112" y="205"/>
                    <a:pt x="118" y="205"/>
                  </a:cubicBezTo>
                  <a:cubicBezTo>
                    <a:pt x="123" y="205"/>
                    <a:pt x="126" y="198"/>
                    <a:pt x="126" y="184"/>
                  </a:cubicBezTo>
                  <a:cubicBezTo>
                    <a:pt x="126" y="171"/>
                    <a:pt x="123" y="164"/>
                    <a:pt x="118" y="164"/>
                  </a:cubicBezTo>
                  <a:close/>
                  <a:moveTo>
                    <a:pt x="176" y="154"/>
                  </a:moveTo>
                  <a:cubicBezTo>
                    <a:pt x="176" y="214"/>
                    <a:pt x="176" y="214"/>
                    <a:pt x="176" y="214"/>
                  </a:cubicBezTo>
                  <a:cubicBezTo>
                    <a:pt x="163" y="214"/>
                    <a:pt x="163" y="214"/>
                    <a:pt x="163" y="214"/>
                  </a:cubicBezTo>
                  <a:cubicBezTo>
                    <a:pt x="163" y="168"/>
                    <a:pt x="163" y="168"/>
                    <a:pt x="163" y="168"/>
                  </a:cubicBezTo>
                  <a:cubicBezTo>
                    <a:pt x="162" y="169"/>
                    <a:pt x="161" y="170"/>
                    <a:pt x="160" y="170"/>
                  </a:cubicBezTo>
                  <a:cubicBezTo>
                    <a:pt x="159" y="171"/>
                    <a:pt x="158" y="171"/>
                    <a:pt x="157" y="172"/>
                  </a:cubicBezTo>
                  <a:cubicBezTo>
                    <a:pt x="156" y="172"/>
                    <a:pt x="155" y="172"/>
                    <a:pt x="154" y="173"/>
                  </a:cubicBezTo>
                  <a:cubicBezTo>
                    <a:pt x="153" y="173"/>
                    <a:pt x="151" y="173"/>
                    <a:pt x="150" y="173"/>
                  </a:cubicBezTo>
                  <a:cubicBezTo>
                    <a:pt x="150" y="163"/>
                    <a:pt x="150" y="163"/>
                    <a:pt x="150" y="163"/>
                  </a:cubicBezTo>
                  <a:cubicBezTo>
                    <a:pt x="154" y="162"/>
                    <a:pt x="157" y="160"/>
                    <a:pt x="160" y="159"/>
                  </a:cubicBezTo>
                  <a:cubicBezTo>
                    <a:pt x="163" y="157"/>
                    <a:pt x="165" y="156"/>
                    <a:pt x="168" y="154"/>
                  </a:cubicBezTo>
                  <a:lnTo>
                    <a:pt x="176" y="154"/>
                  </a:lnTo>
                  <a:close/>
                  <a:moveTo>
                    <a:pt x="214" y="215"/>
                  </a:moveTo>
                  <a:cubicBezTo>
                    <a:pt x="200" y="215"/>
                    <a:pt x="193" y="205"/>
                    <a:pt x="193" y="185"/>
                  </a:cubicBezTo>
                  <a:cubicBezTo>
                    <a:pt x="193" y="175"/>
                    <a:pt x="195" y="167"/>
                    <a:pt x="198" y="162"/>
                  </a:cubicBezTo>
                  <a:cubicBezTo>
                    <a:pt x="202" y="157"/>
                    <a:pt x="208" y="154"/>
                    <a:pt x="215" y="154"/>
                  </a:cubicBezTo>
                  <a:cubicBezTo>
                    <a:pt x="228" y="154"/>
                    <a:pt x="235" y="164"/>
                    <a:pt x="235" y="184"/>
                  </a:cubicBezTo>
                  <a:cubicBezTo>
                    <a:pt x="235" y="194"/>
                    <a:pt x="233" y="201"/>
                    <a:pt x="230" y="207"/>
                  </a:cubicBezTo>
                  <a:cubicBezTo>
                    <a:pt x="226" y="212"/>
                    <a:pt x="221" y="215"/>
                    <a:pt x="214" y="215"/>
                  </a:cubicBezTo>
                  <a:close/>
                  <a:moveTo>
                    <a:pt x="214" y="164"/>
                  </a:moveTo>
                  <a:cubicBezTo>
                    <a:pt x="209" y="164"/>
                    <a:pt x="206" y="171"/>
                    <a:pt x="206" y="185"/>
                  </a:cubicBezTo>
                  <a:cubicBezTo>
                    <a:pt x="206" y="198"/>
                    <a:pt x="209" y="205"/>
                    <a:pt x="214" y="205"/>
                  </a:cubicBezTo>
                  <a:cubicBezTo>
                    <a:pt x="219" y="205"/>
                    <a:pt x="222" y="198"/>
                    <a:pt x="222" y="184"/>
                  </a:cubicBezTo>
                  <a:cubicBezTo>
                    <a:pt x="222" y="171"/>
                    <a:pt x="219" y="164"/>
                    <a:pt x="214" y="164"/>
                  </a:cubicBezTo>
                  <a:close/>
                  <a:moveTo>
                    <a:pt x="272" y="154"/>
                  </a:moveTo>
                  <a:cubicBezTo>
                    <a:pt x="272" y="214"/>
                    <a:pt x="272" y="214"/>
                    <a:pt x="272" y="214"/>
                  </a:cubicBezTo>
                  <a:cubicBezTo>
                    <a:pt x="259" y="214"/>
                    <a:pt x="259" y="214"/>
                    <a:pt x="259" y="214"/>
                  </a:cubicBezTo>
                  <a:cubicBezTo>
                    <a:pt x="259" y="168"/>
                    <a:pt x="259" y="168"/>
                    <a:pt x="259" y="168"/>
                  </a:cubicBezTo>
                  <a:cubicBezTo>
                    <a:pt x="258" y="169"/>
                    <a:pt x="258" y="170"/>
                    <a:pt x="257" y="170"/>
                  </a:cubicBezTo>
                  <a:cubicBezTo>
                    <a:pt x="256" y="171"/>
                    <a:pt x="255" y="171"/>
                    <a:pt x="254" y="172"/>
                  </a:cubicBezTo>
                  <a:cubicBezTo>
                    <a:pt x="252" y="172"/>
                    <a:pt x="251" y="172"/>
                    <a:pt x="250" y="173"/>
                  </a:cubicBezTo>
                  <a:cubicBezTo>
                    <a:pt x="249" y="173"/>
                    <a:pt x="248" y="173"/>
                    <a:pt x="247" y="173"/>
                  </a:cubicBezTo>
                  <a:cubicBezTo>
                    <a:pt x="247" y="163"/>
                    <a:pt x="247" y="163"/>
                    <a:pt x="247" y="163"/>
                  </a:cubicBezTo>
                  <a:cubicBezTo>
                    <a:pt x="250" y="162"/>
                    <a:pt x="253" y="160"/>
                    <a:pt x="256" y="159"/>
                  </a:cubicBezTo>
                  <a:cubicBezTo>
                    <a:pt x="259" y="157"/>
                    <a:pt x="262" y="156"/>
                    <a:pt x="264" y="154"/>
                  </a:cubicBezTo>
                  <a:lnTo>
                    <a:pt x="272" y="154"/>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62" name="Freeform 61"/>
            <p:cNvSpPr>
              <a:spLocks noChangeAspect="1"/>
            </p:cNvSpPr>
            <p:nvPr/>
          </p:nvSpPr>
          <p:spPr bwMode="black">
            <a:xfrm>
              <a:off x="810855" y="2476645"/>
              <a:ext cx="373866" cy="260946"/>
            </a:xfrm>
            <a:custGeom>
              <a:avLst/>
              <a:gdLst>
                <a:gd name="connsiteX0" fmla="*/ 541228 w 979570"/>
                <a:gd name="connsiteY0" fmla="*/ 531962 h 887227"/>
                <a:gd name="connsiteX1" fmla="*/ 547155 w 979570"/>
                <a:gd name="connsiteY1" fmla="*/ 538150 h 887227"/>
                <a:gd name="connsiteX2" fmla="*/ 760399 w 979570"/>
                <a:gd name="connsiteY2" fmla="*/ 601984 h 887227"/>
                <a:gd name="connsiteX3" fmla="*/ 973643 w 979570"/>
                <a:gd name="connsiteY3" fmla="*/ 538150 h 887227"/>
                <a:gd name="connsiteX4" fmla="*/ 979570 w 979570"/>
                <a:gd name="connsiteY4" fmla="*/ 531962 h 887227"/>
                <a:gd name="connsiteX5" fmla="*/ 979570 w 979570"/>
                <a:gd name="connsiteY5" fmla="*/ 776991 h 887227"/>
                <a:gd name="connsiteX6" fmla="*/ 979570 w 979570"/>
                <a:gd name="connsiteY6" fmla="*/ 776993 h 887227"/>
                <a:gd name="connsiteX7" fmla="*/ 760399 w 979570"/>
                <a:gd name="connsiteY7" fmla="*/ 887227 h 887227"/>
                <a:gd name="connsiteX8" fmla="*/ 541228 w 979570"/>
                <a:gd name="connsiteY8" fmla="*/ 776993 h 887227"/>
                <a:gd name="connsiteX9" fmla="*/ 541228 w 979570"/>
                <a:gd name="connsiteY9" fmla="*/ 776993 h 887227"/>
                <a:gd name="connsiteX10" fmla="*/ 0 w 979570"/>
                <a:gd name="connsiteY10" fmla="*/ 531962 h 887227"/>
                <a:gd name="connsiteX11" fmla="*/ 5927 w 979570"/>
                <a:gd name="connsiteY11" fmla="*/ 538150 h 887227"/>
                <a:gd name="connsiteX12" fmla="*/ 219171 w 979570"/>
                <a:gd name="connsiteY12" fmla="*/ 601984 h 887227"/>
                <a:gd name="connsiteX13" fmla="*/ 432415 w 979570"/>
                <a:gd name="connsiteY13" fmla="*/ 538150 h 887227"/>
                <a:gd name="connsiteX14" fmla="*/ 438342 w 979570"/>
                <a:gd name="connsiteY14" fmla="*/ 531962 h 887227"/>
                <a:gd name="connsiteX15" fmla="*/ 438342 w 979570"/>
                <a:gd name="connsiteY15" fmla="*/ 776991 h 887227"/>
                <a:gd name="connsiteX16" fmla="*/ 438342 w 979570"/>
                <a:gd name="connsiteY16" fmla="*/ 776993 h 887227"/>
                <a:gd name="connsiteX17" fmla="*/ 219171 w 979570"/>
                <a:gd name="connsiteY17" fmla="*/ 887227 h 887227"/>
                <a:gd name="connsiteX18" fmla="*/ 0 w 979570"/>
                <a:gd name="connsiteY18" fmla="*/ 776993 h 887227"/>
                <a:gd name="connsiteX19" fmla="*/ 0 w 979570"/>
                <a:gd name="connsiteY19" fmla="*/ 776993 h 887227"/>
                <a:gd name="connsiteX20" fmla="*/ 760036 w 979570"/>
                <a:gd name="connsiteY20" fmla="*/ 322411 h 887227"/>
                <a:gd name="connsiteX21" fmla="*/ 978844 w 979570"/>
                <a:gd name="connsiteY21" fmla="*/ 444386 h 887227"/>
                <a:gd name="connsiteX22" fmla="*/ 760036 w 979570"/>
                <a:gd name="connsiteY22" fmla="*/ 566361 h 887227"/>
                <a:gd name="connsiteX23" fmla="*/ 541228 w 979570"/>
                <a:gd name="connsiteY23" fmla="*/ 444386 h 887227"/>
                <a:gd name="connsiteX24" fmla="*/ 760036 w 979570"/>
                <a:gd name="connsiteY24" fmla="*/ 322411 h 887227"/>
                <a:gd name="connsiteX25" fmla="*/ 0 w 979570"/>
                <a:gd name="connsiteY25" fmla="*/ 209552 h 887227"/>
                <a:gd name="connsiteX26" fmla="*/ 5927 w 979570"/>
                <a:gd name="connsiteY26" fmla="*/ 215739 h 887227"/>
                <a:gd name="connsiteX27" fmla="*/ 219171 w 979570"/>
                <a:gd name="connsiteY27" fmla="*/ 279574 h 887227"/>
                <a:gd name="connsiteX28" fmla="*/ 432415 w 979570"/>
                <a:gd name="connsiteY28" fmla="*/ 215739 h 887227"/>
                <a:gd name="connsiteX29" fmla="*/ 438342 w 979570"/>
                <a:gd name="connsiteY29" fmla="*/ 209552 h 887227"/>
                <a:gd name="connsiteX30" fmla="*/ 438342 w 979570"/>
                <a:gd name="connsiteY30" fmla="*/ 454580 h 887227"/>
                <a:gd name="connsiteX31" fmla="*/ 438342 w 979570"/>
                <a:gd name="connsiteY31" fmla="*/ 454583 h 887227"/>
                <a:gd name="connsiteX32" fmla="*/ 219171 w 979570"/>
                <a:gd name="connsiteY32" fmla="*/ 564817 h 887227"/>
                <a:gd name="connsiteX33" fmla="*/ 0 w 979570"/>
                <a:gd name="connsiteY33" fmla="*/ 454583 h 887227"/>
                <a:gd name="connsiteX34" fmla="*/ 0 w 979570"/>
                <a:gd name="connsiteY34" fmla="*/ 454582 h 887227"/>
                <a:gd name="connsiteX35" fmla="*/ 218808 w 979570"/>
                <a:gd name="connsiteY35" fmla="*/ 0 h 887227"/>
                <a:gd name="connsiteX36" fmla="*/ 437616 w 979570"/>
                <a:gd name="connsiteY36" fmla="*/ 121975 h 887227"/>
                <a:gd name="connsiteX37" fmla="*/ 218808 w 979570"/>
                <a:gd name="connsiteY37" fmla="*/ 243950 h 887227"/>
                <a:gd name="connsiteX38" fmla="*/ 0 w 979570"/>
                <a:gd name="connsiteY38" fmla="*/ 121975 h 887227"/>
                <a:gd name="connsiteX39" fmla="*/ 218808 w 979570"/>
                <a:gd name="connsiteY39" fmla="*/ 0 h 8872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979570" h="887227">
                  <a:moveTo>
                    <a:pt x="541228" y="531962"/>
                  </a:moveTo>
                  <a:lnTo>
                    <a:pt x="547155" y="538150"/>
                  </a:lnTo>
                  <a:cubicBezTo>
                    <a:pt x="588222" y="576173"/>
                    <a:pt x="668317" y="601984"/>
                    <a:pt x="760399" y="601984"/>
                  </a:cubicBezTo>
                  <a:cubicBezTo>
                    <a:pt x="852481" y="601984"/>
                    <a:pt x="932576" y="576173"/>
                    <a:pt x="973643" y="538150"/>
                  </a:cubicBezTo>
                  <a:lnTo>
                    <a:pt x="979570" y="531962"/>
                  </a:lnTo>
                  <a:lnTo>
                    <a:pt x="979570" y="776991"/>
                  </a:lnTo>
                  <a:lnTo>
                    <a:pt x="979570" y="776993"/>
                  </a:lnTo>
                  <a:cubicBezTo>
                    <a:pt x="979570" y="837874"/>
                    <a:pt x="881444" y="887227"/>
                    <a:pt x="760399" y="887227"/>
                  </a:cubicBezTo>
                  <a:cubicBezTo>
                    <a:pt x="639354" y="887227"/>
                    <a:pt x="541228" y="837874"/>
                    <a:pt x="541228" y="776993"/>
                  </a:cubicBezTo>
                  <a:lnTo>
                    <a:pt x="541228" y="776993"/>
                  </a:lnTo>
                  <a:close/>
                  <a:moveTo>
                    <a:pt x="0" y="531962"/>
                  </a:moveTo>
                  <a:lnTo>
                    <a:pt x="5927" y="538150"/>
                  </a:lnTo>
                  <a:cubicBezTo>
                    <a:pt x="46994" y="576173"/>
                    <a:pt x="127089" y="601984"/>
                    <a:pt x="219171" y="601984"/>
                  </a:cubicBezTo>
                  <a:cubicBezTo>
                    <a:pt x="311253" y="601984"/>
                    <a:pt x="391348" y="576173"/>
                    <a:pt x="432415" y="538150"/>
                  </a:cubicBezTo>
                  <a:lnTo>
                    <a:pt x="438342" y="531962"/>
                  </a:lnTo>
                  <a:lnTo>
                    <a:pt x="438342" y="776991"/>
                  </a:lnTo>
                  <a:lnTo>
                    <a:pt x="438342" y="776993"/>
                  </a:lnTo>
                  <a:cubicBezTo>
                    <a:pt x="438342" y="837874"/>
                    <a:pt x="340216" y="887227"/>
                    <a:pt x="219171" y="887227"/>
                  </a:cubicBezTo>
                  <a:cubicBezTo>
                    <a:pt x="98126" y="887227"/>
                    <a:pt x="0" y="837874"/>
                    <a:pt x="0" y="776993"/>
                  </a:cubicBezTo>
                  <a:lnTo>
                    <a:pt x="0" y="776993"/>
                  </a:lnTo>
                  <a:close/>
                  <a:moveTo>
                    <a:pt x="760036" y="322411"/>
                  </a:moveTo>
                  <a:cubicBezTo>
                    <a:pt x="880880" y="322411"/>
                    <a:pt x="978844" y="377021"/>
                    <a:pt x="978844" y="444386"/>
                  </a:cubicBezTo>
                  <a:cubicBezTo>
                    <a:pt x="978844" y="511751"/>
                    <a:pt x="880880" y="566361"/>
                    <a:pt x="760036" y="566361"/>
                  </a:cubicBezTo>
                  <a:cubicBezTo>
                    <a:pt x="639192" y="566361"/>
                    <a:pt x="541228" y="511751"/>
                    <a:pt x="541228" y="444386"/>
                  </a:cubicBezTo>
                  <a:cubicBezTo>
                    <a:pt x="541228" y="377021"/>
                    <a:pt x="639192" y="322411"/>
                    <a:pt x="760036" y="322411"/>
                  </a:cubicBezTo>
                  <a:close/>
                  <a:moveTo>
                    <a:pt x="0" y="209552"/>
                  </a:moveTo>
                  <a:lnTo>
                    <a:pt x="5927" y="215739"/>
                  </a:lnTo>
                  <a:cubicBezTo>
                    <a:pt x="46994" y="253762"/>
                    <a:pt x="127089" y="279574"/>
                    <a:pt x="219171" y="279574"/>
                  </a:cubicBezTo>
                  <a:cubicBezTo>
                    <a:pt x="311253" y="279574"/>
                    <a:pt x="391348" y="253762"/>
                    <a:pt x="432415" y="215739"/>
                  </a:cubicBezTo>
                  <a:lnTo>
                    <a:pt x="438342" y="209552"/>
                  </a:lnTo>
                  <a:lnTo>
                    <a:pt x="438342" y="454580"/>
                  </a:lnTo>
                  <a:lnTo>
                    <a:pt x="438342" y="454583"/>
                  </a:lnTo>
                  <a:cubicBezTo>
                    <a:pt x="438342" y="515463"/>
                    <a:pt x="340216" y="564817"/>
                    <a:pt x="219171" y="564817"/>
                  </a:cubicBezTo>
                  <a:cubicBezTo>
                    <a:pt x="98126" y="564817"/>
                    <a:pt x="0" y="515463"/>
                    <a:pt x="0" y="454583"/>
                  </a:cubicBezTo>
                  <a:lnTo>
                    <a:pt x="0" y="454582"/>
                  </a:lnTo>
                  <a:close/>
                  <a:moveTo>
                    <a:pt x="218808" y="0"/>
                  </a:moveTo>
                  <a:cubicBezTo>
                    <a:pt x="339652" y="0"/>
                    <a:pt x="437616" y="54610"/>
                    <a:pt x="437616" y="121975"/>
                  </a:cubicBezTo>
                  <a:cubicBezTo>
                    <a:pt x="437616" y="189340"/>
                    <a:pt x="339652" y="243950"/>
                    <a:pt x="218808" y="243950"/>
                  </a:cubicBezTo>
                  <a:cubicBezTo>
                    <a:pt x="97964" y="243950"/>
                    <a:pt x="0" y="189340"/>
                    <a:pt x="0" y="121975"/>
                  </a:cubicBezTo>
                  <a:cubicBezTo>
                    <a:pt x="0" y="54610"/>
                    <a:pt x="97964" y="0"/>
                    <a:pt x="218808"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8" tIns="109719" rIns="137148" bIns="109719" numCol="1" spcCol="0" rtlCol="0" fromWordArt="0" anchor="t" anchorCtr="0" forceAA="0" compatLnSpc="1">
              <a:prstTxWarp prst="textNoShape">
                <a:avLst/>
              </a:prstTxWarp>
              <a:noAutofit/>
            </a:bodyPr>
            <a:lstStyle/>
            <a:p>
              <a:pPr algn="ctr" defTabSz="699261" fontAlgn="base">
                <a:lnSpc>
                  <a:spcPct val="90000"/>
                </a:lnSpc>
                <a:spcBef>
                  <a:spcPct val="0"/>
                </a:spcBef>
                <a:spcAft>
                  <a:spcPct val="0"/>
                </a:spcAft>
              </a:pPr>
              <a:endParaRPr lang="en-US">
                <a:gradFill>
                  <a:gsLst>
                    <a:gs pos="0">
                      <a:srgbClr val="FFFFFF"/>
                    </a:gs>
                    <a:gs pos="100000">
                      <a:srgbClr val="FFFFFF"/>
                    </a:gs>
                  </a:gsLst>
                  <a:lin ang="5400000" scaled="0"/>
                </a:gradFill>
                <a:ea typeface="Segoe UI" pitchFamily="34" charset="0"/>
                <a:cs typeface="Segoe UI" pitchFamily="34" charset="0"/>
              </a:endParaRPr>
            </a:p>
          </p:txBody>
        </p:sp>
      </p:grpSp>
      <p:grpSp>
        <p:nvGrpSpPr>
          <p:cNvPr id="63" name="Group 62"/>
          <p:cNvGrpSpPr>
            <a:grpSpLocks noChangeAspect="1"/>
          </p:cNvGrpSpPr>
          <p:nvPr/>
        </p:nvGrpSpPr>
        <p:grpSpPr>
          <a:xfrm>
            <a:off x="197042" y="2842214"/>
            <a:ext cx="457200" cy="457200"/>
            <a:chOff x="719415" y="3138080"/>
            <a:chExt cx="640080" cy="640080"/>
          </a:xfrm>
        </p:grpSpPr>
        <p:pic>
          <p:nvPicPr>
            <p:cNvPr id="64" name="Picture 6" descr="\\MAGNUM\Projects\Microsoft\Cloud Power FY12\Design\ICONS_PNG\Cloud.png"/>
            <p:cNvPicPr>
              <a:picLocks noChangeAspect="1" noChangeArrowheads="1"/>
            </p:cNvPicPr>
            <p:nvPr/>
          </p:nvPicPr>
          <p:blipFill>
            <a:blip r:embed="rId3" cstate="print">
              <a:biLevel thresh="75000"/>
            </a:blip>
            <a:srcRect/>
            <a:stretch>
              <a:fillRect/>
            </a:stretch>
          </p:blipFill>
          <p:spPr bwMode="auto">
            <a:xfrm>
              <a:off x="719415" y="3138080"/>
              <a:ext cx="640080" cy="640080"/>
            </a:xfrm>
            <a:prstGeom prst="rect">
              <a:avLst/>
            </a:prstGeom>
            <a:noFill/>
          </p:spPr>
        </p:pic>
        <p:pic>
          <p:nvPicPr>
            <p:cNvPr id="68" name="Picture 67"/>
            <p:cNvPicPr>
              <a:picLocks noChangeAspect="1"/>
            </p:cNvPicPr>
            <p:nvPr/>
          </p:nvPicPr>
          <p:blipFill>
            <a:blip r:embed="rId4"/>
            <a:stretch>
              <a:fillRect/>
            </a:stretch>
          </p:blipFill>
          <p:spPr>
            <a:xfrm flipH="1">
              <a:off x="975955" y="3370303"/>
              <a:ext cx="127000" cy="175846"/>
            </a:xfrm>
            <a:prstGeom prst="rect">
              <a:avLst/>
            </a:prstGeom>
          </p:spPr>
        </p:pic>
      </p:grpSp>
      <p:sp>
        <p:nvSpPr>
          <p:cNvPr id="69" name="Freeform 122"/>
          <p:cNvSpPr>
            <a:spLocks noChangeAspect="1"/>
          </p:cNvSpPr>
          <p:nvPr/>
        </p:nvSpPr>
        <p:spPr bwMode="black">
          <a:xfrm>
            <a:off x="266989" y="4843626"/>
            <a:ext cx="317305" cy="320040"/>
          </a:xfrm>
          <a:custGeom>
            <a:avLst/>
            <a:gdLst>
              <a:gd name="T0" fmla="*/ 61 w 70"/>
              <a:gd name="T1" fmla="*/ 11 h 71"/>
              <a:gd name="T2" fmla="*/ 60 w 70"/>
              <a:gd name="T3" fmla="*/ 11 h 71"/>
              <a:gd name="T4" fmla="*/ 53 w 70"/>
              <a:gd name="T5" fmla="*/ 18 h 71"/>
              <a:gd name="T6" fmla="*/ 53 w 70"/>
              <a:gd name="T7" fmla="*/ 19 h 71"/>
              <a:gd name="T8" fmla="*/ 53 w 70"/>
              <a:gd name="T9" fmla="*/ 19 h 71"/>
              <a:gd name="T10" fmla="*/ 60 w 70"/>
              <a:gd name="T11" fmla="*/ 35 h 71"/>
              <a:gd name="T12" fmla="*/ 35 w 70"/>
              <a:gd name="T13" fmla="*/ 60 h 71"/>
              <a:gd name="T14" fmla="*/ 10 w 70"/>
              <a:gd name="T15" fmla="*/ 36 h 71"/>
              <a:gd name="T16" fmla="*/ 16 w 70"/>
              <a:gd name="T17" fmla="*/ 21 h 71"/>
              <a:gd name="T18" fmla="*/ 18 w 70"/>
              <a:gd name="T19" fmla="*/ 18 h 71"/>
              <a:gd name="T20" fmla="*/ 25 w 70"/>
              <a:gd name="T21" fmla="*/ 26 h 71"/>
              <a:gd name="T22" fmla="*/ 30 w 70"/>
              <a:gd name="T23" fmla="*/ 0 h 71"/>
              <a:gd name="T24" fmla="*/ 4 w 70"/>
              <a:gd name="T25" fmla="*/ 2 h 71"/>
              <a:gd name="T26" fmla="*/ 11 w 70"/>
              <a:gd name="T27" fmla="*/ 10 h 71"/>
              <a:gd name="T28" fmla="*/ 9 w 70"/>
              <a:gd name="T29" fmla="*/ 12 h 71"/>
              <a:gd name="T30" fmla="*/ 0 w 70"/>
              <a:gd name="T31" fmla="*/ 36 h 71"/>
              <a:gd name="T32" fmla="*/ 35 w 70"/>
              <a:gd name="T33" fmla="*/ 71 h 71"/>
              <a:gd name="T34" fmla="*/ 35 w 70"/>
              <a:gd name="T35" fmla="*/ 71 h 71"/>
              <a:gd name="T36" fmla="*/ 70 w 70"/>
              <a:gd name="T37" fmla="*/ 35 h 71"/>
              <a:gd name="T38" fmla="*/ 61 w 70"/>
              <a:gd name="T39" fmla="*/ 1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0" h="71">
                <a:moveTo>
                  <a:pt x="61" y="11"/>
                </a:moveTo>
                <a:cubicBezTo>
                  <a:pt x="60" y="11"/>
                  <a:pt x="60" y="11"/>
                  <a:pt x="60" y="11"/>
                </a:cubicBezTo>
                <a:cubicBezTo>
                  <a:pt x="53" y="18"/>
                  <a:pt x="53" y="18"/>
                  <a:pt x="53" y="18"/>
                </a:cubicBezTo>
                <a:cubicBezTo>
                  <a:pt x="53" y="19"/>
                  <a:pt x="53" y="19"/>
                  <a:pt x="53" y="19"/>
                </a:cubicBezTo>
                <a:cubicBezTo>
                  <a:pt x="53" y="19"/>
                  <a:pt x="53" y="19"/>
                  <a:pt x="53" y="19"/>
                </a:cubicBezTo>
                <a:cubicBezTo>
                  <a:pt x="57" y="23"/>
                  <a:pt x="60" y="29"/>
                  <a:pt x="60" y="35"/>
                </a:cubicBezTo>
                <a:cubicBezTo>
                  <a:pt x="60" y="49"/>
                  <a:pt x="49" y="60"/>
                  <a:pt x="35" y="60"/>
                </a:cubicBezTo>
                <a:cubicBezTo>
                  <a:pt x="22" y="60"/>
                  <a:pt x="11" y="49"/>
                  <a:pt x="10" y="36"/>
                </a:cubicBezTo>
                <a:cubicBezTo>
                  <a:pt x="10" y="30"/>
                  <a:pt x="12" y="25"/>
                  <a:pt x="16" y="21"/>
                </a:cubicBezTo>
                <a:cubicBezTo>
                  <a:pt x="18" y="18"/>
                  <a:pt x="18" y="18"/>
                  <a:pt x="18" y="18"/>
                </a:cubicBezTo>
                <a:cubicBezTo>
                  <a:pt x="25" y="26"/>
                  <a:pt x="25" y="26"/>
                  <a:pt x="25" y="26"/>
                </a:cubicBezTo>
                <a:cubicBezTo>
                  <a:pt x="30" y="0"/>
                  <a:pt x="30" y="0"/>
                  <a:pt x="30" y="0"/>
                </a:cubicBezTo>
                <a:cubicBezTo>
                  <a:pt x="4" y="2"/>
                  <a:pt x="4" y="2"/>
                  <a:pt x="4" y="2"/>
                </a:cubicBezTo>
                <a:cubicBezTo>
                  <a:pt x="11" y="10"/>
                  <a:pt x="11" y="10"/>
                  <a:pt x="11" y="10"/>
                </a:cubicBezTo>
                <a:cubicBezTo>
                  <a:pt x="9" y="12"/>
                  <a:pt x="9" y="12"/>
                  <a:pt x="9" y="12"/>
                </a:cubicBezTo>
                <a:cubicBezTo>
                  <a:pt x="3" y="19"/>
                  <a:pt x="0" y="27"/>
                  <a:pt x="0" y="36"/>
                </a:cubicBezTo>
                <a:cubicBezTo>
                  <a:pt x="0" y="55"/>
                  <a:pt x="16" y="71"/>
                  <a:pt x="35" y="71"/>
                </a:cubicBezTo>
                <a:cubicBezTo>
                  <a:pt x="35" y="71"/>
                  <a:pt x="35" y="71"/>
                  <a:pt x="35" y="71"/>
                </a:cubicBezTo>
                <a:cubicBezTo>
                  <a:pt x="55" y="71"/>
                  <a:pt x="70" y="55"/>
                  <a:pt x="70" y="35"/>
                </a:cubicBezTo>
                <a:cubicBezTo>
                  <a:pt x="70" y="26"/>
                  <a:pt x="67" y="18"/>
                  <a:pt x="61" y="11"/>
                </a:cubicBezTo>
              </a:path>
            </a:pathLst>
          </a:custGeom>
          <a:solidFill>
            <a:schemeClr val="tx1"/>
          </a:solidFill>
          <a:ln>
            <a:noFill/>
          </a:ln>
        </p:spPr>
        <p:txBody>
          <a:bodyPr vert="horz" wrap="square" lIns="69953" tIns="34976" rIns="69953" bIns="34976" numCol="1" anchor="t" anchorCtr="0" compatLnSpc="1">
            <a:prstTxWarp prst="textNoShape">
              <a:avLst/>
            </a:prstTxWarp>
          </a:bodyPr>
          <a:lstStyle/>
          <a:p>
            <a:endParaRPr lang="en-US" sz="1350">
              <a:solidFill>
                <a:srgbClr val="000000"/>
              </a:solidFill>
            </a:endParaRPr>
          </a:p>
        </p:txBody>
      </p:sp>
      <p:sp>
        <p:nvSpPr>
          <p:cNvPr id="70" name="Freeform 21"/>
          <p:cNvSpPr>
            <a:spLocks noChangeAspect="1" noEditPoints="1"/>
          </p:cNvSpPr>
          <p:nvPr/>
        </p:nvSpPr>
        <p:spPr bwMode="black">
          <a:xfrm>
            <a:off x="242762" y="3875709"/>
            <a:ext cx="365760" cy="318790"/>
          </a:xfrm>
          <a:custGeom>
            <a:avLst/>
            <a:gdLst>
              <a:gd name="T0" fmla="*/ 1220 w 1220"/>
              <a:gd name="T1" fmla="*/ 204 h 1063"/>
              <a:gd name="T2" fmla="*/ 1096 w 1220"/>
              <a:gd name="T3" fmla="*/ 79 h 1063"/>
              <a:gd name="T4" fmla="*/ 978 w 1220"/>
              <a:gd name="T5" fmla="*/ 164 h 1063"/>
              <a:gd name="T6" fmla="*/ 589 w 1220"/>
              <a:gd name="T7" fmla="*/ 115 h 1063"/>
              <a:gd name="T8" fmla="*/ 465 w 1220"/>
              <a:gd name="T9" fmla="*/ 0 h 1063"/>
              <a:gd name="T10" fmla="*/ 340 w 1220"/>
              <a:gd name="T11" fmla="*/ 124 h 1063"/>
              <a:gd name="T12" fmla="*/ 370 w 1220"/>
              <a:gd name="T13" fmla="*/ 205 h 1063"/>
              <a:gd name="T14" fmla="*/ 180 w 1220"/>
              <a:gd name="T15" fmla="*/ 453 h 1063"/>
              <a:gd name="T16" fmla="*/ 125 w 1220"/>
              <a:gd name="T17" fmla="*/ 440 h 1063"/>
              <a:gd name="T18" fmla="*/ 0 w 1220"/>
              <a:gd name="T19" fmla="*/ 564 h 1063"/>
              <a:gd name="T20" fmla="*/ 125 w 1220"/>
              <a:gd name="T21" fmla="*/ 689 h 1063"/>
              <a:gd name="T22" fmla="*/ 197 w 1220"/>
              <a:gd name="T23" fmla="*/ 666 h 1063"/>
              <a:gd name="T24" fmla="*/ 416 w 1220"/>
              <a:gd name="T25" fmla="*/ 872 h 1063"/>
              <a:gd name="T26" fmla="*/ 397 w 1220"/>
              <a:gd name="T27" fmla="*/ 938 h 1063"/>
              <a:gd name="T28" fmla="*/ 521 w 1220"/>
              <a:gd name="T29" fmla="*/ 1063 h 1063"/>
              <a:gd name="T30" fmla="*/ 646 w 1220"/>
              <a:gd name="T31" fmla="*/ 938 h 1063"/>
              <a:gd name="T32" fmla="*/ 642 w 1220"/>
              <a:gd name="T33" fmla="*/ 908 h 1063"/>
              <a:gd name="T34" fmla="*/ 948 w 1220"/>
              <a:gd name="T35" fmla="*/ 763 h 1063"/>
              <a:gd name="T36" fmla="*/ 1048 w 1220"/>
              <a:gd name="T37" fmla="*/ 814 h 1063"/>
              <a:gd name="T38" fmla="*/ 1173 w 1220"/>
              <a:gd name="T39" fmla="*/ 689 h 1063"/>
              <a:gd name="T40" fmla="*/ 1084 w 1220"/>
              <a:gd name="T41" fmla="*/ 570 h 1063"/>
              <a:gd name="T42" fmla="*/ 1108 w 1220"/>
              <a:gd name="T43" fmla="*/ 327 h 1063"/>
              <a:gd name="T44" fmla="*/ 1220 w 1220"/>
              <a:gd name="T45" fmla="*/ 204 h 1063"/>
              <a:gd name="T46" fmla="*/ 521 w 1220"/>
              <a:gd name="T47" fmla="*/ 594 h 1063"/>
              <a:gd name="T48" fmla="*/ 493 w 1220"/>
              <a:gd name="T49" fmla="*/ 245 h 1063"/>
              <a:gd name="T50" fmla="*/ 535 w 1220"/>
              <a:gd name="T51" fmla="*/ 226 h 1063"/>
              <a:gd name="T52" fmla="*/ 944 w 1220"/>
              <a:gd name="T53" fmla="*/ 621 h 1063"/>
              <a:gd name="T54" fmla="*/ 930 w 1220"/>
              <a:gd name="T55" fmla="*/ 649 h 1063"/>
              <a:gd name="T56" fmla="*/ 521 w 1220"/>
              <a:gd name="T57" fmla="*/ 594 h 1063"/>
              <a:gd name="T58" fmla="*/ 490 w 1220"/>
              <a:gd name="T59" fmla="*/ 818 h 1063"/>
              <a:gd name="T60" fmla="*/ 449 w 1220"/>
              <a:gd name="T61" fmla="*/ 837 h 1063"/>
              <a:gd name="T62" fmla="*/ 230 w 1220"/>
              <a:gd name="T63" fmla="*/ 631 h 1063"/>
              <a:gd name="T64" fmla="*/ 242 w 1220"/>
              <a:gd name="T65" fmla="*/ 605 h 1063"/>
              <a:gd name="T66" fmla="*/ 476 w 1220"/>
              <a:gd name="T67" fmla="*/ 636 h 1063"/>
              <a:gd name="T68" fmla="*/ 490 w 1220"/>
              <a:gd name="T69" fmla="*/ 818 h 1063"/>
              <a:gd name="T70" fmla="*/ 249 w 1220"/>
              <a:gd name="T71" fmla="*/ 558 h 1063"/>
              <a:gd name="T72" fmla="*/ 218 w 1220"/>
              <a:gd name="T73" fmla="*/ 482 h 1063"/>
              <a:gd name="T74" fmla="*/ 408 w 1220"/>
              <a:gd name="T75" fmla="*/ 235 h 1063"/>
              <a:gd name="T76" fmla="*/ 445 w 1220"/>
              <a:gd name="T77" fmla="*/ 247 h 1063"/>
              <a:gd name="T78" fmla="*/ 472 w 1220"/>
              <a:gd name="T79" fmla="*/ 587 h 1063"/>
              <a:gd name="T80" fmla="*/ 249 w 1220"/>
              <a:gd name="T81" fmla="*/ 558 h 1063"/>
              <a:gd name="T82" fmla="*/ 977 w 1220"/>
              <a:gd name="T83" fmla="*/ 587 h 1063"/>
              <a:gd name="T84" fmla="*/ 569 w 1220"/>
              <a:gd name="T85" fmla="*/ 192 h 1063"/>
              <a:gd name="T86" fmla="*/ 583 w 1220"/>
              <a:gd name="T87" fmla="*/ 163 h 1063"/>
              <a:gd name="T88" fmla="*/ 972 w 1220"/>
              <a:gd name="T89" fmla="*/ 212 h 1063"/>
              <a:gd name="T90" fmla="*/ 1060 w 1220"/>
              <a:gd name="T91" fmla="*/ 323 h 1063"/>
              <a:gd name="T92" fmla="*/ 1036 w 1220"/>
              <a:gd name="T93" fmla="*/ 566 h 1063"/>
              <a:gd name="T94" fmla="*/ 977 w 1220"/>
              <a:gd name="T95" fmla="*/ 587 h 1063"/>
              <a:gd name="T96" fmla="*/ 621 w 1220"/>
              <a:gd name="T97" fmla="*/ 864 h 1063"/>
              <a:gd name="T98" fmla="*/ 538 w 1220"/>
              <a:gd name="T99" fmla="*/ 815 h 1063"/>
              <a:gd name="T100" fmla="*/ 524 w 1220"/>
              <a:gd name="T101" fmla="*/ 643 h 1063"/>
              <a:gd name="T102" fmla="*/ 924 w 1220"/>
              <a:gd name="T103" fmla="*/ 696 h 1063"/>
              <a:gd name="T104" fmla="*/ 927 w 1220"/>
              <a:gd name="T105" fmla="*/ 720 h 1063"/>
              <a:gd name="T106" fmla="*/ 621 w 1220"/>
              <a:gd name="T107" fmla="*/ 864 h 10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220" h="1063">
                <a:moveTo>
                  <a:pt x="1220" y="204"/>
                </a:moveTo>
                <a:cubicBezTo>
                  <a:pt x="1220" y="135"/>
                  <a:pt x="1164" y="79"/>
                  <a:pt x="1096" y="79"/>
                </a:cubicBezTo>
                <a:cubicBezTo>
                  <a:pt x="1041" y="79"/>
                  <a:pt x="994" y="115"/>
                  <a:pt x="978" y="164"/>
                </a:cubicBezTo>
                <a:cubicBezTo>
                  <a:pt x="589" y="115"/>
                  <a:pt x="589" y="115"/>
                  <a:pt x="589" y="115"/>
                </a:cubicBezTo>
                <a:cubicBezTo>
                  <a:pt x="584" y="51"/>
                  <a:pt x="530" y="0"/>
                  <a:pt x="465" y="0"/>
                </a:cubicBezTo>
                <a:cubicBezTo>
                  <a:pt x="396" y="0"/>
                  <a:pt x="340" y="55"/>
                  <a:pt x="340" y="124"/>
                </a:cubicBezTo>
                <a:cubicBezTo>
                  <a:pt x="340" y="155"/>
                  <a:pt x="352" y="183"/>
                  <a:pt x="370" y="205"/>
                </a:cubicBezTo>
                <a:cubicBezTo>
                  <a:pt x="180" y="453"/>
                  <a:pt x="180" y="453"/>
                  <a:pt x="180" y="453"/>
                </a:cubicBezTo>
                <a:cubicBezTo>
                  <a:pt x="163" y="445"/>
                  <a:pt x="145" y="440"/>
                  <a:pt x="125" y="440"/>
                </a:cubicBezTo>
                <a:cubicBezTo>
                  <a:pt x="56" y="440"/>
                  <a:pt x="0" y="496"/>
                  <a:pt x="0" y="564"/>
                </a:cubicBezTo>
                <a:cubicBezTo>
                  <a:pt x="0" y="633"/>
                  <a:pt x="56" y="689"/>
                  <a:pt x="125" y="689"/>
                </a:cubicBezTo>
                <a:cubicBezTo>
                  <a:pt x="152" y="689"/>
                  <a:pt x="177" y="680"/>
                  <a:pt x="197" y="666"/>
                </a:cubicBezTo>
                <a:cubicBezTo>
                  <a:pt x="416" y="872"/>
                  <a:pt x="416" y="872"/>
                  <a:pt x="416" y="872"/>
                </a:cubicBezTo>
                <a:cubicBezTo>
                  <a:pt x="404" y="891"/>
                  <a:pt x="397" y="914"/>
                  <a:pt x="397" y="938"/>
                </a:cubicBezTo>
                <a:cubicBezTo>
                  <a:pt x="397" y="1007"/>
                  <a:pt x="453" y="1063"/>
                  <a:pt x="521" y="1063"/>
                </a:cubicBezTo>
                <a:cubicBezTo>
                  <a:pt x="590" y="1063"/>
                  <a:pt x="646" y="1007"/>
                  <a:pt x="646" y="938"/>
                </a:cubicBezTo>
                <a:cubicBezTo>
                  <a:pt x="646" y="928"/>
                  <a:pt x="644" y="918"/>
                  <a:pt x="642" y="908"/>
                </a:cubicBezTo>
                <a:cubicBezTo>
                  <a:pt x="948" y="763"/>
                  <a:pt x="948" y="763"/>
                  <a:pt x="948" y="763"/>
                </a:cubicBezTo>
                <a:cubicBezTo>
                  <a:pt x="970" y="794"/>
                  <a:pt x="1007" y="814"/>
                  <a:pt x="1048" y="814"/>
                </a:cubicBezTo>
                <a:cubicBezTo>
                  <a:pt x="1117" y="814"/>
                  <a:pt x="1173" y="758"/>
                  <a:pt x="1173" y="689"/>
                </a:cubicBezTo>
                <a:cubicBezTo>
                  <a:pt x="1173" y="633"/>
                  <a:pt x="1135" y="586"/>
                  <a:pt x="1084" y="570"/>
                </a:cubicBezTo>
                <a:cubicBezTo>
                  <a:pt x="1108" y="327"/>
                  <a:pt x="1108" y="327"/>
                  <a:pt x="1108" y="327"/>
                </a:cubicBezTo>
                <a:cubicBezTo>
                  <a:pt x="1171" y="321"/>
                  <a:pt x="1220" y="268"/>
                  <a:pt x="1220" y="204"/>
                </a:cubicBezTo>
                <a:close/>
                <a:moveTo>
                  <a:pt x="521" y="594"/>
                </a:moveTo>
                <a:cubicBezTo>
                  <a:pt x="493" y="245"/>
                  <a:pt x="493" y="245"/>
                  <a:pt x="493" y="245"/>
                </a:cubicBezTo>
                <a:cubicBezTo>
                  <a:pt x="509" y="241"/>
                  <a:pt x="523" y="235"/>
                  <a:pt x="535" y="226"/>
                </a:cubicBezTo>
                <a:cubicBezTo>
                  <a:pt x="944" y="621"/>
                  <a:pt x="944" y="621"/>
                  <a:pt x="944" y="621"/>
                </a:cubicBezTo>
                <a:cubicBezTo>
                  <a:pt x="938" y="630"/>
                  <a:pt x="934" y="639"/>
                  <a:pt x="930" y="649"/>
                </a:cubicBezTo>
                <a:lnTo>
                  <a:pt x="521" y="594"/>
                </a:lnTo>
                <a:close/>
                <a:moveTo>
                  <a:pt x="490" y="818"/>
                </a:moveTo>
                <a:cubicBezTo>
                  <a:pt x="475" y="822"/>
                  <a:pt x="461" y="828"/>
                  <a:pt x="449" y="837"/>
                </a:cubicBezTo>
                <a:cubicBezTo>
                  <a:pt x="230" y="631"/>
                  <a:pt x="230" y="631"/>
                  <a:pt x="230" y="631"/>
                </a:cubicBezTo>
                <a:cubicBezTo>
                  <a:pt x="235" y="623"/>
                  <a:pt x="239" y="614"/>
                  <a:pt x="242" y="605"/>
                </a:cubicBezTo>
                <a:cubicBezTo>
                  <a:pt x="476" y="636"/>
                  <a:pt x="476" y="636"/>
                  <a:pt x="476" y="636"/>
                </a:cubicBezTo>
                <a:lnTo>
                  <a:pt x="490" y="818"/>
                </a:lnTo>
                <a:close/>
                <a:moveTo>
                  <a:pt x="249" y="558"/>
                </a:moveTo>
                <a:cubicBezTo>
                  <a:pt x="247" y="529"/>
                  <a:pt x="236" y="502"/>
                  <a:pt x="218" y="482"/>
                </a:cubicBezTo>
                <a:cubicBezTo>
                  <a:pt x="408" y="235"/>
                  <a:pt x="408" y="235"/>
                  <a:pt x="408" y="235"/>
                </a:cubicBezTo>
                <a:cubicBezTo>
                  <a:pt x="420" y="241"/>
                  <a:pt x="432" y="245"/>
                  <a:pt x="445" y="247"/>
                </a:cubicBezTo>
                <a:cubicBezTo>
                  <a:pt x="472" y="587"/>
                  <a:pt x="472" y="587"/>
                  <a:pt x="472" y="587"/>
                </a:cubicBezTo>
                <a:lnTo>
                  <a:pt x="249" y="558"/>
                </a:lnTo>
                <a:close/>
                <a:moveTo>
                  <a:pt x="977" y="587"/>
                </a:moveTo>
                <a:cubicBezTo>
                  <a:pt x="569" y="192"/>
                  <a:pt x="569" y="192"/>
                  <a:pt x="569" y="192"/>
                </a:cubicBezTo>
                <a:cubicBezTo>
                  <a:pt x="575" y="183"/>
                  <a:pt x="579" y="173"/>
                  <a:pt x="583" y="163"/>
                </a:cubicBezTo>
                <a:cubicBezTo>
                  <a:pt x="972" y="212"/>
                  <a:pt x="972" y="212"/>
                  <a:pt x="972" y="212"/>
                </a:cubicBezTo>
                <a:cubicBezTo>
                  <a:pt x="975" y="265"/>
                  <a:pt x="1011" y="308"/>
                  <a:pt x="1060" y="323"/>
                </a:cubicBezTo>
                <a:cubicBezTo>
                  <a:pt x="1036" y="566"/>
                  <a:pt x="1036" y="566"/>
                  <a:pt x="1036" y="566"/>
                </a:cubicBezTo>
                <a:cubicBezTo>
                  <a:pt x="1015" y="568"/>
                  <a:pt x="994" y="575"/>
                  <a:pt x="977" y="587"/>
                </a:cubicBezTo>
                <a:close/>
                <a:moveTo>
                  <a:pt x="621" y="864"/>
                </a:moveTo>
                <a:cubicBezTo>
                  <a:pt x="602" y="838"/>
                  <a:pt x="572" y="819"/>
                  <a:pt x="538" y="815"/>
                </a:cubicBezTo>
                <a:cubicBezTo>
                  <a:pt x="524" y="643"/>
                  <a:pt x="524" y="643"/>
                  <a:pt x="524" y="643"/>
                </a:cubicBezTo>
                <a:cubicBezTo>
                  <a:pt x="924" y="696"/>
                  <a:pt x="924" y="696"/>
                  <a:pt x="924" y="696"/>
                </a:cubicBezTo>
                <a:cubicBezTo>
                  <a:pt x="924" y="704"/>
                  <a:pt x="925" y="712"/>
                  <a:pt x="927" y="720"/>
                </a:cubicBezTo>
                <a:lnTo>
                  <a:pt x="621" y="864"/>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1177" tIns="56942" rIns="71177" bIns="56942" numCol="1" spcCol="0" rtlCol="0" fromWordArt="0" anchor="t" anchorCtr="0" forceAA="0" compatLnSpc="1">
            <a:prstTxWarp prst="textNoShape">
              <a:avLst/>
            </a:prstTxWarp>
            <a:noAutofit/>
          </a:bodyPr>
          <a:lstStyle/>
          <a:p>
            <a:pPr algn="ctr" defTabSz="362895" fontAlgn="base">
              <a:lnSpc>
                <a:spcPct val="90000"/>
              </a:lnSpc>
              <a:spcBef>
                <a:spcPct val="0"/>
              </a:spcBef>
              <a:spcAft>
                <a:spcPct val="0"/>
              </a:spcAft>
            </a:pPr>
            <a:endParaRPr lang="en-US" sz="934">
              <a:gradFill>
                <a:gsLst>
                  <a:gs pos="0">
                    <a:srgbClr val="FFFFFF"/>
                  </a:gs>
                  <a:gs pos="100000">
                    <a:srgbClr val="FFFFFF"/>
                  </a:gs>
                </a:gsLst>
                <a:lin ang="5400000" scaled="0"/>
              </a:gradFill>
              <a:ea typeface="Segoe UI" pitchFamily="34" charset="0"/>
              <a:cs typeface="Segoe UI" pitchFamily="34" charset="0"/>
            </a:endParaRPr>
          </a:p>
        </p:txBody>
      </p:sp>
      <p:sp>
        <p:nvSpPr>
          <p:cNvPr id="71" name="Freeform 70"/>
          <p:cNvSpPr>
            <a:spLocks noChangeAspect="1"/>
          </p:cNvSpPr>
          <p:nvPr/>
        </p:nvSpPr>
        <p:spPr bwMode="black">
          <a:xfrm>
            <a:off x="242762" y="5803220"/>
            <a:ext cx="365760" cy="320928"/>
          </a:xfrm>
          <a:custGeom>
            <a:avLst/>
            <a:gdLst/>
            <a:ahLst/>
            <a:cxnLst/>
            <a:rect l="l" t="t" r="r" b="b"/>
            <a:pathLst>
              <a:path w="4740335" h="4048081">
                <a:moveTo>
                  <a:pt x="3683614" y="1098549"/>
                </a:moveTo>
                <a:cubicBezTo>
                  <a:pt x="3683654" y="1098549"/>
                  <a:pt x="3689354" y="1098549"/>
                  <a:pt x="4502870" y="1098549"/>
                </a:cubicBezTo>
                <a:cubicBezTo>
                  <a:pt x="4633477" y="1098549"/>
                  <a:pt x="4740335" y="1205183"/>
                  <a:pt x="4740335" y="1335514"/>
                </a:cubicBezTo>
                <a:cubicBezTo>
                  <a:pt x="4740335" y="1335569"/>
                  <a:pt x="4740335" y="1343335"/>
                  <a:pt x="4740335" y="2449249"/>
                </a:cubicBezTo>
                <a:cubicBezTo>
                  <a:pt x="4740335" y="2579580"/>
                  <a:pt x="4633477" y="2686214"/>
                  <a:pt x="4502870" y="2686214"/>
                </a:cubicBezTo>
                <a:cubicBezTo>
                  <a:pt x="4502870" y="2686253"/>
                  <a:pt x="4502870" y="2691777"/>
                  <a:pt x="4502870" y="3480046"/>
                </a:cubicBezTo>
                <a:cubicBezTo>
                  <a:pt x="4502870" y="3610377"/>
                  <a:pt x="4396011" y="3717011"/>
                  <a:pt x="4265405" y="3717011"/>
                </a:cubicBezTo>
                <a:cubicBezTo>
                  <a:pt x="4265376" y="3717011"/>
                  <a:pt x="4262133" y="3717011"/>
                  <a:pt x="3909206" y="3717011"/>
                </a:cubicBezTo>
                <a:cubicBezTo>
                  <a:pt x="3790473" y="3717011"/>
                  <a:pt x="3683614" y="3610377"/>
                  <a:pt x="3683614" y="3480046"/>
                </a:cubicBezTo>
                <a:cubicBezTo>
                  <a:pt x="3683614" y="3480010"/>
                  <a:pt x="3683614" y="3474701"/>
                  <a:pt x="3683614" y="2686214"/>
                </a:cubicBezTo>
                <a:cubicBezTo>
                  <a:pt x="3553008" y="2686214"/>
                  <a:pt x="3446148" y="2579580"/>
                  <a:pt x="3446148" y="2449249"/>
                </a:cubicBezTo>
                <a:cubicBezTo>
                  <a:pt x="3446148" y="2449192"/>
                  <a:pt x="3446148" y="2441288"/>
                  <a:pt x="3446148" y="1335514"/>
                </a:cubicBezTo>
                <a:cubicBezTo>
                  <a:pt x="3446148" y="1205183"/>
                  <a:pt x="3553008" y="1098549"/>
                  <a:pt x="3683614" y="1098549"/>
                </a:cubicBezTo>
                <a:close/>
                <a:moveTo>
                  <a:pt x="236546" y="1098549"/>
                </a:moveTo>
                <a:cubicBezTo>
                  <a:pt x="236570" y="1098549"/>
                  <a:pt x="240947" y="1098549"/>
                  <a:pt x="1052628" y="1098549"/>
                </a:cubicBezTo>
                <a:cubicBezTo>
                  <a:pt x="1182728" y="1098549"/>
                  <a:pt x="1289174" y="1205183"/>
                  <a:pt x="1289174" y="1335514"/>
                </a:cubicBezTo>
                <a:cubicBezTo>
                  <a:pt x="1289174" y="1335532"/>
                  <a:pt x="1289174" y="1340039"/>
                  <a:pt x="1289174" y="2449249"/>
                </a:cubicBezTo>
                <a:cubicBezTo>
                  <a:pt x="1289174" y="2579580"/>
                  <a:pt x="1182728" y="2686214"/>
                  <a:pt x="1052628" y="2686214"/>
                </a:cubicBezTo>
                <a:cubicBezTo>
                  <a:pt x="1052628" y="2686235"/>
                  <a:pt x="1052628" y="2690268"/>
                  <a:pt x="1052628" y="3480046"/>
                </a:cubicBezTo>
                <a:cubicBezTo>
                  <a:pt x="1052628" y="3610377"/>
                  <a:pt x="946183" y="3717011"/>
                  <a:pt x="827910" y="3717011"/>
                </a:cubicBezTo>
                <a:cubicBezTo>
                  <a:pt x="827894" y="3717011"/>
                  <a:pt x="825508" y="3717011"/>
                  <a:pt x="473091" y="3717011"/>
                </a:cubicBezTo>
                <a:cubicBezTo>
                  <a:pt x="342991" y="3717011"/>
                  <a:pt x="236546" y="3610377"/>
                  <a:pt x="236546" y="3480046"/>
                </a:cubicBezTo>
                <a:cubicBezTo>
                  <a:pt x="236546" y="3480026"/>
                  <a:pt x="236546" y="3476021"/>
                  <a:pt x="236546" y="2686214"/>
                </a:cubicBezTo>
                <a:cubicBezTo>
                  <a:pt x="106446" y="2686214"/>
                  <a:pt x="0" y="2579580"/>
                  <a:pt x="0" y="2449249"/>
                </a:cubicBezTo>
                <a:cubicBezTo>
                  <a:pt x="0" y="2449230"/>
                  <a:pt x="0" y="2444630"/>
                  <a:pt x="0" y="1335514"/>
                </a:cubicBezTo>
                <a:cubicBezTo>
                  <a:pt x="0" y="1205183"/>
                  <a:pt x="106446" y="1098549"/>
                  <a:pt x="236546" y="1098549"/>
                </a:cubicBezTo>
                <a:close/>
                <a:moveTo>
                  <a:pt x="1895194" y="993211"/>
                </a:moveTo>
                <a:cubicBezTo>
                  <a:pt x="1895245" y="993211"/>
                  <a:pt x="1902161" y="993211"/>
                  <a:pt x="2845141" y="993211"/>
                </a:cubicBezTo>
                <a:cubicBezTo>
                  <a:pt x="2999507" y="993211"/>
                  <a:pt x="3130125" y="1123457"/>
                  <a:pt x="3130125" y="1277385"/>
                </a:cubicBezTo>
                <a:cubicBezTo>
                  <a:pt x="3130125" y="1277420"/>
                  <a:pt x="3130125" y="1284134"/>
                  <a:pt x="3130125" y="2568008"/>
                </a:cubicBezTo>
                <a:cubicBezTo>
                  <a:pt x="3130125" y="2721936"/>
                  <a:pt x="2999507" y="2852182"/>
                  <a:pt x="2845141" y="2852182"/>
                </a:cubicBezTo>
                <a:cubicBezTo>
                  <a:pt x="2845141" y="2852231"/>
                  <a:pt x="2845141" y="2858826"/>
                  <a:pt x="2845141" y="3763907"/>
                </a:cubicBezTo>
                <a:cubicBezTo>
                  <a:pt x="2845141" y="3917835"/>
                  <a:pt x="2726398" y="4048081"/>
                  <a:pt x="2572031" y="4048081"/>
                </a:cubicBezTo>
                <a:cubicBezTo>
                  <a:pt x="2571992" y="4048081"/>
                  <a:pt x="2568051" y="4048081"/>
                  <a:pt x="2168304" y="4048081"/>
                </a:cubicBezTo>
                <a:cubicBezTo>
                  <a:pt x="2013937" y="4048081"/>
                  <a:pt x="1895194" y="3917835"/>
                  <a:pt x="1895194" y="3763907"/>
                </a:cubicBezTo>
                <a:cubicBezTo>
                  <a:pt x="1895194" y="3763858"/>
                  <a:pt x="1895194" y="3757193"/>
                  <a:pt x="1895194" y="2852182"/>
                </a:cubicBezTo>
                <a:cubicBezTo>
                  <a:pt x="1740828" y="2852182"/>
                  <a:pt x="1610210" y="2721936"/>
                  <a:pt x="1610210" y="2568008"/>
                </a:cubicBezTo>
                <a:cubicBezTo>
                  <a:pt x="1610210" y="2567966"/>
                  <a:pt x="1610210" y="2560581"/>
                  <a:pt x="1610210" y="1277385"/>
                </a:cubicBezTo>
                <a:cubicBezTo>
                  <a:pt x="1610210" y="1123457"/>
                  <a:pt x="1740828" y="993211"/>
                  <a:pt x="1895194" y="993211"/>
                </a:cubicBezTo>
                <a:close/>
                <a:moveTo>
                  <a:pt x="4093246" y="245790"/>
                </a:moveTo>
                <a:cubicBezTo>
                  <a:pt x="4306565" y="245790"/>
                  <a:pt x="4479495" y="420965"/>
                  <a:pt x="4479495" y="637055"/>
                </a:cubicBezTo>
                <a:cubicBezTo>
                  <a:pt x="4479495" y="853145"/>
                  <a:pt x="4306565" y="1028320"/>
                  <a:pt x="4093246" y="1028320"/>
                </a:cubicBezTo>
                <a:cubicBezTo>
                  <a:pt x="3879927" y="1028320"/>
                  <a:pt x="3706997" y="853145"/>
                  <a:pt x="3706997" y="637055"/>
                </a:cubicBezTo>
                <a:cubicBezTo>
                  <a:pt x="3706997" y="420965"/>
                  <a:pt x="3879927" y="245790"/>
                  <a:pt x="4093246" y="245790"/>
                </a:cubicBezTo>
                <a:close/>
                <a:moveTo>
                  <a:pt x="644584" y="245790"/>
                </a:moveTo>
                <a:cubicBezTo>
                  <a:pt x="856519" y="245790"/>
                  <a:pt x="1028326" y="420965"/>
                  <a:pt x="1028326" y="637055"/>
                </a:cubicBezTo>
                <a:cubicBezTo>
                  <a:pt x="1028326" y="853145"/>
                  <a:pt x="856519" y="1028320"/>
                  <a:pt x="644584" y="1028320"/>
                </a:cubicBezTo>
                <a:cubicBezTo>
                  <a:pt x="432649" y="1028320"/>
                  <a:pt x="260842" y="853145"/>
                  <a:pt x="260842" y="637055"/>
                </a:cubicBezTo>
                <a:cubicBezTo>
                  <a:pt x="260842" y="420965"/>
                  <a:pt x="432649" y="245790"/>
                  <a:pt x="644584" y="245790"/>
                </a:cubicBezTo>
                <a:close/>
                <a:moveTo>
                  <a:pt x="2367657" y="0"/>
                </a:moveTo>
                <a:cubicBezTo>
                  <a:pt x="2616992" y="0"/>
                  <a:pt x="2819118" y="203249"/>
                  <a:pt x="2819118" y="453969"/>
                </a:cubicBezTo>
                <a:cubicBezTo>
                  <a:pt x="2819118" y="704689"/>
                  <a:pt x="2616992" y="907938"/>
                  <a:pt x="2367657" y="907938"/>
                </a:cubicBezTo>
                <a:cubicBezTo>
                  <a:pt x="2118322" y="907938"/>
                  <a:pt x="1916196" y="704689"/>
                  <a:pt x="1916196" y="453969"/>
                </a:cubicBezTo>
                <a:cubicBezTo>
                  <a:pt x="1916196" y="203249"/>
                  <a:pt x="2118322" y="0"/>
                  <a:pt x="2367657"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37148" tIns="109719" rIns="137148" bIns="109719"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699261" fontAlgn="base">
              <a:lnSpc>
                <a:spcPct val="90000"/>
              </a:lnSpc>
              <a:spcBef>
                <a:spcPct val="0"/>
              </a:spcBef>
              <a:spcAft>
                <a:spcPct val="0"/>
              </a:spcAft>
            </a:pPr>
            <a:endParaRPr lang="en-US">
              <a:gradFill>
                <a:gsLst>
                  <a:gs pos="0">
                    <a:srgbClr val="FFFFFF"/>
                  </a:gs>
                  <a:gs pos="100000">
                    <a:srgbClr val="FFFFFF"/>
                  </a:gs>
                </a:gsLst>
                <a:lin ang="5400000" scaled="0"/>
              </a:gradFill>
              <a:ea typeface="Segoe UI" pitchFamily="34" charset="0"/>
              <a:cs typeface="Segoe UI" pitchFamily="34" charset="0"/>
            </a:endParaRPr>
          </a:p>
        </p:txBody>
      </p:sp>
      <p:sp>
        <p:nvSpPr>
          <p:cNvPr id="73" name="Rectangle 72"/>
          <p:cNvSpPr/>
          <p:nvPr/>
        </p:nvSpPr>
        <p:spPr bwMode="auto">
          <a:xfrm>
            <a:off x="-1464" y="2637201"/>
            <a:ext cx="2816907" cy="4220799"/>
          </a:xfrm>
          <a:prstGeom prst="rect">
            <a:avLst/>
          </a:prstGeom>
          <a:solidFill>
            <a:schemeClr val="tx1">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74" name="Rectangle 73"/>
          <p:cNvSpPr/>
          <p:nvPr/>
        </p:nvSpPr>
        <p:spPr bwMode="auto">
          <a:xfrm>
            <a:off x="0" y="657643"/>
            <a:ext cx="2787733" cy="874445"/>
          </a:xfrm>
          <a:prstGeom prst="rect">
            <a:avLst/>
          </a:prstGeom>
          <a:solidFill>
            <a:schemeClr val="tx1">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31" name="Rectangle 130"/>
          <p:cNvSpPr/>
          <p:nvPr/>
        </p:nvSpPr>
        <p:spPr>
          <a:xfrm>
            <a:off x="2823811" y="1175261"/>
            <a:ext cx="5135013" cy="4308872"/>
          </a:xfrm>
          <a:prstGeom prst="rect">
            <a:avLst/>
          </a:prstGeom>
        </p:spPr>
        <p:txBody>
          <a:bodyPr wrap="square">
            <a:spAutoFit/>
          </a:bodyPr>
          <a:lstStyle/>
          <a:p>
            <a:pPr marL="342900" marR="0" lvl="0" indent="-342900">
              <a:spcBef>
                <a:spcPts val="600"/>
              </a:spcBef>
              <a:spcAft>
                <a:spcPts val="600"/>
              </a:spcAft>
              <a:buFont typeface="Symbol" panose="05050102010706020507" pitchFamily="18" charset="2"/>
              <a:buChar char=""/>
            </a:pPr>
            <a:r>
              <a:rPr lang="en-US" sz="2000">
                <a:latin typeface="+mj-lt"/>
                <a:ea typeface="Calibri" panose="020F0502020204030204" pitchFamily="34" charset="0"/>
                <a:cs typeface="Times New Roman" panose="02020603050405020304" pitchFamily="18" charset="0"/>
              </a:rPr>
              <a:t>IT can work with the business analysts to create content packs for an organization</a:t>
            </a:r>
          </a:p>
          <a:p>
            <a:pPr marL="342900" marR="0" lvl="0" indent="-342900">
              <a:spcBef>
                <a:spcPts val="600"/>
              </a:spcBef>
              <a:spcAft>
                <a:spcPts val="600"/>
              </a:spcAft>
              <a:buFont typeface="Symbol" panose="05050102010706020507" pitchFamily="18" charset="2"/>
              <a:buChar char=""/>
            </a:pPr>
            <a:r>
              <a:rPr lang="en-US" sz="2000">
                <a:latin typeface="+mj-lt"/>
                <a:ea typeface="Calibri" panose="020F0502020204030204" pitchFamily="34" charset="0"/>
                <a:cs typeface="Times New Roman" panose="02020603050405020304" pitchFamily="18" charset="0"/>
              </a:rPr>
              <a:t>Content packs include</a:t>
            </a:r>
          </a:p>
          <a:p>
            <a:pPr marL="800100" lvl="1" indent="-342900">
              <a:buFont typeface="Courier New" panose="02070309020205020404" pitchFamily="49" charset="0"/>
              <a:buChar char="o"/>
            </a:pPr>
            <a:r>
              <a:rPr lang="en-US">
                <a:latin typeface="+mj-lt"/>
                <a:ea typeface="Calibri" panose="020F0502020204030204" pitchFamily="34" charset="0"/>
                <a:cs typeface="Times New Roman" panose="02020603050405020304" pitchFamily="18" charset="0"/>
              </a:rPr>
              <a:t>pre-built dashboards</a:t>
            </a:r>
          </a:p>
          <a:p>
            <a:pPr marL="800100" lvl="1" indent="-342900">
              <a:buFont typeface="Courier New" panose="02070309020205020404" pitchFamily="49" charset="0"/>
              <a:buChar char="o"/>
            </a:pPr>
            <a:r>
              <a:rPr lang="en-US">
                <a:latin typeface="+mj-lt"/>
                <a:ea typeface="Calibri" panose="020F0502020204030204" pitchFamily="34" charset="0"/>
                <a:cs typeface="Times New Roman" panose="02020603050405020304" pitchFamily="18" charset="0"/>
              </a:rPr>
              <a:t>reports</a:t>
            </a:r>
          </a:p>
          <a:p>
            <a:pPr marL="800100" lvl="1" indent="-342900">
              <a:buFont typeface="Courier New" panose="02070309020205020404" pitchFamily="49" charset="0"/>
              <a:buChar char="o"/>
            </a:pPr>
            <a:r>
              <a:rPr lang="en-US">
                <a:latin typeface="+mj-lt"/>
                <a:ea typeface="Calibri" panose="020F0502020204030204" pitchFamily="34" charset="0"/>
                <a:cs typeface="Times New Roman" panose="02020603050405020304" pitchFamily="18" charset="0"/>
              </a:rPr>
              <a:t>pre-defined data models</a:t>
            </a:r>
          </a:p>
          <a:p>
            <a:pPr marL="342900" marR="0" lvl="0" indent="-342900">
              <a:spcBef>
                <a:spcPts val="600"/>
              </a:spcBef>
              <a:spcAft>
                <a:spcPts val="600"/>
              </a:spcAft>
              <a:buFont typeface="Symbol" panose="05050102010706020507" pitchFamily="18" charset="2"/>
              <a:buChar char=""/>
            </a:pPr>
            <a:r>
              <a:rPr lang="en-US" sz="2000">
                <a:latin typeface="+mj-lt"/>
                <a:ea typeface="Calibri" panose="020F0502020204030204" pitchFamily="34" charset="0"/>
                <a:cs typeface="Times New Roman" panose="02020603050405020304" pitchFamily="18" charset="0"/>
              </a:rPr>
              <a:t>IT can focus on providing authoritative datasets to analysts and end users, instead of developing reports</a:t>
            </a:r>
          </a:p>
          <a:p>
            <a:pPr marL="342900" indent="-342900">
              <a:spcBef>
                <a:spcPts val="600"/>
              </a:spcBef>
              <a:spcAft>
                <a:spcPts val="600"/>
              </a:spcAft>
              <a:buFont typeface="Symbol" panose="05050102010706020507" pitchFamily="18" charset="2"/>
              <a:buChar char=""/>
            </a:pPr>
            <a:r>
              <a:rPr lang="en-US" sz="2000">
                <a:latin typeface="+mj-lt"/>
                <a:ea typeface="Calibri" panose="020F0502020204030204" pitchFamily="34" charset="0"/>
                <a:cs typeface="Times New Roman" panose="02020603050405020304" pitchFamily="18" charset="0"/>
              </a:rPr>
              <a:t>Sample content packs for industry related scenarios are provided</a:t>
            </a:r>
          </a:p>
          <a:p>
            <a:pPr marL="342900" marR="0" lvl="0" indent="-342900">
              <a:spcBef>
                <a:spcPts val="600"/>
              </a:spcBef>
              <a:spcAft>
                <a:spcPts val="600"/>
              </a:spcAft>
              <a:buFont typeface="Symbol" panose="05050102010706020507" pitchFamily="18" charset="2"/>
              <a:buChar char=""/>
            </a:pPr>
            <a:endParaRPr lang="en-US" sz="2000">
              <a:latin typeface="+mj-lt"/>
              <a:ea typeface="Calibri" panose="020F0502020204030204" pitchFamily="34" charset="0"/>
              <a:cs typeface="Times New Roman" panose="02020603050405020304" pitchFamily="18" charset="0"/>
            </a:endParaRPr>
          </a:p>
        </p:txBody>
      </p:sp>
      <p:sp>
        <p:nvSpPr>
          <p:cNvPr id="11" name="TextBox 10"/>
          <p:cNvSpPr txBox="1"/>
          <p:nvPr/>
        </p:nvSpPr>
        <p:spPr>
          <a:xfrm>
            <a:off x="8746447" y="2551165"/>
            <a:ext cx="818550" cy="572464"/>
          </a:xfrm>
          <a:prstGeom prst="rect">
            <a:avLst/>
          </a:prstGeom>
          <a:noFill/>
        </p:spPr>
        <p:txBody>
          <a:bodyPr wrap="square" lIns="182880" tIns="146304" rIns="182880" bIns="146304" rtlCol="0">
            <a:spAutoFit/>
          </a:bodyPr>
          <a:lstStyle/>
          <a:p>
            <a:pPr algn="ctr">
              <a:lnSpc>
                <a:spcPct val="90000"/>
              </a:lnSpc>
              <a:spcAft>
                <a:spcPts val="600"/>
              </a:spcAft>
            </a:pPr>
            <a:r>
              <a:rPr lang="en-US" sz="1000">
                <a:solidFill>
                  <a:schemeClr val="bg1"/>
                </a:solidFill>
              </a:rPr>
              <a:t>Global Sales</a:t>
            </a:r>
          </a:p>
        </p:txBody>
      </p:sp>
      <p:pic>
        <p:nvPicPr>
          <p:cNvPr id="66" name="Picture 65"/>
          <p:cNvPicPr>
            <a:picLocks noChangeAspect="1"/>
          </p:cNvPicPr>
          <p:nvPr/>
        </p:nvPicPr>
        <p:blipFill>
          <a:blip r:embed="rId5"/>
          <a:stretch>
            <a:fillRect/>
          </a:stretch>
        </p:blipFill>
        <p:spPr>
          <a:xfrm>
            <a:off x="8209109" y="1221765"/>
            <a:ext cx="3433191" cy="4256128"/>
          </a:xfrm>
          <a:prstGeom prst="rect">
            <a:avLst/>
          </a:prstGeom>
          <a:ln>
            <a:solidFill>
              <a:schemeClr val="bg2"/>
            </a:solidFill>
          </a:ln>
          <a:effectLst/>
        </p:spPr>
      </p:pic>
    </p:spTree>
    <p:extLst>
      <p:ext uri="{BB962C8B-B14F-4D97-AF65-F5344CB8AC3E}">
        <p14:creationId xmlns:p14="http://schemas.microsoft.com/office/powerpoint/2010/main" val="22798329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solidFill>
            <a:schemeClr val="bg1"/>
          </a:solidFill>
        </p:spPr>
        <p:txBody>
          <a:bodyPr/>
          <a:lstStyle/>
          <a:p>
            <a:r>
              <a:rPr lang="en-US" sz="3600">
                <a:solidFill>
                  <a:schemeClr val="tx1"/>
                </a:solidFill>
              </a:rPr>
              <a:t>Drill to Records</a:t>
            </a:r>
          </a:p>
        </p:txBody>
      </p:sp>
      <p:grpSp>
        <p:nvGrpSpPr>
          <p:cNvPr id="52" name="Group 51"/>
          <p:cNvGrpSpPr/>
          <p:nvPr/>
        </p:nvGrpSpPr>
        <p:grpSpPr>
          <a:xfrm>
            <a:off x="2" y="1"/>
            <a:ext cx="2849058" cy="6858000"/>
            <a:chOff x="2" y="1"/>
            <a:chExt cx="2849058" cy="6858000"/>
          </a:xfrm>
        </p:grpSpPr>
        <p:sp>
          <p:nvSpPr>
            <p:cNvPr id="71" name="Rectangle 70"/>
            <p:cNvSpPr/>
            <p:nvPr/>
          </p:nvSpPr>
          <p:spPr bwMode="auto">
            <a:xfrm>
              <a:off x="2" y="1"/>
              <a:ext cx="2849058"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3" name="Oval 70"/>
            <p:cNvSpPr/>
            <p:nvPr/>
          </p:nvSpPr>
          <p:spPr>
            <a:xfrm>
              <a:off x="1413521" y="4951537"/>
              <a:ext cx="1119626" cy="1119626"/>
            </a:xfrm>
            <a:prstGeom prst="ellipse">
              <a:avLst/>
            </a:prstGeom>
            <a:solidFill>
              <a:srgbClr val="F2C812"/>
            </a:solidFill>
            <a:ln w="3175" cap="flat" cmpd="sng" algn="ctr">
              <a:noFill/>
              <a:prstDash val="solid"/>
            </a:ln>
            <a:effectLst/>
          </p:spPr>
          <p:txBody>
            <a:bodyPr vert="horz" wrap="none" lIns="0" tIns="45720" rIns="0" bIns="0" rtlCol="0" anchor="t"/>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Segoe UI"/>
                  <a:ea typeface="Segoe UI" pitchFamily="34" charset="0"/>
                  <a:cs typeface="Segoe UI" pitchFamily="34" charset="0"/>
                </a:rPr>
                <a:t>Share &amp;</a:t>
              </a:r>
            </a:p>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Segoe UI"/>
                  <a:ea typeface="Segoe UI" pitchFamily="34" charset="0"/>
                  <a:cs typeface="Segoe UI" pitchFamily="34" charset="0"/>
                </a:rPr>
                <a:t>collaborate </a:t>
              </a:r>
            </a:p>
          </p:txBody>
        </p:sp>
        <p:grpSp>
          <p:nvGrpSpPr>
            <p:cNvPr id="76" name="Group 38"/>
            <p:cNvGrpSpPr>
              <a:grpSpLocks noChangeAspect="1"/>
            </p:cNvGrpSpPr>
            <p:nvPr/>
          </p:nvGrpSpPr>
          <p:grpSpPr>
            <a:xfrm>
              <a:off x="676996" y="3930692"/>
              <a:ext cx="383905" cy="351536"/>
              <a:chOff x="4363684" y="5330386"/>
              <a:chExt cx="1409956" cy="1291077"/>
            </a:xfrm>
            <a:solidFill>
              <a:srgbClr val="217346"/>
            </a:solidFill>
          </p:grpSpPr>
          <p:sp>
            <p:nvSpPr>
              <p:cNvPr id="102" name="Donut 3"/>
              <p:cNvSpPr/>
              <p:nvPr/>
            </p:nvSpPr>
            <p:spPr bwMode="auto">
              <a:xfrm>
                <a:off x="4363684" y="5330386"/>
                <a:ext cx="1409956" cy="1291077"/>
              </a:xfrm>
              <a:custGeom>
                <a:avLst/>
                <a:gdLst/>
                <a:ahLst/>
                <a:cxnLst/>
                <a:rect l="l" t="t" r="r" b="b"/>
                <a:pathLst>
                  <a:path w="1409956" h="1291077">
                    <a:moveTo>
                      <a:pt x="956401" y="78410"/>
                    </a:moveTo>
                    <a:cubicBezTo>
                      <a:pt x="747518" y="78410"/>
                      <a:pt x="578184" y="247744"/>
                      <a:pt x="578184" y="456627"/>
                    </a:cubicBezTo>
                    <a:cubicBezTo>
                      <a:pt x="578184" y="665510"/>
                      <a:pt x="747518" y="834844"/>
                      <a:pt x="956401" y="834844"/>
                    </a:cubicBezTo>
                    <a:cubicBezTo>
                      <a:pt x="1165284" y="834844"/>
                      <a:pt x="1334618" y="665510"/>
                      <a:pt x="1334618" y="456627"/>
                    </a:cubicBezTo>
                    <a:cubicBezTo>
                      <a:pt x="1334618" y="247744"/>
                      <a:pt x="1165284" y="78410"/>
                      <a:pt x="956401" y="78410"/>
                    </a:cubicBezTo>
                    <a:close/>
                    <a:moveTo>
                      <a:pt x="952756" y="0"/>
                    </a:moveTo>
                    <a:cubicBezTo>
                      <a:pt x="1205261" y="0"/>
                      <a:pt x="1409956" y="204695"/>
                      <a:pt x="1409956" y="457200"/>
                    </a:cubicBezTo>
                    <a:cubicBezTo>
                      <a:pt x="1409956" y="709705"/>
                      <a:pt x="1205261" y="914400"/>
                      <a:pt x="952756" y="914400"/>
                    </a:cubicBezTo>
                    <a:cubicBezTo>
                      <a:pt x="862133" y="914400"/>
                      <a:pt x="777669" y="888034"/>
                      <a:pt x="707132" y="841746"/>
                    </a:cubicBezTo>
                    <a:lnTo>
                      <a:pt x="136495" y="1280102"/>
                    </a:lnTo>
                    <a:cubicBezTo>
                      <a:pt x="21896" y="1327168"/>
                      <a:pt x="-44029" y="1213730"/>
                      <a:pt x="33797" y="1113182"/>
                    </a:cubicBezTo>
                    <a:lnTo>
                      <a:pt x="568587" y="703518"/>
                    </a:lnTo>
                    <a:cubicBezTo>
                      <a:pt x="522087" y="632814"/>
                      <a:pt x="495556" y="548105"/>
                      <a:pt x="495556" y="457200"/>
                    </a:cubicBezTo>
                    <a:cubicBezTo>
                      <a:pt x="495556" y="204695"/>
                      <a:pt x="700251" y="0"/>
                      <a:pt x="952756" y="0"/>
                    </a:cubicBezTo>
                    <a:close/>
                  </a:path>
                </a:pathLst>
              </a:custGeom>
              <a:grpFill/>
              <a:ln>
                <a:solidFill>
                  <a:srgbClr val="21734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sp>
            <p:nvSpPr>
              <p:cNvPr id="103" name="Rectangle 4"/>
              <p:cNvSpPr/>
              <p:nvPr/>
            </p:nvSpPr>
            <p:spPr>
              <a:xfrm>
                <a:off x="5058389" y="5528247"/>
                <a:ext cx="490885" cy="490020"/>
              </a:xfrm>
              <a:custGeom>
                <a:avLst/>
                <a:gdLst/>
                <a:ahLst/>
                <a:cxnLst/>
                <a:rect l="l" t="t" r="r" b="b"/>
                <a:pathLst>
                  <a:path w="490885" h="490020">
                    <a:moveTo>
                      <a:pt x="240752" y="0"/>
                    </a:moveTo>
                    <a:cubicBezTo>
                      <a:pt x="253961" y="11844"/>
                      <a:pt x="293310" y="49692"/>
                      <a:pt x="337332" y="92439"/>
                    </a:cubicBezTo>
                    <a:lnTo>
                      <a:pt x="328342" y="81259"/>
                    </a:lnTo>
                    <a:cubicBezTo>
                      <a:pt x="356946" y="111282"/>
                      <a:pt x="377251" y="107167"/>
                      <a:pt x="382515" y="87941"/>
                    </a:cubicBezTo>
                    <a:cubicBezTo>
                      <a:pt x="383951" y="76921"/>
                      <a:pt x="384595" y="68732"/>
                      <a:pt x="396997" y="52239"/>
                    </a:cubicBezTo>
                    <a:cubicBezTo>
                      <a:pt x="420362" y="32084"/>
                      <a:pt x="442294" y="41736"/>
                      <a:pt x="454920" y="51330"/>
                    </a:cubicBezTo>
                    <a:cubicBezTo>
                      <a:pt x="467834" y="62761"/>
                      <a:pt x="477920" y="86882"/>
                      <a:pt x="460392" y="109714"/>
                    </a:cubicBezTo>
                    <a:cubicBezTo>
                      <a:pt x="451128" y="121912"/>
                      <a:pt x="437554" y="126838"/>
                      <a:pt x="425922" y="126505"/>
                    </a:cubicBezTo>
                    <a:cubicBezTo>
                      <a:pt x="424301" y="127609"/>
                      <a:pt x="382890" y="134974"/>
                      <a:pt x="427348" y="177672"/>
                    </a:cubicBezTo>
                    <a:lnTo>
                      <a:pt x="416886" y="169735"/>
                    </a:lnTo>
                    <a:cubicBezTo>
                      <a:pt x="450207" y="202177"/>
                      <a:pt x="478424" y="229744"/>
                      <a:pt x="490885" y="241900"/>
                    </a:cubicBezTo>
                    <a:lnTo>
                      <a:pt x="417150" y="317347"/>
                    </a:lnTo>
                    <a:cubicBezTo>
                      <a:pt x="417744" y="316535"/>
                      <a:pt x="418443" y="316123"/>
                      <a:pt x="419047" y="315822"/>
                    </a:cubicBezTo>
                    <a:cubicBezTo>
                      <a:pt x="389023" y="344426"/>
                      <a:pt x="393138" y="364731"/>
                      <a:pt x="412364" y="369995"/>
                    </a:cubicBezTo>
                    <a:cubicBezTo>
                      <a:pt x="423384" y="371431"/>
                      <a:pt x="431574" y="372075"/>
                      <a:pt x="448067" y="384477"/>
                    </a:cubicBezTo>
                    <a:cubicBezTo>
                      <a:pt x="468221" y="407842"/>
                      <a:pt x="458569" y="429774"/>
                      <a:pt x="448975" y="442400"/>
                    </a:cubicBezTo>
                    <a:cubicBezTo>
                      <a:pt x="437545" y="455314"/>
                      <a:pt x="413423" y="465400"/>
                      <a:pt x="390591" y="447872"/>
                    </a:cubicBezTo>
                    <a:cubicBezTo>
                      <a:pt x="378394" y="438608"/>
                      <a:pt x="373468" y="425034"/>
                      <a:pt x="373800" y="413402"/>
                    </a:cubicBezTo>
                    <a:cubicBezTo>
                      <a:pt x="372696" y="411781"/>
                      <a:pt x="365332" y="370370"/>
                      <a:pt x="322634" y="414828"/>
                    </a:cubicBezTo>
                    <a:lnTo>
                      <a:pt x="325243" y="411388"/>
                    </a:lnTo>
                    <a:lnTo>
                      <a:pt x="248395" y="490020"/>
                    </a:lnTo>
                    <a:cubicBezTo>
                      <a:pt x="208939" y="451897"/>
                      <a:pt x="199129" y="442073"/>
                      <a:pt x="174192" y="418236"/>
                    </a:cubicBezTo>
                    <a:cubicBezTo>
                      <a:pt x="145587" y="388212"/>
                      <a:pt x="125282" y="392327"/>
                      <a:pt x="120018" y="411553"/>
                    </a:cubicBezTo>
                    <a:cubicBezTo>
                      <a:pt x="118582" y="422573"/>
                      <a:pt x="117938" y="430763"/>
                      <a:pt x="105536" y="447256"/>
                    </a:cubicBezTo>
                    <a:cubicBezTo>
                      <a:pt x="82171" y="467410"/>
                      <a:pt x="60239" y="457758"/>
                      <a:pt x="47614" y="448164"/>
                    </a:cubicBezTo>
                    <a:cubicBezTo>
                      <a:pt x="34699" y="436734"/>
                      <a:pt x="24614" y="412612"/>
                      <a:pt x="42141" y="389780"/>
                    </a:cubicBezTo>
                    <a:cubicBezTo>
                      <a:pt x="51405" y="377583"/>
                      <a:pt x="64979" y="372657"/>
                      <a:pt x="76612" y="372989"/>
                    </a:cubicBezTo>
                    <a:cubicBezTo>
                      <a:pt x="78232" y="371886"/>
                      <a:pt x="119644" y="364521"/>
                      <a:pt x="75186" y="321823"/>
                    </a:cubicBezTo>
                    <a:cubicBezTo>
                      <a:pt x="58767" y="305402"/>
                      <a:pt x="23648" y="271235"/>
                      <a:pt x="0" y="248738"/>
                    </a:cubicBezTo>
                    <a:lnTo>
                      <a:pt x="77303" y="168146"/>
                    </a:lnTo>
                    <a:cubicBezTo>
                      <a:pt x="104269" y="140313"/>
                      <a:pt x="122130" y="156409"/>
                      <a:pt x="124388" y="175543"/>
                    </a:cubicBezTo>
                    <a:cubicBezTo>
                      <a:pt x="124457" y="182466"/>
                      <a:pt x="127106" y="193106"/>
                      <a:pt x="137575" y="203052"/>
                    </a:cubicBezTo>
                    <a:cubicBezTo>
                      <a:pt x="153931" y="220277"/>
                      <a:pt x="181252" y="217451"/>
                      <a:pt x="196721" y="201951"/>
                    </a:cubicBezTo>
                    <a:cubicBezTo>
                      <a:pt x="211961" y="185740"/>
                      <a:pt x="213057" y="157882"/>
                      <a:pt x="196146" y="142797"/>
                    </a:cubicBezTo>
                    <a:cubicBezTo>
                      <a:pt x="184301" y="132637"/>
                      <a:pt x="177155" y="131453"/>
                      <a:pt x="166513" y="129894"/>
                    </a:cubicBezTo>
                    <a:cubicBezTo>
                      <a:pt x="154522" y="129013"/>
                      <a:pt x="131185" y="112953"/>
                      <a:pt x="157905" y="85228"/>
                    </a:cubicBezTo>
                    <a:close/>
                  </a:path>
                </a:pathLst>
              </a:custGeom>
              <a:grpFill/>
              <a:ln>
                <a:solidFill>
                  <a:srgbClr val="21734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grpSp>
        <p:sp>
          <p:nvSpPr>
            <p:cNvPr id="77" name="Oval 47"/>
            <p:cNvSpPr/>
            <p:nvPr/>
          </p:nvSpPr>
          <p:spPr>
            <a:xfrm>
              <a:off x="388608" y="3710471"/>
              <a:ext cx="1119626" cy="1119626"/>
            </a:xfrm>
            <a:prstGeom prst="ellipse">
              <a:avLst/>
            </a:prstGeom>
            <a:solidFill>
              <a:srgbClr val="F2C812"/>
            </a:solidFill>
            <a:ln w="3175" cap="flat" cmpd="sng" algn="ctr">
              <a:noFill/>
              <a:prstDash val="solid"/>
            </a:ln>
            <a:effectLst/>
          </p:spPr>
          <p:txBody>
            <a:bodyPr vert="horz" wrap="none" lIns="0" tIns="45720" rIns="0" bIns="0" rtlCol="0" anchor="t"/>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Segoe UI"/>
                  <a:ea typeface="Segoe UI" pitchFamily="34" charset="0"/>
                  <a:cs typeface="Segoe UI" pitchFamily="34" charset="0"/>
                </a:rPr>
                <a:t>Report</a:t>
              </a:r>
            </a:p>
          </p:txBody>
        </p:sp>
        <p:sp>
          <p:nvSpPr>
            <p:cNvPr id="78" name="Oval 950"/>
            <p:cNvSpPr/>
            <p:nvPr/>
          </p:nvSpPr>
          <p:spPr>
            <a:xfrm>
              <a:off x="388608" y="1252295"/>
              <a:ext cx="1119626" cy="1119626"/>
            </a:xfrm>
            <a:prstGeom prst="ellipse">
              <a:avLst/>
            </a:prstGeom>
            <a:solidFill>
              <a:srgbClr val="F2C812"/>
            </a:solidFill>
            <a:ln w="3175" cap="flat" cmpd="sng" algn="ctr">
              <a:noFill/>
              <a:prstDash val="solid"/>
            </a:ln>
            <a:effectLst/>
          </p:spPr>
          <p:txBody>
            <a:bodyPr vert="horz" wrap="none" lIns="0" tIns="45720" rIns="0" bIns="0" rtlCol="0" anchor="t"/>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1" i="0" u="none" strike="noStrike" kern="1200" cap="none" spc="0" normalizeH="0" baseline="0" noProof="0">
                <a:ln>
                  <a:noFill/>
                </a:ln>
                <a:solidFill>
                  <a:srgbClr val="217346"/>
                </a:solidFill>
                <a:effectLst/>
                <a:uLnTx/>
                <a:uFillTx/>
                <a:latin typeface="Segoe UI"/>
                <a:ea typeface="Segoe UI" pitchFamily="34" charset="0"/>
                <a:cs typeface="Segoe UI" pitchFamily="34" charset="0"/>
              </a:endParaRPr>
            </a:p>
          </p:txBody>
        </p:sp>
        <p:grpSp>
          <p:nvGrpSpPr>
            <p:cNvPr id="79" name="Group 78"/>
            <p:cNvGrpSpPr/>
            <p:nvPr/>
          </p:nvGrpSpPr>
          <p:grpSpPr>
            <a:xfrm>
              <a:off x="1264851" y="3482890"/>
              <a:ext cx="292254" cy="354906"/>
              <a:chOff x="1296521" y="3253388"/>
              <a:chExt cx="292254" cy="354906"/>
            </a:xfrm>
            <a:solidFill>
              <a:srgbClr val="F2C812"/>
            </a:solidFill>
          </p:grpSpPr>
          <p:sp>
            <p:nvSpPr>
              <p:cNvPr id="99" name="Isosceles Triangle 98"/>
              <p:cNvSpPr/>
              <p:nvPr/>
            </p:nvSpPr>
            <p:spPr bwMode="auto">
              <a:xfrm rot="13636515">
                <a:off x="1461362" y="328936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0" name="Isosceles Triangle 99"/>
              <p:cNvSpPr/>
              <p:nvPr/>
            </p:nvSpPr>
            <p:spPr bwMode="auto">
              <a:xfrm rot="13636515">
                <a:off x="1357669" y="338258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1" name="Isosceles Triangle 100"/>
              <p:cNvSpPr/>
              <p:nvPr/>
            </p:nvSpPr>
            <p:spPr bwMode="auto">
              <a:xfrm rot="13636515">
                <a:off x="1260548" y="3480882"/>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80" name="Group 79"/>
            <p:cNvGrpSpPr/>
            <p:nvPr/>
          </p:nvGrpSpPr>
          <p:grpSpPr>
            <a:xfrm rot="15940603">
              <a:off x="1334576" y="2204404"/>
              <a:ext cx="292254" cy="354906"/>
              <a:chOff x="1296521" y="3253388"/>
              <a:chExt cx="292254" cy="354906"/>
            </a:xfrm>
            <a:solidFill>
              <a:srgbClr val="F2C812"/>
            </a:solidFill>
          </p:grpSpPr>
          <p:sp>
            <p:nvSpPr>
              <p:cNvPr id="96" name="Isosceles Triangle 95"/>
              <p:cNvSpPr/>
              <p:nvPr/>
            </p:nvSpPr>
            <p:spPr bwMode="auto">
              <a:xfrm rot="13636515">
                <a:off x="1461362" y="328936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7" name="Isosceles Triangle 96"/>
              <p:cNvSpPr/>
              <p:nvPr/>
            </p:nvSpPr>
            <p:spPr bwMode="auto">
              <a:xfrm rot="13636515">
                <a:off x="1357669" y="338258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8" name="Isosceles Triangle 97"/>
              <p:cNvSpPr/>
              <p:nvPr/>
            </p:nvSpPr>
            <p:spPr bwMode="auto">
              <a:xfrm rot="13636515">
                <a:off x="1260548" y="3480882"/>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81" name="Group 80"/>
            <p:cNvGrpSpPr/>
            <p:nvPr/>
          </p:nvGrpSpPr>
          <p:grpSpPr>
            <a:xfrm rot="16043978">
              <a:off x="1317220" y="4717577"/>
              <a:ext cx="292254" cy="354906"/>
              <a:chOff x="1296521" y="3253388"/>
              <a:chExt cx="292254" cy="354906"/>
            </a:xfrm>
            <a:solidFill>
              <a:srgbClr val="F2C812"/>
            </a:solidFill>
          </p:grpSpPr>
          <p:sp>
            <p:nvSpPr>
              <p:cNvPr id="93" name="Isosceles Triangle 92"/>
              <p:cNvSpPr/>
              <p:nvPr/>
            </p:nvSpPr>
            <p:spPr bwMode="auto">
              <a:xfrm rot="13636515">
                <a:off x="1461362" y="328936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4" name="Isosceles Triangle 93"/>
              <p:cNvSpPr/>
              <p:nvPr/>
            </p:nvSpPr>
            <p:spPr bwMode="auto">
              <a:xfrm rot="13636515">
                <a:off x="1357669" y="338258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5" name="Isosceles Triangle 94"/>
              <p:cNvSpPr/>
              <p:nvPr/>
            </p:nvSpPr>
            <p:spPr bwMode="auto">
              <a:xfrm rot="13636515">
                <a:off x="1260548" y="3480882"/>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82" name="Oval 36"/>
            <p:cNvSpPr/>
            <p:nvPr/>
          </p:nvSpPr>
          <p:spPr>
            <a:xfrm>
              <a:off x="1413521" y="2481383"/>
              <a:ext cx="1119626" cy="1119626"/>
            </a:xfrm>
            <a:prstGeom prst="ellipse">
              <a:avLst/>
            </a:prstGeom>
            <a:solidFill>
              <a:srgbClr val="F2C812"/>
            </a:solidFill>
            <a:ln w="3175" cap="flat" cmpd="sng" algn="ctr">
              <a:noFill/>
              <a:prstDash val="solid"/>
            </a:ln>
            <a:effectLst/>
          </p:spPr>
          <p:txBody>
            <a:bodyPr vert="horz" wrap="none" lIns="0" tIns="0" rIns="0" bIns="0" rtlCol="0" anchor="t"/>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400" b="1" i="0" u="none" strike="noStrike" kern="1200" cap="none" spc="0" normalizeH="0" baseline="0" noProof="0">
                <a:ln>
                  <a:noFill/>
                </a:ln>
                <a:solidFill>
                  <a:srgbClr val="217346"/>
                </a:solidFill>
                <a:effectLst/>
                <a:uLnTx/>
                <a:uFillTx/>
                <a:latin typeface="Segoe UI"/>
                <a:ea typeface="Segoe UI" pitchFamily="34" charset="0"/>
                <a:cs typeface="Segoe UI" pitchFamily="34" charset="0"/>
              </a:endParaRPr>
            </a:p>
          </p:txBody>
        </p:sp>
        <p:sp>
          <p:nvSpPr>
            <p:cNvPr id="83" name="Donut 3"/>
            <p:cNvSpPr/>
            <p:nvPr/>
          </p:nvSpPr>
          <p:spPr bwMode="auto">
            <a:xfrm>
              <a:off x="1742065" y="3002355"/>
              <a:ext cx="383905" cy="351537"/>
            </a:xfrm>
            <a:custGeom>
              <a:avLst/>
              <a:gdLst/>
              <a:ahLst/>
              <a:cxnLst/>
              <a:rect l="l" t="t" r="r" b="b"/>
              <a:pathLst>
                <a:path w="1409956" h="1291077">
                  <a:moveTo>
                    <a:pt x="956401" y="78410"/>
                  </a:moveTo>
                  <a:cubicBezTo>
                    <a:pt x="747518" y="78410"/>
                    <a:pt x="578184" y="247744"/>
                    <a:pt x="578184" y="456627"/>
                  </a:cubicBezTo>
                  <a:cubicBezTo>
                    <a:pt x="578184" y="665510"/>
                    <a:pt x="747518" y="834844"/>
                    <a:pt x="956401" y="834844"/>
                  </a:cubicBezTo>
                  <a:cubicBezTo>
                    <a:pt x="1165284" y="834844"/>
                    <a:pt x="1334618" y="665510"/>
                    <a:pt x="1334618" y="456627"/>
                  </a:cubicBezTo>
                  <a:cubicBezTo>
                    <a:pt x="1334618" y="247744"/>
                    <a:pt x="1165284" y="78410"/>
                    <a:pt x="956401" y="78410"/>
                  </a:cubicBezTo>
                  <a:close/>
                  <a:moveTo>
                    <a:pt x="952756" y="0"/>
                  </a:moveTo>
                  <a:cubicBezTo>
                    <a:pt x="1205261" y="0"/>
                    <a:pt x="1409956" y="204695"/>
                    <a:pt x="1409956" y="457200"/>
                  </a:cubicBezTo>
                  <a:cubicBezTo>
                    <a:pt x="1409956" y="709705"/>
                    <a:pt x="1205261" y="914400"/>
                    <a:pt x="952756" y="914400"/>
                  </a:cubicBezTo>
                  <a:cubicBezTo>
                    <a:pt x="862133" y="914400"/>
                    <a:pt x="777669" y="888034"/>
                    <a:pt x="707132" y="841746"/>
                  </a:cubicBezTo>
                  <a:lnTo>
                    <a:pt x="136495" y="1280102"/>
                  </a:lnTo>
                  <a:cubicBezTo>
                    <a:pt x="21896" y="1327168"/>
                    <a:pt x="-44029" y="1213730"/>
                    <a:pt x="33797" y="1113182"/>
                  </a:cubicBezTo>
                  <a:lnTo>
                    <a:pt x="568587" y="703518"/>
                  </a:lnTo>
                  <a:cubicBezTo>
                    <a:pt x="522087" y="632814"/>
                    <a:pt x="495556" y="548105"/>
                    <a:pt x="495556" y="457200"/>
                  </a:cubicBezTo>
                  <a:cubicBezTo>
                    <a:pt x="495556" y="204695"/>
                    <a:pt x="700251" y="0"/>
                    <a:pt x="952756" y="0"/>
                  </a:cubicBezTo>
                  <a:close/>
                </a:path>
              </a:pathLst>
            </a:cu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sp>
          <p:nvSpPr>
            <p:cNvPr id="84" name="Rectangle 83"/>
            <p:cNvSpPr/>
            <p:nvPr/>
          </p:nvSpPr>
          <p:spPr>
            <a:xfrm>
              <a:off x="1600398" y="2677430"/>
              <a:ext cx="820353" cy="307777"/>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Segoe UI"/>
                  <a:ea typeface="Segoe UI" pitchFamily="34" charset="0"/>
                  <a:cs typeface="Segoe UI" pitchFamily="34" charset="0"/>
                </a:rPr>
                <a:t>Explore</a:t>
              </a:r>
              <a:endParaRPr kumimoji="0" lang="en-US" sz="1600" b="0" i="0" u="none" strike="noStrike" kern="1200" cap="none" spc="0" normalizeH="0" baseline="0" noProof="0">
                <a:ln>
                  <a:noFill/>
                </a:ln>
                <a:solidFill>
                  <a:srgbClr val="000000"/>
                </a:solidFill>
                <a:effectLst/>
                <a:uLnTx/>
                <a:uFillTx/>
                <a:latin typeface="Segoe UI"/>
                <a:ea typeface="+mn-ea"/>
                <a:cs typeface="+mn-cs"/>
              </a:endParaRPr>
            </a:p>
          </p:txBody>
        </p:sp>
        <p:sp>
          <p:nvSpPr>
            <p:cNvPr id="85" name="Rectangle 84"/>
            <p:cNvSpPr/>
            <p:nvPr/>
          </p:nvSpPr>
          <p:spPr>
            <a:xfrm>
              <a:off x="509174" y="1475232"/>
              <a:ext cx="838756" cy="307777"/>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Segoe UI"/>
                  <a:ea typeface="Segoe UI" pitchFamily="34" charset="0"/>
                  <a:cs typeface="Segoe UI" pitchFamily="34" charset="0"/>
                </a:rPr>
                <a:t>Prepare</a:t>
              </a: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86" name="Freeform 85"/>
            <p:cNvSpPr>
              <a:spLocks noChangeAspect="1"/>
            </p:cNvSpPr>
            <p:nvPr/>
          </p:nvSpPr>
          <p:spPr bwMode="black">
            <a:xfrm>
              <a:off x="1836174" y="5643069"/>
              <a:ext cx="274320" cy="284173"/>
            </a:xfrm>
            <a:custGeom>
              <a:avLst/>
              <a:gdLst>
                <a:gd name="T0" fmla="*/ 539 w 669"/>
                <a:gd name="T1" fmla="*/ 5 h 693"/>
                <a:gd name="T2" fmla="*/ 640 w 669"/>
                <a:gd name="T3" fmla="*/ 55 h 693"/>
                <a:gd name="T4" fmla="*/ 603 w 669"/>
                <a:gd name="T5" fmla="*/ 195 h 693"/>
                <a:gd name="T6" fmla="*/ 490 w 669"/>
                <a:gd name="T7" fmla="*/ 188 h 693"/>
                <a:gd name="T8" fmla="*/ 479 w 669"/>
                <a:gd name="T9" fmla="*/ 176 h 693"/>
                <a:gd name="T10" fmla="*/ 213 w 669"/>
                <a:gd name="T11" fmla="*/ 330 h 693"/>
                <a:gd name="T12" fmla="*/ 218 w 669"/>
                <a:gd name="T13" fmla="*/ 345 h 693"/>
                <a:gd name="T14" fmla="*/ 218 w 669"/>
                <a:gd name="T15" fmla="*/ 375 h 693"/>
                <a:gd name="T16" fmla="*/ 209 w 669"/>
                <a:gd name="T17" fmla="*/ 402 h 693"/>
                <a:gd name="T18" fmla="*/ 369 w 669"/>
                <a:gd name="T19" fmla="*/ 503 h 693"/>
                <a:gd name="T20" fmla="*/ 373 w 669"/>
                <a:gd name="T21" fmla="*/ 498 h 693"/>
                <a:gd name="T22" fmla="*/ 456 w 669"/>
                <a:gd name="T23" fmla="*/ 475 h 693"/>
                <a:gd name="T24" fmla="*/ 494 w 669"/>
                <a:gd name="T25" fmla="*/ 489 h 693"/>
                <a:gd name="T26" fmla="*/ 527 w 669"/>
                <a:gd name="T27" fmla="*/ 630 h 693"/>
                <a:gd name="T28" fmla="*/ 386 w 669"/>
                <a:gd name="T29" fmla="*/ 663 h 693"/>
                <a:gd name="T30" fmla="*/ 339 w 669"/>
                <a:gd name="T31" fmla="*/ 560 h 693"/>
                <a:gd name="T32" fmla="*/ 345 w 669"/>
                <a:gd name="T33" fmla="*/ 544 h 693"/>
                <a:gd name="T34" fmla="*/ 177 w 669"/>
                <a:gd name="T35" fmla="*/ 439 h 693"/>
                <a:gd name="T36" fmla="*/ 168 w 669"/>
                <a:gd name="T37" fmla="*/ 446 h 693"/>
                <a:gd name="T38" fmla="*/ 28 w 669"/>
                <a:gd name="T39" fmla="*/ 409 h 693"/>
                <a:gd name="T40" fmla="*/ 65 w 669"/>
                <a:gd name="T41" fmla="*/ 269 h 693"/>
                <a:gd name="T42" fmla="*/ 178 w 669"/>
                <a:gd name="T43" fmla="*/ 276 h 693"/>
                <a:gd name="T44" fmla="*/ 189 w 669"/>
                <a:gd name="T45" fmla="*/ 288 h 693"/>
                <a:gd name="T46" fmla="*/ 455 w 669"/>
                <a:gd name="T47" fmla="*/ 134 h 693"/>
                <a:gd name="T48" fmla="*/ 450 w 669"/>
                <a:gd name="T49" fmla="*/ 119 h 693"/>
                <a:gd name="T50" fmla="*/ 501 w 669"/>
                <a:gd name="T51" fmla="*/ 18 h 693"/>
                <a:gd name="T52" fmla="*/ 539 w 669"/>
                <a:gd name="T53" fmla="*/ 5 h 6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69" h="693">
                  <a:moveTo>
                    <a:pt x="539" y="5"/>
                  </a:moveTo>
                  <a:cubicBezTo>
                    <a:pt x="579" y="0"/>
                    <a:pt x="619" y="19"/>
                    <a:pt x="640" y="55"/>
                  </a:cubicBezTo>
                  <a:cubicBezTo>
                    <a:pt x="669" y="104"/>
                    <a:pt x="652" y="167"/>
                    <a:pt x="603" y="195"/>
                  </a:cubicBezTo>
                  <a:cubicBezTo>
                    <a:pt x="566" y="216"/>
                    <a:pt x="522" y="212"/>
                    <a:pt x="490" y="188"/>
                  </a:cubicBezTo>
                  <a:cubicBezTo>
                    <a:pt x="479" y="176"/>
                    <a:pt x="479" y="176"/>
                    <a:pt x="479" y="176"/>
                  </a:cubicBezTo>
                  <a:cubicBezTo>
                    <a:pt x="213" y="330"/>
                    <a:pt x="213" y="330"/>
                    <a:pt x="213" y="330"/>
                  </a:cubicBezTo>
                  <a:cubicBezTo>
                    <a:pt x="218" y="345"/>
                    <a:pt x="218" y="345"/>
                    <a:pt x="218" y="345"/>
                  </a:cubicBezTo>
                  <a:cubicBezTo>
                    <a:pt x="219" y="355"/>
                    <a:pt x="219" y="365"/>
                    <a:pt x="218" y="375"/>
                  </a:cubicBezTo>
                  <a:cubicBezTo>
                    <a:pt x="209" y="402"/>
                    <a:pt x="209" y="402"/>
                    <a:pt x="209" y="402"/>
                  </a:cubicBezTo>
                  <a:cubicBezTo>
                    <a:pt x="369" y="503"/>
                    <a:pt x="369" y="503"/>
                    <a:pt x="369" y="503"/>
                  </a:cubicBezTo>
                  <a:cubicBezTo>
                    <a:pt x="373" y="498"/>
                    <a:pt x="373" y="498"/>
                    <a:pt x="373" y="498"/>
                  </a:cubicBezTo>
                  <a:cubicBezTo>
                    <a:pt x="396" y="479"/>
                    <a:pt x="427" y="470"/>
                    <a:pt x="456" y="475"/>
                  </a:cubicBezTo>
                  <a:cubicBezTo>
                    <a:pt x="470" y="477"/>
                    <a:pt x="482" y="482"/>
                    <a:pt x="494" y="489"/>
                  </a:cubicBezTo>
                  <a:cubicBezTo>
                    <a:pt x="542" y="519"/>
                    <a:pt x="557" y="583"/>
                    <a:pt x="527" y="630"/>
                  </a:cubicBezTo>
                  <a:cubicBezTo>
                    <a:pt x="497" y="678"/>
                    <a:pt x="433" y="693"/>
                    <a:pt x="386" y="663"/>
                  </a:cubicBezTo>
                  <a:cubicBezTo>
                    <a:pt x="350" y="640"/>
                    <a:pt x="333" y="599"/>
                    <a:pt x="339" y="560"/>
                  </a:cubicBezTo>
                  <a:cubicBezTo>
                    <a:pt x="345" y="544"/>
                    <a:pt x="345" y="544"/>
                    <a:pt x="345" y="544"/>
                  </a:cubicBezTo>
                  <a:cubicBezTo>
                    <a:pt x="177" y="439"/>
                    <a:pt x="177" y="439"/>
                    <a:pt x="177" y="439"/>
                  </a:cubicBezTo>
                  <a:cubicBezTo>
                    <a:pt x="168" y="446"/>
                    <a:pt x="168" y="446"/>
                    <a:pt x="168" y="446"/>
                  </a:cubicBezTo>
                  <a:cubicBezTo>
                    <a:pt x="119" y="475"/>
                    <a:pt x="56" y="458"/>
                    <a:pt x="28" y="409"/>
                  </a:cubicBezTo>
                  <a:cubicBezTo>
                    <a:pt x="0" y="360"/>
                    <a:pt x="16" y="297"/>
                    <a:pt x="65" y="269"/>
                  </a:cubicBezTo>
                  <a:cubicBezTo>
                    <a:pt x="102" y="248"/>
                    <a:pt x="147" y="252"/>
                    <a:pt x="178" y="276"/>
                  </a:cubicBezTo>
                  <a:cubicBezTo>
                    <a:pt x="189" y="288"/>
                    <a:pt x="189" y="288"/>
                    <a:pt x="189" y="288"/>
                  </a:cubicBezTo>
                  <a:cubicBezTo>
                    <a:pt x="455" y="134"/>
                    <a:pt x="455" y="134"/>
                    <a:pt x="455" y="134"/>
                  </a:cubicBezTo>
                  <a:cubicBezTo>
                    <a:pt x="450" y="119"/>
                    <a:pt x="450" y="119"/>
                    <a:pt x="450" y="119"/>
                  </a:cubicBezTo>
                  <a:cubicBezTo>
                    <a:pt x="445" y="80"/>
                    <a:pt x="464" y="39"/>
                    <a:pt x="501" y="18"/>
                  </a:cubicBezTo>
                  <a:cubicBezTo>
                    <a:pt x="513" y="11"/>
                    <a:pt x="526" y="6"/>
                    <a:pt x="539" y="5"/>
                  </a:cubicBezTo>
                  <a:close/>
                </a:path>
              </a:pathLst>
            </a:custGeom>
            <a:solidFill>
              <a:schemeClr val="tx1"/>
            </a:solidFill>
            <a:ln>
              <a:noFill/>
            </a:ln>
          </p:spPr>
          <p:txBody>
            <a:bodyPr vert="horz" wrap="square" lIns="68574" tIns="34287" rIns="68574" bIns="34287"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0000"/>
                </a:solidFill>
                <a:effectLst/>
                <a:uLnTx/>
                <a:uFillTx/>
                <a:latin typeface="Segoe UI"/>
                <a:ea typeface="+mn-ea"/>
                <a:cs typeface="+mn-cs"/>
              </a:endParaRPr>
            </a:p>
          </p:txBody>
        </p:sp>
        <p:sp>
          <p:nvSpPr>
            <p:cNvPr id="87" name="Freeform 86"/>
            <p:cNvSpPr>
              <a:spLocks noChangeAspect="1" noEditPoints="1"/>
            </p:cNvSpPr>
            <p:nvPr/>
          </p:nvSpPr>
          <p:spPr bwMode="black">
            <a:xfrm>
              <a:off x="722320" y="1783009"/>
              <a:ext cx="452202" cy="366660"/>
            </a:xfrm>
            <a:custGeom>
              <a:avLst/>
              <a:gdLst>
                <a:gd name="T0" fmla="*/ 600 w 1107"/>
                <a:gd name="T1" fmla="*/ 625 h 897"/>
                <a:gd name="T2" fmla="*/ 649 w 1107"/>
                <a:gd name="T3" fmla="*/ 567 h 897"/>
                <a:gd name="T4" fmla="*/ 727 w 1107"/>
                <a:gd name="T5" fmla="*/ 482 h 897"/>
                <a:gd name="T6" fmla="*/ 601 w 1107"/>
                <a:gd name="T7" fmla="*/ 434 h 897"/>
                <a:gd name="T8" fmla="*/ 628 w 1107"/>
                <a:gd name="T9" fmla="*/ 305 h 897"/>
                <a:gd name="T10" fmla="*/ 547 w 1107"/>
                <a:gd name="T11" fmla="*/ 240 h 897"/>
                <a:gd name="T12" fmla="*/ 427 w 1107"/>
                <a:gd name="T13" fmla="*/ 287 h 897"/>
                <a:gd name="T14" fmla="*/ 368 w 1107"/>
                <a:gd name="T15" fmla="*/ 170 h 897"/>
                <a:gd name="T16" fmla="*/ 285 w 1107"/>
                <a:gd name="T17" fmla="*/ 263 h 897"/>
                <a:gd name="T18" fmla="*/ 241 w 1107"/>
                <a:gd name="T19" fmla="*/ 313 h 897"/>
                <a:gd name="T20" fmla="*/ 139 w 1107"/>
                <a:gd name="T21" fmla="*/ 281 h 897"/>
                <a:gd name="T22" fmla="*/ 79 w 1107"/>
                <a:gd name="T23" fmla="*/ 355 h 897"/>
                <a:gd name="T24" fmla="*/ 132 w 1107"/>
                <a:gd name="T25" fmla="*/ 446 h 897"/>
                <a:gd name="T26" fmla="*/ 83 w 1107"/>
                <a:gd name="T27" fmla="*/ 505 h 897"/>
                <a:gd name="T28" fmla="*/ 5 w 1107"/>
                <a:gd name="T29" fmla="*/ 590 h 897"/>
                <a:gd name="T30" fmla="*/ 132 w 1107"/>
                <a:gd name="T31" fmla="*/ 638 h 897"/>
                <a:gd name="T32" fmla="*/ 145 w 1107"/>
                <a:gd name="T33" fmla="*/ 669 h 897"/>
                <a:gd name="T34" fmla="*/ 110 w 1107"/>
                <a:gd name="T35" fmla="*/ 793 h 897"/>
                <a:gd name="T36" fmla="*/ 230 w 1107"/>
                <a:gd name="T37" fmla="*/ 781 h 897"/>
                <a:gd name="T38" fmla="*/ 306 w 1107"/>
                <a:gd name="T39" fmla="*/ 785 h 897"/>
                <a:gd name="T40" fmla="*/ 346 w 1107"/>
                <a:gd name="T41" fmla="*/ 878 h 897"/>
                <a:gd name="T42" fmla="*/ 440 w 1107"/>
                <a:gd name="T43" fmla="*/ 872 h 897"/>
                <a:gd name="T44" fmla="*/ 466 w 1107"/>
                <a:gd name="T45" fmla="*/ 764 h 897"/>
                <a:gd name="T46" fmla="*/ 539 w 1107"/>
                <a:gd name="T47" fmla="*/ 755 h 897"/>
                <a:gd name="T48" fmla="*/ 659 w 1107"/>
                <a:gd name="T49" fmla="*/ 743 h 897"/>
                <a:gd name="T50" fmla="*/ 263 w 1107"/>
                <a:gd name="T51" fmla="*/ 452 h 897"/>
                <a:gd name="T52" fmla="*/ 281 w 1107"/>
                <a:gd name="T53" fmla="*/ 633 h 897"/>
                <a:gd name="T54" fmla="*/ 1002 w 1107"/>
                <a:gd name="T55" fmla="*/ 332 h 897"/>
                <a:gd name="T56" fmla="*/ 1043 w 1107"/>
                <a:gd name="T57" fmla="*/ 304 h 897"/>
                <a:gd name="T58" fmla="*/ 1107 w 1107"/>
                <a:gd name="T59" fmla="*/ 266 h 897"/>
                <a:gd name="T60" fmla="*/ 1037 w 1107"/>
                <a:gd name="T61" fmla="*/ 213 h 897"/>
                <a:gd name="T62" fmla="*/ 1077 w 1107"/>
                <a:gd name="T63" fmla="*/ 138 h 897"/>
                <a:gd name="T64" fmla="*/ 1038 w 1107"/>
                <a:gd name="T65" fmla="*/ 83 h 897"/>
                <a:gd name="T66" fmla="*/ 956 w 1107"/>
                <a:gd name="T67" fmla="*/ 91 h 897"/>
                <a:gd name="T68" fmla="*/ 940 w 1107"/>
                <a:gd name="T69" fmla="*/ 7 h 897"/>
                <a:gd name="T70" fmla="*/ 872 w 1107"/>
                <a:gd name="T71" fmla="*/ 50 h 897"/>
                <a:gd name="T72" fmla="*/ 836 w 1107"/>
                <a:gd name="T73" fmla="*/ 74 h 897"/>
                <a:gd name="T74" fmla="*/ 778 w 1107"/>
                <a:gd name="T75" fmla="*/ 35 h 897"/>
                <a:gd name="T76" fmla="*/ 728 w 1107"/>
                <a:gd name="T77" fmla="*/ 70 h 897"/>
                <a:gd name="T78" fmla="*/ 744 w 1107"/>
                <a:gd name="T79" fmla="*/ 136 h 897"/>
                <a:gd name="T80" fmla="*/ 703 w 1107"/>
                <a:gd name="T81" fmla="*/ 164 h 897"/>
                <a:gd name="T82" fmla="*/ 640 w 1107"/>
                <a:gd name="T83" fmla="*/ 203 h 897"/>
                <a:gd name="T84" fmla="*/ 710 w 1107"/>
                <a:gd name="T85" fmla="*/ 255 h 897"/>
                <a:gd name="T86" fmla="*/ 712 w 1107"/>
                <a:gd name="T87" fmla="*/ 277 h 897"/>
                <a:gd name="T88" fmla="*/ 668 w 1107"/>
                <a:gd name="T89" fmla="*/ 347 h 897"/>
                <a:gd name="T90" fmla="*/ 745 w 1107"/>
                <a:gd name="T91" fmla="*/ 361 h 897"/>
                <a:gd name="T92" fmla="*/ 791 w 1107"/>
                <a:gd name="T93" fmla="*/ 377 h 897"/>
                <a:gd name="T94" fmla="*/ 799 w 1107"/>
                <a:gd name="T95" fmla="*/ 443 h 897"/>
                <a:gd name="T96" fmla="*/ 859 w 1107"/>
                <a:gd name="T97" fmla="*/ 456 h 897"/>
                <a:gd name="T98" fmla="*/ 894 w 1107"/>
                <a:gd name="T99" fmla="*/ 393 h 897"/>
                <a:gd name="T100" fmla="*/ 941 w 1107"/>
                <a:gd name="T101" fmla="*/ 401 h 897"/>
                <a:gd name="T102" fmla="*/ 1018 w 1107"/>
                <a:gd name="T103" fmla="*/ 415 h 897"/>
                <a:gd name="T104" fmla="*/ 825 w 1107"/>
                <a:gd name="T105" fmla="*/ 164 h 897"/>
                <a:gd name="T106" fmla="*/ 803 w 1107"/>
                <a:gd name="T107" fmla="*/ 279 h 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107" h="897">
                  <a:moveTo>
                    <a:pt x="654" y="716"/>
                  </a:moveTo>
                  <a:cubicBezTo>
                    <a:pt x="616" y="670"/>
                    <a:pt x="616" y="670"/>
                    <a:pt x="616" y="670"/>
                  </a:cubicBezTo>
                  <a:cubicBezTo>
                    <a:pt x="593" y="654"/>
                    <a:pt x="603" y="638"/>
                    <a:pt x="600" y="625"/>
                  </a:cubicBezTo>
                  <a:cubicBezTo>
                    <a:pt x="600" y="625"/>
                    <a:pt x="600" y="625"/>
                    <a:pt x="600" y="625"/>
                  </a:cubicBezTo>
                  <a:cubicBezTo>
                    <a:pt x="605" y="617"/>
                    <a:pt x="611" y="609"/>
                    <a:pt x="608" y="596"/>
                  </a:cubicBezTo>
                  <a:cubicBezTo>
                    <a:pt x="618" y="580"/>
                    <a:pt x="623" y="572"/>
                    <a:pt x="649" y="567"/>
                  </a:cubicBezTo>
                  <a:cubicBezTo>
                    <a:pt x="715" y="553"/>
                    <a:pt x="715" y="553"/>
                    <a:pt x="715" y="553"/>
                  </a:cubicBezTo>
                  <a:cubicBezTo>
                    <a:pt x="728" y="550"/>
                    <a:pt x="733" y="542"/>
                    <a:pt x="730" y="529"/>
                  </a:cubicBezTo>
                  <a:cubicBezTo>
                    <a:pt x="727" y="482"/>
                    <a:pt x="727" y="482"/>
                    <a:pt x="727" y="482"/>
                  </a:cubicBezTo>
                  <a:cubicBezTo>
                    <a:pt x="724" y="469"/>
                    <a:pt x="717" y="463"/>
                    <a:pt x="701" y="453"/>
                  </a:cubicBezTo>
                  <a:cubicBezTo>
                    <a:pt x="641" y="459"/>
                    <a:pt x="641" y="459"/>
                    <a:pt x="641" y="459"/>
                  </a:cubicBezTo>
                  <a:cubicBezTo>
                    <a:pt x="620" y="457"/>
                    <a:pt x="604" y="447"/>
                    <a:pt x="601" y="434"/>
                  </a:cubicBezTo>
                  <a:cubicBezTo>
                    <a:pt x="598" y="421"/>
                    <a:pt x="590" y="416"/>
                    <a:pt x="580" y="397"/>
                  </a:cubicBezTo>
                  <a:cubicBezTo>
                    <a:pt x="577" y="384"/>
                    <a:pt x="574" y="371"/>
                    <a:pt x="584" y="355"/>
                  </a:cubicBezTo>
                  <a:cubicBezTo>
                    <a:pt x="628" y="305"/>
                    <a:pt x="628" y="305"/>
                    <a:pt x="628" y="305"/>
                  </a:cubicBezTo>
                  <a:cubicBezTo>
                    <a:pt x="634" y="297"/>
                    <a:pt x="631" y="284"/>
                    <a:pt x="623" y="279"/>
                  </a:cubicBezTo>
                  <a:cubicBezTo>
                    <a:pt x="581" y="240"/>
                    <a:pt x="581" y="240"/>
                    <a:pt x="581" y="240"/>
                  </a:cubicBezTo>
                  <a:cubicBezTo>
                    <a:pt x="573" y="235"/>
                    <a:pt x="560" y="238"/>
                    <a:pt x="547" y="240"/>
                  </a:cubicBezTo>
                  <a:cubicBezTo>
                    <a:pt x="503" y="291"/>
                    <a:pt x="503" y="291"/>
                    <a:pt x="503" y="291"/>
                  </a:cubicBezTo>
                  <a:cubicBezTo>
                    <a:pt x="484" y="302"/>
                    <a:pt x="471" y="304"/>
                    <a:pt x="463" y="299"/>
                  </a:cubicBezTo>
                  <a:cubicBezTo>
                    <a:pt x="456" y="294"/>
                    <a:pt x="435" y="292"/>
                    <a:pt x="427" y="287"/>
                  </a:cubicBezTo>
                  <a:cubicBezTo>
                    <a:pt x="419" y="282"/>
                    <a:pt x="403" y="271"/>
                    <a:pt x="400" y="258"/>
                  </a:cubicBezTo>
                  <a:cubicBezTo>
                    <a:pt x="386" y="193"/>
                    <a:pt x="386" y="193"/>
                    <a:pt x="386" y="193"/>
                  </a:cubicBezTo>
                  <a:cubicBezTo>
                    <a:pt x="384" y="180"/>
                    <a:pt x="368" y="170"/>
                    <a:pt x="368" y="170"/>
                  </a:cubicBezTo>
                  <a:cubicBezTo>
                    <a:pt x="308" y="176"/>
                    <a:pt x="308" y="176"/>
                    <a:pt x="308" y="176"/>
                  </a:cubicBezTo>
                  <a:cubicBezTo>
                    <a:pt x="308" y="176"/>
                    <a:pt x="289" y="187"/>
                    <a:pt x="292" y="200"/>
                  </a:cubicBezTo>
                  <a:cubicBezTo>
                    <a:pt x="285" y="263"/>
                    <a:pt x="285" y="263"/>
                    <a:pt x="285" y="263"/>
                  </a:cubicBezTo>
                  <a:cubicBezTo>
                    <a:pt x="291" y="289"/>
                    <a:pt x="277" y="292"/>
                    <a:pt x="272" y="300"/>
                  </a:cubicBezTo>
                  <a:cubicBezTo>
                    <a:pt x="272" y="300"/>
                    <a:pt x="272" y="300"/>
                    <a:pt x="267" y="308"/>
                  </a:cubicBezTo>
                  <a:cubicBezTo>
                    <a:pt x="259" y="302"/>
                    <a:pt x="246" y="305"/>
                    <a:pt x="241" y="313"/>
                  </a:cubicBezTo>
                  <a:cubicBezTo>
                    <a:pt x="236" y="321"/>
                    <a:pt x="236" y="321"/>
                    <a:pt x="236" y="321"/>
                  </a:cubicBezTo>
                  <a:cubicBezTo>
                    <a:pt x="223" y="324"/>
                    <a:pt x="210" y="327"/>
                    <a:pt x="194" y="317"/>
                  </a:cubicBezTo>
                  <a:cubicBezTo>
                    <a:pt x="139" y="281"/>
                    <a:pt x="139" y="281"/>
                    <a:pt x="139" y="281"/>
                  </a:cubicBezTo>
                  <a:cubicBezTo>
                    <a:pt x="131" y="276"/>
                    <a:pt x="110" y="273"/>
                    <a:pt x="104" y="281"/>
                  </a:cubicBezTo>
                  <a:cubicBezTo>
                    <a:pt x="79" y="321"/>
                    <a:pt x="79" y="321"/>
                    <a:pt x="79" y="321"/>
                  </a:cubicBezTo>
                  <a:cubicBezTo>
                    <a:pt x="66" y="324"/>
                    <a:pt x="68" y="337"/>
                    <a:pt x="79" y="355"/>
                  </a:cubicBezTo>
                  <a:cubicBezTo>
                    <a:pt x="121" y="394"/>
                    <a:pt x="121" y="394"/>
                    <a:pt x="121" y="394"/>
                  </a:cubicBezTo>
                  <a:cubicBezTo>
                    <a:pt x="140" y="417"/>
                    <a:pt x="135" y="425"/>
                    <a:pt x="132" y="446"/>
                  </a:cubicBezTo>
                  <a:cubicBezTo>
                    <a:pt x="132" y="446"/>
                    <a:pt x="132" y="446"/>
                    <a:pt x="132" y="446"/>
                  </a:cubicBezTo>
                  <a:cubicBezTo>
                    <a:pt x="127" y="454"/>
                    <a:pt x="122" y="462"/>
                    <a:pt x="117" y="470"/>
                  </a:cubicBezTo>
                  <a:cubicBezTo>
                    <a:pt x="117" y="470"/>
                    <a:pt x="117" y="470"/>
                    <a:pt x="117" y="470"/>
                  </a:cubicBezTo>
                  <a:cubicBezTo>
                    <a:pt x="120" y="483"/>
                    <a:pt x="109" y="499"/>
                    <a:pt x="83" y="505"/>
                  </a:cubicBezTo>
                  <a:cubicBezTo>
                    <a:pt x="23" y="511"/>
                    <a:pt x="23" y="511"/>
                    <a:pt x="23" y="511"/>
                  </a:cubicBezTo>
                  <a:cubicBezTo>
                    <a:pt x="10" y="514"/>
                    <a:pt x="0" y="529"/>
                    <a:pt x="2" y="543"/>
                  </a:cubicBezTo>
                  <a:cubicBezTo>
                    <a:pt x="5" y="590"/>
                    <a:pt x="5" y="590"/>
                    <a:pt x="5" y="590"/>
                  </a:cubicBezTo>
                  <a:cubicBezTo>
                    <a:pt x="8" y="603"/>
                    <a:pt x="16" y="608"/>
                    <a:pt x="37" y="610"/>
                  </a:cubicBezTo>
                  <a:cubicBezTo>
                    <a:pt x="92" y="612"/>
                    <a:pt x="92" y="612"/>
                    <a:pt x="92" y="612"/>
                  </a:cubicBezTo>
                  <a:cubicBezTo>
                    <a:pt x="113" y="614"/>
                    <a:pt x="129" y="625"/>
                    <a:pt x="132" y="638"/>
                  </a:cubicBezTo>
                  <a:cubicBezTo>
                    <a:pt x="132" y="638"/>
                    <a:pt x="132" y="638"/>
                    <a:pt x="132" y="638"/>
                  </a:cubicBezTo>
                  <a:cubicBezTo>
                    <a:pt x="140" y="643"/>
                    <a:pt x="142" y="656"/>
                    <a:pt x="150" y="661"/>
                  </a:cubicBezTo>
                  <a:cubicBezTo>
                    <a:pt x="145" y="669"/>
                    <a:pt x="145" y="669"/>
                    <a:pt x="145" y="669"/>
                  </a:cubicBezTo>
                  <a:cubicBezTo>
                    <a:pt x="153" y="674"/>
                    <a:pt x="156" y="687"/>
                    <a:pt x="140" y="711"/>
                  </a:cubicBezTo>
                  <a:cubicBezTo>
                    <a:pt x="109" y="759"/>
                    <a:pt x="109" y="759"/>
                    <a:pt x="109" y="759"/>
                  </a:cubicBezTo>
                  <a:cubicBezTo>
                    <a:pt x="99" y="775"/>
                    <a:pt x="102" y="788"/>
                    <a:pt x="110" y="793"/>
                  </a:cubicBezTo>
                  <a:cubicBezTo>
                    <a:pt x="152" y="832"/>
                    <a:pt x="152" y="832"/>
                    <a:pt x="152" y="832"/>
                  </a:cubicBezTo>
                  <a:cubicBezTo>
                    <a:pt x="160" y="837"/>
                    <a:pt x="173" y="834"/>
                    <a:pt x="178" y="826"/>
                  </a:cubicBezTo>
                  <a:cubicBezTo>
                    <a:pt x="230" y="781"/>
                    <a:pt x="230" y="781"/>
                    <a:pt x="230" y="781"/>
                  </a:cubicBezTo>
                  <a:cubicBezTo>
                    <a:pt x="248" y="770"/>
                    <a:pt x="261" y="767"/>
                    <a:pt x="269" y="772"/>
                  </a:cubicBezTo>
                  <a:cubicBezTo>
                    <a:pt x="269" y="772"/>
                    <a:pt x="269" y="772"/>
                    <a:pt x="269" y="772"/>
                  </a:cubicBezTo>
                  <a:cubicBezTo>
                    <a:pt x="282" y="769"/>
                    <a:pt x="298" y="779"/>
                    <a:pt x="306" y="785"/>
                  </a:cubicBezTo>
                  <a:cubicBezTo>
                    <a:pt x="306" y="785"/>
                    <a:pt x="306" y="785"/>
                    <a:pt x="306" y="785"/>
                  </a:cubicBezTo>
                  <a:cubicBezTo>
                    <a:pt x="319" y="782"/>
                    <a:pt x="327" y="787"/>
                    <a:pt x="332" y="813"/>
                  </a:cubicBezTo>
                  <a:cubicBezTo>
                    <a:pt x="346" y="878"/>
                    <a:pt x="346" y="878"/>
                    <a:pt x="346" y="878"/>
                  </a:cubicBezTo>
                  <a:cubicBezTo>
                    <a:pt x="349" y="892"/>
                    <a:pt x="357" y="897"/>
                    <a:pt x="370" y="894"/>
                  </a:cubicBezTo>
                  <a:cubicBezTo>
                    <a:pt x="425" y="896"/>
                    <a:pt x="425" y="896"/>
                    <a:pt x="425" y="896"/>
                  </a:cubicBezTo>
                  <a:cubicBezTo>
                    <a:pt x="430" y="888"/>
                    <a:pt x="443" y="885"/>
                    <a:pt x="440" y="872"/>
                  </a:cubicBezTo>
                  <a:cubicBezTo>
                    <a:pt x="440" y="804"/>
                    <a:pt x="440" y="804"/>
                    <a:pt x="440" y="804"/>
                  </a:cubicBezTo>
                  <a:cubicBezTo>
                    <a:pt x="442" y="783"/>
                    <a:pt x="460" y="772"/>
                    <a:pt x="466" y="764"/>
                  </a:cubicBezTo>
                  <a:cubicBezTo>
                    <a:pt x="466" y="764"/>
                    <a:pt x="466" y="764"/>
                    <a:pt x="466" y="764"/>
                  </a:cubicBezTo>
                  <a:cubicBezTo>
                    <a:pt x="479" y="761"/>
                    <a:pt x="492" y="758"/>
                    <a:pt x="497" y="750"/>
                  </a:cubicBezTo>
                  <a:cubicBezTo>
                    <a:pt x="497" y="750"/>
                    <a:pt x="497" y="750"/>
                    <a:pt x="497" y="750"/>
                  </a:cubicBezTo>
                  <a:cubicBezTo>
                    <a:pt x="510" y="747"/>
                    <a:pt x="523" y="745"/>
                    <a:pt x="539" y="755"/>
                  </a:cubicBezTo>
                  <a:cubicBezTo>
                    <a:pt x="594" y="791"/>
                    <a:pt x="594" y="791"/>
                    <a:pt x="594" y="791"/>
                  </a:cubicBezTo>
                  <a:cubicBezTo>
                    <a:pt x="602" y="796"/>
                    <a:pt x="623" y="798"/>
                    <a:pt x="628" y="790"/>
                  </a:cubicBezTo>
                  <a:cubicBezTo>
                    <a:pt x="659" y="743"/>
                    <a:pt x="659" y="743"/>
                    <a:pt x="659" y="743"/>
                  </a:cubicBezTo>
                  <a:cubicBezTo>
                    <a:pt x="659" y="743"/>
                    <a:pt x="669" y="727"/>
                    <a:pt x="654" y="716"/>
                  </a:cubicBezTo>
                  <a:close/>
                  <a:moveTo>
                    <a:pt x="281" y="633"/>
                  </a:moveTo>
                  <a:cubicBezTo>
                    <a:pt x="223" y="584"/>
                    <a:pt x="219" y="502"/>
                    <a:pt x="263" y="452"/>
                  </a:cubicBezTo>
                  <a:cubicBezTo>
                    <a:pt x="313" y="393"/>
                    <a:pt x="399" y="382"/>
                    <a:pt x="457" y="431"/>
                  </a:cubicBezTo>
                  <a:cubicBezTo>
                    <a:pt x="507" y="475"/>
                    <a:pt x="518" y="561"/>
                    <a:pt x="469" y="619"/>
                  </a:cubicBezTo>
                  <a:cubicBezTo>
                    <a:pt x="420" y="678"/>
                    <a:pt x="339" y="682"/>
                    <a:pt x="281" y="633"/>
                  </a:cubicBezTo>
                  <a:close/>
                  <a:moveTo>
                    <a:pt x="1019" y="398"/>
                  </a:moveTo>
                  <a:cubicBezTo>
                    <a:pt x="1004" y="362"/>
                    <a:pt x="1004" y="362"/>
                    <a:pt x="1004" y="362"/>
                  </a:cubicBezTo>
                  <a:cubicBezTo>
                    <a:pt x="992" y="348"/>
                    <a:pt x="1002" y="340"/>
                    <a:pt x="1002" y="332"/>
                  </a:cubicBezTo>
                  <a:cubicBezTo>
                    <a:pt x="1002" y="332"/>
                    <a:pt x="1002" y="332"/>
                    <a:pt x="1002" y="332"/>
                  </a:cubicBezTo>
                  <a:cubicBezTo>
                    <a:pt x="1007" y="328"/>
                    <a:pt x="1011" y="324"/>
                    <a:pt x="1012" y="315"/>
                  </a:cubicBezTo>
                  <a:cubicBezTo>
                    <a:pt x="1021" y="307"/>
                    <a:pt x="1026" y="303"/>
                    <a:pt x="1043" y="304"/>
                  </a:cubicBezTo>
                  <a:cubicBezTo>
                    <a:pt x="1086" y="307"/>
                    <a:pt x="1086" y="307"/>
                    <a:pt x="1086" y="307"/>
                  </a:cubicBezTo>
                  <a:cubicBezTo>
                    <a:pt x="1095" y="308"/>
                    <a:pt x="1099" y="304"/>
                    <a:pt x="1100" y="295"/>
                  </a:cubicBezTo>
                  <a:cubicBezTo>
                    <a:pt x="1107" y="266"/>
                    <a:pt x="1107" y="266"/>
                    <a:pt x="1107" y="266"/>
                  </a:cubicBezTo>
                  <a:cubicBezTo>
                    <a:pt x="1107" y="257"/>
                    <a:pt x="1103" y="252"/>
                    <a:pt x="1095" y="243"/>
                  </a:cubicBezTo>
                  <a:cubicBezTo>
                    <a:pt x="1057" y="236"/>
                    <a:pt x="1057" y="236"/>
                    <a:pt x="1057" y="236"/>
                  </a:cubicBezTo>
                  <a:cubicBezTo>
                    <a:pt x="1044" y="231"/>
                    <a:pt x="1036" y="222"/>
                    <a:pt x="1037" y="213"/>
                  </a:cubicBezTo>
                  <a:cubicBezTo>
                    <a:pt x="1038" y="205"/>
                    <a:pt x="1034" y="200"/>
                    <a:pt x="1030" y="187"/>
                  </a:cubicBezTo>
                  <a:cubicBezTo>
                    <a:pt x="1031" y="178"/>
                    <a:pt x="1032" y="170"/>
                    <a:pt x="1041" y="162"/>
                  </a:cubicBezTo>
                  <a:cubicBezTo>
                    <a:pt x="1077" y="138"/>
                    <a:pt x="1077" y="138"/>
                    <a:pt x="1077" y="138"/>
                  </a:cubicBezTo>
                  <a:cubicBezTo>
                    <a:pt x="1082" y="134"/>
                    <a:pt x="1083" y="126"/>
                    <a:pt x="1079" y="121"/>
                  </a:cubicBezTo>
                  <a:cubicBezTo>
                    <a:pt x="1059" y="89"/>
                    <a:pt x="1059" y="89"/>
                    <a:pt x="1059" y="89"/>
                  </a:cubicBezTo>
                  <a:cubicBezTo>
                    <a:pt x="1055" y="85"/>
                    <a:pt x="1047" y="84"/>
                    <a:pt x="1038" y="83"/>
                  </a:cubicBezTo>
                  <a:cubicBezTo>
                    <a:pt x="1002" y="107"/>
                    <a:pt x="1002" y="107"/>
                    <a:pt x="1002" y="107"/>
                  </a:cubicBezTo>
                  <a:cubicBezTo>
                    <a:pt x="989" y="110"/>
                    <a:pt x="980" y="110"/>
                    <a:pt x="976" y="105"/>
                  </a:cubicBezTo>
                  <a:cubicBezTo>
                    <a:pt x="972" y="100"/>
                    <a:pt x="960" y="95"/>
                    <a:pt x="956" y="91"/>
                  </a:cubicBezTo>
                  <a:cubicBezTo>
                    <a:pt x="952" y="86"/>
                    <a:pt x="944" y="77"/>
                    <a:pt x="944" y="68"/>
                  </a:cubicBezTo>
                  <a:cubicBezTo>
                    <a:pt x="948" y="25"/>
                    <a:pt x="948" y="25"/>
                    <a:pt x="948" y="25"/>
                  </a:cubicBezTo>
                  <a:cubicBezTo>
                    <a:pt x="948" y="17"/>
                    <a:pt x="940" y="7"/>
                    <a:pt x="940" y="7"/>
                  </a:cubicBezTo>
                  <a:cubicBezTo>
                    <a:pt x="902" y="0"/>
                    <a:pt x="902" y="0"/>
                    <a:pt x="902" y="0"/>
                  </a:cubicBezTo>
                  <a:cubicBezTo>
                    <a:pt x="902" y="0"/>
                    <a:pt x="889" y="4"/>
                    <a:pt x="888" y="12"/>
                  </a:cubicBezTo>
                  <a:cubicBezTo>
                    <a:pt x="872" y="50"/>
                    <a:pt x="872" y="50"/>
                    <a:pt x="872" y="50"/>
                  </a:cubicBezTo>
                  <a:cubicBezTo>
                    <a:pt x="871" y="67"/>
                    <a:pt x="862" y="67"/>
                    <a:pt x="858" y="71"/>
                  </a:cubicBezTo>
                  <a:cubicBezTo>
                    <a:pt x="858" y="71"/>
                    <a:pt x="858" y="71"/>
                    <a:pt x="853" y="75"/>
                  </a:cubicBezTo>
                  <a:cubicBezTo>
                    <a:pt x="849" y="70"/>
                    <a:pt x="840" y="70"/>
                    <a:pt x="836" y="74"/>
                  </a:cubicBezTo>
                  <a:cubicBezTo>
                    <a:pt x="831" y="78"/>
                    <a:pt x="831" y="78"/>
                    <a:pt x="831" y="78"/>
                  </a:cubicBezTo>
                  <a:cubicBezTo>
                    <a:pt x="822" y="77"/>
                    <a:pt x="814" y="76"/>
                    <a:pt x="806" y="67"/>
                  </a:cubicBezTo>
                  <a:cubicBezTo>
                    <a:pt x="778" y="35"/>
                    <a:pt x="778" y="35"/>
                    <a:pt x="778" y="35"/>
                  </a:cubicBezTo>
                  <a:cubicBezTo>
                    <a:pt x="774" y="30"/>
                    <a:pt x="762" y="25"/>
                    <a:pt x="757" y="29"/>
                  </a:cubicBezTo>
                  <a:cubicBezTo>
                    <a:pt x="734" y="49"/>
                    <a:pt x="734" y="49"/>
                    <a:pt x="734" y="49"/>
                  </a:cubicBezTo>
                  <a:cubicBezTo>
                    <a:pt x="725" y="49"/>
                    <a:pt x="725" y="57"/>
                    <a:pt x="728" y="70"/>
                  </a:cubicBezTo>
                  <a:cubicBezTo>
                    <a:pt x="747" y="102"/>
                    <a:pt x="747" y="102"/>
                    <a:pt x="747" y="102"/>
                  </a:cubicBezTo>
                  <a:cubicBezTo>
                    <a:pt x="754" y="120"/>
                    <a:pt x="750" y="124"/>
                    <a:pt x="744" y="136"/>
                  </a:cubicBezTo>
                  <a:cubicBezTo>
                    <a:pt x="744" y="136"/>
                    <a:pt x="744" y="136"/>
                    <a:pt x="744" y="136"/>
                  </a:cubicBezTo>
                  <a:cubicBezTo>
                    <a:pt x="740" y="140"/>
                    <a:pt x="735" y="144"/>
                    <a:pt x="731" y="148"/>
                  </a:cubicBezTo>
                  <a:cubicBezTo>
                    <a:pt x="731" y="148"/>
                    <a:pt x="731" y="148"/>
                    <a:pt x="731" y="148"/>
                  </a:cubicBezTo>
                  <a:cubicBezTo>
                    <a:pt x="730" y="157"/>
                    <a:pt x="721" y="165"/>
                    <a:pt x="703" y="164"/>
                  </a:cubicBezTo>
                  <a:cubicBezTo>
                    <a:pt x="665" y="157"/>
                    <a:pt x="665" y="157"/>
                    <a:pt x="665" y="157"/>
                  </a:cubicBezTo>
                  <a:cubicBezTo>
                    <a:pt x="656" y="156"/>
                    <a:pt x="647" y="164"/>
                    <a:pt x="647" y="173"/>
                  </a:cubicBezTo>
                  <a:cubicBezTo>
                    <a:pt x="640" y="203"/>
                    <a:pt x="640" y="203"/>
                    <a:pt x="640" y="203"/>
                  </a:cubicBezTo>
                  <a:cubicBezTo>
                    <a:pt x="639" y="211"/>
                    <a:pt x="643" y="216"/>
                    <a:pt x="656" y="221"/>
                  </a:cubicBezTo>
                  <a:cubicBezTo>
                    <a:pt x="690" y="232"/>
                    <a:pt x="690" y="232"/>
                    <a:pt x="690" y="232"/>
                  </a:cubicBezTo>
                  <a:cubicBezTo>
                    <a:pt x="702" y="237"/>
                    <a:pt x="710" y="246"/>
                    <a:pt x="710" y="255"/>
                  </a:cubicBezTo>
                  <a:cubicBezTo>
                    <a:pt x="710" y="255"/>
                    <a:pt x="710" y="255"/>
                    <a:pt x="710" y="255"/>
                  </a:cubicBezTo>
                  <a:cubicBezTo>
                    <a:pt x="714" y="260"/>
                    <a:pt x="713" y="268"/>
                    <a:pt x="717" y="273"/>
                  </a:cubicBezTo>
                  <a:cubicBezTo>
                    <a:pt x="712" y="277"/>
                    <a:pt x="712" y="277"/>
                    <a:pt x="712" y="277"/>
                  </a:cubicBezTo>
                  <a:cubicBezTo>
                    <a:pt x="716" y="281"/>
                    <a:pt x="716" y="290"/>
                    <a:pt x="702" y="302"/>
                  </a:cubicBezTo>
                  <a:cubicBezTo>
                    <a:pt x="674" y="326"/>
                    <a:pt x="674" y="326"/>
                    <a:pt x="674" y="326"/>
                  </a:cubicBezTo>
                  <a:cubicBezTo>
                    <a:pt x="665" y="334"/>
                    <a:pt x="664" y="343"/>
                    <a:pt x="668" y="347"/>
                  </a:cubicBezTo>
                  <a:cubicBezTo>
                    <a:pt x="687" y="379"/>
                    <a:pt x="687" y="379"/>
                    <a:pt x="687" y="379"/>
                  </a:cubicBezTo>
                  <a:cubicBezTo>
                    <a:pt x="691" y="383"/>
                    <a:pt x="700" y="384"/>
                    <a:pt x="704" y="380"/>
                  </a:cubicBezTo>
                  <a:cubicBezTo>
                    <a:pt x="745" y="361"/>
                    <a:pt x="745" y="361"/>
                    <a:pt x="745" y="361"/>
                  </a:cubicBezTo>
                  <a:cubicBezTo>
                    <a:pt x="758" y="358"/>
                    <a:pt x="767" y="358"/>
                    <a:pt x="771" y="363"/>
                  </a:cubicBezTo>
                  <a:cubicBezTo>
                    <a:pt x="771" y="363"/>
                    <a:pt x="771" y="363"/>
                    <a:pt x="771" y="363"/>
                  </a:cubicBezTo>
                  <a:cubicBezTo>
                    <a:pt x="779" y="364"/>
                    <a:pt x="787" y="373"/>
                    <a:pt x="791" y="377"/>
                  </a:cubicBezTo>
                  <a:cubicBezTo>
                    <a:pt x="791" y="377"/>
                    <a:pt x="791" y="377"/>
                    <a:pt x="791" y="377"/>
                  </a:cubicBezTo>
                  <a:cubicBezTo>
                    <a:pt x="800" y="378"/>
                    <a:pt x="804" y="383"/>
                    <a:pt x="802" y="400"/>
                  </a:cubicBezTo>
                  <a:cubicBezTo>
                    <a:pt x="799" y="443"/>
                    <a:pt x="799" y="443"/>
                    <a:pt x="799" y="443"/>
                  </a:cubicBezTo>
                  <a:cubicBezTo>
                    <a:pt x="798" y="451"/>
                    <a:pt x="802" y="456"/>
                    <a:pt x="811" y="457"/>
                  </a:cubicBezTo>
                  <a:cubicBezTo>
                    <a:pt x="845" y="468"/>
                    <a:pt x="845" y="468"/>
                    <a:pt x="845" y="468"/>
                  </a:cubicBezTo>
                  <a:cubicBezTo>
                    <a:pt x="849" y="464"/>
                    <a:pt x="858" y="464"/>
                    <a:pt x="859" y="456"/>
                  </a:cubicBezTo>
                  <a:cubicBezTo>
                    <a:pt x="871" y="413"/>
                    <a:pt x="871" y="413"/>
                    <a:pt x="871" y="413"/>
                  </a:cubicBezTo>
                  <a:cubicBezTo>
                    <a:pt x="876" y="401"/>
                    <a:pt x="889" y="397"/>
                    <a:pt x="894" y="393"/>
                  </a:cubicBezTo>
                  <a:cubicBezTo>
                    <a:pt x="894" y="393"/>
                    <a:pt x="894" y="393"/>
                    <a:pt x="894" y="393"/>
                  </a:cubicBezTo>
                  <a:cubicBezTo>
                    <a:pt x="902" y="394"/>
                    <a:pt x="911" y="395"/>
                    <a:pt x="916" y="391"/>
                  </a:cubicBezTo>
                  <a:cubicBezTo>
                    <a:pt x="916" y="391"/>
                    <a:pt x="916" y="391"/>
                    <a:pt x="916" y="391"/>
                  </a:cubicBezTo>
                  <a:cubicBezTo>
                    <a:pt x="924" y="391"/>
                    <a:pt x="933" y="392"/>
                    <a:pt x="941" y="401"/>
                  </a:cubicBezTo>
                  <a:cubicBezTo>
                    <a:pt x="969" y="433"/>
                    <a:pt x="969" y="433"/>
                    <a:pt x="969" y="433"/>
                  </a:cubicBezTo>
                  <a:cubicBezTo>
                    <a:pt x="973" y="438"/>
                    <a:pt x="985" y="443"/>
                    <a:pt x="990" y="439"/>
                  </a:cubicBezTo>
                  <a:cubicBezTo>
                    <a:pt x="1018" y="415"/>
                    <a:pt x="1018" y="415"/>
                    <a:pt x="1018" y="415"/>
                  </a:cubicBezTo>
                  <a:cubicBezTo>
                    <a:pt x="1018" y="415"/>
                    <a:pt x="1027" y="407"/>
                    <a:pt x="1019" y="398"/>
                  </a:cubicBezTo>
                  <a:close/>
                  <a:moveTo>
                    <a:pt x="803" y="279"/>
                  </a:moveTo>
                  <a:cubicBezTo>
                    <a:pt x="776" y="238"/>
                    <a:pt x="788" y="187"/>
                    <a:pt x="825" y="164"/>
                  </a:cubicBezTo>
                  <a:cubicBezTo>
                    <a:pt x="866" y="136"/>
                    <a:pt x="921" y="144"/>
                    <a:pt x="948" y="185"/>
                  </a:cubicBezTo>
                  <a:cubicBezTo>
                    <a:pt x="972" y="221"/>
                    <a:pt x="963" y="277"/>
                    <a:pt x="922" y="304"/>
                  </a:cubicBezTo>
                  <a:cubicBezTo>
                    <a:pt x="881" y="332"/>
                    <a:pt x="830" y="320"/>
                    <a:pt x="803" y="279"/>
                  </a:cubicBezTo>
                  <a:close/>
                </a:path>
              </a:pathLst>
            </a:custGeom>
            <a:solidFill>
              <a:schemeClr val="tx1"/>
            </a:solidFill>
            <a:ln>
              <a:noFill/>
            </a:ln>
          </p:spPr>
          <p:txBody>
            <a:bodyPr vert="horz" wrap="square" lIns="68574" tIns="34287" rIns="68574" bIns="34287"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17346"/>
                </a:solidFill>
                <a:effectLst/>
                <a:uLnTx/>
                <a:uFillTx/>
                <a:latin typeface="Segoe UI"/>
                <a:ea typeface="+mn-ea"/>
                <a:cs typeface="+mn-cs"/>
              </a:endParaRPr>
            </a:p>
          </p:txBody>
        </p:sp>
        <p:sp>
          <p:nvSpPr>
            <p:cNvPr id="88" name="Freeform 87"/>
            <p:cNvSpPr>
              <a:spLocks noChangeAspect="1"/>
            </p:cNvSpPr>
            <p:nvPr/>
          </p:nvSpPr>
          <p:spPr bwMode="black">
            <a:xfrm>
              <a:off x="776985" y="4213905"/>
              <a:ext cx="342871" cy="335728"/>
            </a:xfrm>
            <a:custGeom>
              <a:avLst/>
              <a:gdLst>
                <a:gd name="connsiteX0" fmla="*/ 3713863 w 4893730"/>
                <a:gd name="connsiteY0" fmla="*/ 2130808 h 4791777"/>
                <a:gd name="connsiteX1" fmla="*/ 4426142 w 4893730"/>
                <a:gd name="connsiteY1" fmla="*/ 2130808 h 4791777"/>
                <a:gd name="connsiteX2" fmla="*/ 4598071 w 4893730"/>
                <a:gd name="connsiteY2" fmla="*/ 2301547 h 4791777"/>
                <a:gd name="connsiteX3" fmla="*/ 4598071 w 4893730"/>
                <a:gd name="connsiteY3" fmla="*/ 3886978 h 4791777"/>
                <a:gd name="connsiteX4" fmla="*/ 4426142 w 4893730"/>
                <a:gd name="connsiteY4" fmla="*/ 4057717 h 4791777"/>
                <a:gd name="connsiteX5" fmla="*/ 3713863 w 4893730"/>
                <a:gd name="connsiteY5" fmla="*/ 4057717 h 4791777"/>
                <a:gd name="connsiteX6" fmla="*/ 3517372 w 4893730"/>
                <a:gd name="connsiteY6" fmla="*/ 3886978 h 4791777"/>
                <a:gd name="connsiteX7" fmla="*/ 3517372 w 4893730"/>
                <a:gd name="connsiteY7" fmla="*/ 2301547 h 4791777"/>
                <a:gd name="connsiteX8" fmla="*/ 3713863 w 4893730"/>
                <a:gd name="connsiteY8" fmla="*/ 2130808 h 4791777"/>
                <a:gd name="connsiteX9" fmla="*/ 904368 w 4893730"/>
                <a:gd name="connsiteY9" fmla="*/ 1223432 h 4791777"/>
                <a:gd name="connsiteX10" fmla="*/ 1609930 w 4893730"/>
                <a:gd name="connsiteY10" fmla="*/ 1223432 h 4791777"/>
                <a:gd name="connsiteX11" fmla="*/ 1804567 w 4893730"/>
                <a:gd name="connsiteY11" fmla="*/ 1394467 h 4791777"/>
                <a:gd name="connsiteX12" fmla="*/ 1804567 w 4893730"/>
                <a:gd name="connsiteY12" fmla="*/ 3886683 h 4791777"/>
                <a:gd name="connsiteX13" fmla="*/ 1609930 w 4893730"/>
                <a:gd name="connsiteY13" fmla="*/ 4057717 h 4791777"/>
                <a:gd name="connsiteX14" fmla="*/ 904368 w 4893730"/>
                <a:gd name="connsiteY14" fmla="*/ 4057717 h 4791777"/>
                <a:gd name="connsiteX15" fmla="*/ 734060 w 4893730"/>
                <a:gd name="connsiteY15" fmla="*/ 3886683 h 4791777"/>
                <a:gd name="connsiteX16" fmla="*/ 734060 w 4893730"/>
                <a:gd name="connsiteY16" fmla="*/ 1394467 h 4791777"/>
                <a:gd name="connsiteX17" fmla="*/ 904368 w 4893730"/>
                <a:gd name="connsiteY17" fmla="*/ 1223432 h 4791777"/>
                <a:gd name="connsiteX18" fmla="*/ 2325453 w 4893730"/>
                <a:gd name="connsiteY18" fmla="*/ 316050 h 4791777"/>
                <a:gd name="connsiteX19" fmla="*/ 3031014 w 4893730"/>
                <a:gd name="connsiteY19" fmla="*/ 316050 h 4791777"/>
                <a:gd name="connsiteX20" fmla="*/ 3201322 w 4893730"/>
                <a:gd name="connsiteY20" fmla="*/ 487238 h 4791777"/>
                <a:gd name="connsiteX21" fmla="*/ 3201322 w 4893730"/>
                <a:gd name="connsiteY21" fmla="*/ 3886530 h 4791777"/>
                <a:gd name="connsiteX22" fmla="*/ 3031014 w 4893730"/>
                <a:gd name="connsiteY22" fmla="*/ 4057717 h 4791777"/>
                <a:gd name="connsiteX23" fmla="*/ 2325453 w 4893730"/>
                <a:gd name="connsiteY23" fmla="*/ 4057717 h 4791777"/>
                <a:gd name="connsiteX24" fmla="*/ 2130815 w 4893730"/>
                <a:gd name="connsiteY24" fmla="*/ 3886530 h 4791777"/>
                <a:gd name="connsiteX25" fmla="*/ 2130815 w 4893730"/>
                <a:gd name="connsiteY25" fmla="*/ 487238 h 4791777"/>
                <a:gd name="connsiteX26" fmla="*/ 2325453 w 4893730"/>
                <a:gd name="connsiteY26" fmla="*/ 316050 h 4791777"/>
                <a:gd name="connsiteX27" fmla="*/ 269155 w 4893730"/>
                <a:gd name="connsiteY27" fmla="*/ 0 h 4791777"/>
                <a:gd name="connsiteX28" fmla="*/ 538311 w 4893730"/>
                <a:gd name="connsiteY28" fmla="*/ 268927 h 4791777"/>
                <a:gd name="connsiteX29" fmla="*/ 538311 w 4893730"/>
                <a:gd name="connsiteY29" fmla="*/ 4253925 h 4791777"/>
                <a:gd name="connsiteX30" fmla="*/ 4624575 w 4893730"/>
                <a:gd name="connsiteY30" fmla="*/ 4253925 h 4791777"/>
                <a:gd name="connsiteX31" fmla="*/ 4893730 w 4893730"/>
                <a:gd name="connsiteY31" fmla="*/ 4522851 h 4791777"/>
                <a:gd name="connsiteX32" fmla="*/ 4624575 w 4893730"/>
                <a:gd name="connsiteY32" fmla="*/ 4791777 h 4791777"/>
                <a:gd name="connsiteX33" fmla="*/ 269155 w 4893730"/>
                <a:gd name="connsiteY33" fmla="*/ 4791777 h 4791777"/>
                <a:gd name="connsiteX34" fmla="*/ 0 w 4893730"/>
                <a:gd name="connsiteY34" fmla="*/ 4522851 h 4791777"/>
                <a:gd name="connsiteX35" fmla="*/ 0 w 4893730"/>
                <a:gd name="connsiteY35" fmla="*/ 268927 h 4791777"/>
                <a:gd name="connsiteX36" fmla="*/ 269155 w 4893730"/>
                <a:gd name="connsiteY36" fmla="*/ 0 h 4791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4893730" h="4791777">
                  <a:moveTo>
                    <a:pt x="3713863" y="2130808"/>
                  </a:moveTo>
                  <a:cubicBezTo>
                    <a:pt x="3713863" y="2130808"/>
                    <a:pt x="3713863" y="2130808"/>
                    <a:pt x="4426142" y="2130808"/>
                  </a:cubicBezTo>
                  <a:cubicBezTo>
                    <a:pt x="4524387" y="2130808"/>
                    <a:pt x="4598071" y="2203982"/>
                    <a:pt x="4598071" y="2301547"/>
                  </a:cubicBezTo>
                  <a:cubicBezTo>
                    <a:pt x="4598071" y="2301547"/>
                    <a:pt x="4598071" y="2301547"/>
                    <a:pt x="4598071" y="3886978"/>
                  </a:cubicBezTo>
                  <a:cubicBezTo>
                    <a:pt x="4598071" y="3984543"/>
                    <a:pt x="4524387" y="4057717"/>
                    <a:pt x="4426142" y="4057717"/>
                  </a:cubicBezTo>
                  <a:cubicBezTo>
                    <a:pt x="4426142" y="4057717"/>
                    <a:pt x="4426142" y="4057717"/>
                    <a:pt x="3713863" y="4057717"/>
                  </a:cubicBezTo>
                  <a:cubicBezTo>
                    <a:pt x="3615618" y="4057717"/>
                    <a:pt x="3517372" y="3984543"/>
                    <a:pt x="3517372" y="3886978"/>
                  </a:cubicBezTo>
                  <a:cubicBezTo>
                    <a:pt x="3517372" y="3886978"/>
                    <a:pt x="3517372" y="3886978"/>
                    <a:pt x="3517372" y="2301547"/>
                  </a:cubicBezTo>
                  <a:cubicBezTo>
                    <a:pt x="3517372" y="2203982"/>
                    <a:pt x="3615618" y="2130808"/>
                    <a:pt x="3713863" y="2130808"/>
                  </a:cubicBezTo>
                  <a:close/>
                  <a:moveTo>
                    <a:pt x="904368" y="1223432"/>
                  </a:moveTo>
                  <a:cubicBezTo>
                    <a:pt x="904368" y="1223432"/>
                    <a:pt x="904368" y="1223432"/>
                    <a:pt x="1609930" y="1223432"/>
                  </a:cubicBezTo>
                  <a:cubicBezTo>
                    <a:pt x="1731578" y="1223432"/>
                    <a:pt x="1804567" y="1296733"/>
                    <a:pt x="1804567" y="1394467"/>
                  </a:cubicBezTo>
                  <a:cubicBezTo>
                    <a:pt x="1804567" y="1394467"/>
                    <a:pt x="1804567" y="1394467"/>
                    <a:pt x="1804567" y="3886683"/>
                  </a:cubicBezTo>
                  <a:cubicBezTo>
                    <a:pt x="1804567" y="3984417"/>
                    <a:pt x="1731578" y="4057717"/>
                    <a:pt x="1609930" y="4057717"/>
                  </a:cubicBezTo>
                  <a:cubicBezTo>
                    <a:pt x="1609930" y="4057717"/>
                    <a:pt x="1609930" y="4057717"/>
                    <a:pt x="904368" y="4057717"/>
                  </a:cubicBezTo>
                  <a:cubicBezTo>
                    <a:pt x="807049" y="4057717"/>
                    <a:pt x="734060" y="3984417"/>
                    <a:pt x="734060" y="3886683"/>
                  </a:cubicBezTo>
                  <a:cubicBezTo>
                    <a:pt x="734060" y="3886683"/>
                    <a:pt x="734060" y="3886683"/>
                    <a:pt x="734060" y="1394467"/>
                  </a:cubicBezTo>
                  <a:cubicBezTo>
                    <a:pt x="734060" y="1296733"/>
                    <a:pt x="807049" y="1223432"/>
                    <a:pt x="904368" y="1223432"/>
                  </a:cubicBezTo>
                  <a:close/>
                  <a:moveTo>
                    <a:pt x="2325453" y="316050"/>
                  </a:moveTo>
                  <a:cubicBezTo>
                    <a:pt x="2325453" y="316050"/>
                    <a:pt x="2325453" y="316050"/>
                    <a:pt x="3031014" y="316050"/>
                  </a:cubicBezTo>
                  <a:cubicBezTo>
                    <a:pt x="3128333" y="316050"/>
                    <a:pt x="3201322" y="389416"/>
                    <a:pt x="3201322" y="487238"/>
                  </a:cubicBezTo>
                  <a:cubicBezTo>
                    <a:pt x="3201322" y="487238"/>
                    <a:pt x="3201322" y="487238"/>
                    <a:pt x="3201322" y="3886530"/>
                  </a:cubicBezTo>
                  <a:cubicBezTo>
                    <a:pt x="3201322" y="3984351"/>
                    <a:pt x="3128333" y="4057717"/>
                    <a:pt x="3031014" y="4057717"/>
                  </a:cubicBezTo>
                  <a:cubicBezTo>
                    <a:pt x="3031014" y="4057717"/>
                    <a:pt x="3031014" y="4057717"/>
                    <a:pt x="2325453" y="4057717"/>
                  </a:cubicBezTo>
                  <a:cubicBezTo>
                    <a:pt x="2203804" y="4057717"/>
                    <a:pt x="2130815" y="3984351"/>
                    <a:pt x="2130815" y="3886530"/>
                  </a:cubicBezTo>
                  <a:cubicBezTo>
                    <a:pt x="2130815" y="3886530"/>
                    <a:pt x="2130815" y="3886530"/>
                    <a:pt x="2130815" y="487238"/>
                  </a:cubicBezTo>
                  <a:cubicBezTo>
                    <a:pt x="2130815" y="389416"/>
                    <a:pt x="2203804" y="316050"/>
                    <a:pt x="2325453" y="316050"/>
                  </a:cubicBezTo>
                  <a:close/>
                  <a:moveTo>
                    <a:pt x="269155" y="0"/>
                  </a:moveTo>
                  <a:cubicBezTo>
                    <a:pt x="415967" y="0"/>
                    <a:pt x="538311" y="122239"/>
                    <a:pt x="538311" y="268927"/>
                  </a:cubicBezTo>
                  <a:cubicBezTo>
                    <a:pt x="538311" y="268927"/>
                    <a:pt x="538311" y="268927"/>
                    <a:pt x="538311" y="4253925"/>
                  </a:cubicBezTo>
                  <a:cubicBezTo>
                    <a:pt x="538311" y="4253925"/>
                    <a:pt x="538311" y="4253925"/>
                    <a:pt x="4624575" y="4253925"/>
                  </a:cubicBezTo>
                  <a:cubicBezTo>
                    <a:pt x="4771387" y="4253925"/>
                    <a:pt x="4893730" y="4376164"/>
                    <a:pt x="4893730" y="4522851"/>
                  </a:cubicBezTo>
                  <a:cubicBezTo>
                    <a:pt x="4893730" y="4669538"/>
                    <a:pt x="4771387" y="4791777"/>
                    <a:pt x="4624575" y="4791777"/>
                  </a:cubicBezTo>
                  <a:cubicBezTo>
                    <a:pt x="4624575" y="4791777"/>
                    <a:pt x="4624575" y="4791777"/>
                    <a:pt x="269155" y="4791777"/>
                  </a:cubicBezTo>
                  <a:cubicBezTo>
                    <a:pt x="122344" y="4791777"/>
                    <a:pt x="0" y="4669538"/>
                    <a:pt x="0" y="4522851"/>
                  </a:cubicBezTo>
                  <a:cubicBezTo>
                    <a:pt x="0" y="4522851"/>
                    <a:pt x="0" y="4522851"/>
                    <a:pt x="0" y="268927"/>
                  </a:cubicBezTo>
                  <a:cubicBezTo>
                    <a:pt x="0" y="122239"/>
                    <a:pt x="122344" y="0"/>
                    <a:pt x="269155"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37148" tIns="109719" rIns="137148" bIns="109719"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699261"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9" name="Rectangle 88"/>
            <p:cNvSpPr/>
            <p:nvPr/>
          </p:nvSpPr>
          <p:spPr bwMode="auto">
            <a:xfrm rot="2745734">
              <a:off x="279530" y="1141266"/>
              <a:ext cx="1260714" cy="1255193"/>
            </a:xfrm>
            <a:prstGeom prst="rect">
              <a:avLst/>
            </a:prstGeom>
            <a:solidFill>
              <a:schemeClr val="tx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0" name="Rectangle 89"/>
            <p:cNvSpPr/>
            <p:nvPr/>
          </p:nvSpPr>
          <p:spPr bwMode="auto">
            <a:xfrm rot="2745734">
              <a:off x="1305789" y="4246825"/>
              <a:ext cx="416505" cy="1235003"/>
            </a:xfrm>
            <a:prstGeom prst="rect">
              <a:avLst/>
            </a:prstGeom>
            <a:solidFill>
              <a:schemeClr val="tx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2" name="Rectangle 91"/>
            <p:cNvSpPr/>
            <p:nvPr/>
          </p:nvSpPr>
          <p:spPr bwMode="auto">
            <a:xfrm rot="2745734">
              <a:off x="1315610" y="4915701"/>
              <a:ext cx="1263370" cy="1255989"/>
            </a:xfrm>
            <a:prstGeom prst="rect">
              <a:avLst/>
            </a:prstGeom>
            <a:solidFill>
              <a:schemeClr val="tx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40" name="TextBox 39"/>
          <p:cNvSpPr txBox="1"/>
          <p:nvPr/>
        </p:nvSpPr>
        <p:spPr>
          <a:xfrm>
            <a:off x="3" y="51415"/>
            <a:ext cx="2849058" cy="430887"/>
          </a:xfrm>
          <a:prstGeom prst="rect">
            <a:avLst/>
          </a:prstGeom>
        </p:spPr>
        <p:txBody>
          <a:bodyPr wrap="square">
            <a:spAutoFit/>
          </a:bodyPr>
          <a:lstStyle>
            <a:defPPr>
              <a:defRPr lang="en-US"/>
            </a:defPPr>
            <a:lvl1pPr defTabSz="914192">
              <a:defRPr sz="2800" b="1" spc="-100">
                <a:ln w="3175">
                  <a:noFill/>
                </a:ln>
                <a:solidFill>
                  <a:srgbClr val="F2C812"/>
                </a:solidFill>
                <a:latin typeface="Segoe UI" panose="020B0502040204020203" pitchFamily="34" charset="0"/>
                <a:ea typeface="ＭＳ Ｐゴシック" charset="0"/>
                <a:cs typeface="Segoe UI" panose="020B0502040204020203" pitchFamily="34" charset="0"/>
              </a:defRPr>
            </a:lvl1pPr>
          </a:lstStyle>
          <a:p>
            <a:pPr marL="0" marR="0" lvl="0" indent="0" algn="l" defTabSz="914192" rtl="0" eaLnBrk="1" fontAlgn="auto" latinLnBrk="0" hangingPunct="1">
              <a:lnSpc>
                <a:spcPct val="100000"/>
              </a:lnSpc>
              <a:spcBef>
                <a:spcPts val="0"/>
              </a:spcBef>
              <a:spcAft>
                <a:spcPts val="0"/>
              </a:spcAft>
              <a:buClrTx/>
              <a:buSzTx/>
              <a:buFontTx/>
              <a:buNone/>
              <a:tabLst/>
              <a:defRPr/>
            </a:pPr>
            <a:r>
              <a:rPr kumimoji="0" lang="en-US" sz="2200" b="1" i="0" u="none" strike="noStrike" kern="1200" cap="none" spc="-100" normalizeH="0" baseline="0" noProof="0">
                <a:ln w="3175">
                  <a:noFill/>
                </a:ln>
                <a:solidFill>
                  <a:srgbClr val="F2C812"/>
                </a:solidFill>
                <a:effectLst/>
                <a:uLnTx/>
                <a:uFillTx/>
                <a:latin typeface="Segoe UI Light"/>
                <a:ea typeface="ＭＳ Ｐゴシック" charset="0"/>
                <a:cs typeface="Segoe UI" panose="020B0502040204020203" pitchFamily="34" charset="0"/>
              </a:rPr>
              <a:t>Power BI Desktop</a:t>
            </a:r>
          </a:p>
        </p:txBody>
      </p:sp>
      <p:sp>
        <p:nvSpPr>
          <p:cNvPr id="41" name="Rectangle 40"/>
          <p:cNvSpPr/>
          <p:nvPr/>
        </p:nvSpPr>
        <p:spPr bwMode="auto">
          <a:xfrm rot="19005967">
            <a:off x="922420" y="2122148"/>
            <a:ext cx="1260714" cy="369589"/>
          </a:xfrm>
          <a:prstGeom prst="rect">
            <a:avLst/>
          </a:prstGeom>
          <a:solidFill>
            <a:schemeClr val="tx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7" name="Rectangle 36"/>
          <p:cNvSpPr/>
          <p:nvPr/>
        </p:nvSpPr>
        <p:spPr bwMode="auto">
          <a:xfrm rot="2745734">
            <a:off x="1371067" y="2420930"/>
            <a:ext cx="1194544" cy="1235003"/>
          </a:xfrm>
          <a:prstGeom prst="rect">
            <a:avLst/>
          </a:prstGeom>
          <a:solidFill>
            <a:schemeClr val="tx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2" name="Text Placeholder 2"/>
          <p:cNvSpPr txBox="1">
            <a:spLocks/>
          </p:cNvSpPr>
          <p:nvPr/>
        </p:nvSpPr>
        <p:spPr>
          <a:xfrm>
            <a:off x="3173232" y="916802"/>
            <a:ext cx="7640541" cy="897374"/>
          </a:xfrm>
          <a:prstGeom prst="rect">
            <a:avLst/>
          </a:prstGeom>
        </p:spPr>
        <p:txBody>
          <a:bodyPr vert="horz" wrap="square" lIns="182880" tIns="146304" rIns="182880" bIns="146304" rtlCol="0">
            <a:noAutofit/>
          </a:bodyPr>
          <a:lstStyle>
            <a:lvl1pPr marL="182845" marR="0"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3921" kern="1200" spc="0" baseline="0">
                <a:gradFill>
                  <a:gsLst>
                    <a:gs pos="1250">
                      <a:schemeClr val="tx2"/>
                    </a:gs>
                    <a:gs pos="99000">
                      <a:schemeClr val="tx2"/>
                    </a:gs>
                  </a:gsLst>
                  <a:lin ang="5400000" scaled="0"/>
                </a:gradFill>
                <a:latin typeface="+mj-lt"/>
                <a:ea typeface="+mn-ea"/>
                <a:cs typeface="+mn-cs"/>
              </a:defRPr>
            </a:lvl1pPr>
            <a:lvl2pPr marL="365690" marR="0"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2400" kern="1200" spc="0" baseline="0">
                <a:solidFill>
                  <a:schemeClr val="tx2"/>
                </a:solidFill>
                <a:latin typeface="+mj-lt"/>
                <a:ea typeface="+mn-ea"/>
                <a:cs typeface="+mn-cs"/>
              </a:defRPr>
            </a:lvl2pPr>
            <a:lvl3pPr marL="548535" marR="0"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2000" kern="1200" spc="0" baseline="0">
                <a:solidFill>
                  <a:schemeClr val="tx2"/>
                </a:solidFill>
                <a:latin typeface="+mj-lt"/>
                <a:ea typeface="+mn-ea"/>
                <a:cs typeface="+mn-cs"/>
              </a:defRPr>
            </a:lvl3pPr>
            <a:lvl4pPr marL="733802" marR="0" indent="-28569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1765" kern="1200" spc="0" baseline="0">
                <a:solidFill>
                  <a:schemeClr val="tx2"/>
                </a:solidFill>
                <a:latin typeface="+mn-lt"/>
                <a:ea typeface="+mn-ea"/>
                <a:cs typeface="+mn-cs"/>
              </a:defRPr>
            </a:lvl4pPr>
            <a:lvl5pPr marL="957856" marR="0" indent="-28569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1765" kern="1200" spc="0" baseline="0">
                <a:solidFill>
                  <a:schemeClr val="tx2"/>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1"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r>
              <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rPr>
              <a:t>Drill </a:t>
            </a:r>
            <a:r>
              <a:rPr kumimoji="0" lang="en-US" sz="2000" b="1"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rPr>
              <a:t>ribbon</a:t>
            </a:r>
            <a:r>
              <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rPr>
              <a:t> allows controlling of </a:t>
            </a:r>
            <a:r>
              <a:rPr kumimoji="0" lang="en-US" sz="2000" b="1"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rPr>
              <a:t>drilling operations</a:t>
            </a: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1"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1"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1"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1"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1"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1"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r>
              <a:rPr kumimoji="0" lang="en-US" sz="2000" b="1"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rPr>
              <a:t>See records</a:t>
            </a:r>
            <a:r>
              <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rPr>
              <a:t> drills-through detail, for a clicked data point, and </a:t>
            </a:r>
            <a:r>
              <a:rPr kumimoji="0" lang="en-US" sz="2000" b="1"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rPr>
              <a:t>See Data</a:t>
            </a:r>
            <a:r>
              <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rPr>
              <a:t> displays data also in tabular format</a:t>
            </a:r>
            <a:endParaRPr kumimoji="0" lang="en-US" sz="2000" b="1"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p:txBody>
      </p:sp>
      <p:pic>
        <p:nvPicPr>
          <p:cNvPr id="3" name="Picture 2"/>
          <p:cNvPicPr>
            <a:picLocks noChangeAspect="1"/>
          </p:cNvPicPr>
          <p:nvPr/>
        </p:nvPicPr>
        <p:blipFill>
          <a:blip r:embed="rId3"/>
          <a:stretch>
            <a:fillRect/>
          </a:stretch>
        </p:blipFill>
        <p:spPr>
          <a:xfrm>
            <a:off x="3427393" y="2026304"/>
            <a:ext cx="3724275" cy="1371600"/>
          </a:xfrm>
          <a:prstGeom prst="rect">
            <a:avLst/>
          </a:prstGeom>
          <a:ln>
            <a:noFill/>
          </a:ln>
          <a:effectLst>
            <a:outerShdw blurRad="190500" algn="tl" rotWithShape="0">
              <a:srgbClr val="000000">
                <a:alpha val="70000"/>
              </a:srgbClr>
            </a:outerShdw>
          </a:effectLst>
        </p:spPr>
      </p:pic>
      <p:pic>
        <p:nvPicPr>
          <p:cNvPr id="4" name="Picture 3"/>
          <p:cNvPicPr>
            <a:picLocks noChangeAspect="1"/>
          </p:cNvPicPr>
          <p:nvPr/>
        </p:nvPicPr>
        <p:blipFill>
          <a:blip r:embed="rId4"/>
          <a:stretch>
            <a:fillRect/>
          </a:stretch>
        </p:blipFill>
        <p:spPr>
          <a:xfrm>
            <a:off x="3427393" y="4707283"/>
            <a:ext cx="4458514" cy="1678423"/>
          </a:xfrm>
          <a:prstGeom prst="rect">
            <a:avLst/>
          </a:prstGeom>
          <a:ln>
            <a:noFill/>
          </a:ln>
          <a:effectLst>
            <a:outerShdw blurRad="190500" algn="tl" rotWithShape="0">
              <a:srgbClr val="000000">
                <a:alpha val="70000"/>
              </a:srgbClr>
            </a:outerShdw>
          </a:effectLst>
        </p:spPr>
      </p:pic>
      <p:sp>
        <p:nvSpPr>
          <p:cNvPr id="44" name="Right Arrow 43"/>
          <p:cNvSpPr/>
          <p:nvPr/>
        </p:nvSpPr>
        <p:spPr bwMode="auto">
          <a:xfrm>
            <a:off x="7860221" y="5156937"/>
            <a:ext cx="510766" cy="472838"/>
          </a:xfrm>
          <a:prstGeom prst="rightArrow">
            <a:avLst/>
          </a:prstGeom>
          <a:solidFill>
            <a:srgbClr val="FF00FF"/>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pt-PT"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5" name="Picture 4"/>
          <p:cNvPicPr>
            <a:picLocks noChangeAspect="1"/>
          </p:cNvPicPr>
          <p:nvPr/>
        </p:nvPicPr>
        <p:blipFill>
          <a:blip r:embed="rId5"/>
          <a:stretch>
            <a:fillRect/>
          </a:stretch>
        </p:blipFill>
        <p:spPr>
          <a:xfrm>
            <a:off x="8390667" y="4382934"/>
            <a:ext cx="3139377" cy="2279356"/>
          </a:xfrm>
          <a:prstGeom prst="rect">
            <a:avLst/>
          </a:prstGeom>
          <a:ln>
            <a:noFill/>
          </a:ln>
          <a:effectLst>
            <a:outerShdw blurRad="190500" algn="tl" rotWithShape="0">
              <a:srgbClr val="000000">
                <a:alpha val="70000"/>
              </a:srgbClr>
            </a:outerShdw>
          </a:effectLst>
        </p:spPr>
      </p:pic>
    </p:spTree>
    <p:extLst>
      <p:ext uri="{BB962C8B-B14F-4D97-AF65-F5344CB8AC3E}">
        <p14:creationId xmlns:p14="http://schemas.microsoft.com/office/powerpoint/2010/main" val="20704617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solidFill>
            <a:schemeClr val="bg1"/>
          </a:solidFill>
        </p:spPr>
        <p:txBody>
          <a:bodyPr/>
          <a:lstStyle/>
          <a:p>
            <a:r>
              <a:rPr lang="en-US" sz="3600">
                <a:solidFill>
                  <a:schemeClr val="tx1"/>
                </a:solidFill>
              </a:rPr>
              <a:t>Sorting</a:t>
            </a:r>
          </a:p>
        </p:txBody>
      </p:sp>
      <p:grpSp>
        <p:nvGrpSpPr>
          <p:cNvPr id="52" name="Group 51"/>
          <p:cNvGrpSpPr/>
          <p:nvPr/>
        </p:nvGrpSpPr>
        <p:grpSpPr>
          <a:xfrm>
            <a:off x="2" y="1"/>
            <a:ext cx="2849058" cy="6858000"/>
            <a:chOff x="2" y="1"/>
            <a:chExt cx="2849058" cy="6858000"/>
          </a:xfrm>
        </p:grpSpPr>
        <p:sp>
          <p:nvSpPr>
            <p:cNvPr id="71" name="Rectangle 70"/>
            <p:cNvSpPr/>
            <p:nvPr/>
          </p:nvSpPr>
          <p:spPr bwMode="auto">
            <a:xfrm>
              <a:off x="2" y="1"/>
              <a:ext cx="2849058"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3" name="Oval 70"/>
            <p:cNvSpPr/>
            <p:nvPr/>
          </p:nvSpPr>
          <p:spPr>
            <a:xfrm>
              <a:off x="1413521" y="4951537"/>
              <a:ext cx="1119626" cy="1119626"/>
            </a:xfrm>
            <a:prstGeom prst="ellipse">
              <a:avLst/>
            </a:prstGeom>
            <a:solidFill>
              <a:srgbClr val="F2C812"/>
            </a:solidFill>
            <a:ln w="3175" cap="flat" cmpd="sng" algn="ctr">
              <a:noFill/>
              <a:prstDash val="solid"/>
            </a:ln>
            <a:effectLst/>
          </p:spPr>
          <p:txBody>
            <a:bodyPr vert="horz" wrap="none" lIns="0" tIns="45720" rIns="0" bIns="0" rtlCol="0" anchor="t"/>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Segoe UI"/>
                  <a:ea typeface="Segoe UI" pitchFamily="34" charset="0"/>
                  <a:cs typeface="Segoe UI" pitchFamily="34" charset="0"/>
                </a:rPr>
                <a:t>Share &amp;</a:t>
              </a:r>
            </a:p>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Segoe UI"/>
                  <a:ea typeface="Segoe UI" pitchFamily="34" charset="0"/>
                  <a:cs typeface="Segoe UI" pitchFamily="34" charset="0"/>
                </a:rPr>
                <a:t>collaborate </a:t>
              </a:r>
            </a:p>
          </p:txBody>
        </p:sp>
        <p:grpSp>
          <p:nvGrpSpPr>
            <p:cNvPr id="76" name="Group 38"/>
            <p:cNvGrpSpPr>
              <a:grpSpLocks noChangeAspect="1"/>
            </p:cNvGrpSpPr>
            <p:nvPr/>
          </p:nvGrpSpPr>
          <p:grpSpPr>
            <a:xfrm>
              <a:off x="676996" y="3930692"/>
              <a:ext cx="383905" cy="351536"/>
              <a:chOff x="4363684" y="5330386"/>
              <a:chExt cx="1409956" cy="1291077"/>
            </a:xfrm>
            <a:solidFill>
              <a:srgbClr val="217346"/>
            </a:solidFill>
          </p:grpSpPr>
          <p:sp>
            <p:nvSpPr>
              <p:cNvPr id="102" name="Donut 3"/>
              <p:cNvSpPr/>
              <p:nvPr/>
            </p:nvSpPr>
            <p:spPr bwMode="auto">
              <a:xfrm>
                <a:off x="4363684" y="5330386"/>
                <a:ext cx="1409956" cy="1291077"/>
              </a:xfrm>
              <a:custGeom>
                <a:avLst/>
                <a:gdLst/>
                <a:ahLst/>
                <a:cxnLst/>
                <a:rect l="l" t="t" r="r" b="b"/>
                <a:pathLst>
                  <a:path w="1409956" h="1291077">
                    <a:moveTo>
                      <a:pt x="956401" y="78410"/>
                    </a:moveTo>
                    <a:cubicBezTo>
                      <a:pt x="747518" y="78410"/>
                      <a:pt x="578184" y="247744"/>
                      <a:pt x="578184" y="456627"/>
                    </a:cubicBezTo>
                    <a:cubicBezTo>
                      <a:pt x="578184" y="665510"/>
                      <a:pt x="747518" y="834844"/>
                      <a:pt x="956401" y="834844"/>
                    </a:cubicBezTo>
                    <a:cubicBezTo>
                      <a:pt x="1165284" y="834844"/>
                      <a:pt x="1334618" y="665510"/>
                      <a:pt x="1334618" y="456627"/>
                    </a:cubicBezTo>
                    <a:cubicBezTo>
                      <a:pt x="1334618" y="247744"/>
                      <a:pt x="1165284" y="78410"/>
                      <a:pt x="956401" y="78410"/>
                    </a:cubicBezTo>
                    <a:close/>
                    <a:moveTo>
                      <a:pt x="952756" y="0"/>
                    </a:moveTo>
                    <a:cubicBezTo>
                      <a:pt x="1205261" y="0"/>
                      <a:pt x="1409956" y="204695"/>
                      <a:pt x="1409956" y="457200"/>
                    </a:cubicBezTo>
                    <a:cubicBezTo>
                      <a:pt x="1409956" y="709705"/>
                      <a:pt x="1205261" y="914400"/>
                      <a:pt x="952756" y="914400"/>
                    </a:cubicBezTo>
                    <a:cubicBezTo>
                      <a:pt x="862133" y="914400"/>
                      <a:pt x="777669" y="888034"/>
                      <a:pt x="707132" y="841746"/>
                    </a:cubicBezTo>
                    <a:lnTo>
                      <a:pt x="136495" y="1280102"/>
                    </a:lnTo>
                    <a:cubicBezTo>
                      <a:pt x="21896" y="1327168"/>
                      <a:pt x="-44029" y="1213730"/>
                      <a:pt x="33797" y="1113182"/>
                    </a:cubicBezTo>
                    <a:lnTo>
                      <a:pt x="568587" y="703518"/>
                    </a:lnTo>
                    <a:cubicBezTo>
                      <a:pt x="522087" y="632814"/>
                      <a:pt x="495556" y="548105"/>
                      <a:pt x="495556" y="457200"/>
                    </a:cubicBezTo>
                    <a:cubicBezTo>
                      <a:pt x="495556" y="204695"/>
                      <a:pt x="700251" y="0"/>
                      <a:pt x="952756" y="0"/>
                    </a:cubicBezTo>
                    <a:close/>
                  </a:path>
                </a:pathLst>
              </a:custGeom>
              <a:grpFill/>
              <a:ln>
                <a:solidFill>
                  <a:srgbClr val="21734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sp>
            <p:nvSpPr>
              <p:cNvPr id="103" name="Rectangle 4"/>
              <p:cNvSpPr/>
              <p:nvPr/>
            </p:nvSpPr>
            <p:spPr>
              <a:xfrm>
                <a:off x="5058389" y="5528247"/>
                <a:ext cx="490885" cy="490020"/>
              </a:xfrm>
              <a:custGeom>
                <a:avLst/>
                <a:gdLst/>
                <a:ahLst/>
                <a:cxnLst/>
                <a:rect l="l" t="t" r="r" b="b"/>
                <a:pathLst>
                  <a:path w="490885" h="490020">
                    <a:moveTo>
                      <a:pt x="240752" y="0"/>
                    </a:moveTo>
                    <a:cubicBezTo>
                      <a:pt x="253961" y="11844"/>
                      <a:pt x="293310" y="49692"/>
                      <a:pt x="337332" y="92439"/>
                    </a:cubicBezTo>
                    <a:lnTo>
                      <a:pt x="328342" y="81259"/>
                    </a:lnTo>
                    <a:cubicBezTo>
                      <a:pt x="356946" y="111282"/>
                      <a:pt x="377251" y="107167"/>
                      <a:pt x="382515" y="87941"/>
                    </a:cubicBezTo>
                    <a:cubicBezTo>
                      <a:pt x="383951" y="76921"/>
                      <a:pt x="384595" y="68732"/>
                      <a:pt x="396997" y="52239"/>
                    </a:cubicBezTo>
                    <a:cubicBezTo>
                      <a:pt x="420362" y="32084"/>
                      <a:pt x="442294" y="41736"/>
                      <a:pt x="454920" y="51330"/>
                    </a:cubicBezTo>
                    <a:cubicBezTo>
                      <a:pt x="467834" y="62761"/>
                      <a:pt x="477920" y="86882"/>
                      <a:pt x="460392" y="109714"/>
                    </a:cubicBezTo>
                    <a:cubicBezTo>
                      <a:pt x="451128" y="121912"/>
                      <a:pt x="437554" y="126838"/>
                      <a:pt x="425922" y="126505"/>
                    </a:cubicBezTo>
                    <a:cubicBezTo>
                      <a:pt x="424301" y="127609"/>
                      <a:pt x="382890" y="134974"/>
                      <a:pt x="427348" y="177672"/>
                    </a:cubicBezTo>
                    <a:lnTo>
                      <a:pt x="416886" y="169735"/>
                    </a:lnTo>
                    <a:cubicBezTo>
                      <a:pt x="450207" y="202177"/>
                      <a:pt x="478424" y="229744"/>
                      <a:pt x="490885" y="241900"/>
                    </a:cubicBezTo>
                    <a:lnTo>
                      <a:pt x="417150" y="317347"/>
                    </a:lnTo>
                    <a:cubicBezTo>
                      <a:pt x="417744" y="316535"/>
                      <a:pt x="418443" y="316123"/>
                      <a:pt x="419047" y="315822"/>
                    </a:cubicBezTo>
                    <a:cubicBezTo>
                      <a:pt x="389023" y="344426"/>
                      <a:pt x="393138" y="364731"/>
                      <a:pt x="412364" y="369995"/>
                    </a:cubicBezTo>
                    <a:cubicBezTo>
                      <a:pt x="423384" y="371431"/>
                      <a:pt x="431574" y="372075"/>
                      <a:pt x="448067" y="384477"/>
                    </a:cubicBezTo>
                    <a:cubicBezTo>
                      <a:pt x="468221" y="407842"/>
                      <a:pt x="458569" y="429774"/>
                      <a:pt x="448975" y="442400"/>
                    </a:cubicBezTo>
                    <a:cubicBezTo>
                      <a:pt x="437545" y="455314"/>
                      <a:pt x="413423" y="465400"/>
                      <a:pt x="390591" y="447872"/>
                    </a:cubicBezTo>
                    <a:cubicBezTo>
                      <a:pt x="378394" y="438608"/>
                      <a:pt x="373468" y="425034"/>
                      <a:pt x="373800" y="413402"/>
                    </a:cubicBezTo>
                    <a:cubicBezTo>
                      <a:pt x="372696" y="411781"/>
                      <a:pt x="365332" y="370370"/>
                      <a:pt x="322634" y="414828"/>
                    </a:cubicBezTo>
                    <a:lnTo>
                      <a:pt x="325243" y="411388"/>
                    </a:lnTo>
                    <a:lnTo>
                      <a:pt x="248395" y="490020"/>
                    </a:lnTo>
                    <a:cubicBezTo>
                      <a:pt x="208939" y="451897"/>
                      <a:pt x="199129" y="442073"/>
                      <a:pt x="174192" y="418236"/>
                    </a:cubicBezTo>
                    <a:cubicBezTo>
                      <a:pt x="145587" y="388212"/>
                      <a:pt x="125282" y="392327"/>
                      <a:pt x="120018" y="411553"/>
                    </a:cubicBezTo>
                    <a:cubicBezTo>
                      <a:pt x="118582" y="422573"/>
                      <a:pt x="117938" y="430763"/>
                      <a:pt x="105536" y="447256"/>
                    </a:cubicBezTo>
                    <a:cubicBezTo>
                      <a:pt x="82171" y="467410"/>
                      <a:pt x="60239" y="457758"/>
                      <a:pt x="47614" y="448164"/>
                    </a:cubicBezTo>
                    <a:cubicBezTo>
                      <a:pt x="34699" y="436734"/>
                      <a:pt x="24614" y="412612"/>
                      <a:pt x="42141" y="389780"/>
                    </a:cubicBezTo>
                    <a:cubicBezTo>
                      <a:pt x="51405" y="377583"/>
                      <a:pt x="64979" y="372657"/>
                      <a:pt x="76612" y="372989"/>
                    </a:cubicBezTo>
                    <a:cubicBezTo>
                      <a:pt x="78232" y="371886"/>
                      <a:pt x="119644" y="364521"/>
                      <a:pt x="75186" y="321823"/>
                    </a:cubicBezTo>
                    <a:cubicBezTo>
                      <a:pt x="58767" y="305402"/>
                      <a:pt x="23648" y="271235"/>
                      <a:pt x="0" y="248738"/>
                    </a:cubicBezTo>
                    <a:lnTo>
                      <a:pt x="77303" y="168146"/>
                    </a:lnTo>
                    <a:cubicBezTo>
                      <a:pt x="104269" y="140313"/>
                      <a:pt x="122130" y="156409"/>
                      <a:pt x="124388" y="175543"/>
                    </a:cubicBezTo>
                    <a:cubicBezTo>
                      <a:pt x="124457" y="182466"/>
                      <a:pt x="127106" y="193106"/>
                      <a:pt x="137575" y="203052"/>
                    </a:cubicBezTo>
                    <a:cubicBezTo>
                      <a:pt x="153931" y="220277"/>
                      <a:pt x="181252" y="217451"/>
                      <a:pt x="196721" y="201951"/>
                    </a:cubicBezTo>
                    <a:cubicBezTo>
                      <a:pt x="211961" y="185740"/>
                      <a:pt x="213057" y="157882"/>
                      <a:pt x="196146" y="142797"/>
                    </a:cubicBezTo>
                    <a:cubicBezTo>
                      <a:pt x="184301" y="132637"/>
                      <a:pt x="177155" y="131453"/>
                      <a:pt x="166513" y="129894"/>
                    </a:cubicBezTo>
                    <a:cubicBezTo>
                      <a:pt x="154522" y="129013"/>
                      <a:pt x="131185" y="112953"/>
                      <a:pt x="157905" y="85228"/>
                    </a:cubicBezTo>
                    <a:close/>
                  </a:path>
                </a:pathLst>
              </a:custGeom>
              <a:grpFill/>
              <a:ln>
                <a:solidFill>
                  <a:srgbClr val="21734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grpSp>
        <p:sp>
          <p:nvSpPr>
            <p:cNvPr id="77" name="Oval 47"/>
            <p:cNvSpPr/>
            <p:nvPr/>
          </p:nvSpPr>
          <p:spPr>
            <a:xfrm>
              <a:off x="388608" y="3710471"/>
              <a:ext cx="1119626" cy="1119626"/>
            </a:xfrm>
            <a:prstGeom prst="ellipse">
              <a:avLst/>
            </a:prstGeom>
            <a:solidFill>
              <a:srgbClr val="F2C812"/>
            </a:solidFill>
            <a:ln w="3175" cap="flat" cmpd="sng" algn="ctr">
              <a:noFill/>
              <a:prstDash val="solid"/>
            </a:ln>
            <a:effectLst/>
          </p:spPr>
          <p:txBody>
            <a:bodyPr vert="horz" wrap="none" lIns="0" tIns="45720" rIns="0" bIns="0" rtlCol="0" anchor="t"/>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Segoe UI"/>
                  <a:ea typeface="Segoe UI" pitchFamily="34" charset="0"/>
                  <a:cs typeface="Segoe UI" pitchFamily="34" charset="0"/>
                </a:rPr>
                <a:t>Report</a:t>
              </a:r>
            </a:p>
          </p:txBody>
        </p:sp>
        <p:sp>
          <p:nvSpPr>
            <p:cNvPr id="78" name="Oval 950"/>
            <p:cNvSpPr/>
            <p:nvPr/>
          </p:nvSpPr>
          <p:spPr>
            <a:xfrm>
              <a:off x="388608" y="1252295"/>
              <a:ext cx="1119626" cy="1119626"/>
            </a:xfrm>
            <a:prstGeom prst="ellipse">
              <a:avLst/>
            </a:prstGeom>
            <a:solidFill>
              <a:srgbClr val="F2C812"/>
            </a:solidFill>
            <a:ln w="3175" cap="flat" cmpd="sng" algn="ctr">
              <a:noFill/>
              <a:prstDash val="solid"/>
            </a:ln>
            <a:effectLst/>
          </p:spPr>
          <p:txBody>
            <a:bodyPr vert="horz" wrap="none" lIns="0" tIns="45720" rIns="0" bIns="0" rtlCol="0" anchor="t"/>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1" i="0" u="none" strike="noStrike" kern="1200" cap="none" spc="0" normalizeH="0" baseline="0" noProof="0">
                <a:ln>
                  <a:noFill/>
                </a:ln>
                <a:solidFill>
                  <a:srgbClr val="217346"/>
                </a:solidFill>
                <a:effectLst/>
                <a:uLnTx/>
                <a:uFillTx/>
                <a:latin typeface="Segoe UI"/>
                <a:ea typeface="Segoe UI" pitchFamily="34" charset="0"/>
                <a:cs typeface="Segoe UI" pitchFamily="34" charset="0"/>
              </a:endParaRPr>
            </a:p>
          </p:txBody>
        </p:sp>
        <p:grpSp>
          <p:nvGrpSpPr>
            <p:cNvPr id="79" name="Group 78"/>
            <p:cNvGrpSpPr/>
            <p:nvPr/>
          </p:nvGrpSpPr>
          <p:grpSpPr>
            <a:xfrm>
              <a:off x="1264851" y="3482890"/>
              <a:ext cx="292254" cy="354906"/>
              <a:chOff x="1296521" y="3253388"/>
              <a:chExt cx="292254" cy="354906"/>
            </a:xfrm>
            <a:solidFill>
              <a:srgbClr val="F2C812"/>
            </a:solidFill>
          </p:grpSpPr>
          <p:sp>
            <p:nvSpPr>
              <p:cNvPr id="99" name="Isosceles Triangle 98"/>
              <p:cNvSpPr/>
              <p:nvPr/>
            </p:nvSpPr>
            <p:spPr bwMode="auto">
              <a:xfrm rot="13636515">
                <a:off x="1461362" y="328936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0" name="Isosceles Triangle 99"/>
              <p:cNvSpPr/>
              <p:nvPr/>
            </p:nvSpPr>
            <p:spPr bwMode="auto">
              <a:xfrm rot="13636515">
                <a:off x="1357669" y="338258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1" name="Isosceles Triangle 100"/>
              <p:cNvSpPr/>
              <p:nvPr/>
            </p:nvSpPr>
            <p:spPr bwMode="auto">
              <a:xfrm rot="13636515">
                <a:off x="1260548" y="3480882"/>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80" name="Group 79"/>
            <p:cNvGrpSpPr/>
            <p:nvPr/>
          </p:nvGrpSpPr>
          <p:grpSpPr>
            <a:xfrm rot="15940603">
              <a:off x="1334576" y="2204404"/>
              <a:ext cx="292254" cy="354906"/>
              <a:chOff x="1296521" y="3253388"/>
              <a:chExt cx="292254" cy="354906"/>
            </a:xfrm>
            <a:solidFill>
              <a:srgbClr val="F2C812"/>
            </a:solidFill>
          </p:grpSpPr>
          <p:sp>
            <p:nvSpPr>
              <p:cNvPr id="96" name="Isosceles Triangle 95"/>
              <p:cNvSpPr/>
              <p:nvPr/>
            </p:nvSpPr>
            <p:spPr bwMode="auto">
              <a:xfrm rot="13636515">
                <a:off x="1461362" y="328936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7" name="Isosceles Triangle 96"/>
              <p:cNvSpPr/>
              <p:nvPr/>
            </p:nvSpPr>
            <p:spPr bwMode="auto">
              <a:xfrm rot="13636515">
                <a:off x="1357669" y="338258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8" name="Isosceles Triangle 97"/>
              <p:cNvSpPr/>
              <p:nvPr/>
            </p:nvSpPr>
            <p:spPr bwMode="auto">
              <a:xfrm rot="13636515">
                <a:off x="1260548" y="3480882"/>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81" name="Group 80"/>
            <p:cNvGrpSpPr/>
            <p:nvPr/>
          </p:nvGrpSpPr>
          <p:grpSpPr>
            <a:xfrm rot="16043978">
              <a:off x="1317220" y="4717577"/>
              <a:ext cx="292254" cy="354906"/>
              <a:chOff x="1296521" y="3253388"/>
              <a:chExt cx="292254" cy="354906"/>
            </a:xfrm>
            <a:solidFill>
              <a:srgbClr val="F2C812"/>
            </a:solidFill>
          </p:grpSpPr>
          <p:sp>
            <p:nvSpPr>
              <p:cNvPr id="93" name="Isosceles Triangle 92"/>
              <p:cNvSpPr/>
              <p:nvPr/>
            </p:nvSpPr>
            <p:spPr bwMode="auto">
              <a:xfrm rot="13636515">
                <a:off x="1461362" y="328936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4" name="Isosceles Triangle 93"/>
              <p:cNvSpPr/>
              <p:nvPr/>
            </p:nvSpPr>
            <p:spPr bwMode="auto">
              <a:xfrm rot="13636515">
                <a:off x="1357669" y="338258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5" name="Isosceles Triangle 94"/>
              <p:cNvSpPr/>
              <p:nvPr/>
            </p:nvSpPr>
            <p:spPr bwMode="auto">
              <a:xfrm rot="13636515">
                <a:off x="1260548" y="3480882"/>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82" name="Oval 36"/>
            <p:cNvSpPr/>
            <p:nvPr/>
          </p:nvSpPr>
          <p:spPr>
            <a:xfrm>
              <a:off x="1413521" y="2481383"/>
              <a:ext cx="1119626" cy="1119626"/>
            </a:xfrm>
            <a:prstGeom prst="ellipse">
              <a:avLst/>
            </a:prstGeom>
            <a:solidFill>
              <a:srgbClr val="F2C812"/>
            </a:solidFill>
            <a:ln w="3175" cap="flat" cmpd="sng" algn="ctr">
              <a:noFill/>
              <a:prstDash val="solid"/>
            </a:ln>
            <a:effectLst/>
          </p:spPr>
          <p:txBody>
            <a:bodyPr vert="horz" wrap="none" lIns="0" tIns="0" rIns="0" bIns="0" rtlCol="0" anchor="t"/>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400" b="1" i="0" u="none" strike="noStrike" kern="1200" cap="none" spc="0" normalizeH="0" baseline="0" noProof="0">
                <a:ln>
                  <a:noFill/>
                </a:ln>
                <a:solidFill>
                  <a:srgbClr val="217346"/>
                </a:solidFill>
                <a:effectLst/>
                <a:uLnTx/>
                <a:uFillTx/>
                <a:latin typeface="Segoe UI"/>
                <a:ea typeface="Segoe UI" pitchFamily="34" charset="0"/>
                <a:cs typeface="Segoe UI" pitchFamily="34" charset="0"/>
              </a:endParaRPr>
            </a:p>
          </p:txBody>
        </p:sp>
        <p:sp>
          <p:nvSpPr>
            <p:cNvPr id="83" name="Donut 3"/>
            <p:cNvSpPr/>
            <p:nvPr/>
          </p:nvSpPr>
          <p:spPr bwMode="auto">
            <a:xfrm>
              <a:off x="1742065" y="3002355"/>
              <a:ext cx="383905" cy="351537"/>
            </a:xfrm>
            <a:custGeom>
              <a:avLst/>
              <a:gdLst/>
              <a:ahLst/>
              <a:cxnLst/>
              <a:rect l="l" t="t" r="r" b="b"/>
              <a:pathLst>
                <a:path w="1409956" h="1291077">
                  <a:moveTo>
                    <a:pt x="956401" y="78410"/>
                  </a:moveTo>
                  <a:cubicBezTo>
                    <a:pt x="747518" y="78410"/>
                    <a:pt x="578184" y="247744"/>
                    <a:pt x="578184" y="456627"/>
                  </a:cubicBezTo>
                  <a:cubicBezTo>
                    <a:pt x="578184" y="665510"/>
                    <a:pt x="747518" y="834844"/>
                    <a:pt x="956401" y="834844"/>
                  </a:cubicBezTo>
                  <a:cubicBezTo>
                    <a:pt x="1165284" y="834844"/>
                    <a:pt x="1334618" y="665510"/>
                    <a:pt x="1334618" y="456627"/>
                  </a:cubicBezTo>
                  <a:cubicBezTo>
                    <a:pt x="1334618" y="247744"/>
                    <a:pt x="1165284" y="78410"/>
                    <a:pt x="956401" y="78410"/>
                  </a:cubicBezTo>
                  <a:close/>
                  <a:moveTo>
                    <a:pt x="952756" y="0"/>
                  </a:moveTo>
                  <a:cubicBezTo>
                    <a:pt x="1205261" y="0"/>
                    <a:pt x="1409956" y="204695"/>
                    <a:pt x="1409956" y="457200"/>
                  </a:cubicBezTo>
                  <a:cubicBezTo>
                    <a:pt x="1409956" y="709705"/>
                    <a:pt x="1205261" y="914400"/>
                    <a:pt x="952756" y="914400"/>
                  </a:cubicBezTo>
                  <a:cubicBezTo>
                    <a:pt x="862133" y="914400"/>
                    <a:pt x="777669" y="888034"/>
                    <a:pt x="707132" y="841746"/>
                  </a:cubicBezTo>
                  <a:lnTo>
                    <a:pt x="136495" y="1280102"/>
                  </a:lnTo>
                  <a:cubicBezTo>
                    <a:pt x="21896" y="1327168"/>
                    <a:pt x="-44029" y="1213730"/>
                    <a:pt x="33797" y="1113182"/>
                  </a:cubicBezTo>
                  <a:lnTo>
                    <a:pt x="568587" y="703518"/>
                  </a:lnTo>
                  <a:cubicBezTo>
                    <a:pt x="522087" y="632814"/>
                    <a:pt x="495556" y="548105"/>
                    <a:pt x="495556" y="457200"/>
                  </a:cubicBezTo>
                  <a:cubicBezTo>
                    <a:pt x="495556" y="204695"/>
                    <a:pt x="700251" y="0"/>
                    <a:pt x="952756" y="0"/>
                  </a:cubicBezTo>
                  <a:close/>
                </a:path>
              </a:pathLst>
            </a:cu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sp>
          <p:nvSpPr>
            <p:cNvPr id="84" name="Rectangle 83"/>
            <p:cNvSpPr/>
            <p:nvPr/>
          </p:nvSpPr>
          <p:spPr>
            <a:xfrm>
              <a:off x="1600398" y="2677430"/>
              <a:ext cx="820353" cy="307777"/>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Segoe UI"/>
                  <a:ea typeface="Segoe UI" pitchFamily="34" charset="0"/>
                  <a:cs typeface="Segoe UI" pitchFamily="34" charset="0"/>
                </a:rPr>
                <a:t>Explore</a:t>
              </a:r>
              <a:endParaRPr kumimoji="0" lang="en-US" sz="1600" b="0" i="0" u="none" strike="noStrike" kern="1200" cap="none" spc="0" normalizeH="0" baseline="0" noProof="0">
                <a:ln>
                  <a:noFill/>
                </a:ln>
                <a:solidFill>
                  <a:srgbClr val="000000"/>
                </a:solidFill>
                <a:effectLst/>
                <a:uLnTx/>
                <a:uFillTx/>
                <a:latin typeface="Segoe UI"/>
                <a:ea typeface="+mn-ea"/>
                <a:cs typeface="+mn-cs"/>
              </a:endParaRPr>
            </a:p>
          </p:txBody>
        </p:sp>
        <p:sp>
          <p:nvSpPr>
            <p:cNvPr id="85" name="Rectangle 84"/>
            <p:cNvSpPr/>
            <p:nvPr/>
          </p:nvSpPr>
          <p:spPr>
            <a:xfrm>
              <a:off x="509174" y="1475232"/>
              <a:ext cx="838756" cy="307777"/>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Segoe UI"/>
                  <a:ea typeface="Segoe UI" pitchFamily="34" charset="0"/>
                  <a:cs typeface="Segoe UI" pitchFamily="34" charset="0"/>
                </a:rPr>
                <a:t>Prepare</a:t>
              </a: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86" name="Freeform 85"/>
            <p:cNvSpPr>
              <a:spLocks noChangeAspect="1"/>
            </p:cNvSpPr>
            <p:nvPr/>
          </p:nvSpPr>
          <p:spPr bwMode="black">
            <a:xfrm>
              <a:off x="1836174" y="5643069"/>
              <a:ext cx="274320" cy="284173"/>
            </a:xfrm>
            <a:custGeom>
              <a:avLst/>
              <a:gdLst>
                <a:gd name="T0" fmla="*/ 539 w 669"/>
                <a:gd name="T1" fmla="*/ 5 h 693"/>
                <a:gd name="T2" fmla="*/ 640 w 669"/>
                <a:gd name="T3" fmla="*/ 55 h 693"/>
                <a:gd name="T4" fmla="*/ 603 w 669"/>
                <a:gd name="T5" fmla="*/ 195 h 693"/>
                <a:gd name="T6" fmla="*/ 490 w 669"/>
                <a:gd name="T7" fmla="*/ 188 h 693"/>
                <a:gd name="T8" fmla="*/ 479 w 669"/>
                <a:gd name="T9" fmla="*/ 176 h 693"/>
                <a:gd name="T10" fmla="*/ 213 w 669"/>
                <a:gd name="T11" fmla="*/ 330 h 693"/>
                <a:gd name="T12" fmla="*/ 218 w 669"/>
                <a:gd name="T13" fmla="*/ 345 h 693"/>
                <a:gd name="T14" fmla="*/ 218 w 669"/>
                <a:gd name="T15" fmla="*/ 375 h 693"/>
                <a:gd name="T16" fmla="*/ 209 w 669"/>
                <a:gd name="T17" fmla="*/ 402 h 693"/>
                <a:gd name="T18" fmla="*/ 369 w 669"/>
                <a:gd name="T19" fmla="*/ 503 h 693"/>
                <a:gd name="T20" fmla="*/ 373 w 669"/>
                <a:gd name="T21" fmla="*/ 498 h 693"/>
                <a:gd name="T22" fmla="*/ 456 w 669"/>
                <a:gd name="T23" fmla="*/ 475 h 693"/>
                <a:gd name="T24" fmla="*/ 494 w 669"/>
                <a:gd name="T25" fmla="*/ 489 h 693"/>
                <a:gd name="T26" fmla="*/ 527 w 669"/>
                <a:gd name="T27" fmla="*/ 630 h 693"/>
                <a:gd name="T28" fmla="*/ 386 w 669"/>
                <a:gd name="T29" fmla="*/ 663 h 693"/>
                <a:gd name="T30" fmla="*/ 339 w 669"/>
                <a:gd name="T31" fmla="*/ 560 h 693"/>
                <a:gd name="T32" fmla="*/ 345 w 669"/>
                <a:gd name="T33" fmla="*/ 544 h 693"/>
                <a:gd name="T34" fmla="*/ 177 w 669"/>
                <a:gd name="T35" fmla="*/ 439 h 693"/>
                <a:gd name="T36" fmla="*/ 168 w 669"/>
                <a:gd name="T37" fmla="*/ 446 h 693"/>
                <a:gd name="T38" fmla="*/ 28 w 669"/>
                <a:gd name="T39" fmla="*/ 409 h 693"/>
                <a:gd name="T40" fmla="*/ 65 w 669"/>
                <a:gd name="T41" fmla="*/ 269 h 693"/>
                <a:gd name="T42" fmla="*/ 178 w 669"/>
                <a:gd name="T43" fmla="*/ 276 h 693"/>
                <a:gd name="T44" fmla="*/ 189 w 669"/>
                <a:gd name="T45" fmla="*/ 288 h 693"/>
                <a:gd name="T46" fmla="*/ 455 w 669"/>
                <a:gd name="T47" fmla="*/ 134 h 693"/>
                <a:gd name="T48" fmla="*/ 450 w 669"/>
                <a:gd name="T49" fmla="*/ 119 h 693"/>
                <a:gd name="T50" fmla="*/ 501 w 669"/>
                <a:gd name="T51" fmla="*/ 18 h 693"/>
                <a:gd name="T52" fmla="*/ 539 w 669"/>
                <a:gd name="T53" fmla="*/ 5 h 6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69" h="693">
                  <a:moveTo>
                    <a:pt x="539" y="5"/>
                  </a:moveTo>
                  <a:cubicBezTo>
                    <a:pt x="579" y="0"/>
                    <a:pt x="619" y="19"/>
                    <a:pt x="640" y="55"/>
                  </a:cubicBezTo>
                  <a:cubicBezTo>
                    <a:pt x="669" y="104"/>
                    <a:pt x="652" y="167"/>
                    <a:pt x="603" y="195"/>
                  </a:cubicBezTo>
                  <a:cubicBezTo>
                    <a:pt x="566" y="216"/>
                    <a:pt x="522" y="212"/>
                    <a:pt x="490" y="188"/>
                  </a:cubicBezTo>
                  <a:cubicBezTo>
                    <a:pt x="479" y="176"/>
                    <a:pt x="479" y="176"/>
                    <a:pt x="479" y="176"/>
                  </a:cubicBezTo>
                  <a:cubicBezTo>
                    <a:pt x="213" y="330"/>
                    <a:pt x="213" y="330"/>
                    <a:pt x="213" y="330"/>
                  </a:cubicBezTo>
                  <a:cubicBezTo>
                    <a:pt x="218" y="345"/>
                    <a:pt x="218" y="345"/>
                    <a:pt x="218" y="345"/>
                  </a:cubicBezTo>
                  <a:cubicBezTo>
                    <a:pt x="219" y="355"/>
                    <a:pt x="219" y="365"/>
                    <a:pt x="218" y="375"/>
                  </a:cubicBezTo>
                  <a:cubicBezTo>
                    <a:pt x="209" y="402"/>
                    <a:pt x="209" y="402"/>
                    <a:pt x="209" y="402"/>
                  </a:cubicBezTo>
                  <a:cubicBezTo>
                    <a:pt x="369" y="503"/>
                    <a:pt x="369" y="503"/>
                    <a:pt x="369" y="503"/>
                  </a:cubicBezTo>
                  <a:cubicBezTo>
                    <a:pt x="373" y="498"/>
                    <a:pt x="373" y="498"/>
                    <a:pt x="373" y="498"/>
                  </a:cubicBezTo>
                  <a:cubicBezTo>
                    <a:pt x="396" y="479"/>
                    <a:pt x="427" y="470"/>
                    <a:pt x="456" y="475"/>
                  </a:cubicBezTo>
                  <a:cubicBezTo>
                    <a:pt x="470" y="477"/>
                    <a:pt x="482" y="482"/>
                    <a:pt x="494" y="489"/>
                  </a:cubicBezTo>
                  <a:cubicBezTo>
                    <a:pt x="542" y="519"/>
                    <a:pt x="557" y="583"/>
                    <a:pt x="527" y="630"/>
                  </a:cubicBezTo>
                  <a:cubicBezTo>
                    <a:pt x="497" y="678"/>
                    <a:pt x="433" y="693"/>
                    <a:pt x="386" y="663"/>
                  </a:cubicBezTo>
                  <a:cubicBezTo>
                    <a:pt x="350" y="640"/>
                    <a:pt x="333" y="599"/>
                    <a:pt x="339" y="560"/>
                  </a:cubicBezTo>
                  <a:cubicBezTo>
                    <a:pt x="345" y="544"/>
                    <a:pt x="345" y="544"/>
                    <a:pt x="345" y="544"/>
                  </a:cubicBezTo>
                  <a:cubicBezTo>
                    <a:pt x="177" y="439"/>
                    <a:pt x="177" y="439"/>
                    <a:pt x="177" y="439"/>
                  </a:cubicBezTo>
                  <a:cubicBezTo>
                    <a:pt x="168" y="446"/>
                    <a:pt x="168" y="446"/>
                    <a:pt x="168" y="446"/>
                  </a:cubicBezTo>
                  <a:cubicBezTo>
                    <a:pt x="119" y="475"/>
                    <a:pt x="56" y="458"/>
                    <a:pt x="28" y="409"/>
                  </a:cubicBezTo>
                  <a:cubicBezTo>
                    <a:pt x="0" y="360"/>
                    <a:pt x="16" y="297"/>
                    <a:pt x="65" y="269"/>
                  </a:cubicBezTo>
                  <a:cubicBezTo>
                    <a:pt x="102" y="248"/>
                    <a:pt x="147" y="252"/>
                    <a:pt x="178" y="276"/>
                  </a:cubicBezTo>
                  <a:cubicBezTo>
                    <a:pt x="189" y="288"/>
                    <a:pt x="189" y="288"/>
                    <a:pt x="189" y="288"/>
                  </a:cubicBezTo>
                  <a:cubicBezTo>
                    <a:pt x="455" y="134"/>
                    <a:pt x="455" y="134"/>
                    <a:pt x="455" y="134"/>
                  </a:cubicBezTo>
                  <a:cubicBezTo>
                    <a:pt x="450" y="119"/>
                    <a:pt x="450" y="119"/>
                    <a:pt x="450" y="119"/>
                  </a:cubicBezTo>
                  <a:cubicBezTo>
                    <a:pt x="445" y="80"/>
                    <a:pt x="464" y="39"/>
                    <a:pt x="501" y="18"/>
                  </a:cubicBezTo>
                  <a:cubicBezTo>
                    <a:pt x="513" y="11"/>
                    <a:pt x="526" y="6"/>
                    <a:pt x="539" y="5"/>
                  </a:cubicBezTo>
                  <a:close/>
                </a:path>
              </a:pathLst>
            </a:custGeom>
            <a:solidFill>
              <a:schemeClr val="tx1"/>
            </a:solidFill>
            <a:ln>
              <a:noFill/>
            </a:ln>
          </p:spPr>
          <p:txBody>
            <a:bodyPr vert="horz" wrap="square" lIns="68574" tIns="34287" rIns="68574" bIns="34287"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0000"/>
                </a:solidFill>
                <a:effectLst/>
                <a:uLnTx/>
                <a:uFillTx/>
                <a:latin typeface="Segoe UI"/>
                <a:ea typeface="+mn-ea"/>
                <a:cs typeface="+mn-cs"/>
              </a:endParaRPr>
            </a:p>
          </p:txBody>
        </p:sp>
        <p:sp>
          <p:nvSpPr>
            <p:cNvPr id="87" name="Freeform 86"/>
            <p:cNvSpPr>
              <a:spLocks noChangeAspect="1" noEditPoints="1"/>
            </p:cNvSpPr>
            <p:nvPr/>
          </p:nvSpPr>
          <p:spPr bwMode="black">
            <a:xfrm>
              <a:off x="722320" y="1783009"/>
              <a:ext cx="452202" cy="366660"/>
            </a:xfrm>
            <a:custGeom>
              <a:avLst/>
              <a:gdLst>
                <a:gd name="T0" fmla="*/ 600 w 1107"/>
                <a:gd name="T1" fmla="*/ 625 h 897"/>
                <a:gd name="T2" fmla="*/ 649 w 1107"/>
                <a:gd name="T3" fmla="*/ 567 h 897"/>
                <a:gd name="T4" fmla="*/ 727 w 1107"/>
                <a:gd name="T5" fmla="*/ 482 h 897"/>
                <a:gd name="T6" fmla="*/ 601 w 1107"/>
                <a:gd name="T7" fmla="*/ 434 h 897"/>
                <a:gd name="T8" fmla="*/ 628 w 1107"/>
                <a:gd name="T9" fmla="*/ 305 h 897"/>
                <a:gd name="T10" fmla="*/ 547 w 1107"/>
                <a:gd name="T11" fmla="*/ 240 h 897"/>
                <a:gd name="T12" fmla="*/ 427 w 1107"/>
                <a:gd name="T13" fmla="*/ 287 h 897"/>
                <a:gd name="T14" fmla="*/ 368 w 1107"/>
                <a:gd name="T15" fmla="*/ 170 h 897"/>
                <a:gd name="T16" fmla="*/ 285 w 1107"/>
                <a:gd name="T17" fmla="*/ 263 h 897"/>
                <a:gd name="T18" fmla="*/ 241 w 1107"/>
                <a:gd name="T19" fmla="*/ 313 h 897"/>
                <a:gd name="T20" fmla="*/ 139 w 1107"/>
                <a:gd name="T21" fmla="*/ 281 h 897"/>
                <a:gd name="T22" fmla="*/ 79 w 1107"/>
                <a:gd name="T23" fmla="*/ 355 h 897"/>
                <a:gd name="T24" fmla="*/ 132 w 1107"/>
                <a:gd name="T25" fmla="*/ 446 h 897"/>
                <a:gd name="T26" fmla="*/ 83 w 1107"/>
                <a:gd name="T27" fmla="*/ 505 h 897"/>
                <a:gd name="T28" fmla="*/ 5 w 1107"/>
                <a:gd name="T29" fmla="*/ 590 h 897"/>
                <a:gd name="T30" fmla="*/ 132 w 1107"/>
                <a:gd name="T31" fmla="*/ 638 h 897"/>
                <a:gd name="T32" fmla="*/ 145 w 1107"/>
                <a:gd name="T33" fmla="*/ 669 h 897"/>
                <a:gd name="T34" fmla="*/ 110 w 1107"/>
                <a:gd name="T35" fmla="*/ 793 h 897"/>
                <a:gd name="T36" fmla="*/ 230 w 1107"/>
                <a:gd name="T37" fmla="*/ 781 h 897"/>
                <a:gd name="T38" fmla="*/ 306 w 1107"/>
                <a:gd name="T39" fmla="*/ 785 h 897"/>
                <a:gd name="T40" fmla="*/ 346 w 1107"/>
                <a:gd name="T41" fmla="*/ 878 h 897"/>
                <a:gd name="T42" fmla="*/ 440 w 1107"/>
                <a:gd name="T43" fmla="*/ 872 h 897"/>
                <a:gd name="T44" fmla="*/ 466 w 1107"/>
                <a:gd name="T45" fmla="*/ 764 h 897"/>
                <a:gd name="T46" fmla="*/ 539 w 1107"/>
                <a:gd name="T47" fmla="*/ 755 h 897"/>
                <a:gd name="T48" fmla="*/ 659 w 1107"/>
                <a:gd name="T49" fmla="*/ 743 h 897"/>
                <a:gd name="T50" fmla="*/ 263 w 1107"/>
                <a:gd name="T51" fmla="*/ 452 h 897"/>
                <a:gd name="T52" fmla="*/ 281 w 1107"/>
                <a:gd name="T53" fmla="*/ 633 h 897"/>
                <a:gd name="T54" fmla="*/ 1002 w 1107"/>
                <a:gd name="T55" fmla="*/ 332 h 897"/>
                <a:gd name="T56" fmla="*/ 1043 w 1107"/>
                <a:gd name="T57" fmla="*/ 304 h 897"/>
                <a:gd name="T58" fmla="*/ 1107 w 1107"/>
                <a:gd name="T59" fmla="*/ 266 h 897"/>
                <a:gd name="T60" fmla="*/ 1037 w 1107"/>
                <a:gd name="T61" fmla="*/ 213 h 897"/>
                <a:gd name="T62" fmla="*/ 1077 w 1107"/>
                <a:gd name="T63" fmla="*/ 138 h 897"/>
                <a:gd name="T64" fmla="*/ 1038 w 1107"/>
                <a:gd name="T65" fmla="*/ 83 h 897"/>
                <a:gd name="T66" fmla="*/ 956 w 1107"/>
                <a:gd name="T67" fmla="*/ 91 h 897"/>
                <a:gd name="T68" fmla="*/ 940 w 1107"/>
                <a:gd name="T69" fmla="*/ 7 h 897"/>
                <a:gd name="T70" fmla="*/ 872 w 1107"/>
                <a:gd name="T71" fmla="*/ 50 h 897"/>
                <a:gd name="T72" fmla="*/ 836 w 1107"/>
                <a:gd name="T73" fmla="*/ 74 h 897"/>
                <a:gd name="T74" fmla="*/ 778 w 1107"/>
                <a:gd name="T75" fmla="*/ 35 h 897"/>
                <a:gd name="T76" fmla="*/ 728 w 1107"/>
                <a:gd name="T77" fmla="*/ 70 h 897"/>
                <a:gd name="T78" fmla="*/ 744 w 1107"/>
                <a:gd name="T79" fmla="*/ 136 h 897"/>
                <a:gd name="T80" fmla="*/ 703 w 1107"/>
                <a:gd name="T81" fmla="*/ 164 h 897"/>
                <a:gd name="T82" fmla="*/ 640 w 1107"/>
                <a:gd name="T83" fmla="*/ 203 h 897"/>
                <a:gd name="T84" fmla="*/ 710 w 1107"/>
                <a:gd name="T85" fmla="*/ 255 h 897"/>
                <a:gd name="T86" fmla="*/ 712 w 1107"/>
                <a:gd name="T87" fmla="*/ 277 h 897"/>
                <a:gd name="T88" fmla="*/ 668 w 1107"/>
                <a:gd name="T89" fmla="*/ 347 h 897"/>
                <a:gd name="T90" fmla="*/ 745 w 1107"/>
                <a:gd name="T91" fmla="*/ 361 h 897"/>
                <a:gd name="T92" fmla="*/ 791 w 1107"/>
                <a:gd name="T93" fmla="*/ 377 h 897"/>
                <a:gd name="T94" fmla="*/ 799 w 1107"/>
                <a:gd name="T95" fmla="*/ 443 h 897"/>
                <a:gd name="T96" fmla="*/ 859 w 1107"/>
                <a:gd name="T97" fmla="*/ 456 h 897"/>
                <a:gd name="T98" fmla="*/ 894 w 1107"/>
                <a:gd name="T99" fmla="*/ 393 h 897"/>
                <a:gd name="T100" fmla="*/ 941 w 1107"/>
                <a:gd name="T101" fmla="*/ 401 h 897"/>
                <a:gd name="T102" fmla="*/ 1018 w 1107"/>
                <a:gd name="T103" fmla="*/ 415 h 897"/>
                <a:gd name="T104" fmla="*/ 825 w 1107"/>
                <a:gd name="T105" fmla="*/ 164 h 897"/>
                <a:gd name="T106" fmla="*/ 803 w 1107"/>
                <a:gd name="T107" fmla="*/ 279 h 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107" h="897">
                  <a:moveTo>
                    <a:pt x="654" y="716"/>
                  </a:moveTo>
                  <a:cubicBezTo>
                    <a:pt x="616" y="670"/>
                    <a:pt x="616" y="670"/>
                    <a:pt x="616" y="670"/>
                  </a:cubicBezTo>
                  <a:cubicBezTo>
                    <a:pt x="593" y="654"/>
                    <a:pt x="603" y="638"/>
                    <a:pt x="600" y="625"/>
                  </a:cubicBezTo>
                  <a:cubicBezTo>
                    <a:pt x="600" y="625"/>
                    <a:pt x="600" y="625"/>
                    <a:pt x="600" y="625"/>
                  </a:cubicBezTo>
                  <a:cubicBezTo>
                    <a:pt x="605" y="617"/>
                    <a:pt x="611" y="609"/>
                    <a:pt x="608" y="596"/>
                  </a:cubicBezTo>
                  <a:cubicBezTo>
                    <a:pt x="618" y="580"/>
                    <a:pt x="623" y="572"/>
                    <a:pt x="649" y="567"/>
                  </a:cubicBezTo>
                  <a:cubicBezTo>
                    <a:pt x="715" y="553"/>
                    <a:pt x="715" y="553"/>
                    <a:pt x="715" y="553"/>
                  </a:cubicBezTo>
                  <a:cubicBezTo>
                    <a:pt x="728" y="550"/>
                    <a:pt x="733" y="542"/>
                    <a:pt x="730" y="529"/>
                  </a:cubicBezTo>
                  <a:cubicBezTo>
                    <a:pt x="727" y="482"/>
                    <a:pt x="727" y="482"/>
                    <a:pt x="727" y="482"/>
                  </a:cubicBezTo>
                  <a:cubicBezTo>
                    <a:pt x="724" y="469"/>
                    <a:pt x="717" y="463"/>
                    <a:pt x="701" y="453"/>
                  </a:cubicBezTo>
                  <a:cubicBezTo>
                    <a:pt x="641" y="459"/>
                    <a:pt x="641" y="459"/>
                    <a:pt x="641" y="459"/>
                  </a:cubicBezTo>
                  <a:cubicBezTo>
                    <a:pt x="620" y="457"/>
                    <a:pt x="604" y="447"/>
                    <a:pt x="601" y="434"/>
                  </a:cubicBezTo>
                  <a:cubicBezTo>
                    <a:pt x="598" y="421"/>
                    <a:pt x="590" y="416"/>
                    <a:pt x="580" y="397"/>
                  </a:cubicBezTo>
                  <a:cubicBezTo>
                    <a:pt x="577" y="384"/>
                    <a:pt x="574" y="371"/>
                    <a:pt x="584" y="355"/>
                  </a:cubicBezTo>
                  <a:cubicBezTo>
                    <a:pt x="628" y="305"/>
                    <a:pt x="628" y="305"/>
                    <a:pt x="628" y="305"/>
                  </a:cubicBezTo>
                  <a:cubicBezTo>
                    <a:pt x="634" y="297"/>
                    <a:pt x="631" y="284"/>
                    <a:pt x="623" y="279"/>
                  </a:cubicBezTo>
                  <a:cubicBezTo>
                    <a:pt x="581" y="240"/>
                    <a:pt x="581" y="240"/>
                    <a:pt x="581" y="240"/>
                  </a:cubicBezTo>
                  <a:cubicBezTo>
                    <a:pt x="573" y="235"/>
                    <a:pt x="560" y="238"/>
                    <a:pt x="547" y="240"/>
                  </a:cubicBezTo>
                  <a:cubicBezTo>
                    <a:pt x="503" y="291"/>
                    <a:pt x="503" y="291"/>
                    <a:pt x="503" y="291"/>
                  </a:cubicBezTo>
                  <a:cubicBezTo>
                    <a:pt x="484" y="302"/>
                    <a:pt x="471" y="304"/>
                    <a:pt x="463" y="299"/>
                  </a:cubicBezTo>
                  <a:cubicBezTo>
                    <a:pt x="456" y="294"/>
                    <a:pt x="435" y="292"/>
                    <a:pt x="427" y="287"/>
                  </a:cubicBezTo>
                  <a:cubicBezTo>
                    <a:pt x="419" y="282"/>
                    <a:pt x="403" y="271"/>
                    <a:pt x="400" y="258"/>
                  </a:cubicBezTo>
                  <a:cubicBezTo>
                    <a:pt x="386" y="193"/>
                    <a:pt x="386" y="193"/>
                    <a:pt x="386" y="193"/>
                  </a:cubicBezTo>
                  <a:cubicBezTo>
                    <a:pt x="384" y="180"/>
                    <a:pt x="368" y="170"/>
                    <a:pt x="368" y="170"/>
                  </a:cubicBezTo>
                  <a:cubicBezTo>
                    <a:pt x="308" y="176"/>
                    <a:pt x="308" y="176"/>
                    <a:pt x="308" y="176"/>
                  </a:cubicBezTo>
                  <a:cubicBezTo>
                    <a:pt x="308" y="176"/>
                    <a:pt x="289" y="187"/>
                    <a:pt x="292" y="200"/>
                  </a:cubicBezTo>
                  <a:cubicBezTo>
                    <a:pt x="285" y="263"/>
                    <a:pt x="285" y="263"/>
                    <a:pt x="285" y="263"/>
                  </a:cubicBezTo>
                  <a:cubicBezTo>
                    <a:pt x="291" y="289"/>
                    <a:pt x="277" y="292"/>
                    <a:pt x="272" y="300"/>
                  </a:cubicBezTo>
                  <a:cubicBezTo>
                    <a:pt x="272" y="300"/>
                    <a:pt x="272" y="300"/>
                    <a:pt x="267" y="308"/>
                  </a:cubicBezTo>
                  <a:cubicBezTo>
                    <a:pt x="259" y="302"/>
                    <a:pt x="246" y="305"/>
                    <a:pt x="241" y="313"/>
                  </a:cubicBezTo>
                  <a:cubicBezTo>
                    <a:pt x="236" y="321"/>
                    <a:pt x="236" y="321"/>
                    <a:pt x="236" y="321"/>
                  </a:cubicBezTo>
                  <a:cubicBezTo>
                    <a:pt x="223" y="324"/>
                    <a:pt x="210" y="327"/>
                    <a:pt x="194" y="317"/>
                  </a:cubicBezTo>
                  <a:cubicBezTo>
                    <a:pt x="139" y="281"/>
                    <a:pt x="139" y="281"/>
                    <a:pt x="139" y="281"/>
                  </a:cubicBezTo>
                  <a:cubicBezTo>
                    <a:pt x="131" y="276"/>
                    <a:pt x="110" y="273"/>
                    <a:pt x="104" y="281"/>
                  </a:cubicBezTo>
                  <a:cubicBezTo>
                    <a:pt x="79" y="321"/>
                    <a:pt x="79" y="321"/>
                    <a:pt x="79" y="321"/>
                  </a:cubicBezTo>
                  <a:cubicBezTo>
                    <a:pt x="66" y="324"/>
                    <a:pt x="68" y="337"/>
                    <a:pt x="79" y="355"/>
                  </a:cubicBezTo>
                  <a:cubicBezTo>
                    <a:pt x="121" y="394"/>
                    <a:pt x="121" y="394"/>
                    <a:pt x="121" y="394"/>
                  </a:cubicBezTo>
                  <a:cubicBezTo>
                    <a:pt x="140" y="417"/>
                    <a:pt x="135" y="425"/>
                    <a:pt x="132" y="446"/>
                  </a:cubicBezTo>
                  <a:cubicBezTo>
                    <a:pt x="132" y="446"/>
                    <a:pt x="132" y="446"/>
                    <a:pt x="132" y="446"/>
                  </a:cubicBezTo>
                  <a:cubicBezTo>
                    <a:pt x="127" y="454"/>
                    <a:pt x="122" y="462"/>
                    <a:pt x="117" y="470"/>
                  </a:cubicBezTo>
                  <a:cubicBezTo>
                    <a:pt x="117" y="470"/>
                    <a:pt x="117" y="470"/>
                    <a:pt x="117" y="470"/>
                  </a:cubicBezTo>
                  <a:cubicBezTo>
                    <a:pt x="120" y="483"/>
                    <a:pt x="109" y="499"/>
                    <a:pt x="83" y="505"/>
                  </a:cubicBezTo>
                  <a:cubicBezTo>
                    <a:pt x="23" y="511"/>
                    <a:pt x="23" y="511"/>
                    <a:pt x="23" y="511"/>
                  </a:cubicBezTo>
                  <a:cubicBezTo>
                    <a:pt x="10" y="514"/>
                    <a:pt x="0" y="529"/>
                    <a:pt x="2" y="543"/>
                  </a:cubicBezTo>
                  <a:cubicBezTo>
                    <a:pt x="5" y="590"/>
                    <a:pt x="5" y="590"/>
                    <a:pt x="5" y="590"/>
                  </a:cubicBezTo>
                  <a:cubicBezTo>
                    <a:pt x="8" y="603"/>
                    <a:pt x="16" y="608"/>
                    <a:pt x="37" y="610"/>
                  </a:cubicBezTo>
                  <a:cubicBezTo>
                    <a:pt x="92" y="612"/>
                    <a:pt x="92" y="612"/>
                    <a:pt x="92" y="612"/>
                  </a:cubicBezTo>
                  <a:cubicBezTo>
                    <a:pt x="113" y="614"/>
                    <a:pt x="129" y="625"/>
                    <a:pt x="132" y="638"/>
                  </a:cubicBezTo>
                  <a:cubicBezTo>
                    <a:pt x="132" y="638"/>
                    <a:pt x="132" y="638"/>
                    <a:pt x="132" y="638"/>
                  </a:cubicBezTo>
                  <a:cubicBezTo>
                    <a:pt x="140" y="643"/>
                    <a:pt x="142" y="656"/>
                    <a:pt x="150" y="661"/>
                  </a:cubicBezTo>
                  <a:cubicBezTo>
                    <a:pt x="145" y="669"/>
                    <a:pt x="145" y="669"/>
                    <a:pt x="145" y="669"/>
                  </a:cubicBezTo>
                  <a:cubicBezTo>
                    <a:pt x="153" y="674"/>
                    <a:pt x="156" y="687"/>
                    <a:pt x="140" y="711"/>
                  </a:cubicBezTo>
                  <a:cubicBezTo>
                    <a:pt x="109" y="759"/>
                    <a:pt x="109" y="759"/>
                    <a:pt x="109" y="759"/>
                  </a:cubicBezTo>
                  <a:cubicBezTo>
                    <a:pt x="99" y="775"/>
                    <a:pt x="102" y="788"/>
                    <a:pt x="110" y="793"/>
                  </a:cubicBezTo>
                  <a:cubicBezTo>
                    <a:pt x="152" y="832"/>
                    <a:pt x="152" y="832"/>
                    <a:pt x="152" y="832"/>
                  </a:cubicBezTo>
                  <a:cubicBezTo>
                    <a:pt x="160" y="837"/>
                    <a:pt x="173" y="834"/>
                    <a:pt x="178" y="826"/>
                  </a:cubicBezTo>
                  <a:cubicBezTo>
                    <a:pt x="230" y="781"/>
                    <a:pt x="230" y="781"/>
                    <a:pt x="230" y="781"/>
                  </a:cubicBezTo>
                  <a:cubicBezTo>
                    <a:pt x="248" y="770"/>
                    <a:pt x="261" y="767"/>
                    <a:pt x="269" y="772"/>
                  </a:cubicBezTo>
                  <a:cubicBezTo>
                    <a:pt x="269" y="772"/>
                    <a:pt x="269" y="772"/>
                    <a:pt x="269" y="772"/>
                  </a:cubicBezTo>
                  <a:cubicBezTo>
                    <a:pt x="282" y="769"/>
                    <a:pt x="298" y="779"/>
                    <a:pt x="306" y="785"/>
                  </a:cubicBezTo>
                  <a:cubicBezTo>
                    <a:pt x="306" y="785"/>
                    <a:pt x="306" y="785"/>
                    <a:pt x="306" y="785"/>
                  </a:cubicBezTo>
                  <a:cubicBezTo>
                    <a:pt x="319" y="782"/>
                    <a:pt x="327" y="787"/>
                    <a:pt x="332" y="813"/>
                  </a:cubicBezTo>
                  <a:cubicBezTo>
                    <a:pt x="346" y="878"/>
                    <a:pt x="346" y="878"/>
                    <a:pt x="346" y="878"/>
                  </a:cubicBezTo>
                  <a:cubicBezTo>
                    <a:pt x="349" y="892"/>
                    <a:pt x="357" y="897"/>
                    <a:pt x="370" y="894"/>
                  </a:cubicBezTo>
                  <a:cubicBezTo>
                    <a:pt x="425" y="896"/>
                    <a:pt x="425" y="896"/>
                    <a:pt x="425" y="896"/>
                  </a:cubicBezTo>
                  <a:cubicBezTo>
                    <a:pt x="430" y="888"/>
                    <a:pt x="443" y="885"/>
                    <a:pt x="440" y="872"/>
                  </a:cubicBezTo>
                  <a:cubicBezTo>
                    <a:pt x="440" y="804"/>
                    <a:pt x="440" y="804"/>
                    <a:pt x="440" y="804"/>
                  </a:cubicBezTo>
                  <a:cubicBezTo>
                    <a:pt x="442" y="783"/>
                    <a:pt x="460" y="772"/>
                    <a:pt x="466" y="764"/>
                  </a:cubicBezTo>
                  <a:cubicBezTo>
                    <a:pt x="466" y="764"/>
                    <a:pt x="466" y="764"/>
                    <a:pt x="466" y="764"/>
                  </a:cubicBezTo>
                  <a:cubicBezTo>
                    <a:pt x="479" y="761"/>
                    <a:pt x="492" y="758"/>
                    <a:pt x="497" y="750"/>
                  </a:cubicBezTo>
                  <a:cubicBezTo>
                    <a:pt x="497" y="750"/>
                    <a:pt x="497" y="750"/>
                    <a:pt x="497" y="750"/>
                  </a:cubicBezTo>
                  <a:cubicBezTo>
                    <a:pt x="510" y="747"/>
                    <a:pt x="523" y="745"/>
                    <a:pt x="539" y="755"/>
                  </a:cubicBezTo>
                  <a:cubicBezTo>
                    <a:pt x="594" y="791"/>
                    <a:pt x="594" y="791"/>
                    <a:pt x="594" y="791"/>
                  </a:cubicBezTo>
                  <a:cubicBezTo>
                    <a:pt x="602" y="796"/>
                    <a:pt x="623" y="798"/>
                    <a:pt x="628" y="790"/>
                  </a:cubicBezTo>
                  <a:cubicBezTo>
                    <a:pt x="659" y="743"/>
                    <a:pt x="659" y="743"/>
                    <a:pt x="659" y="743"/>
                  </a:cubicBezTo>
                  <a:cubicBezTo>
                    <a:pt x="659" y="743"/>
                    <a:pt x="669" y="727"/>
                    <a:pt x="654" y="716"/>
                  </a:cubicBezTo>
                  <a:close/>
                  <a:moveTo>
                    <a:pt x="281" y="633"/>
                  </a:moveTo>
                  <a:cubicBezTo>
                    <a:pt x="223" y="584"/>
                    <a:pt x="219" y="502"/>
                    <a:pt x="263" y="452"/>
                  </a:cubicBezTo>
                  <a:cubicBezTo>
                    <a:pt x="313" y="393"/>
                    <a:pt x="399" y="382"/>
                    <a:pt x="457" y="431"/>
                  </a:cubicBezTo>
                  <a:cubicBezTo>
                    <a:pt x="507" y="475"/>
                    <a:pt x="518" y="561"/>
                    <a:pt x="469" y="619"/>
                  </a:cubicBezTo>
                  <a:cubicBezTo>
                    <a:pt x="420" y="678"/>
                    <a:pt x="339" y="682"/>
                    <a:pt x="281" y="633"/>
                  </a:cubicBezTo>
                  <a:close/>
                  <a:moveTo>
                    <a:pt x="1019" y="398"/>
                  </a:moveTo>
                  <a:cubicBezTo>
                    <a:pt x="1004" y="362"/>
                    <a:pt x="1004" y="362"/>
                    <a:pt x="1004" y="362"/>
                  </a:cubicBezTo>
                  <a:cubicBezTo>
                    <a:pt x="992" y="348"/>
                    <a:pt x="1002" y="340"/>
                    <a:pt x="1002" y="332"/>
                  </a:cubicBezTo>
                  <a:cubicBezTo>
                    <a:pt x="1002" y="332"/>
                    <a:pt x="1002" y="332"/>
                    <a:pt x="1002" y="332"/>
                  </a:cubicBezTo>
                  <a:cubicBezTo>
                    <a:pt x="1007" y="328"/>
                    <a:pt x="1011" y="324"/>
                    <a:pt x="1012" y="315"/>
                  </a:cubicBezTo>
                  <a:cubicBezTo>
                    <a:pt x="1021" y="307"/>
                    <a:pt x="1026" y="303"/>
                    <a:pt x="1043" y="304"/>
                  </a:cubicBezTo>
                  <a:cubicBezTo>
                    <a:pt x="1086" y="307"/>
                    <a:pt x="1086" y="307"/>
                    <a:pt x="1086" y="307"/>
                  </a:cubicBezTo>
                  <a:cubicBezTo>
                    <a:pt x="1095" y="308"/>
                    <a:pt x="1099" y="304"/>
                    <a:pt x="1100" y="295"/>
                  </a:cubicBezTo>
                  <a:cubicBezTo>
                    <a:pt x="1107" y="266"/>
                    <a:pt x="1107" y="266"/>
                    <a:pt x="1107" y="266"/>
                  </a:cubicBezTo>
                  <a:cubicBezTo>
                    <a:pt x="1107" y="257"/>
                    <a:pt x="1103" y="252"/>
                    <a:pt x="1095" y="243"/>
                  </a:cubicBezTo>
                  <a:cubicBezTo>
                    <a:pt x="1057" y="236"/>
                    <a:pt x="1057" y="236"/>
                    <a:pt x="1057" y="236"/>
                  </a:cubicBezTo>
                  <a:cubicBezTo>
                    <a:pt x="1044" y="231"/>
                    <a:pt x="1036" y="222"/>
                    <a:pt x="1037" y="213"/>
                  </a:cubicBezTo>
                  <a:cubicBezTo>
                    <a:pt x="1038" y="205"/>
                    <a:pt x="1034" y="200"/>
                    <a:pt x="1030" y="187"/>
                  </a:cubicBezTo>
                  <a:cubicBezTo>
                    <a:pt x="1031" y="178"/>
                    <a:pt x="1032" y="170"/>
                    <a:pt x="1041" y="162"/>
                  </a:cubicBezTo>
                  <a:cubicBezTo>
                    <a:pt x="1077" y="138"/>
                    <a:pt x="1077" y="138"/>
                    <a:pt x="1077" y="138"/>
                  </a:cubicBezTo>
                  <a:cubicBezTo>
                    <a:pt x="1082" y="134"/>
                    <a:pt x="1083" y="126"/>
                    <a:pt x="1079" y="121"/>
                  </a:cubicBezTo>
                  <a:cubicBezTo>
                    <a:pt x="1059" y="89"/>
                    <a:pt x="1059" y="89"/>
                    <a:pt x="1059" y="89"/>
                  </a:cubicBezTo>
                  <a:cubicBezTo>
                    <a:pt x="1055" y="85"/>
                    <a:pt x="1047" y="84"/>
                    <a:pt x="1038" y="83"/>
                  </a:cubicBezTo>
                  <a:cubicBezTo>
                    <a:pt x="1002" y="107"/>
                    <a:pt x="1002" y="107"/>
                    <a:pt x="1002" y="107"/>
                  </a:cubicBezTo>
                  <a:cubicBezTo>
                    <a:pt x="989" y="110"/>
                    <a:pt x="980" y="110"/>
                    <a:pt x="976" y="105"/>
                  </a:cubicBezTo>
                  <a:cubicBezTo>
                    <a:pt x="972" y="100"/>
                    <a:pt x="960" y="95"/>
                    <a:pt x="956" y="91"/>
                  </a:cubicBezTo>
                  <a:cubicBezTo>
                    <a:pt x="952" y="86"/>
                    <a:pt x="944" y="77"/>
                    <a:pt x="944" y="68"/>
                  </a:cubicBezTo>
                  <a:cubicBezTo>
                    <a:pt x="948" y="25"/>
                    <a:pt x="948" y="25"/>
                    <a:pt x="948" y="25"/>
                  </a:cubicBezTo>
                  <a:cubicBezTo>
                    <a:pt x="948" y="17"/>
                    <a:pt x="940" y="7"/>
                    <a:pt x="940" y="7"/>
                  </a:cubicBezTo>
                  <a:cubicBezTo>
                    <a:pt x="902" y="0"/>
                    <a:pt x="902" y="0"/>
                    <a:pt x="902" y="0"/>
                  </a:cubicBezTo>
                  <a:cubicBezTo>
                    <a:pt x="902" y="0"/>
                    <a:pt x="889" y="4"/>
                    <a:pt x="888" y="12"/>
                  </a:cubicBezTo>
                  <a:cubicBezTo>
                    <a:pt x="872" y="50"/>
                    <a:pt x="872" y="50"/>
                    <a:pt x="872" y="50"/>
                  </a:cubicBezTo>
                  <a:cubicBezTo>
                    <a:pt x="871" y="67"/>
                    <a:pt x="862" y="67"/>
                    <a:pt x="858" y="71"/>
                  </a:cubicBezTo>
                  <a:cubicBezTo>
                    <a:pt x="858" y="71"/>
                    <a:pt x="858" y="71"/>
                    <a:pt x="853" y="75"/>
                  </a:cubicBezTo>
                  <a:cubicBezTo>
                    <a:pt x="849" y="70"/>
                    <a:pt x="840" y="70"/>
                    <a:pt x="836" y="74"/>
                  </a:cubicBezTo>
                  <a:cubicBezTo>
                    <a:pt x="831" y="78"/>
                    <a:pt x="831" y="78"/>
                    <a:pt x="831" y="78"/>
                  </a:cubicBezTo>
                  <a:cubicBezTo>
                    <a:pt x="822" y="77"/>
                    <a:pt x="814" y="76"/>
                    <a:pt x="806" y="67"/>
                  </a:cubicBezTo>
                  <a:cubicBezTo>
                    <a:pt x="778" y="35"/>
                    <a:pt x="778" y="35"/>
                    <a:pt x="778" y="35"/>
                  </a:cubicBezTo>
                  <a:cubicBezTo>
                    <a:pt x="774" y="30"/>
                    <a:pt x="762" y="25"/>
                    <a:pt x="757" y="29"/>
                  </a:cubicBezTo>
                  <a:cubicBezTo>
                    <a:pt x="734" y="49"/>
                    <a:pt x="734" y="49"/>
                    <a:pt x="734" y="49"/>
                  </a:cubicBezTo>
                  <a:cubicBezTo>
                    <a:pt x="725" y="49"/>
                    <a:pt x="725" y="57"/>
                    <a:pt x="728" y="70"/>
                  </a:cubicBezTo>
                  <a:cubicBezTo>
                    <a:pt x="747" y="102"/>
                    <a:pt x="747" y="102"/>
                    <a:pt x="747" y="102"/>
                  </a:cubicBezTo>
                  <a:cubicBezTo>
                    <a:pt x="754" y="120"/>
                    <a:pt x="750" y="124"/>
                    <a:pt x="744" y="136"/>
                  </a:cubicBezTo>
                  <a:cubicBezTo>
                    <a:pt x="744" y="136"/>
                    <a:pt x="744" y="136"/>
                    <a:pt x="744" y="136"/>
                  </a:cubicBezTo>
                  <a:cubicBezTo>
                    <a:pt x="740" y="140"/>
                    <a:pt x="735" y="144"/>
                    <a:pt x="731" y="148"/>
                  </a:cubicBezTo>
                  <a:cubicBezTo>
                    <a:pt x="731" y="148"/>
                    <a:pt x="731" y="148"/>
                    <a:pt x="731" y="148"/>
                  </a:cubicBezTo>
                  <a:cubicBezTo>
                    <a:pt x="730" y="157"/>
                    <a:pt x="721" y="165"/>
                    <a:pt x="703" y="164"/>
                  </a:cubicBezTo>
                  <a:cubicBezTo>
                    <a:pt x="665" y="157"/>
                    <a:pt x="665" y="157"/>
                    <a:pt x="665" y="157"/>
                  </a:cubicBezTo>
                  <a:cubicBezTo>
                    <a:pt x="656" y="156"/>
                    <a:pt x="647" y="164"/>
                    <a:pt x="647" y="173"/>
                  </a:cubicBezTo>
                  <a:cubicBezTo>
                    <a:pt x="640" y="203"/>
                    <a:pt x="640" y="203"/>
                    <a:pt x="640" y="203"/>
                  </a:cubicBezTo>
                  <a:cubicBezTo>
                    <a:pt x="639" y="211"/>
                    <a:pt x="643" y="216"/>
                    <a:pt x="656" y="221"/>
                  </a:cubicBezTo>
                  <a:cubicBezTo>
                    <a:pt x="690" y="232"/>
                    <a:pt x="690" y="232"/>
                    <a:pt x="690" y="232"/>
                  </a:cubicBezTo>
                  <a:cubicBezTo>
                    <a:pt x="702" y="237"/>
                    <a:pt x="710" y="246"/>
                    <a:pt x="710" y="255"/>
                  </a:cubicBezTo>
                  <a:cubicBezTo>
                    <a:pt x="710" y="255"/>
                    <a:pt x="710" y="255"/>
                    <a:pt x="710" y="255"/>
                  </a:cubicBezTo>
                  <a:cubicBezTo>
                    <a:pt x="714" y="260"/>
                    <a:pt x="713" y="268"/>
                    <a:pt x="717" y="273"/>
                  </a:cubicBezTo>
                  <a:cubicBezTo>
                    <a:pt x="712" y="277"/>
                    <a:pt x="712" y="277"/>
                    <a:pt x="712" y="277"/>
                  </a:cubicBezTo>
                  <a:cubicBezTo>
                    <a:pt x="716" y="281"/>
                    <a:pt x="716" y="290"/>
                    <a:pt x="702" y="302"/>
                  </a:cubicBezTo>
                  <a:cubicBezTo>
                    <a:pt x="674" y="326"/>
                    <a:pt x="674" y="326"/>
                    <a:pt x="674" y="326"/>
                  </a:cubicBezTo>
                  <a:cubicBezTo>
                    <a:pt x="665" y="334"/>
                    <a:pt x="664" y="343"/>
                    <a:pt x="668" y="347"/>
                  </a:cubicBezTo>
                  <a:cubicBezTo>
                    <a:pt x="687" y="379"/>
                    <a:pt x="687" y="379"/>
                    <a:pt x="687" y="379"/>
                  </a:cubicBezTo>
                  <a:cubicBezTo>
                    <a:pt x="691" y="383"/>
                    <a:pt x="700" y="384"/>
                    <a:pt x="704" y="380"/>
                  </a:cubicBezTo>
                  <a:cubicBezTo>
                    <a:pt x="745" y="361"/>
                    <a:pt x="745" y="361"/>
                    <a:pt x="745" y="361"/>
                  </a:cubicBezTo>
                  <a:cubicBezTo>
                    <a:pt x="758" y="358"/>
                    <a:pt x="767" y="358"/>
                    <a:pt x="771" y="363"/>
                  </a:cubicBezTo>
                  <a:cubicBezTo>
                    <a:pt x="771" y="363"/>
                    <a:pt x="771" y="363"/>
                    <a:pt x="771" y="363"/>
                  </a:cubicBezTo>
                  <a:cubicBezTo>
                    <a:pt x="779" y="364"/>
                    <a:pt x="787" y="373"/>
                    <a:pt x="791" y="377"/>
                  </a:cubicBezTo>
                  <a:cubicBezTo>
                    <a:pt x="791" y="377"/>
                    <a:pt x="791" y="377"/>
                    <a:pt x="791" y="377"/>
                  </a:cubicBezTo>
                  <a:cubicBezTo>
                    <a:pt x="800" y="378"/>
                    <a:pt x="804" y="383"/>
                    <a:pt x="802" y="400"/>
                  </a:cubicBezTo>
                  <a:cubicBezTo>
                    <a:pt x="799" y="443"/>
                    <a:pt x="799" y="443"/>
                    <a:pt x="799" y="443"/>
                  </a:cubicBezTo>
                  <a:cubicBezTo>
                    <a:pt x="798" y="451"/>
                    <a:pt x="802" y="456"/>
                    <a:pt x="811" y="457"/>
                  </a:cubicBezTo>
                  <a:cubicBezTo>
                    <a:pt x="845" y="468"/>
                    <a:pt x="845" y="468"/>
                    <a:pt x="845" y="468"/>
                  </a:cubicBezTo>
                  <a:cubicBezTo>
                    <a:pt x="849" y="464"/>
                    <a:pt x="858" y="464"/>
                    <a:pt x="859" y="456"/>
                  </a:cubicBezTo>
                  <a:cubicBezTo>
                    <a:pt x="871" y="413"/>
                    <a:pt x="871" y="413"/>
                    <a:pt x="871" y="413"/>
                  </a:cubicBezTo>
                  <a:cubicBezTo>
                    <a:pt x="876" y="401"/>
                    <a:pt x="889" y="397"/>
                    <a:pt x="894" y="393"/>
                  </a:cubicBezTo>
                  <a:cubicBezTo>
                    <a:pt x="894" y="393"/>
                    <a:pt x="894" y="393"/>
                    <a:pt x="894" y="393"/>
                  </a:cubicBezTo>
                  <a:cubicBezTo>
                    <a:pt x="902" y="394"/>
                    <a:pt x="911" y="395"/>
                    <a:pt x="916" y="391"/>
                  </a:cubicBezTo>
                  <a:cubicBezTo>
                    <a:pt x="916" y="391"/>
                    <a:pt x="916" y="391"/>
                    <a:pt x="916" y="391"/>
                  </a:cubicBezTo>
                  <a:cubicBezTo>
                    <a:pt x="924" y="391"/>
                    <a:pt x="933" y="392"/>
                    <a:pt x="941" y="401"/>
                  </a:cubicBezTo>
                  <a:cubicBezTo>
                    <a:pt x="969" y="433"/>
                    <a:pt x="969" y="433"/>
                    <a:pt x="969" y="433"/>
                  </a:cubicBezTo>
                  <a:cubicBezTo>
                    <a:pt x="973" y="438"/>
                    <a:pt x="985" y="443"/>
                    <a:pt x="990" y="439"/>
                  </a:cubicBezTo>
                  <a:cubicBezTo>
                    <a:pt x="1018" y="415"/>
                    <a:pt x="1018" y="415"/>
                    <a:pt x="1018" y="415"/>
                  </a:cubicBezTo>
                  <a:cubicBezTo>
                    <a:pt x="1018" y="415"/>
                    <a:pt x="1027" y="407"/>
                    <a:pt x="1019" y="398"/>
                  </a:cubicBezTo>
                  <a:close/>
                  <a:moveTo>
                    <a:pt x="803" y="279"/>
                  </a:moveTo>
                  <a:cubicBezTo>
                    <a:pt x="776" y="238"/>
                    <a:pt x="788" y="187"/>
                    <a:pt x="825" y="164"/>
                  </a:cubicBezTo>
                  <a:cubicBezTo>
                    <a:pt x="866" y="136"/>
                    <a:pt x="921" y="144"/>
                    <a:pt x="948" y="185"/>
                  </a:cubicBezTo>
                  <a:cubicBezTo>
                    <a:pt x="972" y="221"/>
                    <a:pt x="963" y="277"/>
                    <a:pt x="922" y="304"/>
                  </a:cubicBezTo>
                  <a:cubicBezTo>
                    <a:pt x="881" y="332"/>
                    <a:pt x="830" y="320"/>
                    <a:pt x="803" y="279"/>
                  </a:cubicBezTo>
                  <a:close/>
                </a:path>
              </a:pathLst>
            </a:custGeom>
            <a:solidFill>
              <a:schemeClr val="tx1"/>
            </a:solidFill>
            <a:ln>
              <a:noFill/>
            </a:ln>
          </p:spPr>
          <p:txBody>
            <a:bodyPr vert="horz" wrap="square" lIns="68574" tIns="34287" rIns="68574" bIns="34287"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17346"/>
                </a:solidFill>
                <a:effectLst/>
                <a:uLnTx/>
                <a:uFillTx/>
                <a:latin typeface="Segoe UI"/>
                <a:ea typeface="+mn-ea"/>
                <a:cs typeface="+mn-cs"/>
              </a:endParaRPr>
            </a:p>
          </p:txBody>
        </p:sp>
        <p:sp>
          <p:nvSpPr>
            <p:cNvPr id="88" name="Freeform 87"/>
            <p:cNvSpPr>
              <a:spLocks noChangeAspect="1"/>
            </p:cNvSpPr>
            <p:nvPr/>
          </p:nvSpPr>
          <p:spPr bwMode="black">
            <a:xfrm>
              <a:off x="776985" y="4213905"/>
              <a:ext cx="342871" cy="335728"/>
            </a:xfrm>
            <a:custGeom>
              <a:avLst/>
              <a:gdLst>
                <a:gd name="connsiteX0" fmla="*/ 3713863 w 4893730"/>
                <a:gd name="connsiteY0" fmla="*/ 2130808 h 4791777"/>
                <a:gd name="connsiteX1" fmla="*/ 4426142 w 4893730"/>
                <a:gd name="connsiteY1" fmla="*/ 2130808 h 4791777"/>
                <a:gd name="connsiteX2" fmla="*/ 4598071 w 4893730"/>
                <a:gd name="connsiteY2" fmla="*/ 2301547 h 4791777"/>
                <a:gd name="connsiteX3" fmla="*/ 4598071 w 4893730"/>
                <a:gd name="connsiteY3" fmla="*/ 3886978 h 4791777"/>
                <a:gd name="connsiteX4" fmla="*/ 4426142 w 4893730"/>
                <a:gd name="connsiteY4" fmla="*/ 4057717 h 4791777"/>
                <a:gd name="connsiteX5" fmla="*/ 3713863 w 4893730"/>
                <a:gd name="connsiteY5" fmla="*/ 4057717 h 4791777"/>
                <a:gd name="connsiteX6" fmla="*/ 3517372 w 4893730"/>
                <a:gd name="connsiteY6" fmla="*/ 3886978 h 4791777"/>
                <a:gd name="connsiteX7" fmla="*/ 3517372 w 4893730"/>
                <a:gd name="connsiteY7" fmla="*/ 2301547 h 4791777"/>
                <a:gd name="connsiteX8" fmla="*/ 3713863 w 4893730"/>
                <a:gd name="connsiteY8" fmla="*/ 2130808 h 4791777"/>
                <a:gd name="connsiteX9" fmla="*/ 904368 w 4893730"/>
                <a:gd name="connsiteY9" fmla="*/ 1223432 h 4791777"/>
                <a:gd name="connsiteX10" fmla="*/ 1609930 w 4893730"/>
                <a:gd name="connsiteY10" fmla="*/ 1223432 h 4791777"/>
                <a:gd name="connsiteX11" fmla="*/ 1804567 w 4893730"/>
                <a:gd name="connsiteY11" fmla="*/ 1394467 h 4791777"/>
                <a:gd name="connsiteX12" fmla="*/ 1804567 w 4893730"/>
                <a:gd name="connsiteY12" fmla="*/ 3886683 h 4791777"/>
                <a:gd name="connsiteX13" fmla="*/ 1609930 w 4893730"/>
                <a:gd name="connsiteY13" fmla="*/ 4057717 h 4791777"/>
                <a:gd name="connsiteX14" fmla="*/ 904368 w 4893730"/>
                <a:gd name="connsiteY14" fmla="*/ 4057717 h 4791777"/>
                <a:gd name="connsiteX15" fmla="*/ 734060 w 4893730"/>
                <a:gd name="connsiteY15" fmla="*/ 3886683 h 4791777"/>
                <a:gd name="connsiteX16" fmla="*/ 734060 w 4893730"/>
                <a:gd name="connsiteY16" fmla="*/ 1394467 h 4791777"/>
                <a:gd name="connsiteX17" fmla="*/ 904368 w 4893730"/>
                <a:gd name="connsiteY17" fmla="*/ 1223432 h 4791777"/>
                <a:gd name="connsiteX18" fmla="*/ 2325453 w 4893730"/>
                <a:gd name="connsiteY18" fmla="*/ 316050 h 4791777"/>
                <a:gd name="connsiteX19" fmla="*/ 3031014 w 4893730"/>
                <a:gd name="connsiteY19" fmla="*/ 316050 h 4791777"/>
                <a:gd name="connsiteX20" fmla="*/ 3201322 w 4893730"/>
                <a:gd name="connsiteY20" fmla="*/ 487238 h 4791777"/>
                <a:gd name="connsiteX21" fmla="*/ 3201322 w 4893730"/>
                <a:gd name="connsiteY21" fmla="*/ 3886530 h 4791777"/>
                <a:gd name="connsiteX22" fmla="*/ 3031014 w 4893730"/>
                <a:gd name="connsiteY22" fmla="*/ 4057717 h 4791777"/>
                <a:gd name="connsiteX23" fmla="*/ 2325453 w 4893730"/>
                <a:gd name="connsiteY23" fmla="*/ 4057717 h 4791777"/>
                <a:gd name="connsiteX24" fmla="*/ 2130815 w 4893730"/>
                <a:gd name="connsiteY24" fmla="*/ 3886530 h 4791777"/>
                <a:gd name="connsiteX25" fmla="*/ 2130815 w 4893730"/>
                <a:gd name="connsiteY25" fmla="*/ 487238 h 4791777"/>
                <a:gd name="connsiteX26" fmla="*/ 2325453 w 4893730"/>
                <a:gd name="connsiteY26" fmla="*/ 316050 h 4791777"/>
                <a:gd name="connsiteX27" fmla="*/ 269155 w 4893730"/>
                <a:gd name="connsiteY27" fmla="*/ 0 h 4791777"/>
                <a:gd name="connsiteX28" fmla="*/ 538311 w 4893730"/>
                <a:gd name="connsiteY28" fmla="*/ 268927 h 4791777"/>
                <a:gd name="connsiteX29" fmla="*/ 538311 w 4893730"/>
                <a:gd name="connsiteY29" fmla="*/ 4253925 h 4791777"/>
                <a:gd name="connsiteX30" fmla="*/ 4624575 w 4893730"/>
                <a:gd name="connsiteY30" fmla="*/ 4253925 h 4791777"/>
                <a:gd name="connsiteX31" fmla="*/ 4893730 w 4893730"/>
                <a:gd name="connsiteY31" fmla="*/ 4522851 h 4791777"/>
                <a:gd name="connsiteX32" fmla="*/ 4624575 w 4893730"/>
                <a:gd name="connsiteY32" fmla="*/ 4791777 h 4791777"/>
                <a:gd name="connsiteX33" fmla="*/ 269155 w 4893730"/>
                <a:gd name="connsiteY33" fmla="*/ 4791777 h 4791777"/>
                <a:gd name="connsiteX34" fmla="*/ 0 w 4893730"/>
                <a:gd name="connsiteY34" fmla="*/ 4522851 h 4791777"/>
                <a:gd name="connsiteX35" fmla="*/ 0 w 4893730"/>
                <a:gd name="connsiteY35" fmla="*/ 268927 h 4791777"/>
                <a:gd name="connsiteX36" fmla="*/ 269155 w 4893730"/>
                <a:gd name="connsiteY36" fmla="*/ 0 h 4791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4893730" h="4791777">
                  <a:moveTo>
                    <a:pt x="3713863" y="2130808"/>
                  </a:moveTo>
                  <a:cubicBezTo>
                    <a:pt x="3713863" y="2130808"/>
                    <a:pt x="3713863" y="2130808"/>
                    <a:pt x="4426142" y="2130808"/>
                  </a:cubicBezTo>
                  <a:cubicBezTo>
                    <a:pt x="4524387" y="2130808"/>
                    <a:pt x="4598071" y="2203982"/>
                    <a:pt x="4598071" y="2301547"/>
                  </a:cubicBezTo>
                  <a:cubicBezTo>
                    <a:pt x="4598071" y="2301547"/>
                    <a:pt x="4598071" y="2301547"/>
                    <a:pt x="4598071" y="3886978"/>
                  </a:cubicBezTo>
                  <a:cubicBezTo>
                    <a:pt x="4598071" y="3984543"/>
                    <a:pt x="4524387" y="4057717"/>
                    <a:pt x="4426142" y="4057717"/>
                  </a:cubicBezTo>
                  <a:cubicBezTo>
                    <a:pt x="4426142" y="4057717"/>
                    <a:pt x="4426142" y="4057717"/>
                    <a:pt x="3713863" y="4057717"/>
                  </a:cubicBezTo>
                  <a:cubicBezTo>
                    <a:pt x="3615618" y="4057717"/>
                    <a:pt x="3517372" y="3984543"/>
                    <a:pt x="3517372" y="3886978"/>
                  </a:cubicBezTo>
                  <a:cubicBezTo>
                    <a:pt x="3517372" y="3886978"/>
                    <a:pt x="3517372" y="3886978"/>
                    <a:pt x="3517372" y="2301547"/>
                  </a:cubicBezTo>
                  <a:cubicBezTo>
                    <a:pt x="3517372" y="2203982"/>
                    <a:pt x="3615618" y="2130808"/>
                    <a:pt x="3713863" y="2130808"/>
                  </a:cubicBezTo>
                  <a:close/>
                  <a:moveTo>
                    <a:pt x="904368" y="1223432"/>
                  </a:moveTo>
                  <a:cubicBezTo>
                    <a:pt x="904368" y="1223432"/>
                    <a:pt x="904368" y="1223432"/>
                    <a:pt x="1609930" y="1223432"/>
                  </a:cubicBezTo>
                  <a:cubicBezTo>
                    <a:pt x="1731578" y="1223432"/>
                    <a:pt x="1804567" y="1296733"/>
                    <a:pt x="1804567" y="1394467"/>
                  </a:cubicBezTo>
                  <a:cubicBezTo>
                    <a:pt x="1804567" y="1394467"/>
                    <a:pt x="1804567" y="1394467"/>
                    <a:pt x="1804567" y="3886683"/>
                  </a:cubicBezTo>
                  <a:cubicBezTo>
                    <a:pt x="1804567" y="3984417"/>
                    <a:pt x="1731578" y="4057717"/>
                    <a:pt x="1609930" y="4057717"/>
                  </a:cubicBezTo>
                  <a:cubicBezTo>
                    <a:pt x="1609930" y="4057717"/>
                    <a:pt x="1609930" y="4057717"/>
                    <a:pt x="904368" y="4057717"/>
                  </a:cubicBezTo>
                  <a:cubicBezTo>
                    <a:pt x="807049" y="4057717"/>
                    <a:pt x="734060" y="3984417"/>
                    <a:pt x="734060" y="3886683"/>
                  </a:cubicBezTo>
                  <a:cubicBezTo>
                    <a:pt x="734060" y="3886683"/>
                    <a:pt x="734060" y="3886683"/>
                    <a:pt x="734060" y="1394467"/>
                  </a:cubicBezTo>
                  <a:cubicBezTo>
                    <a:pt x="734060" y="1296733"/>
                    <a:pt x="807049" y="1223432"/>
                    <a:pt x="904368" y="1223432"/>
                  </a:cubicBezTo>
                  <a:close/>
                  <a:moveTo>
                    <a:pt x="2325453" y="316050"/>
                  </a:moveTo>
                  <a:cubicBezTo>
                    <a:pt x="2325453" y="316050"/>
                    <a:pt x="2325453" y="316050"/>
                    <a:pt x="3031014" y="316050"/>
                  </a:cubicBezTo>
                  <a:cubicBezTo>
                    <a:pt x="3128333" y="316050"/>
                    <a:pt x="3201322" y="389416"/>
                    <a:pt x="3201322" y="487238"/>
                  </a:cubicBezTo>
                  <a:cubicBezTo>
                    <a:pt x="3201322" y="487238"/>
                    <a:pt x="3201322" y="487238"/>
                    <a:pt x="3201322" y="3886530"/>
                  </a:cubicBezTo>
                  <a:cubicBezTo>
                    <a:pt x="3201322" y="3984351"/>
                    <a:pt x="3128333" y="4057717"/>
                    <a:pt x="3031014" y="4057717"/>
                  </a:cubicBezTo>
                  <a:cubicBezTo>
                    <a:pt x="3031014" y="4057717"/>
                    <a:pt x="3031014" y="4057717"/>
                    <a:pt x="2325453" y="4057717"/>
                  </a:cubicBezTo>
                  <a:cubicBezTo>
                    <a:pt x="2203804" y="4057717"/>
                    <a:pt x="2130815" y="3984351"/>
                    <a:pt x="2130815" y="3886530"/>
                  </a:cubicBezTo>
                  <a:cubicBezTo>
                    <a:pt x="2130815" y="3886530"/>
                    <a:pt x="2130815" y="3886530"/>
                    <a:pt x="2130815" y="487238"/>
                  </a:cubicBezTo>
                  <a:cubicBezTo>
                    <a:pt x="2130815" y="389416"/>
                    <a:pt x="2203804" y="316050"/>
                    <a:pt x="2325453" y="316050"/>
                  </a:cubicBezTo>
                  <a:close/>
                  <a:moveTo>
                    <a:pt x="269155" y="0"/>
                  </a:moveTo>
                  <a:cubicBezTo>
                    <a:pt x="415967" y="0"/>
                    <a:pt x="538311" y="122239"/>
                    <a:pt x="538311" y="268927"/>
                  </a:cubicBezTo>
                  <a:cubicBezTo>
                    <a:pt x="538311" y="268927"/>
                    <a:pt x="538311" y="268927"/>
                    <a:pt x="538311" y="4253925"/>
                  </a:cubicBezTo>
                  <a:cubicBezTo>
                    <a:pt x="538311" y="4253925"/>
                    <a:pt x="538311" y="4253925"/>
                    <a:pt x="4624575" y="4253925"/>
                  </a:cubicBezTo>
                  <a:cubicBezTo>
                    <a:pt x="4771387" y="4253925"/>
                    <a:pt x="4893730" y="4376164"/>
                    <a:pt x="4893730" y="4522851"/>
                  </a:cubicBezTo>
                  <a:cubicBezTo>
                    <a:pt x="4893730" y="4669538"/>
                    <a:pt x="4771387" y="4791777"/>
                    <a:pt x="4624575" y="4791777"/>
                  </a:cubicBezTo>
                  <a:cubicBezTo>
                    <a:pt x="4624575" y="4791777"/>
                    <a:pt x="4624575" y="4791777"/>
                    <a:pt x="269155" y="4791777"/>
                  </a:cubicBezTo>
                  <a:cubicBezTo>
                    <a:pt x="122344" y="4791777"/>
                    <a:pt x="0" y="4669538"/>
                    <a:pt x="0" y="4522851"/>
                  </a:cubicBezTo>
                  <a:cubicBezTo>
                    <a:pt x="0" y="4522851"/>
                    <a:pt x="0" y="4522851"/>
                    <a:pt x="0" y="268927"/>
                  </a:cubicBezTo>
                  <a:cubicBezTo>
                    <a:pt x="0" y="122239"/>
                    <a:pt x="122344" y="0"/>
                    <a:pt x="269155"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37148" tIns="109719" rIns="137148" bIns="109719"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699261"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9" name="Rectangle 88"/>
            <p:cNvSpPr/>
            <p:nvPr/>
          </p:nvSpPr>
          <p:spPr bwMode="auto">
            <a:xfrm rot="2745734">
              <a:off x="279530" y="1141266"/>
              <a:ext cx="1260714" cy="1255193"/>
            </a:xfrm>
            <a:prstGeom prst="rect">
              <a:avLst/>
            </a:prstGeom>
            <a:solidFill>
              <a:schemeClr val="tx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0" name="Rectangle 89"/>
            <p:cNvSpPr/>
            <p:nvPr/>
          </p:nvSpPr>
          <p:spPr bwMode="auto">
            <a:xfrm rot="2745734">
              <a:off x="1305789" y="4246825"/>
              <a:ext cx="416505" cy="1235003"/>
            </a:xfrm>
            <a:prstGeom prst="rect">
              <a:avLst/>
            </a:prstGeom>
            <a:solidFill>
              <a:schemeClr val="tx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2" name="Rectangle 91"/>
            <p:cNvSpPr/>
            <p:nvPr/>
          </p:nvSpPr>
          <p:spPr bwMode="auto">
            <a:xfrm rot="2745734">
              <a:off x="1315610" y="4915701"/>
              <a:ext cx="1263370" cy="1255989"/>
            </a:xfrm>
            <a:prstGeom prst="rect">
              <a:avLst/>
            </a:prstGeom>
            <a:solidFill>
              <a:schemeClr val="tx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40" name="TextBox 39"/>
          <p:cNvSpPr txBox="1"/>
          <p:nvPr/>
        </p:nvSpPr>
        <p:spPr>
          <a:xfrm>
            <a:off x="3" y="51415"/>
            <a:ext cx="2849058" cy="430887"/>
          </a:xfrm>
          <a:prstGeom prst="rect">
            <a:avLst/>
          </a:prstGeom>
        </p:spPr>
        <p:txBody>
          <a:bodyPr wrap="square">
            <a:spAutoFit/>
          </a:bodyPr>
          <a:lstStyle>
            <a:defPPr>
              <a:defRPr lang="en-US"/>
            </a:defPPr>
            <a:lvl1pPr defTabSz="914192">
              <a:defRPr sz="2800" b="1" spc="-100">
                <a:ln w="3175">
                  <a:noFill/>
                </a:ln>
                <a:solidFill>
                  <a:srgbClr val="F2C812"/>
                </a:solidFill>
                <a:latin typeface="Segoe UI" panose="020B0502040204020203" pitchFamily="34" charset="0"/>
                <a:ea typeface="ＭＳ Ｐゴシック" charset="0"/>
                <a:cs typeface="Segoe UI" panose="020B0502040204020203" pitchFamily="34" charset="0"/>
              </a:defRPr>
            </a:lvl1pPr>
          </a:lstStyle>
          <a:p>
            <a:pPr marL="0" marR="0" lvl="0" indent="0" algn="l" defTabSz="914192" rtl="0" eaLnBrk="1" fontAlgn="auto" latinLnBrk="0" hangingPunct="1">
              <a:lnSpc>
                <a:spcPct val="100000"/>
              </a:lnSpc>
              <a:spcBef>
                <a:spcPts val="0"/>
              </a:spcBef>
              <a:spcAft>
                <a:spcPts val="0"/>
              </a:spcAft>
              <a:buClrTx/>
              <a:buSzTx/>
              <a:buFontTx/>
              <a:buNone/>
              <a:tabLst/>
              <a:defRPr/>
            </a:pPr>
            <a:r>
              <a:rPr kumimoji="0" lang="en-US" sz="2200" b="1" i="0" u="none" strike="noStrike" kern="1200" cap="none" spc="-100" normalizeH="0" baseline="0" noProof="0">
                <a:ln w="3175">
                  <a:noFill/>
                </a:ln>
                <a:solidFill>
                  <a:srgbClr val="F2C812"/>
                </a:solidFill>
                <a:effectLst/>
                <a:uLnTx/>
                <a:uFillTx/>
                <a:latin typeface="Segoe UI Light"/>
                <a:ea typeface="ＭＳ Ｐゴシック" charset="0"/>
                <a:cs typeface="Segoe UI" panose="020B0502040204020203" pitchFamily="34" charset="0"/>
              </a:rPr>
              <a:t>Power BI Desktop</a:t>
            </a:r>
          </a:p>
        </p:txBody>
      </p:sp>
      <p:sp>
        <p:nvSpPr>
          <p:cNvPr id="41" name="Rectangle 40"/>
          <p:cNvSpPr/>
          <p:nvPr/>
        </p:nvSpPr>
        <p:spPr bwMode="auto">
          <a:xfrm rot="19005967">
            <a:off x="922420" y="2122148"/>
            <a:ext cx="1260714" cy="369589"/>
          </a:xfrm>
          <a:prstGeom prst="rect">
            <a:avLst/>
          </a:prstGeom>
          <a:solidFill>
            <a:schemeClr val="tx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7" name="Rectangle 36"/>
          <p:cNvSpPr/>
          <p:nvPr/>
        </p:nvSpPr>
        <p:spPr bwMode="auto">
          <a:xfrm rot="2745734">
            <a:off x="1371067" y="2420930"/>
            <a:ext cx="1194544" cy="1235003"/>
          </a:xfrm>
          <a:prstGeom prst="rect">
            <a:avLst/>
          </a:prstGeom>
          <a:solidFill>
            <a:schemeClr val="tx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2" name="Text Placeholder 2"/>
          <p:cNvSpPr txBox="1">
            <a:spLocks/>
          </p:cNvSpPr>
          <p:nvPr/>
        </p:nvSpPr>
        <p:spPr>
          <a:xfrm>
            <a:off x="3173232" y="916802"/>
            <a:ext cx="7640541" cy="897374"/>
          </a:xfrm>
          <a:prstGeom prst="rect">
            <a:avLst/>
          </a:prstGeom>
        </p:spPr>
        <p:txBody>
          <a:bodyPr vert="horz" wrap="square" lIns="182880" tIns="146304" rIns="182880" bIns="146304" rtlCol="0">
            <a:noAutofit/>
          </a:bodyPr>
          <a:lstStyle>
            <a:lvl1pPr marL="182845" marR="0"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3921" kern="1200" spc="0" baseline="0">
                <a:gradFill>
                  <a:gsLst>
                    <a:gs pos="1250">
                      <a:schemeClr val="tx2"/>
                    </a:gs>
                    <a:gs pos="99000">
                      <a:schemeClr val="tx2"/>
                    </a:gs>
                  </a:gsLst>
                  <a:lin ang="5400000" scaled="0"/>
                </a:gradFill>
                <a:latin typeface="+mj-lt"/>
                <a:ea typeface="+mn-ea"/>
                <a:cs typeface="+mn-cs"/>
              </a:defRPr>
            </a:lvl1pPr>
            <a:lvl2pPr marL="365690" marR="0"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2400" kern="1200" spc="0" baseline="0">
                <a:solidFill>
                  <a:schemeClr val="tx2"/>
                </a:solidFill>
                <a:latin typeface="+mj-lt"/>
                <a:ea typeface="+mn-ea"/>
                <a:cs typeface="+mn-cs"/>
              </a:defRPr>
            </a:lvl2pPr>
            <a:lvl3pPr marL="548535" marR="0"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2000" kern="1200" spc="0" baseline="0">
                <a:solidFill>
                  <a:schemeClr val="tx2"/>
                </a:solidFill>
                <a:latin typeface="+mj-lt"/>
                <a:ea typeface="+mn-ea"/>
                <a:cs typeface="+mn-cs"/>
              </a:defRPr>
            </a:lvl3pPr>
            <a:lvl4pPr marL="733802" marR="0" indent="-28569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1765" kern="1200" spc="0" baseline="0">
                <a:solidFill>
                  <a:schemeClr val="tx2"/>
                </a:solidFill>
                <a:latin typeface="+mn-lt"/>
                <a:ea typeface="+mn-ea"/>
                <a:cs typeface="+mn-cs"/>
              </a:defRPr>
            </a:lvl4pPr>
            <a:lvl5pPr marL="957856" marR="0" indent="-28569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1765" kern="1200" spc="0" baseline="0">
                <a:solidFill>
                  <a:schemeClr val="tx2"/>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1"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r>
              <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rPr>
              <a:t>It is possible to </a:t>
            </a:r>
            <a:r>
              <a:rPr kumimoji="0" lang="en-US" sz="2000" b="1"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rPr>
              <a:t>sort</a:t>
            </a:r>
            <a:r>
              <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rPr>
              <a:t> data according to </a:t>
            </a:r>
            <a:r>
              <a:rPr kumimoji="0" lang="en-US" sz="2000" b="1"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rPr>
              <a:t>numeric values </a:t>
            </a:r>
            <a:r>
              <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rPr>
              <a:t>or to </a:t>
            </a:r>
            <a:r>
              <a:rPr kumimoji="0" lang="en-US" sz="2000" b="1"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rPr>
              <a:t>data categories</a:t>
            </a:r>
            <a:r>
              <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rPr>
              <a:t>, for each </a:t>
            </a:r>
            <a:r>
              <a:rPr kumimoji="0" lang="en-US" sz="2000" b="1"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rPr>
              <a:t>visualization</a:t>
            </a: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r>
              <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rPr>
              <a:t>For categories, the order that is used is either </a:t>
            </a:r>
            <a:r>
              <a:rPr kumimoji="0" lang="en-US" sz="2000" b="1"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rPr>
              <a:t>alphabetical</a:t>
            </a:r>
            <a:r>
              <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rPr>
              <a:t> (or </a:t>
            </a:r>
            <a:r>
              <a:rPr kumimoji="0" lang="en-US" sz="2000" b="1"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rPr>
              <a:t>numerical</a:t>
            </a:r>
            <a:r>
              <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rPr>
              <a:t>) or the </a:t>
            </a:r>
            <a:r>
              <a:rPr kumimoji="0" lang="en-US" sz="2000" b="1"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rPr>
              <a:t>custom sort </a:t>
            </a:r>
            <a:r>
              <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rPr>
              <a:t>order</a:t>
            </a: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r>
              <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rPr>
              <a:t>Data can be presented </a:t>
            </a:r>
            <a:r>
              <a:rPr kumimoji="0" lang="en-US" sz="2000" b="1"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rPr>
              <a:t>ascending</a:t>
            </a:r>
            <a:r>
              <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rPr>
              <a:t> or </a:t>
            </a:r>
            <a:r>
              <a:rPr kumimoji="0" lang="en-US" sz="2000" b="1"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rPr>
              <a:t>descending</a:t>
            </a: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p:txBody>
      </p:sp>
      <p:pic>
        <p:nvPicPr>
          <p:cNvPr id="3" name="Picture 2"/>
          <p:cNvPicPr>
            <a:picLocks noChangeAspect="1"/>
          </p:cNvPicPr>
          <p:nvPr/>
        </p:nvPicPr>
        <p:blipFill>
          <a:blip r:embed="rId3"/>
          <a:stretch>
            <a:fillRect/>
          </a:stretch>
        </p:blipFill>
        <p:spPr>
          <a:xfrm>
            <a:off x="4949686" y="3878021"/>
            <a:ext cx="4939954" cy="2761679"/>
          </a:xfrm>
          <a:prstGeom prst="rect">
            <a:avLst/>
          </a:prstGeom>
          <a:ln>
            <a:noFill/>
          </a:ln>
          <a:effectLst>
            <a:outerShdw blurRad="190500" algn="tl" rotWithShape="0">
              <a:srgbClr val="000000">
                <a:alpha val="70000"/>
              </a:srgbClr>
            </a:outerShdw>
          </a:effectLst>
        </p:spPr>
      </p:pic>
      <p:pic>
        <p:nvPicPr>
          <p:cNvPr id="6" name="Picture 5"/>
          <p:cNvPicPr>
            <a:picLocks noChangeAspect="1"/>
          </p:cNvPicPr>
          <p:nvPr/>
        </p:nvPicPr>
        <p:blipFill>
          <a:blip r:embed="rId4"/>
          <a:stretch>
            <a:fillRect/>
          </a:stretch>
        </p:blipFill>
        <p:spPr>
          <a:xfrm>
            <a:off x="8650148" y="3833048"/>
            <a:ext cx="3078025" cy="2405154"/>
          </a:xfrm>
          <a:prstGeom prst="rect">
            <a:avLst/>
          </a:prstGeom>
        </p:spPr>
      </p:pic>
      <p:sp>
        <p:nvSpPr>
          <p:cNvPr id="51" name="Rectangle 50"/>
          <p:cNvSpPr/>
          <p:nvPr/>
        </p:nvSpPr>
        <p:spPr bwMode="auto">
          <a:xfrm>
            <a:off x="9455399" y="3903745"/>
            <a:ext cx="364462" cy="224183"/>
          </a:xfrm>
          <a:prstGeom prst="rect">
            <a:avLst/>
          </a:prstGeom>
          <a:noFill/>
          <a:ln w="38100">
            <a:solidFill>
              <a:srgbClr val="FF00F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8741958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solidFill>
            <a:schemeClr val="bg1"/>
          </a:solidFill>
        </p:spPr>
        <p:txBody>
          <a:bodyPr/>
          <a:lstStyle/>
          <a:p>
            <a:r>
              <a:rPr lang="en-US" sz="3600">
                <a:solidFill>
                  <a:schemeClr val="tx1"/>
                </a:solidFill>
              </a:rPr>
              <a:t>Other Reporting Features</a:t>
            </a:r>
          </a:p>
        </p:txBody>
      </p:sp>
      <p:grpSp>
        <p:nvGrpSpPr>
          <p:cNvPr id="52" name="Group 51"/>
          <p:cNvGrpSpPr/>
          <p:nvPr/>
        </p:nvGrpSpPr>
        <p:grpSpPr>
          <a:xfrm>
            <a:off x="2" y="1"/>
            <a:ext cx="2849058" cy="6858000"/>
            <a:chOff x="2" y="1"/>
            <a:chExt cx="2849058" cy="6858000"/>
          </a:xfrm>
        </p:grpSpPr>
        <p:sp>
          <p:nvSpPr>
            <p:cNvPr id="71" name="Rectangle 70"/>
            <p:cNvSpPr/>
            <p:nvPr/>
          </p:nvSpPr>
          <p:spPr bwMode="auto">
            <a:xfrm>
              <a:off x="2" y="1"/>
              <a:ext cx="2849058"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3" name="Oval 70"/>
            <p:cNvSpPr/>
            <p:nvPr/>
          </p:nvSpPr>
          <p:spPr>
            <a:xfrm>
              <a:off x="1413521" y="4951537"/>
              <a:ext cx="1119626" cy="1119626"/>
            </a:xfrm>
            <a:prstGeom prst="ellipse">
              <a:avLst/>
            </a:prstGeom>
            <a:solidFill>
              <a:srgbClr val="F2C812"/>
            </a:solidFill>
            <a:ln w="3175" cap="flat" cmpd="sng" algn="ctr">
              <a:noFill/>
              <a:prstDash val="solid"/>
            </a:ln>
            <a:effectLst/>
          </p:spPr>
          <p:txBody>
            <a:bodyPr vert="horz" wrap="none" lIns="0" tIns="45720" rIns="0" bIns="0" rtlCol="0" anchor="t"/>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Segoe UI"/>
                  <a:ea typeface="Segoe UI" pitchFamily="34" charset="0"/>
                  <a:cs typeface="Segoe UI" pitchFamily="34" charset="0"/>
                </a:rPr>
                <a:t>Share &amp;</a:t>
              </a:r>
            </a:p>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Segoe UI"/>
                  <a:ea typeface="Segoe UI" pitchFamily="34" charset="0"/>
                  <a:cs typeface="Segoe UI" pitchFamily="34" charset="0"/>
                </a:rPr>
                <a:t>collaborate </a:t>
              </a:r>
            </a:p>
          </p:txBody>
        </p:sp>
        <p:grpSp>
          <p:nvGrpSpPr>
            <p:cNvPr id="76" name="Group 38"/>
            <p:cNvGrpSpPr>
              <a:grpSpLocks noChangeAspect="1"/>
            </p:cNvGrpSpPr>
            <p:nvPr/>
          </p:nvGrpSpPr>
          <p:grpSpPr>
            <a:xfrm>
              <a:off x="676996" y="3930692"/>
              <a:ext cx="383905" cy="351536"/>
              <a:chOff x="4363684" y="5330386"/>
              <a:chExt cx="1409956" cy="1291077"/>
            </a:xfrm>
            <a:solidFill>
              <a:srgbClr val="217346"/>
            </a:solidFill>
          </p:grpSpPr>
          <p:sp>
            <p:nvSpPr>
              <p:cNvPr id="102" name="Donut 3"/>
              <p:cNvSpPr/>
              <p:nvPr/>
            </p:nvSpPr>
            <p:spPr bwMode="auto">
              <a:xfrm>
                <a:off x="4363684" y="5330386"/>
                <a:ext cx="1409956" cy="1291077"/>
              </a:xfrm>
              <a:custGeom>
                <a:avLst/>
                <a:gdLst/>
                <a:ahLst/>
                <a:cxnLst/>
                <a:rect l="l" t="t" r="r" b="b"/>
                <a:pathLst>
                  <a:path w="1409956" h="1291077">
                    <a:moveTo>
                      <a:pt x="956401" y="78410"/>
                    </a:moveTo>
                    <a:cubicBezTo>
                      <a:pt x="747518" y="78410"/>
                      <a:pt x="578184" y="247744"/>
                      <a:pt x="578184" y="456627"/>
                    </a:cubicBezTo>
                    <a:cubicBezTo>
                      <a:pt x="578184" y="665510"/>
                      <a:pt x="747518" y="834844"/>
                      <a:pt x="956401" y="834844"/>
                    </a:cubicBezTo>
                    <a:cubicBezTo>
                      <a:pt x="1165284" y="834844"/>
                      <a:pt x="1334618" y="665510"/>
                      <a:pt x="1334618" y="456627"/>
                    </a:cubicBezTo>
                    <a:cubicBezTo>
                      <a:pt x="1334618" y="247744"/>
                      <a:pt x="1165284" y="78410"/>
                      <a:pt x="956401" y="78410"/>
                    </a:cubicBezTo>
                    <a:close/>
                    <a:moveTo>
                      <a:pt x="952756" y="0"/>
                    </a:moveTo>
                    <a:cubicBezTo>
                      <a:pt x="1205261" y="0"/>
                      <a:pt x="1409956" y="204695"/>
                      <a:pt x="1409956" y="457200"/>
                    </a:cubicBezTo>
                    <a:cubicBezTo>
                      <a:pt x="1409956" y="709705"/>
                      <a:pt x="1205261" y="914400"/>
                      <a:pt x="952756" y="914400"/>
                    </a:cubicBezTo>
                    <a:cubicBezTo>
                      <a:pt x="862133" y="914400"/>
                      <a:pt x="777669" y="888034"/>
                      <a:pt x="707132" y="841746"/>
                    </a:cubicBezTo>
                    <a:lnTo>
                      <a:pt x="136495" y="1280102"/>
                    </a:lnTo>
                    <a:cubicBezTo>
                      <a:pt x="21896" y="1327168"/>
                      <a:pt x="-44029" y="1213730"/>
                      <a:pt x="33797" y="1113182"/>
                    </a:cubicBezTo>
                    <a:lnTo>
                      <a:pt x="568587" y="703518"/>
                    </a:lnTo>
                    <a:cubicBezTo>
                      <a:pt x="522087" y="632814"/>
                      <a:pt x="495556" y="548105"/>
                      <a:pt x="495556" y="457200"/>
                    </a:cubicBezTo>
                    <a:cubicBezTo>
                      <a:pt x="495556" y="204695"/>
                      <a:pt x="700251" y="0"/>
                      <a:pt x="952756" y="0"/>
                    </a:cubicBezTo>
                    <a:close/>
                  </a:path>
                </a:pathLst>
              </a:custGeom>
              <a:grpFill/>
              <a:ln>
                <a:solidFill>
                  <a:srgbClr val="21734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sp>
            <p:nvSpPr>
              <p:cNvPr id="103" name="Rectangle 4"/>
              <p:cNvSpPr/>
              <p:nvPr/>
            </p:nvSpPr>
            <p:spPr>
              <a:xfrm>
                <a:off x="5058389" y="5528247"/>
                <a:ext cx="490885" cy="490020"/>
              </a:xfrm>
              <a:custGeom>
                <a:avLst/>
                <a:gdLst/>
                <a:ahLst/>
                <a:cxnLst/>
                <a:rect l="l" t="t" r="r" b="b"/>
                <a:pathLst>
                  <a:path w="490885" h="490020">
                    <a:moveTo>
                      <a:pt x="240752" y="0"/>
                    </a:moveTo>
                    <a:cubicBezTo>
                      <a:pt x="253961" y="11844"/>
                      <a:pt x="293310" y="49692"/>
                      <a:pt x="337332" y="92439"/>
                    </a:cubicBezTo>
                    <a:lnTo>
                      <a:pt x="328342" y="81259"/>
                    </a:lnTo>
                    <a:cubicBezTo>
                      <a:pt x="356946" y="111282"/>
                      <a:pt x="377251" y="107167"/>
                      <a:pt x="382515" y="87941"/>
                    </a:cubicBezTo>
                    <a:cubicBezTo>
                      <a:pt x="383951" y="76921"/>
                      <a:pt x="384595" y="68732"/>
                      <a:pt x="396997" y="52239"/>
                    </a:cubicBezTo>
                    <a:cubicBezTo>
                      <a:pt x="420362" y="32084"/>
                      <a:pt x="442294" y="41736"/>
                      <a:pt x="454920" y="51330"/>
                    </a:cubicBezTo>
                    <a:cubicBezTo>
                      <a:pt x="467834" y="62761"/>
                      <a:pt x="477920" y="86882"/>
                      <a:pt x="460392" y="109714"/>
                    </a:cubicBezTo>
                    <a:cubicBezTo>
                      <a:pt x="451128" y="121912"/>
                      <a:pt x="437554" y="126838"/>
                      <a:pt x="425922" y="126505"/>
                    </a:cubicBezTo>
                    <a:cubicBezTo>
                      <a:pt x="424301" y="127609"/>
                      <a:pt x="382890" y="134974"/>
                      <a:pt x="427348" y="177672"/>
                    </a:cubicBezTo>
                    <a:lnTo>
                      <a:pt x="416886" y="169735"/>
                    </a:lnTo>
                    <a:cubicBezTo>
                      <a:pt x="450207" y="202177"/>
                      <a:pt x="478424" y="229744"/>
                      <a:pt x="490885" y="241900"/>
                    </a:cubicBezTo>
                    <a:lnTo>
                      <a:pt x="417150" y="317347"/>
                    </a:lnTo>
                    <a:cubicBezTo>
                      <a:pt x="417744" y="316535"/>
                      <a:pt x="418443" y="316123"/>
                      <a:pt x="419047" y="315822"/>
                    </a:cubicBezTo>
                    <a:cubicBezTo>
                      <a:pt x="389023" y="344426"/>
                      <a:pt x="393138" y="364731"/>
                      <a:pt x="412364" y="369995"/>
                    </a:cubicBezTo>
                    <a:cubicBezTo>
                      <a:pt x="423384" y="371431"/>
                      <a:pt x="431574" y="372075"/>
                      <a:pt x="448067" y="384477"/>
                    </a:cubicBezTo>
                    <a:cubicBezTo>
                      <a:pt x="468221" y="407842"/>
                      <a:pt x="458569" y="429774"/>
                      <a:pt x="448975" y="442400"/>
                    </a:cubicBezTo>
                    <a:cubicBezTo>
                      <a:pt x="437545" y="455314"/>
                      <a:pt x="413423" y="465400"/>
                      <a:pt x="390591" y="447872"/>
                    </a:cubicBezTo>
                    <a:cubicBezTo>
                      <a:pt x="378394" y="438608"/>
                      <a:pt x="373468" y="425034"/>
                      <a:pt x="373800" y="413402"/>
                    </a:cubicBezTo>
                    <a:cubicBezTo>
                      <a:pt x="372696" y="411781"/>
                      <a:pt x="365332" y="370370"/>
                      <a:pt x="322634" y="414828"/>
                    </a:cubicBezTo>
                    <a:lnTo>
                      <a:pt x="325243" y="411388"/>
                    </a:lnTo>
                    <a:lnTo>
                      <a:pt x="248395" y="490020"/>
                    </a:lnTo>
                    <a:cubicBezTo>
                      <a:pt x="208939" y="451897"/>
                      <a:pt x="199129" y="442073"/>
                      <a:pt x="174192" y="418236"/>
                    </a:cubicBezTo>
                    <a:cubicBezTo>
                      <a:pt x="145587" y="388212"/>
                      <a:pt x="125282" y="392327"/>
                      <a:pt x="120018" y="411553"/>
                    </a:cubicBezTo>
                    <a:cubicBezTo>
                      <a:pt x="118582" y="422573"/>
                      <a:pt x="117938" y="430763"/>
                      <a:pt x="105536" y="447256"/>
                    </a:cubicBezTo>
                    <a:cubicBezTo>
                      <a:pt x="82171" y="467410"/>
                      <a:pt x="60239" y="457758"/>
                      <a:pt x="47614" y="448164"/>
                    </a:cubicBezTo>
                    <a:cubicBezTo>
                      <a:pt x="34699" y="436734"/>
                      <a:pt x="24614" y="412612"/>
                      <a:pt x="42141" y="389780"/>
                    </a:cubicBezTo>
                    <a:cubicBezTo>
                      <a:pt x="51405" y="377583"/>
                      <a:pt x="64979" y="372657"/>
                      <a:pt x="76612" y="372989"/>
                    </a:cubicBezTo>
                    <a:cubicBezTo>
                      <a:pt x="78232" y="371886"/>
                      <a:pt x="119644" y="364521"/>
                      <a:pt x="75186" y="321823"/>
                    </a:cubicBezTo>
                    <a:cubicBezTo>
                      <a:pt x="58767" y="305402"/>
                      <a:pt x="23648" y="271235"/>
                      <a:pt x="0" y="248738"/>
                    </a:cubicBezTo>
                    <a:lnTo>
                      <a:pt x="77303" y="168146"/>
                    </a:lnTo>
                    <a:cubicBezTo>
                      <a:pt x="104269" y="140313"/>
                      <a:pt x="122130" y="156409"/>
                      <a:pt x="124388" y="175543"/>
                    </a:cubicBezTo>
                    <a:cubicBezTo>
                      <a:pt x="124457" y="182466"/>
                      <a:pt x="127106" y="193106"/>
                      <a:pt x="137575" y="203052"/>
                    </a:cubicBezTo>
                    <a:cubicBezTo>
                      <a:pt x="153931" y="220277"/>
                      <a:pt x="181252" y="217451"/>
                      <a:pt x="196721" y="201951"/>
                    </a:cubicBezTo>
                    <a:cubicBezTo>
                      <a:pt x="211961" y="185740"/>
                      <a:pt x="213057" y="157882"/>
                      <a:pt x="196146" y="142797"/>
                    </a:cubicBezTo>
                    <a:cubicBezTo>
                      <a:pt x="184301" y="132637"/>
                      <a:pt x="177155" y="131453"/>
                      <a:pt x="166513" y="129894"/>
                    </a:cubicBezTo>
                    <a:cubicBezTo>
                      <a:pt x="154522" y="129013"/>
                      <a:pt x="131185" y="112953"/>
                      <a:pt x="157905" y="85228"/>
                    </a:cubicBezTo>
                    <a:close/>
                  </a:path>
                </a:pathLst>
              </a:custGeom>
              <a:grpFill/>
              <a:ln>
                <a:solidFill>
                  <a:srgbClr val="21734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grpSp>
        <p:sp>
          <p:nvSpPr>
            <p:cNvPr id="77" name="Oval 47"/>
            <p:cNvSpPr/>
            <p:nvPr/>
          </p:nvSpPr>
          <p:spPr>
            <a:xfrm>
              <a:off x="388608" y="3710471"/>
              <a:ext cx="1119626" cy="1119626"/>
            </a:xfrm>
            <a:prstGeom prst="ellipse">
              <a:avLst/>
            </a:prstGeom>
            <a:solidFill>
              <a:srgbClr val="F2C812"/>
            </a:solidFill>
            <a:ln w="3175" cap="flat" cmpd="sng" algn="ctr">
              <a:noFill/>
              <a:prstDash val="solid"/>
            </a:ln>
            <a:effectLst/>
          </p:spPr>
          <p:txBody>
            <a:bodyPr vert="horz" wrap="none" lIns="0" tIns="45720" rIns="0" bIns="0" rtlCol="0" anchor="t"/>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Segoe UI"/>
                  <a:ea typeface="Segoe UI" pitchFamily="34" charset="0"/>
                  <a:cs typeface="Segoe UI" pitchFamily="34" charset="0"/>
                </a:rPr>
                <a:t>Report</a:t>
              </a:r>
            </a:p>
          </p:txBody>
        </p:sp>
        <p:sp>
          <p:nvSpPr>
            <p:cNvPr id="78" name="Oval 950"/>
            <p:cNvSpPr/>
            <p:nvPr/>
          </p:nvSpPr>
          <p:spPr>
            <a:xfrm>
              <a:off x="388608" y="1252295"/>
              <a:ext cx="1119626" cy="1119626"/>
            </a:xfrm>
            <a:prstGeom prst="ellipse">
              <a:avLst/>
            </a:prstGeom>
            <a:solidFill>
              <a:srgbClr val="F2C812"/>
            </a:solidFill>
            <a:ln w="3175" cap="flat" cmpd="sng" algn="ctr">
              <a:noFill/>
              <a:prstDash val="solid"/>
            </a:ln>
            <a:effectLst/>
          </p:spPr>
          <p:txBody>
            <a:bodyPr vert="horz" wrap="none" lIns="0" tIns="45720" rIns="0" bIns="0" rtlCol="0" anchor="t"/>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1" i="0" u="none" strike="noStrike" kern="1200" cap="none" spc="0" normalizeH="0" baseline="0" noProof="0">
                <a:ln>
                  <a:noFill/>
                </a:ln>
                <a:solidFill>
                  <a:srgbClr val="217346"/>
                </a:solidFill>
                <a:effectLst/>
                <a:uLnTx/>
                <a:uFillTx/>
                <a:latin typeface="Segoe UI"/>
                <a:ea typeface="Segoe UI" pitchFamily="34" charset="0"/>
                <a:cs typeface="Segoe UI" pitchFamily="34" charset="0"/>
              </a:endParaRPr>
            </a:p>
          </p:txBody>
        </p:sp>
        <p:grpSp>
          <p:nvGrpSpPr>
            <p:cNvPr id="79" name="Group 78"/>
            <p:cNvGrpSpPr/>
            <p:nvPr/>
          </p:nvGrpSpPr>
          <p:grpSpPr>
            <a:xfrm>
              <a:off x="1264851" y="3482890"/>
              <a:ext cx="292254" cy="354906"/>
              <a:chOff x="1296521" y="3253388"/>
              <a:chExt cx="292254" cy="354906"/>
            </a:xfrm>
            <a:solidFill>
              <a:srgbClr val="F2C812"/>
            </a:solidFill>
          </p:grpSpPr>
          <p:sp>
            <p:nvSpPr>
              <p:cNvPr id="99" name="Isosceles Triangle 98"/>
              <p:cNvSpPr/>
              <p:nvPr/>
            </p:nvSpPr>
            <p:spPr bwMode="auto">
              <a:xfrm rot="13636515">
                <a:off x="1461362" y="328936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0" name="Isosceles Triangle 99"/>
              <p:cNvSpPr/>
              <p:nvPr/>
            </p:nvSpPr>
            <p:spPr bwMode="auto">
              <a:xfrm rot="13636515">
                <a:off x="1357669" y="338258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1" name="Isosceles Triangle 100"/>
              <p:cNvSpPr/>
              <p:nvPr/>
            </p:nvSpPr>
            <p:spPr bwMode="auto">
              <a:xfrm rot="13636515">
                <a:off x="1260548" y="3480882"/>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80" name="Group 79"/>
            <p:cNvGrpSpPr/>
            <p:nvPr/>
          </p:nvGrpSpPr>
          <p:grpSpPr>
            <a:xfrm rot="15940603">
              <a:off x="1334576" y="2204404"/>
              <a:ext cx="292254" cy="354906"/>
              <a:chOff x="1296521" y="3253388"/>
              <a:chExt cx="292254" cy="354906"/>
            </a:xfrm>
            <a:solidFill>
              <a:srgbClr val="F2C812"/>
            </a:solidFill>
          </p:grpSpPr>
          <p:sp>
            <p:nvSpPr>
              <p:cNvPr id="96" name="Isosceles Triangle 95"/>
              <p:cNvSpPr/>
              <p:nvPr/>
            </p:nvSpPr>
            <p:spPr bwMode="auto">
              <a:xfrm rot="13636515">
                <a:off x="1461362" y="328936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7" name="Isosceles Triangle 96"/>
              <p:cNvSpPr/>
              <p:nvPr/>
            </p:nvSpPr>
            <p:spPr bwMode="auto">
              <a:xfrm rot="13636515">
                <a:off x="1357669" y="338258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8" name="Isosceles Triangle 97"/>
              <p:cNvSpPr/>
              <p:nvPr/>
            </p:nvSpPr>
            <p:spPr bwMode="auto">
              <a:xfrm rot="13636515">
                <a:off x="1260548" y="3480882"/>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81" name="Group 80"/>
            <p:cNvGrpSpPr/>
            <p:nvPr/>
          </p:nvGrpSpPr>
          <p:grpSpPr>
            <a:xfrm rot="16043978">
              <a:off x="1317220" y="4717577"/>
              <a:ext cx="292254" cy="354906"/>
              <a:chOff x="1296521" y="3253388"/>
              <a:chExt cx="292254" cy="354906"/>
            </a:xfrm>
            <a:solidFill>
              <a:srgbClr val="F2C812"/>
            </a:solidFill>
          </p:grpSpPr>
          <p:sp>
            <p:nvSpPr>
              <p:cNvPr id="93" name="Isosceles Triangle 92"/>
              <p:cNvSpPr/>
              <p:nvPr/>
            </p:nvSpPr>
            <p:spPr bwMode="auto">
              <a:xfrm rot="13636515">
                <a:off x="1461362" y="328936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4" name="Isosceles Triangle 93"/>
              <p:cNvSpPr/>
              <p:nvPr/>
            </p:nvSpPr>
            <p:spPr bwMode="auto">
              <a:xfrm rot="13636515">
                <a:off x="1357669" y="338258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5" name="Isosceles Triangle 94"/>
              <p:cNvSpPr/>
              <p:nvPr/>
            </p:nvSpPr>
            <p:spPr bwMode="auto">
              <a:xfrm rot="13636515">
                <a:off x="1260548" y="3480882"/>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82" name="Oval 36"/>
            <p:cNvSpPr/>
            <p:nvPr/>
          </p:nvSpPr>
          <p:spPr>
            <a:xfrm>
              <a:off x="1413521" y="2481383"/>
              <a:ext cx="1119626" cy="1119626"/>
            </a:xfrm>
            <a:prstGeom prst="ellipse">
              <a:avLst/>
            </a:prstGeom>
            <a:solidFill>
              <a:srgbClr val="F2C812"/>
            </a:solidFill>
            <a:ln w="3175" cap="flat" cmpd="sng" algn="ctr">
              <a:noFill/>
              <a:prstDash val="solid"/>
            </a:ln>
            <a:effectLst/>
          </p:spPr>
          <p:txBody>
            <a:bodyPr vert="horz" wrap="none" lIns="0" tIns="0" rIns="0" bIns="0" rtlCol="0" anchor="t"/>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400" b="1" i="0" u="none" strike="noStrike" kern="1200" cap="none" spc="0" normalizeH="0" baseline="0" noProof="0">
                <a:ln>
                  <a:noFill/>
                </a:ln>
                <a:solidFill>
                  <a:srgbClr val="217346"/>
                </a:solidFill>
                <a:effectLst/>
                <a:uLnTx/>
                <a:uFillTx/>
                <a:latin typeface="Segoe UI"/>
                <a:ea typeface="Segoe UI" pitchFamily="34" charset="0"/>
                <a:cs typeface="Segoe UI" pitchFamily="34" charset="0"/>
              </a:endParaRPr>
            </a:p>
          </p:txBody>
        </p:sp>
        <p:sp>
          <p:nvSpPr>
            <p:cNvPr id="83" name="Donut 3"/>
            <p:cNvSpPr/>
            <p:nvPr/>
          </p:nvSpPr>
          <p:spPr bwMode="auto">
            <a:xfrm>
              <a:off x="1742065" y="3002355"/>
              <a:ext cx="383905" cy="351537"/>
            </a:xfrm>
            <a:custGeom>
              <a:avLst/>
              <a:gdLst/>
              <a:ahLst/>
              <a:cxnLst/>
              <a:rect l="l" t="t" r="r" b="b"/>
              <a:pathLst>
                <a:path w="1409956" h="1291077">
                  <a:moveTo>
                    <a:pt x="956401" y="78410"/>
                  </a:moveTo>
                  <a:cubicBezTo>
                    <a:pt x="747518" y="78410"/>
                    <a:pt x="578184" y="247744"/>
                    <a:pt x="578184" y="456627"/>
                  </a:cubicBezTo>
                  <a:cubicBezTo>
                    <a:pt x="578184" y="665510"/>
                    <a:pt x="747518" y="834844"/>
                    <a:pt x="956401" y="834844"/>
                  </a:cubicBezTo>
                  <a:cubicBezTo>
                    <a:pt x="1165284" y="834844"/>
                    <a:pt x="1334618" y="665510"/>
                    <a:pt x="1334618" y="456627"/>
                  </a:cubicBezTo>
                  <a:cubicBezTo>
                    <a:pt x="1334618" y="247744"/>
                    <a:pt x="1165284" y="78410"/>
                    <a:pt x="956401" y="78410"/>
                  </a:cubicBezTo>
                  <a:close/>
                  <a:moveTo>
                    <a:pt x="952756" y="0"/>
                  </a:moveTo>
                  <a:cubicBezTo>
                    <a:pt x="1205261" y="0"/>
                    <a:pt x="1409956" y="204695"/>
                    <a:pt x="1409956" y="457200"/>
                  </a:cubicBezTo>
                  <a:cubicBezTo>
                    <a:pt x="1409956" y="709705"/>
                    <a:pt x="1205261" y="914400"/>
                    <a:pt x="952756" y="914400"/>
                  </a:cubicBezTo>
                  <a:cubicBezTo>
                    <a:pt x="862133" y="914400"/>
                    <a:pt x="777669" y="888034"/>
                    <a:pt x="707132" y="841746"/>
                  </a:cubicBezTo>
                  <a:lnTo>
                    <a:pt x="136495" y="1280102"/>
                  </a:lnTo>
                  <a:cubicBezTo>
                    <a:pt x="21896" y="1327168"/>
                    <a:pt x="-44029" y="1213730"/>
                    <a:pt x="33797" y="1113182"/>
                  </a:cubicBezTo>
                  <a:lnTo>
                    <a:pt x="568587" y="703518"/>
                  </a:lnTo>
                  <a:cubicBezTo>
                    <a:pt x="522087" y="632814"/>
                    <a:pt x="495556" y="548105"/>
                    <a:pt x="495556" y="457200"/>
                  </a:cubicBezTo>
                  <a:cubicBezTo>
                    <a:pt x="495556" y="204695"/>
                    <a:pt x="700251" y="0"/>
                    <a:pt x="952756" y="0"/>
                  </a:cubicBezTo>
                  <a:close/>
                </a:path>
              </a:pathLst>
            </a:cu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sp>
          <p:nvSpPr>
            <p:cNvPr id="84" name="Rectangle 83"/>
            <p:cNvSpPr/>
            <p:nvPr/>
          </p:nvSpPr>
          <p:spPr>
            <a:xfrm>
              <a:off x="1600398" y="2677430"/>
              <a:ext cx="820353" cy="307777"/>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Segoe UI"/>
                  <a:ea typeface="Segoe UI" pitchFamily="34" charset="0"/>
                  <a:cs typeface="Segoe UI" pitchFamily="34" charset="0"/>
                </a:rPr>
                <a:t>Explore</a:t>
              </a:r>
              <a:endParaRPr kumimoji="0" lang="en-US" sz="1600" b="0" i="0" u="none" strike="noStrike" kern="1200" cap="none" spc="0" normalizeH="0" baseline="0" noProof="0">
                <a:ln>
                  <a:noFill/>
                </a:ln>
                <a:solidFill>
                  <a:srgbClr val="000000"/>
                </a:solidFill>
                <a:effectLst/>
                <a:uLnTx/>
                <a:uFillTx/>
                <a:latin typeface="Segoe UI"/>
                <a:ea typeface="+mn-ea"/>
                <a:cs typeface="+mn-cs"/>
              </a:endParaRPr>
            </a:p>
          </p:txBody>
        </p:sp>
        <p:sp>
          <p:nvSpPr>
            <p:cNvPr id="85" name="Rectangle 84"/>
            <p:cNvSpPr/>
            <p:nvPr/>
          </p:nvSpPr>
          <p:spPr>
            <a:xfrm>
              <a:off x="509174" y="1475232"/>
              <a:ext cx="838756" cy="307777"/>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Segoe UI"/>
                  <a:ea typeface="Segoe UI" pitchFamily="34" charset="0"/>
                  <a:cs typeface="Segoe UI" pitchFamily="34" charset="0"/>
                </a:rPr>
                <a:t>Prepare</a:t>
              </a: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86" name="Freeform 85"/>
            <p:cNvSpPr>
              <a:spLocks noChangeAspect="1"/>
            </p:cNvSpPr>
            <p:nvPr/>
          </p:nvSpPr>
          <p:spPr bwMode="black">
            <a:xfrm>
              <a:off x="1836174" y="5643069"/>
              <a:ext cx="274320" cy="284173"/>
            </a:xfrm>
            <a:custGeom>
              <a:avLst/>
              <a:gdLst>
                <a:gd name="T0" fmla="*/ 539 w 669"/>
                <a:gd name="T1" fmla="*/ 5 h 693"/>
                <a:gd name="T2" fmla="*/ 640 w 669"/>
                <a:gd name="T3" fmla="*/ 55 h 693"/>
                <a:gd name="T4" fmla="*/ 603 w 669"/>
                <a:gd name="T5" fmla="*/ 195 h 693"/>
                <a:gd name="T6" fmla="*/ 490 w 669"/>
                <a:gd name="T7" fmla="*/ 188 h 693"/>
                <a:gd name="T8" fmla="*/ 479 w 669"/>
                <a:gd name="T9" fmla="*/ 176 h 693"/>
                <a:gd name="T10" fmla="*/ 213 w 669"/>
                <a:gd name="T11" fmla="*/ 330 h 693"/>
                <a:gd name="T12" fmla="*/ 218 w 669"/>
                <a:gd name="T13" fmla="*/ 345 h 693"/>
                <a:gd name="T14" fmla="*/ 218 w 669"/>
                <a:gd name="T15" fmla="*/ 375 h 693"/>
                <a:gd name="T16" fmla="*/ 209 w 669"/>
                <a:gd name="T17" fmla="*/ 402 h 693"/>
                <a:gd name="T18" fmla="*/ 369 w 669"/>
                <a:gd name="T19" fmla="*/ 503 h 693"/>
                <a:gd name="T20" fmla="*/ 373 w 669"/>
                <a:gd name="T21" fmla="*/ 498 h 693"/>
                <a:gd name="T22" fmla="*/ 456 w 669"/>
                <a:gd name="T23" fmla="*/ 475 h 693"/>
                <a:gd name="T24" fmla="*/ 494 w 669"/>
                <a:gd name="T25" fmla="*/ 489 h 693"/>
                <a:gd name="T26" fmla="*/ 527 w 669"/>
                <a:gd name="T27" fmla="*/ 630 h 693"/>
                <a:gd name="T28" fmla="*/ 386 w 669"/>
                <a:gd name="T29" fmla="*/ 663 h 693"/>
                <a:gd name="T30" fmla="*/ 339 w 669"/>
                <a:gd name="T31" fmla="*/ 560 h 693"/>
                <a:gd name="T32" fmla="*/ 345 w 669"/>
                <a:gd name="T33" fmla="*/ 544 h 693"/>
                <a:gd name="T34" fmla="*/ 177 w 669"/>
                <a:gd name="T35" fmla="*/ 439 h 693"/>
                <a:gd name="T36" fmla="*/ 168 w 669"/>
                <a:gd name="T37" fmla="*/ 446 h 693"/>
                <a:gd name="T38" fmla="*/ 28 w 669"/>
                <a:gd name="T39" fmla="*/ 409 h 693"/>
                <a:gd name="T40" fmla="*/ 65 w 669"/>
                <a:gd name="T41" fmla="*/ 269 h 693"/>
                <a:gd name="T42" fmla="*/ 178 w 669"/>
                <a:gd name="T43" fmla="*/ 276 h 693"/>
                <a:gd name="T44" fmla="*/ 189 w 669"/>
                <a:gd name="T45" fmla="*/ 288 h 693"/>
                <a:gd name="T46" fmla="*/ 455 w 669"/>
                <a:gd name="T47" fmla="*/ 134 h 693"/>
                <a:gd name="T48" fmla="*/ 450 w 669"/>
                <a:gd name="T49" fmla="*/ 119 h 693"/>
                <a:gd name="T50" fmla="*/ 501 w 669"/>
                <a:gd name="T51" fmla="*/ 18 h 693"/>
                <a:gd name="T52" fmla="*/ 539 w 669"/>
                <a:gd name="T53" fmla="*/ 5 h 6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69" h="693">
                  <a:moveTo>
                    <a:pt x="539" y="5"/>
                  </a:moveTo>
                  <a:cubicBezTo>
                    <a:pt x="579" y="0"/>
                    <a:pt x="619" y="19"/>
                    <a:pt x="640" y="55"/>
                  </a:cubicBezTo>
                  <a:cubicBezTo>
                    <a:pt x="669" y="104"/>
                    <a:pt x="652" y="167"/>
                    <a:pt x="603" y="195"/>
                  </a:cubicBezTo>
                  <a:cubicBezTo>
                    <a:pt x="566" y="216"/>
                    <a:pt x="522" y="212"/>
                    <a:pt x="490" y="188"/>
                  </a:cubicBezTo>
                  <a:cubicBezTo>
                    <a:pt x="479" y="176"/>
                    <a:pt x="479" y="176"/>
                    <a:pt x="479" y="176"/>
                  </a:cubicBezTo>
                  <a:cubicBezTo>
                    <a:pt x="213" y="330"/>
                    <a:pt x="213" y="330"/>
                    <a:pt x="213" y="330"/>
                  </a:cubicBezTo>
                  <a:cubicBezTo>
                    <a:pt x="218" y="345"/>
                    <a:pt x="218" y="345"/>
                    <a:pt x="218" y="345"/>
                  </a:cubicBezTo>
                  <a:cubicBezTo>
                    <a:pt x="219" y="355"/>
                    <a:pt x="219" y="365"/>
                    <a:pt x="218" y="375"/>
                  </a:cubicBezTo>
                  <a:cubicBezTo>
                    <a:pt x="209" y="402"/>
                    <a:pt x="209" y="402"/>
                    <a:pt x="209" y="402"/>
                  </a:cubicBezTo>
                  <a:cubicBezTo>
                    <a:pt x="369" y="503"/>
                    <a:pt x="369" y="503"/>
                    <a:pt x="369" y="503"/>
                  </a:cubicBezTo>
                  <a:cubicBezTo>
                    <a:pt x="373" y="498"/>
                    <a:pt x="373" y="498"/>
                    <a:pt x="373" y="498"/>
                  </a:cubicBezTo>
                  <a:cubicBezTo>
                    <a:pt x="396" y="479"/>
                    <a:pt x="427" y="470"/>
                    <a:pt x="456" y="475"/>
                  </a:cubicBezTo>
                  <a:cubicBezTo>
                    <a:pt x="470" y="477"/>
                    <a:pt x="482" y="482"/>
                    <a:pt x="494" y="489"/>
                  </a:cubicBezTo>
                  <a:cubicBezTo>
                    <a:pt x="542" y="519"/>
                    <a:pt x="557" y="583"/>
                    <a:pt x="527" y="630"/>
                  </a:cubicBezTo>
                  <a:cubicBezTo>
                    <a:pt x="497" y="678"/>
                    <a:pt x="433" y="693"/>
                    <a:pt x="386" y="663"/>
                  </a:cubicBezTo>
                  <a:cubicBezTo>
                    <a:pt x="350" y="640"/>
                    <a:pt x="333" y="599"/>
                    <a:pt x="339" y="560"/>
                  </a:cubicBezTo>
                  <a:cubicBezTo>
                    <a:pt x="345" y="544"/>
                    <a:pt x="345" y="544"/>
                    <a:pt x="345" y="544"/>
                  </a:cubicBezTo>
                  <a:cubicBezTo>
                    <a:pt x="177" y="439"/>
                    <a:pt x="177" y="439"/>
                    <a:pt x="177" y="439"/>
                  </a:cubicBezTo>
                  <a:cubicBezTo>
                    <a:pt x="168" y="446"/>
                    <a:pt x="168" y="446"/>
                    <a:pt x="168" y="446"/>
                  </a:cubicBezTo>
                  <a:cubicBezTo>
                    <a:pt x="119" y="475"/>
                    <a:pt x="56" y="458"/>
                    <a:pt x="28" y="409"/>
                  </a:cubicBezTo>
                  <a:cubicBezTo>
                    <a:pt x="0" y="360"/>
                    <a:pt x="16" y="297"/>
                    <a:pt x="65" y="269"/>
                  </a:cubicBezTo>
                  <a:cubicBezTo>
                    <a:pt x="102" y="248"/>
                    <a:pt x="147" y="252"/>
                    <a:pt x="178" y="276"/>
                  </a:cubicBezTo>
                  <a:cubicBezTo>
                    <a:pt x="189" y="288"/>
                    <a:pt x="189" y="288"/>
                    <a:pt x="189" y="288"/>
                  </a:cubicBezTo>
                  <a:cubicBezTo>
                    <a:pt x="455" y="134"/>
                    <a:pt x="455" y="134"/>
                    <a:pt x="455" y="134"/>
                  </a:cubicBezTo>
                  <a:cubicBezTo>
                    <a:pt x="450" y="119"/>
                    <a:pt x="450" y="119"/>
                    <a:pt x="450" y="119"/>
                  </a:cubicBezTo>
                  <a:cubicBezTo>
                    <a:pt x="445" y="80"/>
                    <a:pt x="464" y="39"/>
                    <a:pt x="501" y="18"/>
                  </a:cubicBezTo>
                  <a:cubicBezTo>
                    <a:pt x="513" y="11"/>
                    <a:pt x="526" y="6"/>
                    <a:pt x="539" y="5"/>
                  </a:cubicBezTo>
                  <a:close/>
                </a:path>
              </a:pathLst>
            </a:custGeom>
            <a:solidFill>
              <a:schemeClr val="tx1"/>
            </a:solidFill>
            <a:ln>
              <a:noFill/>
            </a:ln>
          </p:spPr>
          <p:txBody>
            <a:bodyPr vert="horz" wrap="square" lIns="68574" tIns="34287" rIns="68574" bIns="34287"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0000"/>
                </a:solidFill>
                <a:effectLst/>
                <a:uLnTx/>
                <a:uFillTx/>
                <a:latin typeface="Segoe UI"/>
                <a:ea typeface="+mn-ea"/>
                <a:cs typeface="+mn-cs"/>
              </a:endParaRPr>
            </a:p>
          </p:txBody>
        </p:sp>
        <p:sp>
          <p:nvSpPr>
            <p:cNvPr id="87" name="Freeform 86"/>
            <p:cNvSpPr>
              <a:spLocks noChangeAspect="1" noEditPoints="1"/>
            </p:cNvSpPr>
            <p:nvPr/>
          </p:nvSpPr>
          <p:spPr bwMode="black">
            <a:xfrm>
              <a:off x="722320" y="1783009"/>
              <a:ext cx="452202" cy="366660"/>
            </a:xfrm>
            <a:custGeom>
              <a:avLst/>
              <a:gdLst>
                <a:gd name="T0" fmla="*/ 600 w 1107"/>
                <a:gd name="T1" fmla="*/ 625 h 897"/>
                <a:gd name="T2" fmla="*/ 649 w 1107"/>
                <a:gd name="T3" fmla="*/ 567 h 897"/>
                <a:gd name="T4" fmla="*/ 727 w 1107"/>
                <a:gd name="T5" fmla="*/ 482 h 897"/>
                <a:gd name="T6" fmla="*/ 601 w 1107"/>
                <a:gd name="T7" fmla="*/ 434 h 897"/>
                <a:gd name="T8" fmla="*/ 628 w 1107"/>
                <a:gd name="T9" fmla="*/ 305 h 897"/>
                <a:gd name="T10" fmla="*/ 547 w 1107"/>
                <a:gd name="T11" fmla="*/ 240 h 897"/>
                <a:gd name="T12" fmla="*/ 427 w 1107"/>
                <a:gd name="T13" fmla="*/ 287 h 897"/>
                <a:gd name="T14" fmla="*/ 368 w 1107"/>
                <a:gd name="T15" fmla="*/ 170 h 897"/>
                <a:gd name="T16" fmla="*/ 285 w 1107"/>
                <a:gd name="T17" fmla="*/ 263 h 897"/>
                <a:gd name="T18" fmla="*/ 241 w 1107"/>
                <a:gd name="T19" fmla="*/ 313 h 897"/>
                <a:gd name="T20" fmla="*/ 139 w 1107"/>
                <a:gd name="T21" fmla="*/ 281 h 897"/>
                <a:gd name="T22" fmla="*/ 79 w 1107"/>
                <a:gd name="T23" fmla="*/ 355 h 897"/>
                <a:gd name="T24" fmla="*/ 132 w 1107"/>
                <a:gd name="T25" fmla="*/ 446 h 897"/>
                <a:gd name="T26" fmla="*/ 83 w 1107"/>
                <a:gd name="T27" fmla="*/ 505 h 897"/>
                <a:gd name="T28" fmla="*/ 5 w 1107"/>
                <a:gd name="T29" fmla="*/ 590 h 897"/>
                <a:gd name="T30" fmla="*/ 132 w 1107"/>
                <a:gd name="T31" fmla="*/ 638 h 897"/>
                <a:gd name="T32" fmla="*/ 145 w 1107"/>
                <a:gd name="T33" fmla="*/ 669 h 897"/>
                <a:gd name="T34" fmla="*/ 110 w 1107"/>
                <a:gd name="T35" fmla="*/ 793 h 897"/>
                <a:gd name="T36" fmla="*/ 230 w 1107"/>
                <a:gd name="T37" fmla="*/ 781 h 897"/>
                <a:gd name="T38" fmla="*/ 306 w 1107"/>
                <a:gd name="T39" fmla="*/ 785 h 897"/>
                <a:gd name="T40" fmla="*/ 346 w 1107"/>
                <a:gd name="T41" fmla="*/ 878 h 897"/>
                <a:gd name="T42" fmla="*/ 440 w 1107"/>
                <a:gd name="T43" fmla="*/ 872 h 897"/>
                <a:gd name="T44" fmla="*/ 466 w 1107"/>
                <a:gd name="T45" fmla="*/ 764 h 897"/>
                <a:gd name="T46" fmla="*/ 539 w 1107"/>
                <a:gd name="T47" fmla="*/ 755 h 897"/>
                <a:gd name="T48" fmla="*/ 659 w 1107"/>
                <a:gd name="T49" fmla="*/ 743 h 897"/>
                <a:gd name="T50" fmla="*/ 263 w 1107"/>
                <a:gd name="T51" fmla="*/ 452 h 897"/>
                <a:gd name="T52" fmla="*/ 281 w 1107"/>
                <a:gd name="T53" fmla="*/ 633 h 897"/>
                <a:gd name="T54" fmla="*/ 1002 w 1107"/>
                <a:gd name="T55" fmla="*/ 332 h 897"/>
                <a:gd name="T56" fmla="*/ 1043 w 1107"/>
                <a:gd name="T57" fmla="*/ 304 h 897"/>
                <a:gd name="T58" fmla="*/ 1107 w 1107"/>
                <a:gd name="T59" fmla="*/ 266 h 897"/>
                <a:gd name="T60" fmla="*/ 1037 w 1107"/>
                <a:gd name="T61" fmla="*/ 213 h 897"/>
                <a:gd name="T62" fmla="*/ 1077 w 1107"/>
                <a:gd name="T63" fmla="*/ 138 h 897"/>
                <a:gd name="T64" fmla="*/ 1038 w 1107"/>
                <a:gd name="T65" fmla="*/ 83 h 897"/>
                <a:gd name="T66" fmla="*/ 956 w 1107"/>
                <a:gd name="T67" fmla="*/ 91 h 897"/>
                <a:gd name="T68" fmla="*/ 940 w 1107"/>
                <a:gd name="T69" fmla="*/ 7 h 897"/>
                <a:gd name="T70" fmla="*/ 872 w 1107"/>
                <a:gd name="T71" fmla="*/ 50 h 897"/>
                <a:gd name="T72" fmla="*/ 836 w 1107"/>
                <a:gd name="T73" fmla="*/ 74 h 897"/>
                <a:gd name="T74" fmla="*/ 778 w 1107"/>
                <a:gd name="T75" fmla="*/ 35 h 897"/>
                <a:gd name="T76" fmla="*/ 728 w 1107"/>
                <a:gd name="T77" fmla="*/ 70 h 897"/>
                <a:gd name="T78" fmla="*/ 744 w 1107"/>
                <a:gd name="T79" fmla="*/ 136 h 897"/>
                <a:gd name="T80" fmla="*/ 703 w 1107"/>
                <a:gd name="T81" fmla="*/ 164 h 897"/>
                <a:gd name="T82" fmla="*/ 640 w 1107"/>
                <a:gd name="T83" fmla="*/ 203 h 897"/>
                <a:gd name="T84" fmla="*/ 710 w 1107"/>
                <a:gd name="T85" fmla="*/ 255 h 897"/>
                <a:gd name="T86" fmla="*/ 712 w 1107"/>
                <a:gd name="T87" fmla="*/ 277 h 897"/>
                <a:gd name="T88" fmla="*/ 668 w 1107"/>
                <a:gd name="T89" fmla="*/ 347 h 897"/>
                <a:gd name="T90" fmla="*/ 745 w 1107"/>
                <a:gd name="T91" fmla="*/ 361 h 897"/>
                <a:gd name="T92" fmla="*/ 791 w 1107"/>
                <a:gd name="T93" fmla="*/ 377 h 897"/>
                <a:gd name="T94" fmla="*/ 799 w 1107"/>
                <a:gd name="T95" fmla="*/ 443 h 897"/>
                <a:gd name="T96" fmla="*/ 859 w 1107"/>
                <a:gd name="T97" fmla="*/ 456 h 897"/>
                <a:gd name="T98" fmla="*/ 894 w 1107"/>
                <a:gd name="T99" fmla="*/ 393 h 897"/>
                <a:gd name="T100" fmla="*/ 941 w 1107"/>
                <a:gd name="T101" fmla="*/ 401 h 897"/>
                <a:gd name="T102" fmla="*/ 1018 w 1107"/>
                <a:gd name="T103" fmla="*/ 415 h 897"/>
                <a:gd name="T104" fmla="*/ 825 w 1107"/>
                <a:gd name="T105" fmla="*/ 164 h 897"/>
                <a:gd name="T106" fmla="*/ 803 w 1107"/>
                <a:gd name="T107" fmla="*/ 279 h 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107" h="897">
                  <a:moveTo>
                    <a:pt x="654" y="716"/>
                  </a:moveTo>
                  <a:cubicBezTo>
                    <a:pt x="616" y="670"/>
                    <a:pt x="616" y="670"/>
                    <a:pt x="616" y="670"/>
                  </a:cubicBezTo>
                  <a:cubicBezTo>
                    <a:pt x="593" y="654"/>
                    <a:pt x="603" y="638"/>
                    <a:pt x="600" y="625"/>
                  </a:cubicBezTo>
                  <a:cubicBezTo>
                    <a:pt x="600" y="625"/>
                    <a:pt x="600" y="625"/>
                    <a:pt x="600" y="625"/>
                  </a:cubicBezTo>
                  <a:cubicBezTo>
                    <a:pt x="605" y="617"/>
                    <a:pt x="611" y="609"/>
                    <a:pt x="608" y="596"/>
                  </a:cubicBezTo>
                  <a:cubicBezTo>
                    <a:pt x="618" y="580"/>
                    <a:pt x="623" y="572"/>
                    <a:pt x="649" y="567"/>
                  </a:cubicBezTo>
                  <a:cubicBezTo>
                    <a:pt x="715" y="553"/>
                    <a:pt x="715" y="553"/>
                    <a:pt x="715" y="553"/>
                  </a:cubicBezTo>
                  <a:cubicBezTo>
                    <a:pt x="728" y="550"/>
                    <a:pt x="733" y="542"/>
                    <a:pt x="730" y="529"/>
                  </a:cubicBezTo>
                  <a:cubicBezTo>
                    <a:pt x="727" y="482"/>
                    <a:pt x="727" y="482"/>
                    <a:pt x="727" y="482"/>
                  </a:cubicBezTo>
                  <a:cubicBezTo>
                    <a:pt x="724" y="469"/>
                    <a:pt x="717" y="463"/>
                    <a:pt x="701" y="453"/>
                  </a:cubicBezTo>
                  <a:cubicBezTo>
                    <a:pt x="641" y="459"/>
                    <a:pt x="641" y="459"/>
                    <a:pt x="641" y="459"/>
                  </a:cubicBezTo>
                  <a:cubicBezTo>
                    <a:pt x="620" y="457"/>
                    <a:pt x="604" y="447"/>
                    <a:pt x="601" y="434"/>
                  </a:cubicBezTo>
                  <a:cubicBezTo>
                    <a:pt x="598" y="421"/>
                    <a:pt x="590" y="416"/>
                    <a:pt x="580" y="397"/>
                  </a:cubicBezTo>
                  <a:cubicBezTo>
                    <a:pt x="577" y="384"/>
                    <a:pt x="574" y="371"/>
                    <a:pt x="584" y="355"/>
                  </a:cubicBezTo>
                  <a:cubicBezTo>
                    <a:pt x="628" y="305"/>
                    <a:pt x="628" y="305"/>
                    <a:pt x="628" y="305"/>
                  </a:cubicBezTo>
                  <a:cubicBezTo>
                    <a:pt x="634" y="297"/>
                    <a:pt x="631" y="284"/>
                    <a:pt x="623" y="279"/>
                  </a:cubicBezTo>
                  <a:cubicBezTo>
                    <a:pt x="581" y="240"/>
                    <a:pt x="581" y="240"/>
                    <a:pt x="581" y="240"/>
                  </a:cubicBezTo>
                  <a:cubicBezTo>
                    <a:pt x="573" y="235"/>
                    <a:pt x="560" y="238"/>
                    <a:pt x="547" y="240"/>
                  </a:cubicBezTo>
                  <a:cubicBezTo>
                    <a:pt x="503" y="291"/>
                    <a:pt x="503" y="291"/>
                    <a:pt x="503" y="291"/>
                  </a:cubicBezTo>
                  <a:cubicBezTo>
                    <a:pt x="484" y="302"/>
                    <a:pt x="471" y="304"/>
                    <a:pt x="463" y="299"/>
                  </a:cubicBezTo>
                  <a:cubicBezTo>
                    <a:pt x="456" y="294"/>
                    <a:pt x="435" y="292"/>
                    <a:pt x="427" y="287"/>
                  </a:cubicBezTo>
                  <a:cubicBezTo>
                    <a:pt x="419" y="282"/>
                    <a:pt x="403" y="271"/>
                    <a:pt x="400" y="258"/>
                  </a:cubicBezTo>
                  <a:cubicBezTo>
                    <a:pt x="386" y="193"/>
                    <a:pt x="386" y="193"/>
                    <a:pt x="386" y="193"/>
                  </a:cubicBezTo>
                  <a:cubicBezTo>
                    <a:pt x="384" y="180"/>
                    <a:pt x="368" y="170"/>
                    <a:pt x="368" y="170"/>
                  </a:cubicBezTo>
                  <a:cubicBezTo>
                    <a:pt x="308" y="176"/>
                    <a:pt x="308" y="176"/>
                    <a:pt x="308" y="176"/>
                  </a:cubicBezTo>
                  <a:cubicBezTo>
                    <a:pt x="308" y="176"/>
                    <a:pt x="289" y="187"/>
                    <a:pt x="292" y="200"/>
                  </a:cubicBezTo>
                  <a:cubicBezTo>
                    <a:pt x="285" y="263"/>
                    <a:pt x="285" y="263"/>
                    <a:pt x="285" y="263"/>
                  </a:cubicBezTo>
                  <a:cubicBezTo>
                    <a:pt x="291" y="289"/>
                    <a:pt x="277" y="292"/>
                    <a:pt x="272" y="300"/>
                  </a:cubicBezTo>
                  <a:cubicBezTo>
                    <a:pt x="272" y="300"/>
                    <a:pt x="272" y="300"/>
                    <a:pt x="267" y="308"/>
                  </a:cubicBezTo>
                  <a:cubicBezTo>
                    <a:pt x="259" y="302"/>
                    <a:pt x="246" y="305"/>
                    <a:pt x="241" y="313"/>
                  </a:cubicBezTo>
                  <a:cubicBezTo>
                    <a:pt x="236" y="321"/>
                    <a:pt x="236" y="321"/>
                    <a:pt x="236" y="321"/>
                  </a:cubicBezTo>
                  <a:cubicBezTo>
                    <a:pt x="223" y="324"/>
                    <a:pt x="210" y="327"/>
                    <a:pt x="194" y="317"/>
                  </a:cubicBezTo>
                  <a:cubicBezTo>
                    <a:pt x="139" y="281"/>
                    <a:pt x="139" y="281"/>
                    <a:pt x="139" y="281"/>
                  </a:cubicBezTo>
                  <a:cubicBezTo>
                    <a:pt x="131" y="276"/>
                    <a:pt x="110" y="273"/>
                    <a:pt x="104" y="281"/>
                  </a:cubicBezTo>
                  <a:cubicBezTo>
                    <a:pt x="79" y="321"/>
                    <a:pt x="79" y="321"/>
                    <a:pt x="79" y="321"/>
                  </a:cubicBezTo>
                  <a:cubicBezTo>
                    <a:pt x="66" y="324"/>
                    <a:pt x="68" y="337"/>
                    <a:pt x="79" y="355"/>
                  </a:cubicBezTo>
                  <a:cubicBezTo>
                    <a:pt x="121" y="394"/>
                    <a:pt x="121" y="394"/>
                    <a:pt x="121" y="394"/>
                  </a:cubicBezTo>
                  <a:cubicBezTo>
                    <a:pt x="140" y="417"/>
                    <a:pt x="135" y="425"/>
                    <a:pt x="132" y="446"/>
                  </a:cubicBezTo>
                  <a:cubicBezTo>
                    <a:pt x="132" y="446"/>
                    <a:pt x="132" y="446"/>
                    <a:pt x="132" y="446"/>
                  </a:cubicBezTo>
                  <a:cubicBezTo>
                    <a:pt x="127" y="454"/>
                    <a:pt x="122" y="462"/>
                    <a:pt x="117" y="470"/>
                  </a:cubicBezTo>
                  <a:cubicBezTo>
                    <a:pt x="117" y="470"/>
                    <a:pt x="117" y="470"/>
                    <a:pt x="117" y="470"/>
                  </a:cubicBezTo>
                  <a:cubicBezTo>
                    <a:pt x="120" y="483"/>
                    <a:pt x="109" y="499"/>
                    <a:pt x="83" y="505"/>
                  </a:cubicBezTo>
                  <a:cubicBezTo>
                    <a:pt x="23" y="511"/>
                    <a:pt x="23" y="511"/>
                    <a:pt x="23" y="511"/>
                  </a:cubicBezTo>
                  <a:cubicBezTo>
                    <a:pt x="10" y="514"/>
                    <a:pt x="0" y="529"/>
                    <a:pt x="2" y="543"/>
                  </a:cubicBezTo>
                  <a:cubicBezTo>
                    <a:pt x="5" y="590"/>
                    <a:pt x="5" y="590"/>
                    <a:pt x="5" y="590"/>
                  </a:cubicBezTo>
                  <a:cubicBezTo>
                    <a:pt x="8" y="603"/>
                    <a:pt x="16" y="608"/>
                    <a:pt x="37" y="610"/>
                  </a:cubicBezTo>
                  <a:cubicBezTo>
                    <a:pt x="92" y="612"/>
                    <a:pt x="92" y="612"/>
                    <a:pt x="92" y="612"/>
                  </a:cubicBezTo>
                  <a:cubicBezTo>
                    <a:pt x="113" y="614"/>
                    <a:pt x="129" y="625"/>
                    <a:pt x="132" y="638"/>
                  </a:cubicBezTo>
                  <a:cubicBezTo>
                    <a:pt x="132" y="638"/>
                    <a:pt x="132" y="638"/>
                    <a:pt x="132" y="638"/>
                  </a:cubicBezTo>
                  <a:cubicBezTo>
                    <a:pt x="140" y="643"/>
                    <a:pt x="142" y="656"/>
                    <a:pt x="150" y="661"/>
                  </a:cubicBezTo>
                  <a:cubicBezTo>
                    <a:pt x="145" y="669"/>
                    <a:pt x="145" y="669"/>
                    <a:pt x="145" y="669"/>
                  </a:cubicBezTo>
                  <a:cubicBezTo>
                    <a:pt x="153" y="674"/>
                    <a:pt x="156" y="687"/>
                    <a:pt x="140" y="711"/>
                  </a:cubicBezTo>
                  <a:cubicBezTo>
                    <a:pt x="109" y="759"/>
                    <a:pt x="109" y="759"/>
                    <a:pt x="109" y="759"/>
                  </a:cubicBezTo>
                  <a:cubicBezTo>
                    <a:pt x="99" y="775"/>
                    <a:pt x="102" y="788"/>
                    <a:pt x="110" y="793"/>
                  </a:cubicBezTo>
                  <a:cubicBezTo>
                    <a:pt x="152" y="832"/>
                    <a:pt x="152" y="832"/>
                    <a:pt x="152" y="832"/>
                  </a:cubicBezTo>
                  <a:cubicBezTo>
                    <a:pt x="160" y="837"/>
                    <a:pt x="173" y="834"/>
                    <a:pt x="178" y="826"/>
                  </a:cubicBezTo>
                  <a:cubicBezTo>
                    <a:pt x="230" y="781"/>
                    <a:pt x="230" y="781"/>
                    <a:pt x="230" y="781"/>
                  </a:cubicBezTo>
                  <a:cubicBezTo>
                    <a:pt x="248" y="770"/>
                    <a:pt x="261" y="767"/>
                    <a:pt x="269" y="772"/>
                  </a:cubicBezTo>
                  <a:cubicBezTo>
                    <a:pt x="269" y="772"/>
                    <a:pt x="269" y="772"/>
                    <a:pt x="269" y="772"/>
                  </a:cubicBezTo>
                  <a:cubicBezTo>
                    <a:pt x="282" y="769"/>
                    <a:pt x="298" y="779"/>
                    <a:pt x="306" y="785"/>
                  </a:cubicBezTo>
                  <a:cubicBezTo>
                    <a:pt x="306" y="785"/>
                    <a:pt x="306" y="785"/>
                    <a:pt x="306" y="785"/>
                  </a:cubicBezTo>
                  <a:cubicBezTo>
                    <a:pt x="319" y="782"/>
                    <a:pt x="327" y="787"/>
                    <a:pt x="332" y="813"/>
                  </a:cubicBezTo>
                  <a:cubicBezTo>
                    <a:pt x="346" y="878"/>
                    <a:pt x="346" y="878"/>
                    <a:pt x="346" y="878"/>
                  </a:cubicBezTo>
                  <a:cubicBezTo>
                    <a:pt x="349" y="892"/>
                    <a:pt x="357" y="897"/>
                    <a:pt x="370" y="894"/>
                  </a:cubicBezTo>
                  <a:cubicBezTo>
                    <a:pt x="425" y="896"/>
                    <a:pt x="425" y="896"/>
                    <a:pt x="425" y="896"/>
                  </a:cubicBezTo>
                  <a:cubicBezTo>
                    <a:pt x="430" y="888"/>
                    <a:pt x="443" y="885"/>
                    <a:pt x="440" y="872"/>
                  </a:cubicBezTo>
                  <a:cubicBezTo>
                    <a:pt x="440" y="804"/>
                    <a:pt x="440" y="804"/>
                    <a:pt x="440" y="804"/>
                  </a:cubicBezTo>
                  <a:cubicBezTo>
                    <a:pt x="442" y="783"/>
                    <a:pt x="460" y="772"/>
                    <a:pt x="466" y="764"/>
                  </a:cubicBezTo>
                  <a:cubicBezTo>
                    <a:pt x="466" y="764"/>
                    <a:pt x="466" y="764"/>
                    <a:pt x="466" y="764"/>
                  </a:cubicBezTo>
                  <a:cubicBezTo>
                    <a:pt x="479" y="761"/>
                    <a:pt x="492" y="758"/>
                    <a:pt x="497" y="750"/>
                  </a:cubicBezTo>
                  <a:cubicBezTo>
                    <a:pt x="497" y="750"/>
                    <a:pt x="497" y="750"/>
                    <a:pt x="497" y="750"/>
                  </a:cubicBezTo>
                  <a:cubicBezTo>
                    <a:pt x="510" y="747"/>
                    <a:pt x="523" y="745"/>
                    <a:pt x="539" y="755"/>
                  </a:cubicBezTo>
                  <a:cubicBezTo>
                    <a:pt x="594" y="791"/>
                    <a:pt x="594" y="791"/>
                    <a:pt x="594" y="791"/>
                  </a:cubicBezTo>
                  <a:cubicBezTo>
                    <a:pt x="602" y="796"/>
                    <a:pt x="623" y="798"/>
                    <a:pt x="628" y="790"/>
                  </a:cubicBezTo>
                  <a:cubicBezTo>
                    <a:pt x="659" y="743"/>
                    <a:pt x="659" y="743"/>
                    <a:pt x="659" y="743"/>
                  </a:cubicBezTo>
                  <a:cubicBezTo>
                    <a:pt x="659" y="743"/>
                    <a:pt x="669" y="727"/>
                    <a:pt x="654" y="716"/>
                  </a:cubicBezTo>
                  <a:close/>
                  <a:moveTo>
                    <a:pt x="281" y="633"/>
                  </a:moveTo>
                  <a:cubicBezTo>
                    <a:pt x="223" y="584"/>
                    <a:pt x="219" y="502"/>
                    <a:pt x="263" y="452"/>
                  </a:cubicBezTo>
                  <a:cubicBezTo>
                    <a:pt x="313" y="393"/>
                    <a:pt x="399" y="382"/>
                    <a:pt x="457" y="431"/>
                  </a:cubicBezTo>
                  <a:cubicBezTo>
                    <a:pt x="507" y="475"/>
                    <a:pt x="518" y="561"/>
                    <a:pt x="469" y="619"/>
                  </a:cubicBezTo>
                  <a:cubicBezTo>
                    <a:pt x="420" y="678"/>
                    <a:pt x="339" y="682"/>
                    <a:pt x="281" y="633"/>
                  </a:cubicBezTo>
                  <a:close/>
                  <a:moveTo>
                    <a:pt x="1019" y="398"/>
                  </a:moveTo>
                  <a:cubicBezTo>
                    <a:pt x="1004" y="362"/>
                    <a:pt x="1004" y="362"/>
                    <a:pt x="1004" y="362"/>
                  </a:cubicBezTo>
                  <a:cubicBezTo>
                    <a:pt x="992" y="348"/>
                    <a:pt x="1002" y="340"/>
                    <a:pt x="1002" y="332"/>
                  </a:cubicBezTo>
                  <a:cubicBezTo>
                    <a:pt x="1002" y="332"/>
                    <a:pt x="1002" y="332"/>
                    <a:pt x="1002" y="332"/>
                  </a:cubicBezTo>
                  <a:cubicBezTo>
                    <a:pt x="1007" y="328"/>
                    <a:pt x="1011" y="324"/>
                    <a:pt x="1012" y="315"/>
                  </a:cubicBezTo>
                  <a:cubicBezTo>
                    <a:pt x="1021" y="307"/>
                    <a:pt x="1026" y="303"/>
                    <a:pt x="1043" y="304"/>
                  </a:cubicBezTo>
                  <a:cubicBezTo>
                    <a:pt x="1086" y="307"/>
                    <a:pt x="1086" y="307"/>
                    <a:pt x="1086" y="307"/>
                  </a:cubicBezTo>
                  <a:cubicBezTo>
                    <a:pt x="1095" y="308"/>
                    <a:pt x="1099" y="304"/>
                    <a:pt x="1100" y="295"/>
                  </a:cubicBezTo>
                  <a:cubicBezTo>
                    <a:pt x="1107" y="266"/>
                    <a:pt x="1107" y="266"/>
                    <a:pt x="1107" y="266"/>
                  </a:cubicBezTo>
                  <a:cubicBezTo>
                    <a:pt x="1107" y="257"/>
                    <a:pt x="1103" y="252"/>
                    <a:pt x="1095" y="243"/>
                  </a:cubicBezTo>
                  <a:cubicBezTo>
                    <a:pt x="1057" y="236"/>
                    <a:pt x="1057" y="236"/>
                    <a:pt x="1057" y="236"/>
                  </a:cubicBezTo>
                  <a:cubicBezTo>
                    <a:pt x="1044" y="231"/>
                    <a:pt x="1036" y="222"/>
                    <a:pt x="1037" y="213"/>
                  </a:cubicBezTo>
                  <a:cubicBezTo>
                    <a:pt x="1038" y="205"/>
                    <a:pt x="1034" y="200"/>
                    <a:pt x="1030" y="187"/>
                  </a:cubicBezTo>
                  <a:cubicBezTo>
                    <a:pt x="1031" y="178"/>
                    <a:pt x="1032" y="170"/>
                    <a:pt x="1041" y="162"/>
                  </a:cubicBezTo>
                  <a:cubicBezTo>
                    <a:pt x="1077" y="138"/>
                    <a:pt x="1077" y="138"/>
                    <a:pt x="1077" y="138"/>
                  </a:cubicBezTo>
                  <a:cubicBezTo>
                    <a:pt x="1082" y="134"/>
                    <a:pt x="1083" y="126"/>
                    <a:pt x="1079" y="121"/>
                  </a:cubicBezTo>
                  <a:cubicBezTo>
                    <a:pt x="1059" y="89"/>
                    <a:pt x="1059" y="89"/>
                    <a:pt x="1059" y="89"/>
                  </a:cubicBezTo>
                  <a:cubicBezTo>
                    <a:pt x="1055" y="85"/>
                    <a:pt x="1047" y="84"/>
                    <a:pt x="1038" y="83"/>
                  </a:cubicBezTo>
                  <a:cubicBezTo>
                    <a:pt x="1002" y="107"/>
                    <a:pt x="1002" y="107"/>
                    <a:pt x="1002" y="107"/>
                  </a:cubicBezTo>
                  <a:cubicBezTo>
                    <a:pt x="989" y="110"/>
                    <a:pt x="980" y="110"/>
                    <a:pt x="976" y="105"/>
                  </a:cubicBezTo>
                  <a:cubicBezTo>
                    <a:pt x="972" y="100"/>
                    <a:pt x="960" y="95"/>
                    <a:pt x="956" y="91"/>
                  </a:cubicBezTo>
                  <a:cubicBezTo>
                    <a:pt x="952" y="86"/>
                    <a:pt x="944" y="77"/>
                    <a:pt x="944" y="68"/>
                  </a:cubicBezTo>
                  <a:cubicBezTo>
                    <a:pt x="948" y="25"/>
                    <a:pt x="948" y="25"/>
                    <a:pt x="948" y="25"/>
                  </a:cubicBezTo>
                  <a:cubicBezTo>
                    <a:pt x="948" y="17"/>
                    <a:pt x="940" y="7"/>
                    <a:pt x="940" y="7"/>
                  </a:cubicBezTo>
                  <a:cubicBezTo>
                    <a:pt x="902" y="0"/>
                    <a:pt x="902" y="0"/>
                    <a:pt x="902" y="0"/>
                  </a:cubicBezTo>
                  <a:cubicBezTo>
                    <a:pt x="902" y="0"/>
                    <a:pt x="889" y="4"/>
                    <a:pt x="888" y="12"/>
                  </a:cubicBezTo>
                  <a:cubicBezTo>
                    <a:pt x="872" y="50"/>
                    <a:pt x="872" y="50"/>
                    <a:pt x="872" y="50"/>
                  </a:cubicBezTo>
                  <a:cubicBezTo>
                    <a:pt x="871" y="67"/>
                    <a:pt x="862" y="67"/>
                    <a:pt x="858" y="71"/>
                  </a:cubicBezTo>
                  <a:cubicBezTo>
                    <a:pt x="858" y="71"/>
                    <a:pt x="858" y="71"/>
                    <a:pt x="853" y="75"/>
                  </a:cubicBezTo>
                  <a:cubicBezTo>
                    <a:pt x="849" y="70"/>
                    <a:pt x="840" y="70"/>
                    <a:pt x="836" y="74"/>
                  </a:cubicBezTo>
                  <a:cubicBezTo>
                    <a:pt x="831" y="78"/>
                    <a:pt x="831" y="78"/>
                    <a:pt x="831" y="78"/>
                  </a:cubicBezTo>
                  <a:cubicBezTo>
                    <a:pt x="822" y="77"/>
                    <a:pt x="814" y="76"/>
                    <a:pt x="806" y="67"/>
                  </a:cubicBezTo>
                  <a:cubicBezTo>
                    <a:pt x="778" y="35"/>
                    <a:pt x="778" y="35"/>
                    <a:pt x="778" y="35"/>
                  </a:cubicBezTo>
                  <a:cubicBezTo>
                    <a:pt x="774" y="30"/>
                    <a:pt x="762" y="25"/>
                    <a:pt x="757" y="29"/>
                  </a:cubicBezTo>
                  <a:cubicBezTo>
                    <a:pt x="734" y="49"/>
                    <a:pt x="734" y="49"/>
                    <a:pt x="734" y="49"/>
                  </a:cubicBezTo>
                  <a:cubicBezTo>
                    <a:pt x="725" y="49"/>
                    <a:pt x="725" y="57"/>
                    <a:pt x="728" y="70"/>
                  </a:cubicBezTo>
                  <a:cubicBezTo>
                    <a:pt x="747" y="102"/>
                    <a:pt x="747" y="102"/>
                    <a:pt x="747" y="102"/>
                  </a:cubicBezTo>
                  <a:cubicBezTo>
                    <a:pt x="754" y="120"/>
                    <a:pt x="750" y="124"/>
                    <a:pt x="744" y="136"/>
                  </a:cubicBezTo>
                  <a:cubicBezTo>
                    <a:pt x="744" y="136"/>
                    <a:pt x="744" y="136"/>
                    <a:pt x="744" y="136"/>
                  </a:cubicBezTo>
                  <a:cubicBezTo>
                    <a:pt x="740" y="140"/>
                    <a:pt x="735" y="144"/>
                    <a:pt x="731" y="148"/>
                  </a:cubicBezTo>
                  <a:cubicBezTo>
                    <a:pt x="731" y="148"/>
                    <a:pt x="731" y="148"/>
                    <a:pt x="731" y="148"/>
                  </a:cubicBezTo>
                  <a:cubicBezTo>
                    <a:pt x="730" y="157"/>
                    <a:pt x="721" y="165"/>
                    <a:pt x="703" y="164"/>
                  </a:cubicBezTo>
                  <a:cubicBezTo>
                    <a:pt x="665" y="157"/>
                    <a:pt x="665" y="157"/>
                    <a:pt x="665" y="157"/>
                  </a:cubicBezTo>
                  <a:cubicBezTo>
                    <a:pt x="656" y="156"/>
                    <a:pt x="647" y="164"/>
                    <a:pt x="647" y="173"/>
                  </a:cubicBezTo>
                  <a:cubicBezTo>
                    <a:pt x="640" y="203"/>
                    <a:pt x="640" y="203"/>
                    <a:pt x="640" y="203"/>
                  </a:cubicBezTo>
                  <a:cubicBezTo>
                    <a:pt x="639" y="211"/>
                    <a:pt x="643" y="216"/>
                    <a:pt x="656" y="221"/>
                  </a:cubicBezTo>
                  <a:cubicBezTo>
                    <a:pt x="690" y="232"/>
                    <a:pt x="690" y="232"/>
                    <a:pt x="690" y="232"/>
                  </a:cubicBezTo>
                  <a:cubicBezTo>
                    <a:pt x="702" y="237"/>
                    <a:pt x="710" y="246"/>
                    <a:pt x="710" y="255"/>
                  </a:cubicBezTo>
                  <a:cubicBezTo>
                    <a:pt x="710" y="255"/>
                    <a:pt x="710" y="255"/>
                    <a:pt x="710" y="255"/>
                  </a:cubicBezTo>
                  <a:cubicBezTo>
                    <a:pt x="714" y="260"/>
                    <a:pt x="713" y="268"/>
                    <a:pt x="717" y="273"/>
                  </a:cubicBezTo>
                  <a:cubicBezTo>
                    <a:pt x="712" y="277"/>
                    <a:pt x="712" y="277"/>
                    <a:pt x="712" y="277"/>
                  </a:cubicBezTo>
                  <a:cubicBezTo>
                    <a:pt x="716" y="281"/>
                    <a:pt x="716" y="290"/>
                    <a:pt x="702" y="302"/>
                  </a:cubicBezTo>
                  <a:cubicBezTo>
                    <a:pt x="674" y="326"/>
                    <a:pt x="674" y="326"/>
                    <a:pt x="674" y="326"/>
                  </a:cubicBezTo>
                  <a:cubicBezTo>
                    <a:pt x="665" y="334"/>
                    <a:pt x="664" y="343"/>
                    <a:pt x="668" y="347"/>
                  </a:cubicBezTo>
                  <a:cubicBezTo>
                    <a:pt x="687" y="379"/>
                    <a:pt x="687" y="379"/>
                    <a:pt x="687" y="379"/>
                  </a:cubicBezTo>
                  <a:cubicBezTo>
                    <a:pt x="691" y="383"/>
                    <a:pt x="700" y="384"/>
                    <a:pt x="704" y="380"/>
                  </a:cubicBezTo>
                  <a:cubicBezTo>
                    <a:pt x="745" y="361"/>
                    <a:pt x="745" y="361"/>
                    <a:pt x="745" y="361"/>
                  </a:cubicBezTo>
                  <a:cubicBezTo>
                    <a:pt x="758" y="358"/>
                    <a:pt x="767" y="358"/>
                    <a:pt x="771" y="363"/>
                  </a:cubicBezTo>
                  <a:cubicBezTo>
                    <a:pt x="771" y="363"/>
                    <a:pt x="771" y="363"/>
                    <a:pt x="771" y="363"/>
                  </a:cubicBezTo>
                  <a:cubicBezTo>
                    <a:pt x="779" y="364"/>
                    <a:pt x="787" y="373"/>
                    <a:pt x="791" y="377"/>
                  </a:cubicBezTo>
                  <a:cubicBezTo>
                    <a:pt x="791" y="377"/>
                    <a:pt x="791" y="377"/>
                    <a:pt x="791" y="377"/>
                  </a:cubicBezTo>
                  <a:cubicBezTo>
                    <a:pt x="800" y="378"/>
                    <a:pt x="804" y="383"/>
                    <a:pt x="802" y="400"/>
                  </a:cubicBezTo>
                  <a:cubicBezTo>
                    <a:pt x="799" y="443"/>
                    <a:pt x="799" y="443"/>
                    <a:pt x="799" y="443"/>
                  </a:cubicBezTo>
                  <a:cubicBezTo>
                    <a:pt x="798" y="451"/>
                    <a:pt x="802" y="456"/>
                    <a:pt x="811" y="457"/>
                  </a:cubicBezTo>
                  <a:cubicBezTo>
                    <a:pt x="845" y="468"/>
                    <a:pt x="845" y="468"/>
                    <a:pt x="845" y="468"/>
                  </a:cubicBezTo>
                  <a:cubicBezTo>
                    <a:pt x="849" y="464"/>
                    <a:pt x="858" y="464"/>
                    <a:pt x="859" y="456"/>
                  </a:cubicBezTo>
                  <a:cubicBezTo>
                    <a:pt x="871" y="413"/>
                    <a:pt x="871" y="413"/>
                    <a:pt x="871" y="413"/>
                  </a:cubicBezTo>
                  <a:cubicBezTo>
                    <a:pt x="876" y="401"/>
                    <a:pt x="889" y="397"/>
                    <a:pt x="894" y="393"/>
                  </a:cubicBezTo>
                  <a:cubicBezTo>
                    <a:pt x="894" y="393"/>
                    <a:pt x="894" y="393"/>
                    <a:pt x="894" y="393"/>
                  </a:cubicBezTo>
                  <a:cubicBezTo>
                    <a:pt x="902" y="394"/>
                    <a:pt x="911" y="395"/>
                    <a:pt x="916" y="391"/>
                  </a:cubicBezTo>
                  <a:cubicBezTo>
                    <a:pt x="916" y="391"/>
                    <a:pt x="916" y="391"/>
                    <a:pt x="916" y="391"/>
                  </a:cubicBezTo>
                  <a:cubicBezTo>
                    <a:pt x="924" y="391"/>
                    <a:pt x="933" y="392"/>
                    <a:pt x="941" y="401"/>
                  </a:cubicBezTo>
                  <a:cubicBezTo>
                    <a:pt x="969" y="433"/>
                    <a:pt x="969" y="433"/>
                    <a:pt x="969" y="433"/>
                  </a:cubicBezTo>
                  <a:cubicBezTo>
                    <a:pt x="973" y="438"/>
                    <a:pt x="985" y="443"/>
                    <a:pt x="990" y="439"/>
                  </a:cubicBezTo>
                  <a:cubicBezTo>
                    <a:pt x="1018" y="415"/>
                    <a:pt x="1018" y="415"/>
                    <a:pt x="1018" y="415"/>
                  </a:cubicBezTo>
                  <a:cubicBezTo>
                    <a:pt x="1018" y="415"/>
                    <a:pt x="1027" y="407"/>
                    <a:pt x="1019" y="398"/>
                  </a:cubicBezTo>
                  <a:close/>
                  <a:moveTo>
                    <a:pt x="803" y="279"/>
                  </a:moveTo>
                  <a:cubicBezTo>
                    <a:pt x="776" y="238"/>
                    <a:pt x="788" y="187"/>
                    <a:pt x="825" y="164"/>
                  </a:cubicBezTo>
                  <a:cubicBezTo>
                    <a:pt x="866" y="136"/>
                    <a:pt x="921" y="144"/>
                    <a:pt x="948" y="185"/>
                  </a:cubicBezTo>
                  <a:cubicBezTo>
                    <a:pt x="972" y="221"/>
                    <a:pt x="963" y="277"/>
                    <a:pt x="922" y="304"/>
                  </a:cubicBezTo>
                  <a:cubicBezTo>
                    <a:pt x="881" y="332"/>
                    <a:pt x="830" y="320"/>
                    <a:pt x="803" y="279"/>
                  </a:cubicBezTo>
                  <a:close/>
                </a:path>
              </a:pathLst>
            </a:custGeom>
            <a:solidFill>
              <a:schemeClr val="tx1"/>
            </a:solidFill>
            <a:ln>
              <a:noFill/>
            </a:ln>
          </p:spPr>
          <p:txBody>
            <a:bodyPr vert="horz" wrap="square" lIns="68574" tIns="34287" rIns="68574" bIns="34287"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17346"/>
                </a:solidFill>
                <a:effectLst/>
                <a:uLnTx/>
                <a:uFillTx/>
                <a:latin typeface="Segoe UI"/>
                <a:ea typeface="+mn-ea"/>
                <a:cs typeface="+mn-cs"/>
              </a:endParaRPr>
            </a:p>
          </p:txBody>
        </p:sp>
        <p:sp>
          <p:nvSpPr>
            <p:cNvPr id="88" name="Freeform 87"/>
            <p:cNvSpPr>
              <a:spLocks noChangeAspect="1"/>
            </p:cNvSpPr>
            <p:nvPr/>
          </p:nvSpPr>
          <p:spPr bwMode="black">
            <a:xfrm>
              <a:off x="776985" y="4213905"/>
              <a:ext cx="342871" cy="335728"/>
            </a:xfrm>
            <a:custGeom>
              <a:avLst/>
              <a:gdLst>
                <a:gd name="connsiteX0" fmla="*/ 3713863 w 4893730"/>
                <a:gd name="connsiteY0" fmla="*/ 2130808 h 4791777"/>
                <a:gd name="connsiteX1" fmla="*/ 4426142 w 4893730"/>
                <a:gd name="connsiteY1" fmla="*/ 2130808 h 4791777"/>
                <a:gd name="connsiteX2" fmla="*/ 4598071 w 4893730"/>
                <a:gd name="connsiteY2" fmla="*/ 2301547 h 4791777"/>
                <a:gd name="connsiteX3" fmla="*/ 4598071 w 4893730"/>
                <a:gd name="connsiteY3" fmla="*/ 3886978 h 4791777"/>
                <a:gd name="connsiteX4" fmla="*/ 4426142 w 4893730"/>
                <a:gd name="connsiteY4" fmla="*/ 4057717 h 4791777"/>
                <a:gd name="connsiteX5" fmla="*/ 3713863 w 4893730"/>
                <a:gd name="connsiteY5" fmla="*/ 4057717 h 4791777"/>
                <a:gd name="connsiteX6" fmla="*/ 3517372 w 4893730"/>
                <a:gd name="connsiteY6" fmla="*/ 3886978 h 4791777"/>
                <a:gd name="connsiteX7" fmla="*/ 3517372 w 4893730"/>
                <a:gd name="connsiteY7" fmla="*/ 2301547 h 4791777"/>
                <a:gd name="connsiteX8" fmla="*/ 3713863 w 4893730"/>
                <a:gd name="connsiteY8" fmla="*/ 2130808 h 4791777"/>
                <a:gd name="connsiteX9" fmla="*/ 904368 w 4893730"/>
                <a:gd name="connsiteY9" fmla="*/ 1223432 h 4791777"/>
                <a:gd name="connsiteX10" fmla="*/ 1609930 w 4893730"/>
                <a:gd name="connsiteY10" fmla="*/ 1223432 h 4791777"/>
                <a:gd name="connsiteX11" fmla="*/ 1804567 w 4893730"/>
                <a:gd name="connsiteY11" fmla="*/ 1394467 h 4791777"/>
                <a:gd name="connsiteX12" fmla="*/ 1804567 w 4893730"/>
                <a:gd name="connsiteY12" fmla="*/ 3886683 h 4791777"/>
                <a:gd name="connsiteX13" fmla="*/ 1609930 w 4893730"/>
                <a:gd name="connsiteY13" fmla="*/ 4057717 h 4791777"/>
                <a:gd name="connsiteX14" fmla="*/ 904368 w 4893730"/>
                <a:gd name="connsiteY14" fmla="*/ 4057717 h 4791777"/>
                <a:gd name="connsiteX15" fmla="*/ 734060 w 4893730"/>
                <a:gd name="connsiteY15" fmla="*/ 3886683 h 4791777"/>
                <a:gd name="connsiteX16" fmla="*/ 734060 w 4893730"/>
                <a:gd name="connsiteY16" fmla="*/ 1394467 h 4791777"/>
                <a:gd name="connsiteX17" fmla="*/ 904368 w 4893730"/>
                <a:gd name="connsiteY17" fmla="*/ 1223432 h 4791777"/>
                <a:gd name="connsiteX18" fmla="*/ 2325453 w 4893730"/>
                <a:gd name="connsiteY18" fmla="*/ 316050 h 4791777"/>
                <a:gd name="connsiteX19" fmla="*/ 3031014 w 4893730"/>
                <a:gd name="connsiteY19" fmla="*/ 316050 h 4791777"/>
                <a:gd name="connsiteX20" fmla="*/ 3201322 w 4893730"/>
                <a:gd name="connsiteY20" fmla="*/ 487238 h 4791777"/>
                <a:gd name="connsiteX21" fmla="*/ 3201322 w 4893730"/>
                <a:gd name="connsiteY21" fmla="*/ 3886530 h 4791777"/>
                <a:gd name="connsiteX22" fmla="*/ 3031014 w 4893730"/>
                <a:gd name="connsiteY22" fmla="*/ 4057717 h 4791777"/>
                <a:gd name="connsiteX23" fmla="*/ 2325453 w 4893730"/>
                <a:gd name="connsiteY23" fmla="*/ 4057717 h 4791777"/>
                <a:gd name="connsiteX24" fmla="*/ 2130815 w 4893730"/>
                <a:gd name="connsiteY24" fmla="*/ 3886530 h 4791777"/>
                <a:gd name="connsiteX25" fmla="*/ 2130815 w 4893730"/>
                <a:gd name="connsiteY25" fmla="*/ 487238 h 4791777"/>
                <a:gd name="connsiteX26" fmla="*/ 2325453 w 4893730"/>
                <a:gd name="connsiteY26" fmla="*/ 316050 h 4791777"/>
                <a:gd name="connsiteX27" fmla="*/ 269155 w 4893730"/>
                <a:gd name="connsiteY27" fmla="*/ 0 h 4791777"/>
                <a:gd name="connsiteX28" fmla="*/ 538311 w 4893730"/>
                <a:gd name="connsiteY28" fmla="*/ 268927 h 4791777"/>
                <a:gd name="connsiteX29" fmla="*/ 538311 w 4893730"/>
                <a:gd name="connsiteY29" fmla="*/ 4253925 h 4791777"/>
                <a:gd name="connsiteX30" fmla="*/ 4624575 w 4893730"/>
                <a:gd name="connsiteY30" fmla="*/ 4253925 h 4791777"/>
                <a:gd name="connsiteX31" fmla="*/ 4893730 w 4893730"/>
                <a:gd name="connsiteY31" fmla="*/ 4522851 h 4791777"/>
                <a:gd name="connsiteX32" fmla="*/ 4624575 w 4893730"/>
                <a:gd name="connsiteY32" fmla="*/ 4791777 h 4791777"/>
                <a:gd name="connsiteX33" fmla="*/ 269155 w 4893730"/>
                <a:gd name="connsiteY33" fmla="*/ 4791777 h 4791777"/>
                <a:gd name="connsiteX34" fmla="*/ 0 w 4893730"/>
                <a:gd name="connsiteY34" fmla="*/ 4522851 h 4791777"/>
                <a:gd name="connsiteX35" fmla="*/ 0 w 4893730"/>
                <a:gd name="connsiteY35" fmla="*/ 268927 h 4791777"/>
                <a:gd name="connsiteX36" fmla="*/ 269155 w 4893730"/>
                <a:gd name="connsiteY36" fmla="*/ 0 h 4791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4893730" h="4791777">
                  <a:moveTo>
                    <a:pt x="3713863" y="2130808"/>
                  </a:moveTo>
                  <a:cubicBezTo>
                    <a:pt x="3713863" y="2130808"/>
                    <a:pt x="3713863" y="2130808"/>
                    <a:pt x="4426142" y="2130808"/>
                  </a:cubicBezTo>
                  <a:cubicBezTo>
                    <a:pt x="4524387" y="2130808"/>
                    <a:pt x="4598071" y="2203982"/>
                    <a:pt x="4598071" y="2301547"/>
                  </a:cubicBezTo>
                  <a:cubicBezTo>
                    <a:pt x="4598071" y="2301547"/>
                    <a:pt x="4598071" y="2301547"/>
                    <a:pt x="4598071" y="3886978"/>
                  </a:cubicBezTo>
                  <a:cubicBezTo>
                    <a:pt x="4598071" y="3984543"/>
                    <a:pt x="4524387" y="4057717"/>
                    <a:pt x="4426142" y="4057717"/>
                  </a:cubicBezTo>
                  <a:cubicBezTo>
                    <a:pt x="4426142" y="4057717"/>
                    <a:pt x="4426142" y="4057717"/>
                    <a:pt x="3713863" y="4057717"/>
                  </a:cubicBezTo>
                  <a:cubicBezTo>
                    <a:pt x="3615618" y="4057717"/>
                    <a:pt x="3517372" y="3984543"/>
                    <a:pt x="3517372" y="3886978"/>
                  </a:cubicBezTo>
                  <a:cubicBezTo>
                    <a:pt x="3517372" y="3886978"/>
                    <a:pt x="3517372" y="3886978"/>
                    <a:pt x="3517372" y="2301547"/>
                  </a:cubicBezTo>
                  <a:cubicBezTo>
                    <a:pt x="3517372" y="2203982"/>
                    <a:pt x="3615618" y="2130808"/>
                    <a:pt x="3713863" y="2130808"/>
                  </a:cubicBezTo>
                  <a:close/>
                  <a:moveTo>
                    <a:pt x="904368" y="1223432"/>
                  </a:moveTo>
                  <a:cubicBezTo>
                    <a:pt x="904368" y="1223432"/>
                    <a:pt x="904368" y="1223432"/>
                    <a:pt x="1609930" y="1223432"/>
                  </a:cubicBezTo>
                  <a:cubicBezTo>
                    <a:pt x="1731578" y="1223432"/>
                    <a:pt x="1804567" y="1296733"/>
                    <a:pt x="1804567" y="1394467"/>
                  </a:cubicBezTo>
                  <a:cubicBezTo>
                    <a:pt x="1804567" y="1394467"/>
                    <a:pt x="1804567" y="1394467"/>
                    <a:pt x="1804567" y="3886683"/>
                  </a:cubicBezTo>
                  <a:cubicBezTo>
                    <a:pt x="1804567" y="3984417"/>
                    <a:pt x="1731578" y="4057717"/>
                    <a:pt x="1609930" y="4057717"/>
                  </a:cubicBezTo>
                  <a:cubicBezTo>
                    <a:pt x="1609930" y="4057717"/>
                    <a:pt x="1609930" y="4057717"/>
                    <a:pt x="904368" y="4057717"/>
                  </a:cubicBezTo>
                  <a:cubicBezTo>
                    <a:pt x="807049" y="4057717"/>
                    <a:pt x="734060" y="3984417"/>
                    <a:pt x="734060" y="3886683"/>
                  </a:cubicBezTo>
                  <a:cubicBezTo>
                    <a:pt x="734060" y="3886683"/>
                    <a:pt x="734060" y="3886683"/>
                    <a:pt x="734060" y="1394467"/>
                  </a:cubicBezTo>
                  <a:cubicBezTo>
                    <a:pt x="734060" y="1296733"/>
                    <a:pt x="807049" y="1223432"/>
                    <a:pt x="904368" y="1223432"/>
                  </a:cubicBezTo>
                  <a:close/>
                  <a:moveTo>
                    <a:pt x="2325453" y="316050"/>
                  </a:moveTo>
                  <a:cubicBezTo>
                    <a:pt x="2325453" y="316050"/>
                    <a:pt x="2325453" y="316050"/>
                    <a:pt x="3031014" y="316050"/>
                  </a:cubicBezTo>
                  <a:cubicBezTo>
                    <a:pt x="3128333" y="316050"/>
                    <a:pt x="3201322" y="389416"/>
                    <a:pt x="3201322" y="487238"/>
                  </a:cubicBezTo>
                  <a:cubicBezTo>
                    <a:pt x="3201322" y="487238"/>
                    <a:pt x="3201322" y="487238"/>
                    <a:pt x="3201322" y="3886530"/>
                  </a:cubicBezTo>
                  <a:cubicBezTo>
                    <a:pt x="3201322" y="3984351"/>
                    <a:pt x="3128333" y="4057717"/>
                    <a:pt x="3031014" y="4057717"/>
                  </a:cubicBezTo>
                  <a:cubicBezTo>
                    <a:pt x="3031014" y="4057717"/>
                    <a:pt x="3031014" y="4057717"/>
                    <a:pt x="2325453" y="4057717"/>
                  </a:cubicBezTo>
                  <a:cubicBezTo>
                    <a:pt x="2203804" y="4057717"/>
                    <a:pt x="2130815" y="3984351"/>
                    <a:pt x="2130815" y="3886530"/>
                  </a:cubicBezTo>
                  <a:cubicBezTo>
                    <a:pt x="2130815" y="3886530"/>
                    <a:pt x="2130815" y="3886530"/>
                    <a:pt x="2130815" y="487238"/>
                  </a:cubicBezTo>
                  <a:cubicBezTo>
                    <a:pt x="2130815" y="389416"/>
                    <a:pt x="2203804" y="316050"/>
                    <a:pt x="2325453" y="316050"/>
                  </a:cubicBezTo>
                  <a:close/>
                  <a:moveTo>
                    <a:pt x="269155" y="0"/>
                  </a:moveTo>
                  <a:cubicBezTo>
                    <a:pt x="415967" y="0"/>
                    <a:pt x="538311" y="122239"/>
                    <a:pt x="538311" y="268927"/>
                  </a:cubicBezTo>
                  <a:cubicBezTo>
                    <a:pt x="538311" y="268927"/>
                    <a:pt x="538311" y="268927"/>
                    <a:pt x="538311" y="4253925"/>
                  </a:cubicBezTo>
                  <a:cubicBezTo>
                    <a:pt x="538311" y="4253925"/>
                    <a:pt x="538311" y="4253925"/>
                    <a:pt x="4624575" y="4253925"/>
                  </a:cubicBezTo>
                  <a:cubicBezTo>
                    <a:pt x="4771387" y="4253925"/>
                    <a:pt x="4893730" y="4376164"/>
                    <a:pt x="4893730" y="4522851"/>
                  </a:cubicBezTo>
                  <a:cubicBezTo>
                    <a:pt x="4893730" y="4669538"/>
                    <a:pt x="4771387" y="4791777"/>
                    <a:pt x="4624575" y="4791777"/>
                  </a:cubicBezTo>
                  <a:cubicBezTo>
                    <a:pt x="4624575" y="4791777"/>
                    <a:pt x="4624575" y="4791777"/>
                    <a:pt x="269155" y="4791777"/>
                  </a:cubicBezTo>
                  <a:cubicBezTo>
                    <a:pt x="122344" y="4791777"/>
                    <a:pt x="0" y="4669538"/>
                    <a:pt x="0" y="4522851"/>
                  </a:cubicBezTo>
                  <a:cubicBezTo>
                    <a:pt x="0" y="4522851"/>
                    <a:pt x="0" y="4522851"/>
                    <a:pt x="0" y="268927"/>
                  </a:cubicBezTo>
                  <a:cubicBezTo>
                    <a:pt x="0" y="122239"/>
                    <a:pt x="122344" y="0"/>
                    <a:pt x="269155"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37148" tIns="109719" rIns="137148" bIns="109719"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699261"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9" name="Rectangle 88"/>
            <p:cNvSpPr/>
            <p:nvPr/>
          </p:nvSpPr>
          <p:spPr bwMode="auto">
            <a:xfrm rot="2745734">
              <a:off x="279530" y="1141266"/>
              <a:ext cx="1260714" cy="1255193"/>
            </a:xfrm>
            <a:prstGeom prst="rect">
              <a:avLst/>
            </a:prstGeom>
            <a:solidFill>
              <a:schemeClr val="tx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0" name="Rectangle 89"/>
            <p:cNvSpPr/>
            <p:nvPr/>
          </p:nvSpPr>
          <p:spPr bwMode="auto">
            <a:xfrm rot="2745734">
              <a:off x="1305789" y="4246825"/>
              <a:ext cx="416505" cy="1235003"/>
            </a:xfrm>
            <a:prstGeom prst="rect">
              <a:avLst/>
            </a:prstGeom>
            <a:solidFill>
              <a:schemeClr val="tx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2" name="Rectangle 91"/>
            <p:cNvSpPr/>
            <p:nvPr/>
          </p:nvSpPr>
          <p:spPr bwMode="auto">
            <a:xfrm rot="2745734">
              <a:off x="1315610" y="4915701"/>
              <a:ext cx="1263370" cy="1255989"/>
            </a:xfrm>
            <a:prstGeom prst="rect">
              <a:avLst/>
            </a:prstGeom>
            <a:solidFill>
              <a:schemeClr val="tx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40" name="TextBox 39"/>
          <p:cNvSpPr txBox="1"/>
          <p:nvPr/>
        </p:nvSpPr>
        <p:spPr>
          <a:xfrm>
            <a:off x="3" y="51415"/>
            <a:ext cx="2849058" cy="430887"/>
          </a:xfrm>
          <a:prstGeom prst="rect">
            <a:avLst/>
          </a:prstGeom>
        </p:spPr>
        <p:txBody>
          <a:bodyPr wrap="square">
            <a:spAutoFit/>
          </a:bodyPr>
          <a:lstStyle>
            <a:defPPr>
              <a:defRPr lang="en-US"/>
            </a:defPPr>
            <a:lvl1pPr defTabSz="914192">
              <a:defRPr sz="2800" b="1" spc="-100">
                <a:ln w="3175">
                  <a:noFill/>
                </a:ln>
                <a:solidFill>
                  <a:srgbClr val="F2C812"/>
                </a:solidFill>
                <a:latin typeface="Segoe UI" panose="020B0502040204020203" pitchFamily="34" charset="0"/>
                <a:ea typeface="ＭＳ Ｐゴシック" charset="0"/>
                <a:cs typeface="Segoe UI" panose="020B0502040204020203" pitchFamily="34" charset="0"/>
              </a:defRPr>
            </a:lvl1pPr>
          </a:lstStyle>
          <a:p>
            <a:pPr marL="0" marR="0" lvl="0" indent="0" algn="l" defTabSz="914192" rtl="0" eaLnBrk="1" fontAlgn="auto" latinLnBrk="0" hangingPunct="1">
              <a:lnSpc>
                <a:spcPct val="100000"/>
              </a:lnSpc>
              <a:spcBef>
                <a:spcPts val="0"/>
              </a:spcBef>
              <a:spcAft>
                <a:spcPts val="0"/>
              </a:spcAft>
              <a:buClrTx/>
              <a:buSzTx/>
              <a:buFontTx/>
              <a:buNone/>
              <a:tabLst/>
              <a:defRPr/>
            </a:pPr>
            <a:r>
              <a:rPr kumimoji="0" lang="en-US" sz="2200" b="1" i="0" u="none" strike="noStrike" kern="1200" cap="none" spc="-100" normalizeH="0" baseline="0" noProof="0">
                <a:ln w="3175">
                  <a:noFill/>
                </a:ln>
                <a:solidFill>
                  <a:srgbClr val="F2C812"/>
                </a:solidFill>
                <a:effectLst/>
                <a:uLnTx/>
                <a:uFillTx/>
                <a:latin typeface="Segoe UI Light"/>
                <a:ea typeface="ＭＳ Ｐゴシック" charset="0"/>
                <a:cs typeface="Segoe UI" panose="020B0502040204020203" pitchFamily="34" charset="0"/>
              </a:rPr>
              <a:t>Power BI Desktop</a:t>
            </a:r>
          </a:p>
        </p:txBody>
      </p:sp>
      <p:sp>
        <p:nvSpPr>
          <p:cNvPr id="41" name="Rectangle 40"/>
          <p:cNvSpPr/>
          <p:nvPr/>
        </p:nvSpPr>
        <p:spPr bwMode="auto">
          <a:xfrm rot="19005967">
            <a:off x="922420" y="2122148"/>
            <a:ext cx="1260714" cy="369589"/>
          </a:xfrm>
          <a:prstGeom prst="rect">
            <a:avLst/>
          </a:prstGeom>
          <a:solidFill>
            <a:schemeClr val="tx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7" name="Rectangle 36"/>
          <p:cNvSpPr/>
          <p:nvPr/>
        </p:nvSpPr>
        <p:spPr bwMode="auto">
          <a:xfrm rot="2745734">
            <a:off x="1371067" y="2420930"/>
            <a:ext cx="1194544" cy="1235003"/>
          </a:xfrm>
          <a:prstGeom prst="rect">
            <a:avLst/>
          </a:prstGeom>
          <a:solidFill>
            <a:schemeClr val="tx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2" name="Text Placeholder 2"/>
          <p:cNvSpPr txBox="1">
            <a:spLocks/>
          </p:cNvSpPr>
          <p:nvPr/>
        </p:nvSpPr>
        <p:spPr>
          <a:xfrm>
            <a:off x="2969626" y="845555"/>
            <a:ext cx="7640541" cy="897374"/>
          </a:xfrm>
          <a:prstGeom prst="rect">
            <a:avLst/>
          </a:prstGeom>
        </p:spPr>
        <p:txBody>
          <a:bodyPr vert="horz" wrap="square" lIns="182880" tIns="146304" rIns="182880" bIns="146304" rtlCol="0">
            <a:noAutofit/>
          </a:bodyPr>
          <a:lstStyle>
            <a:lvl1pPr marL="182845" marR="0"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3921" kern="1200" spc="0" baseline="0">
                <a:gradFill>
                  <a:gsLst>
                    <a:gs pos="1250">
                      <a:schemeClr val="tx2"/>
                    </a:gs>
                    <a:gs pos="99000">
                      <a:schemeClr val="tx2"/>
                    </a:gs>
                  </a:gsLst>
                  <a:lin ang="5400000" scaled="0"/>
                </a:gradFill>
                <a:latin typeface="+mj-lt"/>
                <a:ea typeface="+mn-ea"/>
                <a:cs typeface="+mn-cs"/>
              </a:defRPr>
            </a:lvl1pPr>
            <a:lvl2pPr marL="365690" marR="0"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2400" kern="1200" spc="0" baseline="0">
                <a:solidFill>
                  <a:schemeClr val="tx2"/>
                </a:solidFill>
                <a:latin typeface="+mj-lt"/>
                <a:ea typeface="+mn-ea"/>
                <a:cs typeface="+mn-cs"/>
              </a:defRPr>
            </a:lvl2pPr>
            <a:lvl3pPr marL="548535" marR="0"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2000" kern="1200" spc="0" baseline="0">
                <a:solidFill>
                  <a:schemeClr val="tx2"/>
                </a:solidFill>
                <a:latin typeface="+mj-lt"/>
                <a:ea typeface="+mn-ea"/>
                <a:cs typeface="+mn-cs"/>
              </a:defRPr>
            </a:lvl3pPr>
            <a:lvl4pPr marL="733802" marR="0" indent="-28569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1765" kern="1200" spc="0" baseline="0">
                <a:solidFill>
                  <a:schemeClr val="tx2"/>
                </a:solidFill>
                <a:latin typeface="+mn-lt"/>
                <a:ea typeface="+mn-ea"/>
                <a:cs typeface="+mn-cs"/>
              </a:defRPr>
            </a:lvl4pPr>
            <a:lvl5pPr marL="957856" marR="0" indent="-28569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1765" kern="1200" spc="0" baseline="0">
                <a:solidFill>
                  <a:schemeClr val="tx2"/>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1"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r>
              <a:rPr kumimoji="0" lang="en-US" sz="2000" b="1"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rPr>
              <a:t>Data</a:t>
            </a:r>
            <a:r>
              <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rPr>
              <a:t> for a visualization can be </a:t>
            </a:r>
            <a:r>
              <a:rPr kumimoji="0" lang="en-US" sz="2000" b="1"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rPr>
              <a:t>exported</a:t>
            </a:r>
            <a:r>
              <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rPr>
              <a:t> as .csv file</a:t>
            </a: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r>
              <a:rPr kumimoji="0" lang="en-US" sz="2000" b="1"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rPr>
              <a:t>Alignment</a:t>
            </a:r>
            <a:r>
              <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rPr>
              <a:t> and </a:t>
            </a:r>
            <a:r>
              <a:rPr kumimoji="0" lang="en-US" sz="2000" b="1"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rPr>
              <a:t>Depth</a:t>
            </a:r>
            <a:r>
              <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rPr>
              <a:t> can be controlled</a:t>
            </a: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r>
              <a:rPr kumimoji="0" lang="en-US" sz="2000" b="1"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rPr>
              <a:t>Focus mode </a:t>
            </a:r>
            <a:r>
              <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rPr>
              <a:t>pops-up the visualization</a:t>
            </a: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r>
              <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rPr>
              <a:t>It is possible to </a:t>
            </a:r>
            <a:r>
              <a:rPr kumimoji="0" lang="en-US" sz="2000" b="1"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rPr>
              <a:t>overlay</a:t>
            </a:r>
            <a:r>
              <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rPr>
              <a:t> visualizations</a:t>
            </a: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p:txBody>
      </p:sp>
      <p:pic>
        <p:nvPicPr>
          <p:cNvPr id="4" name="Picture 3"/>
          <p:cNvPicPr>
            <a:picLocks noChangeAspect="1"/>
          </p:cNvPicPr>
          <p:nvPr/>
        </p:nvPicPr>
        <p:blipFill>
          <a:blip r:embed="rId3"/>
          <a:stretch>
            <a:fillRect/>
          </a:stretch>
        </p:blipFill>
        <p:spPr>
          <a:xfrm>
            <a:off x="3815999" y="1731652"/>
            <a:ext cx="2124075" cy="1190625"/>
          </a:xfrm>
          <a:prstGeom prst="rect">
            <a:avLst/>
          </a:prstGeom>
        </p:spPr>
      </p:pic>
      <p:sp>
        <p:nvSpPr>
          <p:cNvPr id="44" name="Rectangle 43"/>
          <p:cNvSpPr/>
          <p:nvPr/>
        </p:nvSpPr>
        <p:spPr bwMode="auto">
          <a:xfrm>
            <a:off x="4513574" y="2391809"/>
            <a:ext cx="1042400" cy="184752"/>
          </a:xfrm>
          <a:prstGeom prst="rect">
            <a:avLst/>
          </a:prstGeom>
          <a:noFill/>
          <a:ln w="38100">
            <a:solidFill>
              <a:srgbClr val="FF00F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5" name="Picture 4"/>
          <p:cNvPicPr>
            <a:picLocks noChangeAspect="1"/>
          </p:cNvPicPr>
          <p:nvPr/>
        </p:nvPicPr>
        <p:blipFill>
          <a:blip r:embed="rId4"/>
          <a:stretch>
            <a:fillRect/>
          </a:stretch>
        </p:blipFill>
        <p:spPr>
          <a:xfrm>
            <a:off x="3668361" y="3847138"/>
            <a:ext cx="2419350" cy="1314450"/>
          </a:xfrm>
          <a:prstGeom prst="rect">
            <a:avLst/>
          </a:prstGeom>
        </p:spPr>
      </p:pic>
      <p:pic>
        <p:nvPicPr>
          <p:cNvPr id="8" name="Picture 7"/>
          <p:cNvPicPr>
            <a:picLocks noChangeAspect="1"/>
          </p:cNvPicPr>
          <p:nvPr/>
        </p:nvPicPr>
        <p:blipFill>
          <a:blip r:embed="rId5"/>
          <a:stretch>
            <a:fillRect/>
          </a:stretch>
        </p:blipFill>
        <p:spPr>
          <a:xfrm>
            <a:off x="7705932" y="4900751"/>
            <a:ext cx="1531442" cy="1119626"/>
          </a:xfrm>
          <a:prstGeom prst="rect">
            <a:avLst/>
          </a:prstGeom>
        </p:spPr>
      </p:pic>
      <p:sp>
        <p:nvSpPr>
          <p:cNvPr id="45" name="Rectangle 44"/>
          <p:cNvSpPr/>
          <p:nvPr/>
        </p:nvSpPr>
        <p:spPr bwMode="auto">
          <a:xfrm>
            <a:off x="7715871" y="4985092"/>
            <a:ext cx="314946" cy="305965"/>
          </a:xfrm>
          <a:prstGeom prst="rect">
            <a:avLst/>
          </a:prstGeom>
          <a:noFill/>
          <a:ln w="38100">
            <a:solidFill>
              <a:srgbClr val="FF00F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25830430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3.xml><?xml version="1.0" encoding="utf-8"?>
<p:sld xmlns:a="http://schemas.openxmlformats.org/drawingml/2006/main" xmlns:r="http://schemas.openxmlformats.org/officeDocument/2006/relationships" xmlns:p="http://schemas.openxmlformats.org/presentationml/2006/main">
  <p:cSld>
    <p:bg>
      <p:bgPr>
        <a:solidFill>
          <a:srgbClr val="F2C81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solidFill>
                  <a:schemeClr val="bg1"/>
                </a:solidFill>
              </a:rPr>
              <a:t>Power BI Service:</a:t>
            </a:r>
            <a:br>
              <a:rPr lang="en-US">
                <a:solidFill>
                  <a:schemeClr val="bg1"/>
                </a:solidFill>
              </a:rPr>
            </a:br>
            <a:r>
              <a:rPr lang="en-US">
                <a:solidFill>
                  <a:schemeClr val="bg1"/>
                </a:solidFill>
              </a:rPr>
              <a:t>Get Data</a:t>
            </a:r>
          </a:p>
        </p:txBody>
      </p:sp>
    </p:spTree>
    <p:extLst>
      <p:ext uri="{BB962C8B-B14F-4D97-AF65-F5344CB8AC3E}">
        <p14:creationId xmlns:p14="http://schemas.microsoft.com/office/powerpoint/2010/main" val="19899047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9" name="Text Placeholder 2"/>
          <p:cNvSpPr txBox="1">
            <a:spLocks/>
          </p:cNvSpPr>
          <p:nvPr/>
        </p:nvSpPr>
        <p:spPr>
          <a:xfrm>
            <a:off x="2974910" y="1208143"/>
            <a:ext cx="8166855" cy="897374"/>
          </a:xfrm>
          <a:prstGeom prst="rect">
            <a:avLst/>
          </a:prstGeom>
        </p:spPr>
        <p:txBody>
          <a:bodyPr vert="horz" wrap="square" lIns="182880" tIns="146304" rIns="182880" bIns="146304" rtlCol="0">
            <a:noAutofit/>
          </a:bodyPr>
          <a:lstStyle>
            <a:lvl1pPr marL="182845" marR="0"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3921" kern="1200" spc="0" baseline="0">
                <a:gradFill>
                  <a:gsLst>
                    <a:gs pos="1250">
                      <a:schemeClr val="tx2"/>
                    </a:gs>
                    <a:gs pos="99000">
                      <a:schemeClr val="tx2"/>
                    </a:gs>
                  </a:gsLst>
                  <a:lin ang="5400000" scaled="0"/>
                </a:gradFill>
                <a:latin typeface="+mj-lt"/>
                <a:ea typeface="+mn-ea"/>
                <a:cs typeface="+mn-cs"/>
              </a:defRPr>
            </a:lvl1pPr>
            <a:lvl2pPr marL="365690" marR="0"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2400" kern="1200" spc="0" baseline="0">
                <a:solidFill>
                  <a:schemeClr val="tx2"/>
                </a:solidFill>
                <a:latin typeface="+mj-lt"/>
                <a:ea typeface="+mn-ea"/>
                <a:cs typeface="+mn-cs"/>
              </a:defRPr>
            </a:lvl2pPr>
            <a:lvl3pPr marL="548535" marR="0"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2000" kern="1200" spc="0" baseline="0">
                <a:solidFill>
                  <a:schemeClr val="tx2"/>
                </a:solidFill>
                <a:latin typeface="+mj-lt"/>
                <a:ea typeface="+mn-ea"/>
                <a:cs typeface="+mn-cs"/>
              </a:defRPr>
            </a:lvl3pPr>
            <a:lvl4pPr marL="733802" marR="0" indent="-28569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1765" kern="1200" spc="0" baseline="0">
                <a:solidFill>
                  <a:schemeClr val="tx2"/>
                </a:solidFill>
                <a:latin typeface="+mn-lt"/>
                <a:ea typeface="+mn-ea"/>
                <a:cs typeface="+mn-cs"/>
              </a:defRPr>
            </a:lvl4pPr>
            <a:lvl5pPr marL="957856" marR="0" indent="-28569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1765" kern="1200" spc="0" baseline="0">
                <a:solidFill>
                  <a:schemeClr val="tx2"/>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r>
              <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rPr>
              <a:t>You can start by </a:t>
            </a:r>
            <a:r>
              <a:rPr kumimoji="0" lang="en-US" sz="2000" b="1"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rPr>
              <a:t>connecting to data directly in the service</a:t>
            </a:r>
            <a:r>
              <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rPr>
              <a:t>, without going into Desktop or Excel first.</a:t>
            </a: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14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r>
              <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rPr>
              <a:t>Data can come from </a:t>
            </a:r>
          </a:p>
          <a:p>
            <a:pPr marL="182845" marR="0" lvl="1" indent="0" algn="l" defTabSz="914367" rtl="0" eaLnBrk="1" fontAlgn="auto" latinLnBrk="0" hangingPunct="1">
              <a:lnSpc>
                <a:spcPct val="90000"/>
              </a:lnSpc>
              <a:spcBef>
                <a:spcPct val="20000"/>
              </a:spcBef>
              <a:spcAft>
                <a:spcPts val="0"/>
              </a:spcAft>
              <a:buClrTx/>
              <a:buSzPct val="90000"/>
              <a:buFont typeface="Arial" panose="020B0604020202020204" pitchFamily="34" charset="0"/>
              <a:buNone/>
              <a:tabLst/>
              <a:defRPr/>
            </a:pPr>
            <a:r>
              <a:rPr kumimoji="0" lang="en-US" sz="2000" b="1"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rPr>
              <a:t>	your Organization</a:t>
            </a:r>
            <a:r>
              <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rPr>
              <a:t> </a:t>
            </a:r>
          </a:p>
          <a:p>
            <a:pPr marL="182845" marR="0" lvl="1" indent="0" algn="l" defTabSz="914367" rtl="0" eaLnBrk="1" fontAlgn="auto" latinLnBrk="0" hangingPunct="1">
              <a:lnSpc>
                <a:spcPct val="90000"/>
              </a:lnSpc>
              <a:spcBef>
                <a:spcPct val="20000"/>
              </a:spcBef>
              <a:spcAft>
                <a:spcPts val="0"/>
              </a:spcAft>
              <a:buClrTx/>
              <a:buSzPct val="90000"/>
              <a:buFont typeface="Arial" panose="020B0604020202020204" pitchFamily="34" charset="0"/>
              <a:buNone/>
              <a:tabLst/>
              <a:defRPr/>
            </a:pPr>
            <a:r>
              <a:rPr kumimoji="0" lang="en-US" sz="2000" b="1"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rPr>
              <a:t>	SaaS Services</a:t>
            </a:r>
          </a:p>
          <a:p>
            <a:pPr marL="182845" marR="0" lvl="1" indent="0" algn="l" defTabSz="914367" rtl="0" eaLnBrk="1" fontAlgn="auto" latinLnBrk="0" hangingPunct="1">
              <a:lnSpc>
                <a:spcPct val="90000"/>
              </a:lnSpc>
              <a:spcBef>
                <a:spcPct val="20000"/>
              </a:spcBef>
              <a:spcAft>
                <a:spcPts val="0"/>
              </a:spcAft>
              <a:buClrTx/>
              <a:buSzPct val="90000"/>
              <a:buFont typeface="Arial" panose="020B0604020202020204" pitchFamily="34" charset="0"/>
              <a:buNone/>
              <a:tabLst/>
              <a:defRPr/>
            </a:pPr>
            <a:r>
              <a:rPr kumimoji="0" lang="en-US" sz="2000" b="1"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rPr>
              <a:t>	an Excel or a Power BI Desktop File</a:t>
            </a:r>
          </a:p>
          <a:p>
            <a:pPr marL="182845" marR="0" lvl="1" indent="0" algn="l" defTabSz="914367" rtl="0" eaLnBrk="1" fontAlgn="auto" latinLnBrk="0" hangingPunct="1">
              <a:lnSpc>
                <a:spcPct val="90000"/>
              </a:lnSpc>
              <a:spcBef>
                <a:spcPct val="20000"/>
              </a:spcBef>
              <a:spcAft>
                <a:spcPts val="0"/>
              </a:spcAft>
              <a:buClrTx/>
              <a:buSzPct val="90000"/>
              <a:buFont typeface="Arial" panose="020B0604020202020204" pitchFamily="34" charset="0"/>
              <a:buNone/>
              <a:tabLst/>
              <a:defRPr/>
            </a:pPr>
            <a:r>
              <a:rPr kumimoji="0" lang="en-US" sz="2000" b="1"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rPr>
              <a:t>	Other data sources</a:t>
            </a:r>
          </a:p>
          <a:p>
            <a:pPr marL="182845" marR="0" lvl="1" indent="0" algn="l" defTabSz="914367" rtl="0" eaLnBrk="1" fontAlgn="auto" latinLnBrk="0" hangingPunct="1">
              <a:lnSpc>
                <a:spcPct val="90000"/>
              </a:lnSpc>
              <a:spcBef>
                <a:spcPct val="20000"/>
              </a:spcBef>
              <a:spcAft>
                <a:spcPts val="0"/>
              </a:spcAft>
              <a:buClrTx/>
              <a:buSzPct val="90000"/>
              <a:buFont typeface="Arial" panose="020B0604020202020204" pitchFamily="34" charset="0"/>
              <a:buNone/>
              <a:tabLst/>
              <a:defRPr/>
            </a:pPr>
            <a:endParaRPr kumimoji="0" lang="en-US" sz="32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r>
              <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rPr>
              <a:t>Once connected, a </a:t>
            </a:r>
            <a:r>
              <a:rPr kumimoji="0" lang="en-US" sz="2000" b="1"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rPr>
              <a:t>dataset</a:t>
            </a:r>
            <a:r>
              <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rPr>
              <a:t> and associated </a:t>
            </a:r>
            <a:r>
              <a:rPr kumimoji="0" lang="en-US" sz="2000" b="1"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rPr>
              <a:t>reports</a:t>
            </a:r>
            <a:r>
              <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rPr>
              <a:t> and </a:t>
            </a:r>
            <a:r>
              <a:rPr kumimoji="0" lang="en-US" sz="2000" b="1"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rPr>
              <a:t>dashboards</a:t>
            </a:r>
            <a:r>
              <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rPr>
              <a:t> will be available.</a:t>
            </a: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r>
              <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rPr>
              <a:t>The </a:t>
            </a:r>
            <a:r>
              <a:rPr kumimoji="0" lang="en-US" sz="2000" b="1"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rPr>
              <a:t>data sources available in the Desktop are not the same </a:t>
            </a:r>
            <a:r>
              <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rPr>
              <a:t>that are available directly from the service, but a .</a:t>
            </a:r>
            <a:r>
              <a:rPr kumimoji="0" lang="en-US" sz="2000" b="1"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rPr>
              <a:t>pbix file is a valid source</a:t>
            </a: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p:txBody>
      </p:sp>
      <p:grpSp>
        <p:nvGrpSpPr>
          <p:cNvPr id="13" name="Group 12"/>
          <p:cNvGrpSpPr/>
          <p:nvPr/>
        </p:nvGrpSpPr>
        <p:grpSpPr>
          <a:xfrm>
            <a:off x="-2887" y="973"/>
            <a:ext cx="2849058" cy="6857027"/>
            <a:chOff x="2" y="487"/>
            <a:chExt cx="2849058" cy="6857027"/>
          </a:xfrm>
        </p:grpSpPr>
        <p:sp>
          <p:nvSpPr>
            <p:cNvPr id="225" name="Rectangle 15"/>
            <p:cNvSpPr/>
            <p:nvPr/>
          </p:nvSpPr>
          <p:spPr bwMode="auto">
            <a:xfrm>
              <a:off x="2" y="487"/>
              <a:ext cx="2849058" cy="685702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7" name="Rectangle 145"/>
            <p:cNvSpPr/>
            <p:nvPr/>
          </p:nvSpPr>
          <p:spPr bwMode="auto">
            <a:xfrm>
              <a:off x="696152" y="956997"/>
              <a:ext cx="1821468" cy="3831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2C812"/>
                  </a:solidFill>
                  <a:effectLst/>
                  <a:uLnTx/>
                  <a:uFillTx/>
                  <a:latin typeface="Segoe UI"/>
                  <a:ea typeface="+mn-ea"/>
                  <a:cs typeface="Segoe UI Light" panose="020B0502040204020203" pitchFamily="34" charset="0"/>
                </a:rPr>
                <a:t>Get Data</a:t>
              </a:r>
              <a:endParaRPr kumimoji="0" lang="en-US" sz="1200" b="1" i="1" u="none" strike="noStrike" kern="1200" cap="none" spc="0" normalizeH="0" baseline="0" noProof="0">
                <a:ln>
                  <a:noFill/>
                </a:ln>
                <a:solidFill>
                  <a:srgbClr val="F2C812"/>
                </a:solidFill>
                <a:effectLst/>
                <a:uLnTx/>
                <a:uFillTx/>
                <a:latin typeface="Segoe UI"/>
                <a:ea typeface="+mn-ea"/>
                <a:cs typeface="Segoe UI Light" panose="020B0502040204020203" pitchFamily="34" charset="0"/>
              </a:endParaRPr>
            </a:p>
          </p:txBody>
        </p:sp>
        <p:grpSp>
          <p:nvGrpSpPr>
            <p:cNvPr id="16" name="Group 15"/>
            <p:cNvGrpSpPr/>
            <p:nvPr/>
          </p:nvGrpSpPr>
          <p:grpSpPr>
            <a:xfrm>
              <a:off x="219373" y="934583"/>
              <a:ext cx="433844" cy="433844"/>
              <a:chOff x="440005" y="997815"/>
              <a:chExt cx="296322" cy="296322"/>
            </a:xfrm>
          </p:grpSpPr>
          <p:sp>
            <p:nvSpPr>
              <p:cNvPr id="104" name="Oval 147"/>
              <p:cNvSpPr/>
              <p:nvPr/>
            </p:nvSpPr>
            <p:spPr bwMode="auto">
              <a:xfrm>
                <a:off x="440005" y="997815"/>
                <a:ext cx="296322" cy="296322"/>
              </a:xfrm>
              <a:prstGeom prst="ellipse">
                <a:avLst/>
              </a:prstGeom>
              <a:solidFill>
                <a:srgbClr val="FFCC00"/>
              </a:solidFill>
              <a:ln>
                <a:solidFill>
                  <a:srgbClr val="F2C81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05" name="Group 332"/>
              <p:cNvGrpSpPr/>
              <p:nvPr/>
            </p:nvGrpSpPr>
            <p:grpSpPr>
              <a:xfrm>
                <a:off x="482167" y="1059311"/>
                <a:ext cx="211997" cy="173292"/>
                <a:chOff x="2123129" y="293070"/>
                <a:chExt cx="2472585" cy="2021178"/>
              </a:xfrm>
            </p:grpSpPr>
            <p:sp>
              <p:nvSpPr>
                <p:cNvPr id="106" name="Freeform 13"/>
                <p:cNvSpPr>
                  <a:spLocks/>
                </p:cNvSpPr>
                <p:nvPr/>
              </p:nvSpPr>
              <p:spPr bwMode="auto">
                <a:xfrm rot="20700000">
                  <a:off x="3155853" y="872796"/>
                  <a:ext cx="1439861" cy="1441452"/>
                </a:xfrm>
                <a:custGeom>
                  <a:avLst/>
                  <a:gdLst>
                    <a:gd name="T0" fmla="*/ 138 w 441"/>
                    <a:gd name="T1" fmla="*/ 341 h 441"/>
                    <a:gd name="T2" fmla="*/ 183 w 441"/>
                    <a:gd name="T3" fmla="*/ 374 h 441"/>
                    <a:gd name="T4" fmla="*/ 220 w 441"/>
                    <a:gd name="T5" fmla="*/ 423 h 441"/>
                    <a:gd name="T6" fmla="*/ 422 w 441"/>
                    <a:gd name="T7" fmla="*/ 220 h 441"/>
                    <a:gd name="T8" fmla="*/ 373 w 441"/>
                    <a:gd name="T9" fmla="*/ 184 h 441"/>
                    <a:gd name="T10" fmla="*/ 341 w 441"/>
                    <a:gd name="T11" fmla="*/ 139 h 441"/>
                    <a:gd name="T12" fmla="*/ 382 w 441"/>
                    <a:gd name="T13" fmla="*/ 58 h 441"/>
                    <a:gd name="T14" fmla="*/ 302 w 441"/>
                    <a:gd name="T15" fmla="*/ 100 h 441"/>
                    <a:gd name="T16" fmla="*/ 257 w 441"/>
                    <a:gd name="T17" fmla="*/ 67 h 441"/>
                    <a:gd name="T18" fmla="*/ 220 w 441"/>
                    <a:gd name="T19" fmla="*/ 18 h 441"/>
                    <a:gd name="T20" fmla="*/ 171 w 441"/>
                    <a:gd name="T21" fmla="*/ 55 h 441"/>
                    <a:gd name="T22" fmla="*/ 138 w 441"/>
                    <a:gd name="T23" fmla="*/ 100 h 441"/>
                    <a:gd name="T24" fmla="*/ 180 w 441"/>
                    <a:gd name="T25" fmla="*/ 181 h 441"/>
                    <a:gd name="T26" fmla="*/ 100 w 441"/>
                    <a:gd name="T27" fmla="*/ 139 h 441"/>
                    <a:gd name="T28" fmla="*/ 55 w 441"/>
                    <a:gd name="T29" fmla="*/ 171 h 441"/>
                    <a:gd name="T30" fmla="*/ 18 w 441"/>
                    <a:gd name="T31" fmla="*/ 220 h 441"/>
                    <a:gd name="T32" fmla="*/ 67 w 441"/>
                    <a:gd name="T33" fmla="*/ 257 h 441"/>
                    <a:gd name="T34" fmla="*/ 100 w 441"/>
                    <a:gd name="T35" fmla="*/ 302 h 441"/>
                    <a:gd name="T36" fmla="*/ 58 w 441"/>
                    <a:gd name="T37" fmla="*/ 383 h 441"/>
                    <a:gd name="T38" fmla="*/ 138 w 441"/>
                    <a:gd name="T39" fmla="*/ 341 h 4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41" h="441">
                      <a:moveTo>
                        <a:pt x="138" y="341"/>
                      </a:moveTo>
                      <a:cubicBezTo>
                        <a:pt x="147" y="337"/>
                        <a:pt x="171" y="361"/>
                        <a:pt x="183" y="374"/>
                      </a:cubicBezTo>
                      <a:cubicBezTo>
                        <a:pt x="196" y="386"/>
                        <a:pt x="220" y="423"/>
                        <a:pt x="220" y="423"/>
                      </a:cubicBezTo>
                      <a:cubicBezTo>
                        <a:pt x="422" y="220"/>
                        <a:pt x="422" y="220"/>
                        <a:pt x="422" y="220"/>
                      </a:cubicBezTo>
                      <a:cubicBezTo>
                        <a:pt x="422" y="220"/>
                        <a:pt x="386" y="196"/>
                        <a:pt x="373" y="184"/>
                      </a:cubicBezTo>
                      <a:cubicBezTo>
                        <a:pt x="361" y="171"/>
                        <a:pt x="338" y="149"/>
                        <a:pt x="341" y="139"/>
                      </a:cubicBezTo>
                      <a:cubicBezTo>
                        <a:pt x="343" y="129"/>
                        <a:pt x="441" y="116"/>
                        <a:pt x="382" y="58"/>
                      </a:cubicBezTo>
                      <a:cubicBezTo>
                        <a:pt x="324" y="0"/>
                        <a:pt x="310" y="96"/>
                        <a:pt x="302" y="100"/>
                      </a:cubicBezTo>
                      <a:cubicBezTo>
                        <a:pt x="294" y="104"/>
                        <a:pt x="269" y="80"/>
                        <a:pt x="257" y="67"/>
                      </a:cubicBezTo>
                      <a:cubicBezTo>
                        <a:pt x="245" y="55"/>
                        <a:pt x="220" y="18"/>
                        <a:pt x="220" y="18"/>
                      </a:cubicBezTo>
                      <a:cubicBezTo>
                        <a:pt x="220" y="18"/>
                        <a:pt x="183" y="43"/>
                        <a:pt x="171" y="55"/>
                      </a:cubicBezTo>
                      <a:cubicBezTo>
                        <a:pt x="159" y="67"/>
                        <a:pt x="134" y="92"/>
                        <a:pt x="138" y="100"/>
                      </a:cubicBezTo>
                      <a:cubicBezTo>
                        <a:pt x="142" y="108"/>
                        <a:pt x="238" y="122"/>
                        <a:pt x="180" y="181"/>
                      </a:cubicBezTo>
                      <a:cubicBezTo>
                        <a:pt x="122" y="239"/>
                        <a:pt x="110" y="141"/>
                        <a:pt x="100" y="139"/>
                      </a:cubicBezTo>
                      <a:cubicBezTo>
                        <a:pt x="89" y="137"/>
                        <a:pt x="67" y="159"/>
                        <a:pt x="55" y="171"/>
                      </a:cubicBezTo>
                      <a:cubicBezTo>
                        <a:pt x="42" y="184"/>
                        <a:pt x="18" y="220"/>
                        <a:pt x="18" y="220"/>
                      </a:cubicBezTo>
                      <a:cubicBezTo>
                        <a:pt x="18" y="220"/>
                        <a:pt x="55" y="245"/>
                        <a:pt x="67" y="257"/>
                      </a:cubicBezTo>
                      <a:cubicBezTo>
                        <a:pt x="79" y="269"/>
                        <a:pt x="102" y="292"/>
                        <a:pt x="100" y="302"/>
                      </a:cubicBezTo>
                      <a:cubicBezTo>
                        <a:pt x="98" y="312"/>
                        <a:pt x="0" y="325"/>
                        <a:pt x="58" y="383"/>
                      </a:cubicBezTo>
                      <a:cubicBezTo>
                        <a:pt x="116" y="441"/>
                        <a:pt x="130" y="345"/>
                        <a:pt x="138" y="341"/>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107" name="Freeform 14"/>
                <p:cNvSpPr>
                  <a:spLocks/>
                </p:cNvSpPr>
                <p:nvPr/>
              </p:nvSpPr>
              <p:spPr bwMode="auto">
                <a:xfrm rot="9900000">
                  <a:off x="2123129" y="293070"/>
                  <a:ext cx="1377948" cy="1377947"/>
                </a:xfrm>
                <a:custGeom>
                  <a:avLst/>
                  <a:gdLst>
                    <a:gd name="T0" fmla="*/ 422 w 422"/>
                    <a:gd name="T1" fmla="*/ 220 h 422"/>
                    <a:gd name="T2" fmla="*/ 386 w 422"/>
                    <a:gd name="T3" fmla="*/ 171 h 422"/>
                    <a:gd name="T4" fmla="*/ 341 w 422"/>
                    <a:gd name="T5" fmla="*/ 138 h 422"/>
                    <a:gd name="T6" fmla="*/ 260 w 422"/>
                    <a:gd name="T7" fmla="*/ 180 h 422"/>
                    <a:gd name="T8" fmla="*/ 302 w 422"/>
                    <a:gd name="T9" fmla="*/ 100 h 422"/>
                    <a:gd name="T10" fmla="*/ 269 w 422"/>
                    <a:gd name="T11" fmla="*/ 55 h 422"/>
                    <a:gd name="T12" fmla="*/ 220 w 422"/>
                    <a:gd name="T13" fmla="*/ 18 h 422"/>
                    <a:gd name="T14" fmla="*/ 183 w 422"/>
                    <a:gd name="T15" fmla="*/ 67 h 422"/>
                    <a:gd name="T16" fmla="*/ 138 w 422"/>
                    <a:gd name="T17" fmla="*/ 100 h 422"/>
                    <a:gd name="T18" fmla="*/ 58 w 422"/>
                    <a:gd name="T19" fmla="*/ 58 h 422"/>
                    <a:gd name="T20" fmla="*/ 100 w 422"/>
                    <a:gd name="T21" fmla="*/ 138 h 422"/>
                    <a:gd name="T22" fmla="*/ 67 w 422"/>
                    <a:gd name="T23" fmla="*/ 183 h 422"/>
                    <a:gd name="T24" fmla="*/ 18 w 422"/>
                    <a:gd name="T25" fmla="*/ 220 h 422"/>
                    <a:gd name="T26" fmla="*/ 55 w 422"/>
                    <a:gd name="T27" fmla="*/ 269 h 422"/>
                    <a:gd name="T28" fmla="*/ 100 w 422"/>
                    <a:gd name="T29" fmla="*/ 302 h 422"/>
                    <a:gd name="T30" fmla="*/ 180 w 422"/>
                    <a:gd name="T31" fmla="*/ 260 h 422"/>
                    <a:gd name="T32" fmla="*/ 138 w 422"/>
                    <a:gd name="T33" fmla="*/ 341 h 422"/>
                    <a:gd name="T34" fmla="*/ 171 w 422"/>
                    <a:gd name="T35" fmla="*/ 386 h 422"/>
                    <a:gd name="T36" fmla="*/ 220 w 422"/>
                    <a:gd name="T37" fmla="*/ 422 h 422"/>
                    <a:gd name="T38" fmla="*/ 422 w 422"/>
                    <a:gd name="T39" fmla="*/ 220 h 4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22" h="422">
                      <a:moveTo>
                        <a:pt x="422" y="220"/>
                      </a:moveTo>
                      <a:cubicBezTo>
                        <a:pt x="422" y="220"/>
                        <a:pt x="398" y="183"/>
                        <a:pt x="386" y="171"/>
                      </a:cubicBezTo>
                      <a:cubicBezTo>
                        <a:pt x="373" y="159"/>
                        <a:pt x="349" y="134"/>
                        <a:pt x="341" y="138"/>
                      </a:cubicBezTo>
                      <a:cubicBezTo>
                        <a:pt x="332" y="142"/>
                        <a:pt x="318" y="239"/>
                        <a:pt x="260" y="180"/>
                      </a:cubicBezTo>
                      <a:cubicBezTo>
                        <a:pt x="202" y="122"/>
                        <a:pt x="300" y="110"/>
                        <a:pt x="302" y="100"/>
                      </a:cubicBezTo>
                      <a:cubicBezTo>
                        <a:pt x="304" y="90"/>
                        <a:pt x="281" y="67"/>
                        <a:pt x="269" y="55"/>
                      </a:cubicBezTo>
                      <a:cubicBezTo>
                        <a:pt x="257" y="42"/>
                        <a:pt x="220" y="18"/>
                        <a:pt x="220" y="18"/>
                      </a:cubicBezTo>
                      <a:cubicBezTo>
                        <a:pt x="220" y="18"/>
                        <a:pt x="196" y="55"/>
                        <a:pt x="183" y="67"/>
                      </a:cubicBezTo>
                      <a:cubicBezTo>
                        <a:pt x="171" y="79"/>
                        <a:pt x="149" y="102"/>
                        <a:pt x="138" y="100"/>
                      </a:cubicBezTo>
                      <a:cubicBezTo>
                        <a:pt x="128" y="98"/>
                        <a:pt x="116" y="0"/>
                        <a:pt x="58" y="58"/>
                      </a:cubicBezTo>
                      <a:cubicBezTo>
                        <a:pt x="0" y="116"/>
                        <a:pt x="96" y="130"/>
                        <a:pt x="100" y="138"/>
                      </a:cubicBezTo>
                      <a:cubicBezTo>
                        <a:pt x="104" y="147"/>
                        <a:pt x="79" y="171"/>
                        <a:pt x="67" y="183"/>
                      </a:cubicBezTo>
                      <a:cubicBezTo>
                        <a:pt x="55" y="196"/>
                        <a:pt x="18" y="220"/>
                        <a:pt x="18" y="220"/>
                      </a:cubicBezTo>
                      <a:cubicBezTo>
                        <a:pt x="18" y="220"/>
                        <a:pt x="42" y="257"/>
                        <a:pt x="55" y="269"/>
                      </a:cubicBezTo>
                      <a:cubicBezTo>
                        <a:pt x="67" y="281"/>
                        <a:pt x="91" y="306"/>
                        <a:pt x="100" y="302"/>
                      </a:cubicBezTo>
                      <a:cubicBezTo>
                        <a:pt x="108" y="298"/>
                        <a:pt x="122" y="202"/>
                        <a:pt x="180" y="260"/>
                      </a:cubicBezTo>
                      <a:cubicBezTo>
                        <a:pt x="238" y="318"/>
                        <a:pt x="140" y="330"/>
                        <a:pt x="138" y="341"/>
                      </a:cubicBezTo>
                      <a:cubicBezTo>
                        <a:pt x="136" y="351"/>
                        <a:pt x="159" y="373"/>
                        <a:pt x="171" y="386"/>
                      </a:cubicBezTo>
                      <a:cubicBezTo>
                        <a:pt x="183" y="398"/>
                        <a:pt x="220" y="422"/>
                        <a:pt x="220" y="422"/>
                      </a:cubicBezTo>
                      <a:lnTo>
                        <a:pt x="422" y="22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grpSp>
        </p:grpSp>
        <p:sp>
          <p:nvSpPr>
            <p:cNvPr id="111" name="Rectangle 152"/>
            <p:cNvSpPr/>
            <p:nvPr/>
          </p:nvSpPr>
          <p:spPr bwMode="auto">
            <a:xfrm>
              <a:off x="669652" y="2738277"/>
              <a:ext cx="1805162" cy="37532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2C812"/>
                  </a:solidFill>
                  <a:effectLst/>
                  <a:uLnTx/>
                  <a:uFillTx/>
                  <a:latin typeface="Segoe UI"/>
                  <a:ea typeface="+mn-ea"/>
                  <a:cs typeface="Segoe UI Light" panose="020B0502040204020203" pitchFamily="34" charset="0"/>
                </a:rPr>
                <a:t>Keeping Data Current</a:t>
              </a:r>
            </a:p>
          </p:txBody>
        </p:sp>
        <p:grpSp>
          <p:nvGrpSpPr>
            <p:cNvPr id="23" name="Group 22"/>
            <p:cNvGrpSpPr/>
            <p:nvPr/>
          </p:nvGrpSpPr>
          <p:grpSpPr>
            <a:xfrm>
              <a:off x="199649" y="2692629"/>
              <a:ext cx="433844" cy="433844"/>
              <a:chOff x="342620" y="2228265"/>
              <a:chExt cx="433844" cy="433844"/>
            </a:xfrm>
            <a:solidFill>
              <a:schemeClr val="bg1"/>
            </a:solidFill>
          </p:grpSpPr>
          <p:sp>
            <p:nvSpPr>
              <p:cNvPr id="114" name="Oval 154"/>
              <p:cNvSpPr/>
              <p:nvPr/>
            </p:nvSpPr>
            <p:spPr bwMode="auto">
              <a:xfrm>
                <a:off x="342620" y="2228265"/>
                <a:ext cx="433844" cy="433844"/>
              </a:xfrm>
              <a:prstGeom prst="ellipse">
                <a:avLst/>
              </a:prstGeom>
              <a:solidFill>
                <a:srgbClr val="FFC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5" name="Freeform 30"/>
              <p:cNvSpPr>
                <a:spLocks noEditPoints="1"/>
              </p:cNvSpPr>
              <p:nvPr/>
            </p:nvSpPr>
            <p:spPr bwMode="auto">
              <a:xfrm>
                <a:off x="444786" y="2340040"/>
                <a:ext cx="238402" cy="210293"/>
              </a:xfrm>
              <a:custGeom>
                <a:avLst/>
                <a:gdLst>
                  <a:gd name="T0" fmla="*/ 883 w 916"/>
                  <a:gd name="T1" fmla="*/ 286 h 808"/>
                  <a:gd name="T2" fmla="*/ 539 w 916"/>
                  <a:gd name="T3" fmla="*/ 723 h 808"/>
                  <a:gd name="T4" fmla="*/ 504 w 916"/>
                  <a:gd name="T5" fmla="*/ 0 h 808"/>
                  <a:gd name="T6" fmla="*/ 35 w 916"/>
                  <a:gd name="T7" fmla="*/ 723 h 808"/>
                  <a:gd name="T8" fmla="*/ 0 w 916"/>
                  <a:gd name="T9" fmla="*/ 808 h 808"/>
                  <a:gd name="T10" fmla="*/ 916 w 916"/>
                  <a:gd name="T11" fmla="*/ 723 h 808"/>
                  <a:gd name="T12" fmla="*/ 229 w 916"/>
                  <a:gd name="T13" fmla="*/ 665 h 808"/>
                  <a:gd name="T14" fmla="*/ 109 w 916"/>
                  <a:gd name="T15" fmla="*/ 596 h 808"/>
                  <a:gd name="T16" fmla="*/ 229 w 916"/>
                  <a:gd name="T17" fmla="*/ 665 h 808"/>
                  <a:gd name="T18" fmla="*/ 109 w 916"/>
                  <a:gd name="T19" fmla="*/ 501 h 808"/>
                  <a:gd name="T20" fmla="*/ 229 w 916"/>
                  <a:gd name="T21" fmla="*/ 432 h 808"/>
                  <a:gd name="T22" fmla="*/ 229 w 916"/>
                  <a:gd name="T23" fmla="*/ 337 h 808"/>
                  <a:gd name="T24" fmla="*/ 109 w 916"/>
                  <a:gd name="T25" fmla="*/ 267 h 808"/>
                  <a:gd name="T26" fmla="*/ 229 w 916"/>
                  <a:gd name="T27" fmla="*/ 337 h 808"/>
                  <a:gd name="T28" fmla="*/ 109 w 916"/>
                  <a:gd name="T29" fmla="*/ 172 h 808"/>
                  <a:gd name="T30" fmla="*/ 229 w 916"/>
                  <a:gd name="T31" fmla="*/ 103 h 808"/>
                  <a:gd name="T32" fmla="*/ 428 w 916"/>
                  <a:gd name="T33" fmla="*/ 665 h 808"/>
                  <a:gd name="T34" fmla="*/ 307 w 916"/>
                  <a:gd name="T35" fmla="*/ 596 h 808"/>
                  <a:gd name="T36" fmla="*/ 428 w 916"/>
                  <a:gd name="T37" fmla="*/ 665 h 808"/>
                  <a:gd name="T38" fmla="*/ 307 w 916"/>
                  <a:gd name="T39" fmla="*/ 501 h 808"/>
                  <a:gd name="T40" fmla="*/ 428 w 916"/>
                  <a:gd name="T41" fmla="*/ 432 h 808"/>
                  <a:gd name="T42" fmla="*/ 428 w 916"/>
                  <a:gd name="T43" fmla="*/ 337 h 808"/>
                  <a:gd name="T44" fmla="*/ 307 w 916"/>
                  <a:gd name="T45" fmla="*/ 267 h 808"/>
                  <a:gd name="T46" fmla="*/ 428 w 916"/>
                  <a:gd name="T47" fmla="*/ 337 h 808"/>
                  <a:gd name="T48" fmla="*/ 307 w 916"/>
                  <a:gd name="T49" fmla="*/ 172 h 808"/>
                  <a:gd name="T50" fmla="*/ 428 w 916"/>
                  <a:gd name="T51" fmla="*/ 103 h 808"/>
                  <a:gd name="T52" fmla="*/ 684 w 916"/>
                  <a:gd name="T53" fmla="*/ 668 h 808"/>
                  <a:gd name="T54" fmla="*/ 606 w 916"/>
                  <a:gd name="T55" fmla="*/ 549 h 808"/>
                  <a:gd name="T56" fmla="*/ 684 w 916"/>
                  <a:gd name="T57" fmla="*/ 668 h 808"/>
                  <a:gd name="T58" fmla="*/ 606 w 916"/>
                  <a:gd name="T59" fmla="*/ 482 h 808"/>
                  <a:gd name="T60" fmla="*/ 684 w 916"/>
                  <a:gd name="T61" fmla="*/ 365 h 808"/>
                  <a:gd name="T62" fmla="*/ 816 w 916"/>
                  <a:gd name="T63" fmla="*/ 668 h 808"/>
                  <a:gd name="T64" fmla="*/ 738 w 916"/>
                  <a:gd name="T65" fmla="*/ 549 h 808"/>
                  <a:gd name="T66" fmla="*/ 816 w 916"/>
                  <a:gd name="T67" fmla="*/ 668 h 808"/>
                  <a:gd name="T68" fmla="*/ 738 w 916"/>
                  <a:gd name="T69" fmla="*/ 482 h 808"/>
                  <a:gd name="T70" fmla="*/ 816 w 916"/>
                  <a:gd name="T71" fmla="*/ 365 h 8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16" h="808">
                    <a:moveTo>
                      <a:pt x="883" y="723"/>
                    </a:moveTo>
                    <a:lnTo>
                      <a:pt x="883" y="286"/>
                    </a:lnTo>
                    <a:lnTo>
                      <a:pt x="539" y="286"/>
                    </a:lnTo>
                    <a:lnTo>
                      <a:pt x="539" y="723"/>
                    </a:lnTo>
                    <a:lnTo>
                      <a:pt x="504" y="723"/>
                    </a:lnTo>
                    <a:lnTo>
                      <a:pt x="504" y="0"/>
                    </a:lnTo>
                    <a:lnTo>
                      <a:pt x="35" y="0"/>
                    </a:lnTo>
                    <a:lnTo>
                      <a:pt x="35" y="723"/>
                    </a:lnTo>
                    <a:lnTo>
                      <a:pt x="0" y="723"/>
                    </a:lnTo>
                    <a:lnTo>
                      <a:pt x="0" y="808"/>
                    </a:lnTo>
                    <a:lnTo>
                      <a:pt x="916" y="808"/>
                    </a:lnTo>
                    <a:lnTo>
                      <a:pt x="916" y="723"/>
                    </a:lnTo>
                    <a:lnTo>
                      <a:pt x="883" y="723"/>
                    </a:lnTo>
                    <a:close/>
                    <a:moveTo>
                      <a:pt x="229" y="665"/>
                    </a:moveTo>
                    <a:lnTo>
                      <a:pt x="109" y="665"/>
                    </a:lnTo>
                    <a:lnTo>
                      <a:pt x="109" y="596"/>
                    </a:lnTo>
                    <a:lnTo>
                      <a:pt x="229" y="596"/>
                    </a:lnTo>
                    <a:lnTo>
                      <a:pt x="229" y="665"/>
                    </a:lnTo>
                    <a:close/>
                    <a:moveTo>
                      <a:pt x="229" y="501"/>
                    </a:moveTo>
                    <a:lnTo>
                      <a:pt x="109" y="501"/>
                    </a:lnTo>
                    <a:lnTo>
                      <a:pt x="109" y="432"/>
                    </a:lnTo>
                    <a:lnTo>
                      <a:pt x="229" y="432"/>
                    </a:lnTo>
                    <a:lnTo>
                      <a:pt x="229" y="501"/>
                    </a:lnTo>
                    <a:close/>
                    <a:moveTo>
                      <a:pt x="229" y="337"/>
                    </a:moveTo>
                    <a:lnTo>
                      <a:pt x="109" y="337"/>
                    </a:lnTo>
                    <a:lnTo>
                      <a:pt x="109" y="267"/>
                    </a:lnTo>
                    <a:lnTo>
                      <a:pt x="229" y="267"/>
                    </a:lnTo>
                    <a:lnTo>
                      <a:pt x="229" y="337"/>
                    </a:lnTo>
                    <a:close/>
                    <a:moveTo>
                      <a:pt x="229" y="172"/>
                    </a:moveTo>
                    <a:lnTo>
                      <a:pt x="109" y="172"/>
                    </a:lnTo>
                    <a:lnTo>
                      <a:pt x="109" y="103"/>
                    </a:lnTo>
                    <a:lnTo>
                      <a:pt x="229" y="103"/>
                    </a:lnTo>
                    <a:lnTo>
                      <a:pt x="229" y="172"/>
                    </a:lnTo>
                    <a:close/>
                    <a:moveTo>
                      <a:pt x="428" y="665"/>
                    </a:moveTo>
                    <a:lnTo>
                      <a:pt x="307" y="665"/>
                    </a:lnTo>
                    <a:lnTo>
                      <a:pt x="307" y="596"/>
                    </a:lnTo>
                    <a:lnTo>
                      <a:pt x="428" y="596"/>
                    </a:lnTo>
                    <a:lnTo>
                      <a:pt x="428" y="665"/>
                    </a:lnTo>
                    <a:close/>
                    <a:moveTo>
                      <a:pt x="428" y="501"/>
                    </a:moveTo>
                    <a:lnTo>
                      <a:pt x="307" y="501"/>
                    </a:lnTo>
                    <a:lnTo>
                      <a:pt x="307" y="432"/>
                    </a:lnTo>
                    <a:lnTo>
                      <a:pt x="428" y="432"/>
                    </a:lnTo>
                    <a:lnTo>
                      <a:pt x="428" y="501"/>
                    </a:lnTo>
                    <a:close/>
                    <a:moveTo>
                      <a:pt x="428" y="337"/>
                    </a:moveTo>
                    <a:lnTo>
                      <a:pt x="307" y="337"/>
                    </a:lnTo>
                    <a:lnTo>
                      <a:pt x="307" y="267"/>
                    </a:lnTo>
                    <a:lnTo>
                      <a:pt x="428" y="267"/>
                    </a:lnTo>
                    <a:lnTo>
                      <a:pt x="428" y="337"/>
                    </a:lnTo>
                    <a:close/>
                    <a:moveTo>
                      <a:pt x="428" y="172"/>
                    </a:moveTo>
                    <a:lnTo>
                      <a:pt x="307" y="172"/>
                    </a:lnTo>
                    <a:lnTo>
                      <a:pt x="307" y="103"/>
                    </a:lnTo>
                    <a:lnTo>
                      <a:pt x="428" y="103"/>
                    </a:lnTo>
                    <a:lnTo>
                      <a:pt x="428" y="172"/>
                    </a:lnTo>
                    <a:close/>
                    <a:moveTo>
                      <a:pt x="684" y="668"/>
                    </a:moveTo>
                    <a:lnTo>
                      <a:pt x="606" y="668"/>
                    </a:lnTo>
                    <a:lnTo>
                      <a:pt x="606" y="549"/>
                    </a:lnTo>
                    <a:lnTo>
                      <a:pt x="684" y="549"/>
                    </a:lnTo>
                    <a:lnTo>
                      <a:pt x="684" y="668"/>
                    </a:lnTo>
                    <a:close/>
                    <a:moveTo>
                      <a:pt x="684" y="482"/>
                    </a:moveTo>
                    <a:lnTo>
                      <a:pt x="606" y="482"/>
                    </a:lnTo>
                    <a:lnTo>
                      <a:pt x="606" y="365"/>
                    </a:lnTo>
                    <a:lnTo>
                      <a:pt x="684" y="365"/>
                    </a:lnTo>
                    <a:lnTo>
                      <a:pt x="684" y="482"/>
                    </a:lnTo>
                    <a:close/>
                    <a:moveTo>
                      <a:pt x="816" y="668"/>
                    </a:moveTo>
                    <a:lnTo>
                      <a:pt x="738" y="668"/>
                    </a:lnTo>
                    <a:lnTo>
                      <a:pt x="738" y="549"/>
                    </a:lnTo>
                    <a:lnTo>
                      <a:pt x="816" y="549"/>
                    </a:lnTo>
                    <a:lnTo>
                      <a:pt x="816" y="668"/>
                    </a:lnTo>
                    <a:close/>
                    <a:moveTo>
                      <a:pt x="816" y="482"/>
                    </a:moveTo>
                    <a:lnTo>
                      <a:pt x="738" y="482"/>
                    </a:lnTo>
                    <a:lnTo>
                      <a:pt x="738" y="365"/>
                    </a:lnTo>
                    <a:lnTo>
                      <a:pt x="816" y="365"/>
                    </a:lnTo>
                    <a:lnTo>
                      <a:pt x="816" y="482"/>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grpSp>
        <p:sp>
          <p:nvSpPr>
            <p:cNvPr id="12" name="TextBox 11"/>
            <p:cNvSpPr txBox="1"/>
            <p:nvPr/>
          </p:nvSpPr>
          <p:spPr>
            <a:xfrm>
              <a:off x="83345" y="113808"/>
              <a:ext cx="2532630" cy="627864"/>
            </a:xfrm>
            <a:prstGeom prst="rect">
              <a:avLst/>
            </a:prstGeom>
            <a:noFill/>
          </p:spPr>
          <p:txBody>
            <a:bodyPr wrap="square" lIns="182880" tIns="146304" rIns="182880" bIns="146304" rtlCol="0">
              <a:spAutoFit/>
            </a:bodyPr>
            <a:lstStyle>
              <a:defPPr>
                <a:defRPr lang="en-US"/>
              </a:defPPr>
              <a:lvl1pPr>
                <a:lnSpc>
                  <a:spcPct val="90000"/>
                </a:lnSpc>
                <a:spcAft>
                  <a:spcPts val="600"/>
                </a:spcAft>
                <a:defRPr sz="2800" b="1">
                  <a:solidFill>
                    <a:srgbClr val="F2C812"/>
                  </a:solidFill>
                  <a:latin typeface="Segoe UI Light"/>
                </a:defRPr>
              </a:lvl1p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400" b="1" i="0" u="none" strike="noStrike" kern="1200" cap="none" spc="0" normalizeH="0" baseline="0" noProof="0">
                  <a:ln>
                    <a:noFill/>
                  </a:ln>
                  <a:solidFill>
                    <a:srgbClr val="F2C812"/>
                  </a:solidFill>
                  <a:effectLst/>
                  <a:uLnTx/>
                  <a:uFillTx/>
                  <a:latin typeface="Segoe UI Light"/>
                  <a:ea typeface="+mn-ea"/>
                  <a:cs typeface="+mn-cs"/>
                </a:rPr>
                <a:t>Power BI Service</a:t>
              </a:r>
              <a:endParaRPr kumimoji="0" lang="en-US" sz="2800" b="1" i="0" u="none" strike="noStrike" kern="1200" cap="none" spc="0" normalizeH="0" baseline="0" noProof="0">
                <a:ln>
                  <a:noFill/>
                </a:ln>
                <a:solidFill>
                  <a:srgbClr val="F2C812"/>
                </a:solidFill>
                <a:effectLst/>
                <a:uLnTx/>
                <a:uFillTx/>
                <a:latin typeface="Segoe UI Light"/>
                <a:ea typeface="+mn-ea"/>
                <a:cs typeface="+mn-cs"/>
              </a:endParaRPr>
            </a:p>
          </p:txBody>
        </p:sp>
        <p:grpSp>
          <p:nvGrpSpPr>
            <p:cNvPr id="228" name="Group 227"/>
            <p:cNvGrpSpPr/>
            <p:nvPr/>
          </p:nvGrpSpPr>
          <p:grpSpPr>
            <a:xfrm>
              <a:off x="219373" y="3621383"/>
              <a:ext cx="433844" cy="645668"/>
              <a:chOff x="280990" y="3358164"/>
              <a:chExt cx="433844" cy="645668"/>
            </a:xfrm>
          </p:grpSpPr>
          <p:sp>
            <p:nvSpPr>
              <p:cNvPr id="144" name="Oval 1083"/>
              <p:cNvSpPr/>
              <p:nvPr/>
            </p:nvSpPr>
            <p:spPr bwMode="auto">
              <a:xfrm>
                <a:off x="280990" y="3358164"/>
                <a:ext cx="433844" cy="433847"/>
              </a:xfrm>
              <a:prstGeom prst="ellipse">
                <a:avLst/>
              </a:prstGeom>
              <a:solidFill>
                <a:srgbClr val="F2C812"/>
              </a:solidFill>
              <a:ln>
                <a:solidFill>
                  <a:srgbClr val="FFCC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45" name="Group 379"/>
              <p:cNvGrpSpPr/>
              <p:nvPr/>
            </p:nvGrpSpPr>
            <p:grpSpPr>
              <a:xfrm>
                <a:off x="453702" y="3910852"/>
                <a:ext cx="175660" cy="92980"/>
                <a:chOff x="3895793" y="7466656"/>
                <a:chExt cx="785810" cy="415941"/>
              </a:xfrm>
              <a:solidFill>
                <a:srgbClr val="00BCF2"/>
              </a:solidFill>
            </p:grpSpPr>
            <p:sp>
              <p:nvSpPr>
                <p:cNvPr id="151" name="Freeform 132"/>
                <p:cNvSpPr>
                  <a:spLocks/>
                </p:cNvSpPr>
                <p:nvPr/>
              </p:nvSpPr>
              <p:spPr bwMode="auto">
                <a:xfrm>
                  <a:off x="4125979" y="7688918"/>
                  <a:ext cx="0" cy="6353"/>
                </a:xfrm>
                <a:custGeom>
                  <a:avLst/>
                  <a:gdLst>
                    <a:gd name="T0" fmla="*/ 1 w 1"/>
                    <a:gd name="T1" fmla="*/ 0 h 8"/>
                    <a:gd name="T2" fmla="*/ 0 w 1"/>
                    <a:gd name="T3" fmla="*/ 0 h 8"/>
                    <a:gd name="T4" fmla="*/ 1 w 1"/>
                    <a:gd name="T5" fmla="*/ 8 h 8"/>
                    <a:gd name="T6" fmla="*/ 1 w 1"/>
                    <a:gd name="T7" fmla="*/ 0 h 8"/>
                  </a:gdLst>
                  <a:ahLst/>
                  <a:cxnLst>
                    <a:cxn ang="0">
                      <a:pos x="T0" y="T1"/>
                    </a:cxn>
                    <a:cxn ang="0">
                      <a:pos x="T2" y="T3"/>
                    </a:cxn>
                    <a:cxn ang="0">
                      <a:pos x="T4" y="T5"/>
                    </a:cxn>
                    <a:cxn ang="0">
                      <a:pos x="T6" y="T7"/>
                    </a:cxn>
                  </a:cxnLst>
                  <a:rect l="0" t="0" r="r" b="b"/>
                  <a:pathLst>
                    <a:path w="1" h="8">
                      <a:moveTo>
                        <a:pt x="1" y="0"/>
                      </a:moveTo>
                      <a:cubicBezTo>
                        <a:pt x="0" y="0"/>
                        <a:pt x="0" y="0"/>
                        <a:pt x="0" y="0"/>
                      </a:cubicBezTo>
                      <a:cubicBezTo>
                        <a:pt x="0" y="3"/>
                        <a:pt x="1" y="5"/>
                        <a:pt x="1" y="8"/>
                      </a:cubicBezTo>
                      <a:lnTo>
                        <a:pt x="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153" name="Freeform 133"/>
                <p:cNvSpPr>
                  <a:spLocks/>
                </p:cNvSpPr>
                <p:nvPr/>
              </p:nvSpPr>
              <p:spPr bwMode="auto">
                <a:xfrm>
                  <a:off x="3895793" y="7812745"/>
                  <a:ext cx="219078" cy="69852"/>
                </a:xfrm>
                <a:custGeom>
                  <a:avLst/>
                  <a:gdLst>
                    <a:gd name="T0" fmla="*/ 186 w 238"/>
                    <a:gd name="T1" fmla="*/ 9 h 76"/>
                    <a:gd name="T2" fmla="*/ 131 w 238"/>
                    <a:gd name="T3" fmla="*/ 22 h 76"/>
                    <a:gd name="T4" fmla="*/ 60 w 238"/>
                    <a:gd name="T5" fmla="*/ 0 h 76"/>
                    <a:gd name="T6" fmla="*/ 0 w 238"/>
                    <a:gd name="T7" fmla="*/ 42 h 76"/>
                    <a:gd name="T8" fmla="*/ 0 w 238"/>
                    <a:gd name="T9" fmla="*/ 76 h 76"/>
                    <a:gd name="T10" fmla="*/ 238 w 238"/>
                    <a:gd name="T11" fmla="*/ 76 h 76"/>
                    <a:gd name="T12" fmla="*/ 236 w 238"/>
                    <a:gd name="T13" fmla="*/ 53 h 76"/>
                    <a:gd name="T14" fmla="*/ 236 w 238"/>
                    <a:gd name="T15" fmla="*/ 49 h 76"/>
                    <a:gd name="T16" fmla="*/ 186 w 238"/>
                    <a:gd name="T17" fmla="*/ 9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8" h="76">
                      <a:moveTo>
                        <a:pt x="186" y="9"/>
                      </a:moveTo>
                      <a:cubicBezTo>
                        <a:pt x="169" y="18"/>
                        <a:pt x="150" y="22"/>
                        <a:pt x="131" y="22"/>
                      </a:cubicBezTo>
                      <a:cubicBezTo>
                        <a:pt x="105" y="22"/>
                        <a:pt x="80" y="14"/>
                        <a:pt x="60" y="0"/>
                      </a:cubicBezTo>
                      <a:cubicBezTo>
                        <a:pt x="0" y="42"/>
                        <a:pt x="0" y="42"/>
                        <a:pt x="0" y="42"/>
                      </a:cubicBezTo>
                      <a:cubicBezTo>
                        <a:pt x="0" y="76"/>
                        <a:pt x="0" y="76"/>
                        <a:pt x="0" y="76"/>
                      </a:cubicBezTo>
                      <a:cubicBezTo>
                        <a:pt x="238" y="76"/>
                        <a:pt x="238" y="76"/>
                        <a:pt x="238" y="76"/>
                      </a:cubicBezTo>
                      <a:cubicBezTo>
                        <a:pt x="237" y="68"/>
                        <a:pt x="236" y="61"/>
                        <a:pt x="236" y="53"/>
                      </a:cubicBezTo>
                      <a:cubicBezTo>
                        <a:pt x="236" y="51"/>
                        <a:pt x="236" y="50"/>
                        <a:pt x="236" y="49"/>
                      </a:cubicBezTo>
                      <a:lnTo>
                        <a:pt x="186" y="9"/>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207" name="Freeform 137"/>
                <p:cNvSpPr>
                  <a:spLocks/>
                </p:cNvSpPr>
                <p:nvPr/>
              </p:nvSpPr>
              <p:spPr bwMode="auto">
                <a:xfrm>
                  <a:off x="4338704" y="7809561"/>
                  <a:ext cx="65090" cy="73028"/>
                </a:xfrm>
                <a:custGeom>
                  <a:avLst/>
                  <a:gdLst>
                    <a:gd name="T0" fmla="*/ 71 w 71"/>
                    <a:gd name="T1" fmla="*/ 79 h 79"/>
                    <a:gd name="T2" fmla="*/ 71 w 71"/>
                    <a:gd name="T3" fmla="*/ 0 h 79"/>
                    <a:gd name="T4" fmla="*/ 2 w 71"/>
                    <a:gd name="T5" fmla="*/ 53 h 79"/>
                    <a:gd name="T6" fmla="*/ 2 w 71"/>
                    <a:gd name="T7" fmla="*/ 56 h 79"/>
                    <a:gd name="T8" fmla="*/ 0 w 71"/>
                    <a:gd name="T9" fmla="*/ 79 h 79"/>
                    <a:gd name="T10" fmla="*/ 71 w 71"/>
                    <a:gd name="T11" fmla="*/ 79 h 79"/>
                  </a:gdLst>
                  <a:ahLst/>
                  <a:cxnLst>
                    <a:cxn ang="0">
                      <a:pos x="T0" y="T1"/>
                    </a:cxn>
                    <a:cxn ang="0">
                      <a:pos x="T2" y="T3"/>
                    </a:cxn>
                    <a:cxn ang="0">
                      <a:pos x="T4" y="T5"/>
                    </a:cxn>
                    <a:cxn ang="0">
                      <a:pos x="T6" y="T7"/>
                    </a:cxn>
                    <a:cxn ang="0">
                      <a:pos x="T8" y="T9"/>
                    </a:cxn>
                    <a:cxn ang="0">
                      <a:pos x="T10" y="T11"/>
                    </a:cxn>
                  </a:cxnLst>
                  <a:rect l="0" t="0" r="r" b="b"/>
                  <a:pathLst>
                    <a:path w="71" h="79">
                      <a:moveTo>
                        <a:pt x="71" y="79"/>
                      </a:moveTo>
                      <a:cubicBezTo>
                        <a:pt x="71" y="0"/>
                        <a:pt x="71" y="0"/>
                        <a:pt x="71" y="0"/>
                      </a:cubicBezTo>
                      <a:cubicBezTo>
                        <a:pt x="2" y="53"/>
                        <a:pt x="2" y="53"/>
                        <a:pt x="2" y="53"/>
                      </a:cubicBezTo>
                      <a:cubicBezTo>
                        <a:pt x="2" y="54"/>
                        <a:pt x="2" y="55"/>
                        <a:pt x="2" y="56"/>
                      </a:cubicBezTo>
                      <a:cubicBezTo>
                        <a:pt x="2" y="64"/>
                        <a:pt x="1" y="71"/>
                        <a:pt x="0" y="79"/>
                      </a:cubicBezTo>
                      <a:lnTo>
                        <a:pt x="71" y="79"/>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210" name="Freeform 140"/>
                <p:cNvSpPr>
                  <a:spLocks/>
                </p:cNvSpPr>
                <p:nvPr/>
              </p:nvSpPr>
              <p:spPr bwMode="auto">
                <a:xfrm>
                  <a:off x="4600643" y="7622229"/>
                  <a:ext cx="80960" cy="38099"/>
                </a:xfrm>
                <a:custGeom>
                  <a:avLst/>
                  <a:gdLst>
                    <a:gd name="T0" fmla="*/ 0 w 51"/>
                    <a:gd name="T1" fmla="*/ 24 h 24"/>
                    <a:gd name="T2" fmla="*/ 51 w 51"/>
                    <a:gd name="T3" fmla="*/ 24 h 24"/>
                    <a:gd name="T4" fmla="*/ 32 w 51"/>
                    <a:gd name="T5" fmla="*/ 0 h 24"/>
                    <a:gd name="T6" fmla="*/ 0 w 51"/>
                    <a:gd name="T7" fmla="*/ 24 h 24"/>
                  </a:gdLst>
                  <a:ahLst/>
                  <a:cxnLst>
                    <a:cxn ang="0">
                      <a:pos x="T0" y="T1"/>
                    </a:cxn>
                    <a:cxn ang="0">
                      <a:pos x="T2" y="T3"/>
                    </a:cxn>
                    <a:cxn ang="0">
                      <a:pos x="T4" y="T5"/>
                    </a:cxn>
                    <a:cxn ang="0">
                      <a:pos x="T6" y="T7"/>
                    </a:cxn>
                  </a:cxnLst>
                  <a:rect l="0" t="0" r="r" b="b"/>
                  <a:pathLst>
                    <a:path w="51" h="24">
                      <a:moveTo>
                        <a:pt x="0" y="24"/>
                      </a:moveTo>
                      <a:lnTo>
                        <a:pt x="51" y="24"/>
                      </a:lnTo>
                      <a:lnTo>
                        <a:pt x="32" y="0"/>
                      </a:lnTo>
                      <a:lnTo>
                        <a:pt x="0" y="24"/>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211" name="Freeform 141"/>
                <p:cNvSpPr>
                  <a:spLocks/>
                </p:cNvSpPr>
                <p:nvPr/>
              </p:nvSpPr>
              <p:spPr bwMode="auto">
                <a:xfrm>
                  <a:off x="4449825" y="7466656"/>
                  <a:ext cx="119065" cy="139703"/>
                </a:xfrm>
                <a:custGeom>
                  <a:avLst/>
                  <a:gdLst>
                    <a:gd name="T0" fmla="*/ 52 w 75"/>
                    <a:gd name="T1" fmla="*/ 0 h 88"/>
                    <a:gd name="T2" fmla="*/ 0 w 75"/>
                    <a:gd name="T3" fmla="*/ 0 h 88"/>
                    <a:gd name="T4" fmla="*/ 0 w 75"/>
                    <a:gd name="T5" fmla="*/ 88 h 88"/>
                    <a:gd name="T6" fmla="*/ 75 w 75"/>
                    <a:gd name="T7" fmla="*/ 30 h 88"/>
                    <a:gd name="T8" fmla="*/ 52 w 75"/>
                    <a:gd name="T9" fmla="*/ 0 h 88"/>
                  </a:gdLst>
                  <a:ahLst/>
                  <a:cxnLst>
                    <a:cxn ang="0">
                      <a:pos x="T0" y="T1"/>
                    </a:cxn>
                    <a:cxn ang="0">
                      <a:pos x="T2" y="T3"/>
                    </a:cxn>
                    <a:cxn ang="0">
                      <a:pos x="T4" y="T5"/>
                    </a:cxn>
                    <a:cxn ang="0">
                      <a:pos x="T6" y="T7"/>
                    </a:cxn>
                    <a:cxn ang="0">
                      <a:pos x="T8" y="T9"/>
                    </a:cxn>
                  </a:cxnLst>
                  <a:rect l="0" t="0" r="r" b="b"/>
                  <a:pathLst>
                    <a:path w="75" h="88">
                      <a:moveTo>
                        <a:pt x="52" y="0"/>
                      </a:moveTo>
                      <a:lnTo>
                        <a:pt x="0" y="0"/>
                      </a:lnTo>
                      <a:lnTo>
                        <a:pt x="0" y="88"/>
                      </a:lnTo>
                      <a:lnTo>
                        <a:pt x="75" y="30"/>
                      </a:lnTo>
                      <a:lnTo>
                        <a:pt x="52"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grpSp>
        </p:grpSp>
        <p:sp>
          <p:nvSpPr>
            <p:cNvPr id="120" name="Rectangle 152"/>
            <p:cNvSpPr/>
            <p:nvPr/>
          </p:nvSpPr>
          <p:spPr bwMode="auto">
            <a:xfrm>
              <a:off x="712458" y="3628917"/>
              <a:ext cx="1805162" cy="37532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2C812"/>
                  </a:solidFill>
                  <a:effectLst/>
                  <a:uLnTx/>
                  <a:uFillTx/>
                  <a:latin typeface="Segoe UI"/>
                  <a:ea typeface="+mn-ea"/>
                  <a:cs typeface="Segoe UI Light" panose="020B0502040204020203" pitchFamily="34" charset="0"/>
                </a:rPr>
                <a:t>Q&amp;A and </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2C812"/>
                  </a:solidFill>
                  <a:effectLst/>
                  <a:uLnTx/>
                  <a:uFillTx/>
                  <a:latin typeface="Segoe UI"/>
                  <a:ea typeface="+mn-ea"/>
                  <a:cs typeface="Segoe UI Light" panose="020B0502040204020203" pitchFamily="34" charset="0"/>
                </a:rPr>
                <a:t>Quick Insights</a:t>
              </a:r>
              <a:endParaRPr kumimoji="0" lang="en-US" sz="1200" b="1" i="0" u="none" strike="noStrike" kern="1200" cap="none" spc="0" normalizeH="0" baseline="0" noProof="0">
                <a:ln>
                  <a:noFill/>
                </a:ln>
                <a:solidFill>
                  <a:srgbClr val="F2C812"/>
                </a:solidFill>
                <a:effectLst/>
                <a:uLnTx/>
                <a:uFillTx/>
                <a:latin typeface="Segoe UI"/>
                <a:ea typeface="+mn-ea"/>
                <a:cs typeface="Segoe UI Light" panose="020B0502040204020203" pitchFamily="34" charset="0"/>
              </a:endParaRPr>
            </a:p>
          </p:txBody>
        </p:sp>
        <p:sp>
          <p:nvSpPr>
            <p:cNvPr id="232" name="Oval 162"/>
            <p:cNvSpPr/>
            <p:nvPr/>
          </p:nvSpPr>
          <p:spPr bwMode="auto">
            <a:xfrm>
              <a:off x="226619" y="4551712"/>
              <a:ext cx="433844" cy="433844"/>
            </a:xfrm>
            <a:prstGeom prst="ellipse">
              <a:avLst/>
            </a:prstGeom>
            <a:solidFill>
              <a:srgbClr val="F2C812"/>
            </a:solidFill>
            <a:ln>
              <a:solidFill>
                <a:srgbClr val="FFCC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1" name="Rectangle 152"/>
            <p:cNvSpPr/>
            <p:nvPr/>
          </p:nvSpPr>
          <p:spPr bwMode="auto">
            <a:xfrm>
              <a:off x="738443" y="4596194"/>
              <a:ext cx="1884825" cy="30233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2C812"/>
                  </a:solidFill>
                  <a:effectLst/>
                  <a:uLnTx/>
                  <a:uFillTx/>
                  <a:latin typeface="Segoe UI"/>
                  <a:ea typeface="+mn-ea"/>
                  <a:cs typeface="Segoe UI Light" panose="020B0502040204020203" pitchFamily="34" charset="0"/>
                </a:rPr>
                <a:t>Sharing</a:t>
              </a:r>
              <a:endParaRPr kumimoji="0" lang="en-US" sz="1200" b="1" i="1" u="none" strike="noStrike" kern="1200" cap="none" spc="0" normalizeH="0" baseline="0" noProof="0">
                <a:ln>
                  <a:noFill/>
                </a:ln>
                <a:solidFill>
                  <a:srgbClr val="F2C812"/>
                </a:solidFill>
                <a:effectLst/>
                <a:uLnTx/>
                <a:uFillTx/>
                <a:latin typeface="Segoe UI"/>
                <a:ea typeface="+mn-ea"/>
                <a:cs typeface="Segoe UI Light" panose="020B0502040204020203" pitchFamily="34" charset="0"/>
              </a:endParaRPr>
            </a:p>
          </p:txBody>
        </p:sp>
        <p:sp>
          <p:nvSpPr>
            <p:cNvPr id="130" name="Rectangle 145"/>
            <p:cNvSpPr/>
            <p:nvPr/>
          </p:nvSpPr>
          <p:spPr bwMode="auto">
            <a:xfrm>
              <a:off x="697198" y="1847637"/>
              <a:ext cx="1821468" cy="3831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2C812"/>
                  </a:solidFill>
                  <a:effectLst/>
                  <a:uLnTx/>
                  <a:uFillTx/>
                  <a:latin typeface="Segoe UI"/>
                  <a:ea typeface="+mn-ea"/>
                  <a:cs typeface="Segoe UI Light" panose="020B0502040204020203" pitchFamily="34" charset="0"/>
                </a:rPr>
                <a:t>Pinning and Navigation</a:t>
              </a:r>
            </a:p>
          </p:txBody>
        </p:sp>
        <p:sp>
          <p:nvSpPr>
            <p:cNvPr id="220" name="Oval 162"/>
            <p:cNvSpPr/>
            <p:nvPr/>
          </p:nvSpPr>
          <p:spPr bwMode="auto">
            <a:xfrm>
              <a:off x="224136" y="1813606"/>
              <a:ext cx="433844" cy="433844"/>
            </a:xfrm>
            <a:prstGeom prst="ellipse">
              <a:avLst/>
            </a:prstGeom>
            <a:solidFill>
              <a:srgbClr val="FFCC00"/>
            </a:solidFill>
            <a:ln>
              <a:solidFill>
                <a:srgbClr val="F2C81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pic>
        <p:nvPicPr>
          <p:cNvPr id="83" name="Picture 82"/>
          <p:cNvPicPr>
            <a:picLocks noChangeAspect="1"/>
          </p:cNvPicPr>
          <p:nvPr/>
        </p:nvPicPr>
        <p:blipFill rotWithShape="1">
          <a:blip r:embed="rId3"/>
          <a:srcRect l="6503" t="21287" r="74698" b="20220"/>
          <a:stretch/>
        </p:blipFill>
        <p:spPr>
          <a:xfrm>
            <a:off x="339111" y="1946110"/>
            <a:ext cx="228600" cy="231962"/>
          </a:xfrm>
          <a:prstGeom prst="rect">
            <a:avLst/>
          </a:prstGeom>
        </p:spPr>
      </p:pic>
      <p:sp>
        <p:nvSpPr>
          <p:cNvPr id="53" name="Title 10"/>
          <p:cNvSpPr txBox="1">
            <a:spLocks/>
          </p:cNvSpPr>
          <p:nvPr/>
        </p:nvSpPr>
        <p:spPr>
          <a:xfrm>
            <a:off x="2849060" y="0"/>
            <a:ext cx="9342940" cy="665151"/>
          </a:xfrm>
          <a:prstGeom prst="rect">
            <a:avLst/>
          </a:prstGeom>
          <a:noFill/>
        </p:spPr>
        <p:txBody>
          <a:bodyPr vert="horz" wrap="square" lIns="0" tIns="91440" rIns="0" bIns="91440" rtlCol="0" anchor="t">
            <a:noAutofit/>
          </a:bodyPr>
          <a:lstStyle>
            <a:lvl1pPr defTabSz="914367">
              <a:lnSpc>
                <a:spcPct val="90000"/>
              </a:lnSpc>
              <a:spcBef>
                <a:spcPct val="0"/>
              </a:spcBef>
              <a:buNone/>
              <a:defRPr lang="en-US" sz="5294" b="0" cap="none" spc="-100" baseline="0" dirty="0" smtClean="0">
                <a:ln w="3175">
                  <a:noFill/>
                </a:ln>
                <a:solidFill>
                  <a:schemeClr val="tx2"/>
                </a:solidFill>
                <a:effectLst/>
                <a:latin typeface="+mj-lt"/>
                <a:cs typeface="Segoe UI" pitchFamily="34" charset="0"/>
              </a:defRPr>
            </a:lvl1pPr>
          </a:lstStyle>
          <a:p>
            <a:pPr marL="168275" marR="0" lvl="0" indent="0" algn="l" defTabSz="914367" rtl="0" eaLnBrk="1" fontAlgn="auto" latinLnBrk="0" hangingPunct="1">
              <a:lnSpc>
                <a:spcPct val="90000"/>
              </a:lnSpc>
              <a:spcBef>
                <a:spcPct val="0"/>
              </a:spcBef>
              <a:spcAft>
                <a:spcPts val="0"/>
              </a:spcAft>
              <a:buClrTx/>
              <a:buSzTx/>
              <a:buFontTx/>
              <a:buNone/>
              <a:tabLst/>
              <a:defRPr/>
            </a:pPr>
            <a:r>
              <a:rPr kumimoji="0" lang="en-US" sz="3600" b="0" i="0" u="none" strike="noStrike" kern="1200" cap="none" spc="-100" normalizeH="0" baseline="0" noProof="0">
                <a:ln w="3175">
                  <a:noFill/>
                </a:ln>
                <a:solidFill>
                  <a:prstClr val="black"/>
                </a:solidFill>
                <a:effectLst/>
                <a:uLnTx/>
                <a:uFillTx/>
                <a:latin typeface="Segoe UI Light"/>
                <a:ea typeface="+mn-ea"/>
                <a:cs typeface="Segoe UI" pitchFamily="34" charset="0"/>
              </a:rPr>
              <a:t>Get Data</a:t>
            </a:r>
            <a:endParaRPr kumimoji="0" lang="en-IN" sz="3600" b="0" i="0" u="none" strike="noStrike" kern="1200" cap="none" spc="-100" normalizeH="0" baseline="0" noProof="0">
              <a:ln w="3175">
                <a:noFill/>
              </a:ln>
              <a:solidFill>
                <a:prstClr val="black"/>
              </a:solidFill>
              <a:effectLst/>
              <a:uLnTx/>
              <a:uFillTx/>
              <a:latin typeface="Segoe UI Light"/>
              <a:ea typeface="+mn-ea"/>
              <a:cs typeface="Segoe UI" pitchFamily="34" charset="0"/>
            </a:endParaRPr>
          </a:p>
        </p:txBody>
      </p:sp>
      <p:pic>
        <p:nvPicPr>
          <p:cNvPr id="2" name="Picture 1"/>
          <p:cNvPicPr>
            <a:picLocks noChangeAspect="1"/>
          </p:cNvPicPr>
          <p:nvPr/>
        </p:nvPicPr>
        <p:blipFill>
          <a:blip r:embed="rId4"/>
          <a:stretch>
            <a:fillRect/>
          </a:stretch>
        </p:blipFill>
        <p:spPr>
          <a:xfrm>
            <a:off x="8022640" y="2773669"/>
            <a:ext cx="3657600" cy="1911220"/>
          </a:xfrm>
          <a:prstGeom prst="rect">
            <a:avLst/>
          </a:prstGeom>
          <a:effectLst>
            <a:outerShdw blurRad="50800" dist="38100" dir="2700000" algn="tl" rotWithShape="0">
              <a:prstClr val="black">
                <a:alpha val="40000"/>
              </a:prstClr>
            </a:outerShdw>
          </a:effectLst>
        </p:spPr>
      </p:pic>
      <p:pic>
        <p:nvPicPr>
          <p:cNvPr id="4" name="Picture 3"/>
          <p:cNvPicPr>
            <a:picLocks noChangeAspect="1"/>
          </p:cNvPicPr>
          <p:nvPr/>
        </p:nvPicPr>
        <p:blipFill>
          <a:blip r:embed="rId5"/>
          <a:stretch>
            <a:fillRect/>
          </a:stretch>
        </p:blipFill>
        <p:spPr>
          <a:xfrm>
            <a:off x="284769" y="3673076"/>
            <a:ext cx="311766" cy="303106"/>
          </a:xfrm>
          <a:prstGeom prst="rect">
            <a:avLst/>
          </a:prstGeom>
        </p:spPr>
      </p:pic>
      <p:sp>
        <p:nvSpPr>
          <p:cNvPr id="160" name="Rectangle 145"/>
          <p:cNvSpPr/>
          <p:nvPr/>
        </p:nvSpPr>
        <p:spPr bwMode="auto">
          <a:xfrm>
            <a:off x="718897" y="5436715"/>
            <a:ext cx="1821468" cy="3831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2C812"/>
                </a:solidFill>
                <a:effectLst/>
                <a:uLnTx/>
                <a:uFillTx/>
                <a:latin typeface="Segoe UI"/>
                <a:ea typeface="+mn-ea"/>
                <a:cs typeface="Segoe UI Light" panose="020B0502040204020203" pitchFamily="34" charset="0"/>
              </a:rPr>
              <a:t>Connect from Excel</a:t>
            </a:r>
          </a:p>
        </p:txBody>
      </p:sp>
      <p:sp>
        <p:nvSpPr>
          <p:cNvPr id="161" name="Oval 162"/>
          <p:cNvSpPr/>
          <p:nvPr/>
        </p:nvSpPr>
        <p:spPr bwMode="auto">
          <a:xfrm>
            <a:off x="231441" y="5429649"/>
            <a:ext cx="433844" cy="433844"/>
          </a:xfrm>
          <a:prstGeom prst="ellipse">
            <a:avLst/>
          </a:prstGeom>
          <a:solidFill>
            <a:srgbClr val="FFCC00"/>
          </a:solidFill>
          <a:ln>
            <a:solidFill>
              <a:srgbClr val="F2C81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5" name="Picture 4"/>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flipH="1">
            <a:off x="283763" y="4596680"/>
            <a:ext cx="357484" cy="357484"/>
          </a:xfrm>
          <a:prstGeom prst="rect">
            <a:avLst/>
          </a:prstGeom>
        </p:spPr>
      </p:pic>
      <p:sp>
        <p:nvSpPr>
          <p:cNvPr id="171" name="Rectangle 3"/>
          <p:cNvSpPr/>
          <p:nvPr/>
        </p:nvSpPr>
        <p:spPr bwMode="auto">
          <a:xfrm>
            <a:off x="3202216" y="665151"/>
            <a:ext cx="8105312" cy="44435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PT" sz="2000" b="0" i="1" u="none" strike="noStrike" kern="1200" cap="none" spc="0" normalizeH="0" baseline="0" noProof="0">
                <a:ln>
                  <a:noFill/>
                </a:ln>
                <a:solidFill>
                  <a:prstClr val="black"/>
                </a:solidFill>
                <a:effectLst/>
                <a:uLnTx/>
                <a:uFillTx/>
                <a:latin typeface="Segoe UI Light"/>
                <a:ea typeface="+mn-ea"/>
                <a:cs typeface="+mn-cs"/>
              </a:rPr>
              <a:t>Connect to Data</a:t>
            </a:r>
            <a:endParaRPr kumimoji="0" lang="en-US" sz="2000" b="0" i="1" u="none" strike="noStrike" kern="1200" cap="none" spc="0" normalizeH="0" baseline="0" noProof="0">
              <a:ln>
                <a:noFill/>
              </a:ln>
              <a:solidFill>
                <a:prstClr val="black"/>
              </a:solidFill>
              <a:effectLst/>
              <a:uLnTx/>
              <a:uFillTx/>
              <a:latin typeface="Segoe UI Light"/>
              <a:ea typeface="+mn-ea"/>
              <a:cs typeface="+mn-cs"/>
            </a:endParaRPr>
          </a:p>
        </p:txBody>
      </p:sp>
      <p:pic>
        <p:nvPicPr>
          <p:cNvPr id="7" name="Picture 6"/>
          <p:cNvPicPr>
            <a:picLocks noChangeAspect="1"/>
          </p:cNvPicPr>
          <p:nvPr/>
        </p:nvPicPr>
        <p:blipFill>
          <a:blip r:embed="rId7"/>
          <a:stretch>
            <a:fillRect/>
          </a:stretch>
        </p:blipFill>
        <p:spPr>
          <a:xfrm>
            <a:off x="3504568" y="2130440"/>
            <a:ext cx="1876425" cy="323850"/>
          </a:xfrm>
          <a:prstGeom prst="rect">
            <a:avLst/>
          </a:prstGeom>
        </p:spPr>
      </p:pic>
      <p:sp>
        <p:nvSpPr>
          <p:cNvPr id="41" name="Oval 162"/>
          <p:cNvSpPr/>
          <p:nvPr/>
        </p:nvSpPr>
        <p:spPr bwMode="auto">
          <a:xfrm>
            <a:off x="233032" y="6267344"/>
            <a:ext cx="433844" cy="433844"/>
          </a:xfrm>
          <a:prstGeom prst="ellipse">
            <a:avLst/>
          </a:prstGeom>
          <a:solidFill>
            <a:srgbClr val="FFCC00"/>
          </a:solidFill>
          <a:ln>
            <a:solidFill>
              <a:srgbClr val="F2C81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2" name="Rectangle 145"/>
          <p:cNvSpPr/>
          <p:nvPr/>
        </p:nvSpPr>
        <p:spPr bwMode="auto">
          <a:xfrm>
            <a:off x="701416" y="6289969"/>
            <a:ext cx="1821468" cy="3831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2C812"/>
                </a:solidFill>
                <a:effectLst/>
                <a:uLnTx/>
                <a:uFillTx/>
                <a:latin typeface="Segoe UI"/>
                <a:ea typeface="+mn-ea"/>
                <a:cs typeface="Segoe UI Light" panose="020B0502040204020203" pitchFamily="34" charset="0"/>
              </a:rPr>
              <a:t>Mobile Reports</a:t>
            </a:r>
          </a:p>
        </p:txBody>
      </p:sp>
      <p:pic>
        <p:nvPicPr>
          <p:cNvPr id="3" name="Picture 2"/>
          <p:cNvPicPr>
            <a:picLocks noChangeAspect="1"/>
          </p:cNvPicPr>
          <p:nvPr/>
        </p:nvPicPr>
        <p:blipFill>
          <a:blip r:embed="rId8" cstate="print">
            <a:extLst>
              <a:ext uri="{BEBA8EAE-BF5A-486C-A8C5-ECC9F3942E4B}">
                <a14:imgProps xmlns:a14="http://schemas.microsoft.com/office/drawing/2010/main">
                  <a14:imgLayer r:embed="rId9">
                    <a14:imgEffect>
                      <a14:saturation sat="0"/>
                    </a14:imgEffect>
                  </a14:imgLayer>
                </a14:imgProps>
              </a:ext>
              <a:ext uri="{28A0092B-C50C-407E-A947-70E740481C1C}">
                <a14:useLocalDpi xmlns:a14="http://schemas.microsoft.com/office/drawing/2010/main" val="0"/>
              </a:ext>
            </a:extLst>
          </a:blip>
          <a:stretch>
            <a:fillRect/>
          </a:stretch>
        </p:blipFill>
        <p:spPr>
          <a:xfrm>
            <a:off x="391946" y="6350039"/>
            <a:ext cx="133350" cy="251587"/>
          </a:xfrm>
          <a:prstGeom prst="rect">
            <a:avLst/>
          </a:prstGeom>
        </p:spPr>
      </p:pic>
      <p:pic>
        <p:nvPicPr>
          <p:cNvPr id="43" name="Picture 42"/>
          <p:cNvPicPr>
            <a:picLocks noChangeAspect="1"/>
          </p:cNvPicPr>
          <p:nvPr/>
        </p:nvPicPr>
        <p:blipFill>
          <a:blip r:embed="rId10" cstate="print">
            <a:biLevel thresh="50000"/>
            <a:extLst>
              <a:ext uri="{28A0092B-C50C-407E-A947-70E740481C1C}">
                <a14:useLocalDpi xmlns:a14="http://schemas.microsoft.com/office/drawing/2010/main" val="0"/>
              </a:ext>
            </a:extLst>
          </a:blip>
          <a:stretch>
            <a:fillRect/>
          </a:stretch>
        </p:blipFill>
        <p:spPr>
          <a:xfrm>
            <a:off x="332658" y="5538489"/>
            <a:ext cx="268940" cy="268940"/>
          </a:xfrm>
          <a:prstGeom prst="rect">
            <a:avLst/>
          </a:prstGeom>
        </p:spPr>
      </p:pic>
      <p:sp>
        <p:nvSpPr>
          <p:cNvPr id="51" name="Rectangle 50"/>
          <p:cNvSpPr/>
          <p:nvPr/>
        </p:nvSpPr>
        <p:spPr bwMode="auto">
          <a:xfrm>
            <a:off x="35912" y="1550386"/>
            <a:ext cx="2464420" cy="5238040"/>
          </a:xfrm>
          <a:prstGeom prst="rect">
            <a:avLst/>
          </a:prstGeom>
          <a:solidFill>
            <a:srgbClr val="000000">
              <a:alpha val="6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31005801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 name="Title 10"/>
          <p:cNvSpPr txBox="1">
            <a:spLocks/>
          </p:cNvSpPr>
          <p:nvPr/>
        </p:nvSpPr>
        <p:spPr>
          <a:xfrm>
            <a:off x="2849060" y="0"/>
            <a:ext cx="9342940" cy="665151"/>
          </a:xfrm>
          <a:prstGeom prst="rect">
            <a:avLst/>
          </a:prstGeom>
          <a:noFill/>
        </p:spPr>
        <p:txBody>
          <a:bodyPr vert="horz" wrap="square" lIns="0" tIns="91440" rIns="0" bIns="91440" rtlCol="0" anchor="t">
            <a:noAutofit/>
          </a:bodyPr>
          <a:lstStyle>
            <a:lvl1pPr defTabSz="914367">
              <a:lnSpc>
                <a:spcPct val="90000"/>
              </a:lnSpc>
              <a:spcBef>
                <a:spcPct val="0"/>
              </a:spcBef>
              <a:buNone/>
              <a:defRPr lang="en-US" sz="5294" b="0" cap="none" spc="-100" baseline="0" dirty="0" smtClean="0">
                <a:ln w="3175">
                  <a:noFill/>
                </a:ln>
                <a:solidFill>
                  <a:schemeClr val="tx2"/>
                </a:solidFill>
                <a:effectLst/>
                <a:latin typeface="+mj-lt"/>
                <a:cs typeface="Segoe UI" pitchFamily="34" charset="0"/>
              </a:defRPr>
            </a:lvl1pPr>
          </a:lstStyle>
          <a:p>
            <a:pPr marL="168275" marR="0" lvl="0" indent="0" algn="l" defTabSz="914367" rtl="0" eaLnBrk="1" fontAlgn="auto" latinLnBrk="0" hangingPunct="1">
              <a:lnSpc>
                <a:spcPct val="90000"/>
              </a:lnSpc>
              <a:spcBef>
                <a:spcPct val="0"/>
              </a:spcBef>
              <a:spcAft>
                <a:spcPts val="0"/>
              </a:spcAft>
              <a:buClrTx/>
              <a:buSzTx/>
              <a:buFontTx/>
              <a:buNone/>
              <a:tabLst/>
              <a:defRPr/>
            </a:pPr>
            <a:r>
              <a:rPr kumimoji="0" lang="en-US" sz="3600" b="0" i="0" u="none" strike="noStrike" kern="1200" cap="none" spc="-100" normalizeH="0" baseline="0" noProof="0">
                <a:ln w="3175">
                  <a:noFill/>
                </a:ln>
                <a:solidFill>
                  <a:prstClr val="black"/>
                </a:solidFill>
                <a:effectLst/>
                <a:uLnTx/>
                <a:uFillTx/>
                <a:latin typeface="Segoe UI Light"/>
                <a:ea typeface="+mn-ea"/>
                <a:cs typeface="Segoe UI" pitchFamily="34" charset="0"/>
              </a:rPr>
              <a:t>Get Data</a:t>
            </a:r>
            <a:endParaRPr kumimoji="0" lang="en-IN" sz="3600" b="0" i="0" u="none" strike="noStrike" kern="1200" cap="none" spc="-100" normalizeH="0" baseline="0" noProof="0">
              <a:ln w="3175">
                <a:noFill/>
              </a:ln>
              <a:solidFill>
                <a:prstClr val="black"/>
              </a:solidFill>
              <a:effectLst/>
              <a:uLnTx/>
              <a:uFillTx/>
              <a:latin typeface="Segoe UI Light"/>
              <a:ea typeface="+mn-ea"/>
              <a:cs typeface="Segoe UI" pitchFamily="34" charset="0"/>
            </a:endParaRPr>
          </a:p>
        </p:txBody>
      </p:sp>
      <p:sp>
        <p:nvSpPr>
          <p:cNvPr id="40" name="Text Placeholder 2"/>
          <p:cNvSpPr txBox="1">
            <a:spLocks/>
          </p:cNvSpPr>
          <p:nvPr/>
        </p:nvSpPr>
        <p:spPr>
          <a:xfrm>
            <a:off x="2974910" y="1251907"/>
            <a:ext cx="8332618" cy="897374"/>
          </a:xfrm>
          <a:prstGeom prst="rect">
            <a:avLst/>
          </a:prstGeom>
        </p:spPr>
        <p:txBody>
          <a:bodyPr vert="horz" wrap="square" lIns="182880" tIns="146304" rIns="182880" bIns="146304" rtlCol="0">
            <a:noAutofit/>
          </a:bodyPr>
          <a:lstStyle>
            <a:lvl1pPr marL="182845" marR="0"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3921" kern="1200" spc="0" baseline="0">
                <a:gradFill>
                  <a:gsLst>
                    <a:gs pos="1250">
                      <a:schemeClr val="tx2"/>
                    </a:gs>
                    <a:gs pos="99000">
                      <a:schemeClr val="tx2"/>
                    </a:gs>
                  </a:gsLst>
                  <a:lin ang="5400000" scaled="0"/>
                </a:gradFill>
                <a:latin typeface="+mj-lt"/>
                <a:ea typeface="+mn-ea"/>
                <a:cs typeface="+mn-cs"/>
              </a:defRPr>
            </a:lvl1pPr>
            <a:lvl2pPr marL="365690" marR="0"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2400" kern="1200" spc="0" baseline="0">
                <a:solidFill>
                  <a:schemeClr val="tx2"/>
                </a:solidFill>
                <a:latin typeface="+mj-lt"/>
                <a:ea typeface="+mn-ea"/>
                <a:cs typeface="+mn-cs"/>
              </a:defRPr>
            </a:lvl2pPr>
            <a:lvl3pPr marL="548535" marR="0"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2000" kern="1200" spc="0" baseline="0">
                <a:solidFill>
                  <a:schemeClr val="tx2"/>
                </a:solidFill>
                <a:latin typeface="+mj-lt"/>
                <a:ea typeface="+mn-ea"/>
                <a:cs typeface="+mn-cs"/>
              </a:defRPr>
            </a:lvl3pPr>
            <a:lvl4pPr marL="733802" marR="0" indent="-28569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1765" kern="1200" spc="0" baseline="0">
                <a:solidFill>
                  <a:schemeClr val="tx2"/>
                </a:solidFill>
                <a:latin typeface="+mn-lt"/>
                <a:ea typeface="+mn-ea"/>
                <a:cs typeface="+mn-cs"/>
              </a:defRPr>
            </a:lvl4pPr>
            <a:lvl5pPr marL="957856" marR="0" indent="-28569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1765" kern="1200" spc="0" baseline="0">
                <a:solidFill>
                  <a:schemeClr val="tx2"/>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r>
              <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rPr>
              <a:t>When you select the </a:t>
            </a:r>
            <a:r>
              <a:rPr kumimoji="0" lang="en-US" sz="2000" b="1"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rPr>
              <a:t>File </a:t>
            </a:r>
            <a:r>
              <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rPr>
              <a:t>option</a:t>
            </a:r>
            <a:r>
              <a:rPr kumimoji="0" lang="en-US" sz="2000" b="1"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rPr>
              <a:t> data can come from on-prem or cloud</a:t>
            </a: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1"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1"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1"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1"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1"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1"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1"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r>
              <a:rPr kumimoji="0" lang="en-US" sz="2000" b="1"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rPr>
              <a:t>Excel </a:t>
            </a:r>
            <a:r>
              <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rPr>
              <a:t>(.xlsx, xlsm) – import the </a:t>
            </a:r>
            <a:r>
              <a:rPr kumimoji="0" lang="en-US" sz="2000" b="1"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rPr>
              <a:t>file or the Data Model</a:t>
            </a: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1"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r>
              <a:rPr kumimoji="0" lang="en-US" sz="2000" b="1"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rPr>
              <a:t>Power BI Desktop</a:t>
            </a:r>
            <a:r>
              <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rPr>
              <a:t> – the model and the visualizations are imported into the service</a:t>
            </a: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1"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r>
              <a:rPr kumimoji="0" lang="en-US" sz="2000" b="1"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rPr>
              <a:t>.csv file</a:t>
            </a:r>
            <a:r>
              <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rPr>
              <a:t> – data should be comma separated and have a header</a:t>
            </a: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r>
              <a:rPr kumimoji="0" lang="en-US" sz="2000" b="1"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rPr>
              <a:t>Replacements </a:t>
            </a:r>
            <a:r>
              <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rPr>
              <a:t>must have the </a:t>
            </a:r>
            <a:r>
              <a:rPr kumimoji="0" lang="en-US" sz="2000" b="1"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rPr>
              <a:t>same name</a:t>
            </a: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p:txBody>
      </p:sp>
      <p:sp>
        <p:nvSpPr>
          <p:cNvPr id="41" name="Rectangle 3"/>
          <p:cNvSpPr/>
          <p:nvPr/>
        </p:nvSpPr>
        <p:spPr bwMode="auto">
          <a:xfrm>
            <a:off x="3202216" y="665151"/>
            <a:ext cx="8105312" cy="44435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PT" sz="2000" b="0" i="1" u="none" strike="noStrike" kern="1200" cap="none" spc="0" normalizeH="0" baseline="0" noProof="0">
                <a:ln>
                  <a:noFill/>
                </a:ln>
                <a:solidFill>
                  <a:prstClr val="black"/>
                </a:solidFill>
                <a:effectLst/>
                <a:uLnTx/>
                <a:uFillTx/>
                <a:latin typeface="Segoe UI Light"/>
                <a:ea typeface="+mn-ea"/>
                <a:cs typeface="+mn-cs"/>
              </a:rPr>
              <a:t>Import or Connect to Data - Files</a:t>
            </a:r>
            <a:endParaRPr kumimoji="0" lang="en-US" sz="2000" b="0" i="1" u="none" strike="noStrike" kern="1200" cap="none" spc="0" normalizeH="0" baseline="0" noProof="0">
              <a:ln>
                <a:noFill/>
              </a:ln>
              <a:solidFill>
                <a:prstClr val="black"/>
              </a:solidFill>
              <a:effectLst/>
              <a:uLnTx/>
              <a:uFillTx/>
              <a:latin typeface="Segoe UI Light"/>
              <a:ea typeface="+mn-ea"/>
              <a:cs typeface="+mn-cs"/>
            </a:endParaRPr>
          </a:p>
        </p:txBody>
      </p:sp>
      <p:pic>
        <p:nvPicPr>
          <p:cNvPr id="42" name="Picture 41"/>
          <p:cNvPicPr>
            <a:picLocks noChangeAspect="1"/>
          </p:cNvPicPr>
          <p:nvPr/>
        </p:nvPicPr>
        <p:blipFill>
          <a:blip r:embed="rId3"/>
          <a:stretch>
            <a:fillRect/>
          </a:stretch>
        </p:blipFill>
        <p:spPr>
          <a:xfrm>
            <a:off x="4080242" y="2001919"/>
            <a:ext cx="6880576" cy="1718300"/>
          </a:xfrm>
          <a:prstGeom prst="rect">
            <a:avLst/>
          </a:prstGeom>
          <a:ln>
            <a:noFill/>
          </a:ln>
          <a:effectLst>
            <a:outerShdw blurRad="190500" algn="tl" rotWithShape="0">
              <a:srgbClr val="000000">
                <a:alpha val="70000"/>
              </a:srgbClr>
            </a:outerShdw>
          </a:effectLst>
        </p:spPr>
      </p:pic>
      <p:grpSp>
        <p:nvGrpSpPr>
          <p:cNvPr id="39" name="Group 38"/>
          <p:cNvGrpSpPr/>
          <p:nvPr/>
        </p:nvGrpSpPr>
        <p:grpSpPr>
          <a:xfrm>
            <a:off x="-2887" y="973"/>
            <a:ext cx="2849058" cy="6857027"/>
            <a:chOff x="2" y="487"/>
            <a:chExt cx="2849058" cy="6857027"/>
          </a:xfrm>
        </p:grpSpPr>
        <p:sp>
          <p:nvSpPr>
            <p:cNvPr id="43" name="Rectangle 15"/>
            <p:cNvSpPr/>
            <p:nvPr/>
          </p:nvSpPr>
          <p:spPr bwMode="auto">
            <a:xfrm>
              <a:off x="2" y="487"/>
              <a:ext cx="2849058" cy="685702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4" name="Rectangle 145"/>
            <p:cNvSpPr/>
            <p:nvPr/>
          </p:nvSpPr>
          <p:spPr bwMode="auto">
            <a:xfrm>
              <a:off x="696152" y="956997"/>
              <a:ext cx="1821468" cy="3831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2C812"/>
                  </a:solidFill>
                  <a:effectLst/>
                  <a:uLnTx/>
                  <a:uFillTx/>
                  <a:latin typeface="Segoe UI"/>
                  <a:ea typeface="+mn-ea"/>
                  <a:cs typeface="Segoe UI Light" panose="020B0502040204020203" pitchFamily="34" charset="0"/>
                </a:rPr>
                <a:t>Get Data</a:t>
              </a:r>
              <a:endParaRPr kumimoji="0" lang="en-US" sz="1200" b="1" i="1" u="none" strike="noStrike" kern="1200" cap="none" spc="0" normalizeH="0" baseline="0" noProof="0">
                <a:ln>
                  <a:noFill/>
                </a:ln>
                <a:solidFill>
                  <a:srgbClr val="F2C812"/>
                </a:solidFill>
                <a:effectLst/>
                <a:uLnTx/>
                <a:uFillTx/>
                <a:latin typeface="Segoe UI"/>
                <a:ea typeface="+mn-ea"/>
                <a:cs typeface="Segoe UI Light" panose="020B0502040204020203" pitchFamily="34" charset="0"/>
              </a:endParaRPr>
            </a:p>
          </p:txBody>
        </p:sp>
        <p:grpSp>
          <p:nvGrpSpPr>
            <p:cNvPr id="51" name="Group 50"/>
            <p:cNvGrpSpPr/>
            <p:nvPr/>
          </p:nvGrpSpPr>
          <p:grpSpPr>
            <a:xfrm>
              <a:off x="219373" y="934583"/>
              <a:ext cx="433844" cy="433844"/>
              <a:chOff x="440005" y="997815"/>
              <a:chExt cx="296322" cy="296322"/>
            </a:xfrm>
          </p:grpSpPr>
          <p:sp>
            <p:nvSpPr>
              <p:cNvPr id="98" name="Oval 147"/>
              <p:cNvSpPr/>
              <p:nvPr/>
            </p:nvSpPr>
            <p:spPr bwMode="auto">
              <a:xfrm>
                <a:off x="440005" y="997815"/>
                <a:ext cx="296322" cy="296322"/>
              </a:xfrm>
              <a:prstGeom prst="ellipse">
                <a:avLst/>
              </a:prstGeom>
              <a:solidFill>
                <a:srgbClr val="FFCC00"/>
              </a:solidFill>
              <a:ln>
                <a:solidFill>
                  <a:srgbClr val="F2C81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99" name="Group 332"/>
              <p:cNvGrpSpPr/>
              <p:nvPr/>
            </p:nvGrpSpPr>
            <p:grpSpPr>
              <a:xfrm>
                <a:off x="482167" y="1059311"/>
                <a:ext cx="211997" cy="173292"/>
                <a:chOff x="2123129" y="293070"/>
                <a:chExt cx="2472585" cy="2021178"/>
              </a:xfrm>
            </p:grpSpPr>
            <p:sp>
              <p:nvSpPr>
                <p:cNvPr id="100" name="Freeform 13"/>
                <p:cNvSpPr>
                  <a:spLocks/>
                </p:cNvSpPr>
                <p:nvPr/>
              </p:nvSpPr>
              <p:spPr bwMode="auto">
                <a:xfrm rot="20700000">
                  <a:off x="3155853" y="872796"/>
                  <a:ext cx="1439861" cy="1441452"/>
                </a:xfrm>
                <a:custGeom>
                  <a:avLst/>
                  <a:gdLst>
                    <a:gd name="T0" fmla="*/ 138 w 441"/>
                    <a:gd name="T1" fmla="*/ 341 h 441"/>
                    <a:gd name="T2" fmla="*/ 183 w 441"/>
                    <a:gd name="T3" fmla="*/ 374 h 441"/>
                    <a:gd name="T4" fmla="*/ 220 w 441"/>
                    <a:gd name="T5" fmla="*/ 423 h 441"/>
                    <a:gd name="T6" fmla="*/ 422 w 441"/>
                    <a:gd name="T7" fmla="*/ 220 h 441"/>
                    <a:gd name="T8" fmla="*/ 373 w 441"/>
                    <a:gd name="T9" fmla="*/ 184 h 441"/>
                    <a:gd name="T10" fmla="*/ 341 w 441"/>
                    <a:gd name="T11" fmla="*/ 139 h 441"/>
                    <a:gd name="T12" fmla="*/ 382 w 441"/>
                    <a:gd name="T13" fmla="*/ 58 h 441"/>
                    <a:gd name="T14" fmla="*/ 302 w 441"/>
                    <a:gd name="T15" fmla="*/ 100 h 441"/>
                    <a:gd name="T16" fmla="*/ 257 w 441"/>
                    <a:gd name="T17" fmla="*/ 67 h 441"/>
                    <a:gd name="T18" fmla="*/ 220 w 441"/>
                    <a:gd name="T19" fmla="*/ 18 h 441"/>
                    <a:gd name="T20" fmla="*/ 171 w 441"/>
                    <a:gd name="T21" fmla="*/ 55 h 441"/>
                    <a:gd name="T22" fmla="*/ 138 w 441"/>
                    <a:gd name="T23" fmla="*/ 100 h 441"/>
                    <a:gd name="T24" fmla="*/ 180 w 441"/>
                    <a:gd name="T25" fmla="*/ 181 h 441"/>
                    <a:gd name="T26" fmla="*/ 100 w 441"/>
                    <a:gd name="T27" fmla="*/ 139 h 441"/>
                    <a:gd name="T28" fmla="*/ 55 w 441"/>
                    <a:gd name="T29" fmla="*/ 171 h 441"/>
                    <a:gd name="T30" fmla="*/ 18 w 441"/>
                    <a:gd name="T31" fmla="*/ 220 h 441"/>
                    <a:gd name="T32" fmla="*/ 67 w 441"/>
                    <a:gd name="T33" fmla="*/ 257 h 441"/>
                    <a:gd name="T34" fmla="*/ 100 w 441"/>
                    <a:gd name="T35" fmla="*/ 302 h 441"/>
                    <a:gd name="T36" fmla="*/ 58 w 441"/>
                    <a:gd name="T37" fmla="*/ 383 h 441"/>
                    <a:gd name="T38" fmla="*/ 138 w 441"/>
                    <a:gd name="T39" fmla="*/ 341 h 4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41" h="441">
                      <a:moveTo>
                        <a:pt x="138" y="341"/>
                      </a:moveTo>
                      <a:cubicBezTo>
                        <a:pt x="147" y="337"/>
                        <a:pt x="171" y="361"/>
                        <a:pt x="183" y="374"/>
                      </a:cubicBezTo>
                      <a:cubicBezTo>
                        <a:pt x="196" y="386"/>
                        <a:pt x="220" y="423"/>
                        <a:pt x="220" y="423"/>
                      </a:cubicBezTo>
                      <a:cubicBezTo>
                        <a:pt x="422" y="220"/>
                        <a:pt x="422" y="220"/>
                        <a:pt x="422" y="220"/>
                      </a:cubicBezTo>
                      <a:cubicBezTo>
                        <a:pt x="422" y="220"/>
                        <a:pt x="386" y="196"/>
                        <a:pt x="373" y="184"/>
                      </a:cubicBezTo>
                      <a:cubicBezTo>
                        <a:pt x="361" y="171"/>
                        <a:pt x="338" y="149"/>
                        <a:pt x="341" y="139"/>
                      </a:cubicBezTo>
                      <a:cubicBezTo>
                        <a:pt x="343" y="129"/>
                        <a:pt x="441" y="116"/>
                        <a:pt x="382" y="58"/>
                      </a:cubicBezTo>
                      <a:cubicBezTo>
                        <a:pt x="324" y="0"/>
                        <a:pt x="310" y="96"/>
                        <a:pt x="302" y="100"/>
                      </a:cubicBezTo>
                      <a:cubicBezTo>
                        <a:pt x="294" y="104"/>
                        <a:pt x="269" y="80"/>
                        <a:pt x="257" y="67"/>
                      </a:cubicBezTo>
                      <a:cubicBezTo>
                        <a:pt x="245" y="55"/>
                        <a:pt x="220" y="18"/>
                        <a:pt x="220" y="18"/>
                      </a:cubicBezTo>
                      <a:cubicBezTo>
                        <a:pt x="220" y="18"/>
                        <a:pt x="183" y="43"/>
                        <a:pt x="171" y="55"/>
                      </a:cubicBezTo>
                      <a:cubicBezTo>
                        <a:pt x="159" y="67"/>
                        <a:pt x="134" y="92"/>
                        <a:pt x="138" y="100"/>
                      </a:cubicBezTo>
                      <a:cubicBezTo>
                        <a:pt x="142" y="108"/>
                        <a:pt x="238" y="122"/>
                        <a:pt x="180" y="181"/>
                      </a:cubicBezTo>
                      <a:cubicBezTo>
                        <a:pt x="122" y="239"/>
                        <a:pt x="110" y="141"/>
                        <a:pt x="100" y="139"/>
                      </a:cubicBezTo>
                      <a:cubicBezTo>
                        <a:pt x="89" y="137"/>
                        <a:pt x="67" y="159"/>
                        <a:pt x="55" y="171"/>
                      </a:cubicBezTo>
                      <a:cubicBezTo>
                        <a:pt x="42" y="184"/>
                        <a:pt x="18" y="220"/>
                        <a:pt x="18" y="220"/>
                      </a:cubicBezTo>
                      <a:cubicBezTo>
                        <a:pt x="18" y="220"/>
                        <a:pt x="55" y="245"/>
                        <a:pt x="67" y="257"/>
                      </a:cubicBezTo>
                      <a:cubicBezTo>
                        <a:pt x="79" y="269"/>
                        <a:pt x="102" y="292"/>
                        <a:pt x="100" y="302"/>
                      </a:cubicBezTo>
                      <a:cubicBezTo>
                        <a:pt x="98" y="312"/>
                        <a:pt x="0" y="325"/>
                        <a:pt x="58" y="383"/>
                      </a:cubicBezTo>
                      <a:cubicBezTo>
                        <a:pt x="116" y="441"/>
                        <a:pt x="130" y="345"/>
                        <a:pt x="138" y="341"/>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101" name="Freeform 14"/>
                <p:cNvSpPr>
                  <a:spLocks/>
                </p:cNvSpPr>
                <p:nvPr/>
              </p:nvSpPr>
              <p:spPr bwMode="auto">
                <a:xfrm rot="9900000">
                  <a:off x="2123129" y="293070"/>
                  <a:ext cx="1377948" cy="1377947"/>
                </a:xfrm>
                <a:custGeom>
                  <a:avLst/>
                  <a:gdLst>
                    <a:gd name="T0" fmla="*/ 422 w 422"/>
                    <a:gd name="T1" fmla="*/ 220 h 422"/>
                    <a:gd name="T2" fmla="*/ 386 w 422"/>
                    <a:gd name="T3" fmla="*/ 171 h 422"/>
                    <a:gd name="T4" fmla="*/ 341 w 422"/>
                    <a:gd name="T5" fmla="*/ 138 h 422"/>
                    <a:gd name="T6" fmla="*/ 260 w 422"/>
                    <a:gd name="T7" fmla="*/ 180 h 422"/>
                    <a:gd name="T8" fmla="*/ 302 w 422"/>
                    <a:gd name="T9" fmla="*/ 100 h 422"/>
                    <a:gd name="T10" fmla="*/ 269 w 422"/>
                    <a:gd name="T11" fmla="*/ 55 h 422"/>
                    <a:gd name="T12" fmla="*/ 220 w 422"/>
                    <a:gd name="T13" fmla="*/ 18 h 422"/>
                    <a:gd name="T14" fmla="*/ 183 w 422"/>
                    <a:gd name="T15" fmla="*/ 67 h 422"/>
                    <a:gd name="T16" fmla="*/ 138 w 422"/>
                    <a:gd name="T17" fmla="*/ 100 h 422"/>
                    <a:gd name="T18" fmla="*/ 58 w 422"/>
                    <a:gd name="T19" fmla="*/ 58 h 422"/>
                    <a:gd name="T20" fmla="*/ 100 w 422"/>
                    <a:gd name="T21" fmla="*/ 138 h 422"/>
                    <a:gd name="T22" fmla="*/ 67 w 422"/>
                    <a:gd name="T23" fmla="*/ 183 h 422"/>
                    <a:gd name="T24" fmla="*/ 18 w 422"/>
                    <a:gd name="T25" fmla="*/ 220 h 422"/>
                    <a:gd name="T26" fmla="*/ 55 w 422"/>
                    <a:gd name="T27" fmla="*/ 269 h 422"/>
                    <a:gd name="T28" fmla="*/ 100 w 422"/>
                    <a:gd name="T29" fmla="*/ 302 h 422"/>
                    <a:gd name="T30" fmla="*/ 180 w 422"/>
                    <a:gd name="T31" fmla="*/ 260 h 422"/>
                    <a:gd name="T32" fmla="*/ 138 w 422"/>
                    <a:gd name="T33" fmla="*/ 341 h 422"/>
                    <a:gd name="T34" fmla="*/ 171 w 422"/>
                    <a:gd name="T35" fmla="*/ 386 h 422"/>
                    <a:gd name="T36" fmla="*/ 220 w 422"/>
                    <a:gd name="T37" fmla="*/ 422 h 422"/>
                    <a:gd name="T38" fmla="*/ 422 w 422"/>
                    <a:gd name="T39" fmla="*/ 220 h 4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22" h="422">
                      <a:moveTo>
                        <a:pt x="422" y="220"/>
                      </a:moveTo>
                      <a:cubicBezTo>
                        <a:pt x="422" y="220"/>
                        <a:pt x="398" y="183"/>
                        <a:pt x="386" y="171"/>
                      </a:cubicBezTo>
                      <a:cubicBezTo>
                        <a:pt x="373" y="159"/>
                        <a:pt x="349" y="134"/>
                        <a:pt x="341" y="138"/>
                      </a:cubicBezTo>
                      <a:cubicBezTo>
                        <a:pt x="332" y="142"/>
                        <a:pt x="318" y="239"/>
                        <a:pt x="260" y="180"/>
                      </a:cubicBezTo>
                      <a:cubicBezTo>
                        <a:pt x="202" y="122"/>
                        <a:pt x="300" y="110"/>
                        <a:pt x="302" y="100"/>
                      </a:cubicBezTo>
                      <a:cubicBezTo>
                        <a:pt x="304" y="90"/>
                        <a:pt x="281" y="67"/>
                        <a:pt x="269" y="55"/>
                      </a:cubicBezTo>
                      <a:cubicBezTo>
                        <a:pt x="257" y="42"/>
                        <a:pt x="220" y="18"/>
                        <a:pt x="220" y="18"/>
                      </a:cubicBezTo>
                      <a:cubicBezTo>
                        <a:pt x="220" y="18"/>
                        <a:pt x="196" y="55"/>
                        <a:pt x="183" y="67"/>
                      </a:cubicBezTo>
                      <a:cubicBezTo>
                        <a:pt x="171" y="79"/>
                        <a:pt x="149" y="102"/>
                        <a:pt x="138" y="100"/>
                      </a:cubicBezTo>
                      <a:cubicBezTo>
                        <a:pt x="128" y="98"/>
                        <a:pt x="116" y="0"/>
                        <a:pt x="58" y="58"/>
                      </a:cubicBezTo>
                      <a:cubicBezTo>
                        <a:pt x="0" y="116"/>
                        <a:pt x="96" y="130"/>
                        <a:pt x="100" y="138"/>
                      </a:cubicBezTo>
                      <a:cubicBezTo>
                        <a:pt x="104" y="147"/>
                        <a:pt x="79" y="171"/>
                        <a:pt x="67" y="183"/>
                      </a:cubicBezTo>
                      <a:cubicBezTo>
                        <a:pt x="55" y="196"/>
                        <a:pt x="18" y="220"/>
                        <a:pt x="18" y="220"/>
                      </a:cubicBezTo>
                      <a:cubicBezTo>
                        <a:pt x="18" y="220"/>
                        <a:pt x="42" y="257"/>
                        <a:pt x="55" y="269"/>
                      </a:cubicBezTo>
                      <a:cubicBezTo>
                        <a:pt x="67" y="281"/>
                        <a:pt x="91" y="306"/>
                        <a:pt x="100" y="302"/>
                      </a:cubicBezTo>
                      <a:cubicBezTo>
                        <a:pt x="108" y="298"/>
                        <a:pt x="122" y="202"/>
                        <a:pt x="180" y="260"/>
                      </a:cubicBezTo>
                      <a:cubicBezTo>
                        <a:pt x="238" y="318"/>
                        <a:pt x="140" y="330"/>
                        <a:pt x="138" y="341"/>
                      </a:cubicBezTo>
                      <a:cubicBezTo>
                        <a:pt x="136" y="351"/>
                        <a:pt x="159" y="373"/>
                        <a:pt x="171" y="386"/>
                      </a:cubicBezTo>
                      <a:cubicBezTo>
                        <a:pt x="183" y="398"/>
                        <a:pt x="220" y="422"/>
                        <a:pt x="220" y="422"/>
                      </a:cubicBezTo>
                      <a:lnTo>
                        <a:pt x="422" y="22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grpSp>
        </p:grpSp>
        <p:sp>
          <p:nvSpPr>
            <p:cNvPr id="80" name="Rectangle 152"/>
            <p:cNvSpPr/>
            <p:nvPr/>
          </p:nvSpPr>
          <p:spPr bwMode="auto">
            <a:xfrm>
              <a:off x="669652" y="2738277"/>
              <a:ext cx="1805162" cy="37532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2C812"/>
                  </a:solidFill>
                  <a:effectLst/>
                  <a:uLnTx/>
                  <a:uFillTx/>
                  <a:latin typeface="Segoe UI"/>
                  <a:ea typeface="+mn-ea"/>
                  <a:cs typeface="Segoe UI Light" panose="020B0502040204020203" pitchFamily="34" charset="0"/>
                </a:rPr>
                <a:t>Keeping Data Current</a:t>
              </a:r>
            </a:p>
          </p:txBody>
        </p:sp>
        <p:grpSp>
          <p:nvGrpSpPr>
            <p:cNvPr id="81" name="Group 80"/>
            <p:cNvGrpSpPr/>
            <p:nvPr/>
          </p:nvGrpSpPr>
          <p:grpSpPr>
            <a:xfrm>
              <a:off x="199649" y="2692629"/>
              <a:ext cx="433844" cy="433844"/>
              <a:chOff x="342620" y="2228265"/>
              <a:chExt cx="433844" cy="433844"/>
            </a:xfrm>
            <a:solidFill>
              <a:schemeClr val="bg1"/>
            </a:solidFill>
          </p:grpSpPr>
          <p:sp>
            <p:nvSpPr>
              <p:cNvPr id="96" name="Oval 154"/>
              <p:cNvSpPr/>
              <p:nvPr/>
            </p:nvSpPr>
            <p:spPr bwMode="auto">
              <a:xfrm>
                <a:off x="342620" y="2228265"/>
                <a:ext cx="433844" cy="433844"/>
              </a:xfrm>
              <a:prstGeom prst="ellipse">
                <a:avLst/>
              </a:prstGeom>
              <a:solidFill>
                <a:srgbClr val="FFC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7" name="Freeform 30"/>
              <p:cNvSpPr>
                <a:spLocks noEditPoints="1"/>
              </p:cNvSpPr>
              <p:nvPr/>
            </p:nvSpPr>
            <p:spPr bwMode="auto">
              <a:xfrm>
                <a:off x="444786" y="2340040"/>
                <a:ext cx="238402" cy="210293"/>
              </a:xfrm>
              <a:custGeom>
                <a:avLst/>
                <a:gdLst>
                  <a:gd name="T0" fmla="*/ 883 w 916"/>
                  <a:gd name="T1" fmla="*/ 286 h 808"/>
                  <a:gd name="T2" fmla="*/ 539 w 916"/>
                  <a:gd name="T3" fmla="*/ 723 h 808"/>
                  <a:gd name="T4" fmla="*/ 504 w 916"/>
                  <a:gd name="T5" fmla="*/ 0 h 808"/>
                  <a:gd name="T6" fmla="*/ 35 w 916"/>
                  <a:gd name="T7" fmla="*/ 723 h 808"/>
                  <a:gd name="T8" fmla="*/ 0 w 916"/>
                  <a:gd name="T9" fmla="*/ 808 h 808"/>
                  <a:gd name="T10" fmla="*/ 916 w 916"/>
                  <a:gd name="T11" fmla="*/ 723 h 808"/>
                  <a:gd name="T12" fmla="*/ 229 w 916"/>
                  <a:gd name="T13" fmla="*/ 665 h 808"/>
                  <a:gd name="T14" fmla="*/ 109 w 916"/>
                  <a:gd name="T15" fmla="*/ 596 h 808"/>
                  <a:gd name="T16" fmla="*/ 229 w 916"/>
                  <a:gd name="T17" fmla="*/ 665 h 808"/>
                  <a:gd name="T18" fmla="*/ 109 w 916"/>
                  <a:gd name="T19" fmla="*/ 501 h 808"/>
                  <a:gd name="T20" fmla="*/ 229 w 916"/>
                  <a:gd name="T21" fmla="*/ 432 h 808"/>
                  <a:gd name="T22" fmla="*/ 229 w 916"/>
                  <a:gd name="T23" fmla="*/ 337 h 808"/>
                  <a:gd name="T24" fmla="*/ 109 w 916"/>
                  <a:gd name="T25" fmla="*/ 267 h 808"/>
                  <a:gd name="T26" fmla="*/ 229 w 916"/>
                  <a:gd name="T27" fmla="*/ 337 h 808"/>
                  <a:gd name="T28" fmla="*/ 109 w 916"/>
                  <a:gd name="T29" fmla="*/ 172 h 808"/>
                  <a:gd name="T30" fmla="*/ 229 w 916"/>
                  <a:gd name="T31" fmla="*/ 103 h 808"/>
                  <a:gd name="T32" fmla="*/ 428 w 916"/>
                  <a:gd name="T33" fmla="*/ 665 h 808"/>
                  <a:gd name="T34" fmla="*/ 307 w 916"/>
                  <a:gd name="T35" fmla="*/ 596 h 808"/>
                  <a:gd name="T36" fmla="*/ 428 w 916"/>
                  <a:gd name="T37" fmla="*/ 665 h 808"/>
                  <a:gd name="T38" fmla="*/ 307 w 916"/>
                  <a:gd name="T39" fmla="*/ 501 h 808"/>
                  <a:gd name="T40" fmla="*/ 428 w 916"/>
                  <a:gd name="T41" fmla="*/ 432 h 808"/>
                  <a:gd name="T42" fmla="*/ 428 w 916"/>
                  <a:gd name="T43" fmla="*/ 337 h 808"/>
                  <a:gd name="T44" fmla="*/ 307 w 916"/>
                  <a:gd name="T45" fmla="*/ 267 h 808"/>
                  <a:gd name="T46" fmla="*/ 428 w 916"/>
                  <a:gd name="T47" fmla="*/ 337 h 808"/>
                  <a:gd name="T48" fmla="*/ 307 w 916"/>
                  <a:gd name="T49" fmla="*/ 172 h 808"/>
                  <a:gd name="T50" fmla="*/ 428 w 916"/>
                  <a:gd name="T51" fmla="*/ 103 h 808"/>
                  <a:gd name="T52" fmla="*/ 684 w 916"/>
                  <a:gd name="T53" fmla="*/ 668 h 808"/>
                  <a:gd name="T54" fmla="*/ 606 w 916"/>
                  <a:gd name="T55" fmla="*/ 549 h 808"/>
                  <a:gd name="T56" fmla="*/ 684 w 916"/>
                  <a:gd name="T57" fmla="*/ 668 h 808"/>
                  <a:gd name="T58" fmla="*/ 606 w 916"/>
                  <a:gd name="T59" fmla="*/ 482 h 808"/>
                  <a:gd name="T60" fmla="*/ 684 w 916"/>
                  <a:gd name="T61" fmla="*/ 365 h 808"/>
                  <a:gd name="T62" fmla="*/ 816 w 916"/>
                  <a:gd name="T63" fmla="*/ 668 h 808"/>
                  <a:gd name="T64" fmla="*/ 738 w 916"/>
                  <a:gd name="T65" fmla="*/ 549 h 808"/>
                  <a:gd name="T66" fmla="*/ 816 w 916"/>
                  <a:gd name="T67" fmla="*/ 668 h 808"/>
                  <a:gd name="T68" fmla="*/ 738 w 916"/>
                  <a:gd name="T69" fmla="*/ 482 h 808"/>
                  <a:gd name="T70" fmla="*/ 816 w 916"/>
                  <a:gd name="T71" fmla="*/ 365 h 8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16" h="808">
                    <a:moveTo>
                      <a:pt x="883" y="723"/>
                    </a:moveTo>
                    <a:lnTo>
                      <a:pt x="883" y="286"/>
                    </a:lnTo>
                    <a:lnTo>
                      <a:pt x="539" y="286"/>
                    </a:lnTo>
                    <a:lnTo>
                      <a:pt x="539" y="723"/>
                    </a:lnTo>
                    <a:lnTo>
                      <a:pt x="504" y="723"/>
                    </a:lnTo>
                    <a:lnTo>
                      <a:pt x="504" y="0"/>
                    </a:lnTo>
                    <a:lnTo>
                      <a:pt x="35" y="0"/>
                    </a:lnTo>
                    <a:lnTo>
                      <a:pt x="35" y="723"/>
                    </a:lnTo>
                    <a:lnTo>
                      <a:pt x="0" y="723"/>
                    </a:lnTo>
                    <a:lnTo>
                      <a:pt x="0" y="808"/>
                    </a:lnTo>
                    <a:lnTo>
                      <a:pt x="916" y="808"/>
                    </a:lnTo>
                    <a:lnTo>
                      <a:pt x="916" y="723"/>
                    </a:lnTo>
                    <a:lnTo>
                      <a:pt x="883" y="723"/>
                    </a:lnTo>
                    <a:close/>
                    <a:moveTo>
                      <a:pt x="229" y="665"/>
                    </a:moveTo>
                    <a:lnTo>
                      <a:pt x="109" y="665"/>
                    </a:lnTo>
                    <a:lnTo>
                      <a:pt x="109" y="596"/>
                    </a:lnTo>
                    <a:lnTo>
                      <a:pt x="229" y="596"/>
                    </a:lnTo>
                    <a:lnTo>
                      <a:pt x="229" y="665"/>
                    </a:lnTo>
                    <a:close/>
                    <a:moveTo>
                      <a:pt x="229" y="501"/>
                    </a:moveTo>
                    <a:lnTo>
                      <a:pt x="109" y="501"/>
                    </a:lnTo>
                    <a:lnTo>
                      <a:pt x="109" y="432"/>
                    </a:lnTo>
                    <a:lnTo>
                      <a:pt x="229" y="432"/>
                    </a:lnTo>
                    <a:lnTo>
                      <a:pt x="229" y="501"/>
                    </a:lnTo>
                    <a:close/>
                    <a:moveTo>
                      <a:pt x="229" y="337"/>
                    </a:moveTo>
                    <a:lnTo>
                      <a:pt x="109" y="337"/>
                    </a:lnTo>
                    <a:lnTo>
                      <a:pt x="109" y="267"/>
                    </a:lnTo>
                    <a:lnTo>
                      <a:pt x="229" y="267"/>
                    </a:lnTo>
                    <a:lnTo>
                      <a:pt x="229" y="337"/>
                    </a:lnTo>
                    <a:close/>
                    <a:moveTo>
                      <a:pt x="229" y="172"/>
                    </a:moveTo>
                    <a:lnTo>
                      <a:pt x="109" y="172"/>
                    </a:lnTo>
                    <a:lnTo>
                      <a:pt x="109" y="103"/>
                    </a:lnTo>
                    <a:lnTo>
                      <a:pt x="229" y="103"/>
                    </a:lnTo>
                    <a:lnTo>
                      <a:pt x="229" y="172"/>
                    </a:lnTo>
                    <a:close/>
                    <a:moveTo>
                      <a:pt x="428" y="665"/>
                    </a:moveTo>
                    <a:lnTo>
                      <a:pt x="307" y="665"/>
                    </a:lnTo>
                    <a:lnTo>
                      <a:pt x="307" y="596"/>
                    </a:lnTo>
                    <a:lnTo>
                      <a:pt x="428" y="596"/>
                    </a:lnTo>
                    <a:lnTo>
                      <a:pt x="428" y="665"/>
                    </a:lnTo>
                    <a:close/>
                    <a:moveTo>
                      <a:pt x="428" y="501"/>
                    </a:moveTo>
                    <a:lnTo>
                      <a:pt x="307" y="501"/>
                    </a:lnTo>
                    <a:lnTo>
                      <a:pt x="307" y="432"/>
                    </a:lnTo>
                    <a:lnTo>
                      <a:pt x="428" y="432"/>
                    </a:lnTo>
                    <a:lnTo>
                      <a:pt x="428" y="501"/>
                    </a:lnTo>
                    <a:close/>
                    <a:moveTo>
                      <a:pt x="428" y="337"/>
                    </a:moveTo>
                    <a:lnTo>
                      <a:pt x="307" y="337"/>
                    </a:lnTo>
                    <a:lnTo>
                      <a:pt x="307" y="267"/>
                    </a:lnTo>
                    <a:lnTo>
                      <a:pt x="428" y="267"/>
                    </a:lnTo>
                    <a:lnTo>
                      <a:pt x="428" y="337"/>
                    </a:lnTo>
                    <a:close/>
                    <a:moveTo>
                      <a:pt x="428" y="172"/>
                    </a:moveTo>
                    <a:lnTo>
                      <a:pt x="307" y="172"/>
                    </a:lnTo>
                    <a:lnTo>
                      <a:pt x="307" y="103"/>
                    </a:lnTo>
                    <a:lnTo>
                      <a:pt x="428" y="103"/>
                    </a:lnTo>
                    <a:lnTo>
                      <a:pt x="428" y="172"/>
                    </a:lnTo>
                    <a:close/>
                    <a:moveTo>
                      <a:pt x="684" y="668"/>
                    </a:moveTo>
                    <a:lnTo>
                      <a:pt x="606" y="668"/>
                    </a:lnTo>
                    <a:lnTo>
                      <a:pt x="606" y="549"/>
                    </a:lnTo>
                    <a:lnTo>
                      <a:pt x="684" y="549"/>
                    </a:lnTo>
                    <a:lnTo>
                      <a:pt x="684" y="668"/>
                    </a:lnTo>
                    <a:close/>
                    <a:moveTo>
                      <a:pt x="684" y="482"/>
                    </a:moveTo>
                    <a:lnTo>
                      <a:pt x="606" y="482"/>
                    </a:lnTo>
                    <a:lnTo>
                      <a:pt x="606" y="365"/>
                    </a:lnTo>
                    <a:lnTo>
                      <a:pt x="684" y="365"/>
                    </a:lnTo>
                    <a:lnTo>
                      <a:pt x="684" y="482"/>
                    </a:lnTo>
                    <a:close/>
                    <a:moveTo>
                      <a:pt x="816" y="668"/>
                    </a:moveTo>
                    <a:lnTo>
                      <a:pt x="738" y="668"/>
                    </a:lnTo>
                    <a:lnTo>
                      <a:pt x="738" y="549"/>
                    </a:lnTo>
                    <a:lnTo>
                      <a:pt x="816" y="549"/>
                    </a:lnTo>
                    <a:lnTo>
                      <a:pt x="816" y="668"/>
                    </a:lnTo>
                    <a:close/>
                    <a:moveTo>
                      <a:pt x="816" y="482"/>
                    </a:moveTo>
                    <a:lnTo>
                      <a:pt x="738" y="482"/>
                    </a:lnTo>
                    <a:lnTo>
                      <a:pt x="738" y="365"/>
                    </a:lnTo>
                    <a:lnTo>
                      <a:pt x="816" y="365"/>
                    </a:lnTo>
                    <a:lnTo>
                      <a:pt x="816" y="482"/>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grpSp>
        <p:sp>
          <p:nvSpPr>
            <p:cNvPr id="82" name="TextBox 81"/>
            <p:cNvSpPr txBox="1"/>
            <p:nvPr/>
          </p:nvSpPr>
          <p:spPr>
            <a:xfrm>
              <a:off x="83345" y="113808"/>
              <a:ext cx="2532630" cy="627864"/>
            </a:xfrm>
            <a:prstGeom prst="rect">
              <a:avLst/>
            </a:prstGeom>
            <a:noFill/>
          </p:spPr>
          <p:txBody>
            <a:bodyPr wrap="square" lIns="182880" tIns="146304" rIns="182880" bIns="146304" rtlCol="0">
              <a:spAutoFit/>
            </a:bodyPr>
            <a:lstStyle>
              <a:defPPr>
                <a:defRPr lang="en-US"/>
              </a:defPPr>
              <a:lvl1pPr>
                <a:lnSpc>
                  <a:spcPct val="90000"/>
                </a:lnSpc>
                <a:spcAft>
                  <a:spcPts val="600"/>
                </a:spcAft>
                <a:defRPr sz="2800" b="1">
                  <a:solidFill>
                    <a:srgbClr val="F2C812"/>
                  </a:solidFill>
                  <a:latin typeface="Segoe UI Light"/>
                </a:defRPr>
              </a:lvl1p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400" b="1" i="0" u="none" strike="noStrike" kern="1200" cap="none" spc="0" normalizeH="0" baseline="0" noProof="0">
                  <a:ln>
                    <a:noFill/>
                  </a:ln>
                  <a:solidFill>
                    <a:srgbClr val="F2C812"/>
                  </a:solidFill>
                  <a:effectLst/>
                  <a:uLnTx/>
                  <a:uFillTx/>
                  <a:latin typeface="Segoe UI Light"/>
                  <a:ea typeface="+mn-ea"/>
                  <a:cs typeface="+mn-cs"/>
                </a:rPr>
                <a:t>Power BI Service</a:t>
              </a:r>
              <a:endParaRPr kumimoji="0" lang="en-US" sz="2800" b="1" i="0" u="none" strike="noStrike" kern="1200" cap="none" spc="0" normalizeH="0" baseline="0" noProof="0">
                <a:ln>
                  <a:noFill/>
                </a:ln>
                <a:solidFill>
                  <a:srgbClr val="F2C812"/>
                </a:solidFill>
                <a:effectLst/>
                <a:uLnTx/>
                <a:uFillTx/>
                <a:latin typeface="Segoe UI Light"/>
                <a:ea typeface="+mn-ea"/>
                <a:cs typeface="+mn-cs"/>
              </a:endParaRPr>
            </a:p>
          </p:txBody>
        </p:sp>
        <p:grpSp>
          <p:nvGrpSpPr>
            <p:cNvPr id="83" name="Group 82"/>
            <p:cNvGrpSpPr/>
            <p:nvPr/>
          </p:nvGrpSpPr>
          <p:grpSpPr>
            <a:xfrm>
              <a:off x="219373" y="3621383"/>
              <a:ext cx="433844" cy="645668"/>
              <a:chOff x="280990" y="3358164"/>
              <a:chExt cx="433844" cy="645668"/>
            </a:xfrm>
          </p:grpSpPr>
          <p:sp>
            <p:nvSpPr>
              <p:cNvPr id="89" name="Oval 1083"/>
              <p:cNvSpPr/>
              <p:nvPr/>
            </p:nvSpPr>
            <p:spPr bwMode="auto">
              <a:xfrm>
                <a:off x="280990" y="3358164"/>
                <a:ext cx="433844" cy="433847"/>
              </a:xfrm>
              <a:prstGeom prst="ellipse">
                <a:avLst/>
              </a:prstGeom>
              <a:solidFill>
                <a:srgbClr val="F2C812"/>
              </a:solidFill>
              <a:ln>
                <a:solidFill>
                  <a:srgbClr val="FFCC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90" name="Group 379"/>
              <p:cNvGrpSpPr/>
              <p:nvPr/>
            </p:nvGrpSpPr>
            <p:grpSpPr>
              <a:xfrm>
                <a:off x="453702" y="3910852"/>
                <a:ext cx="175660" cy="92980"/>
                <a:chOff x="3895793" y="7466656"/>
                <a:chExt cx="785810" cy="415941"/>
              </a:xfrm>
              <a:solidFill>
                <a:srgbClr val="00BCF2"/>
              </a:solidFill>
            </p:grpSpPr>
            <p:sp>
              <p:nvSpPr>
                <p:cNvPr id="91" name="Freeform 132"/>
                <p:cNvSpPr>
                  <a:spLocks/>
                </p:cNvSpPr>
                <p:nvPr/>
              </p:nvSpPr>
              <p:spPr bwMode="auto">
                <a:xfrm>
                  <a:off x="4125979" y="7688918"/>
                  <a:ext cx="0" cy="6353"/>
                </a:xfrm>
                <a:custGeom>
                  <a:avLst/>
                  <a:gdLst>
                    <a:gd name="T0" fmla="*/ 1 w 1"/>
                    <a:gd name="T1" fmla="*/ 0 h 8"/>
                    <a:gd name="T2" fmla="*/ 0 w 1"/>
                    <a:gd name="T3" fmla="*/ 0 h 8"/>
                    <a:gd name="T4" fmla="*/ 1 w 1"/>
                    <a:gd name="T5" fmla="*/ 8 h 8"/>
                    <a:gd name="T6" fmla="*/ 1 w 1"/>
                    <a:gd name="T7" fmla="*/ 0 h 8"/>
                  </a:gdLst>
                  <a:ahLst/>
                  <a:cxnLst>
                    <a:cxn ang="0">
                      <a:pos x="T0" y="T1"/>
                    </a:cxn>
                    <a:cxn ang="0">
                      <a:pos x="T2" y="T3"/>
                    </a:cxn>
                    <a:cxn ang="0">
                      <a:pos x="T4" y="T5"/>
                    </a:cxn>
                    <a:cxn ang="0">
                      <a:pos x="T6" y="T7"/>
                    </a:cxn>
                  </a:cxnLst>
                  <a:rect l="0" t="0" r="r" b="b"/>
                  <a:pathLst>
                    <a:path w="1" h="8">
                      <a:moveTo>
                        <a:pt x="1" y="0"/>
                      </a:moveTo>
                      <a:cubicBezTo>
                        <a:pt x="0" y="0"/>
                        <a:pt x="0" y="0"/>
                        <a:pt x="0" y="0"/>
                      </a:cubicBezTo>
                      <a:cubicBezTo>
                        <a:pt x="0" y="3"/>
                        <a:pt x="1" y="5"/>
                        <a:pt x="1" y="8"/>
                      </a:cubicBezTo>
                      <a:lnTo>
                        <a:pt x="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92" name="Freeform 133"/>
                <p:cNvSpPr>
                  <a:spLocks/>
                </p:cNvSpPr>
                <p:nvPr/>
              </p:nvSpPr>
              <p:spPr bwMode="auto">
                <a:xfrm>
                  <a:off x="3895793" y="7812745"/>
                  <a:ext cx="219078" cy="69852"/>
                </a:xfrm>
                <a:custGeom>
                  <a:avLst/>
                  <a:gdLst>
                    <a:gd name="T0" fmla="*/ 186 w 238"/>
                    <a:gd name="T1" fmla="*/ 9 h 76"/>
                    <a:gd name="T2" fmla="*/ 131 w 238"/>
                    <a:gd name="T3" fmla="*/ 22 h 76"/>
                    <a:gd name="T4" fmla="*/ 60 w 238"/>
                    <a:gd name="T5" fmla="*/ 0 h 76"/>
                    <a:gd name="T6" fmla="*/ 0 w 238"/>
                    <a:gd name="T7" fmla="*/ 42 h 76"/>
                    <a:gd name="T8" fmla="*/ 0 w 238"/>
                    <a:gd name="T9" fmla="*/ 76 h 76"/>
                    <a:gd name="T10" fmla="*/ 238 w 238"/>
                    <a:gd name="T11" fmla="*/ 76 h 76"/>
                    <a:gd name="T12" fmla="*/ 236 w 238"/>
                    <a:gd name="T13" fmla="*/ 53 h 76"/>
                    <a:gd name="T14" fmla="*/ 236 w 238"/>
                    <a:gd name="T15" fmla="*/ 49 h 76"/>
                    <a:gd name="T16" fmla="*/ 186 w 238"/>
                    <a:gd name="T17" fmla="*/ 9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8" h="76">
                      <a:moveTo>
                        <a:pt x="186" y="9"/>
                      </a:moveTo>
                      <a:cubicBezTo>
                        <a:pt x="169" y="18"/>
                        <a:pt x="150" y="22"/>
                        <a:pt x="131" y="22"/>
                      </a:cubicBezTo>
                      <a:cubicBezTo>
                        <a:pt x="105" y="22"/>
                        <a:pt x="80" y="14"/>
                        <a:pt x="60" y="0"/>
                      </a:cubicBezTo>
                      <a:cubicBezTo>
                        <a:pt x="0" y="42"/>
                        <a:pt x="0" y="42"/>
                        <a:pt x="0" y="42"/>
                      </a:cubicBezTo>
                      <a:cubicBezTo>
                        <a:pt x="0" y="76"/>
                        <a:pt x="0" y="76"/>
                        <a:pt x="0" y="76"/>
                      </a:cubicBezTo>
                      <a:cubicBezTo>
                        <a:pt x="238" y="76"/>
                        <a:pt x="238" y="76"/>
                        <a:pt x="238" y="76"/>
                      </a:cubicBezTo>
                      <a:cubicBezTo>
                        <a:pt x="237" y="68"/>
                        <a:pt x="236" y="61"/>
                        <a:pt x="236" y="53"/>
                      </a:cubicBezTo>
                      <a:cubicBezTo>
                        <a:pt x="236" y="51"/>
                        <a:pt x="236" y="50"/>
                        <a:pt x="236" y="49"/>
                      </a:cubicBezTo>
                      <a:lnTo>
                        <a:pt x="186" y="9"/>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93" name="Freeform 137"/>
                <p:cNvSpPr>
                  <a:spLocks/>
                </p:cNvSpPr>
                <p:nvPr/>
              </p:nvSpPr>
              <p:spPr bwMode="auto">
                <a:xfrm>
                  <a:off x="4338704" y="7809561"/>
                  <a:ext cx="65090" cy="73028"/>
                </a:xfrm>
                <a:custGeom>
                  <a:avLst/>
                  <a:gdLst>
                    <a:gd name="T0" fmla="*/ 71 w 71"/>
                    <a:gd name="T1" fmla="*/ 79 h 79"/>
                    <a:gd name="T2" fmla="*/ 71 w 71"/>
                    <a:gd name="T3" fmla="*/ 0 h 79"/>
                    <a:gd name="T4" fmla="*/ 2 w 71"/>
                    <a:gd name="T5" fmla="*/ 53 h 79"/>
                    <a:gd name="T6" fmla="*/ 2 w 71"/>
                    <a:gd name="T7" fmla="*/ 56 h 79"/>
                    <a:gd name="T8" fmla="*/ 0 w 71"/>
                    <a:gd name="T9" fmla="*/ 79 h 79"/>
                    <a:gd name="T10" fmla="*/ 71 w 71"/>
                    <a:gd name="T11" fmla="*/ 79 h 79"/>
                  </a:gdLst>
                  <a:ahLst/>
                  <a:cxnLst>
                    <a:cxn ang="0">
                      <a:pos x="T0" y="T1"/>
                    </a:cxn>
                    <a:cxn ang="0">
                      <a:pos x="T2" y="T3"/>
                    </a:cxn>
                    <a:cxn ang="0">
                      <a:pos x="T4" y="T5"/>
                    </a:cxn>
                    <a:cxn ang="0">
                      <a:pos x="T6" y="T7"/>
                    </a:cxn>
                    <a:cxn ang="0">
                      <a:pos x="T8" y="T9"/>
                    </a:cxn>
                    <a:cxn ang="0">
                      <a:pos x="T10" y="T11"/>
                    </a:cxn>
                  </a:cxnLst>
                  <a:rect l="0" t="0" r="r" b="b"/>
                  <a:pathLst>
                    <a:path w="71" h="79">
                      <a:moveTo>
                        <a:pt x="71" y="79"/>
                      </a:moveTo>
                      <a:cubicBezTo>
                        <a:pt x="71" y="0"/>
                        <a:pt x="71" y="0"/>
                        <a:pt x="71" y="0"/>
                      </a:cubicBezTo>
                      <a:cubicBezTo>
                        <a:pt x="2" y="53"/>
                        <a:pt x="2" y="53"/>
                        <a:pt x="2" y="53"/>
                      </a:cubicBezTo>
                      <a:cubicBezTo>
                        <a:pt x="2" y="54"/>
                        <a:pt x="2" y="55"/>
                        <a:pt x="2" y="56"/>
                      </a:cubicBezTo>
                      <a:cubicBezTo>
                        <a:pt x="2" y="64"/>
                        <a:pt x="1" y="71"/>
                        <a:pt x="0" y="79"/>
                      </a:cubicBezTo>
                      <a:lnTo>
                        <a:pt x="71" y="79"/>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94" name="Freeform 140"/>
                <p:cNvSpPr>
                  <a:spLocks/>
                </p:cNvSpPr>
                <p:nvPr/>
              </p:nvSpPr>
              <p:spPr bwMode="auto">
                <a:xfrm>
                  <a:off x="4600643" y="7622229"/>
                  <a:ext cx="80960" cy="38099"/>
                </a:xfrm>
                <a:custGeom>
                  <a:avLst/>
                  <a:gdLst>
                    <a:gd name="T0" fmla="*/ 0 w 51"/>
                    <a:gd name="T1" fmla="*/ 24 h 24"/>
                    <a:gd name="T2" fmla="*/ 51 w 51"/>
                    <a:gd name="T3" fmla="*/ 24 h 24"/>
                    <a:gd name="T4" fmla="*/ 32 w 51"/>
                    <a:gd name="T5" fmla="*/ 0 h 24"/>
                    <a:gd name="T6" fmla="*/ 0 w 51"/>
                    <a:gd name="T7" fmla="*/ 24 h 24"/>
                  </a:gdLst>
                  <a:ahLst/>
                  <a:cxnLst>
                    <a:cxn ang="0">
                      <a:pos x="T0" y="T1"/>
                    </a:cxn>
                    <a:cxn ang="0">
                      <a:pos x="T2" y="T3"/>
                    </a:cxn>
                    <a:cxn ang="0">
                      <a:pos x="T4" y="T5"/>
                    </a:cxn>
                    <a:cxn ang="0">
                      <a:pos x="T6" y="T7"/>
                    </a:cxn>
                  </a:cxnLst>
                  <a:rect l="0" t="0" r="r" b="b"/>
                  <a:pathLst>
                    <a:path w="51" h="24">
                      <a:moveTo>
                        <a:pt x="0" y="24"/>
                      </a:moveTo>
                      <a:lnTo>
                        <a:pt x="51" y="24"/>
                      </a:lnTo>
                      <a:lnTo>
                        <a:pt x="32" y="0"/>
                      </a:lnTo>
                      <a:lnTo>
                        <a:pt x="0" y="24"/>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95" name="Freeform 141"/>
                <p:cNvSpPr>
                  <a:spLocks/>
                </p:cNvSpPr>
                <p:nvPr/>
              </p:nvSpPr>
              <p:spPr bwMode="auto">
                <a:xfrm>
                  <a:off x="4449825" y="7466656"/>
                  <a:ext cx="119065" cy="139703"/>
                </a:xfrm>
                <a:custGeom>
                  <a:avLst/>
                  <a:gdLst>
                    <a:gd name="T0" fmla="*/ 52 w 75"/>
                    <a:gd name="T1" fmla="*/ 0 h 88"/>
                    <a:gd name="T2" fmla="*/ 0 w 75"/>
                    <a:gd name="T3" fmla="*/ 0 h 88"/>
                    <a:gd name="T4" fmla="*/ 0 w 75"/>
                    <a:gd name="T5" fmla="*/ 88 h 88"/>
                    <a:gd name="T6" fmla="*/ 75 w 75"/>
                    <a:gd name="T7" fmla="*/ 30 h 88"/>
                    <a:gd name="T8" fmla="*/ 52 w 75"/>
                    <a:gd name="T9" fmla="*/ 0 h 88"/>
                  </a:gdLst>
                  <a:ahLst/>
                  <a:cxnLst>
                    <a:cxn ang="0">
                      <a:pos x="T0" y="T1"/>
                    </a:cxn>
                    <a:cxn ang="0">
                      <a:pos x="T2" y="T3"/>
                    </a:cxn>
                    <a:cxn ang="0">
                      <a:pos x="T4" y="T5"/>
                    </a:cxn>
                    <a:cxn ang="0">
                      <a:pos x="T6" y="T7"/>
                    </a:cxn>
                    <a:cxn ang="0">
                      <a:pos x="T8" y="T9"/>
                    </a:cxn>
                  </a:cxnLst>
                  <a:rect l="0" t="0" r="r" b="b"/>
                  <a:pathLst>
                    <a:path w="75" h="88">
                      <a:moveTo>
                        <a:pt x="52" y="0"/>
                      </a:moveTo>
                      <a:lnTo>
                        <a:pt x="0" y="0"/>
                      </a:lnTo>
                      <a:lnTo>
                        <a:pt x="0" y="88"/>
                      </a:lnTo>
                      <a:lnTo>
                        <a:pt x="75" y="30"/>
                      </a:lnTo>
                      <a:lnTo>
                        <a:pt x="52"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grpSp>
        </p:grpSp>
        <p:sp>
          <p:nvSpPr>
            <p:cNvPr id="84" name="Rectangle 152"/>
            <p:cNvSpPr/>
            <p:nvPr/>
          </p:nvSpPr>
          <p:spPr bwMode="auto">
            <a:xfrm>
              <a:off x="712458" y="3628917"/>
              <a:ext cx="1805162" cy="37532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2C812"/>
                  </a:solidFill>
                  <a:effectLst/>
                  <a:uLnTx/>
                  <a:uFillTx/>
                  <a:latin typeface="Segoe UI"/>
                  <a:ea typeface="+mn-ea"/>
                  <a:cs typeface="Segoe UI Light" panose="020B0502040204020203" pitchFamily="34" charset="0"/>
                </a:rPr>
                <a:t>Q&amp;A and </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2C812"/>
                  </a:solidFill>
                  <a:effectLst/>
                  <a:uLnTx/>
                  <a:uFillTx/>
                  <a:latin typeface="Segoe UI"/>
                  <a:ea typeface="+mn-ea"/>
                  <a:cs typeface="Segoe UI Light" panose="020B0502040204020203" pitchFamily="34" charset="0"/>
                </a:rPr>
                <a:t>Quick Insights</a:t>
              </a:r>
              <a:endParaRPr kumimoji="0" lang="en-US" sz="1200" b="1" i="0" u="none" strike="noStrike" kern="1200" cap="none" spc="0" normalizeH="0" baseline="0" noProof="0">
                <a:ln>
                  <a:noFill/>
                </a:ln>
                <a:solidFill>
                  <a:srgbClr val="F2C812"/>
                </a:solidFill>
                <a:effectLst/>
                <a:uLnTx/>
                <a:uFillTx/>
                <a:latin typeface="Segoe UI"/>
                <a:ea typeface="+mn-ea"/>
                <a:cs typeface="Segoe UI Light" panose="020B0502040204020203" pitchFamily="34" charset="0"/>
              </a:endParaRPr>
            </a:p>
          </p:txBody>
        </p:sp>
        <p:sp>
          <p:nvSpPr>
            <p:cNvPr id="85" name="Oval 162"/>
            <p:cNvSpPr/>
            <p:nvPr/>
          </p:nvSpPr>
          <p:spPr bwMode="auto">
            <a:xfrm>
              <a:off x="226619" y="4551712"/>
              <a:ext cx="433844" cy="433844"/>
            </a:xfrm>
            <a:prstGeom prst="ellipse">
              <a:avLst/>
            </a:prstGeom>
            <a:solidFill>
              <a:srgbClr val="F2C812"/>
            </a:solidFill>
            <a:ln>
              <a:solidFill>
                <a:srgbClr val="FFCC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6" name="Rectangle 152"/>
            <p:cNvSpPr/>
            <p:nvPr/>
          </p:nvSpPr>
          <p:spPr bwMode="auto">
            <a:xfrm>
              <a:off x="738443" y="4596194"/>
              <a:ext cx="1884825" cy="30233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2C812"/>
                  </a:solidFill>
                  <a:effectLst/>
                  <a:uLnTx/>
                  <a:uFillTx/>
                  <a:latin typeface="Segoe UI"/>
                  <a:ea typeface="+mn-ea"/>
                  <a:cs typeface="Segoe UI Light" panose="020B0502040204020203" pitchFamily="34" charset="0"/>
                </a:rPr>
                <a:t>Sharing</a:t>
              </a:r>
              <a:endParaRPr kumimoji="0" lang="en-US" sz="1200" b="1" i="1" u="none" strike="noStrike" kern="1200" cap="none" spc="0" normalizeH="0" baseline="0" noProof="0">
                <a:ln>
                  <a:noFill/>
                </a:ln>
                <a:solidFill>
                  <a:srgbClr val="F2C812"/>
                </a:solidFill>
                <a:effectLst/>
                <a:uLnTx/>
                <a:uFillTx/>
                <a:latin typeface="Segoe UI"/>
                <a:ea typeface="+mn-ea"/>
                <a:cs typeface="Segoe UI Light" panose="020B0502040204020203" pitchFamily="34" charset="0"/>
              </a:endParaRPr>
            </a:p>
          </p:txBody>
        </p:sp>
        <p:sp>
          <p:nvSpPr>
            <p:cNvPr id="87" name="Rectangle 145"/>
            <p:cNvSpPr/>
            <p:nvPr/>
          </p:nvSpPr>
          <p:spPr bwMode="auto">
            <a:xfrm>
              <a:off x="697198" y="1847637"/>
              <a:ext cx="1821468" cy="3831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2C812"/>
                  </a:solidFill>
                  <a:effectLst/>
                  <a:uLnTx/>
                  <a:uFillTx/>
                  <a:latin typeface="Segoe UI"/>
                  <a:ea typeface="+mn-ea"/>
                  <a:cs typeface="Segoe UI Light" panose="020B0502040204020203" pitchFamily="34" charset="0"/>
                </a:rPr>
                <a:t>Pinning and Navigation</a:t>
              </a:r>
            </a:p>
          </p:txBody>
        </p:sp>
        <p:sp>
          <p:nvSpPr>
            <p:cNvPr id="88" name="Oval 162"/>
            <p:cNvSpPr/>
            <p:nvPr/>
          </p:nvSpPr>
          <p:spPr bwMode="auto">
            <a:xfrm>
              <a:off x="224136" y="1813606"/>
              <a:ext cx="433844" cy="433844"/>
            </a:xfrm>
            <a:prstGeom prst="ellipse">
              <a:avLst/>
            </a:prstGeom>
            <a:solidFill>
              <a:srgbClr val="FFCC00"/>
            </a:solidFill>
            <a:ln>
              <a:solidFill>
                <a:srgbClr val="F2C81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pic>
        <p:nvPicPr>
          <p:cNvPr id="102" name="Picture 101"/>
          <p:cNvPicPr>
            <a:picLocks noChangeAspect="1"/>
          </p:cNvPicPr>
          <p:nvPr/>
        </p:nvPicPr>
        <p:blipFill rotWithShape="1">
          <a:blip r:embed="rId4"/>
          <a:srcRect l="6503" t="21287" r="74698" b="20220"/>
          <a:stretch/>
        </p:blipFill>
        <p:spPr>
          <a:xfrm>
            <a:off x="339111" y="1946110"/>
            <a:ext cx="228600" cy="231962"/>
          </a:xfrm>
          <a:prstGeom prst="rect">
            <a:avLst/>
          </a:prstGeom>
        </p:spPr>
      </p:pic>
      <p:pic>
        <p:nvPicPr>
          <p:cNvPr id="103" name="Picture 102"/>
          <p:cNvPicPr>
            <a:picLocks noChangeAspect="1"/>
          </p:cNvPicPr>
          <p:nvPr/>
        </p:nvPicPr>
        <p:blipFill>
          <a:blip r:embed="rId5"/>
          <a:stretch>
            <a:fillRect/>
          </a:stretch>
        </p:blipFill>
        <p:spPr>
          <a:xfrm>
            <a:off x="284769" y="3673076"/>
            <a:ext cx="311766" cy="303106"/>
          </a:xfrm>
          <a:prstGeom prst="rect">
            <a:avLst/>
          </a:prstGeom>
        </p:spPr>
      </p:pic>
      <p:sp>
        <p:nvSpPr>
          <p:cNvPr id="104" name="Rectangle 145"/>
          <p:cNvSpPr/>
          <p:nvPr/>
        </p:nvSpPr>
        <p:spPr bwMode="auto">
          <a:xfrm>
            <a:off x="718897" y="5436715"/>
            <a:ext cx="1821468" cy="3831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2C812"/>
                </a:solidFill>
                <a:effectLst/>
                <a:uLnTx/>
                <a:uFillTx/>
                <a:latin typeface="Segoe UI"/>
                <a:ea typeface="+mn-ea"/>
                <a:cs typeface="Segoe UI Light" panose="020B0502040204020203" pitchFamily="34" charset="0"/>
              </a:rPr>
              <a:t>Connect from Excel</a:t>
            </a:r>
          </a:p>
        </p:txBody>
      </p:sp>
      <p:sp>
        <p:nvSpPr>
          <p:cNvPr id="105" name="Oval 162"/>
          <p:cNvSpPr/>
          <p:nvPr/>
        </p:nvSpPr>
        <p:spPr bwMode="auto">
          <a:xfrm>
            <a:off x="231441" y="5429649"/>
            <a:ext cx="433844" cy="433844"/>
          </a:xfrm>
          <a:prstGeom prst="ellipse">
            <a:avLst/>
          </a:prstGeom>
          <a:solidFill>
            <a:srgbClr val="FFCC00"/>
          </a:solidFill>
          <a:ln>
            <a:solidFill>
              <a:srgbClr val="F2C81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06" name="Picture 105"/>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flipH="1">
            <a:off x="283763" y="4596680"/>
            <a:ext cx="357484" cy="357484"/>
          </a:xfrm>
          <a:prstGeom prst="rect">
            <a:avLst/>
          </a:prstGeom>
        </p:spPr>
      </p:pic>
      <p:sp>
        <p:nvSpPr>
          <p:cNvPr id="107" name="Oval 162"/>
          <p:cNvSpPr/>
          <p:nvPr/>
        </p:nvSpPr>
        <p:spPr bwMode="auto">
          <a:xfrm>
            <a:off x="233032" y="6267344"/>
            <a:ext cx="433844" cy="433844"/>
          </a:xfrm>
          <a:prstGeom prst="ellipse">
            <a:avLst/>
          </a:prstGeom>
          <a:solidFill>
            <a:srgbClr val="FFCC00"/>
          </a:solidFill>
          <a:ln>
            <a:solidFill>
              <a:srgbClr val="F2C81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8" name="Rectangle 145"/>
          <p:cNvSpPr/>
          <p:nvPr/>
        </p:nvSpPr>
        <p:spPr bwMode="auto">
          <a:xfrm>
            <a:off x="701416" y="6289969"/>
            <a:ext cx="1821468" cy="3831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2C812"/>
                </a:solidFill>
                <a:effectLst/>
                <a:uLnTx/>
                <a:uFillTx/>
                <a:latin typeface="Segoe UI"/>
                <a:ea typeface="+mn-ea"/>
                <a:cs typeface="Segoe UI Light" panose="020B0502040204020203" pitchFamily="34" charset="0"/>
              </a:rPr>
              <a:t>Mobile Reports</a:t>
            </a:r>
          </a:p>
        </p:txBody>
      </p:sp>
      <p:pic>
        <p:nvPicPr>
          <p:cNvPr id="109" name="Picture 108"/>
          <p:cNvPicPr>
            <a:picLocks noChangeAspect="1"/>
          </p:cNvPicPr>
          <p:nvPr/>
        </p:nvPicPr>
        <p:blipFill>
          <a:blip r:embed="rId7" cstate="print">
            <a:extLst>
              <a:ext uri="{BEBA8EAE-BF5A-486C-A8C5-ECC9F3942E4B}">
                <a14:imgProps xmlns:a14="http://schemas.microsoft.com/office/drawing/2010/main">
                  <a14:imgLayer r:embed="rId8">
                    <a14:imgEffect>
                      <a14:saturation sat="0"/>
                    </a14:imgEffect>
                  </a14:imgLayer>
                </a14:imgProps>
              </a:ext>
              <a:ext uri="{28A0092B-C50C-407E-A947-70E740481C1C}">
                <a14:useLocalDpi xmlns:a14="http://schemas.microsoft.com/office/drawing/2010/main" val="0"/>
              </a:ext>
            </a:extLst>
          </a:blip>
          <a:stretch>
            <a:fillRect/>
          </a:stretch>
        </p:blipFill>
        <p:spPr>
          <a:xfrm>
            <a:off x="391946" y="6350039"/>
            <a:ext cx="133350" cy="251587"/>
          </a:xfrm>
          <a:prstGeom prst="rect">
            <a:avLst/>
          </a:prstGeom>
        </p:spPr>
      </p:pic>
      <p:pic>
        <p:nvPicPr>
          <p:cNvPr id="110" name="Picture 109"/>
          <p:cNvPicPr>
            <a:picLocks noChangeAspect="1"/>
          </p:cNvPicPr>
          <p:nvPr/>
        </p:nvPicPr>
        <p:blipFill>
          <a:blip r:embed="rId9" cstate="print">
            <a:biLevel thresh="50000"/>
            <a:extLst>
              <a:ext uri="{28A0092B-C50C-407E-A947-70E740481C1C}">
                <a14:useLocalDpi xmlns:a14="http://schemas.microsoft.com/office/drawing/2010/main" val="0"/>
              </a:ext>
            </a:extLst>
          </a:blip>
          <a:stretch>
            <a:fillRect/>
          </a:stretch>
        </p:blipFill>
        <p:spPr>
          <a:xfrm>
            <a:off x="332658" y="5538489"/>
            <a:ext cx="268940" cy="268940"/>
          </a:xfrm>
          <a:prstGeom prst="rect">
            <a:avLst/>
          </a:prstGeom>
        </p:spPr>
      </p:pic>
      <p:sp>
        <p:nvSpPr>
          <p:cNvPr id="111" name="Rectangle 110"/>
          <p:cNvSpPr/>
          <p:nvPr/>
        </p:nvSpPr>
        <p:spPr bwMode="auto">
          <a:xfrm>
            <a:off x="35912" y="1550386"/>
            <a:ext cx="2464420" cy="5238040"/>
          </a:xfrm>
          <a:prstGeom prst="rect">
            <a:avLst/>
          </a:prstGeom>
          <a:solidFill>
            <a:srgbClr val="000000">
              <a:alpha val="6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5361244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 name="Title 10"/>
          <p:cNvSpPr txBox="1">
            <a:spLocks/>
          </p:cNvSpPr>
          <p:nvPr/>
        </p:nvSpPr>
        <p:spPr>
          <a:xfrm>
            <a:off x="2849060" y="0"/>
            <a:ext cx="9342940" cy="665151"/>
          </a:xfrm>
          <a:prstGeom prst="rect">
            <a:avLst/>
          </a:prstGeom>
          <a:noFill/>
        </p:spPr>
        <p:txBody>
          <a:bodyPr vert="horz" wrap="square" lIns="0" tIns="91440" rIns="0" bIns="91440" rtlCol="0" anchor="t">
            <a:noAutofit/>
          </a:bodyPr>
          <a:lstStyle>
            <a:lvl1pPr defTabSz="914367">
              <a:lnSpc>
                <a:spcPct val="90000"/>
              </a:lnSpc>
              <a:spcBef>
                <a:spcPct val="0"/>
              </a:spcBef>
              <a:buNone/>
              <a:defRPr lang="en-US" sz="5294" b="0" cap="none" spc="-100" baseline="0" dirty="0" smtClean="0">
                <a:ln w="3175">
                  <a:noFill/>
                </a:ln>
                <a:solidFill>
                  <a:schemeClr val="tx2"/>
                </a:solidFill>
                <a:effectLst/>
                <a:latin typeface="+mj-lt"/>
                <a:cs typeface="Segoe UI" pitchFamily="34" charset="0"/>
              </a:defRPr>
            </a:lvl1pPr>
          </a:lstStyle>
          <a:p>
            <a:pPr marL="168275" marR="0" lvl="0" indent="0" algn="l" defTabSz="914367" rtl="0" eaLnBrk="1" fontAlgn="auto" latinLnBrk="0" hangingPunct="1">
              <a:lnSpc>
                <a:spcPct val="90000"/>
              </a:lnSpc>
              <a:spcBef>
                <a:spcPct val="0"/>
              </a:spcBef>
              <a:spcAft>
                <a:spcPts val="0"/>
              </a:spcAft>
              <a:buClrTx/>
              <a:buSzTx/>
              <a:buFontTx/>
              <a:buNone/>
              <a:tabLst/>
              <a:defRPr/>
            </a:pPr>
            <a:r>
              <a:rPr kumimoji="0" lang="en-US" sz="3600" b="0" i="0" u="none" strike="noStrike" kern="1200" cap="none" spc="-100" normalizeH="0" baseline="0" noProof="0">
                <a:ln w="3175">
                  <a:noFill/>
                </a:ln>
                <a:solidFill>
                  <a:prstClr val="black"/>
                </a:solidFill>
                <a:effectLst/>
                <a:uLnTx/>
                <a:uFillTx/>
                <a:latin typeface="Segoe UI Light"/>
                <a:ea typeface="+mn-ea"/>
                <a:cs typeface="Segoe UI" pitchFamily="34" charset="0"/>
              </a:rPr>
              <a:t>Get Data</a:t>
            </a:r>
            <a:endParaRPr kumimoji="0" lang="en-IN" sz="3600" b="0" i="0" u="none" strike="noStrike" kern="1200" cap="none" spc="-100" normalizeH="0" baseline="0" noProof="0">
              <a:ln w="3175">
                <a:noFill/>
              </a:ln>
              <a:solidFill>
                <a:prstClr val="black"/>
              </a:solidFill>
              <a:effectLst/>
              <a:uLnTx/>
              <a:uFillTx/>
              <a:latin typeface="Segoe UI Light"/>
              <a:ea typeface="+mn-ea"/>
              <a:cs typeface="Segoe UI" pitchFamily="34" charset="0"/>
            </a:endParaRPr>
          </a:p>
        </p:txBody>
      </p:sp>
      <p:sp>
        <p:nvSpPr>
          <p:cNvPr id="40" name="Text Placeholder 2"/>
          <p:cNvSpPr txBox="1">
            <a:spLocks/>
          </p:cNvSpPr>
          <p:nvPr/>
        </p:nvSpPr>
        <p:spPr>
          <a:xfrm>
            <a:off x="2974910" y="1229476"/>
            <a:ext cx="8793020" cy="897374"/>
          </a:xfrm>
          <a:prstGeom prst="rect">
            <a:avLst/>
          </a:prstGeom>
        </p:spPr>
        <p:txBody>
          <a:bodyPr vert="horz" wrap="square" lIns="182880" tIns="146304" rIns="182880" bIns="146304" rtlCol="0">
            <a:noAutofit/>
          </a:bodyPr>
          <a:lstStyle>
            <a:lvl1pPr marL="182845" marR="0"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3921" kern="1200" spc="0" baseline="0">
                <a:gradFill>
                  <a:gsLst>
                    <a:gs pos="1250">
                      <a:schemeClr val="tx2"/>
                    </a:gs>
                    <a:gs pos="99000">
                      <a:schemeClr val="tx2"/>
                    </a:gs>
                  </a:gsLst>
                  <a:lin ang="5400000" scaled="0"/>
                </a:gradFill>
                <a:latin typeface="+mj-lt"/>
                <a:ea typeface="+mn-ea"/>
                <a:cs typeface="+mn-cs"/>
              </a:defRPr>
            </a:lvl1pPr>
            <a:lvl2pPr marL="365690" marR="0"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2400" kern="1200" spc="0" baseline="0">
                <a:solidFill>
                  <a:schemeClr val="tx2"/>
                </a:solidFill>
                <a:latin typeface="+mj-lt"/>
                <a:ea typeface="+mn-ea"/>
                <a:cs typeface="+mn-cs"/>
              </a:defRPr>
            </a:lvl2pPr>
            <a:lvl3pPr marL="548535" marR="0"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2000" kern="1200" spc="0" baseline="0">
                <a:solidFill>
                  <a:schemeClr val="tx2"/>
                </a:solidFill>
                <a:latin typeface="+mj-lt"/>
                <a:ea typeface="+mn-ea"/>
                <a:cs typeface="+mn-cs"/>
              </a:defRPr>
            </a:lvl3pPr>
            <a:lvl4pPr marL="733802" marR="0" indent="-28569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1765" kern="1200" spc="0" baseline="0">
                <a:solidFill>
                  <a:schemeClr val="tx2"/>
                </a:solidFill>
                <a:latin typeface="+mn-lt"/>
                <a:ea typeface="+mn-ea"/>
                <a:cs typeface="+mn-cs"/>
              </a:defRPr>
            </a:lvl4pPr>
            <a:lvl5pPr marL="957856" marR="0" indent="-28569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1765" kern="1200" spc="0" baseline="0">
                <a:solidFill>
                  <a:schemeClr val="tx2"/>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r>
              <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rPr>
              <a:t>When you connect to Excel, there are two options</a:t>
            </a: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1"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1"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1"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1"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1"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1"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1"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1"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1"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r>
              <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rPr>
              <a:t>The </a:t>
            </a:r>
            <a:r>
              <a:rPr kumimoji="0" lang="en-US" sz="2000" b="1"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rPr>
              <a:t>first expects a Data Model </a:t>
            </a:r>
            <a:r>
              <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rPr>
              <a:t>in the file</a:t>
            </a: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r>
              <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rPr>
              <a:t>The </a:t>
            </a:r>
            <a:r>
              <a:rPr kumimoji="0" lang="en-US" sz="2000" b="1"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rPr>
              <a:t>second </a:t>
            </a:r>
            <a:r>
              <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rPr>
              <a:t>will allow you to </a:t>
            </a:r>
            <a:r>
              <a:rPr kumimoji="0" lang="en-US" sz="2000" b="1"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rPr>
              <a:t>see the Excel file inside of Power BI </a:t>
            </a:r>
            <a:r>
              <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rPr>
              <a:t>and even </a:t>
            </a:r>
            <a:r>
              <a:rPr kumimoji="0" lang="en-US" sz="2000" b="1"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rPr>
              <a:t>edit it </a:t>
            </a:r>
            <a:r>
              <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rPr>
              <a:t>and use </a:t>
            </a:r>
            <a:r>
              <a:rPr kumimoji="0" lang="en-US" sz="2000" b="1"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rPr>
              <a:t>parts of it for dashboards </a:t>
            </a:r>
            <a:r>
              <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rPr>
              <a:t>(OD4B or Sharepoint, only)</a:t>
            </a: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r>
              <a:rPr kumimoji="0" lang="en-US" sz="2000" b="1"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rPr>
              <a:t>Updates will reflect automatically in Power BI (~1h) (for Excel and Desktop)</a:t>
            </a: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1"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1"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1"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1"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1"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1"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1"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p:txBody>
      </p:sp>
      <p:sp>
        <p:nvSpPr>
          <p:cNvPr id="41" name="Rectangle 3"/>
          <p:cNvSpPr/>
          <p:nvPr/>
        </p:nvSpPr>
        <p:spPr bwMode="auto">
          <a:xfrm>
            <a:off x="3202216" y="665151"/>
            <a:ext cx="8105312" cy="44435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PT" sz="2000" b="0" i="1" u="none" strike="noStrike" kern="1200" cap="none" spc="0" normalizeH="0" baseline="0" noProof="0">
                <a:ln>
                  <a:noFill/>
                </a:ln>
                <a:solidFill>
                  <a:prstClr val="black"/>
                </a:solidFill>
                <a:effectLst/>
                <a:uLnTx/>
                <a:uFillTx/>
                <a:latin typeface="Segoe UI Light"/>
                <a:ea typeface="+mn-ea"/>
                <a:cs typeface="+mn-cs"/>
              </a:rPr>
              <a:t>Import or Connect to Data - Files</a:t>
            </a:r>
            <a:endParaRPr kumimoji="0" lang="en-US" sz="2000" b="0" i="1" u="none" strike="noStrike" kern="1200" cap="none" spc="0" normalizeH="0" baseline="0" noProof="0">
              <a:ln>
                <a:noFill/>
              </a:ln>
              <a:solidFill>
                <a:prstClr val="black"/>
              </a:solidFill>
              <a:effectLst/>
              <a:uLnTx/>
              <a:uFillTx/>
              <a:latin typeface="Segoe UI Light"/>
              <a:ea typeface="+mn-ea"/>
              <a:cs typeface="+mn-cs"/>
            </a:endParaRPr>
          </a:p>
        </p:txBody>
      </p:sp>
      <p:pic>
        <p:nvPicPr>
          <p:cNvPr id="2" name="Picture 1"/>
          <p:cNvPicPr>
            <a:picLocks noChangeAspect="1"/>
          </p:cNvPicPr>
          <p:nvPr/>
        </p:nvPicPr>
        <p:blipFill>
          <a:blip r:embed="rId3"/>
          <a:stretch>
            <a:fillRect/>
          </a:stretch>
        </p:blipFill>
        <p:spPr>
          <a:xfrm>
            <a:off x="3549832" y="2004319"/>
            <a:ext cx="7757696" cy="2390589"/>
          </a:xfrm>
          <a:prstGeom prst="rect">
            <a:avLst/>
          </a:prstGeom>
          <a:ln>
            <a:noFill/>
          </a:ln>
          <a:effectLst>
            <a:outerShdw blurRad="190500" algn="tl" rotWithShape="0">
              <a:srgbClr val="000000">
                <a:alpha val="70000"/>
              </a:srgbClr>
            </a:outerShdw>
          </a:effectLst>
        </p:spPr>
      </p:pic>
      <p:grpSp>
        <p:nvGrpSpPr>
          <p:cNvPr id="39" name="Group 38"/>
          <p:cNvGrpSpPr/>
          <p:nvPr/>
        </p:nvGrpSpPr>
        <p:grpSpPr>
          <a:xfrm>
            <a:off x="-2887" y="973"/>
            <a:ext cx="2849058" cy="6857027"/>
            <a:chOff x="2" y="487"/>
            <a:chExt cx="2849058" cy="6857027"/>
          </a:xfrm>
        </p:grpSpPr>
        <p:sp>
          <p:nvSpPr>
            <p:cNvPr id="42" name="Rectangle 15"/>
            <p:cNvSpPr/>
            <p:nvPr/>
          </p:nvSpPr>
          <p:spPr bwMode="auto">
            <a:xfrm>
              <a:off x="2" y="487"/>
              <a:ext cx="2849058" cy="685702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3" name="Rectangle 145"/>
            <p:cNvSpPr/>
            <p:nvPr/>
          </p:nvSpPr>
          <p:spPr bwMode="auto">
            <a:xfrm>
              <a:off x="696152" y="956997"/>
              <a:ext cx="1821468" cy="3831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2C812"/>
                  </a:solidFill>
                  <a:effectLst/>
                  <a:uLnTx/>
                  <a:uFillTx/>
                  <a:latin typeface="Segoe UI"/>
                  <a:ea typeface="+mn-ea"/>
                  <a:cs typeface="Segoe UI Light" panose="020B0502040204020203" pitchFamily="34" charset="0"/>
                </a:rPr>
                <a:t>Get Data</a:t>
              </a:r>
              <a:endParaRPr kumimoji="0" lang="en-US" sz="1200" b="1" i="1" u="none" strike="noStrike" kern="1200" cap="none" spc="0" normalizeH="0" baseline="0" noProof="0">
                <a:ln>
                  <a:noFill/>
                </a:ln>
                <a:solidFill>
                  <a:srgbClr val="F2C812"/>
                </a:solidFill>
                <a:effectLst/>
                <a:uLnTx/>
                <a:uFillTx/>
                <a:latin typeface="Segoe UI"/>
                <a:ea typeface="+mn-ea"/>
                <a:cs typeface="Segoe UI Light" panose="020B0502040204020203" pitchFamily="34" charset="0"/>
              </a:endParaRPr>
            </a:p>
          </p:txBody>
        </p:sp>
        <p:grpSp>
          <p:nvGrpSpPr>
            <p:cNvPr id="44" name="Group 43"/>
            <p:cNvGrpSpPr/>
            <p:nvPr/>
          </p:nvGrpSpPr>
          <p:grpSpPr>
            <a:xfrm>
              <a:off x="219373" y="934583"/>
              <a:ext cx="433844" cy="433844"/>
              <a:chOff x="440005" y="997815"/>
              <a:chExt cx="296322" cy="296322"/>
            </a:xfrm>
          </p:grpSpPr>
          <p:sp>
            <p:nvSpPr>
              <p:cNvPr id="97" name="Oval 147"/>
              <p:cNvSpPr/>
              <p:nvPr/>
            </p:nvSpPr>
            <p:spPr bwMode="auto">
              <a:xfrm>
                <a:off x="440005" y="997815"/>
                <a:ext cx="296322" cy="296322"/>
              </a:xfrm>
              <a:prstGeom prst="ellipse">
                <a:avLst/>
              </a:prstGeom>
              <a:solidFill>
                <a:srgbClr val="FFCC00"/>
              </a:solidFill>
              <a:ln>
                <a:solidFill>
                  <a:srgbClr val="F2C81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98" name="Group 332"/>
              <p:cNvGrpSpPr/>
              <p:nvPr/>
            </p:nvGrpSpPr>
            <p:grpSpPr>
              <a:xfrm>
                <a:off x="482167" y="1059311"/>
                <a:ext cx="211997" cy="173292"/>
                <a:chOff x="2123129" y="293070"/>
                <a:chExt cx="2472585" cy="2021178"/>
              </a:xfrm>
            </p:grpSpPr>
            <p:sp>
              <p:nvSpPr>
                <p:cNvPr id="99" name="Freeform 13"/>
                <p:cNvSpPr>
                  <a:spLocks/>
                </p:cNvSpPr>
                <p:nvPr/>
              </p:nvSpPr>
              <p:spPr bwMode="auto">
                <a:xfrm rot="20700000">
                  <a:off x="3155853" y="872796"/>
                  <a:ext cx="1439861" cy="1441452"/>
                </a:xfrm>
                <a:custGeom>
                  <a:avLst/>
                  <a:gdLst>
                    <a:gd name="T0" fmla="*/ 138 w 441"/>
                    <a:gd name="T1" fmla="*/ 341 h 441"/>
                    <a:gd name="T2" fmla="*/ 183 w 441"/>
                    <a:gd name="T3" fmla="*/ 374 h 441"/>
                    <a:gd name="T4" fmla="*/ 220 w 441"/>
                    <a:gd name="T5" fmla="*/ 423 h 441"/>
                    <a:gd name="T6" fmla="*/ 422 w 441"/>
                    <a:gd name="T7" fmla="*/ 220 h 441"/>
                    <a:gd name="T8" fmla="*/ 373 w 441"/>
                    <a:gd name="T9" fmla="*/ 184 h 441"/>
                    <a:gd name="T10" fmla="*/ 341 w 441"/>
                    <a:gd name="T11" fmla="*/ 139 h 441"/>
                    <a:gd name="T12" fmla="*/ 382 w 441"/>
                    <a:gd name="T13" fmla="*/ 58 h 441"/>
                    <a:gd name="T14" fmla="*/ 302 w 441"/>
                    <a:gd name="T15" fmla="*/ 100 h 441"/>
                    <a:gd name="T16" fmla="*/ 257 w 441"/>
                    <a:gd name="T17" fmla="*/ 67 h 441"/>
                    <a:gd name="T18" fmla="*/ 220 w 441"/>
                    <a:gd name="T19" fmla="*/ 18 h 441"/>
                    <a:gd name="T20" fmla="*/ 171 w 441"/>
                    <a:gd name="T21" fmla="*/ 55 h 441"/>
                    <a:gd name="T22" fmla="*/ 138 w 441"/>
                    <a:gd name="T23" fmla="*/ 100 h 441"/>
                    <a:gd name="T24" fmla="*/ 180 w 441"/>
                    <a:gd name="T25" fmla="*/ 181 h 441"/>
                    <a:gd name="T26" fmla="*/ 100 w 441"/>
                    <a:gd name="T27" fmla="*/ 139 h 441"/>
                    <a:gd name="T28" fmla="*/ 55 w 441"/>
                    <a:gd name="T29" fmla="*/ 171 h 441"/>
                    <a:gd name="T30" fmla="*/ 18 w 441"/>
                    <a:gd name="T31" fmla="*/ 220 h 441"/>
                    <a:gd name="T32" fmla="*/ 67 w 441"/>
                    <a:gd name="T33" fmla="*/ 257 h 441"/>
                    <a:gd name="T34" fmla="*/ 100 w 441"/>
                    <a:gd name="T35" fmla="*/ 302 h 441"/>
                    <a:gd name="T36" fmla="*/ 58 w 441"/>
                    <a:gd name="T37" fmla="*/ 383 h 441"/>
                    <a:gd name="T38" fmla="*/ 138 w 441"/>
                    <a:gd name="T39" fmla="*/ 341 h 4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41" h="441">
                      <a:moveTo>
                        <a:pt x="138" y="341"/>
                      </a:moveTo>
                      <a:cubicBezTo>
                        <a:pt x="147" y="337"/>
                        <a:pt x="171" y="361"/>
                        <a:pt x="183" y="374"/>
                      </a:cubicBezTo>
                      <a:cubicBezTo>
                        <a:pt x="196" y="386"/>
                        <a:pt x="220" y="423"/>
                        <a:pt x="220" y="423"/>
                      </a:cubicBezTo>
                      <a:cubicBezTo>
                        <a:pt x="422" y="220"/>
                        <a:pt x="422" y="220"/>
                        <a:pt x="422" y="220"/>
                      </a:cubicBezTo>
                      <a:cubicBezTo>
                        <a:pt x="422" y="220"/>
                        <a:pt x="386" y="196"/>
                        <a:pt x="373" y="184"/>
                      </a:cubicBezTo>
                      <a:cubicBezTo>
                        <a:pt x="361" y="171"/>
                        <a:pt x="338" y="149"/>
                        <a:pt x="341" y="139"/>
                      </a:cubicBezTo>
                      <a:cubicBezTo>
                        <a:pt x="343" y="129"/>
                        <a:pt x="441" y="116"/>
                        <a:pt x="382" y="58"/>
                      </a:cubicBezTo>
                      <a:cubicBezTo>
                        <a:pt x="324" y="0"/>
                        <a:pt x="310" y="96"/>
                        <a:pt x="302" y="100"/>
                      </a:cubicBezTo>
                      <a:cubicBezTo>
                        <a:pt x="294" y="104"/>
                        <a:pt x="269" y="80"/>
                        <a:pt x="257" y="67"/>
                      </a:cubicBezTo>
                      <a:cubicBezTo>
                        <a:pt x="245" y="55"/>
                        <a:pt x="220" y="18"/>
                        <a:pt x="220" y="18"/>
                      </a:cubicBezTo>
                      <a:cubicBezTo>
                        <a:pt x="220" y="18"/>
                        <a:pt x="183" y="43"/>
                        <a:pt x="171" y="55"/>
                      </a:cubicBezTo>
                      <a:cubicBezTo>
                        <a:pt x="159" y="67"/>
                        <a:pt x="134" y="92"/>
                        <a:pt x="138" y="100"/>
                      </a:cubicBezTo>
                      <a:cubicBezTo>
                        <a:pt x="142" y="108"/>
                        <a:pt x="238" y="122"/>
                        <a:pt x="180" y="181"/>
                      </a:cubicBezTo>
                      <a:cubicBezTo>
                        <a:pt x="122" y="239"/>
                        <a:pt x="110" y="141"/>
                        <a:pt x="100" y="139"/>
                      </a:cubicBezTo>
                      <a:cubicBezTo>
                        <a:pt x="89" y="137"/>
                        <a:pt x="67" y="159"/>
                        <a:pt x="55" y="171"/>
                      </a:cubicBezTo>
                      <a:cubicBezTo>
                        <a:pt x="42" y="184"/>
                        <a:pt x="18" y="220"/>
                        <a:pt x="18" y="220"/>
                      </a:cubicBezTo>
                      <a:cubicBezTo>
                        <a:pt x="18" y="220"/>
                        <a:pt x="55" y="245"/>
                        <a:pt x="67" y="257"/>
                      </a:cubicBezTo>
                      <a:cubicBezTo>
                        <a:pt x="79" y="269"/>
                        <a:pt x="102" y="292"/>
                        <a:pt x="100" y="302"/>
                      </a:cubicBezTo>
                      <a:cubicBezTo>
                        <a:pt x="98" y="312"/>
                        <a:pt x="0" y="325"/>
                        <a:pt x="58" y="383"/>
                      </a:cubicBezTo>
                      <a:cubicBezTo>
                        <a:pt x="116" y="441"/>
                        <a:pt x="130" y="345"/>
                        <a:pt x="138" y="341"/>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100" name="Freeform 14"/>
                <p:cNvSpPr>
                  <a:spLocks/>
                </p:cNvSpPr>
                <p:nvPr/>
              </p:nvSpPr>
              <p:spPr bwMode="auto">
                <a:xfrm rot="9900000">
                  <a:off x="2123129" y="293070"/>
                  <a:ext cx="1377948" cy="1377947"/>
                </a:xfrm>
                <a:custGeom>
                  <a:avLst/>
                  <a:gdLst>
                    <a:gd name="T0" fmla="*/ 422 w 422"/>
                    <a:gd name="T1" fmla="*/ 220 h 422"/>
                    <a:gd name="T2" fmla="*/ 386 w 422"/>
                    <a:gd name="T3" fmla="*/ 171 h 422"/>
                    <a:gd name="T4" fmla="*/ 341 w 422"/>
                    <a:gd name="T5" fmla="*/ 138 h 422"/>
                    <a:gd name="T6" fmla="*/ 260 w 422"/>
                    <a:gd name="T7" fmla="*/ 180 h 422"/>
                    <a:gd name="T8" fmla="*/ 302 w 422"/>
                    <a:gd name="T9" fmla="*/ 100 h 422"/>
                    <a:gd name="T10" fmla="*/ 269 w 422"/>
                    <a:gd name="T11" fmla="*/ 55 h 422"/>
                    <a:gd name="T12" fmla="*/ 220 w 422"/>
                    <a:gd name="T13" fmla="*/ 18 h 422"/>
                    <a:gd name="T14" fmla="*/ 183 w 422"/>
                    <a:gd name="T15" fmla="*/ 67 h 422"/>
                    <a:gd name="T16" fmla="*/ 138 w 422"/>
                    <a:gd name="T17" fmla="*/ 100 h 422"/>
                    <a:gd name="T18" fmla="*/ 58 w 422"/>
                    <a:gd name="T19" fmla="*/ 58 h 422"/>
                    <a:gd name="T20" fmla="*/ 100 w 422"/>
                    <a:gd name="T21" fmla="*/ 138 h 422"/>
                    <a:gd name="T22" fmla="*/ 67 w 422"/>
                    <a:gd name="T23" fmla="*/ 183 h 422"/>
                    <a:gd name="T24" fmla="*/ 18 w 422"/>
                    <a:gd name="T25" fmla="*/ 220 h 422"/>
                    <a:gd name="T26" fmla="*/ 55 w 422"/>
                    <a:gd name="T27" fmla="*/ 269 h 422"/>
                    <a:gd name="T28" fmla="*/ 100 w 422"/>
                    <a:gd name="T29" fmla="*/ 302 h 422"/>
                    <a:gd name="T30" fmla="*/ 180 w 422"/>
                    <a:gd name="T31" fmla="*/ 260 h 422"/>
                    <a:gd name="T32" fmla="*/ 138 w 422"/>
                    <a:gd name="T33" fmla="*/ 341 h 422"/>
                    <a:gd name="T34" fmla="*/ 171 w 422"/>
                    <a:gd name="T35" fmla="*/ 386 h 422"/>
                    <a:gd name="T36" fmla="*/ 220 w 422"/>
                    <a:gd name="T37" fmla="*/ 422 h 422"/>
                    <a:gd name="T38" fmla="*/ 422 w 422"/>
                    <a:gd name="T39" fmla="*/ 220 h 4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22" h="422">
                      <a:moveTo>
                        <a:pt x="422" y="220"/>
                      </a:moveTo>
                      <a:cubicBezTo>
                        <a:pt x="422" y="220"/>
                        <a:pt x="398" y="183"/>
                        <a:pt x="386" y="171"/>
                      </a:cubicBezTo>
                      <a:cubicBezTo>
                        <a:pt x="373" y="159"/>
                        <a:pt x="349" y="134"/>
                        <a:pt x="341" y="138"/>
                      </a:cubicBezTo>
                      <a:cubicBezTo>
                        <a:pt x="332" y="142"/>
                        <a:pt x="318" y="239"/>
                        <a:pt x="260" y="180"/>
                      </a:cubicBezTo>
                      <a:cubicBezTo>
                        <a:pt x="202" y="122"/>
                        <a:pt x="300" y="110"/>
                        <a:pt x="302" y="100"/>
                      </a:cubicBezTo>
                      <a:cubicBezTo>
                        <a:pt x="304" y="90"/>
                        <a:pt x="281" y="67"/>
                        <a:pt x="269" y="55"/>
                      </a:cubicBezTo>
                      <a:cubicBezTo>
                        <a:pt x="257" y="42"/>
                        <a:pt x="220" y="18"/>
                        <a:pt x="220" y="18"/>
                      </a:cubicBezTo>
                      <a:cubicBezTo>
                        <a:pt x="220" y="18"/>
                        <a:pt x="196" y="55"/>
                        <a:pt x="183" y="67"/>
                      </a:cubicBezTo>
                      <a:cubicBezTo>
                        <a:pt x="171" y="79"/>
                        <a:pt x="149" y="102"/>
                        <a:pt x="138" y="100"/>
                      </a:cubicBezTo>
                      <a:cubicBezTo>
                        <a:pt x="128" y="98"/>
                        <a:pt x="116" y="0"/>
                        <a:pt x="58" y="58"/>
                      </a:cubicBezTo>
                      <a:cubicBezTo>
                        <a:pt x="0" y="116"/>
                        <a:pt x="96" y="130"/>
                        <a:pt x="100" y="138"/>
                      </a:cubicBezTo>
                      <a:cubicBezTo>
                        <a:pt x="104" y="147"/>
                        <a:pt x="79" y="171"/>
                        <a:pt x="67" y="183"/>
                      </a:cubicBezTo>
                      <a:cubicBezTo>
                        <a:pt x="55" y="196"/>
                        <a:pt x="18" y="220"/>
                        <a:pt x="18" y="220"/>
                      </a:cubicBezTo>
                      <a:cubicBezTo>
                        <a:pt x="18" y="220"/>
                        <a:pt x="42" y="257"/>
                        <a:pt x="55" y="269"/>
                      </a:cubicBezTo>
                      <a:cubicBezTo>
                        <a:pt x="67" y="281"/>
                        <a:pt x="91" y="306"/>
                        <a:pt x="100" y="302"/>
                      </a:cubicBezTo>
                      <a:cubicBezTo>
                        <a:pt x="108" y="298"/>
                        <a:pt x="122" y="202"/>
                        <a:pt x="180" y="260"/>
                      </a:cubicBezTo>
                      <a:cubicBezTo>
                        <a:pt x="238" y="318"/>
                        <a:pt x="140" y="330"/>
                        <a:pt x="138" y="341"/>
                      </a:cubicBezTo>
                      <a:cubicBezTo>
                        <a:pt x="136" y="351"/>
                        <a:pt x="159" y="373"/>
                        <a:pt x="171" y="386"/>
                      </a:cubicBezTo>
                      <a:cubicBezTo>
                        <a:pt x="183" y="398"/>
                        <a:pt x="220" y="422"/>
                        <a:pt x="220" y="422"/>
                      </a:cubicBezTo>
                      <a:lnTo>
                        <a:pt x="422" y="22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grpSp>
        </p:grpSp>
        <p:sp>
          <p:nvSpPr>
            <p:cNvPr id="51" name="Rectangle 152"/>
            <p:cNvSpPr/>
            <p:nvPr/>
          </p:nvSpPr>
          <p:spPr bwMode="auto">
            <a:xfrm>
              <a:off x="669652" y="2738277"/>
              <a:ext cx="1805162" cy="37532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2C812"/>
                  </a:solidFill>
                  <a:effectLst/>
                  <a:uLnTx/>
                  <a:uFillTx/>
                  <a:latin typeface="Segoe UI"/>
                  <a:ea typeface="+mn-ea"/>
                  <a:cs typeface="Segoe UI Light" panose="020B0502040204020203" pitchFamily="34" charset="0"/>
                </a:rPr>
                <a:t>Keeping Data Current</a:t>
              </a:r>
            </a:p>
          </p:txBody>
        </p:sp>
        <p:grpSp>
          <p:nvGrpSpPr>
            <p:cNvPr id="80" name="Group 79"/>
            <p:cNvGrpSpPr/>
            <p:nvPr/>
          </p:nvGrpSpPr>
          <p:grpSpPr>
            <a:xfrm>
              <a:off x="199649" y="2692629"/>
              <a:ext cx="433844" cy="433844"/>
              <a:chOff x="342620" y="2228265"/>
              <a:chExt cx="433844" cy="433844"/>
            </a:xfrm>
            <a:solidFill>
              <a:schemeClr val="bg1"/>
            </a:solidFill>
          </p:grpSpPr>
          <p:sp>
            <p:nvSpPr>
              <p:cNvPr id="95" name="Oval 154"/>
              <p:cNvSpPr/>
              <p:nvPr/>
            </p:nvSpPr>
            <p:spPr bwMode="auto">
              <a:xfrm>
                <a:off x="342620" y="2228265"/>
                <a:ext cx="433844" cy="433844"/>
              </a:xfrm>
              <a:prstGeom prst="ellipse">
                <a:avLst/>
              </a:prstGeom>
              <a:solidFill>
                <a:srgbClr val="FFC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6" name="Freeform 30"/>
              <p:cNvSpPr>
                <a:spLocks noEditPoints="1"/>
              </p:cNvSpPr>
              <p:nvPr/>
            </p:nvSpPr>
            <p:spPr bwMode="auto">
              <a:xfrm>
                <a:off x="444786" y="2340040"/>
                <a:ext cx="238402" cy="210293"/>
              </a:xfrm>
              <a:custGeom>
                <a:avLst/>
                <a:gdLst>
                  <a:gd name="T0" fmla="*/ 883 w 916"/>
                  <a:gd name="T1" fmla="*/ 286 h 808"/>
                  <a:gd name="T2" fmla="*/ 539 w 916"/>
                  <a:gd name="T3" fmla="*/ 723 h 808"/>
                  <a:gd name="T4" fmla="*/ 504 w 916"/>
                  <a:gd name="T5" fmla="*/ 0 h 808"/>
                  <a:gd name="T6" fmla="*/ 35 w 916"/>
                  <a:gd name="T7" fmla="*/ 723 h 808"/>
                  <a:gd name="T8" fmla="*/ 0 w 916"/>
                  <a:gd name="T9" fmla="*/ 808 h 808"/>
                  <a:gd name="T10" fmla="*/ 916 w 916"/>
                  <a:gd name="T11" fmla="*/ 723 h 808"/>
                  <a:gd name="T12" fmla="*/ 229 w 916"/>
                  <a:gd name="T13" fmla="*/ 665 h 808"/>
                  <a:gd name="T14" fmla="*/ 109 w 916"/>
                  <a:gd name="T15" fmla="*/ 596 h 808"/>
                  <a:gd name="T16" fmla="*/ 229 w 916"/>
                  <a:gd name="T17" fmla="*/ 665 h 808"/>
                  <a:gd name="T18" fmla="*/ 109 w 916"/>
                  <a:gd name="T19" fmla="*/ 501 h 808"/>
                  <a:gd name="T20" fmla="*/ 229 w 916"/>
                  <a:gd name="T21" fmla="*/ 432 h 808"/>
                  <a:gd name="T22" fmla="*/ 229 w 916"/>
                  <a:gd name="T23" fmla="*/ 337 h 808"/>
                  <a:gd name="T24" fmla="*/ 109 w 916"/>
                  <a:gd name="T25" fmla="*/ 267 h 808"/>
                  <a:gd name="T26" fmla="*/ 229 w 916"/>
                  <a:gd name="T27" fmla="*/ 337 h 808"/>
                  <a:gd name="T28" fmla="*/ 109 w 916"/>
                  <a:gd name="T29" fmla="*/ 172 h 808"/>
                  <a:gd name="T30" fmla="*/ 229 w 916"/>
                  <a:gd name="T31" fmla="*/ 103 h 808"/>
                  <a:gd name="T32" fmla="*/ 428 w 916"/>
                  <a:gd name="T33" fmla="*/ 665 h 808"/>
                  <a:gd name="T34" fmla="*/ 307 w 916"/>
                  <a:gd name="T35" fmla="*/ 596 h 808"/>
                  <a:gd name="T36" fmla="*/ 428 w 916"/>
                  <a:gd name="T37" fmla="*/ 665 h 808"/>
                  <a:gd name="T38" fmla="*/ 307 w 916"/>
                  <a:gd name="T39" fmla="*/ 501 h 808"/>
                  <a:gd name="T40" fmla="*/ 428 w 916"/>
                  <a:gd name="T41" fmla="*/ 432 h 808"/>
                  <a:gd name="T42" fmla="*/ 428 w 916"/>
                  <a:gd name="T43" fmla="*/ 337 h 808"/>
                  <a:gd name="T44" fmla="*/ 307 w 916"/>
                  <a:gd name="T45" fmla="*/ 267 h 808"/>
                  <a:gd name="T46" fmla="*/ 428 w 916"/>
                  <a:gd name="T47" fmla="*/ 337 h 808"/>
                  <a:gd name="T48" fmla="*/ 307 w 916"/>
                  <a:gd name="T49" fmla="*/ 172 h 808"/>
                  <a:gd name="T50" fmla="*/ 428 w 916"/>
                  <a:gd name="T51" fmla="*/ 103 h 808"/>
                  <a:gd name="T52" fmla="*/ 684 w 916"/>
                  <a:gd name="T53" fmla="*/ 668 h 808"/>
                  <a:gd name="T54" fmla="*/ 606 w 916"/>
                  <a:gd name="T55" fmla="*/ 549 h 808"/>
                  <a:gd name="T56" fmla="*/ 684 w 916"/>
                  <a:gd name="T57" fmla="*/ 668 h 808"/>
                  <a:gd name="T58" fmla="*/ 606 w 916"/>
                  <a:gd name="T59" fmla="*/ 482 h 808"/>
                  <a:gd name="T60" fmla="*/ 684 w 916"/>
                  <a:gd name="T61" fmla="*/ 365 h 808"/>
                  <a:gd name="T62" fmla="*/ 816 w 916"/>
                  <a:gd name="T63" fmla="*/ 668 h 808"/>
                  <a:gd name="T64" fmla="*/ 738 w 916"/>
                  <a:gd name="T65" fmla="*/ 549 h 808"/>
                  <a:gd name="T66" fmla="*/ 816 w 916"/>
                  <a:gd name="T67" fmla="*/ 668 h 808"/>
                  <a:gd name="T68" fmla="*/ 738 w 916"/>
                  <a:gd name="T69" fmla="*/ 482 h 808"/>
                  <a:gd name="T70" fmla="*/ 816 w 916"/>
                  <a:gd name="T71" fmla="*/ 365 h 8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16" h="808">
                    <a:moveTo>
                      <a:pt x="883" y="723"/>
                    </a:moveTo>
                    <a:lnTo>
                      <a:pt x="883" y="286"/>
                    </a:lnTo>
                    <a:lnTo>
                      <a:pt x="539" y="286"/>
                    </a:lnTo>
                    <a:lnTo>
                      <a:pt x="539" y="723"/>
                    </a:lnTo>
                    <a:lnTo>
                      <a:pt x="504" y="723"/>
                    </a:lnTo>
                    <a:lnTo>
                      <a:pt x="504" y="0"/>
                    </a:lnTo>
                    <a:lnTo>
                      <a:pt x="35" y="0"/>
                    </a:lnTo>
                    <a:lnTo>
                      <a:pt x="35" y="723"/>
                    </a:lnTo>
                    <a:lnTo>
                      <a:pt x="0" y="723"/>
                    </a:lnTo>
                    <a:lnTo>
                      <a:pt x="0" y="808"/>
                    </a:lnTo>
                    <a:lnTo>
                      <a:pt x="916" y="808"/>
                    </a:lnTo>
                    <a:lnTo>
                      <a:pt x="916" y="723"/>
                    </a:lnTo>
                    <a:lnTo>
                      <a:pt x="883" y="723"/>
                    </a:lnTo>
                    <a:close/>
                    <a:moveTo>
                      <a:pt x="229" y="665"/>
                    </a:moveTo>
                    <a:lnTo>
                      <a:pt x="109" y="665"/>
                    </a:lnTo>
                    <a:lnTo>
                      <a:pt x="109" y="596"/>
                    </a:lnTo>
                    <a:lnTo>
                      <a:pt x="229" y="596"/>
                    </a:lnTo>
                    <a:lnTo>
                      <a:pt x="229" y="665"/>
                    </a:lnTo>
                    <a:close/>
                    <a:moveTo>
                      <a:pt x="229" y="501"/>
                    </a:moveTo>
                    <a:lnTo>
                      <a:pt x="109" y="501"/>
                    </a:lnTo>
                    <a:lnTo>
                      <a:pt x="109" y="432"/>
                    </a:lnTo>
                    <a:lnTo>
                      <a:pt x="229" y="432"/>
                    </a:lnTo>
                    <a:lnTo>
                      <a:pt x="229" y="501"/>
                    </a:lnTo>
                    <a:close/>
                    <a:moveTo>
                      <a:pt x="229" y="337"/>
                    </a:moveTo>
                    <a:lnTo>
                      <a:pt x="109" y="337"/>
                    </a:lnTo>
                    <a:lnTo>
                      <a:pt x="109" y="267"/>
                    </a:lnTo>
                    <a:lnTo>
                      <a:pt x="229" y="267"/>
                    </a:lnTo>
                    <a:lnTo>
                      <a:pt x="229" y="337"/>
                    </a:lnTo>
                    <a:close/>
                    <a:moveTo>
                      <a:pt x="229" y="172"/>
                    </a:moveTo>
                    <a:lnTo>
                      <a:pt x="109" y="172"/>
                    </a:lnTo>
                    <a:lnTo>
                      <a:pt x="109" y="103"/>
                    </a:lnTo>
                    <a:lnTo>
                      <a:pt x="229" y="103"/>
                    </a:lnTo>
                    <a:lnTo>
                      <a:pt x="229" y="172"/>
                    </a:lnTo>
                    <a:close/>
                    <a:moveTo>
                      <a:pt x="428" y="665"/>
                    </a:moveTo>
                    <a:lnTo>
                      <a:pt x="307" y="665"/>
                    </a:lnTo>
                    <a:lnTo>
                      <a:pt x="307" y="596"/>
                    </a:lnTo>
                    <a:lnTo>
                      <a:pt x="428" y="596"/>
                    </a:lnTo>
                    <a:lnTo>
                      <a:pt x="428" y="665"/>
                    </a:lnTo>
                    <a:close/>
                    <a:moveTo>
                      <a:pt x="428" y="501"/>
                    </a:moveTo>
                    <a:lnTo>
                      <a:pt x="307" y="501"/>
                    </a:lnTo>
                    <a:lnTo>
                      <a:pt x="307" y="432"/>
                    </a:lnTo>
                    <a:lnTo>
                      <a:pt x="428" y="432"/>
                    </a:lnTo>
                    <a:lnTo>
                      <a:pt x="428" y="501"/>
                    </a:lnTo>
                    <a:close/>
                    <a:moveTo>
                      <a:pt x="428" y="337"/>
                    </a:moveTo>
                    <a:lnTo>
                      <a:pt x="307" y="337"/>
                    </a:lnTo>
                    <a:lnTo>
                      <a:pt x="307" y="267"/>
                    </a:lnTo>
                    <a:lnTo>
                      <a:pt x="428" y="267"/>
                    </a:lnTo>
                    <a:lnTo>
                      <a:pt x="428" y="337"/>
                    </a:lnTo>
                    <a:close/>
                    <a:moveTo>
                      <a:pt x="428" y="172"/>
                    </a:moveTo>
                    <a:lnTo>
                      <a:pt x="307" y="172"/>
                    </a:lnTo>
                    <a:lnTo>
                      <a:pt x="307" y="103"/>
                    </a:lnTo>
                    <a:lnTo>
                      <a:pt x="428" y="103"/>
                    </a:lnTo>
                    <a:lnTo>
                      <a:pt x="428" y="172"/>
                    </a:lnTo>
                    <a:close/>
                    <a:moveTo>
                      <a:pt x="684" y="668"/>
                    </a:moveTo>
                    <a:lnTo>
                      <a:pt x="606" y="668"/>
                    </a:lnTo>
                    <a:lnTo>
                      <a:pt x="606" y="549"/>
                    </a:lnTo>
                    <a:lnTo>
                      <a:pt x="684" y="549"/>
                    </a:lnTo>
                    <a:lnTo>
                      <a:pt x="684" y="668"/>
                    </a:lnTo>
                    <a:close/>
                    <a:moveTo>
                      <a:pt x="684" y="482"/>
                    </a:moveTo>
                    <a:lnTo>
                      <a:pt x="606" y="482"/>
                    </a:lnTo>
                    <a:lnTo>
                      <a:pt x="606" y="365"/>
                    </a:lnTo>
                    <a:lnTo>
                      <a:pt x="684" y="365"/>
                    </a:lnTo>
                    <a:lnTo>
                      <a:pt x="684" y="482"/>
                    </a:lnTo>
                    <a:close/>
                    <a:moveTo>
                      <a:pt x="816" y="668"/>
                    </a:moveTo>
                    <a:lnTo>
                      <a:pt x="738" y="668"/>
                    </a:lnTo>
                    <a:lnTo>
                      <a:pt x="738" y="549"/>
                    </a:lnTo>
                    <a:lnTo>
                      <a:pt x="816" y="549"/>
                    </a:lnTo>
                    <a:lnTo>
                      <a:pt x="816" y="668"/>
                    </a:lnTo>
                    <a:close/>
                    <a:moveTo>
                      <a:pt x="816" y="482"/>
                    </a:moveTo>
                    <a:lnTo>
                      <a:pt x="738" y="482"/>
                    </a:lnTo>
                    <a:lnTo>
                      <a:pt x="738" y="365"/>
                    </a:lnTo>
                    <a:lnTo>
                      <a:pt x="816" y="365"/>
                    </a:lnTo>
                    <a:lnTo>
                      <a:pt x="816" y="482"/>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grpSp>
        <p:sp>
          <p:nvSpPr>
            <p:cNvPr id="81" name="TextBox 80"/>
            <p:cNvSpPr txBox="1"/>
            <p:nvPr/>
          </p:nvSpPr>
          <p:spPr>
            <a:xfrm>
              <a:off x="83345" y="113808"/>
              <a:ext cx="2532630" cy="627864"/>
            </a:xfrm>
            <a:prstGeom prst="rect">
              <a:avLst/>
            </a:prstGeom>
            <a:noFill/>
          </p:spPr>
          <p:txBody>
            <a:bodyPr wrap="square" lIns="182880" tIns="146304" rIns="182880" bIns="146304" rtlCol="0">
              <a:spAutoFit/>
            </a:bodyPr>
            <a:lstStyle>
              <a:defPPr>
                <a:defRPr lang="en-US"/>
              </a:defPPr>
              <a:lvl1pPr>
                <a:lnSpc>
                  <a:spcPct val="90000"/>
                </a:lnSpc>
                <a:spcAft>
                  <a:spcPts val="600"/>
                </a:spcAft>
                <a:defRPr sz="2800" b="1">
                  <a:solidFill>
                    <a:srgbClr val="F2C812"/>
                  </a:solidFill>
                  <a:latin typeface="Segoe UI Light"/>
                </a:defRPr>
              </a:lvl1p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400" b="1" i="0" u="none" strike="noStrike" kern="1200" cap="none" spc="0" normalizeH="0" baseline="0" noProof="0">
                  <a:ln>
                    <a:noFill/>
                  </a:ln>
                  <a:solidFill>
                    <a:srgbClr val="F2C812"/>
                  </a:solidFill>
                  <a:effectLst/>
                  <a:uLnTx/>
                  <a:uFillTx/>
                  <a:latin typeface="Segoe UI Light"/>
                  <a:ea typeface="+mn-ea"/>
                  <a:cs typeface="+mn-cs"/>
                </a:rPr>
                <a:t>Power BI Service</a:t>
              </a:r>
              <a:endParaRPr kumimoji="0" lang="en-US" sz="2800" b="1" i="0" u="none" strike="noStrike" kern="1200" cap="none" spc="0" normalizeH="0" baseline="0" noProof="0">
                <a:ln>
                  <a:noFill/>
                </a:ln>
                <a:solidFill>
                  <a:srgbClr val="F2C812"/>
                </a:solidFill>
                <a:effectLst/>
                <a:uLnTx/>
                <a:uFillTx/>
                <a:latin typeface="Segoe UI Light"/>
                <a:ea typeface="+mn-ea"/>
                <a:cs typeface="+mn-cs"/>
              </a:endParaRPr>
            </a:p>
          </p:txBody>
        </p:sp>
        <p:grpSp>
          <p:nvGrpSpPr>
            <p:cNvPr id="82" name="Group 81"/>
            <p:cNvGrpSpPr/>
            <p:nvPr/>
          </p:nvGrpSpPr>
          <p:grpSpPr>
            <a:xfrm>
              <a:off x="219373" y="3621383"/>
              <a:ext cx="433844" cy="645668"/>
              <a:chOff x="280990" y="3358164"/>
              <a:chExt cx="433844" cy="645668"/>
            </a:xfrm>
          </p:grpSpPr>
          <p:sp>
            <p:nvSpPr>
              <p:cNvPr id="88" name="Oval 1083"/>
              <p:cNvSpPr/>
              <p:nvPr/>
            </p:nvSpPr>
            <p:spPr bwMode="auto">
              <a:xfrm>
                <a:off x="280990" y="3358164"/>
                <a:ext cx="433844" cy="433847"/>
              </a:xfrm>
              <a:prstGeom prst="ellipse">
                <a:avLst/>
              </a:prstGeom>
              <a:solidFill>
                <a:srgbClr val="F2C812"/>
              </a:solidFill>
              <a:ln>
                <a:solidFill>
                  <a:srgbClr val="FFCC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89" name="Group 379"/>
              <p:cNvGrpSpPr/>
              <p:nvPr/>
            </p:nvGrpSpPr>
            <p:grpSpPr>
              <a:xfrm>
                <a:off x="453702" y="3910852"/>
                <a:ext cx="175660" cy="92980"/>
                <a:chOff x="3895793" y="7466656"/>
                <a:chExt cx="785810" cy="415941"/>
              </a:xfrm>
              <a:solidFill>
                <a:srgbClr val="00BCF2"/>
              </a:solidFill>
            </p:grpSpPr>
            <p:sp>
              <p:nvSpPr>
                <p:cNvPr id="90" name="Freeform 132"/>
                <p:cNvSpPr>
                  <a:spLocks/>
                </p:cNvSpPr>
                <p:nvPr/>
              </p:nvSpPr>
              <p:spPr bwMode="auto">
                <a:xfrm>
                  <a:off x="4125979" y="7688918"/>
                  <a:ext cx="0" cy="6353"/>
                </a:xfrm>
                <a:custGeom>
                  <a:avLst/>
                  <a:gdLst>
                    <a:gd name="T0" fmla="*/ 1 w 1"/>
                    <a:gd name="T1" fmla="*/ 0 h 8"/>
                    <a:gd name="T2" fmla="*/ 0 w 1"/>
                    <a:gd name="T3" fmla="*/ 0 h 8"/>
                    <a:gd name="T4" fmla="*/ 1 w 1"/>
                    <a:gd name="T5" fmla="*/ 8 h 8"/>
                    <a:gd name="T6" fmla="*/ 1 w 1"/>
                    <a:gd name="T7" fmla="*/ 0 h 8"/>
                  </a:gdLst>
                  <a:ahLst/>
                  <a:cxnLst>
                    <a:cxn ang="0">
                      <a:pos x="T0" y="T1"/>
                    </a:cxn>
                    <a:cxn ang="0">
                      <a:pos x="T2" y="T3"/>
                    </a:cxn>
                    <a:cxn ang="0">
                      <a:pos x="T4" y="T5"/>
                    </a:cxn>
                    <a:cxn ang="0">
                      <a:pos x="T6" y="T7"/>
                    </a:cxn>
                  </a:cxnLst>
                  <a:rect l="0" t="0" r="r" b="b"/>
                  <a:pathLst>
                    <a:path w="1" h="8">
                      <a:moveTo>
                        <a:pt x="1" y="0"/>
                      </a:moveTo>
                      <a:cubicBezTo>
                        <a:pt x="0" y="0"/>
                        <a:pt x="0" y="0"/>
                        <a:pt x="0" y="0"/>
                      </a:cubicBezTo>
                      <a:cubicBezTo>
                        <a:pt x="0" y="3"/>
                        <a:pt x="1" y="5"/>
                        <a:pt x="1" y="8"/>
                      </a:cubicBezTo>
                      <a:lnTo>
                        <a:pt x="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91" name="Freeform 133"/>
                <p:cNvSpPr>
                  <a:spLocks/>
                </p:cNvSpPr>
                <p:nvPr/>
              </p:nvSpPr>
              <p:spPr bwMode="auto">
                <a:xfrm>
                  <a:off x="3895793" y="7812745"/>
                  <a:ext cx="219078" cy="69852"/>
                </a:xfrm>
                <a:custGeom>
                  <a:avLst/>
                  <a:gdLst>
                    <a:gd name="T0" fmla="*/ 186 w 238"/>
                    <a:gd name="T1" fmla="*/ 9 h 76"/>
                    <a:gd name="T2" fmla="*/ 131 w 238"/>
                    <a:gd name="T3" fmla="*/ 22 h 76"/>
                    <a:gd name="T4" fmla="*/ 60 w 238"/>
                    <a:gd name="T5" fmla="*/ 0 h 76"/>
                    <a:gd name="T6" fmla="*/ 0 w 238"/>
                    <a:gd name="T7" fmla="*/ 42 h 76"/>
                    <a:gd name="T8" fmla="*/ 0 w 238"/>
                    <a:gd name="T9" fmla="*/ 76 h 76"/>
                    <a:gd name="T10" fmla="*/ 238 w 238"/>
                    <a:gd name="T11" fmla="*/ 76 h 76"/>
                    <a:gd name="T12" fmla="*/ 236 w 238"/>
                    <a:gd name="T13" fmla="*/ 53 h 76"/>
                    <a:gd name="T14" fmla="*/ 236 w 238"/>
                    <a:gd name="T15" fmla="*/ 49 h 76"/>
                    <a:gd name="T16" fmla="*/ 186 w 238"/>
                    <a:gd name="T17" fmla="*/ 9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8" h="76">
                      <a:moveTo>
                        <a:pt x="186" y="9"/>
                      </a:moveTo>
                      <a:cubicBezTo>
                        <a:pt x="169" y="18"/>
                        <a:pt x="150" y="22"/>
                        <a:pt x="131" y="22"/>
                      </a:cubicBezTo>
                      <a:cubicBezTo>
                        <a:pt x="105" y="22"/>
                        <a:pt x="80" y="14"/>
                        <a:pt x="60" y="0"/>
                      </a:cubicBezTo>
                      <a:cubicBezTo>
                        <a:pt x="0" y="42"/>
                        <a:pt x="0" y="42"/>
                        <a:pt x="0" y="42"/>
                      </a:cubicBezTo>
                      <a:cubicBezTo>
                        <a:pt x="0" y="76"/>
                        <a:pt x="0" y="76"/>
                        <a:pt x="0" y="76"/>
                      </a:cubicBezTo>
                      <a:cubicBezTo>
                        <a:pt x="238" y="76"/>
                        <a:pt x="238" y="76"/>
                        <a:pt x="238" y="76"/>
                      </a:cubicBezTo>
                      <a:cubicBezTo>
                        <a:pt x="237" y="68"/>
                        <a:pt x="236" y="61"/>
                        <a:pt x="236" y="53"/>
                      </a:cubicBezTo>
                      <a:cubicBezTo>
                        <a:pt x="236" y="51"/>
                        <a:pt x="236" y="50"/>
                        <a:pt x="236" y="49"/>
                      </a:cubicBezTo>
                      <a:lnTo>
                        <a:pt x="186" y="9"/>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92" name="Freeform 137"/>
                <p:cNvSpPr>
                  <a:spLocks/>
                </p:cNvSpPr>
                <p:nvPr/>
              </p:nvSpPr>
              <p:spPr bwMode="auto">
                <a:xfrm>
                  <a:off x="4338704" y="7809561"/>
                  <a:ext cx="65090" cy="73028"/>
                </a:xfrm>
                <a:custGeom>
                  <a:avLst/>
                  <a:gdLst>
                    <a:gd name="T0" fmla="*/ 71 w 71"/>
                    <a:gd name="T1" fmla="*/ 79 h 79"/>
                    <a:gd name="T2" fmla="*/ 71 w 71"/>
                    <a:gd name="T3" fmla="*/ 0 h 79"/>
                    <a:gd name="T4" fmla="*/ 2 w 71"/>
                    <a:gd name="T5" fmla="*/ 53 h 79"/>
                    <a:gd name="T6" fmla="*/ 2 w 71"/>
                    <a:gd name="T7" fmla="*/ 56 h 79"/>
                    <a:gd name="T8" fmla="*/ 0 w 71"/>
                    <a:gd name="T9" fmla="*/ 79 h 79"/>
                    <a:gd name="T10" fmla="*/ 71 w 71"/>
                    <a:gd name="T11" fmla="*/ 79 h 79"/>
                  </a:gdLst>
                  <a:ahLst/>
                  <a:cxnLst>
                    <a:cxn ang="0">
                      <a:pos x="T0" y="T1"/>
                    </a:cxn>
                    <a:cxn ang="0">
                      <a:pos x="T2" y="T3"/>
                    </a:cxn>
                    <a:cxn ang="0">
                      <a:pos x="T4" y="T5"/>
                    </a:cxn>
                    <a:cxn ang="0">
                      <a:pos x="T6" y="T7"/>
                    </a:cxn>
                    <a:cxn ang="0">
                      <a:pos x="T8" y="T9"/>
                    </a:cxn>
                    <a:cxn ang="0">
                      <a:pos x="T10" y="T11"/>
                    </a:cxn>
                  </a:cxnLst>
                  <a:rect l="0" t="0" r="r" b="b"/>
                  <a:pathLst>
                    <a:path w="71" h="79">
                      <a:moveTo>
                        <a:pt x="71" y="79"/>
                      </a:moveTo>
                      <a:cubicBezTo>
                        <a:pt x="71" y="0"/>
                        <a:pt x="71" y="0"/>
                        <a:pt x="71" y="0"/>
                      </a:cubicBezTo>
                      <a:cubicBezTo>
                        <a:pt x="2" y="53"/>
                        <a:pt x="2" y="53"/>
                        <a:pt x="2" y="53"/>
                      </a:cubicBezTo>
                      <a:cubicBezTo>
                        <a:pt x="2" y="54"/>
                        <a:pt x="2" y="55"/>
                        <a:pt x="2" y="56"/>
                      </a:cubicBezTo>
                      <a:cubicBezTo>
                        <a:pt x="2" y="64"/>
                        <a:pt x="1" y="71"/>
                        <a:pt x="0" y="79"/>
                      </a:cubicBezTo>
                      <a:lnTo>
                        <a:pt x="71" y="79"/>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93" name="Freeform 140"/>
                <p:cNvSpPr>
                  <a:spLocks/>
                </p:cNvSpPr>
                <p:nvPr/>
              </p:nvSpPr>
              <p:spPr bwMode="auto">
                <a:xfrm>
                  <a:off x="4600643" y="7622229"/>
                  <a:ext cx="80960" cy="38099"/>
                </a:xfrm>
                <a:custGeom>
                  <a:avLst/>
                  <a:gdLst>
                    <a:gd name="T0" fmla="*/ 0 w 51"/>
                    <a:gd name="T1" fmla="*/ 24 h 24"/>
                    <a:gd name="T2" fmla="*/ 51 w 51"/>
                    <a:gd name="T3" fmla="*/ 24 h 24"/>
                    <a:gd name="T4" fmla="*/ 32 w 51"/>
                    <a:gd name="T5" fmla="*/ 0 h 24"/>
                    <a:gd name="T6" fmla="*/ 0 w 51"/>
                    <a:gd name="T7" fmla="*/ 24 h 24"/>
                  </a:gdLst>
                  <a:ahLst/>
                  <a:cxnLst>
                    <a:cxn ang="0">
                      <a:pos x="T0" y="T1"/>
                    </a:cxn>
                    <a:cxn ang="0">
                      <a:pos x="T2" y="T3"/>
                    </a:cxn>
                    <a:cxn ang="0">
                      <a:pos x="T4" y="T5"/>
                    </a:cxn>
                    <a:cxn ang="0">
                      <a:pos x="T6" y="T7"/>
                    </a:cxn>
                  </a:cxnLst>
                  <a:rect l="0" t="0" r="r" b="b"/>
                  <a:pathLst>
                    <a:path w="51" h="24">
                      <a:moveTo>
                        <a:pt x="0" y="24"/>
                      </a:moveTo>
                      <a:lnTo>
                        <a:pt x="51" y="24"/>
                      </a:lnTo>
                      <a:lnTo>
                        <a:pt x="32" y="0"/>
                      </a:lnTo>
                      <a:lnTo>
                        <a:pt x="0" y="24"/>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94" name="Freeform 141"/>
                <p:cNvSpPr>
                  <a:spLocks/>
                </p:cNvSpPr>
                <p:nvPr/>
              </p:nvSpPr>
              <p:spPr bwMode="auto">
                <a:xfrm>
                  <a:off x="4449825" y="7466656"/>
                  <a:ext cx="119065" cy="139703"/>
                </a:xfrm>
                <a:custGeom>
                  <a:avLst/>
                  <a:gdLst>
                    <a:gd name="T0" fmla="*/ 52 w 75"/>
                    <a:gd name="T1" fmla="*/ 0 h 88"/>
                    <a:gd name="T2" fmla="*/ 0 w 75"/>
                    <a:gd name="T3" fmla="*/ 0 h 88"/>
                    <a:gd name="T4" fmla="*/ 0 w 75"/>
                    <a:gd name="T5" fmla="*/ 88 h 88"/>
                    <a:gd name="T6" fmla="*/ 75 w 75"/>
                    <a:gd name="T7" fmla="*/ 30 h 88"/>
                    <a:gd name="T8" fmla="*/ 52 w 75"/>
                    <a:gd name="T9" fmla="*/ 0 h 88"/>
                  </a:gdLst>
                  <a:ahLst/>
                  <a:cxnLst>
                    <a:cxn ang="0">
                      <a:pos x="T0" y="T1"/>
                    </a:cxn>
                    <a:cxn ang="0">
                      <a:pos x="T2" y="T3"/>
                    </a:cxn>
                    <a:cxn ang="0">
                      <a:pos x="T4" y="T5"/>
                    </a:cxn>
                    <a:cxn ang="0">
                      <a:pos x="T6" y="T7"/>
                    </a:cxn>
                    <a:cxn ang="0">
                      <a:pos x="T8" y="T9"/>
                    </a:cxn>
                  </a:cxnLst>
                  <a:rect l="0" t="0" r="r" b="b"/>
                  <a:pathLst>
                    <a:path w="75" h="88">
                      <a:moveTo>
                        <a:pt x="52" y="0"/>
                      </a:moveTo>
                      <a:lnTo>
                        <a:pt x="0" y="0"/>
                      </a:lnTo>
                      <a:lnTo>
                        <a:pt x="0" y="88"/>
                      </a:lnTo>
                      <a:lnTo>
                        <a:pt x="75" y="30"/>
                      </a:lnTo>
                      <a:lnTo>
                        <a:pt x="52"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grpSp>
        </p:grpSp>
        <p:sp>
          <p:nvSpPr>
            <p:cNvPr id="83" name="Rectangle 152"/>
            <p:cNvSpPr/>
            <p:nvPr/>
          </p:nvSpPr>
          <p:spPr bwMode="auto">
            <a:xfrm>
              <a:off x="712458" y="3628917"/>
              <a:ext cx="1805162" cy="37532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2C812"/>
                  </a:solidFill>
                  <a:effectLst/>
                  <a:uLnTx/>
                  <a:uFillTx/>
                  <a:latin typeface="Segoe UI"/>
                  <a:ea typeface="+mn-ea"/>
                  <a:cs typeface="Segoe UI Light" panose="020B0502040204020203" pitchFamily="34" charset="0"/>
                </a:rPr>
                <a:t>Q&amp;A and </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2C812"/>
                  </a:solidFill>
                  <a:effectLst/>
                  <a:uLnTx/>
                  <a:uFillTx/>
                  <a:latin typeface="Segoe UI"/>
                  <a:ea typeface="+mn-ea"/>
                  <a:cs typeface="Segoe UI Light" panose="020B0502040204020203" pitchFamily="34" charset="0"/>
                </a:rPr>
                <a:t>Quick Insights</a:t>
              </a:r>
              <a:endParaRPr kumimoji="0" lang="en-US" sz="1200" b="1" i="0" u="none" strike="noStrike" kern="1200" cap="none" spc="0" normalizeH="0" baseline="0" noProof="0">
                <a:ln>
                  <a:noFill/>
                </a:ln>
                <a:solidFill>
                  <a:srgbClr val="F2C812"/>
                </a:solidFill>
                <a:effectLst/>
                <a:uLnTx/>
                <a:uFillTx/>
                <a:latin typeface="Segoe UI"/>
                <a:ea typeface="+mn-ea"/>
                <a:cs typeface="Segoe UI Light" panose="020B0502040204020203" pitchFamily="34" charset="0"/>
              </a:endParaRPr>
            </a:p>
          </p:txBody>
        </p:sp>
        <p:sp>
          <p:nvSpPr>
            <p:cNvPr id="84" name="Oval 162"/>
            <p:cNvSpPr/>
            <p:nvPr/>
          </p:nvSpPr>
          <p:spPr bwMode="auto">
            <a:xfrm>
              <a:off x="226619" y="4551712"/>
              <a:ext cx="433844" cy="433844"/>
            </a:xfrm>
            <a:prstGeom prst="ellipse">
              <a:avLst/>
            </a:prstGeom>
            <a:solidFill>
              <a:srgbClr val="F2C812"/>
            </a:solidFill>
            <a:ln>
              <a:solidFill>
                <a:srgbClr val="FFCC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5" name="Rectangle 152"/>
            <p:cNvSpPr/>
            <p:nvPr/>
          </p:nvSpPr>
          <p:spPr bwMode="auto">
            <a:xfrm>
              <a:off x="738443" y="4596194"/>
              <a:ext cx="1884825" cy="30233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2C812"/>
                  </a:solidFill>
                  <a:effectLst/>
                  <a:uLnTx/>
                  <a:uFillTx/>
                  <a:latin typeface="Segoe UI"/>
                  <a:ea typeface="+mn-ea"/>
                  <a:cs typeface="Segoe UI Light" panose="020B0502040204020203" pitchFamily="34" charset="0"/>
                </a:rPr>
                <a:t>Sharing</a:t>
              </a:r>
              <a:endParaRPr kumimoji="0" lang="en-US" sz="1200" b="1" i="1" u="none" strike="noStrike" kern="1200" cap="none" spc="0" normalizeH="0" baseline="0" noProof="0">
                <a:ln>
                  <a:noFill/>
                </a:ln>
                <a:solidFill>
                  <a:srgbClr val="F2C812"/>
                </a:solidFill>
                <a:effectLst/>
                <a:uLnTx/>
                <a:uFillTx/>
                <a:latin typeface="Segoe UI"/>
                <a:ea typeface="+mn-ea"/>
                <a:cs typeface="Segoe UI Light" panose="020B0502040204020203" pitchFamily="34" charset="0"/>
              </a:endParaRPr>
            </a:p>
          </p:txBody>
        </p:sp>
        <p:sp>
          <p:nvSpPr>
            <p:cNvPr id="86" name="Rectangle 145"/>
            <p:cNvSpPr/>
            <p:nvPr/>
          </p:nvSpPr>
          <p:spPr bwMode="auto">
            <a:xfrm>
              <a:off x="697198" y="1847637"/>
              <a:ext cx="1821468" cy="3831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2C812"/>
                  </a:solidFill>
                  <a:effectLst/>
                  <a:uLnTx/>
                  <a:uFillTx/>
                  <a:latin typeface="Segoe UI"/>
                  <a:ea typeface="+mn-ea"/>
                  <a:cs typeface="Segoe UI Light" panose="020B0502040204020203" pitchFamily="34" charset="0"/>
                </a:rPr>
                <a:t>Pinning and Navigation</a:t>
              </a:r>
            </a:p>
          </p:txBody>
        </p:sp>
        <p:sp>
          <p:nvSpPr>
            <p:cNvPr id="87" name="Oval 162"/>
            <p:cNvSpPr/>
            <p:nvPr/>
          </p:nvSpPr>
          <p:spPr bwMode="auto">
            <a:xfrm>
              <a:off x="224136" y="1813606"/>
              <a:ext cx="433844" cy="433844"/>
            </a:xfrm>
            <a:prstGeom prst="ellipse">
              <a:avLst/>
            </a:prstGeom>
            <a:solidFill>
              <a:srgbClr val="FFCC00"/>
            </a:solidFill>
            <a:ln>
              <a:solidFill>
                <a:srgbClr val="F2C81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pic>
        <p:nvPicPr>
          <p:cNvPr id="101" name="Picture 100"/>
          <p:cNvPicPr>
            <a:picLocks noChangeAspect="1"/>
          </p:cNvPicPr>
          <p:nvPr/>
        </p:nvPicPr>
        <p:blipFill rotWithShape="1">
          <a:blip r:embed="rId4"/>
          <a:srcRect l="6503" t="21287" r="74698" b="20220"/>
          <a:stretch/>
        </p:blipFill>
        <p:spPr>
          <a:xfrm>
            <a:off x="339111" y="1946110"/>
            <a:ext cx="228600" cy="231962"/>
          </a:xfrm>
          <a:prstGeom prst="rect">
            <a:avLst/>
          </a:prstGeom>
        </p:spPr>
      </p:pic>
      <p:pic>
        <p:nvPicPr>
          <p:cNvPr id="102" name="Picture 101"/>
          <p:cNvPicPr>
            <a:picLocks noChangeAspect="1"/>
          </p:cNvPicPr>
          <p:nvPr/>
        </p:nvPicPr>
        <p:blipFill>
          <a:blip r:embed="rId5"/>
          <a:stretch>
            <a:fillRect/>
          </a:stretch>
        </p:blipFill>
        <p:spPr>
          <a:xfrm>
            <a:off x="284769" y="3673076"/>
            <a:ext cx="311766" cy="303106"/>
          </a:xfrm>
          <a:prstGeom prst="rect">
            <a:avLst/>
          </a:prstGeom>
        </p:spPr>
      </p:pic>
      <p:sp>
        <p:nvSpPr>
          <p:cNvPr id="103" name="Rectangle 145"/>
          <p:cNvSpPr/>
          <p:nvPr/>
        </p:nvSpPr>
        <p:spPr bwMode="auto">
          <a:xfrm>
            <a:off x="718897" y="5436715"/>
            <a:ext cx="1821468" cy="3831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2C812"/>
                </a:solidFill>
                <a:effectLst/>
                <a:uLnTx/>
                <a:uFillTx/>
                <a:latin typeface="Segoe UI"/>
                <a:ea typeface="+mn-ea"/>
                <a:cs typeface="Segoe UI Light" panose="020B0502040204020203" pitchFamily="34" charset="0"/>
              </a:rPr>
              <a:t>Connect from Excel</a:t>
            </a:r>
          </a:p>
        </p:txBody>
      </p:sp>
      <p:sp>
        <p:nvSpPr>
          <p:cNvPr id="104" name="Oval 162"/>
          <p:cNvSpPr/>
          <p:nvPr/>
        </p:nvSpPr>
        <p:spPr bwMode="auto">
          <a:xfrm>
            <a:off x="231441" y="5429649"/>
            <a:ext cx="433844" cy="433844"/>
          </a:xfrm>
          <a:prstGeom prst="ellipse">
            <a:avLst/>
          </a:prstGeom>
          <a:solidFill>
            <a:srgbClr val="FFCC00"/>
          </a:solidFill>
          <a:ln>
            <a:solidFill>
              <a:srgbClr val="F2C81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05" name="Picture 104"/>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flipH="1">
            <a:off x="283763" y="4596680"/>
            <a:ext cx="357484" cy="357484"/>
          </a:xfrm>
          <a:prstGeom prst="rect">
            <a:avLst/>
          </a:prstGeom>
        </p:spPr>
      </p:pic>
      <p:sp>
        <p:nvSpPr>
          <p:cNvPr id="106" name="Oval 162"/>
          <p:cNvSpPr/>
          <p:nvPr/>
        </p:nvSpPr>
        <p:spPr bwMode="auto">
          <a:xfrm>
            <a:off x="233032" y="6267344"/>
            <a:ext cx="433844" cy="433844"/>
          </a:xfrm>
          <a:prstGeom prst="ellipse">
            <a:avLst/>
          </a:prstGeom>
          <a:solidFill>
            <a:srgbClr val="FFCC00"/>
          </a:solidFill>
          <a:ln>
            <a:solidFill>
              <a:srgbClr val="F2C81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7" name="Rectangle 145"/>
          <p:cNvSpPr/>
          <p:nvPr/>
        </p:nvSpPr>
        <p:spPr bwMode="auto">
          <a:xfrm>
            <a:off x="701416" y="6289969"/>
            <a:ext cx="1821468" cy="3831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2C812"/>
                </a:solidFill>
                <a:effectLst/>
                <a:uLnTx/>
                <a:uFillTx/>
                <a:latin typeface="Segoe UI"/>
                <a:ea typeface="+mn-ea"/>
                <a:cs typeface="Segoe UI Light" panose="020B0502040204020203" pitchFamily="34" charset="0"/>
              </a:rPr>
              <a:t>Mobile Reports</a:t>
            </a:r>
          </a:p>
        </p:txBody>
      </p:sp>
      <p:pic>
        <p:nvPicPr>
          <p:cNvPr id="108" name="Picture 107"/>
          <p:cNvPicPr>
            <a:picLocks noChangeAspect="1"/>
          </p:cNvPicPr>
          <p:nvPr/>
        </p:nvPicPr>
        <p:blipFill>
          <a:blip r:embed="rId7" cstate="print">
            <a:extLst>
              <a:ext uri="{BEBA8EAE-BF5A-486C-A8C5-ECC9F3942E4B}">
                <a14:imgProps xmlns:a14="http://schemas.microsoft.com/office/drawing/2010/main">
                  <a14:imgLayer r:embed="rId8">
                    <a14:imgEffect>
                      <a14:saturation sat="0"/>
                    </a14:imgEffect>
                  </a14:imgLayer>
                </a14:imgProps>
              </a:ext>
              <a:ext uri="{28A0092B-C50C-407E-A947-70E740481C1C}">
                <a14:useLocalDpi xmlns:a14="http://schemas.microsoft.com/office/drawing/2010/main" val="0"/>
              </a:ext>
            </a:extLst>
          </a:blip>
          <a:stretch>
            <a:fillRect/>
          </a:stretch>
        </p:blipFill>
        <p:spPr>
          <a:xfrm>
            <a:off x="391946" y="6350039"/>
            <a:ext cx="133350" cy="251587"/>
          </a:xfrm>
          <a:prstGeom prst="rect">
            <a:avLst/>
          </a:prstGeom>
        </p:spPr>
      </p:pic>
      <p:pic>
        <p:nvPicPr>
          <p:cNvPr id="109" name="Picture 108"/>
          <p:cNvPicPr>
            <a:picLocks noChangeAspect="1"/>
          </p:cNvPicPr>
          <p:nvPr/>
        </p:nvPicPr>
        <p:blipFill>
          <a:blip r:embed="rId9" cstate="print">
            <a:biLevel thresh="50000"/>
            <a:extLst>
              <a:ext uri="{28A0092B-C50C-407E-A947-70E740481C1C}">
                <a14:useLocalDpi xmlns:a14="http://schemas.microsoft.com/office/drawing/2010/main" val="0"/>
              </a:ext>
            </a:extLst>
          </a:blip>
          <a:stretch>
            <a:fillRect/>
          </a:stretch>
        </p:blipFill>
        <p:spPr>
          <a:xfrm>
            <a:off x="332658" y="5538489"/>
            <a:ext cx="268940" cy="268940"/>
          </a:xfrm>
          <a:prstGeom prst="rect">
            <a:avLst/>
          </a:prstGeom>
        </p:spPr>
      </p:pic>
      <p:sp>
        <p:nvSpPr>
          <p:cNvPr id="110" name="Rectangle 109"/>
          <p:cNvSpPr/>
          <p:nvPr/>
        </p:nvSpPr>
        <p:spPr bwMode="auto">
          <a:xfrm>
            <a:off x="35912" y="1550386"/>
            <a:ext cx="2464420" cy="5238040"/>
          </a:xfrm>
          <a:prstGeom prst="rect">
            <a:avLst/>
          </a:prstGeom>
          <a:solidFill>
            <a:srgbClr val="000000">
              <a:alpha val="6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21490669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777798263"/>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 name="Title 10"/>
          <p:cNvSpPr txBox="1">
            <a:spLocks/>
          </p:cNvSpPr>
          <p:nvPr/>
        </p:nvSpPr>
        <p:spPr>
          <a:xfrm>
            <a:off x="2849060" y="0"/>
            <a:ext cx="9342940" cy="665151"/>
          </a:xfrm>
          <a:prstGeom prst="rect">
            <a:avLst/>
          </a:prstGeom>
          <a:noFill/>
        </p:spPr>
        <p:txBody>
          <a:bodyPr vert="horz" wrap="square" lIns="0" tIns="91440" rIns="0" bIns="91440" rtlCol="0" anchor="t">
            <a:noAutofit/>
          </a:bodyPr>
          <a:lstStyle>
            <a:lvl1pPr defTabSz="914367">
              <a:lnSpc>
                <a:spcPct val="90000"/>
              </a:lnSpc>
              <a:spcBef>
                <a:spcPct val="0"/>
              </a:spcBef>
              <a:buNone/>
              <a:defRPr lang="en-US" sz="5294" b="0" cap="none" spc="-100" baseline="0" dirty="0" smtClean="0">
                <a:ln w="3175">
                  <a:noFill/>
                </a:ln>
                <a:solidFill>
                  <a:schemeClr val="tx2"/>
                </a:solidFill>
                <a:effectLst/>
                <a:latin typeface="+mj-lt"/>
                <a:cs typeface="Segoe UI" pitchFamily="34" charset="0"/>
              </a:defRPr>
            </a:lvl1pPr>
          </a:lstStyle>
          <a:p>
            <a:pPr marL="168275" marR="0" lvl="0" indent="0" algn="l" defTabSz="914367" rtl="0" eaLnBrk="1" fontAlgn="auto" latinLnBrk="0" hangingPunct="1">
              <a:lnSpc>
                <a:spcPct val="90000"/>
              </a:lnSpc>
              <a:spcBef>
                <a:spcPct val="0"/>
              </a:spcBef>
              <a:spcAft>
                <a:spcPts val="0"/>
              </a:spcAft>
              <a:buClrTx/>
              <a:buSzTx/>
              <a:buFontTx/>
              <a:buNone/>
              <a:tabLst/>
              <a:defRPr/>
            </a:pPr>
            <a:r>
              <a:rPr kumimoji="0" lang="en-US" sz="3600" b="0" i="0" u="none" strike="noStrike" kern="1200" cap="none" spc="-100" normalizeH="0" baseline="0" noProof="0">
                <a:ln w="3175">
                  <a:noFill/>
                </a:ln>
                <a:solidFill>
                  <a:prstClr val="black"/>
                </a:solidFill>
                <a:effectLst/>
                <a:uLnTx/>
                <a:uFillTx/>
                <a:latin typeface="Segoe UI Light"/>
                <a:ea typeface="+mn-ea"/>
                <a:cs typeface="Segoe UI" pitchFamily="34" charset="0"/>
              </a:rPr>
              <a:t>Get Data</a:t>
            </a:r>
            <a:endParaRPr kumimoji="0" lang="en-IN" sz="3600" b="0" i="0" u="none" strike="noStrike" kern="1200" cap="none" spc="-100" normalizeH="0" baseline="0" noProof="0">
              <a:ln w="3175">
                <a:noFill/>
              </a:ln>
              <a:solidFill>
                <a:prstClr val="black"/>
              </a:solidFill>
              <a:effectLst/>
              <a:uLnTx/>
              <a:uFillTx/>
              <a:latin typeface="Segoe UI Light"/>
              <a:ea typeface="+mn-ea"/>
              <a:cs typeface="Segoe UI" pitchFamily="34" charset="0"/>
            </a:endParaRPr>
          </a:p>
        </p:txBody>
      </p:sp>
      <p:sp>
        <p:nvSpPr>
          <p:cNvPr id="40" name="Text Placeholder 2"/>
          <p:cNvSpPr txBox="1">
            <a:spLocks/>
          </p:cNvSpPr>
          <p:nvPr/>
        </p:nvSpPr>
        <p:spPr>
          <a:xfrm>
            <a:off x="2974909" y="1251907"/>
            <a:ext cx="8643933" cy="897374"/>
          </a:xfrm>
          <a:prstGeom prst="rect">
            <a:avLst/>
          </a:prstGeom>
        </p:spPr>
        <p:txBody>
          <a:bodyPr vert="horz" wrap="square" lIns="182880" tIns="146304" rIns="182880" bIns="146304" rtlCol="0">
            <a:noAutofit/>
          </a:bodyPr>
          <a:lstStyle>
            <a:lvl1pPr marL="182845" marR="0"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3921" kern="1200" spc="0" baseline="0">
                <a:gradFill>
                  <a:gsLst>
                    <a:gs pos="1250">
                      <a:schemeClr val="tx2"/>
                    </a:gs>
                    <a:gs pos="99000">
                      <a:schemeClr val="tx2"/>
                    </a:gs>
                  </a:gsLst>
                  <a:lin ang="5400000" scaled="0"/>
                </a:gradFill>
                <a:latin typeface="+mj-lt"/>
                <a:ea typeface="+mn-ea"/>
                <a:cs typeface="+mn-cs"/>
              </a:defRPr>
            </a:lvl1pPr>
            <a:lvl2pPr marL="365690" marR="0"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2400" kern="1200" spc="0" baseline="0">
                <a:solidFill>
                  <a:schemeClr val="tx2"/>
                </a:solidFill>
                <a:latin typeface="+mj-lt"/>
                <a:ea typeface="+mn-ea"/>
                <a:cs typeface="+mn-cs"/>
              </a:defRPr>
            </a:lvl2pPr>
            <a:lvl3pPr marL="548535" marR="0"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2000" kern="1200" spc="0" baseline="0">
                <a:solidFill>
                  <a:schemeClr val="tx2"/>
                </a:solidFill>
                <a:latin typeface="+mj-lt"/>
                <a:ea typeface="+mn-ea"/>
                <a:cs typeface="+mn-cs"/>
              </a:defRPr>
            </a:lvl3pPr>
            <a:lvl4pPr marL="733802" marR="0" indent="-28569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1765" kern="1200" spc="0" baseline="0">
                <a:solidFill>
                  <a:schemeClr val="tx2"/>
                </a:solidFill>
                <a:latin typeface="+mn-lt"/>
                <a:ea typeface="+mn-ea"/>
                <a:cs typeface="+mn-cs"/>
              </a:defRPr>
            </a:lvl4pPr>
            <a:lvl5pPr marL="957856" marR="0" indent="-28569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1765" kern="1200" spc="0" baseline="0">
                <a:solidFill>
                  <a:schemeClr val="tx2"/>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1"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1"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1"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1"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1"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1"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1"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r>
              <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rPr>
              <a:t>Data can live in </a:t>
            </a:r>
            <a:r>
              <a:rPr kumimoji="0" lang="en-US" sz="2000" b="1"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rPr>
              <a:t>the cloud or on-prem (SSAS)</a:t>
            </a: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1"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r>
              <a:rPr kumimoji="0" lang="en-US" sz="2000" b="1"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rPr>
              <a:t>Access to the data is live </a:t>
            </a:r>
            <a:r>
              <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rPr>
              <a:t>(DirectQuery) every interaction starts a query on the backend (data is always updated)</a:t>
            </a: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r>
              <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rPr>
              <a:t>For access to </a:t>
            </a:r>
            <a:r>
              <a:rPr kumimoji="0" lang="en-US" sz="2000" b="1"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rPr>
              <a:t>SSAS data on-prem</a:t>
            </a:r>
            <a:r>
              <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rPr>
              <a:t>, an </a:t>
            </a:r>
            <a:r>
              <a:rPr kumimoji="0" lang="en-US" sz="2000" b="1"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rPr>
              <a:t>Enterprise</a:t>
            </a:r>
            <a:r>
              <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rPr>
              <a:t> </a:t>
            </a:r>
            <a:r>
              <a:rPr kumimoji="0" lang="en-US" sz="2000" b="1"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rPr>
              <a:t>Gateway </a:t>
            </a:r>
            <a:r>
              <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rPr>
              <a:t>has to be set up</a:t>
            </a: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r>
              <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rPr>
              <a:t>More live sources are expected in the future.</a:t>
            </a: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1"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1"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p:txBody>
      </p:sp>
      <p:sp>
        <p:nvSpPr>
          <p:cNvPr id="41" name="Rectangle 3"/>
          <p:cNvSpPr/>
          <p:nvPr/>
        </p:nvSpPr>
        <p:spPr bwMode="auto">
          <a:xfrm>
            <a:off x="3202216" y="665151"/>
            <a:ext cx="8105312" cy="44435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PT" sz="2000" b="0" i="1" u="none" strike="noStrike" kern="1200" cap="none" spc="0" normalizeH="0" baseline="0" noProof="0">
                <a:ln>
                  <a:noFill/>
                </a:ln>
                <a:solidFill>
                  <a:prstClr val="black"/>
                </a:solidFill>
                <a:effectLst/>
                <a:uLnTx/>
                <a:uFillTx/>
                <a:latin typeface="Segoe UI Light"/>
                <a:ea typeface="+mn-ea"/>
                <a:cs typeface="+mn-cs"/>
              </a:rPr>
              <a:t>Import or Connect to Data - Databases</a:t>
            </a:r>
            <a:endParaRPr kumimoji="0" lang="en-US" sz="2000" b="0" i="1" u="none" strike="noStrike" kern="1200" cap="none" spc="0" normalizeH="0" baseline="0" noProof="0">
              <a:ln>
                <a:noFill/>
              </a:ln>
              <a:solidFill>
                <a:prstClr val="black"/>
              </a:solidFill>
              <a:effectLst/>
              <a:uLnTx/>
              <a:uFillTx/>
              <a:latin typeface="Segoe UI Light"/>
              <a:ea typeface="+mn-ea"/>
              <a:cs typeface="+mn-cs"/>
            </a:endParaRPr>
          </a:p>
        </p:txBody>
      </p:sp>
      <p:pic>
        <p:nvPicPr>
          <p:cNvPr id="2" name="Picture 1"/>
          <p:cNvPicPr>
            <a:picLocks noChangeAspect="1"/>
          </p:cNvPicPr>
          <p:nvPr/>
        </p:nvPicPr>
        <p:blipFill>
          <a:blip r:embed="rId3"/>
          <a:stretch>
            <a:fillRect/>
          </a:stretch>
        </p:blipFill>
        <p:spPr>
          <a:xfrm>
            <a:off x="3645571" y="1423602"/>
            <a:ext cx="7749917" cy="1943736"/>
          </a:xfrm>
          <a:prstGeom prst="rect">
            <a:avLst/>
          </a:prstGeom>
          <a:ln>
            <a:noFill/>
          </a:ln>
          <a:effectLst>
            <a:outerShdw blurRad="190500" algn="tl" rotWithShape="0">
              <a:srgbClr val="000000">
                <a:alpha val="70000"/>
              </a:srgbClr>
            </a:outerShdw>
          </a:effectLst>
        </p:spPr>
      </p:pic>
      <p:grpSp>
        <p:nvGrpSpPr>
          <p:cNvPr id="39" name="Group 38"/>
          <p:cNvGrpSpPr/>
          <p:nvPr/>
        </p:nvGrpSpPr>
        <p:grpSpPr>
          <a:xfrm>
            <a:off x="-2887" y="973"/>
            <a:ext cx="2849058" cy="6857027"/>
            <a:chOff x="2" y="487"/>
            <a:chExt cx="2849058" cy="6857027"/>
          </a:xfrm>
        </p:grpSpPr>
        <p:sp>
          <p:nvSpPr>
            <p:cNvPr id="42" name="Rectangle 15"/>
            <p:cNvSpPr/>
            <p:nvPr/>
          </p:nvSpPr>
          <p:spPr bwMode="auto">
            <a:xfrm>
              <a:off x="2" y="487"/>
              <a:ext cx="2849058" cy="685702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3" name="Rectangle 145"/>
            <p:cNvSpPr/>
            <p:nvPr/>
          </p:nvSpPr>
          <p:spPr bwMode="auto">
            <a:xfrm>
              <a:off x="696152" y="956997"/>
              <a:ext cx="1821468" cy="3831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2C812"/>
                  </a:solidFill>
                  <a:effectLst/>
                  <a:uLnTx/>
                  <a:uFillTx/>
                  <a:latin typeface="Segoe UI"/>
                  <a:ea typeface="+mn-ea"/>
                  <a:cs typeface="Segoe UI Light" panose="020B0502040204020203" pitchFamily="34" charset="0"/>
                </a:rPr>
                <a:t>Get Data</a:t>
              </a:r>
              <a:endParaRPr kumimoji="0" lang="en-US" sz="1200" b="1" i="1" u="none" strike="noStrike" kern="1200" cap="none" spc="0" normalizeH="0" baseline="0" noProof="0">
                <a:ln>
                  <a:noFill/>
                </a:ln>
                <a:solidFill>
                  <a:srgbClr val="F2C812"/>
                </a:solidFill>
                <a:effectLst/>
                <a:uLnTx/>
                <a:uFillTx/>
                <a:latin typeface="Segoe UI"/>
                <a:ea typeface="+mn-ea"/>
                <a:cs typeface="Segoe UI Light" panose="020B0502040204020203" pitchFamily="34" charset="0"/>
              </a:endParaRPr>
            </a:p>
          </p:txBody>
        </p:sp>
        <p:grpSp>
          <p:nvGrpSpPr>
            <p:cNvPr id="44" name="Group 43"/>
            <p:cNvGrpSpPr/>
            <p:nvPr/>
          </p:nvGrpSpPr>
          <p:grpSpPr>
            <a:xfrm>
              <a:off x="219373" y="934583"/>
              <a:ext cx="433844" cy="433844"/>
              <a:chOff x="440005" y="997815"/>
              <a:chExt cx="296322" cy="296322"/>
            </a:xfrm>
          </p:grpSpPr>
          <p:sp>
            <p:nvSpPr>
              <p:cNvPr id="97" name="Oval 147"/>
              <p:cNvSpPr/>
              <p:nvPr/>
            </p:nvSpPr>
            <p:spPr bwMode="auto">
              <a:xfrm>
                <a:off x="440005" y="997815"/>
                <a:ext cx="296322" cy="296322"/>
              </a:xfrm>
              <a:prstGeom prst="ellipse">
                <a:avLst/>
              </a:prstGeom>
              <a:solidFill>
                <a:srgbClr val="FFCC00"/>
              </a:solidFill>
              <a:ln>
                <a:solidFill>
                  <a:srgbClr val="F2C81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98" name="Group 332"/>
              <p:cNvGrpSpPr/>
              <p:nvPr/>
            </p:nvGrpSpPr>
            <p:grpSpPr>
              <a:xfrm>
                <a:off x="482167" y="1059311"/>
                <a:ext cx="211997" cy="173292"/>
                <a:chOff x="2123129" y="293070"/>
                <a:chExt cx="2472585" cy="2021178"/>
              </a:xfrm>
            </p:grpSpPr>
            <p:sp>
              <p:nvSpPr>
                <p:cNvPr id="99" name="Freeform 13"/>
                <p:cNvSpPr>
                  <a:spLocks/>
                </p:cNvSpPr>
                <p:nvPr/>
              </p:nvSpPr>
              <p:spPr bwMode="auto">
                <a:xfrm rot="20700000">
                  <a:off x="3155853" y="872796"/>
                  <a:ext cx="1439861" cy="1441452"/>
                </a:xfrm>
                <a:custGeom>
                  <a:avLst/>
                  <a:gdLst>
                    <a:gd name="T0" fmla="*/ 138 w 441"/>
                    <a:gd name="T1" fmla="*/ 341 h 441"/>
                    <a:gd name="T2" fmla="*/ 183 w 441"/>
                    <a:gd name="T3" fmla="*/ 374 h 441"/>
                    <a:gd name="T4" fmla="*/ 220 w 441"/>
                    <a:gd name="T5" fmla="*/ 423 h 441"/>
                    <a:gd name="T6" fmla="*/ 422 w 441"/>
                    <a:gd name="T7" fmla="*/ 220 h 441"/>
                    <a:gd name="T8" fmla="*/ 373 w 441"/>
                    <a:gd name="T9" fmla="*/ 184 h 441"/>
                    <a:gd name="T10" fmla="*/ 341 w 441"/>
                    <a:gd name="T11" fmla="*/ 139 h 441"/>
                    <a:gd name="T12" fmla="*/ 382 w 441"/>
                    <a:gd name="T13" fmla="*/ 58 h 441"/>
                    <a:gd name="T14" fmla="*/ 302 w 441"/>
                    <a:gd name="T15" fmla="*/ 100 h 441"/>
                    <a:gd name="T16" fmla="*/ 257 w 441"/>
                    <a:gd name="T17" fmla="*/ 67 h 441"/>
                    <a:gd name="T18" fmla="*/ 220 w 441"/>
                    <a:gd name="T19" fmla="*/ 18 h 441"/>
                    <a:gd name="T20" fmla="*/ 171 w 441"/>
                    <a:gd name="T21" fmla="*/ 55 h 441"/>
                    <a:gd name="T22" fmla="*/ 138 w 441"/>
                    <a:gd name="T23" fmla="*/ 100 h 441"/>
                    <a:gd name="T24" fmla="*/ 180 w 441"/>
                    <a:gd name="T25" fmla="*/ 181 h 441"/>
                    <a:gd name="T26" fmla="*/ 100 w 441"/>
                    <a:gd name="T27" fmla="*/ 139 h 441"/>
                    <a:gd name="T28" fmla="*/ 55 w 441"/>
                    <a:gd name="T29" fmla="*/ 171 h 441"/>
                    <a:gd name="T30" fmla="*/ 18 w 441"/>
                    <a:gd name="T31" fmla="*/ 220 h 441"/>
                    <a:gd name="T32" fmla="*/ 67 w 441"/>
                    <a:gd name="T33" fmla="*/ 257 h 441"/>
                    <a:gd name="T34" fmla="*/ 100 w 441"/>
                    <a:gd name="T35" fmla="*/ 302 h 441"/>
                    <a:gd name="T36" fmla="*/ 58 w 441"/>
                    <a:gd name="T37" fmla="*/ 383 h 441"/>
                    <a:gd name="T38" fmla="*/ 138 w 441"/>
                    <a:gd name="T39" fmla="*/ 341 h 4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41" h="441">
                      <a:moveTo>
                        <a:pt x="138" y="341"/>
                      </a:moveTo>
                      <a:cubicBezTo>
                        <a:pt x="147" y="337"/>
                        <a:pt x="171" y="361"/>
                        <a:pt x="183" y="374"/>
                      </a:cubicBezTo>
                      <a:cubicBezTo>
                        <a:pt x="196" y="386"/>
                        <a:pt x="220" y="423"/>
                        <a:pt x="220" y="423"/>
                      </a:cubicBezTo>
                      <a:cubicBezTo>
                        <a:pt x="422" y="220"/>
                        <a:pt x="422" y="220"/>
                        <a:pt x="422" y="220"/>
                      </a:cubicBezTo>
                      <a:cubicBezTo>
                        <a:pt x="422" y="220"/>
                        <a:pt x="386" y="196"/>
                        <a:pt x="373" y="184"/>
                      </a:cubicBezTo>
                      <a:cubicBezTo>
                        <a:pt x="361" y="171"/>
                        <a:pt x="338" y="149"/>
                        <a:pt x="341" y="139"/>
                      </a:cubicBezTo>
                      <a:cubicBezTo>
                        <a:pt x="343" y="129"/>
                        <a:pt x="441" y="116"/>
                        <a:pt x="382" y="58"/>
                      </a:cubicBezTo>
                      <a:cubicBezTo>
                        <a:pt x="324" y="0"/>
                        <a:pt x="310" y="96"/>
                        <a:pt x="302" y="100"/>
                      </a:cubicBezTo>
                      <a:cubicBezTo>
                        <a:pt x="294" y="104"/>
                        <a:pt x="269" y="80"/>
                        <a:pt x="257" y="67"/>
                      </a:cubicBezTo>
                      <a:cubicBezTo>
                        <a:pt x="245" y="55"/>
                        <a:pt x="220" y="18"/>
                        <a:pt x="220" y="18"/>
                      </a:cubicBezTo>
                      <a:cubicBezTo>
                        <a:pt x="220" y="18"/>
                        <a:pt x="183" y="43"/>
                        <a:pt x="171" y="55"/>
                      </a:cubicBezTo>
                      <a:cubicBezTo>
                        <a:pt x="159" y="67"/>
                        <a:pt x="134" y="92"/>
                        <a:pt x="138" y="100"/>
                      </a:cubicBezTo>
                      <a:cubicBezTo>
                        <a:pt x="142" y="108"/>
                        <a:pt x="238" y="122"/>
                        <a:pt x="180" y="181"/>
                      </a:cubicBezTo>
                      <a:cubicBezTo>
                        <a:pt x="122" y="239"/>
                        <a:pt x="110" y="141"/>
                        <a:pt x="100" y="139"/>
                      </a:cubicBezTo>
                      <a:cubicBezTo>
                        <a:pt x="89" y="137"/>
                        <a:pt x="67" y="159"/>
                        <a:pt x="55" y="171"/>
                      </a:cubicBezTo>
                      <a:cubicBezTo>
                        <a:pt x="42" y="184"/>
                        <a:pt x="18" y="220"/>
                        <a:pt x="18" y="220"/>
                      </a:cubicBezTo>
                      <a:cubicBezTo>
                        <a:pt x="18" y="220"/>
                        <a:pt x="55" y="245"/>
                        <a:pt x="67" y="257"/>
                      </a:cubicBezTo>
                      <a:cubicBezTo>
                        <a:pt x="79" y="269"/>
                        <a:pt x="102" y="292"/>
                        <a:pt x="100" y="302"/>
                      </a:cubicBezTo>
                      <a:cubicBezTo>
                        <a:pt x="98" y="312"/>
                        <a:pt x="0" y="325"/>
                        <a:pt x="58" y="383"/>
                      </a:cubicBezTo>
                      <a:cubicBezTo>
                        <a:pt x="116" y="441"/>
                        <a:pt x="130" y="345"/>
                        <a:pt x="138" y="341"/>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100" name="Freeform 14"/>
                <p:cNvSpPr>
                  <a:spLocks/>
                </p:cNvSpPr>
                <p:nvPr/>
              </p:nvSpPr>
              <p:spPr bwMode="auto">
                <a:xfrm rot="9900000">
                  <a:off x="2123129" y="293070"/>
                  <a:ext cx="1377948" cy="1377947"/>
                </a:xfrm>
                <a:custGeom>
                  <a:avLst/>
                  <a:gdLst>
                    <a:gd name="T0" fmla="*/ 422 w 422"/>
                    <a:gd name="T1" fmla="*/ 220 h 422"/>
                    <a:gd name="T2" fmla="*/ 386 w 422"/>
                    <a:gd name="T3" fmla="*/ 171 h 422"/>
                    <a:gd name="T4" fmla="*/ 341 w 422"/>
                    <a:gd name="T5" fmla="*/ 138 h 422"/>
                    <a:gd name="T6" fmla="*/ 260 w 422"/>
                    <a:gd name="T7" fmla="*/ 180 h 422"/>
                    <a:gd name="T8" fmla="*/ 302 w 422"/>
                    <a:gd name="T9" fmla="*/ 100 h 422"/>
                    <a:gd name="T10" fmla="*/ 269 w 422"/>
                    <a:gd name="T11" fmla="*/ 55 h 422"/>
                    <a:gd name="T12" fmla="*/ 220 w 422"/>
                    <a:gd name="T13" fmla="*/ 18 h 422"/>
                    <a:gd name="T14" fmla="*/ 183 w 422"/>
                    <a:gd name="T15" fmla="*/ 67 h 422"/>
                    <a:gd name="T16" fmla="*/ 138 w 422"/>
                    <a:gd name="T17" fmla="*/ 100 h 422"/>
                    <a:gd name="T18" fmla="*/ 58 w 422"/>
                    <a:gd name="T19" fmla="*/ 58 h 422"/>
                    <a:gd name="T20" fmla="*/ 100 w 422"/>
                    <a:gd name="T21" fmla="*/ 138 h 422"/>
                    <a:gd name="T22" fmla="*/ 67 w 422"/>
                    <a:gd name="T23" fmla="*/ 183 h 422"/>
                    <a:gd name="T24" fmla="*/ 18 w 422"/>
                    <a:gd name="T25" fmla="*/ 220 h 422"/>
                    <a:gd name="T26" fmla="*/ 55 w 422"/>
                    <a:gd name="T27" fmla="*/ 269 h 422"/>
                    <a:gd name="T28" fmla="*/ 100 w 422"/>
                    <a:gd name="T29" fmla="*/ 302 h 422"/>
                    <a:gd name="T30" fmla="*/ 180 w 422"/>
                    <a:gd name="T31" fmla="*/ 260 h 422"/>
                    <a:gd name="T32" fmla="*/ 138 w 422"/>
                    <a:gd name="T33" fmla="*/ 341 h 422"/>
                    <a:gd name="T34" fmla="*/ 171 w 422"/>
                    <a:gd name="T35" fmla="*/ 386 h 422"/>
                    <a:gd name="T36" fmla="*/ 220 w 422"/>
                    <a:gd name="T37" fmla="*/ 422 h 422"/>
                    <a:gd name="T38" fmla="*/ 422 w 422"/>
                    <a:gd name="T39" fmla="*/ 220 h 4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22" h="422">
                      <a:moveTo>
                        <a:pt x="422" y="220"/>
                      </a:moveTo>
                      <a:cubicBezTo>
                        <a:pt x="422" y="220"/>
                        <a:pt x="398" y="183"/>
                        <a:pt x="386" y="171"/>
                      </a:cubicBezTo>
                      <a:cubicBezTo>
                        <a:pt x="373" y="159"/>
                        <a:pt x="349" y="134"/>
                        <a:pt x="341" y="138"/>
                      </a:cubicBezTo>
                      <a:cubicBezTo>
                        <a:pt x="332" y="142"/>
                        <a:pt x="318" y="239"/>
                        <a:pt x="260" y="180"/>
                      </a:cubicBezTo>
                      <a:cubicBezTo>
                        <a:pt x="202" y="122"/>
                        <a:pt x="300" y="110"/>
                        <a:pt x="302" y="100"/>
                      </a:cubicBezTo>
                      <a:cubicBezTo>
                        <a:pt x="304" y="90"/>
                        <a:pt x="281" y="67"/>
                        <a:pt x="269" y="55"/>
                      </a:cubicBezTo>
                      <a:cubicBezTo>
                        <a:pt x="257" y="42"/>
                        <a:pt x="220" y="18"/>
                        <a:pt x="220" y="18"/>
                      </a:cubicBezTo>
                      <a:cubicBezTo>
                        <a:pt x="220" y="18"/>
                        <a:pt x="196" y="55"/>
                        <a:pt x="183" y="67"/>
                      </a:cubicBezTo>
                      <a:cubicBezTo>
                        <a:pt x="171" y="79"/>
                        <a:pt x="149" y="102"/>
                        <a:pt x="138" y="100"/>
                      </a:cubicBezTo>
                      <a:cubicBezTo>
                        <a:pt x="128" y="98"/>
                        <a:pt x="116" y="0"/>
                        <a:pt x="58" y="58"/>
                      </a:cubicBezTo>
                      <a:cubicBezTo>
                        <a:pt x="0" y="116"/>
                        <a:pt x="96" y="130"/>
                        <a:pt x="100" y="138"/>
                      </a:cubicBezTo>
                      <a:cubicBezTo>
                        <a:pt x="104" y="147"/>
                        <a:pt x="79" y="171"/>
                        <a:pt x="67" y="183"/>
                      </a:cubicBezTo>
                      <a:cubicBezTo>
                        <a:pt x="55" y="196"/>
                        <a:pt x="18" y="220"/>
                        <a:pt x="18" y="220"/>
                      </a:cubicBezTo>
                      <a:cubicBezTo>
                        <a:pt x="18" y="220"/>
                        <a:pt x="42" y="257"/>
                        <a:pt x="55" y="269"/>
                      </a:cubicBezTo>
                      <a:cubicBezTo>
                        <a:pt x="67" y="281"/>
                        <a:pt x="91" y="306"/>
                        <a:pt x="100" y="302"/>
                      </a:cubicBezTo>
                      <a:cubicBezTo>
                        <a:pt x="108" y="298"/>
                        <a:pt x="122" y="202"/>
                        <a:pt x="180" y="260"/>
                      </a:cubicBezTo>
                      <a:cubicBezTo>
                        <a:pt x="238" y="318"/>
                        <a:pt x="140" y="330"/>
                        <a:pt x="138" y="341"/>
                      </a:cubicBezTo>
                      <a:cubicBezTo>
                        <a:pt x="136" y="351"/>
                        <a:pt x="159" y="373"/>
                        <a:pt x="171" y="386"/>
                      </a:cubicBezTo>
                      <a:cubicBezTo>
                        <a:pt x="183" y="398"/>
                        <a:pt x="220" y="422"/>
                        <a:pt x="220" y="422"/>
                      </a:cubicBezTo>
                      <a:lnTo>
                        <a:pt x="422" y="22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grpSp>
        </p:grpSp>
        <p:sp>
          <p:nvSpPr>
            <p:cNvPr id="51" name="Rectangle 152"/>
            <p:cNvSpPr/>
            <p:nvPr/>
          </p:nvSpPr>
          <p:spPr bwMode="auto">
            <a:xfrm>
              <a:off x="669652" y="2738277"/>
              <a:ext cx="1805162" cy="37532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2C812"/>
                  </a:solidFill>
                  <a:effectLst/>
                  <a:uLnTx/>
                  <a:uFillTx/>
                  <a:latin typeface="Segoe UI"/>
                  <a:ea typeface="+mn-ea"/>
                  <a:cs typeface="Segoe UI Light" panose="020B0502040204020203" pitchFamily="34" charset="0"/>
                </a:rPr>
                <a:t>Keeping Data Current</a:t>
              </a:r>
            </a:p>
          </p:txBody>
        </p:sp>
        <p:grpSp>
          <p:nvGrpSpPr>
            <p:cNvPr id="80" name="Group 79"/>
            <p:cNvGrpSpPr/>
            <p:nvPr/>
          </p:nvGrpSpPr>
          <p:grpSpPr>
            <a:xfrm>
              <a:off x="199649" y="2692629"/>
              <a:ext cx="433844" cy="433844"/>
              <a:chOff x="342620" y="2228265"/>
              <a:chExt cx="433844" cy="433844"/>
            </a:xfrm>
            <a:solidFill>
              <a:schemeClr val="bg1"/>
            </a:solidFill>
          </p:grpSpPr>
          <p:sp>
            <p:nvSpPr>
              <p:cNvPr id="95" name="Oval 154"/>
              <p:cNvSpPr/>
              <p:nvPr/>
            </p:nvSpPr>
            <p:spPr bwMode="auto">
              <a:xfrm>
                <a:off x="342620" y="2228265"/>
                <a:ext cx="433844" cy="433844"/>
              </a:xfrm>
              <a:prstGeom prst="ellipse">
                <a:avLst/>
              </a:prstGeom>
              <a:solidFill>
                <a:srgbClr val="FFC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6" name="Freeform 30"/>
              <p:cNvSpPr>
                <a:spLocks noEditPoints="1"/>
              </p:cNvSpPr>
              <p:nvPr/>
            </p:nvSpPr>
            <p:spPr bwMode="auto">
              <a:xfrm>
                <a:off x="444786" y="2340040"/>
                <a:ext cx="238402" cy="210293"/>
              </a:xfrm>
              <a:custGeom>
                <a:avLst/>
                <a:gdLst>
                  <a:gd name="T0" fmla="*/ 883 w 916"/>
                  <a:gd name="T1" fmla="*/ 286 h 808"/>
                  <a:gd name="T2" fmla="*/ 539 w 916"/>
                  <a:gd name="T3" fmla="*/ 723 h 808"/>
                  <a:gd name="T4" fmla="*/ 504 w 916"/>
                  <a:gd name="T5" fmla="*/ 0 h 808"/>
                  <a:gd name="T6" fmla="*/ 35 w 916"/>
                  <a:gd name="T7" fmla="*/ 723 h 808"/>
                  <a:gd name="T8" fmla="*/ 0 w 916"/>
                  <a:gd name="T9" fmla="*/ 808 h 808"/>
                  <a:gd name="T10" fmla="*/ 916 w 916"/>
                  <a:gd name="T11" fmla="*/ 723 h 808"/>
                  <a:gd name="T12" fmla="*/ 229 w 916"/>
                  <a:gd name="T13" fmla="*/ 665 h 808"/>
                  <a:gd name="T14" fmla="*/ 109 w 916"/>
                  <a:gd name="T15" fmla="*/ 596 h 808"/>
                  <a:gd name="T16" fmla="*/ 229 w 916"/>
                  <a:gd name="T17" fmla="*/ 665 h 808"/>
                  <a:gd name="T18" fmla="*/ 109 w 916"/>
                  <a:gd name="T19" fmla="*/ 501 h 808"/>
                  <a:gd name="T20" fmla="*/ 229 w 916"/>
                  <a:gd name="T21" fmla="*/ 432 h 808"/>
                  <a:gd name="T22" fmla="*/ 229 w 916"/>
                  <a:gd name="T23" fmla="*/ 337 h 808"/>
                  <a:gd name="T24" fmla="*/ 109 w 916"/>
                  <a:gd name="T25" fmla="*/ 267 h 808"/>
                  <a:gd name="T26" fmla="*/ 229 w 916"/>
                  <a:gd name="T27" fmla="*/ 337 h 808"/>
                  <a:gd name="T28" fmla="*/ 109 w 916"/>
                  <a:gd name="T29" fmla="*/ 172 h 808"/>
                  <a:gd name="T30" fmla="*/ 229 w 916"/>
                  <a:gd name="T31" fmla="*/ 103 h 808"/>
                  <a:gd name="T32" fmla="*/ 428 w 916"/>
                  <a:gd name="T33" fmla="*/ 665 h 808"/>
                  <a:gd name="T34" fmla="*/ 307 w 916"/>
                  <a:gd name="T35" fmla="*/ 596 h 808"/>
                  <a:gd name="T36" fmla="*/ 428 w 916"/>
                  <a:gd name="T37" fmla="*/ 665 h 808"/>
                  <a:gd name="T38" fmla="*/ 307 w 916"/>
                  <a:gd name="T39" fmla="*/ 501 h 808"/>
                  <a:gd name="T40" fmla="*/ 428 w 916"/>
                  <a:gd name="T41" fmla="*/ 432 h 808"/>
                  <a:gd name="T42" fmla="*/ 428 w 916"/>
                  <a:gd name="T43" fmla="*/ 337 h 808"/>
                  <a:gd name="T44" fmla="*/ 307 w 916"/>
                  <a:gd name="T45" fmla="*/ 267 h 808"/>
                  <a:gd name="T46" fmla="*/ 428 w 916"/>
                  <a:gd name="T47" fmla="*/ 337 h 808"/>
                  <a:gd name="T48" fmla="*/ 307 w 916"/>
                  <a:gd name="T49" fmla="*/ 172 h 808"/>
                  <a:gd name="T50" fmla="*/ 428 w 916"/>
                  <a:gd name="T51" fmla="*/ 103 h 808"/>
                  <a:gd name="T52" fmla="*/ 684 w 916"/>
                  <a:gd name="T53" fmla="*/ 668 h 808"/>
                  <a:gd name="T54" fmla="*/ 606 w 916"/>
                  <a:gd name="T55" fmla="*/ 549 h 808"/>
                  <a:gd name="T56" fmla="*/ 684 w 916"/>
                  <a:gd name="T57" fmla="*/ 668 h 808"/>
                  <a:gd name="T58" fmla="*/ 606 w 916"/>
                  <a:gd name="T59" fmla="*/ 482 h 808"/>
                  <a:gd name="T60" fmla="*/ 684 w 916"/>
                  <a:gd name="T61" fmla="*/ 365 h 808"/>
                  <a:gd name="T62" fmla="*/ 816 w 916"/>
                  <a:gd name="T63" fmla="*/ 668 h 808"/>
                  <a:gd name="T64" fmla="*/ 738 w 916"/>
                  <a:gd name="T65" fmla="*/ 549 h 808"/>
                  <a:gd name="T66" fmla="*/ 816 w 916"/>
                  <a:gd name="T67" fmla="*/ 668 h 808"/>
                  <a:gd name="T68" fmla="*/ 738 w 916"/>
                  <a:gd name="T69" fmla="*/ 482 h 808"/>
                  <a:gd name="T70" fmla="*/ 816 w 916"/>
                  <a:gd name="T71" fmla="*/ 365 h 8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16" h="808">
                    <a:moveTo>
                      <a:pt x="883" y="723"/>
                    </a:moveTo>
                    <a:lnTo>
                      <a:pt x="883" y="286"/>
                    </a:lnTo>
                    <a:lnTo>
                      <a:pt x="539" y="286"/>
                    </a:lnTo>
                    <a:lnTo>
                      <a:pt x="539" y="723"/>
                    </a:lnTo>
                    <a:lnTo>
                      <a:pt x="504" y="723"/>
                    </a:lnTo>
                    <a:lnTo>
                      <a:pt x="504" y="0"/>
                    </a:lnTo>
                    <a:lnTo>
                      <a:pt x="35" y="0"/>
                    </a:lnTo>
                    <a:lnTo>
                      <a:pt x="35" y="723"/>
                    </a:lnTo>
                    <a:lnTo>
                      <a:pt x="0" y="723"/>
                    </a:lnTo>
                    <a:lnTo>
                      <a:pt x="0" y="808"/>
                    </a:lnTo>
                    <a:lnTo>
                      <a:pt x="916" y="808"/>
                    </a:lnTo>
                    <a:lnTo>
                      <a:pt x="916" y="723"/>
                    </a:lnTo>
                    <a:lnTo>
                      <a:pt x="883" y="723"/>
                    </a:lnTo>
                    <a:close/>
                    <a:moveTo>
                      <a:pt x="229" y="665"/>
                    </a:moveTo>
                    <a:lnTo>
                      <a:pt x="109" y="665"/>
                    </a:lnTo>
                    <a:lnTo>
                      <a:pt x="109" y="596"/>
                    </a:lnTo>
                    <a:lnTo>
                      <a:pt x="229" y="596"/>
                    </a:lnTo>
                    <a:lnTo>
                      <a:pt x="229" y="665"/>
                    </a:lnTo>
                    <a:close/>
                    <a:moveTo>
                      <a:pt x="229" y="501"/>
                    </a:moveTo>
                    <a:lnTo>
                      <a:pt x="109" y="501"/>
                    </a:lnTo>
                    <a:lnTo>
                      <a:pt x="109" y="432"/>
                    </a:lnTo>
                    <a:lnTo>
                      <a:pt x="229" y="432"/>
                    </a:lnTo>
                    <a:lnTo>
                      <a:pt x="229" y="501"/>
                    </a:lnTo>
                    <a:close/>
                    <a:moveTo>
                      <a:pt x="229" y="337"/>
                    </a:moveTo>
                    <a:lnTo>
                      <a:pt x="109" y="337"/>
                    </a:lnTo>
                    <a:lnTo>
                      <a:pt x="109" y="267"/>
                    </a:lnTo>
                    <a:lnTo>
                      <a:pt x="229" y="267"/>
                    </a:lnTo>
                    <a:lnTo>
                      <a:pt x="229" y="337"/>
                    </a:lnTo>
                    <a:close/>
                    <a:moveTo>
                      <a:pt x="229" y="172"/>
                    </a:moveTo>
                    <a:lnTo>
                      <a:pt x="109" y="172"/>
                    </a:lnTo>
                    <a:lnTo>
                      <a:pt x="109" y="103"/>
                    </a:lnTo>
                    <a:lnTo>
                      <a:pt x="229" y="103"/>
                    </a:lnTo>
                    <a:lnTo>
                      <a:pt x="229" y="172"/>
                    </a:lnTo>
                    <a:close/>
                    <a:moveTo>
                      <a:pt x="428" y="665"/>
                    </a:moveTo>
                    <a:lnTo>
                      <a:pt x="307" y="665"/>
                    </a:lnTo>
                    <a:lnTo>
                      <a:pt x="307" y="596"/>
                    </a:lnTo>
                    <a:lnTo>
                      <a:pt x="428" y="596"/>
                    </a:lnTo>
                    <a:lnTo>
                      <a:pt x="428" y="665"/>
                    </a:lnTo>
                    <a:close/>
                    <a:moveTo>
                      <a:pt x="428" y="501"/>
                    </a:moveTo>
                    <a:lnTo>
                      <a:pt x="307" y="501"/>
                    </a:lnTo>
                    <a:lnTo>
                      <a:pt x="307" y="432"/>
                    </a:lnTo>
                    <a:lnTo>
                      <a:pt x="428" y="432"/>
                    </a:lnTo>
                    <a:lnTo>
                      <a:pt x="428" y="501"/>
                    </a:lnTo>
                    <a:close/>
                    <a:moveTo>
                      <a:pt x="428" y="337"/>
                    </a:moveTo>
                    <a:lnTo>
                      <a:pt x="307" y="337"/>
                    </a:lnTo>
                    <a:lnTo>
                      <a:pt x="307" y="267"/>
                    </a:lnTo>
                    <a:lnTo>
                      <a:pt x="428" y="267"/>
                    </a:lnTo>
                    <a:lnTo>
                      <a:pt x="428" y="337"/>
                    </a:lnTo>
                    <a:close/>
                    <a:moveTo>
                      <a:pt x="428" y="172"/>
                    </a:moveTo>
                    <a:lnTo>
                      <a:pt x="307" y="172"/>
                    </a:lnTo>
                    <a:lnTo>
                      <a:pt x="307" y="103"/>
                    </a:lnTo>
                    <a:lnTo>
                      <a:pt x="428" y="103"/>
                    </a:lnTo>
                    <a:lnTo>
                      <a:pt x="428" y="172"/>
                    </a:lnTo>
                    <a:close/>
                    <a:moveTo>
                      <a:pt x="684" y="668"/>
                    </a:moveTo>
                    <a:lnTo>
                      <a:pt x="606" y="668"/>
                    </a:lnTo>
                    <a:lnTo>
                      <a:pt x="606" y="549"/>
                    </a:lnTo>
                    <a:lnTo>
                      <a:pt x="684" y="549"/>
                    </a:lnTo>
                    <a:lnTo>
                      <a:pt x="684" y="668"/>
                    </a:lnTo>
                    <a:close/>
                    <a:moveTo>
                      <a:pt x="684" y="482"/>
                    </a:moveTo>
                    <a:lnTo>
                      <a:pt x="606" y="482"/>
                    </a:lnTo>
                    <a:lnTo>
                      <a:pt x="606" y="365"/>
                    </a:lnTo>
                    <a:lnTo>
                      <a:pt x="684" y="365"/>
                    </a:lnTo>
                    <a:lnTo>
                      <a:pt x="684" y="482"/>
                    </a:lnTo>
                    <a:close/>
                    <a:moveTo>
                      <a:pt x="816" y="668"/>
                    </a:moveTo>
                    <a:lnTo>
                      <a:pt x="738" y="668"/>
                    </a:lnTo>
                    <a:lnTo>
                      <a:pt x="738" y="549"/>
                    </a:lnTo>
                    <a:lnTo>
                      <a:pt x="816" y="549"/>
                    </a:lnTo>
                    <a:lnTo>
                      <a:pt x="816" y="668"/>
                    </a:lnTo>
                    <a:close/>
                    <a:moveTo>
                      <a:pt x="816" y="482"/>
                    </a:moveTo>
                    <a:lnTo>
                      <a:pt x="738" y="482"/>
                    </a:lnTo>
                    <a:lnTo>
                      <a:pt x="738" y="365"/>
                    </a:lnTo>
                    <a:lnTo>
                      <a:pt x="816" y="365"/>
                    </a:lnTo>
                    <a:lnTo>
                      <a:pt x="816" y="482"/>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grpSp>
        <p:sp>
          <p:nvSpPr>
            <p:cNvPr id="81" name="TextBox 80"/>
            <p:cNvSpPr txBox="1"/>
            <p:nvPr/>
          </p:nvSpPr>
          <p:spPr>
            <a:xfrm>
              <a:off x="83345" y="113808"/>
              <a:ext cx="2532630" cy="627864"/>
            </a:xfrm>
            <a:prstGeom prst="rect">
              <a:avLst/>
            </a:prstGeom>
            <a:noFill/>
          </p:spPr>
          <p:txBody>
            <a:bodyPr wrap="square" lIns="182880" tIns="146304" rIns="182880" bIns="146304" rtlCol="0">
              <a:spAutoFit/>
            </a:bodyPr>
            <a:lstStyle>
              <a:defPPr>
                <a:defRPr lang="en-US"/>
              </a:defPPr>
              <a:lvl1pPr>
                <a:lnSpc>
                  <a:spcPct val="90000"/>
                </a:lnSpc>
                <a:spcAft>
                  <a:spcPts val="600"/>
                </a:spcAft>
                <a:defRPr sz="2800" b="1">
                  <a:solidFill>
                    <a:srgbClr val="F2C812"/>
                  </a:solidFill>
                  <a:latin typeface="Segoe UI Light"/>
                </a:defRPr>
              </a:lvl1p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400" b="1" i="0" u="none" strike="noStrike" kern="1200" cap="none" spc="0" normalizeH="0" baseline="0" noProof="0">
                  <a:ln>
                    <a:noFill/>
                  </a:ln>
                  <a:solidFill>
                    <a:srgbClr val="F2C812"/>
                  </a:solidFill>
                  <a:effectLst/>
                  <a:uLnTx/>
                  <a:uFillTx/>
                  <a:latin typeface="Segoe UI Light"/>
                  <a:ea typeface="+mn-ea"/>
                  <a:cs typeface="+mn-cs"/>
                </a:rPr>
                <a:t>Power BI Service</a:t>
              </a:r>
              <a:endParaRPr kumimoji="0" lang="en-US" sz="2800" b="1" i="0" u="none" strike="noStrike" kern="1200" cap="none" spc="0" normalizeH="0" baseline="0" noProof="0">
                <a:ln>
                  <a:noFill/>
                </a:ln>
                <a:solidFill>
                  <a:srgbClr val="F2C812"/>
                </a:solidFill>
                <a:effectLst/>
                <a:uLnTx/>
                <a:uFillTx/>
                <a:latin typeface="Segoe UI Light"/>
                <a:ea typeface="+mn-ea"/>
                <a:cs typeface="+mn-cs"/>
              </a:endParaRPr>
            </a:p>
          </p:txBody>
        </p:sp>
        <p:grpSp>
          <p:nvGrpSpPr>
            <p:cNvPr id="82" name="Group 81"/>
            <p:cNvGrpSpPr/>
            <p:nvPr/>
          </p:nvGrpSpPr>
          <p:grpSpPr>
            <a:xfrm>
              <a:off x="219373" y="3621383"/>
              <a:ext cx="433844" cy="645668"/>
              <a:chOff x="280990" y="3358164"/>
              <a:chExt cx="433844" cy="645668"/>
            </a:xfrm>
          </p:grpSpPr>
          <p:sp>
            <p:nvSpPr>
              <p:cNvPr id="88" name="Oval 1083"/>
              <p:cNvSpPr/>
              <p:nvPr/>
            </p:nvSpPr>
            <p:spPr bwMode="auto">
              <a:xfrm>
                <a:off x="280990" y="3358164"/>
                <a:ext cx="433844" cy="433847"/>
              </a:xfrm>
              <a:prstGeom prst="ellipse">
                <a:avLst/>
              </a:prstGeom>
              <a:solidFill>
                <a:srgbClr val="F2C812"/>
              </a:solidFill>
              <a:ln>
                <a:solidFill>
                  <a:srgbClr val="FFCC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89" name="Group 379"/>
              <p:cNvGrpSpPr/>
              <p:nvPr/>
            </p:nvGrpSpPr>
            <p:grpSpPr>
              <a:xfrm>
                <a:off x="453702" y="3910852"/>
                <a:ext cx="175660" cy="92980"/>
                <a:chOff x="3895793" y="7466656"/>
                <a:chExt cx="785810" cy="415941"/>
              </a:xfrm>
              <a:solidFill>
                <a:srgbClr val="00BCF2"/>
              </a:solidFill>
            </p:grpSpPr>
            <p:sp>
              <p:nvSpPr>
                <p:cNvPr id="90" name="Freeform 132"/>
                <p:cNvSpPr>
                  <a:spLocks/>
                </p:cNvSpPr>
                <p:nvPr/>
              </p:nvSpPr>
              <p:spPr bwMode="auto">
                <a:xfrm>
                  <a:off x="4125979" y="7688918"/>
                  <a:ext cx="0" cy="6353"/>
                </a:xfrm>
                <a:custGeom>
                  <a:avLst/>
                  <a:gdLst>
                    <a:gd name="T0" fmla="*/ 1 w 1"/>
                    <a:gd name="T1" fmla="*/ 0 h 8"/>
                    <a:gd name="T2" fmla="*/ 0 w 1"/>
                    <a:gd name="T3" fmla="*/ 0 h 8"/>
                    <a:gd name="T4" fmla="*/ 1 w 1"/>
                    <a:gd name="T5" fmla="*/ 8 h 8"/>
                    <a:gd name="T6" fmla="*/ 1 w 1"/>
                    <a:gd name="T7" fmla="*/ 0 h 8"/>
                  </a:gdLst>
                  <a:ahLst/>
                  <a:cxnLst>
                    <a:cxn ang="0">
                      <a:pos x="T0" y="T1"/>
                    </a:cxn>
                    <a:cxn ang="0">
                      <a:pos x="T2" y="T3"/>
                    </a:cxn>
                    <a:cxn ang="0">
                      <a:pos x="T4" y="T5"/>
                    </a:cxn>
                    <a:cxn ang="0">
                      <a:pos x="T6" y="T7"/>
                    </a:cxn>
                  </a:cxnLst>
                  <a:rect l="0" t="0" r="r" b="b"/>
                  <a:pathLst>
                    <a:path w="1" h="8">
                      <a:moveTo>
                        <a:pt x="1" y="0"/>
                      </a:moveTo>
                      <a:cubicBezTo>
                        <a:pt x="0" y="0"/>
                        <a:pt x="0" y="0"/>
                        <a:pt x="0" y="0"/>
                      </a:cubicBezTo>
                      <a:cubicBezTo>
                        <a:pt x="0" y="3"/>
                        <a:pt x="1" y="5"/>
                        <a:pt x="1" y="8"/>
                      </a:cubicBezTo>
                      <a:lnTo>
                        <a:pt x="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91" name="Freeform 133"/>
                <p:cNvSpPr>
                  <a:spLocks/>
                </p:cNvSpPr>
                <p:nvPr/>
              </p:nvSpPr>
              <p:spPr bwMode="auto">
                <a:xfrm>
                  <a:off x="3895793" y="7812745"/>
                  <a:ext cx="219078" cy="69852"/>
                </a:xfrm>
                <a:custGeom>
                  <a:avLst/>
                  <a:gdLst>
                    <a:gd name="T0" fmla="*/ 186 w 238"/>
                    <a:gd name="T1" fmla="*/ 9 h 76"/>
                    <a:gd name="T2" fmla="*/ 131 w 238"/>
                    <a:gd name="T3" fmla="*/ 22 h 76"/>
                    <a:gd name="T4" fmla="*/ 60 w 238"/>
                    <a:gd name="T5" fmla="*/ 0 h 76"/>
                    <a:gd name="T6" fmla="*/ 0 w 238"/>
                    <a:gd name="T7" fmla="*/ 42 h 76"/>
                    <a:gd name="T8" fmla="*/ 0 w 238"/>
                    <a:gd name="T9" fmla="*/ 76 h 76"/>
                    <a:gd name="T10" fmla="*/ 238 w 238"/>
                    <a:gd name="T11" fmla="*/ 76 h 76"/>
                    <a:gd name="T12" fmla="*/ 236 w 238"/>
                    <a:gd name="T13" fmla="*/ 53 h 76"/>
                    <a:gd name="T14" fmla="*/ 236 w 238"/>
                    <a:gd name="T15" fmla="*/ 49 h 76"/>
                    <a:gd name="T16" fmla="*/ 186 w 238"/>
                    <a:gd name="T17" fmla="*/ 9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8" h="76">
                      <a:moveTo>
                        <a:pt x="186" y="9"/>
                      </a:moveTo>
                      <a:cubicBezTo>
                        <a:pt x="169" y="18"/>
                        <a:pt x="150" y="22"/>
                        <a:pt x="131" y="22"/>
                      </a:cubicBezTo>
                      <a:cubicBezTo>
                        <a:pt x="105" y="22"/>
                        <a:pt x="80" y="14"/>
                        <a:pt x="60" y="0"/>
                      </a:cubicBezTo>
                      <a:cubicBezTo>
                        <a:pt x="0" y="42"/>
                        <a:pt x="0" y="42"/>
                        <a:pt x="0" y="42"/>
                      </a:cubicBezTo>
                      <a:cubicBezTo>
                        <a:pt x="0" y="76"/>
                        <a:pt x="0" y="76"/>
                        <a:pt x="0" y="76"/>
                      </a:cubicBezTo>
                      <a:cubicBezTo>
                        <a:pt x="238" y="76"/>
                        <a:pt x="238" y="76"/>
                        <a:pt x="238" y="76"/>
                      </a:cubicBezTo>
                      <a:cubicBezTo>
                        <a:pt x="237" y="68"/>
                        <a:pt x="236" y="61"/>
                        <a:pt x="236" y="53"/>
                      </a:cubicBezTo>
                      <a:cubicBezTo>
                        <a:pt x="236" y="51"/>
                        <a:pt x="236" y="50"/>
                        <a:pt x="236" y="49"/>
                      </a:cubicBezTo>
                      <a:lnTo>
                        <a:pt x="186" y="9"/>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92" name="Freeform 137"/>
                <p:cNvSpPr>
                  <a:spLocks/>
                </p:cNvSpPr>
                <p:nvPr/>
              </p:nvSpPr>
              <p:spPr bwMode="auto">
                <a:xfrm>
                  <a:off x="4338704" y="7809561"/>
                  <a:ext cx="65090" cy="73028"/>
                </a:xfrm>
                <a:custGeom>
                  <a:avLst/>
                  <a:gdLst>
                    <a:gd name="T0" fmla="*/ 71 w 71"/>
                    <a:gd name="T1" fmla="*/ 79 h 79"/>
                    <a:gd name="T2" fmla="*/ 71 w 71"/>
                    <a:gd name="T3" fmla="*/ 0 h 79"/>
                    <a:gd name="T4" fmla="*/ 2 w 71"/>
                    <a:gd name="T5" fmla="*/ 53 h 79"/>
                    <a:gd name="T6" fmla="*/ 2 w 71"/>
                    <a:gd name="T7" fmla="*/ 56 h 79"/>
                    <a:gd name="T8" fmla="*/ 0 w 71"/>
                    <a:gd name="T9" fmla="*/ 79 h 79"/>
                    <a:gd name="T10" fmla="*/ 71 w 71"/>
                    <a:gd name="T11" fmla="*/ 79 h 79"/>
                  </a:gdLst>
                  <a:ahLst/>
                  <a:cxnLst>
                    <a:cxn ang="0">
                      <a:pos x="T0" y="T1"/>
                    </a:cxn>
                    <a:cxn ang="0">
                      <a:pos x="T2" y="T3"/>
                    </a:cxn>
                    <a:cxn ang="0">
                      <a:pos x="T4" y="T5"/>
                    </a:cxn>
                    <a:cxn ang="0">
                      <a:pos x="T6" y="T7"/>
                    </a:cxn>
                    <a:cxn ang="0">
                      <a:pos x="T8" y="T9"/>
                    </a:cxn>
                    <a:cxn ang="0">
                      <a:pos x="T10" y="T11"/>
                    </a:cxn>
                  </a:cxnLst>
                  <a:rect l="0" t="0" r="r" b="b"/>
                  <a:pathLst>
                    <a:path w="71" h="79">
                      <a:moveTo>
                        <a:pt x="71" y="79"/>
                      </a:moveTo>
                      <a:cubicBezTo>
                        <a:pt x="71" y="0"/>
                        <a:pt x="71" y="0"/>
                        <a:pt x="71" y="0"/>
                      </a:cubicBezTo>
                      <a:cubicBezTo>
                        <a:pt x="2" y="53"/>
                        <a:pt x="2" y="53"/>
                        <a:pt x="2" y="53"/>
                      </a:cubicBezTo>
                      <a:cubicBezTo>
                        <a:pt x="2" y="54"/>
                        <a:pt x="2" y="55"/>
                        <a:pt x="2" y="56"/>
                      </a:cubicBezTo>
                      <a:cubicBezTo>
                        <a:pt x="2" y="64"/>
                        <a:pt x="1" y="71"/>
                        <a:pt x="0" y="79"/>
                      </a:cubicBezTo>
                      <a:lnTo>
                        <a:pt x="71" y="79"/>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93" name="Freeform 140"/>
                <p:cNvSpPr>
                  <a:spLocks/>
                </p:cNvSpPr>
                <p:nvPr/>
              </p:nvSpPr>
              <p:spPr bwMode="auto">
                <a:xfrm>
                  <a:off x="4600643" y="7622229"/>
                  <a:ext cx="80960" cy="38099"/>
                </a:xfrm>
                <a:custGeom>
                  <a:avLst/>
                  <a:gdLst>
                    <a:gd name="T0" fmla="*/ 0 w 51"/>
                    <a:gd name="T1" fmla="*/ 24 h 24"/>
                    <a:gd name="T2" fmla="*/ 51 w 51"/>
                    <a:gd name="T3" fmla="*/ 24 h 24"/>
                    <a:gd name="T4" fmla="*/ 32 w 51"/>
                    <a:gd name="T5" fmla="*/ 0 h 24"/>
                    <a:gd name="T6" fmla="*/ 0 w 51"/>
                    <a:gd name="T7" fmla="*/ 24 h 24"/>
                  </a:gdLst>
                  <a:ahLst/>
                  <a:cxnLst>
                    <a:cxn ang="0">
                      <a:pos x="T0" y="T1"/>
                    </a:cxn>
                    <a:cxn ang="0">
                      <a:pos x="T2" y="T3"/>
                    </a:cxn>
                    <a:cxn ang="0">
                      <a:pos x="T4" y="T5"/>
                    </a:cxn>
                    <a:cxn ang="0">
                      <a:pos x="T6" y="T7"/>
                    </a:cxn>
                  </a:cxnLst>
                  <a:rect l="0" t="0" r="r" b="b"/>
                  <a:pathLst>
                    <a:path w="51" h="24">
                      <a:moveTo>
                        <a:pt x="0" y="24"/>
                      </a:moveTo>
                      <a:lnTo>
                        <a:pt x="51" y="24"/>
                      </a:lnTo>
                      <a:lnTo>
                        <a:pt x="32" y="0"/>
                      </a:lnTo>
                      <a:lnTo>
                        <a:pt x="0" y="24"/>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94" name="Freeform 141"/>
                <p:cNvSpPr>
                  <a:spLocks/>
                </p:cNvSpPr>
                <p:nvPr/>
              </p:nvSpPr>
              <p:spPr bwMode="auto">
                <a:xfrm>
                  <a:off x="4449825" y="7466656"/>
                  <a:ext cx="119065" cy="139703"/>
                </a:xfrm>
                <a:custGeom>
                  <a:avLst/>
                  <a:gdLst>
                    <a:gd name="T0" fmla="*/ 52 w 75"/>
                    <a:gd name="T1" fmla="*/ 0 h 88"/>
                    <a:gd name="T2" fmla="*/ 0 w 75"/>
                    <a:gd name="T3" fmla="*/ 0 h 88"/>
                    <a:gd name="T4" fmla="*/ 0 w 75"/>
                    <a:gd name="T5" fmla="*/ 88 h 88"/>
                    <a:gd name="T6" fmla="*/ 75 w 75"/>
                    <a:gd name="T7" fmla="*/ 30 h 88"/>
                    <a:gd name="T8" fmla="*/ 52 w 75"/>
                    <a:gd name="T9" fmla="*/ 0 h 88"/>
                  </a:gdLst>
                  <a:ahLst/>
                  <a:cxnLst>
                    <a:cxn ang="0">
                      <a:pos x="T0" y="T1"/>
                    </a:cxn>
                    <a:cxn ang="0">
                      <a:pos x="T2" y="T3"/>
                    </a:cxn>
                    <a:cxn ang="0">
                      <a:pos x="T4" y="T5"/>
                    </a:cxn>
                    <a:cxn ang="0">
                      <a:pos x="T6" y="T7"/>
                    </a:cxn>
                    <a:cxn ang="0">
                      <a:pos x="T8" y="T9"/>
                    </a:cxn>
                  </a:cxnLst>
                  <a:rect l="0" t="0" r="r" b="b"/>
                  <a:pathLst>
                    <a:path w="75" h="88">
                      <a:moveTo>
                        <a:pt x="52" y="0"/>
                      </a:moveTo>
                      <a:lnTo>
                        <a:pt x="0" y="0"/>
                      </a:lnTo>
                      <a:lnTo>
                        <a:pt x="0" y="88"/>
                      </a:lnTo>
                      <a:lnTo>
                        <a:pt x="75" y="30"/>
                      </a:lnTo>
                      <a:lnTo>
                        <a:pt x="52"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grpSp>
        </p:grpSp>
        <p:sp>
          <p:nvSpPr>
            <p:cNvPr id="83" name="Rectangle 152"/>
            <p:cNvSpPr/>
            <p:nvPr/>
          </p:nvSpPr>
          <p:spPr bwMode="auto">
            <a:xfrm>
              <a:off x="712458" y="3628917"/>
              <a:ext cx="1805162" cy="37532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2C812"/>
                  </a:solidFill>
                  <a:effectLst/>
                  <a:uLnTx/>
                  <a:uFillTx/>
                  <a:latin typeface="Segoe UI"/>
                  <a:ea typeface="+mn-ea"/>
                  <a:cs typeface="Segoe UI Light" panose="020B0502040204020203" pitchFamily="34" charset="0"/>
                </a:rPr>
                <a:t>Q&amp;A and </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2C812"/>
                  </a:solidFill>
                  <a:effectLst/>
                  <a:uLnTx/>
                  <a:uFillTx/>
                  <a:latin typeface="Segoe UI"/>
                  <a:ea typeface="+mn-ea"/>
                  <a:cs typeface="Segoe UI Light" panose="020B0502040204020203" pitchFamily="34" charset="0"/>
                </a:rPr>
                <a:t>Quick Insights</a:t>
              </a:r>
              <a:endParaRPr kumimoji="0" lang="en-US" sz="1200" b="1" i="0" u="none" strike="noStrike" kern="1200" cap="none" spc="0" normalizeH="0" baseline="0" noProof="0">
                <a:ln>
                  <a:noFill/>
                </a:ln>
                <a:solidFill>
                  <a:srgbClr val="F2C812"/>
                </a:solidFill>
                <a:effectLst/>
                <a:uLnTx/>
                <a:uFillTx/>
                <a:latin typeface="Segoe UI"/>
                <a:ea typeface="+mn-ea"/>
                <a:cs typeface="Segoe UI Light" panose="020B0502040204020203" pitchFamily="34" charset="0"/>
              </a:endParaRPr>
            </a:p>
          </p:txBody>
        </p:sp>
        <p:sp>
          <p:nvSpPr>
            <p:cNvPr id="84" name="Oval 162"/>
            <p:cNvSpPr/>
            <p:nvPr/>
          </p:nvSpPr>
          <p:spPr bwMode="auto">
            <a:xfrm>
              <a:off x="226619" y="4551712"/>
              <a:ext cx="433844" cy="433844"/>
            </a:xfrm>
            <a:prstGeom prst="ellipse">
              <a:avLst/>
            </a:prstGeom>
            <a:solidFill>
              <a:srgbClr val="F2C812"/>
            </a:solidFill>
            <a:ln>
              <a:solidFill>
                <a:srgbClr val="FFCC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5" name="Rectangle 152"/>
            <p:cNvSpPr/>
            <p:nvPr/>
          </p:nvSpPr>
          <p:spPr bwMode="auto">
            <a:xfrm>
              <a:off x="738443" y="4596194"/>
              <a:ext cx="1884825" cy="30233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2C812"/>
                  </a:solidFill>
                  <a:effectLst/>
                  <a:uLnTx/>
                  <a:uFillTx/>
                  <a:latin typeface="Segoe UI"/>
                  <a:ea typeface="+mn-ea"/>
                  <a:cs typeface="Segoe UI Light" panose="020B0502040204020203" pitchFamily="34" charset="0"/>
                </a:rPr>
                <a:t>Sharing</a:t>
              </a:r>
              <a:endParaRPr kumimoji="0" lang="en-US" sz="1200" b="1" i="1" u="none" strike="noStrike" kern="1200" cap="none" spc="0" normalizeH="0" baseline="0" noProof="0">
                <a:ln>
                  <a:noFill/>
                </a:ln>
                <a:solidFill>
                  <a:srgbClr val="F2C812"/>
                </a:solidFill>
                <a:effectLst/>
                <a:uLnTx/>
                <a:uFillTx/>
                <a:latin typeface="Segoe UI"/>
                <a:ea typeface="+mn-ea"/>
                <a:cs typeface="Segoe UI Light" panose="020B0502040204020203" pitchFamily="34" charset="0"/>
              </a:endParaRPr>
            </a:p>
          </p:txBody>
        </p:sp>
        <p:sp>
          <p:nvSpPr>
            <p:cNvPr id="86" name="Rectangle 145"/>
            <p:cNvSpPr/>
            <p:nvPr/>
          </p:nvSpPr>
          <p:spPr bwMode="auto">
            <a:xfrm>
              <a:off x="697198" y="1847637"/>
              <a:ext cx="1821468" cy="3831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2C812"/>
                  </a:solidFill>
                  <a:effectLst/>
                  <a:uLnTx/>
                  <a:uFillTx/>
                  <a:latin typeface="Segoe UI"/>
                  <a:ea typeface="+mn-ea"/>
                  <a:cs typeface="Segoe UI Light" panose="020B0502040204020203" pitchFamily="34" charset="0"/>
                </a:rPr>
                <a:t>Pinning and Navigation</a:t>
              </a:r>
            </a:p>
          </p:txBody>
        </p:sp>
        <p:sp>
          <p:nvSpPr>
            <p:cNvPr id="87" name="Oval 162"/>
            <p:cNvSpPr/>
            <p:nvPr/>
          </p:nvSpPr>
          <p:spPr bwMode="auto">
            <a:xfrm>
              <a:off x="224136" y="1813606"/>
              <a:ext cx="433844" cy="433844"/>
            </a:xfrm>
            <a:prstGeom prst="ellipse">
              <a:avLst/>
            </a:prstGeom>
            <a:solidFill>
              <a:srgbClr val="FFCC00"/>
            </a:solidFill>
            <a:ln>
              <a:solidFill>
                <a:srgbClr val="F2C81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pic>
        <p:nvPicPr>
          <p:cNvPr id="101" name="Picture 100"/>
          <p:cNvPicPr>
            <a:picLocks noChangeAspect="1"/>
          </p:cNvPicPr>
          <p:nvPr/>
        </p:nvPicPr>
        <p:blipFill rotWithShape="1">
          <a:blip r:embed="rId4"/>
          <a:srcRect l="6503" t="21287" r="74698" b="20220"/>
          <a:stretch/>
        </p:blipFill>
        <p:spPr>
          <a:xfrm>
            <a:off x="339111" y="1946110"/>
            <a:ext cx="228600" cy="231962"/>
          </a:xfrm>
          <a:prstGeom prst="rect">
            <a:avLst/>
          </a:prstGeom>
        </p:spPr>
      </p:pic>
      <p:pic>
        <p:nvPicPr>
          <p:cNvPr id="102" name="Picture 101"/>
          <p:cNvPicPr>
            <a:picLocks noChangeAspect="1"/>
          </p:cNvPicPr>
          <p:nvPr/>
        </p:nvPicPr>
        <p:blipFill>
          <a:blip r:embed="rId5"/>
          <a:stretch>
            <a:fillRect/>
          </a:stretch>
        </p:blipFill>
        <p:spPr>
          <a:xfrm>
            <a:off x="284769" y="3673076"/>
            <a:ext cx="311766" cy="303106"/>
          </a:xfrm>
          <a:prstGeom prst="rect">
            <a:avLst/>
          </a:prstGeom>
        </p:spPr>
      </p:pic>
      <p:sp>
        <p:nvSpPr>
          <p:cNvPr id="103" name="Rectangle 145"/>
          <p:cNvSpPr/>
          <p:nvPr/>
        </p:nvSpPr>
        <p:spPr bwMode="auto">
          <a:xfrm>
            <a:off x="718897" y="5436715"/>
            <a:ext cx="1821468" cy="3831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2C812"/>
                </a:solidFill>
                <a:effectLst/>
                <a:uLnTx/>
                <a:uFillTx/>
                <a:latin typeface="Segoe UI"/>
                <a:ea typeface="+mn-ea"/>
                <a:cs typeface="Segoe UI Light" panose="020B0502040204020203" pitchFamily="34" charset="0"/>
              </a:rPr>
              <a:t>Connect from Excel</a:t>
            </a:r>
          </a:p>
        </p:txBody>
      </p:sp>
      <p:sp>
        <p:nvSpPr>
          <p:cNvPr id="104" name="Oval 162"/>
          <p:cNvSpPr/>
          <p:nvPr/>
        </p:nvSpPr>
        <p:spPr bwMode="auto">
          <a:xfrm>
            <a:off x="231441" y="5429649"/>
            <a:ext cx="433844" cy="433844"/>
          </a:xfrm>
          <a:prstGeom prst="ellipse">
            <a:avLst/>
          </a:prstGeom>
          <a:solidFill>
            <a:srgbClr val="FFCC00"/>
          </a:solidFill>
          <a:ln>
            <a:solidFill>
              <a:srgbClr val="F2C81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05" name="Picture 104"/>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flipH="1">
            <a:off x="283763" y="4596680"/>
            <a:ext cx="357484" cy="357484"/>
          </a:xfrm>
          <a:prstGeom prst="rect">
            <a:avLst/>
          </a:prstGeom>
        </p:spPr>
      </p:pic>
      <p:sp>
        <p:nvSpPr>
          <p:cNvPr id="106" name="Oval 162"/>
          <p:cNvSpPr/>
          <p:nvPr/>
        </p:nvSpPr>
        <p:spPr bwMode="auto">
          <a:xfrm>
            <a:off x="233032" y="6267344"/>
            <a:ext cx="433844" cy="433844"/>
          </a:xfrm>
          <a:prstGeom prst="ellipse">
            <a:avLst/>
          </a:prstGeom>
          <a:solidFill>
            <a:srgbClr val="FFCC00"/>
          </a:solidFill>
          <a:ln>
            <a:solidFill>
              <a:srgbClr val="F2C81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7" name="Rectangle 145"/>
          <p:cNvSpPr/>
          <p:nvPr/>
        </p:nvSpPr>
        <p:spPr bwMode="auto">
          <a:xfrm>
            <a:off x="701416" y="6289969"/>
            <a:ext cx="1821468" cy="3831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2C812"/>
                </a:solidFill>
                <a:effectLst/>
                <a:uLnTx/>
                <a:uFillTx/>
                <a:latin typeface="Segoe UI"/>
                <a:ea typeface="+mn-ea"/>
                <a:cs typeface="Segoe UI Light" panose="020B0502040204020203" pitchFamily="34" charset="0"/>
              </a:rPr>
              <a:t>Mobile Reports</a:t>
            </a:r>
          </a:p>
        </p:txBody>
      </p:sp>
      <p:pic>
        <p:nvPicPr>
          <p:cNvPr id="108" name="Picture 107"/>
          <p:cNvPicPr>
            <a:picLocks noChangeAspect="1"/>
          </p:cNvPicPr>
          <p:nvPr/>
        </p:nvPicPr>
        <p:blipFill>
          <a:blip r:embed="rId7" cstate="print">
            <a:extLst>
              <a:ext uri="{BEBA8EAE-BF5A-486C-A8C5-ECC9F3942E4B}">
                <a14:imgProps xmlns:a14="http://schemas.microsoft.com/office/drawing/2010/main">
                  <a14:imgLayer r:embed="rId8">
                    <a14:imgEffect>
                      <a14:saturation sat="0"/>
                    </a14:imgEffect>
                  </a14:imgLayer>
                </a14:imgProps>
              </a:ext>
              <a:ext uri="{28A0092B-C50C-407E-A947-70E740481C1C}">
                <a14:useLocalDpi xmlns:a14="http://schemas.microsoft.com/office/drawing/2010/main" val="0"/>
              </a:ext>
            </a:extLst>
          </a:blip>
          <a:stretch>
            <a:fillRect/>
          </a:stretch>
        </p:blipFill>
        <p:spPr>
          <a:xfrm>
            <a:off x="391946" y="6350039"/>
            <a:ext cx="133350" cy="251587"/>
          </a:xfrm>
          <a:prstGeom prst="rect">
            <a:avLst/>
          </a:prstGeom>
        </p:spPr>
      </p:pic>
      <p:pic>
        <p:nvPicPr>
          <p:cNvPr id="109" name="Picture 108"/>
          <p:cNvPicPr>
            <a:picLocks noChangeAspect="1"/>
          </p:cNvPicPr>
          <p:nvPr/>
        </p:nvPicPr>
        <p:blipFill>
          <a:blip r:embed="rId9" cstate="print">
            <a:biLevel thresh="50000"/>
            <a:extLst>
              <a:ext uri="{28A0092B-C50C-407E-A947-70E740481C1C}">
                <a14:useLocalDpi xmlns:a14="http://schemas.microsoft.com/office/drawing/2010/main" val="0"/>
              </a:ext>
            </a:extLst>
          </a:blip>
          <a:stretch>
            <a:fillRect/>
          </a:stretch>
        </p:blipFill>
        <p:spPr>
          <a:xfrm>
            <a:off x="332658" y="5538489"/>
            <a:ext cx="268940" cy="268940"/>
          </a:xfrm>
          <a:prstGeom prst="rect">
            <a:avLst/>
          </a:prstGeom>
        </p:spPr>
      </p:pic>
      <p:sp>
        <p:nvSpPr>
          <p:cNvPr id="110" name="Rectangle 109"/>
          <p:cNvSpPr/>
          <p:nvPr/>
        </p:nvSpPr>
        <p:spPr bwMode="auto">
          <a:xfrm>
            <a:off x="35912" y="1550386"/>
            <a:ext cx="2464420" cy="5238040"/>
          </a:xfrm>
          <a:prstGeom prst="rect">
            <a:avLst/>
          </a:prstGeom>
          <a:solidFill>
            <a:srgbClr val="000000">
              <a:alpha val="6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6952473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 name="Title 10"/>
          <p:cNvSpPr txBox="1">
            <a:spLocks/>
          </p:cNvSpPr>
          <p:nvPr/>
        </p:nvSpPr>
        <p:spPr>
          <a:xfrm>
            <a:off x="2849060" y="0"/>
            <a:ext cx="9342940" cy="665151"/>
          </a:xfrm>
          <a:prstGeom prst="rect">
            <a:avLst/>
          </a:prstGeom>
          <a:noFill/>
        </p:spPr>
        <p:txBody>
          <a:bodyPr vert="horz" wrap="square" lIns="0" tIns="91440" rIns="0" bIns="91440" rtlCol="0" anchor="t">
            <a:noAutofit/>
          </a:bodyPr>
          <a:lstStyle>
            <a:lvl1pPr defTabSz="914367">
              <a:lnSpc>
                <a:spcPct val="90000"/>
              </a:lnSpc>
              <a:spcBef>
                <a:spcPct val="0"/>
              </a:spcBef>
              <a:buNone/>
              <a:defRPr lang="en-US" sz="5294" b="0" cap="none" spc="-100" baseline="0" dirty="0" smtClean="0">
                <a:ln w="3175">
                  <a:noFill/>
                </a:ln>
                <a:solidFill>
                  <a:schemeClr val="tx2"/>
                </a:solidFill>
                <a:effectLst/>
                <a:latin typeface="+mj-lt"/>
                <a:cs typeface="Segoe UI" pitchFamily="34" charset="0"/>
              </a:defRPr>
            </a:lvl1pPr>
          </a:lstStyle>
          <a:p>
            <a:pPr marL="168275" marR="0" lvl="0" indent="0" algn="l" defTabSz="914367" rtl="0" eaLnBrk="1" fontAlgn="auto" latinLnBrk="0" hangingPunct="1">
              <a:lnSpc>
                <a:spcPct val="90000"/>
              </a:lnSpc>
              <a:spcBef>
                <a:spcPct val="0"/>
              </a:spcBef>
              <a:spcAft>
                <a:spcPts val="0"/>
              </a:spcAft>
              <a:buClrTx/>
              <a:buSzTx/>
              <a:buFontTx/>
              <a:buNone/>
              <a:tabLst/>
              <a:defRPr/>
            </a:pPr>
            <a:r>
              <a:rPr kumimoji="0" lang="en-US" sz="3600" b="0" i="0" u="none" strike="noStrike" kern="1200" cap="none" spc="-100" normalizeH="0" baseline="0" noProof="0">
                <a:ln w="3175">
                  <a:noFill/>
                </a:ln>
                <a:solidFill>
                  <a:prstClr val="black"/>
                </a:solidFill>
                <a:effectLst/>
                <a:uLnTx/>
                <a:uFillTx/>
                <a:latin typeface="Segoe UI Light"/>
                <a:ea typeface="+mn-ea"/>
                <a:cs typeface="Segoe UI" pitchFamily="34" charset="0"/>
              </a:rPr>
              <a:t>Get Data</a:t>
            </a:r>
            <a:endParaRPr kumimoji="0" lang="en-IN" sz="3600" b="0" i="0" u="none" strike="noStrike" kern="1200" cap="none" spc="-100" normalizeH="0" baseline="0" noProof="0">
              <a:ln w="3175">
                <a:noFill/>
              </a:ln>
              <a:solidFill>
                <a:prstClr val="black"/>
              </a:solidFill>
              <a:effectLst/>
              <a:uLnTx/>
              <a:uFillTx/>
              <a:latin typeface="Segoe UI Light"/>
              <a:ea typeface="+mn-ea"/>
              <a:cs typeface="Segoe UI" pitchFamily="34" charset="0"/>
            </a:endParaRPr>
          </a:p>
        </p:txBody>
      </p:sp>
      <p:sp>
        <p:nvSpPr>
          <p:cNvPr id="40" name="Text Placeholder 2"/>
          <p:cNvSpPr txBox="1">
            <a:spLocks/>
          </p:cNvSpPr>
          <p:nvPr/>
        </p:nvSpPr>
        <p:spPr>
          <a:xfrm>
            <a:off x="2846171" y="1280698"/>
            <a:ext cx="9031090" cy="897374"/>
          </a:xfrm>
          <a:prstGeom prst="rect">
            <a:avLst/>
          </a:prstGeom>
        </p:spPr>
        <p:txBody>
          <a:bodyPr vert="horz" wrap="square" lIns="182880" tIns="146304" rIns="182880" bIns="146304" rtlCol="0">
            <a:noAutofit/>
          </a:bodyPr>
          <a:lstStyle>
            <a:lvl1pPr marL="182845" marR="0"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3921" kern="1200" spc="0" baseline="0">
                <a:gradFill>
                  <a:gsLst>
                    <a:gs pos="1250">
                      <a:schemeClr val="tx2"/>
                    </a:gs>
                    <a:gs pos="99000">
                      <a:schemeClr val="tx2"/>
                    </a:gs>
                  </a:gsLst>
                  <a:lin ang="5400000" scaled="0"/>
                </a:gradFill>
                <a:latin typeface="+mj-lt"/>
                <a:ea typeface="+mn-ea"/>
                <a:cs typeface="+mn-cs"/>
              </a:defRPr>
            </a:lvl1pPr>
            <a:lvl2pPr marL="365690" marR="0"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2400" kern="1200" spc="0" baseline="0">
                <a:solidFill>
                  <a:schemeClr val="tx2"/>
                </a:solidFill>
                <a:latin typeface="+mj-lt"/>
                <a:ea typeface="+mn-ea"/>
                <a:cs typeface="+mn-cs"/>
              </a:defRPr>
            </a:lvl2pPr>
            <a:lvl3pPr marL="548535" marR="0"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2000" kern="1200" spc="0" baseline="0">
                <a:solidFill>
                  <a:schemeClr val="tx2"/>
                </a:solidFill>
                <a:latin typeface="+mj-lt"/>
                <a:ea typeface="+mn-ea"/>
                <a:cs typeface="+mn-cs"/>
              </a:defRPr>
            </a:lvl3pPr>
            <a:lvl4pPr marL="733802" marR="0" indent="-28569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1765" kern="1200" spc="0" baseline="0">
                <a:solidFill>
                  <a:schemeClr val="tx2"/>
                </a:solidFill>
                <a:latin typeface="+mn-lt"/>
                <a:ea typeface="+mn-ea"/>
                <a:cs typeface="+mn-cs"/>
              </a:defRPr>
            </a:lvl4pPr>
            <a:lvl5pPr marL="957856" marR="0" indent="-28569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1765" kern="1200" spc="0" baseline="0">
                <a:solidFill>
                  <a:schemeClr val="tx2"/>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r>
              <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rPr>
              <a:t>Similar to Service content Packs, they contain elements like datasets, reports, dashboards and even Excel files</a:t>
            </a: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r>
              <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rPr>
              <a:t>Can be </a:t>
            </a:r>
            <a:r>
              <a:rPr kumimoji="0" lang="en-US" sz="2000" b="1"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rPr>
              <a:t>shared</a:t>
            </a:r>
            <a:r>
              <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rPr>
              <a:t> with </a:t>
            </a:r>
            <a:r>
              <a:rPr kumimoji="0" lang="en-US" sz="2000" b="1"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rPr>
              <a:t>specific teams </a:t>
            </a:r>
            <a:r>
              <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rPr>
              <a:t>(groups)</a:t>
            </a:r>
            <a:r>
              <a:rPr kumimoji="0" lang="en-US" sz="2000" b="1"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rPr>
              <a:t> </a:t>
            </a:r>
            <a:r>
              <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rPr>
              <a:t>or with the </a:t>
            </a:r>
            <a:r>
              <a:rPr kumimoji="0" lang="en-US" sz="2000" b="1"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rPr>
              <a:t>entire organization</a:t>
            </a: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r>
              <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rPr>
              <a:t>A </a:t>
            </a:r>
            <a:r>
              <a:rPr kumimoji="0" lang="en-US" sz="2000" b="1"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rPr>
              <a:t>dedicated library </a:t>
            </a:r>
            <a:r>
              <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rPr>
              <a:t>exists to display them which </a:t>
            </a:r>
            <a:r>
              <a:rPr kumimoji="0" lang="en-US" sz="2000" b="1"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rPr>
              <a:t>follows permissions </a:t>
            </a:r>
            <a:r>
              <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rPr>
              <a:t>and is </a:t>
            </a:r>
            <a:r>
              <a:rPr kumimoji="0" lang="en-US" sz="2000" b="1"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rPr>
              <a:t>searchable</a:t>
            </a: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1"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r>
              <a:rPr kumimoji="0" lang="en-US" sz="2000" b="1"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rPr>
              <a:t>Analytical elements are read-only </a:t>
            </a:r>
            <a:r>
              <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rPr>
              <a:t>but </a:t>
            </a:r>
            <a:r>
              <a:rPr kumimoji="0" lang="en-US" sz="2000" b="1"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rPr>
              <a:t>can be extended</a:t>
            </a:r>
            <a:r>
              <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rPr>
              <a:t>. At that time, a </a:t>
            </a:r>
            <a:r>
              <a:rPr kumimoji="0" lang="en-US" sz="2000" b="1"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rPr>
              <a:t>personal copy </a:t>
            </a:r>
            <a:r>
              <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rPr>
              <a:t>is generated.</a:t>
            </a: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r>
              <a:rPr kumimoji="0" lang="en-US" sz="2000" b="1"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rPr>
              <a:t>Updates</a:t>
            </a:r>
            <a:r>
              <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rPr>
              <a:t> to the source content pack will not overwrite the personal copy</a:t>
            </a: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r>
              <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rPr>
              <a:t>Only the </a:t>
            </a:r>
            <a:r>
              <a:rPr kumimoji="0" lang="en-US" sz="2000" b="1"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rPr>
              <a:t>creator controls content and data refresh scheduling</a:t>
            </a: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1"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r>
              <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rPr>
              <a:t>Except for SSAS as a source and Cloud Secured Models</a:t>
            </a:r>
            <a:r>
              <a:rPr kumimoji="0" lang="en-US" sz="2000" b="1"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rPr>
              <a:t>, all users see the same data</a:t>
            </a: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1"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1"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0"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1"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a:p>
            <a:pPr marL="365690" marR="0" lvl="1"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000" b="1" i="0" u="none" strike="noStrike" kern="1200" cap="none" spc="0" normalizeH="0" baseline="0" noProof="0">
              <a:ln>
                <a:noFill/>
              </a:ln>
              <a:solidFill>
                <a:prstClr val="black"/>
              </a:solidFill>
              <a:effectLst/>
              <a:uLnTx/>
              <a:uFillTx/>
              <a:latin typeface="Segoe UI Light"/>
              <a:ea typeface="+mn-ea"/>
              <a:cs typeface="Times New Roman" panose="02020603050405020304" pitchFamily="18" charset="0"/>
            </a:endParaRPr>
          </a:p>
        </p:txBody>
      </p:sp>
      <p:sp>
        <p:nvSpPr>
          <p:cNvPr id="41" name="Rectangle 3"/>
          <p:cNvSpPr/>
          <p:nvPr/>
        </p:nvSpPr>
        <p:spPr bwMode="auto">
          <a:xfrm>
            <a:off x="3202216" y="665151"/>
            <a:ext cx="8105312" cy="44435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PT" sz="2000" b="0" i="1" u="none" strike="noStrike" kern="1200" cap="none" spc="0" normalizeH="0" baseline="0" noProof="0">
                <a:ln>
                  <a:noFill/>
                </a:ln>
                <a:solidFill>
                  <a:prstClr val="black"/>
                </a:solidFill>
                <a:effectLst/>
                <a:uLnTx/>
                <a:uFillTx/>
                <a:latin typeface="Segoe UI Light"/>
                <a:ea typeface="+mn-ea"/>
                <a:cs typeface="+mn-cs"/>
              </a:rPr>
              <a:t>Content Pack Library – My Organization</a:t>
            </a:r>
            <a:endParaRPr kumimoji="0" lang="en-US" sz="2000" b="0" i="1" u="none" strike="noStrike" kern="1200" cap="none" spc="0" normalizeH="0" baseline="0" noProof="0">
              <a:ln>
                <a:noFill/>
              </a:ln>
              <a:solidFill>
                <a:prstClr val="black"/>
              </a:solidFill>
              <a:effectLst/>
              <a:uLnTx/>
              <a:uFillTx/>
              <a:latin typeface="Segoe UI Light"/>
              <a:ea typeface="+mn-ea"/>
              <a:cs typeface="+mn-cs"/>
            </a:endParaRPr>
          </a:p>
        </p:txBody>
      </p:sp>
      <p:grpSp>
        <p:nvGrpSpPr>
          <p:cNvPr id="38" name="Group 37"/>
          <p:cNvGrpSpPr/>
          <p:nvPr/>
        </p:nvGrpSpPr>
        <p:grpSpPr>
          <a:xfrm>
            <a:off x="-2887" y="973"/>
            <a:ext cx="2849058" cy="6857027"/>
            <a:chOff x="2" y="487"/>
            <a:chExt cx="2849058" cy="6857027"/>
          </a:xfrm>
        </p:grpSpPr>
        <p:sp>
          <p:nvSpPr>
            <p:cNvPr id="42" name="Rectangle 15"/>
            <p:cNvSpPr/>
            <p:nvPr/>
          </p:nvSpPr>
          <p:spPr bwMode="auto">
            <a:xfrm>
              <a:off x="2" y="487"/>
              <a:ext cx="2849058" cy="685702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3" name="Rectangle 145"/>
            <p:cNvSpPr/>
            <p:nvPr/>
          </p:nvSpPr>
          <p:spPr bwMode="auto">
            <a:xfrm>
              <a:off x="696152" y="956997"/>
              <a:ext cx="1821468" cy="3831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2C812"/>
                  </a:solidFill>
                  <a:effectLst/>
                  <a:uLnTx/>
                  <a:uFillTx/>
                  <a:latin typeface="Segoe UI"/>
                  <a:ea typeface="+mn-ea"/>
                  <a:cs typeface="Segoe UI Light" panose="020B0502040204020203" pitchFamily="34" charset="0"/>
                </a:rPr>
                <a:t>Get Data</a:t>
              </a:r>
              <a:endParaRPr kumimoji="0" lang="en-US" sz="1200" b="1" i="1" u="none" strike="noStrike" kern="1200" cap="none" spc="0" normalizeH="0" baseline="0" noProof="0">
                <a:ln>
                  <a:noFill/>
                </a:ln>
                <a:solidFill>
                  <a:srgbClr val="F2C812"/>
                </a:solidFill>
                <a:effectLst/>
                <a:uLnTx/>
                <a:uFillTx/>
                <a:latin typeface="Segoe UI"/>
                <a:ea typeface="+mn-ea"/>
                <a:cs typeface="Segoe UI Light" panose="020B0502040204020203" pitchFamily="34" charset="0"/>
              </a:endParaRPr>
            </a:p>
          </p:txBody>
        </p:sp>
        <p:grpSp>
          <p:nvGrpSpPr>
            <p:cNvPr id="51" name="Group 50"/>
            <p:cNvGrpSpPr/>
            <p:nvPr/>
          </p:nvGrpSpPr>
          <p:grpSpPr>
            <a:xfrm>
              <a:off x="219373" y="934583"/>
              <a:ext cx="433844" cy="433844"/>
              <a:chOff x="440005" y="997815"/>
              <a:chExt cx="296322" cy="296322"/>
            </a:xfrm>
          </p:grpSpPr>
          <p:sp>
            <p:nvSpPr>
              <p:cNvPr id="96" name="Oval 147"/>
              <p:cNvSpPr/>
              <p:nvPr/>
            </p:nvSpPr>
            <p:spPr bwMode="auto">
              <a:xfrm>
                <a:off x="440005" y="997815"/>
                <a:ext cx="296322" cy="296322"/>
              </a:xfrm>
              <a:prstGeom prst="ellipse">
                <a:avLst/>
              </a:prstGeom>
              <a:solidFill>
                <a:srgbClr val="FFCC00"/>
              </a:solidFill>
              <a:ln>
                <a:solidFill>
                  <a:srgbClr val="F2C81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97" name="Group 332"/>
              <p:cNvGrpSpPr/>
              <p:nvPr/>
            </p:nvGrpSpPr>
            <p:grpSpPr>
              <a:xfrm>
                <a:off x="482167" y="1059311"/>
                <a:ext cx="211997" cy="173292"/>
                <a:chOff x="2123129" y="293070"/>
                <a:chExt cx="2472585" cy="2021178"/>
              </a:xfrm>
            </p:grpSpPr>
            <p:sp>
              <p:nvSpPr>
                <p:cNvPr id="98" name="Freeform 13"/>
                <p:cNvSpPr>
                  <a:spLocks/>
                </p:cNvSpPr>
                <p:nvPr/>
              </p:nvSpPr>
              <p:spPr bwMode="auto">
                <a:xfrm rot="20700000">
                  <a:off x="3155853" y="872796"/>
                  <a:ext cx="1439861" cy="1441452"/>
                </a:xfrm>
                <a:custGeom>
                  <a:avLst/>
                  <a:gdLst>
                    <a:gd name="T0" fmla="*/ 138 w 441"/>
                    <a:gd name="T1" fmla="*/ 341 h 441"/>
                    <a:gd name="T2" fmla="*/ 183 w 441"/>
                    <a:gd name="T3" fmla="*/ 374 h 441"/>
                    <a:gd name="T4" fmla="*/ 220 w 441"/>
                    <a:gd name="T5" fmla="*/ 423 h 441"/>
                    <a:gd name="T6" fmla="*/ 422 w 441"/>
                    <a:gd name="T7" fmla="*/ 220 h 441"/>
                    <a:gd name="T8" fmla="*/ 373 w 441"/>
                    <a:gd name="T9" fmla="*/ 184 h 441"/>
                    <a:gd name="T10" fmla="*/ 341 w 441"/>
                    <a:gd name="T11" fmla="*/ 139 h 441"/>
                    <a:gd name="T12" fmla="*/ 382 w 441"/>
                    <a:gd name="T13" fmla="*/ 58 h 441"/>
                    <a:gd name="T14" fmla="*/ 302 w 441"/>
                    <a:gd name="T15" fmla="*/ 100 h 441"/>
                    <a:gd name="T16" fmla="*/ 257 w 441"/>
                    <a:gd name="T17" fmla="*/ 67 h 441"/>
                    <a:gd name="T18" fmla="*/ 220 w 441"/>
                    <a:gd name="T19" fmla="*/ 18 h 441"/>
                    <a:gd name="T20" fmla="*/ 171 w 441"/>
                    <a:gd name="T21" fmla="*/ 55 h 441"/>
                    <a:gd name="T22" fmla="*/ 138 w 441"/>
                    <a:gd name="T23" fmla="*/ 100 h 441"/>
                    <a:gd name="T24" fmla="*/ 180 w 441"/>
                    <a:gd name="T25" fmla="*/ 181 h 441"/>
                    <a:gd name="T26" fmla="*/ 100 w 441"/>
                    <a:gd name="T27" fmla="*/ 139 h 441"/>
                    <a:gd name="T28" fmla="*/ 55 w 441"/>
                    <a:gd name="T29" fmla="*/ 171 h 441"/>
                    <a:gd name="T30" fmla="*/ 18 w 441"/>
                    <a:gd name="T31" fmla="*/ 220 h 441"/>
                    <a:gd name="T32" fmla="*/ 67 w 441"/>
                    <a:gd name="T33" fmla="*/ 257 h 441"/>
                    <a:gd name="T34" fmla="*/ 100 w 441"/>
                    <a:gd name="T35" fmla="*/ 302 h 441"/>
                    <a:gd name="T36" fmla="*/ 58 w 441"/>
                    <a:gd name="T37" fmla="*/ 383 h 441"/>
                    <a:gd name="T38" fmla="*/ 138 w 441"/>
                    <a:gd name="T39" fmla="*/ 341 h 4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41" h="441">
                      <a:moveTo>
                        <a:pt x="138" y="341"/>
                      </a:moveTo>
                      <a:cubicBezTo>
                        <a:pt x="147" y="337"/>
                        <a:pt x="171" y="361"/>
                        <a:pt x="183" y="374"/>
                      </a:cubicBezTo>
                      <a:cubicBezTo>
                        <a:pt x="196" y="386"/>
                        <a:pt x="220" y="423"/>
                        <a:pt x="220" y="423"/>
                      </a:cubicBezTo>
                      <a:cubicBezTo>
                        <a:pt x="422" y="220"/>
                        <a:pt x="422" y="220"/>
                        <a:pt x="422" y="220"/>
                      </a:cubicBezTo>
                      <a:cubicBezTo>
                        <a:pt x="422" y="220"/>
                        <a:pt x="386" y="196"/>
                        <a:pt x="373" y="184"/>
                      </a:cubicBezTo>
                      <a:cubicBezTo>
                        <a:pt x="361" y="171"/>
                        <a:pt x="338" y="149"/>
                        <a:pt x="341" y="139"/>
                      </a:cubicBezTo>
                      <a:cubicBezTo>
                        <a:pt x="343" y="129"/>
                        <a:pt x="441" y="116"/>
                        <a:pt x="382" y="58"/>
                      </a:cubicBezTo>
                      <a:cubicBezTo>
                        <a:pt x="324" y="0"/>
                        <a:pt x="310" y="96"/>
                        <a:pt x="302" y="100"/>
                      </a:cubicBezTo>
                      <a:cubicBezTo>
                        <a:pt x="294" y="104"/>
                        <a:pt x="269" y="80"/>
                        <a:pt x="257" y="67"/>
                      </a:cubicBezTo>
                      <a:cubicBezTo>
                        <a:pt x="245" y="55"/>
                        <a:pt x="220" y="18"/>
                        <a:pt x="220" y="18"/>
                      </a:cubicBezTo>
                      <a:cubicBezTo>
                        <a:pt x="220" y="18"/>
                        <a:pt x="183" y="43"/>
                        <a:pt x="171" y="55"/>
                      </a:cubicBezTo>
                      <a:cubicBezTo>
                        <a:pt x="159" y="67"/>
                        <a:pt x="134" y="92"/>
                        <a:pt x="138" y="100"/>
                      </a:cubicBezTo>
                      <a:cubicBezTo>
                        <a:pt x="142" y="108"/>
                        <a:pt x="238" y="122"/>
                        <a:pt x="180" y="181"/>
                      </a:cubicBezTo>
                      <a:cubicBezTo>
                        <a:pt x="122" y="239"/>
                        <a:pt x="110" y="141"/>
                        <a:pt x="100" y="139"/>
                      </a:cubicBezTo>
                      <a:cubicBezTo>
                        <a:pt x="89" y="137"/>
                        <a:pt x="67" y="159"/>
                        <a:pt x="55" y="171"/>
                      </a:cubicBezTo>
                      <a:cubicBezTo>
                        <a:pt x="42" y="184"/>
                        <a:pt x="18" y="220"/>
                        <a:pt x="18" y="220"/>
                      </a:cubicBezTo>
                      <a:cubicBezTo>
                        <a:pt x="18" y="220"/>
                        <a:pt x="55" y="245"/>
                        <a:pt x="67" y="257"/>
                      </a:cubicBezTo>
                      <a:cubicBezTo>
                        <a:pt x="79" y="269"/>
                        <a:pt x="102" y="292"/>
                        <a:pt x="100" y="302"/>
                      </a:cubicBezTo>
                      <a:cubicBezTo>
                        <a:pt x="98" y="312"/>
                        <a:pt x="0" y="325"/>
                        <a:pt x="58" y="383"/>
                      </a:cubicBezTo>
                      <a:cubicBezTo>
                        <a:pt x="116" y="441"/>
                        <a:pt x="130" y="345"/>
                        <a:pt x="138" y="341"/>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99" name="Freeform 14"/>
                <p:cNvSpPr>
                  <a:spLocks/>
                </p:cNvSpPr>
                <p:nvPr/>
              </p:nvSpPr>
              <p:spPr bwMode="auto">
                <a:xfrm rot="9900000">
                  <a:off x="2123129" y="293070"/>
                  <a:ext cx="1377948" cy="1377947"/>
                </a:xfrm>
                <a:custGeom>
                  <a:avLst/>
                  <a:gdLst>
                    <a:gd name="T0" fmla="*/ 422 w 422"/>
                    <a:gd name="T1" fmla="*/ 220 h 422"/>
                    <a:gd name="T2" fmla="*/ 386 w 422"/>
                    <a:gd name="T3" fmla="*/ 171 h 422"/>
                    <a:gd name="T4" fmla="*/ 341 w 422"/>
                    <a:gd name="T5" fmla="*/ 138 h 422"/>
                    <a:gd name="T6" fmla="*/ 260 w 422"/>
                    <a:gd name="T7" fmla="*/ 180 h 422"/>
                    <a:gd name="T8" fmla="*/ 302 w 422"/>
                    <a:gd name="T9" fmla="*/ 100 h 422"/>
                    <a:gd name="T10" fmla="*/ 269 w 422"/>
                    <a:gd name="T11" fmla="*/ 55 h 422"/>
                    <a:gd name="T12" fmla="*/ 220 w 422"/>
                    <a:gd name="T13" fmla="*/ 18 h 422"/>
                    <a:gd name="T14" fmla="*/ 183 w 422"/>
                    <a:gd name="T15" fmla="*/ 67 h 422"/>
                    <a:gd name="T16" fmla="*/ 138 w 422"/>
                    <a:gd name="T17" fmla="*/ 100 h 422"/>
                    <a:gd name="T18" fmla="*/ 58 w 422"/>
                    <a:gd name="T19" fmla="*/ 58 h 422"/>
                    <a:gd name="T20" fmla="*/ 100 w 422"/>
                    <a:gd name="T21" fmla="*/ 138 h 422"/>
                    <a:gd name="T22" fmla="*/ 67 w 422"/>
                    <a:gd name="T23" fmla="*/ 183 h 422"/>
                    <a:gd name="T24" fmla="*/ 18 w 422"/>
                    <a:gd name="T25" fmla="*/ 220 h 422"/>
                    <a:gd name="T26" fmla="*/ 55 w 422"/>
                    <a:gd name="T27" fmla="*/ 269 h 422"/>
                    <a:gd name="T28" fmla="*/ 100 w 422"/>
                    <a:gd name="T29" fmla="*/ 302 h 422"/>
                    <a:gd name="T30" fmla="*/ 180 w 422"/>
                    <a:gd name="T31" fmla="*/ 260 h 422"/>
                    <a:gd name="T32" fmla="*/ 138 w 422"/>
                    <a:gd name="T33" fmla="*/ 341 h 422"/>
                    <a:gd name="T34" fmla="*/ 171 w 422"/>
                    <a:gd name="T35" fmla="*/ 386 h 422"/>
                    <a:gd name="T36" fmla="*/ 220 w 422"/>
                    <a:gd name="T37" fmla="*/ 422 h 422"/>
                    <a:gd name="T38" fmla="*/ 422 w 422"/>
                    <a:gd name="T39" fmla="*/ 220 h 4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22" h="422">
                      <a:moveTo>
                        <a:pt x="422" y="220"/>
                      </a:moveTo>
                      <a:cubicBezTo>
                        <a:pt x="422" y="220"/>
                        <a:pt x="398" y="183"/>
                        <a:pt x="386" y="171"/>
                      </a:cubicBezTo>
                      <a:cubicBezTo>
                        <a:pt x="373" y="159"/>
                        <a:pt x="349" y="134"/>
                        <a:pt x="341" y="138"/>
                      </a:cubicBezTo>
                      <a:cubicBezTo>
                        <a:pt x="332" y="142"/>
                        <a:pt x="318" y="239"/>
                        <a:pt x="260" y="180"/>
                      </a:cubicBezTo>
                      <a:cubicBezTo>
                        <a:pt x="202" y="122"/>
                        <a:pt x="300" y="110"/>
                        <a:pt x="302" y="100"/>
                      </a:cubicBezTo>
                      <a:cubicBezTo>
                        <a:pt x="304" y="90"/>
                        <a:pt x="281" y="67"/>
                        <a:pt x="269" y="55"/>
                      </a:cubicBezTo>
                      <a:cubicBezTo>
                        <a:pt x="257" y="42"/>
                        <a:pt x="220" y="18"/>
                        <a:pt x="220" y="18"/>
                      </a:cubicBezTo>
                      <a:cubicBezTo>
                        <a:pt x="220" y="18"/>
                        <a:pt x="196" y="55"/>
                        <a:pt x="183" y="67"/>
                      </a:cubicBezTo>
                      <a:cubicBezTo>
                        <a:pt x="171" y="79"/>
                        <a:pt x="149" y="102"/>
                        <a:pt x="138" y="100"/>
                      </a:cubicBezTo>
                      <a:cubicBezTo>
                        <a:pt x="128" y="98"/>
                        <a:pt x="116" y="0"/>
                        <a:pt x="58" y="58"/>
                      </a:cubicBezTo>
                      <a:cubicBezTo>
                        <a:pt x="0" y="116"/>
                        <a:pt x="96" y="130"/>
                        <a:pt x="100" y="138"/>
                      </a:cubicBezTo>
                      <a:cubicBezTo>
                        <a:pt x="104" y="147"/>
                        <a:pt x="79" y="171"/>
                        <a:pt x="67" y="183"/>
                      </a:cubicBezTo>
                      <a:cubicBezTo>
                        <a:pt x="55" y="196"/>
                        <a:pt x="18" y="220"/>
                        <a:pt x="18" y="220"/>
                      </a:cubicBezTo>
                      <a:cubicBezTo>
                        <a:pt x="18" y="220"/>
                        <a:pt x="42" y="257"/>
                        <a:pt x="55" y="269"/>
                      </a:cubicBezTo>
                      <a:cubicBezTo>
                        <a:pt x="67" y="281"/>
                        <a:pt x="91" y="306"/>
                        <a:pt x="100" y="302"/>
                      </a:cubicBezTo>
                      <a:cubicBezTo>
                        <a:pt x="108" y="298"/>
                        <a:pt x="122" y="202"/>
                        <a:pt x="180" y="260"/>
                      </a:cubicBezTo>
                      <a:cubicBezTo>
                        <a:pt x="238" y="318"/>
                        <a:pt x="140" y="330"/>
                        <a:pt x="138" y="341"/>
                      </a:cubicBezTo>
                      <a:cubicBezTo>
                        <a:pt x="136" y="351"/>
                        <a:pt x="159" y="373"/>
                        <a:pt x="171" y="386"/>
                      </a:cubicBezTo>
                      <a:cubicBezTo>
                        <a:pt x="183" y="398"/>
                        <a:pt x="220" y="422"/>
                        <a:pt x="220" y="422"/>
                      </a:cubicBezTo>
                      <a:lnTo>
                        <a:pt x="422" y="22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grpSp>
        </p:grpSp>
        <p:sp>
          <p:nvSpPr>
            <p:cNvPr id="78" name="Rectangle 152"/>
            <p:cNvSpPr/>
            <p:nvPr/>
          </p:nvSpPr>
          <p:spPr bwMode="auto">
            <a:xfrm>
              <a:off x="669652" y="2738277"/>
              <a:ext cx="1805162" cy="37532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2C812"/>
                  </a:solidFill>
                  <a:effectLst/>
                  <a:uLnTx/>
                  <a:uFillTx/>
                  <a:latin typeface="Segoe UI"/>
                  <a:ea typeface="+mn-ea"/>
                  <a:cs typeface="Segoe UI Light" panose="020B0502040204020203" pitchFamily="34" charset="0"/>
                </a:rPr>
                <a:t>Keeping Data Current</a:t>
              </a:r>
            </a:p>
          </p:txBody>
        </p:sp>
        <p:grpSp>
          <p:nvGrpSpPr>
            <p:cNvPr id="79" name="Group 78"/>
            <p:cNvGrpSpPr/>
            <p:nvPr/>
          </p:nvGrpSpPr>
          <p:grpSpPr>
            <a:xfrm>
              <a:off x="199649" y="2692629"/>
              <a:ext cx="433844" cy="433844"/>
              <a:chOff x="342620" y="2228265"/>
              <a:chExt cx="433844" cy="433844"/>
            </a:xfrm>
            <a:solidFill>
              <a:schemeClr val="bg1"/>
            </a:solidFill>
          </p:grpSpPr>
          <p:sp>
            <p:nvSpPr>
              <p:cNvPr id="94" name="Oval 154"/>
              <p:cNvSpPr/>
              <p:nvPr/>
            </p:nvSpPr>
            <p:spPr bwMode="auto">
              <a:xfrm>
                <a:off x="342620" y="2228265"/>
                <a:ext cx="433844" cy="433844"/>
              </a:xfrm>
              <a:prstGeom prst="ellipse">
                <a:avLst/>
              </a:prstGeom>
              <a:solidFill>
                <a:srgbClr val="FFC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5" name="Freeform 30"/>
              <p:cNvSpPr>
                <a:spLocks noEditPoints="1"/>
              </p:cNvSpPr>
              <p:nvPr/>
            </p:nvSpPr>
            <p:spPr bwMode="auto">
              <a:xfrm>
                <a:off x="444786" y="2340040"/>
                <a:ext cx="238402" cy="210293"/>
              </a:xfrm>
              <a:custGeom>
                <a:avLst/>
                <a:gdLst>
                  <a:gd name="T0" fmla="*/ 883 w 916"/>
                  <a:gd name="T1" fmla="*/ 286 h 808"/>
                  <a:gd name="T2" fmla="*/ 539 w 916"/>
                  <a:gd name="T3" fmla="*/ 723 h 808"/>
                  <a:gd name="T4" fmla="*/ 504 w 916"/>
                  <a:gd name="T5" fmla="*/ 0 h 808"/>
                  <a:gd name="T6" fmla="*/ 35 w 916"/>
                  <a:gd name="T7" fmla="*/ 723 h 808"/>
                  <a:gd name="T8" fmla="*/ 0 w 916"/>
                  <a:gd name="T9" fmla="*/ 808 h 808"/>
                  <a:gd name="T10" fmla="*/ 916 w 916"/>
                  <a:gd name="T11" fmla="*/ 723 h 808"/>
                  <a:gd name="T12" fmla="*/ 229 w 916"/>
                  <a:gd name="T13" fmla="*/ 665 h 808"/>
                  <a:gd name="T14" fmla="*/ 109 w 916"/>
                  <a:gd name="T15" fmla="*/ 596 h 808"/>
                  <a:gd name="T16" fmla="*/ 229 w 916"/>
                  <a:gd name="T17" fmla="*/ 665 h 808"/>
                  <a:gd name="T18" fmla="*/ 109 w 916"/>
                  <a:gd name="T19" fmla="*/ 501 h 808"/>
                  <a:gd name="T20" fmla="*/ 229 w 916"/>
                  <a:gd name="T21" fmla="*/ 432 h 808"/>
                  <a:gd name="T22" fmla="*/ 229 w 916"/>
                  <a:gd name="T23" fmla="*/ 337 h 808"/>
                  <a:gd name="T24" fmla="*/ 109 w 916"/>
                  <a:gd name="T25" fmla="*/ 267 h 808"/>
                  <a:gd name="T26" fmla="*/ 229 w 916"/>
                  <a:gd name="T27" fmla="*/ 337 h 808"/>
                  <a:gd name="T28" fmla="*/ 109 w 916"/>
                  <a:gd name="T29" fmla="*/ 172 h 808"/>
                  <a:gd name="T30" fmla="*/ 229 w 916"/>
                  <a:gd name="T31" fmla="*/ 103 h 808"/>
                  <a:gd name="T32" fmla="*/ 428 w 916"/>
                  <a:gd name="T33" fmla="*/ 665 h 808"/>
                  <a:gd name="T34" fmla="*/ 307 w 916"/>
                  <a:gd name="T35" fmla="*/ 596 h 808"/>
                  <a:gd name="T36" fmla="*/ 428 w 916"/>
                  <a:gd name="T37" fmla="*/ 665 h 808"/>
                  <a:gd name="T38" fmla="*/ 307 w 916"/>
                  <a:gd name="T39" fmla="*/ 501 h 808"/>
                  <a:gd name="T40" fmla="*/ 428 w 916"/>
                  <a:gd name="T41" fmla="*/ 432 h 808"/>
                  <a:gd name="T42" fmla="*/ 428 w 916"/>
                  <a:gd name="T43" fmla="*/ 337 h 808"/>
                  <a:gd name="T44" fmla="*/ 307 w 916"/>
                  <a:gd name="T45" fmla="*/ 267 h 808"/>
                  <a:gd name="T46" fmla="*/ 428 w 916"/>
                  <a:gd name="T47" fmla="*/ 337 h 808"/>
                  <a:gd name="T48" fmla="*/ 307 w 916"/>
                  <a:gd name="T49" fmla="*/ 172 h 808"/>
                  <a:gd name="T50" fmla="*/ 428 w 916"/>
                  <a:gd name="T51" fmla="*/ 103 h 808"/>
                  <a:gd name="T52" fmla="*/ 684 w 916"/>
                  <a:gd name="T53" fmla="*/ 668 h 808"/>
                  <a:gd name="T54" fmla="*/ 606 w 916"/>
                  <a:gd name="T55" fmla="*/ 549 h 808"/>
                  <a:gd name="T56" fmla="*/ 684 w 916"/>
                  <a:gd name="T57" fmla="*/ 668 h 808"/>
                  <a:gd name="T58" fmla="*/ 606 w 916"/>
                  <a:gd name="T59" fmla="*/ 482 h 808"/>
                  <a:gd name="T60" fmla="*/ 684 w 916"/>
                  <a:gd name="T61" fmla="*/ 365 h 808"/>
                  <a:gd name="T62" fmla="*/ 816 w 916"/>
                  <a:gd name="T63" fmla="*/ 668 h 808"/>
                  <a:gd name="T64" fmla="*/ 738 w 916"/>
                  <a:gd name="T65" fmla="*/ 549 h 808"/>
                  <a:gd name="T66" fmla="*/ 816 w 916"/>
                  <a:gd name="T67" fmla="*/ 668 h 808"/>
                  <a:gd name="T68" fmla="*/ 738 w 916"/>
                  <a:gd name="T69" fmla="*/ 482 h 808"/>
                  <a:gd name="T70" fmla="*/ 816 w 916"/>
                  <a:gd name="T71" fmla="*/ 365 h 8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16" h="808">
                    <a:moveTo>
                      <a:pt x="883" y="723"/>
                    </a:moveTo>
                    <a:lnTo>
                      <a:pt x="883" y="286"/>
                    </a:lnTo>
                    <a:lnTo>
                      <a:pt x="539" y="286"/>
                    </a:lnTo>
                    <a:lnTo>
                      <a:pt x="539" y="723"/>
                    </a:lnTo>
                    <a:lnTo>
                      <a:pt x="504" y="723"/>
                    </a:lnTo>
                    <a:lnTo>
                      <a:pt x="504" y="0"/>
                    </a:lnTo>
                    <a:lnTo>
                      <a:pt x="35" y="0"/>
                    </a:lnTo>
                    <a:lnTo>
                      <a:pt x="35" y="723"/>
                    </a:lnTo>
                    <a:lnTo>
                      <a:pt x="0" y="723"/>
                    </a:lnTo>
                    <a:lnTo>
                      <a:pt x="0" y="808"/>
                    </a:lnTo>
                    <a:lnTo>
                      <a:pt x="916" y="808"/>
                    </a:lnTo>
                    <a:lnTo>
                      <a:pt x="916" y="723"/>
                    </a:lnTo>
                    <a:lnTo>
                      <a:pt x="883" y="723"/>
                    </a:lnTo>
                    <a:close/>
                    <a:moveTo>
                      <a:pt x="229" y="665"/>
                    </a:moveTo>
                    <a:lnTo>
                      <a:pt x="109" y="665"/>
                    </a:lnTo>
                    <a:lnTo>
                      <a:pt x="109" y="596"/>
                    </a:lnTo>
                    <a:lnTo>
                      <a:pt x="229" y="596"/>
                    </a:lnTo>
                    <a:lnTo>
                      <a:pt x="229" y="665"/>
                    </a:lnTo>
                    <a:close/>
                    <a:moveTo>
                      <a:pt x="229" y="501"/>
                    </a:moveTo>
                    <a:lnTo>
                      <a:pt x="109" y="501"/>
                    </a:lnTo>
                    <a:lnTo>
                      <a:pt x="109" y="432"/>
                    </a:lnTo>
                    <a:lnTo>
                      <a:pt x="229" y="432"/>
                    </a:lnTo>
                    <a:lnTo>
                      <a:pt x="229" y="501"/>
                    </a:lnTo>
                    <a:close/>
                    <a:moveTo>
                      <a:pt x="229" y="337"/>
                    </a:moveTo>
                    <a:lnTo>
                      <a:pt x="109" y="337"/>
                    </a:lnTo>
                    <a:lnTo>
                      <a:pt x="109" y="267"/>
                    </a:lnTo>
                    <a:lnTo>
                      <a:pt x="229" y="267"/>
                    </a:lnTo>
                    <a:lnTo>
                      <a:pt x="229" y="337"/>
                    </a:lnTo>
                    <a:close/>
                    <a:moveTo>
                      <a:pt x="229" y="172"/>
                    </a:moveTo>
                    <a:lnTo>
                      <a:pt x="109" y="172"/>
                    </a:lnTo>
                    <a:lnTo>
                      <a:pt x="109" y="103"/>
                    </a:lnTo>
                    <a:lnTo>
                      <a:pt x="229" y="103"/>
                    </a:lnTo>
                    <a:lnTo>
                      <a:pt x="229" y="172"/>
                    </a:lnTo>
                    <a:close/>
                    <a:moveTo>
                      <a:pt x="428" y="665"/>
                    </a:moveTo>
                    <a:lnTo>
                      <a:pt x="307" y="665"/>
                    </a:lnTo>
                    <a:lnTo>
                      <a:pt x="307" y="596"/>
                    </a:lnTo>
                    <a:lnTo>
                      <a:pt x="428" y="596"/>
                    </a:lnTo>
                    <a:lnTo>
                      <a:pt x="428" y="665"/>
                    </a:lnTo>
                    <a:close/>
                    <a:moveTo>
                      <a:pt x="428" y="501"/>
                    </a:moveTo>
                    <a:lnTo>
                      <a:pt x="307" y="501"/>
                    </a:lnTo>
                    <a:lnTo>
                      <a:pt x="307" y="432"/>
                    </a:lnTo>
                    <a:lnTo>
                      <a:pt x="428" y="432"/>
                    </a:lnTo>
                    <a:lnTo>
                      <a:pt x="428" y="501"/>
                    </a:lnTo>
                    <a:close/>
                    <a:moveTo>
                      <a:pt x="428" y="337"/>
                    </a:moveTo>
                    <a:lnTo>
                      <a:pt x="307" y="337"/>
                    </a:lnTo>
                    <a:lnTo>
                      <a:pt x="307" y="267"/>
                    </a:lnTo>
                    <a:lnTo>
                      <a:pt x="428" y="267"/>
                    </a:lnTo>
                    <a:lnTo>
                      <a:pt x="428" y="337"/>
                    </a:lnTo>
                    <a:close/>
                    <a:moveTo>
                      <a:pt x="428" y="172"/>
                    </a:moveTo>
                    <a:lnTo>
                      <a:pt x="307" y="172"/>
                    </a:lnTo>
                    <a:lnTo>
                      <a:pt x="307" y="103"/>
                    </a:lnTo>
                    <a:lnTo>
                      <a:pt x="428" y="103"/>
                    </a:lnTo>
                    <a:lnTo>
                      <a:pt x="428" y="172"/>
                    </a:lnTo>
                    <a:close/>
                    <a:moveTo>
                      <a:pt x="684" y="668"/>
                    </a:moveTo>
                    <a:lnTo>
                      <a:pt x="606" y="668"/>
                    </a:lnTo>
                    <a:lnTo>
                      <a:pt x="606" y="549"/>
                    </a:lnTo>
                    <a:lnTo>
                      <a:pt x="684" y="549"/>
                    </a:lnTo>
                    <a:lnTo>
                      <a:pt x="684" y="668"/>
                    </a:lnTo>
                    <a:close/>
                    <a:moveTo>
                      <a:pt x="684" y="482"/>
                    </a:moveTo>
                    <a:lnTo>
                      <a:pt x="606" y="482"/>
                    </a:lnTo>
                    <a:lnTo>
                      <a:pt x="606" y="365"/>
                    </a:lnTo>
                    <a:lnTo>
                      <a:pt x="684" y="365"/>
                    </a:lnTo>
                    <a:lnTo>
                      <a:pt x="684" y="482"/>
                    </a:lnTo>
                    <a:close/>
                    <a:moveTo>
                      <a:pt x="816" y="668"/>
                    </a:moveTo>
                    <a:lnTo>
                      <a:pt x="738" y="668"/>
                    </a:lnTo>
                    <a:lnTo>
                      <a:pt x="738" y="549"/>
                    </a:lnTo>
                    <a:lnTo>
                      <a:pt x="816" y="549"/>
                    </a:lnTo>
                    <a:lnTo>
                      <a:pt x="816" y="668"/>
                    </a:lnTo>
                    <a:close/>
                    <a:moveTo>
                      <a:pt x="816" y="482"/>
                    </a:moveTo>
                    <a:lnTo>
                      <a:pt x="738" y="482"/>
                    </a:lnTo>
                    <a:lnTo>
                      <a:pt x="738" y="365"/>
                    </a:lnTo>
                    <a:lnTo>
                      <a:pt x="816" y="365"/>
                    </a:lnTo>
                    <a:lnTo>
                      <a:pt x="816" y="482"/>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grpSp>
        <p:sp>
          <p:nvSpPr>
            <p:cNvPr id="80" name="TextBox 79"/>
            <p:cNvSpPr txBox="1"/>
            <p:nvPr/>
          </p:nvSpPr>
          <p:spPr>
            <a:xfrm>
              <a:off x="83345" y="113808"/>
              <a:ext cx="2532630" cy="627864"/>
            </a:xfrm>
            <a:prstGeom prst="rect">
              <a:avLst/>
            </a:prstGeom>
            <a:noFill/>
          </p:spPr>
          <p:txBody>
            <a:bodyPr wrap="square" lIns="182880" tIns="146304" rIns="182880" bIns="146304" rtlCol="0">
              <a:spAutoFit/>
            </a:bodyPr>
            <a:lstStyle>
              <a:defPPr>
                <a:defRPr lang="en-US"/>
              </a:defPPr>
              <a:lvl1pPr>
                <a:lnSpc>
                  <a:spcPct val="90000"/>
                </a:lnSpc>
                <a:spcAft>
                  <a:spcPts val="600"/>
                </a:spcAft>
                <a:defRPr sz="2800" b="1">
                  <a:solidFill>
                    <a:srgbClr val="F2C812"/>
                  </a:solidFill>
                  <a:latin typeface="Segoe UI Light"/>
                </a:defRPr>
              </a:lvl1p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400" b="1" i="0" u="none" strike="noStrike" kern="1200" cap="none" spc="0" normalizeH="0" baseline="0" noProof="0">
                  <a:ln>
                    <a:noFill/>
                  </a:ln>
                  <a:solidFill>
                    <a:srgbClr val="F2C812"/>
                  </a:solidFill>
                  <a:effectLst/>
                  <a:uLnTx/>
                  <a:uFillTx/>
                  <a:latin typeface="Segoe UI Light"/>
                  <a:ea typeface="+mn-ea"/>
                  <a:cs typeface="+mn-cs"/>
                </a:rPr>
                <a:t>Power BI Service</a:t>
              </a:r>
              <a:endParaRPr kumimoji="0" lang="en-US" sz="2800" b="1" i="0" u="none" strike="noStrike" kern="1200" cap="none" spc="0" normalizeH="0" baseline="0" noProof="0">
                <a:ln>
                  <a:noFill/>
                </a:ln>
                <a:solidFill>
                  <a:srgbClr val="F2C812"/>
                </a:solidFill>
                <a:effectLst/>
                <a:uLnTx/>
                <a:uFillTx/>
                <a:latin typeface="Segoe UI Light"/>
                <a:ea typeface="+mn-ea"/>
                <a:cs typeface="+mn-cs"/>
              </a:endParaRPr>
            </a:p>
          </p:txBody>
        </p:sp>
        <p:grpSp>
          <p:nvGrpSpPr>
            <p:cNvPr id="81" name="Group 80"/>
            <p:cNvGrpSpPr/>
            <p:nvPr/>
          </p:nvGrpSpPr>
          <p:grpSpPr>
            <a:xfrm>
              <a:off x="219373" y="3621383"/>
              <a:ext cx="433844" cy="645668"/>
              <a:chOff x="280990" y="3358164"/>
              <a:chExt cx="433844" cy="645668"/>
            </a:xfrm>
          </p:grpSpPr>
          <p:sp>
            <p:nvSpPr>
              <p:cNvPr id="87" name="Oval 1083"/>
              <p:cNvSpPr/>
              <p:nvPr/>
            </p:nvSpPr>
            <p:spPr bwMode="auto">
              <a:xfrm>
                <a:off x="280990" y="3358164"/>
                <a:ext cx="433844" cy="433847"/>
              </a:xfrm>
              <a:prstGeom prst="ellipse">
                <a:avLst/>
              </a:prstGeom>
              <a:solidFill>
                <a:srgbClr val="F2C812"/>
              </a:solidFill>
              <a:ln>
                <a:solidFill>
                  <a:srgbClr val="FFCC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88" name="Group 379"/>
              <p:cNvGrpSpPr/>
              <p:nvPr/>
            </p:nvGrpSpPr>
            <p:grpSpPr>
              <a:xfrm>
                <a:off x="453702" y="3910852"/>
                <a:ext cx="175660" cy="92980"/>
                <a:chOff x="3895793" y="7466656"/>
                <a:chExt cx="785810" cy="415941"/>
              </a:xfrm>
              <a:solidFill>
                <a:srgbClr val="00BCF2"/>
              </a:solidFill>
            </p:grpSpPr>
            <p:sp>
              <p:nvSpPr>
                <p:cNvPr id="89" name="Freeform 132"/>
                <p:cNvSpPr>
                  <a:spLocks/>
                </p:cNvSpPr>
                <p:nvPr/>
              </p:nvSpPr>
              <p:spPr bwMode="auto">
                <a:xfrm>
                  <a:off x="4125979" y="7688918"/>
                  <a:ext cx="0" cy="6353"/>
                </a:xfrm>
                <a:custGeom>
                  <a:avLst/>
                  <a:gdLst>
                    <a:gd name="T0" fmla="*/ 1 w 1"/>
                    <a:gd name="T1" fmla="*/ 0 h 8"/>
                    <a:gd name="T2" fmla="*/ 0 w 1"/>
                    <a:gd name="T3" fmla="*/ 0 h 8"/>
                    <a:gd name="T4" fmla="*/ 1 w 1"/>
                    <a:gd name="T5" fmla="*/ 8 h 8"/>
                    <a:gd name="T6" fmla="*/ 1 w 1"/>
                    <a:gd name="T7" fmla="*/ 0 h 8"/>
                  </a:gdLst>
                  <a:ahLst/>
                  <a:cxnLst>
                    <a:cxn ang="0">
                      <a:pos x="T0" y="T1"/>
                    </a:cxn>
                    <a:cxn ang="0">
                      <a:pos x="T2" y="T3"/>
                    </a:cxn>
                    <a:cxn ang="0">
                      <a:pos x="T4" y="T5"/>
                    </a:cxn>
                    <a:cxn ang="0">
                      <a:pos x="T6" y="T7"/>
                    </a:cxn>
                  </a:cxnLst>
                  <a:rect l="0" t="0" r="r" b="b"/>
                  <a:pathLst>
                    <a:path w="1" h="8">
                      <a:moveTo>
                        <a:pt x="1" y="0"/>
                      </a:moveTo>
                      <a:cubicBezTo>
                        <a:pt x="0" y="0"/>
                        <a:pt x="0" y="0"/>
                        <a:pt x="0" y="0"/>
                      </a:cubicBezTo>
                      <a:cubicBezTo>
                        <a:pt x="0" y="3"/>
                        <a:pt x="1" y="5"/>
                        <a:pt x="1" y="8"/>
                      </a:cubicBezTo>
                      <a:lnTo>
                        <a:pt x="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90" name="Freeform 133"/>
                <p:cNvSpPr>
                  <a:spLocks/>
                </p:cNvSpPr>
                <p:nvPr/>
              </p:nvSpPr>
              <p:spPr bwMode="auto">
                <a:xfrm>
                  <a:off x="3895793" y="7812745"/>
                  <a:ext cx="219078" cy="69852"/>
                </a:xfrm>
                <a:custGeom>
                  <a:avLst/>
                  <a:gdLst>
                    <a:gd name="T0" fmla="*/ 186 w 238"/>
                    <a:gd name="T1" fmla="*/ 9 h 76"/>
                    <a:gd name="T2" fmla="*/ 131 w 238"/>
                    <a:gd name="T3" fmla="*/ 22 h 76"/>
                    <a:gd name="T4" fmla="*/ 60 w 238"/>
                    <a:gd name="T5" fmla="*/ 0 h 76"/>
                    <a:gd name="T6" fmla="*/ 0 w 238"/>
                    <a:gd name="T7" fmla="*/ 42 h 76"/>
                    <a:gd name="T8" fmla="*/ 0 w 238"/>
                    <a:gd name="T9" fmla="*/ 76 h 76"/>
                    <a:gd name="T10" fmla="*/ 238 w 238"/>
                    <a:gd name="T11" fmla="*/ 76 h 76"/>
                    <a:gd name="T12" fmla="*/ 236 w 238"/>
                    <a:gd name="T13" fmla="*/ 53 h 76"/>
                    <a:gd name="T14" fmla="*/ 236 w 238"/>
                    <a:gd name="T15" fmla="*/ 49 h 76"/>
                    <a:gd name="T16" fmla="*/ 186 w 238"/>
                    <a:gd name="T17" fmla="*/ 9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8" h="76">
                      <a:moveTo>
                        <a:pt x="186" y="9"/>
                      </a:moveTo>
                      <a:cubicBezTo>
                        <a:pt x="169" y="18"/>
                        <a:pt x="150" y="22"/>
                        <a:pt x="131" y="22"/>
                      </a:cubicBezTo>
                      <a:cubicBezTo>
                        <a:pt x="105" y="22"/>
                        <a:pt x="80" y="14"/>
                        <a:pt x="60" y="0"/>
                      </a:cubicBezTo>
                      <a:cubicBezTo>
                        <a:pt x="0" y="42"/>
                        <a:pt x="0" y="42"/>
                        <a:pt x="0" y="42"/>
                      </a:cubicBezTo>
                      <a:cubicBezTo>
                        <a:pt x="0" y="76"/>
                        <a:pt x="0" y="76"/>
                        <a:pt x="0" y="76"/>
                      </a:cubicBezTo>
                      <a:cubicBezTo>
                        <a:pt x="238" y="76"/>
                        <a:pt x="238" y="76"/>
                        <a:pt x="238" y="76"/>
                      </a:cubicBezTo>
                      <a:cubicBezTo>
                        <a:pt x="237" y="68"/>
                        <a:pt x="236" y="61"/>
                        <a:pt x="236" y="53"/>
                      </a:cubicBezTo>
                      <a:cubicBezTo>
                        <a:pt x="236" y="51"/>
                        <a:pt x="236" y="50"/>
                        <a:pt x="236" y="49"/>
                      </a:cubicBezTo>
                      <a:lnTo>
                        <a:pt x="186" y="9"/>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91" name="Freeform 137"/>
                <p:cNvSpPr>
                  <a:spLocks/>
                </p:cNvSpPr>
                <p:nvPr/>
              </p:nvSpPr>
              <p:spPr bwMode="auto">
                <a:xfrm>
                  <a:off x="4338704" y="7809561"/>
                  <a:ext cx="65090" cy="73028"/>
                </a:xfrm>
                <a:custGeom>
                  <a:avLst/>
                  <a:gdLst>
                    <a:gd name="T0" fmla="*/ 71 w 71"/>
                    <a:gd name="T1" fmla="*/ 79 h 79"/>
                    <a:gd name="T2" fmla="*/ 71 w 71"/>
                    <a:gd name="T3" fmla="*/ 0 h 79"/>
                    <a:gd name="T4" fmla="*/ 2 w 71"/>
                    <a:gd name="T5" fmla="*/ 53 h 79"/>
                    <a:gd name="T6" fmla="*/ 2 w 71"/>
                    <a:gd name="T7" fmla="*/ 56 h 79"/>
                    <a:gd name="T8" fmla="*/ 0 w 71"/>
                    <a:gd name="T9" fmla="*/ 79 h 79"/>
                    <a:gd name="T10" fmla="*/ 71 w 71"/>
                    <a:gd name="T11" fmla="*/ 79 h 79"/>
                  </a:gdLst>
                  <a:ahLst/>
                  <a:cxnLst>
                    <a:cxn ang="0">
                      <a:pos x="T0" y="T1"/>
                    </a:cxn>
                    <a:cxn ang="0">
                      <a:pos x="T2" y="T3"/>
                    </a:cxn>
                    <a:cxn ang="0">
                      <a:pos x="T4" y="T5"/>
                    </a:cxn>
                    <a:cxn ang="0">
                      <a:pos x="T6" y="T7"/>
                    </a:cxn>
                    <a:cxn ang="0">
                      <a:pos x="T8" y="T9"/>
                    </a:cxn>
                    <a:cxn ang="0">
                      <a:pos x="T10" y="T11"/>
                    </a:cxn>
                  </a:cxnLst>
                  <a:rect l="0" t="0" r="r" b="b"/>
                  <a:pathLst>
                    <a:path w="71" h="79">
                      <a:moveTo>
                        <a:pt x="71" y="79"/>
                      </a:moveTo>
                      <a:cubicBezTo>
                        <a:pt x="71" y="0"/>
                        <a:pt x="71" y="0"/>
                        <a:pt x="71" y="0"/>
                      </a:cubicBezTo>
                      <a:cubicBezTo>
                        <a:pt x="2" y="53"/>
                        <a:pt x="2" y="53"/>
                        <a:pt x="2" y="53"/>
                      </a:cubicBezTo>
                      <a:cubicBezTo>
                        <a:pt x="2" y="54"/>
                        <a:pt x="2" y="55"/>
                        <a:pt x="2" y="56"/>
                      </a:cubicBezTo>
                      <a:cubicBezTo>
                        <a:pt x="2" y="64"/>
                        <a:pt x="1" y="71"/>
                        <a:pt x="0" y="79"/>
                      </a:cubicBezTo>
                      <a:lnTo>
                        <a:pt x="71" y="79"/>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92" name="Freeform 140"/>
                <p:cNvSpPr>
                  <a:spLocks/>
                </p:cNvSpPr>
                <p:nvPr/>
              </p:nvSpPr>
              <p:spPr bwMode="auto">
                <a:xfrm>
                  <a:off x="4600643" y="7622229"/>
                  <a:ext cx="80960" cy="38099"/>
                </a:xfrm>
                <a:custGeom>
                  <a:avLst/>
                  <a:gdLst>
                    <a:gd name="T0" fmla="*/ 0 w 51"/>
                    <a:gd name="T1" fmla="*/ 24 h 24"/>
                    <a:gd name="T2" fmla="*/ 51 w 51"/>
                    <a:gd name="T3" fmla="*/ 24 h 24"/>
                    <a:gd name="T4" fmla="*/ 32 w 51"/>
                    <a:gd name="T5" fmla="*/ 0 h 24"/>
                    <a:gd name="T6" fmla="*/ 0 w 51"/>
                    <a:gd name="T7" fmla="*/ 24 h 24"/>
                  </a:gdLst>
                  <a:ahLst/>
                  <a:cxnLst>
                    <a:cxn ang="0">
                      <a:pos x="T0" y="T1"/>
                    </a:cxn>
                    <a:cxn ang="0">
                      <a:pos x="T2" y="T3"/>
                    </a:cxn>
                    <a:cxn ang="0">
                      <a:pos x="T4" y="T5"/>
                    </a:cxn>
                    <a:cxn ang="0">
                      <a:pos x="T6" y="T7"/>
                    </a:cxn>
                  </a:cxnLst>
                  <a:rect l="0" t="0" r="r" b="b"/>
                  <a:pathLst>
                    <a:path w="51" h="24">
                      <a:moveTo>
                        <a:pt x="0" y="24"/>
                      </a:moveTo>
                      <a:lnTo>
                        <a:pt x="51" y="24"/>
                      </a:lnTo>
                      <a:lnTo>
                        <a:pt x="32" y="0"/>
                      </a:lnTo>
                      <a:lnTo>
                        <a:pt x="0" y="24"/>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93" name="Freeform 141"/>
                <p:cNvSpPr>
                  <a:spLocks/>
                </p:cNvSpPr>
                <p:nvPr/>
              </p:nvSpPr>
              <p:spPr bwMode="auto">
                <a:xfrm>
                  <a:off x="4449825" y="7466656"/>
                  <a:ext cx="119065" cy="139703"/>
                </a:xfrm>
                <a:custGeom>
                  <a:avLst/>
                  <a:gdLst>
                    <a:gd name="T0" fmla="*/ 52 w 75"/>
                    <a:gd name="T1" fmla="*/ 0 h 88"/>
                    <a:gd name="T2" fmla="*/ 0 w 75"/>
                    <a:gd name="T3" fmla="*/ 0 h 88"/>
                    <a:gd name="T4" fmla="*/ 0 w 75"/>
                    <a:gd name="T5" fmla="*/ 88 h 88"/>
                    <a:gd name="T6" fmla="*/ 75 w 75"/>
                    <a:gd name="T7" fmla="*/ 30 h 88"/>
                    <a:gd name="T8" fmla="*/ 52 w 75"/>
                    <a:gd name="T9" fmla="*/ 0 h 88"/>
                  </a:gdLst>
                  <a:ahLst/>
                  <a:cxnLst>
                    <a:cxn ang="0">
                      <a:pos x="T0" y="T1"/>
                    </a:cxn>
                    <a:cxn ang="0">
                      <a:pos x="T2" y="T3"/>
                    </a:cxn>
                    <a:cxn ang="0">
                      <a:pos x="T4" y="T5"/>
                    </a:cxn>
                    <a:cxn ang="0">
                      <a:pos x="T6" y="T7"/>
                    </a:cxn>
                    <a:cxn ang="0">
                      <a:pos x="T8" y="T9"/>
                    </a:cxn>
                  </a:cxnLst>
                  <a:rect l="0" t="0" r="r" b="b"/>
                  <a:pathLst>
                    <a:path w="75" h="88">
                      <a:moveTo>
                        <a:pt x="52" y="0"/>
                      </a:moveTo>
                      <a:lnTo>
                        <a:pt x="0" y="0"/>
                      </a:lnTo>
                      <a:lnTo>
                        <a:pt x="0" y="88"/>
                      </a:lnTo>
                      <a:lnTo>
                        <a:pt x="75" y="30"/>
                      </a:lnTo>
                      <a:lnTo>
                        <a:pt x="52"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grpSp>
        </p:grpSp>
        <p:sp>
          <p:nvSpPr>
            <p:cNvPr id="82" name="Rectangle 152"/>
            <p:cNvSpPr/>
            <p:nvPr/>
          </p:nvSpPr>
          <p:spPr bwMode="auto">
            <a:xfrm>
              <a:off x="712458" y="3628917"/>
              <a:ext cx="1805162" cy="37532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2C812"/>
                  </a:solidFill>
                  <a:effectLst/>
                  <a:uLnTx/>
                  <a:uFillTx/>
                  <a:latin typeface="Segoe UI"/>
                  <a:ea typeface="+mn-ea"/>
                  <a:cs typeface="Segoe UI Light" panose="020B0502040204020203" pitchFamily="34" charset="0"/>
                </a:rPr>
                <a:t>Q&amp;A and </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2C812"/>
                  </a:solidFill>
                  <a:effectLst/>
                  <a:uLnTx/>
                  <a:uFillTx/>
                  <a:latin typeface="Segoe UI"/>
                  <a:ea typeface="+mn-ea"/>
                  <a:cs typeface="Segoe UI Light" panose="020B0502040204020203" pitchFamily="34" charset="0"/>
                </a:rPr>
                <a:t>Quick Insights</a:t>
              </a:r>
              <a:endParaRPr kumimoji="0" lang="en-US" sz="1200" b="1" i="0" u="none" strike="noStrike" kern="1200" cap="none" spc="0" normalizeH="0" baseline="0" noProof="0">
                <a:ln>
                  <a:noFill/>
                </a:ln>
                <a:solidFill>
                  <a:srgbClr val="F2C812"/>
                </a:solidFill>
                <a:effectLst/>
                <a:uLnTx/>
                <a:uFillTx/>
                <a:latin typeface="Segoe UI"/>
                <a:ea typeface="+mn-ea"/>
                <a:cs typeface="Segoe UI Light" panose="020B0502040204020203" pitchFamily="34" charset="0"/>
              </a:endParaRPr>
            </a:p>
          </p:txBody>
        </p:sp>
        <p:sp>
          <p:nvSpPr>
            <p:cNvPr id="83" name="Oval 162"/>
            <p:cNvSpPr/>
            <p:nvPr/>
          </p:nvSpPr>
          <p:spPr bwMode="auto">
            <a:xfrm>
              <a:off x="226619" y="4551712"/>
              <a:ext cx="433844" cy="433844"/>
            </a:xfrm>
            <a:prstGeom prst="ellipse">
              <a:avLst/>
            </a:prstGeom>
            <a:solidFill>
              <a:srgbClr val="F2C812"/>
            </a:solidFill>
            <a:ln>
              <a:solidFill>
                <a:srgbClr val="FFCC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4" name="Rectangle 152"/>
            <p:cNvSpPr/>
            <p:nvPr/>
          </p:nvSpPr>
          <p:spPr bwMode="auto">
            <a:xfrm>
              <a:off x="738443" y="4596194"/>
              <a:ext cx="1884825" cy="30233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2C812"/>
                  </a:solidFill>
                  <a:effectLst/>
                  <a:uLnTx/>
                  <a:uFillTx/>
                  <a:latin typeface="Segoe UI"/>
                  <a:ea typeface="+mn-ea"/>
                  <a:cs typeface="Segoe UI Light" panose="020B0502040204020203" pitchFamily="34" charset="0"/>
                </a:rPr>
                <a:t>Sharing</a:t>
              </a:r>
              <a:endParaRPr kumimoji="0" lang="en-US" sz="1200" b="1" i="1" u="none" strike="noStrike" kern="1200" cap="none" spc="0" normalizeH="0" baseline="0" noProof="0">
                <a:ln>
                  <a:noFill/>
                </a:ln>
                <a:solidFill>
                  <a:srgbClr val="F2C812"/>
                </a:solidFill>
                <a:effectLst/>
                <a:uLnTx/>
                <a:uFillTx/>
                <a:latin typeface="Segoe UI"/>
                <a:ea typeface="+mn-ea"/>
                <a:cs typeface="Segoe UI Light" panose="020B0502040204020203" pitchFamily="34" charset="0"/>
              </a:endParaRPr>
            </a:p>
          </p:txBody>
        </p:sp>
        <p:sp>
          <p:nvSpPr>
            <p:cNvPr id="85" name="Rectangle 145"/>
            <p:cNvSpPr/>
            <p:nvPr/>
          </p:nvSpPr>
          <p:spPr bwMode="auto">
            <a:xfrm>
              <a:off x="697198" y="1847637"/>
              <a:ext cx="1821468" cy="3831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2C812"/>
                  </a:solidFill>
                  <a:effectLst/>
                  <a:uLnTx/>
                  <a:uFillTx/>
                  <a:latin typeface="Segoe UI"/>
                  <a:ea typeface="+mn-ea"/>
                  <a:cs typeface="Segoe UI Light" panose="020B0502040204020203" pitchFamily="34" charset="0"/>
                </a:rPr>
                <a:t>Pinning and Navigation</a:t>
              </a:r>
            </a:p>
          </p:txBody>
        </p:sp>
        <p:sp>
          <p:nvSpPr>
            <p:cNvPr id="86" name="Oval 162"/>
            <p:cNvSpPr/>
            <p:nvPr/>
          </p:nvSpPr>
          <p:spPr bwMode="auto">
            <a:xfrm>
              <a:off x="224136" y="1813606"/>
              <a:ext cx="433844" cy="433844"/>
            </a:xfrm>
            <a:prstGeom prst="ellipse">
              <a:avLst/>
            </a:prstGeom>
            <a:solidFill>
              <a:srgbClr val="FFCC00"/>
            </a:solidFill>
            <a:ln>
              <a:solidFill>
                <a:srgbClr val="F2C81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pic>
        <p:nvPicPr>
          <p:cNvPr id="100" name="Picture 99"/>
          <p:cNvPicPr>
            <a:picLocks noChangeAspect="1"/>
          </p:cNvPicPr>
          <p:nvPr/>
        </p:nvPicPr>
        <p:blipFill rotWithShape="1">
          <a:blip r:embed="rId3"/>
          <a:srcRect l="6503" t="21287" r="74698" b="20220"/>
          <a:stretch/>
        </p:blipFill>
        <p:spPr>
          <a:xfrm>
            <a:off x="339111" y="1946110"/>
            <a:ext cx="228600" cy="231962"/>
          </a:xfrm>
          <a:prstGeom prst="rect">
            <a:avLst/>
          </a:prstGeom>
        </p:spPr>
      </p:pic>
      <p:pic>
        <p:nvPicPr>
          <p:cNvPr id="101" name="Picture 100"/>
          <p:cNvPicPr>
            <a:picLocks noChangeAspect="1"/>
          </p:cNvPicPr>
          <p:nvPr/>
        </p:nvPicPr>
        <p:blipFill>
          <a:blip r:embed="rId4"/>
          <a:stretch>
            <a:fillRect/>
          </a:stretch>
        </p:blipFill>
        <p:spPr>
          <a:xfrm>
            <a:off x="284769" y="3673076"/>
            <a:ext cx="311766" cy="303106"/>
          </a:xfrm>
          <a:prstGeom prst="rect">
            <a:avLst/>
          </a:prstGeom>
        </p:spPr>
      </p:pic>
      <p:sp>
        <p:nvSpPr>
          <p:cNvPr id="102" name="Rectangle 145"/>
          <p:cNvSpPr/>
          <p:nvPr/>
        </p:nvSpPr>
        <p:spPr bwMode="auto">
          <a:xfrm>
            <a:off x="718897" y="5436715"/>
            <a:ext cx="1821468" cy="3831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2C812"/>
                </a:solidFill>
                <a:effectLst/>
                <a:uLnTx/>
                <a:uFillTx/>
                <a:latin typeface="Segoe UI"/>
                <a:ea typeface="+mn-ea"/>
                <a:cs typeface="Segoe UI Light" panose="020B0502040204020203" pitchFamily="34" charset="0"/>
              </a:rPr>
              <a:t>Connect from Excel</a:t>
            </a:r>
          </a:p>
        </p:txBody>
      </p:sp>
      <p:sp>
        <p:nvSpPr>
          <p:cNvPr id="103" name="Oval 162"/>
          <p:cNvSpPr/>
          <p:nvPr/>
        </p:nvSpPr>
        <p:spPr bwMode="auto">
          <a:xfrm>
            <a:off x="231441" y="5429649"/>
            <a:ext cx="433844" cy="433844"/>
          </a:xfrm>
          <a:prstGeom prst="ellipse">
            <a:avLst/>
          </a:prstGeom>
          <a:solidFill>
            <a:srgbClr val="FFCC00"/>
          </a:solidFill>
          <a:ln>
            <a:solidFill>
              <a:srgbClr val="F2C81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04" name="Picture 103"/>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flipH="1">
            <a:off x="283763" y="4596680"/>
            <a:ext cx="357484" cy="357484"/>
          </a:xfrm>
          <a:prstGeom prst="rect">
            <a:avLst/>
          </a:prstGeom>
        </p:spPr>
      </p:pic>
      <p:sp>
        <p:nvSpPr>
          <p:cNvPr id="105" name="Oval 162"/>
          <p:cNvSpPr/>
          <p:nvPr/>
        </p:nvSpPr>
        <p:spPr bwMode="auto">
          <a:xfrm>
            <a:off x="233032" y="6267344"/>
            <a:ext cx="433844" cy="433844"/>
          </a:xfrm>
          <a:prstGeom prst="ellipse">
            <a:avLst/>
          </a:prstGeom>
          <a:solidFill>
            <a:srgbClr val="FFCC00"/>
          </a:solidFill>
          <a:ln>
            <a:solidFill>
              <a:srgbClr val="F2C81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6" name="Rectangle 145"/>
          <p:cNvSpPr/>
          <p:nvPr/>
        </p:nvSpPr>
        <p:spPr bwMode="auto">
          <a:xfrm>
            <a:off x="701416" y="6289969"/>
            <a:ext cx="1821468" cy="3831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2C812"/>
                </a:solidFill>
                <a:effectLst/>
                <a:uLnTx/>
                <a:uFillTx/>
                <a:latin typeface="Segoe UI"/>
                <a:ea typeface="+mn-ea"/>
                <a:cs typeface="Segoe UI Light" panose="020B0502040204020203" pitchFamily="34" charset="0"/>
              </a:rPr>
              <a:t>Mobile Reports</a:t>
            </a:r>
          </a:p>
        </p:txBody>
      </p:sp>
      <p:pic>
        <p:nvPicPr>
          <p:cNvPr id="107" name="Picture 106"/>
          <p:cNvPicPr>
            <a:picLocks noChangeAspect="1"/>
          </p:cNvPicPr>
          <p:nvPr/>
        </p:nvPicPr>
        <p:blipFill>
          <a:blip r:embed="rId6" cstate="print">
            <a:extLst>
              <a:ext uri="{BEBA8EAE-BF5A-486C-A8C5-ECC9F3942E4B}">
                <a14:imgProps xmlns:a14="http://schemas.microsoft.com/office/drawing/2010/main">
                  <a14:imgLayer r:embed="rId7">
                    <a14:imgEffect>
                      <a14:saturation sat="0"/>
                    </a14:imgEffect>
                  </a14:imgLayer>
                </a14:imgProps>
              </a:ext>
              <a:ext uri="{28A0092B-C50C-407E-A947-70E740481C1C}">
                <a14:useLocalDpi xmlns:a14="http://schemas.microsoft.com/office/drawing/2010/main" val="0"/>
              </a:ext>
            </a:extLst>
          </a:blip>
          <a:stretch>
            <a:fillRect/>
          </a:stretch>
        </p:blipFill>
        <p:spPr>
          <a:xfrm>
            <a:off x="391946" y="6350039"/>
            <a:ext cx="133350" cy="251587"/>
          </a:xfrm>
          <a:prstGeom prst="rect">
            <a:avLst/>
          </a:prstGeom>
        </p:spPr>
      </p:pic>
      <p:pic>
        <p:nvPicPr>
          <p:cNvPr id="108" name="Picture 107"/>
          <p:cNvPicPr>
            <a:picLocks noChangeAspect="1"/>
          </p:cNvPicPr>
          <p:nvPr/>
        </p:nvPicPr>
        <p:blipFill>
          <a:blip r:embed="rId8" cstate="print">
            <a:biLevel thresh="50000"/>
            <a:extLst>
              <a:ext uri="{28A0092B-C50C-407E-A947-70E740481C1C}">
                <a14:useLocalDpi xmlns:a14="http://schemas.microsoft.com/office/drawing/2010/main" val="0"/>
              </a:ext>
            </a:extLst>
          </a:blip>
          <a:stretch>
            <a:fillRect/>
          </a:stretch>
        </p:blipFill>
        <p:spPr>
          <a:xfrm>
            <a:off x="332658" y="5538489"/>
            <a:ext cx="268940" cy="268940"/>
          </a:xfrm>
          <a:prstGeom prst="rect">
            <a:avLst/>
          </a:prstGeom>
        </p:spPr>
      </p:pic>
      <p:sp>
        <p:nvSpPr>
          <p:cNvPr id="109" name="Rectangle 108"/>
          <p:cNvSpPr/>
          <p:nvPr/>
        </p:nvSpPr>
        <p:spPr bwMode="auto">
          <a:xfrm>
            <a:off x="35912" y="1550386"/>
            <a:ext cx="2464420" cy="5238040"/>
          </a:xfrm>
          <a:prstGeom prst="rect">
            <a:avLst/>
          </a:prstGeom>
          <a:solidFill>
            <a:srgbClr val="000000">
              <a:alpha val="6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28328898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STB Product Families 2013">
  <a:themeElements>
    <a:clrScheme name="Custom 4">
      <a:dk1>
        <a:srgbClr val="000000"/>
      </a:dk1>
      <a:lt1>
        <a:srgbClr val="FFFFFF"/>
      </a:lt1>
      <a:dk2>
        <a:srgbClr val="505050"/>
      </a:dk2>
      <a:lt2>
        <a:srgbClr val="D2D2D2"/>
      </a:lt2>
      <a:accent1>
        <a:srgbClr val="DC3C00"/>
      </a:accent1>
      <a:accent2>
        <a:srgbClr val="FF8C00"/>
      </a:accent2>
      <a:accent3>
        <a:srgbClr val="0072C6"/>
      </a:accent3>
      <a:accent4>
        <a:srgbClr val="008272"/>
      </a:accent4>
      <a:accent5>
        <a:srgbClr val="68217A"/>
      </a:accent5>
      <a:accent6>
        <a:srgbClr val="00BCF2"/>
      </a:accent6>
      <a:hlink>
        <a:srgbClr val="D2D2D2"/>
      </a:hlink>
      <a:folHlink>
        <a:srgbClr val="505050"/>
      </a:folHlink>
    </a:clrScheme>
    <a:fontScheme name="STB-2013-SegoeUI">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2" id="{8DAB7D18-9A9C-442A-B50E-F6F6DCC92343}" vid="{626FD01B-D220-44C7-964F-5ACF063E0159}"/>
    </a:ext>
  </a:extLst>
</a:theme>
</file>

<file path=ppt/theme/theme2.xml><?xml version="1.0" encoding="utf-8"?>
<a:theme xmlns:a="http://schemas.openxmlformats.org/drawingml/2006/main" name="5-30610_Microsoft_Ignite_Keynote_Template">
  <a:themeElements>
    <a:clrScheme name="Ignite - Breakout - Gray Back">
      <a:dk1>
        <a:srgbClr val="000000"/>
      </a:dk1>
      <a:lt1>
        <a:srgbClr val="FFFFFF"/>
      </a:lt1>
      <a:dk2>
        <a:srgbClr val="505050"/>
      </a:dk2>
      <a:lt2>
        <a:srgbClr val="47D8FF"/>
      </a:lt2>
      <a:accent1>
        <a:srgbClr val="0078D7"/>
      </a:accent1>
      <a:accent2>
        <a:srgbClr val="5C2D91"/>
      </a:accent2>
      <a:accent3>
        <a:srgbClr val="B4009E"/>
      </a:accent3>
      <a:accent4>
        <a:srgbClr val="00BCF2"/>
      </a:accent4>
      <a:accent5>
        <a:srgbClr val="BAD80A"/>
      </a:accent5>
      <a:accent6>
        <a:srgbClr val="FF8C00"/>
      </a:accent6>
      <a:hlink>
        <a:srgbClr val="47D8FF"/>
      </a:hlink>
      <a:folHlink>
        <a:srgbClr val="47D8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398" fontAlgn="base">
          <a:spcBef>
            <a:spcPct val="0"/>
          </a:spcBef>
          <a:spcAft>
            <a:spcPct val="0"/>
          </a:spcAft>
          <a:defRPr sz="2000" dirty="0">
            <a:gradFill>
              <a:gsLst>
                <a:gs pos="16814">
                  <a:srgbClr val="FFFFFF"/>
                </a:gs>
                <a:gs pos="46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5_Breakout_Template.potx" id="{1A2CE55D-C0EF-4064-A39F-620642E032AA}" vid="{A3A9C9DA-6617-4D3E-A382-CDB23C8F3BF1}"/>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Template">
  <a:themeElements>
    <a:clrScheme name="TR24">
      <a:dk1>
        <a:srgbClr val="353535"/>
      </a:dk1>
      <a:lt1>
        <a:srgbClr val="FFFFFF"/>
      </a:lt1>
      <a:dk2>
        <a:srgbClr val="0078D7"/>
      </a:dk2>
      <a:lt2>
        <a:srgbClr val="E6E6E6"/>
      </a:lt2>
      <a:accent1>
        <a:srgbClr val="0078D7"/>
      </a:accent1>
      <a:accent2>
        <a:srgbClr val="00188F"/>
      </a:accent2>
      <a:accent3>
        <a:srgbClr val="002050"/>
      </a:accent3>
      <a:accent4>
        <a:srgbClr val="D83B01"/>
      </a:accent4>
      <a:accent5>
        <a:srgbClr val="737373"/>
      </a:accent5>
      <a:accent6>
        <a:srgbClr val="505050"/>
      </a:accent6>
      <a:hlink>
        <a:srgbClr val="00188F"/>
      </a:hlink>
      <a:folHlink>
        <a:srgbClr val="00188F"/>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4_BO_CT_Template.potx" id="{C368DC25-1282-4557-ABE4-C430953F55E7}" vid="{DF86A506-7C87-4108-ACCF-805A6FBA29B1}"/>
    </a:ext>
  </a:extLst>
</a:theme>
</file>

<file path=ppt/theme/theme5.xml><?xml version="1.0" encoding="utf-8"?>
<a:theme xmlns:a="http://schemas.openxmlformats.org/drawingml/2006/main" name="1_STB Product Families 2015">
  <a:themeElements>
    <a:clrScheme name="Grayscale">
      <a:dk1>
        <a:sysClr val="windowText" lastClr="000000"/>
      </a:dk1>
      <a:lt1>
        <a:sysClr val="window" lastClr="FFFFFF"/>
      </a:lt1>
      <a:dk2>
        <a:srgbClr val="000000"/>
      </a:dk2>
      <a:lt2>
        <a:srgbClr val="F8F8F8"/>
      </a:lt2>
      <a:accent1>
        <a:srgbClr val="DDDDDD"/>
      </a:accent1>
      <a:accent2>
        <a:srgbClr val="B2B2B2"/>
      </a:accent2>
      <a:accent3>
        <a:srgbClr val="969696"/>
      </a:accent3>
      <a:accent4>
        <a:srgbClr val="808080"/>
      </a:accent4>
      <a:accent5>
        <a:srgbClr val="5F5F5F"/>
      </a:accent5>
      <a:accent6>
        <a:srgbClr val="4D4D4D"/>
      </a:accent6>
      <a:hlink>
        <a:srgbClr val="5F5F5F"/>
      </a:hlink>
      <a:folHlink>
        <a:srgbClr val="919191"/>
      </a:folHlink>
    </a:clrScheme>
    <a:fontScheme name="STB-2013-SegoeUI">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AEFB2B92-6146-4D35-B115-93F8C1A1610B}" vid="{59FFE97B-E829-4402-9AE9-5B72E31092E7}"/>
    </a:ext>
  </a:extLst>
</a:theme>
</file>

<file path=ppt/theme/theme6.xml><?xml version="1.0" encoding="utf-8"?>
<a:theme xmlns:a="http://schemas.openxmlformats.org/drawingml/2006/main" name="2_STB Product Families 2015">
  <a:themeElements>
    <a:clrScheme name="Grayscale">
      <a:dk1>
        <a:sysClr val="windowText" lastClr="000000"/>
      </a:dk1>
      <a:lt1>
        <a:sysClr val="window" lastClr="FFFFFF"/>
      </a:lt1>
      <a:dk2>
        <a:srgbClr val="000000"/>
      </a:dk2>
      <a:lt2>
        <a:srgbClr val="F8F8F8"/>
      </a:lt2>
      <a:accent1>
        <a:srgbClr val="DDDDDD"/>
      </a:accent1>
      <a:accent2>
        <a:srgbClr val="B2B2B2"/>
      </a:accent2>
      <a:accent3>
        <a:srgbClr val="969696"/>
      </a:accent3>
      <a:accent4>
        <a:srgbClr val="808080"/>
      </a:accent4>
      <a:accent5>
        <a:srgbClr val="5F5F5F"/>
      </a:accent5>
      <a:accent6>
        <a:srgbClr val="4D4D4D"/>
      </a:accent6>
      <a:hlink>
        <a:srgbClr val="5F5F5F"/>
      </a:hlink>
      <a:folHlink>
        <a:srgbClr val="919191"/>
      </a:folHlink>
    </a:clrScheme>
    <a:fontScheme name="STB-2013-SegoeUI">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AEFB2B92-6146-4D35-B115-93F8C1A1610B}" vid="{59FFE97B-E829-4402-9AE9-5B72E31092E7}"/>
    </a:ext>
  </a:ext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item1.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4.0.0.0, Culture=neutral, PublicKeyToken=71e9bce111e9429c</Assembly>
    <Class>Microsoft.Office.DocumentManagement.Internal.DocIdHandler</Class>
    <Data/>
    <Filter/>
  </Receiver>
</spe:Receivers>
</file>

<file path=customXml/item2.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DocumentDescription xmlns="230e9df3-be65-4c73-a93b-d1236ebd677e">This is a level 200 Power BI deck tailored towards IT Professionals. This deck describes the Power BI features and benefits for the IT Pro. It is intended to complement the Power BI capabilities level 200 deck. </DocumentDescription>
    <hd9637eefc984b85b6097c6374e15725 xmlns="230e9df3-be65-4c73-a93b-d1236ebd677e">
      <Terms xmlns="http://schemas.microsoft.com/office/infopath/2007/PartnerControls">
        <TermInfo xmlns="http://schemas.microsoft.com/office/infopath/2007/PartnerControls">
          <TermName xmlns="http://schemas.microsoft.com/office/infopath/2007/PartnerControls">sales presentations</TermName>
          <TermId xmlns="http://schemas.microsoft.com/office/infopath/2007/PartnerControls">355751b2-6406-4ba2-8a81-0ca1b45d0070</TermId>
        </TermInfo>
      </Terms>
    </hd9637eefc984b85b6097c6374e15725>
    <od9986d31974458fb3007746ec0bce5f xmlns="230e9df3-be65-4c73-a93b-d1236ebd677e">
      <Terms xmlns="http://schemas.microsoft.com/office/infopath/2007/PartnerControls"/>
    </od9986d31974458fb3007746ec0bce5f>
    <k20e0dfa74bf4e44818db03027b0ccd8 xmlns="230e9df3-be65-4c73-a93b-d1236ebd677e">
      <Terms xmlns="http://schemas.microsoft.com/office/infopath/2007/PartnerControls"/>
    </k20e0dfa74bf4e44818db03027b0ccd8>
    <Owner xmlns="230e9df3-be65-4c73-a93b-d1236ebd677e">
      <UserInfo>
        <DisplayName>Sanjay Soni</DisplayName>
        <AccountId>234</AccountId>
        <AccountType/>
      </UserInfo>
    </Owner>
    <PublishDate xmlns="230E9DF3-BE65-4C73-A93B-D1236EBD677E">2016-04-27T07:00:00+00:00</PublishDate>
    <k21a64daf20d4502b2796a1c6b8ce6c8 xmlns="230e9df3-be65-4c73-a93b-d1236ebd677e">
      <Terms xmlns="http://schemas.microsoft.com/office/infopath/2007/PartnerControls"/>
    </k21a64daf20d4502b2796a1c6b8ce6c8>
    <GenericHTML1 xmlns="230e9df3-be65-4c73-a93b-d1236ebd677e" xsi:nil="true"/>
    <ConfidentialityTaxHTField0 xmlns="230e9df3-be65-4c73-a93b-d1236ebd677e">
      <Terms xmlns="http://schemas.microsoft.com/office/infopath/2007/PartnerControls">
        <TermInfo xmlns="http://schemas.microsoft.com/office/infopath/2007/PartnerControls">
          <TermName xmlns="http://schemas.microsoft.com/office/infopath/2007/PartnerControls">customer ready</TermName>
          <TermId xmlns="http://schemas.microsoft.com/office/infopath/2007/PartnerControls">8986c41d-21c5-4f8f-8a12-ea4625b46858</TermId>
        </TermInfo>
      </Terms>
    </ConfidentialityTaxHTField0>
    <l3c3ea61849e4288a8acc49bb5388e8c xmlns="230e9df3-be65-4c73-a93b-d1236ebd677e">
      <Terms xmlns="http://schemas.microsoft.com/office/infopath/2007/PartnerControls">
        <TermInfo xmlns="http://schemas.microsoft.com/office/infopath/2007/PartnerControls">
          <TermName xmlns="http://schemas.microsoft.com/office/infopath/2007/PartnerControls">SQL Server Marketing</TermName>
          <TermId xmlns="http://schemas.microsoft.com/office/infopath/2007/PartnerControls">bb7921b3-c1d8-4da4-b894-8b6075d9546d</TermId>
        </TermInfo>
        <TermInfo xmlns="http://schemas.microsoft.com/office/infopath/2007/PartnerControls">
          <TermName xmlns="http://schemas.microsoft.com/office/infopath/2007/PartnerControls">Cloud and Enterprise Marketing Group</TermName>
          <TermId xmlns="http://schemas.microsoft.com/office/infopath/2007/PartnerControls">4f75e184-e5aa-4234-a07f-b032d60df254</TermId>
        </TermInfo>
      </Terms>
    </l3c3ea61849e4288a8acc49bb5388e8c>
    <Blog_x0020_Name xmlns="230e9df3-be65-4c73-a93b-d1236ebd677e" xsi:nil="true"/>
    <eb54ac91059940029a3cc8a4ff5af673 xmlns="230e9df3-be65-4c73-a93b-d1236ebd677e">
      <Terms xmlns="http://schemas.microsoft.com/office/infopath/2007/PartnerControls">
        <TermInfo xmlns="http://schemas.microsoft.com/office/infopath/2007/PartnerControls">
          <TermName xmlns="http://schemas.microsoft.com/office/infopath/2007/PartnerControls">SQL Server Domain</TermName>
          <TermId xmlns="http://schemas.microsoft.com/office/infopath/2007/PartnerControls">0c0f1824-39dc-4b26-8c74-eff4364b812b</TermId>
        </TermInfo>
        <TermInfo xmlns="http://schemas.microsoft.com/office/infopath/2007/PartnerControls">
          <TermName xmlns="http://schemas.microsoft.com/office/infopath/2007/PartnerControls">Server and Tools Business</TermName>
          <TermId xmlns="http://schemas.microsoft.com/office/infopath/2007/PartnerControls">6783548d-8609-4f97-be4a-4ca2616905a6</TermId>
        </TermInfo>
      </Terms>
    </eb54ac91059940029a3cc8a4ff5af673>
    <PublishingPageContent xmlns="http://schemas.microsoft.com/sharepoint/v3" xsi:nil="true"/>
    <ContentID xmlns="230e9df3-be65-4c73-a93b-d1236ebd677e">KC02-23-77079</ContentID>
    <Coowner xmlns="230e9df3-be65-4c73-a93b-d1236ebd677e">
      <UserInfo>
        <DisplayName>i:0#.f|membership|meeryan@microsoft.com</DisplayName>
        <AccountId>37</AccountId>
        <AccountType/>
      </UserInfo>
      <UserInfo>
        <DisplayName>i:0#.f|membership|v-anmarv@microsoft.com</DisplayName>
        <AccountId>45</AccountId>
        <AccountType/>
      </UserInfo>
      <UserInfo>
        <DisplayName>i:0#.f|membership|v-caicha@microsoft.com</DisplayName>
        <AccountId>637</AccountId>
        <AccountType/>
      </UserInfo>
      <UserInfo>
        <DisplayName>i:0#.f|membership|v-danaja@microsoft.com</DisplayName>
        <AccountId>176</AccountId>
        <AccountType/>
      </UserInfo>
    </Coowner>
    <ef109fd36bcf4bcd9dd945731030600b xmlns="230e9df3-be65-4c73-a93b-d1236ebd677e">
      <Terms xmlns="http://schemas.microsoft.com/office/infopath/2007/PartnerControls"/>
    </ef109fd36bcf4bcd9dd945731030600b>
    <ApplyWorkflowRules xmlns="230E9DF3-BE65-4C73-A93B-D1236EBD677E">Yes</ApplyWorkflowRules>
    <bf80e81150e248c48aa8cffdf0021a1f xmlns="230e9df3-be65-4c73-a93b-d1236ebd677e">
      <Terms xmlns="http://schemas.microsoft.com/office/infopath/2007/PartnerControls">
        <TermInfo xmlns="http://schemas.microsoft.com/office/infopath/2007/PartnerControls">
          <TermName xmlns="http://schemas.microsoft.com/office/infopath/2007/PartnerControls">Microsoft SQL Server</TermName>
          <TermId xmlns="http://schemas.microsoft.com/office/infopath/2007/PartnerControls">261ba873-f3ab-420e-96d6-e3004596a551</TermId>
        </TermInfo>
        <TermInfo xmlns="http://schemas.microsoft.com/office/infopath/2007/PartnerControls">
          <TermName xmlns="http://schemas.microsoft.com/office/infopath/2007/PartnerControls">Microsoft SQL Server Business Intelligence</TermName>
          <TermId xmlns="http://schemas.microsoft.com/office/infopath/2007/PartnerControls">9ffb7045-1f1b-41c0-987f-ffdc7c6f53c0</TermId>
        </TermInfo>
      </Terms>
    </bf80e81150e248c48aa8cffdf0021a1f>
    <ec5b2ad5c27b45fb8a00a1f27c7ce1ae xmlns="230e9df3-be65-4c73-a93b-d1236ebd677e">
      <Terms xmlns="http://schemas.microsoft.com/office/infopath/2007/PartnerControls"/>
    </ec5b2ad5c27b45fb8a00a1f27c7ce1ae>
    <RatingCount xmlns="http://schemas.microsoft.com/sharepoint/v3" xsi:nil="true"/>
    <m6d26e40ac264097a006193f92232ece xmlns="230e9df3-be65-4c73-a93b-d1236ebd677e">
      <Terms xmlns="http://schemas.microsoft.com/office/infopath/2007/PartnerControls"/>
    </m6d26e40ac264097a006193f92232ece>
    <b60f8d2dbb984f349d80d8196897f4d3 xmlns="230e9df3-be65-4c73-a93b-d1236ebd677e">
      <Terms xmlns="http://schemas.microsoft.com/office/infopath/2007/PartnerControls"/>
    </b60f8d2dbb984f349d80d8196897f4d3>
    <Thumbnail1 xmlns="230e9df3-be65-4c73-a93b-d1236ebd677e">
      <Url>https://microsoft.sharepoint.com/sites/Infopedia_G01KC/Media/Thumbnails/G01KC-99682991-10896/Power%20BI%20IT%20Pro%20Deck%20L200.png</Url>
      <Description>https://microsoft.sharepoint.com/sites/Infopedia_G01KC/Media/Thumbnails/G01KC-99682991-10896/Power BI IT Pro Deck L200.png</Description>
    </Thumbnail1>
    <i0d941ee1e744ffea7aeee9924c91cbb xmlns="230e9df3-be65-4c73-a93b-d1236ebd677e">
      <Terms xmlns="http://schemas.microsoft.com/office/infopath/2007/PartnerControls">
        <TermInfo xmlns="http://schemas.microsoft.com/office/infopath/2007/PartnerControls">
          <TermName xmlns="http://schemas.microsoft.com/office/infopath/2007/PartnerControls">business intelligence</TermName>
          <TermId xmlns="http://schemas.microsoft.com/office/infopath/2007/PartnerControls">e1f9659f-bde9-4479-81f9-2bc6e8ec0057</TermId>
        </TermInfo>
        <TermInfo xmlns="http://schemas.microsoft.com/office/infopath/2007/PartnerControls">
          <TermName xmlns="http://schemas.microsoft.com/office/infopath/2007/PartnerControls">Power BI solution</TermName>
          <TermId xmlns="http://schemas.microsoft.com/office/infopath/2007/PartnerControls">a774047b-2f39-4ee6-a302-4d53f94b9400</TermId>
        </TermInfo>
      </Terms>
    </i0d941ee1e744ffea7aeee9924c91cbb>
    <RoutingRuleDescription xmlns="http://schemas.microsoft.com/sharepoint/v3" xsi:nil="true"/>
    <PublishingExpirationDate xmlns="http://schemas.microsoft.com/sharepoint/v3" xsi:nil="true"/>
    <Update_x0020_Parent_x0020_Child_x0020_Relation_x0028_1_x0029_0 xmlns="b3bc04a5-d503-43b1-b98c-a8cf663329d9">
      <Url xsi:nil="true"/>
      <Description xsi:nil="true"/>
    </Update_x0020_Parent_x0020_Child_x0020_Relation_x0028_1_x0029_0>
    <AverageRating xmlns="http://schemas.microsoft.com/sharepoint/v3" xsi:nil="true"/>
    <TaxKeywordTaxHTField xmlns="230e9df3-be65-4c73-a93b-d1236ebd677e">
      <Terms xmlns="http://schemas.microsoft.com/office/infopath/2007/PartnerControls"/>
    </TaxKeywordTaxHTField>
    <ReportOwner xmlns="http://schemas.microsoft.com/sharepoint/v3">
      <UserInfo>
        <DisplayName/>
        <AccountId xsi:nil="true"/>
        <AccountType/>
      </UserInfo>
    </ReportOwner>
    <i1b478372f814787abd313030b81fcb2 xmlns="230e9df3-be65-4c73-a93b-d1236ebd677e">
      <Terms xmlns="http://schemas.microsoft.com/office/infopath/2007/PartnerControls"/>
    </i1b478372f814787abd313030b81fcb2>
    <b4224c12c78d42ea9b214de0badf8358 xmlns="230e9df3-be65-4c73-a93b-d1236ebd677e">
      <Terms xmlns="http://schemas.microsoft.com/office/infopath/2007/PartnerControls"/>
    </b4224c12c78d42ea9b214de0badf8358>
    <TaxCatchAll xmlns="230e9df3-be65-4c73-a93b-d1236ebd677e">
      <Value>399</Value>
      <Value>14</Value>
      <Value>166</Value>
      <Value>42</Value>
      <Value>231</Value>
      <Value>82</Value>
      <Value>108</Value>
      <Value>22</Value>
      <Value>598</Value>
      <Value>73</Value>
    </TaxCatchAll>
    <mb88723863e1404388ba3733387d48df xmlns="230e9df3-be65-4c73-a93b-d1236ebd677e">
      <Terms xmlns="http://schemas.microsoft.com/office/infopath/2007/PartnerControls"/>
    </mb88723863e1404388ba3733387d48df>
    <m6c7b4717b6346e6a075a59dd47eac69 xmlns="230e9df3-be65-4c73-a93b-d1236ebd677e">
      <Terms xmlns="http://schemas.microsoft.com/office/infopath/2007/PartnerControls"/>
    </m6c7b4717b6346e6a075a59dd47eac69>
    <kf34bcdc8fc34e479d3f94c6210e8e27 xmlns="230e9df3-be65-4c73-a93b-d1236ebd677e">
      <Terms xmlns="http://schemas.microsoft.com/office/infopath/2007/PartnerControls"/>
    </kf34bcdc8fc34e479d3f94c6210e8e27>
    <GenericText2 xmlns="230e9df3-be65-4c73-a93b-d1236ebd677e">G01KC-1-10896</GenericText2>
    <_dlc_DocId xmlns="230e9df3-be65-4c73-a93b-d1236ebd677e">G01KC-99682991-13912</_dlc_DocId>
    <_dlc_DocIdUrl xmlns="230e9df3-be65-4c73-a93b-d1236ebd677e">
      <Url>https://microsoft.sharepoint.com/sites/Infopedia_G01KC/_layouts/15/DocIdRedir.aspx?ID=G01KC-99682991-13912</Url>
      <Description>G01KC-99682991-13912</Description>
    </_dlc_DocIdUrl>
    <ODSWF2_x0028_1_x0029_ xmlns="b3bc04a5-d503-43b1-b98c-a8cf663329d9">
      <Url xsi:nil="true"/>
      <Description xsi:nil="true"/>
    </ODSWF2_x0028_1_x0029_>
    <ODSWF2 xmlns="b3bc04a5-d503-43b1-b98c-a8cf663329d9">
      <Url xsi:nil="true"/>
      <Description xsi:nil="true"/>
    </ODSWF2>
    <ODSWF_x0028_1_x0029_ xmlns="b3bc04a5-d503-43b1-b98c-a8cf663329d9">
      <Url xsi:nil="true"/>
      <Description xsi:nil="true"/>
    </ODSWF_x0028_1_x0029_>
    <ODSWF_x0028_1_x0029_0 xmlns="b3bc04a5-d503-43b1-b98c-a8cf663329d9">
      <Url xsi:nil="true"/>
      <Description xsi:nil="true"/>
    </ODSWF_x0028_1_x0029_0>
    <Update_x0020_Parent_x0020_Child_x0020_Relation_x0028_1_x0029_1 xmlns="b3bc04a5-d503-43b1-b98c-a8cf663329d9">
      <Url xsi:nil="true"/>
      <Description xsi:nil="true"/>
    </Update_x0020_Parent_x0020_Child_x0020_Relation_x0028_1_x0029_1>
    <ODSWF1 xmlns="b3bc04a5-d503-43b1-b98c-a8cf663329d9">
      <Url xsi:nil="true"/>
      <Description xsi:nil="true"/>
    </ODSWF1>
    <ODSWF2_x0028_1_x0029_0 xmlns="b3bc04a5-d503-43b1-b98c-a8cf663329d9">
      <Url xsi:nil="true"/>
      <Description xsi:nil="true"/>
    </ODSWF2_x0028_1_x0029_0>
    <ODSWF_x0028_1_x0029_1 xmlns="b3bc04a5-d503-43b1-b98c-a8cf663329d9">
      <Url xsi:nil="true"/>
      <Description xsi:nil="true"/>
    </ODSWF_x0028_1_x0029_1>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4.xml><?xml version="1.0" encoding="utf-8"?>
<?mso-contentType ?>
<SharedContentType xmlns="Microsoft.SharePoint.Taxonomy.ContentTypeSync" SourceId="e385fb40-52d4-4fae-9c5b-3e8ff8a5878e" ContentTypeId="0x0101000E4CB7077FEE4FF7AE86D4A500EEC7800300F96E2758736AEF45AFCE0C190C2A9DEC" PreviousValue="false"/>
</file>

<file path=customXml/item5.xml><?xml version="1.0" encoding="utf-8"?>
<ct:contentTypeSchema xmlns:ct="http://schemas.microsoft.com/office/2006/metadata/contentType" xmlns:ma="http://schemas.microsoft.com/office/2006/metadata/properties/metaAttributes" ct:_="" ma:_="" ma:contentTypeName="SMSG KM Document" ma:contentTypeID="0x0101000E4CB7077FEE4FF7AE86D4A500EEC7800300F96E2758736AEF45AFCE0C190C2A9DEC00CC074746C0EF6D439A06F1AAD31A3C2B" ma:contentTypeVersion="48" ma:contentTypeDescription="A document content type used by Infopedia." ma:contentTypeScope="" ma:versionID="9ba619dd261563bd5d6ea70122cbd502">
  <xsd:schema xmlns:xsd="http://www.w3.org/2001/XMLSchema" xmlns:xs="http://www.w3.org/2001/XMLSchema" xmlns:p="http://schemas.microsoft.com/office/2006/metadata/properties" xmlns:ns1="http://schemas.microsoft.com/sharepoint/v3" xmlns:ns2="230e9df3-be65-4c73-a93b-d1236ebd677e" xmlns:ns3="230E9DF3-BE65-4C73-A93B-D1236EBD677E" xmlns:ns4="b3bc04a5-d503-43b1-b98c-a8cf663329d9" xmlns:ns5="2478d1b8-79bf-461f-b8e8-704d21601f1a" targetNamespace="http://schemas.microsoft.com/office/2006/metadata/properties" ma:root="true" ma:fieldsID="6b687f397214d6103d792076ec318daf" ns1:_="" ns2:_="" ns3:_="" ns4:_="" ns5:_="">
    <xsd:import namespace="http://schemas.microsoft.com/sharepoint/v3"/>
    <xsd:import namespace="230e9df3-be65-4c73-a93b-d1236ebd677e"/>
    <xsd:import namespace="230E9DF3-BE65-4C73-A93B-D1236EBD677E"/>
    <xsd:import namespace="b3bc04a5-d503-43b1-b98c-a8cf663329d9"/>
    <xsd:import namespace="2478d1b8-79bf-461f-b8e8-704d21601f1a"/>
    <xsd:element name="properties">
      <xsd:complexType>
        <xsd:sequence>
          <xsd:element name="documentManagement">
            <xsd:complexType>
              <xsd:all>
                <xsd:element ref="ns1:RoutingRuleDescription" minOccurs="0"/>
                <xsd:element ref="ns2:DocumentDescription" minOccurs="0"/>
                <xsd:element ref="ns2:Owner"/>
                <xsd:element ref="ns3:PublishDate" minOccurs="0"/>
                <xsd:element ref="ns1:PublishingPageContent" minOccurs="0"/>
                <xsd:element ref="ns2:Thumbnail1" minOccurs="0"/>
                <xsd:element ref="ns1:AverageRating" minOccurs="0"/>
                <xsd:element ref="ns1:RatingCount" minOccurs="0"/>
                <xsd:element ref="ns1:PublishingExpirationDate" minOccurs="0"/>
                <xsd:element ref="ns3:ApplyWorkflowRules" minOccurs="0"/>
                <xsd:element ref="ns2:ContentID" minOccurs="0"/>
                <xsd:element ref="ns2:Blog_x0020_Name" minOccurs="0"/>
                <xsd:element ref="ns2:hd9637eefc984b85b6097c6374e15725" minOccurs="0"/>
                <xsd:element ref="ns2:TaxCatchAll" minOccurs="0"/>
                <xsd:element ref="ns2:TaxCatchAllLabel" minOccurs="0"/>
                <xsd:element ref="ns2:b4224c12c78d42ea9b214de0badf8358" minOccurs="0"/>
                <xsd:element ref="ns2:_dlc_DocId" minOccurs="0"/>
                <xsd:element ref="ns2:TaxKeywordTaxHTField" minOccurs="0"/>
                <xsd:element ref="ns2:_dlc_DocIdUrl" minOccurs="0"/>
                <xsd:element ref="ns2:_dlc_DocIdPersistId" minOccurs="0"/>
                <xsd:element ref="ns1:ReportOwner" minOccurs="0"/>
                <xsd:element ref="ns2:m6d26e40ac264097a006193f92232ece" minOccurs="0"/>
                <xsd:element ref="ns2:ConfidentialityTaxHTField0" minOccurs="0"/>
                <xsd:element ref="ns2:od9986d31974458fb3007746ec0bce5f" minOccurs="0"/>
                <xsd:element ref="ns2:bf80e81150e248c48aa8cffdf0021a1f" minOccurs="0"/>
                <xsd:element ref="ns2:mb88723863e1404388ba3733387d48df" minOccurs="0"/>
                <xsd:element ref="ns2:l3c3ea61849e4288a8acc49bb5388e8c" minOccurs="0"/>
                <xsd:element ref="ns2:i0d941ee1e744ffea7aeee9924c91cbb" minOccurs="0"/>
                <xsd:element ref="ns2:i1b478372f814787abd313030b81fcb2" minOccurs="0"/>
                <xsd:element ref="ns2:Coowner" minOccurs="0"/>
                <xsd:element ref="ns2:k21a64daf20d4502b2796a1c6b8ce6c8" minOccurs="0"/>
                <xsd:element ref="ns2:b60f8d2dbb984f349d80d8196897f4d3" minOccurs="0"/>
                <xsd:element ref="ns2:ec5b2ad5c27b45fb8a00a1f27c7ce1ae" minOccurs="0"/>
                <xsd:element ref="ns2:m6c7b4717b6346e6a075a59dd47eac69" minOccurs="0"/>
                <xsd:element ref="ns2:kf34bcdc8fc34e479d3f94c6210e8e27" minOccurs="0"/>
                <xsd:element ref="ns2:ef109fd36bcf4bcd9dd945731030600b" minOccurs="0"/>
                <xsd:element ref="ns2:eb54ac91059940029a3cc8a4ff5af673" minOccurs="0"/>
                <xsd:element ref="ns2:k20e0dfa74bf4e44818db03027b0ccd8" minOccurs="0"/>
                <xsd:element ref="ns2:GenericText2" minOccurs="0"/>
                <xsd:element ref="ns2:GenericHTML1" minOccurs="0"/>
                <xsd:element ref="ns4:Update_x0020_Parent_x0020_Child_x0020_Relation_x0028_1_x0029_0" minOccurs="0"/>
                <xsd:element ref="ns1:_ip_UnifiedCompliancePolicyProperties" minOccurs="0"/>
                <xsd:element ref="ns1:_ip_UnifiedCompliancePolicyUIAction" minOccurs="0"/>
                <xsd:element ref="ns5:LastSharedByUser" minOccurs="0"/>
                <xsd:element ref="ns5:LastSharedByTime" minOccurs="0"/>
                <xsd:element ref="ns4:ODSWF2" minOccurs="0"/>
                <xsd:element ref="ns4:Update_x0020_Parent_x0020_Child_x0020_Relation_x0028_1_x0029_1" minOccurs="0"/>
                <xsd:element ref="ns4:ODSWF_x0028_1_x0029_" minOccurs="0"/>
                <xsd:element ref="ns4:ODSWF2_x0028_1_x0029_" minOccurs="0"/>
                <xsd:element ref="ns4:ODSWF_x0028_1_x0029_0" minOccurs="0"/>
                <xsd:element ref="ns4:ODSWF_x0028_1_x0029_1" minOccurs="0"/>
                <xsd:element ref="ns4:ODSWF1" minOccurs="0"/>
                <xsd:element ref="ns4:ODSWF2_x0028_1_x0029_0" minOccurs="0"/>
                <xsd:element ref="ns4:MediaServiceMetadata" minOccurs="0"/>
                <xsd:element ref="ns4: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RoutingRuleDescription" ma:index="2" nillable="true" ma:displayName="Description" ma:description="" ma:hidden="true" ma:internalName="RoutingRuleDescription" ma:readOnly="false">
      <xsd:simpleType>
        <xsd:restriction base="dms:Text">
          <xsd:maxLength value="255"/>
        </xsd:restriction>
      </xsd:simpleType>
    </xsd:element>
    <xsd:element name="PublishingPageContent" ma:index="9" nillable="true" ma:displayName="Page Content" ma:description="Page Content is a site column created by the Publishing feature. It is used on the Article Page Content Type as the content of the page." ma:internalName="PublishingPageContent" ma:readOnly="false">
      <xsd:simpleType>
        <xsd:restriction base="dms:Unknown"/>
      </xsd:simpleType>
    </xsd:element>
    <xsd:element name="AverageRating" ma:index="13" nillable="true" ma:displayName="Rating (0-5)" ma:decimals="2" ma:description="Average value of all the ratings that have been submitted" ma:internalName="AverageRating" ma:readOnly="false">
      <xsd:simpleType>
        <xsd:restriction base="dms:Number"/>
      </xsd:simpleType>
    </xsd:element>
    <xsd:element name="RatingCount" ma:index="14" nillable="true" ma:displayName="Number of Ratings" ma:decimals="0" ma:description="Number of ratings submitted" ma:internalName="RatingCount" ma:readOnly="false">
      <xsd:simpleType>
        <xsd:restriction base="dms:Number"/>
      </xsd:simpleType>
    </xsd:element>
    <xsd:element name="PublishingExpirationDate" ma:index="17" nillable="true" ma:displayName="Scheduling End Date" ma:description="Scheduling End Date is a site column created by the Publishing feature. It is used to specify the date and time on which this page will no longer appear to site visitors." ma:internalName="PublishingExpirationDate" ma:readOnly="false">
      <xsd:simpleType>
        <xsd:restriction base="dms:Unknown"/>
      </xsd:simpleType>
    </xsd:element>
    <xsd:element name="ReportOwner" ma:index="33" nillable="true" ma:displayName="Owner (People and Groups)" ma:description="Owner of this document" ma:hidden="true" ma:list="UserInfo" ma:SearchPeopleOnly="false" ma:SharePointGroup="0" ma:internalName="ReportOwner" ma:readOnly="false"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_ip_UnifiedCompliancePolicyProperties" ma:index="69" nillable="true" ma:displayName="Unified Compliance Policy Properties" ma:hidden="true" ma:internalName="_ip_UnifiedCompliancePolicyProperties">
      <xsd:simpleType>
        <xsd:restriction base="dms:Note"/>
      </xsd:simpleType>
    </xsd:element>
    <xsd:element name="_ip_UnifiedCompliancePolicyUIAction" ma:index="70"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DocumentDescription" ma:index="3" nillable="true" ma:displayName="Document Description" ma:description="Alternate description for documents that can be used for display." ma:internalName="DocumentDescription">
      <xsd:simpleType>
        <xsd:restriction base="dms:Note">
          <xsd:maxLength value="255"/>
        </xsd:restriction>
      </xsd:simpleType>
    </xsd:element>
    <xsd:element name="Owner" ma:index="4" ma:displayName="Owner" ma:list="UserInfo" ma:SharePointGroup="0" ma:internalName="Owner" ma:readOnly="false" ma:showField="ImnName">
      <xsd:complexType>
        <xsd:complexContent>
          <xsd:extension base="dms:User">
            <xsd:sequence>
              <xsd:element name="UserInfo" minOccurs="0" maxOccurs="unbounded">
                <xsd:complexType>
                  <xsd:sequence>
                    <xsd:element name="DisplayName" type="xsd:string" minOccurs="0"/>
                    <xsd:element name="AccountId" type="dms:UserId" minOccurs="0"/>
                    <xsd:element name="AccountType" type="xsd:string" minOccurs="0"/>
                  </xsd:sequence>
                </xsd:complexType>
              </xsd:element>
            </xsd:sequence>
          </xsd:extension>
        </xsd:complexContent>
      </xsd:complexType>
    </xsd:element>
    <xsd:element name="Thumbnail1" ma:index="10" nillable="true" ma:displayName="Thumbnail" ma:format="Hyperlink" ma:internalName="Thumbnail1" ma:readOnly="false">
      <xsd:complexType>
        <xsd:complexContent>
          <xsd:extension base="dms:URL">
            <xsd:sequence>
              <xsd:element name="Url" type="dms:ValidUrl" minOccurs="0" nillable="true"/>
              <xsd:element name="Description" type="xsd:string" nillable="true"/>
            </xsd:sequence>
          </xsd:extension>
        </xsd:complexContent>
      </xsd:complexType>
    </xsd:element>
    <xsd:element name="ContentID" ma:index="19" nillable="true" ma:displayName="ContentID" ma:indexed="true" ma:internalName="ContentID">
      <xsd:simpleType>
        <xsd:restriction base="dms:Text">
          <xsd:maxLength value="255"/>
        </xsd:restriction>
      </xsd:simpleType>
    </xsd:element>
    <xsd:element name="Blog_x0020_Name" ma:index="20" nillable="true" ma:displayName="Blog Name" ma:description="Title of an Infopedia Blog" ma:internalName="Blog_x0020_Name">
      <xsd:simpleType>
        <xsd:restriction base="dms:Text">
          <xsd:maxLength value="255"/>
        </xsd:restriction>
      </xsd:simpleType>
    </xsd:element>
    <xsd:element name="hd9637eefc984b85b6097c6374e15725" ma:index="22" nillable="true" ma:taxonomy="true" ma:internalName="hd9637eefc984b85b6097c6374e15725" ma:taxonomyFieldName="ItemType" ma:displayName="SMSG Item Type" ma:default="" ma:fieldId="{1d9637ee-fc98-4b85-b609-7c6374e15725}" ma:taxonomyMulti="true" ma:sspId="e385fb40-52d4-4fae-9c5b-3e8ff8a5878e" ma:termSetId="a611a704-4666-406e-a571-a6e9bb4a2dcc" ma:anchorId="3d59bf14-be35-4b82-81a4-70bbe2a90cc2" ma:open="false" ma:isKeyword="false">
      <xsd:complexType>
        <xsd:sequence>
          <xsd:element ref="pc:Terms" minOccurs="0" maxOccurs="1"/>
        </xsd:sequence>
      </xsd:complexType>
    </xsd:element>
    <xsd:element name="TaxCatchAll" ma:index="24" nillable="true" ma:displayName="Taxonomy Catch All Column" ma:description="" ma:hidden="true" ma:list="{8e3d5b1f-74bf-4cd5-90f8-860d03c4e4d4}" ma:internalName="TaxCatchAll" ma:showField="CatchAllData" ma:web="2478d1b8-79bf-461f-b8e8-704d21601f1a">
      <xsd:complexType>
        <xsd:complexContent>
          <xsd:extension base="dms:MultiChoiceLookup">
            <xsd:sequence>
              <xsd:element name="Value" type="dms:Lookup" maxOccurs="unbounded" minOccurs="0" nillable="true"/>
            </xsd:sequence>
          </xsd:extension>
        </xsd:complexContent>
      </xsd:complexType>
    </xsd:element>
    <xsd:element name="TaxCatchAllLabel" ma:index="25" nillable="true" ma:displayName="Taxonomy Catch All Column1" ma:description="" ma:hidden="true" ma:list="{8e3d5b1f-74bf-4cd5-90f8-860d03c4e4d4}" ma:internalName="TaxCatchAllLabel" ma:readOnly="true" ma:showField="CatchAllDataLabel" ma:web="2478d1b8-79bf-461f-b8e8-704d21601f1a">
      <xsd:complexType>
        <xsd:complexContent>
          <xsd:extension base="dms:MultiChoiceLookup">
            <xsd:sequence>
              <xsd:element name="Value" type="dms:Lookup" maxOccurs="unbounded" minOccurs="0" nillable="true"/>
            </xsd:sequence>
          </xsd:extension>
        </xsd:complexContent>
      </xsd:complexType>
    </xsd:element>
    <xsd:element name="b4224c12c78d42ea9b214de0badf8358" ma:index="27" nillable="true" ma:taxonomy="true" ma:internalName="b4224c12c78d42ea9b214de0badf8358" ma:taxonomyFieldName="EnterpriseDomainTags" ma:displayName="EnterpriseDomainTags" ma:default="" ma:fieldId="{b4224c12-c78d-42ea-9b21-4de0badf8358}" ma:taxonomyMulti="true" ma:sspId="e385fb40-52d4-4fae-9c5b-3e8ff8a5878e" ma:termSetId="d039009f-2da8-468b-bf5e-ff4693a9f72f" ma:anchorId="00000000-0000-0000-0000-000000000000" ma:open="false" ma:isKeyword="false">
      <xsd:complexType>
        <xsd:sequence>
          <xsd:element ref="pc:Terms" minOccurs="0" maxOccurs="1"/>
        </xsd:sequence>
      </xsd:complexType>
    </xsd:element>
    <xsd:element name="_dlc_DocId" ma:index="28" nillable="true" ma:displayName="Document ID Value" ma:description="The value of the document ID assigned to this item." ma:indexed="true" ma:internalName="_dlc_DocId" ma:readOnly="true">
      <xsd:simpleType>
        <xsd:restriction base="dms:Text"/>
      </xsd:simpleType>
    </xsd:element>
    <xsd:element name="TaxKeywordTaxHTField" ma:index="29" nillable="true" ma:taxonomy="true" ma:internalName="TaxKeywordTaxHTField" ma:taxonomyFieldName="TaxKeyword" ma:displayName="Enterprise Keywords" ma:fieldId="{23f27201-bee3-471e-b2e7-b64fd8b7ca38}" ma:taxonomyMulti="true" ma:sspId="e385fb40-52d4-4fae-9c5b-3e8ff8a5878e" ma:termSetId="00000000-0000-0000-0000-000000000000" ma:anchorId="00000000-0000-0000-0000-000000000000" ma:open="true" ma:isKeyword="true">
      <xsd:complexType>
        <xsd:sequence>
          <xsd:element ref="pc:Terms" minOccurs="0" maxOccurs="1"/>
        </xsd:sequence>
      </xsd:complexType>
    </xsd:element>
    <xsd:element name="_dlc_DocIdUrl" ma:index="30"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32" nillable="true" ma:displayName="Persist ID" ma:description="Keep ID on add." ma:hidden="true" ma:internalName="_dlc_DocIdPersistId" ma:readOnly="true">
      <xsd:simpleType>
        <xsd:restriction base="dms:Boolean"/>
      </xsd:simpleType>
    </xsd:element>
    <xsd:element name="m6d26e40ac264097a006193f92232ece" ma:index="35" nillable="true" ma:taxonomy="true" ma:internalName="m6d26e40ac264097a006193f92232ece" ma:taxonomyFieldName="TechnicalLevel" ma:displayName="Technical Level" ma:default="" ma:fieldId="{66d26e40-ac26-4097-a006-193f92232ece}" ma:sspId="e385fb40-52d4-4fae-9c5b-3e8ff8a5878e" ma:termSetId="7123edbd-7265-47b9-9049-04e46d245d8e" ma:anchorId="3c636e1e-6390-429f-a144-68438d32bffe" ma:open="false" ma:isKeyword="false">
      <xsd:complexType>
        <xsd:sequence>
          <xsd:element ref="pc:Terms" minOccurs="0" maxOccurs="1"/>
        </xsd:sequence>
      </xsd:complexType>
    </xsd:element>
    <xsd:element name="ConfidentialityTaxHTField0" ma:index="36" ma:taxonomy="true" ma:internalName="ConfidentialityTaxHTField0" ma:taxonomyFieldName="Confidentiality" ma:displayName="Confidentiality" ma:default="5;#Microsoft confidential|461efa83-0283-486a-a8d5-943328f3693f" ma:fieldId="{840a9f3c-1e14-4c21-9dbf-5637765665db}" ma:sspId="e385fb40-52d4-4fae-9c5b-3e8ff8a5878e" ma:termSetId="e0e820dc-7da0-48b9-8472-209c7e82d1d0" ma:anchorId="00000000-0000-0000-0000-000000000000" ma:open="false" ma:isKeyword="false">
      <xsd:complexType>
        <xsd:sequence>
          <xsd:element ref="pc:Terms" minOccurs="0" maxOccurs="1"/>
        </xsd:sequence>
      </xsd:complexType>
    </xsd:element>
    <xsd:element name="od9986d31974458fb3007746ec0bce5f" ma:index="37" nillable="true" ma:taxonomy="true" ma:internalName="od9986d31974458fb3007746ec0bce5f" ma:taxonomyFieldName="Languages" ma:displayName="SMSG Languages" ma:default="" ma:fieldId="{8d9986d3-1974-458f-b300-7746ec0bce5f}" ma:taxonomyMulti="true" ma:sspId="e385fb40-52d4-4fae-9c5b-3e8ff8a5878e" ma:termSetId="a611a704-4666-406e-a571-a6e9bb4a2dcc" ma:anchorId="c5f267fd-fa38-4ffe-a1d8-2693d87e90bc" ma:open="false" ma:isKeyword="false">
      <xsd:complexType>
        <xsd:sequence>
          <xsd:element ref="pc:Terms" minOccurs="0" maxOccurs="1"/>
        </xsd:sequence>
      </xsd:complexType>
    </xsd:element>
    <xsd:element name="bf80e81150e248c48aa8cffdf0021a1f" ma:index="39" nillable="true" ma:taxonomy="true" ma:internalName="bf80e81150e248c48aa8cffdf0021a1f" ma:taxonomyFieldName="Products" ma:displayName="SMSG Products &amp; Technologies" ma:default="" ma:fieldId="{bf80e811-50e2-48c4-8aa8-cffdf0021a1f}" ma:taxonomyMulti="true" ma:sspId="e385fb40-52d4-4fae-9c5b-3e8ff8a5878e" ma:termSetId="a611a704-4666-406e-a571-a6e9bb4a2dcc" ma:anchorId="f7bdd4ba-8e81-43d6-a504-860f505d5c97" ma:open="false" ma:isKeyword="false">
      <xsd:complexType>
        <xsd:sequence>
          <xsd:element ref="pc:Terms" minOccurs="0" maxOccurs="1"/>
        </xsd:sequence>
      </xsd:complexType>
    </xsd:element>
    <xsd:element name="mb88723863e1404388ba3733387d48df" ma:index="41" nillable="true" ma:taxonomy="true" ma:internalName="mb88723863e1404388ba3733387d48df" ma:taxonomyFieldName="Audiences" ma:displayName="SMSG Customer Audiences" ma:default="" ma:fieldId="{6b887238-63e1-4043-88ba-3733387d48df}" ma:taxonomyMulti="true" ma:sspId="e385fb40-52d4-4fae-9c5b-3e8ff8a5878e" ma:termSetId="a611a704-4666-406e-a571-a6e9bb4a2dcc" ma:anchorId="8a0280e9-c6e8-4e3c-80d6-8db643b96ddd" ma:open="false" ma:isKeyword="false">
      <xsd:complexType>
        <xsd:sequence>
          <xsd:element ref="pc:Terms" minOccurs="0" maxOccurs="1"/>
        </xsd:sequence>
      </xsd:complexType>
    </xsd:element>
    <xsd:element name="l3c3ea61849e4288a8acc49bb5388e8c" ma:index="43" nillable="true" ma:taxonomy="true" ma:internalName="l3c3ea61849e4288a8acc49bb5388e8c" ma:taxonomyFieldName="Groups" ma:displayName="SMSG Groups" ma:default="" ma:fieldId="{53c3ea61-849e-4288-a8ac-c49bb5388e8c}" ma:taxonomyMulti="true" ma:sspId="e385fb40-52d4-4fae-9c5b-3e8ff8a5878e" ma:termSetId="d039009f-2da8-468b-bf5e-ff4693a9f72f" ma:anchorId="ec38e82f-eddf-4553-aa72-f3bd3c1d5855" ma:open="false" ma:isKeyword="false">
      <xsd:complexType>
        <xsd:sequence>
          <xsd:element ref="pc:Terms" minOccurs="0" maxOccurs="1"/>
        </xsd:sequence>
      </xsd:complexType>
    </xsd:element>
    <xsd:element name="i0d941ee1e744ffea7aeee9924c91cbb" ma:index="45" nillable="true" ma:taxonomy="true" ma:internalName="i0d941ee1e744ffea7aeee9924c91cbb" ma:taxonomyFieldName="BusinessArchitecture" ma:displayName="SMSG Business Architecture" ma:default="" ma:fieldId="{20d941ee-1e74-4ffe-a7ae-ee9924c91cbb}" ma:taxonomyMulti="true" ma:sspId="e385fb40-52d4-4fae-9c5b-3e8ff8a5878e" ma:termSetId="d039009f-2da8-468b-bf5e-ff4693a9f72f" ma:anchorId="1951c1e0-4cc7-414f-a435-7369277bc757" ma:open="false" ma:isKeyword="false">
      <xsd:complexType>
        <xsd:sequence>
          <xsd:element ref="pc:Terms" minOccurs="0" maxOccurs="1"/>
        </xsd:sequence>
      </xsd:complexType>
    </xsd:element>
    <xsd:element name="i1b478372f814787abd313030b81fcb2" ma:index="47" nillable="true" ma:taxonomy="true" ma:internalName="i1b478372f814787abd313030b81fcb2" ma:taxonomyFieldName="ActivitiesAndPrograms" ma:displayName="SMSG Activities &amp; Programs" ma:default="" ma:fieldId="{21b47837-2f81-4787-abd3-13030b81fcb2}" ma:taxonomyMulti="true" ma:sspId="e385fb40-52d4-4fae-9c5b-3e8ff8a5878e" ma:termSetId="d039009f-2da8-468b-bf5e-ff4693a9f72f" ma:anchorId="846d39ff-6475-4006-99df-de42970d666e" ma:open="false" ma:isKeyword="false">
      <xsd:complexType>
        <xsd:sequence>
          <xsd:element ref="pc:Terms" minOccurs="0" maxOccurs="1"/>
        </xsd:sequence>
      </xsd:complexType>
    </xsd:element>
    <xsd:element name="Coowner" ma:index="49" nillable="true" ma:displayName="Co-owner" ma:list="UserInfo" ma:SearchPeopleOnly="false" ma:SharePointGroup="0" ma:internalName="Coowner" ma:showField="Nam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k21a64daf20d4502b2796a1c6b8ce6c8" ma:index="50" nillable="true" ma:taxonomy="true" ma:internalName="k21a64daf20d4502b2796a1c6b8ce6c8" ma:taxonomyFieldName="Industries" ma:displayName="SMSG Industries" ma:default="" ma:fieldId="{421a64da-f20d-4502-b279-6a1c6b8ce6c8}" ma:taxonomyMulti="true" ma:sspId="e385fb40-52d4-4fae-9c5b-3e8ff8a5878e" ma:termSetId="a611a704-4666-406e-a571-a6e9bb4a2dcc" ma:anchorId="322da17f-7441-43de-8ac8-ca7d62aec02b" ma:open="false" ma:isKeyword="false">
      <xsd:complexType>
        <xsd:sequence>
          <xsd:element ref="pc:Terms" minOccurs="0" maxOccurs="1"/>
        </xsd:sequence>
      </xsd:complexType>
    </xsd:element>
    <xsd:element name="b60f8d2dbb984f349d80d8196897f4d3" ma:index="52" nillable="true" ma:taxonomy="true" ma:internalName="b60f8d2dbb984f349d80d8196897f4d3" ma:taxonomyFieldName="Roles" ma:displayName="SMSG Roles" ma:default="" ma:fieldId="{b60f8d2d-bb98-4f34-9d80-d8196897f4d3}" ma:taxonomyMulti="true" ma:sspId="e385fb40-52d4-4fae-9c5b-3e8ff8a5878e" ma:termSetId="a611a704-4666-406e-a571-a6e9bb4a2dcc" ma:anchorId="c9a07ef0-4236-4915-97ca-1b3392dac369" ma:open="false" ma:isKeyword="false">
      <xsd:complexType>
        <xsd:sequence>
          <xsd:element ref="pc:Terms" minOccurs="0" maxOccurs="1"/>
        </xsd:sequence>
      </xsd:complexType>
    </xsd:element>
    <xsd:element name="ec5b2ad5c27b45fb8a00a1f27c7ce1ae" ma:index="54" nillable="true" ma:taxonomy="true" ma:internalName="ec5b2ad5c27b45fb8a00a1f27c7ce1ae" ma:taxonomyFieldName="Partners" ma:displayName="SMSG Partners" ma:default="" ma:fieldId="{ec5b2ad5-c27b-45fb-8a00-a1f27c7ce1ae}" ma:taxonomyMulti="true" ma:sspId="e385fb40-52d4-4fae-9c5b-3e8ff8a5878e" ma:termSetId="a611a704-4666-406e-a571-a6e9bb4a2dcc" ma:anchorId="dd1a91fa-3198-4561-9b04-bc737b2a8291" ma:open="false" ma:isKeyword="false">
      <xsd:complexType>
        <xsd:sequence>
          <xsd:element ref="pc:Terms" minOccurs="0" maxOccurs="1"/>
        </xsd:sequence>
      </xsd:complexType>
    </xsd:element>
    <xsd:element name="m6c7b4717b6346e6a075a59dd47eac69" ma:index="56" nillable="true" ma:taxonomy="true" ma:internalName="m6c7b4717b6346e6a075a59dd47eac69" ma:taxonomyFieldName="Topics" ma:displayName="SMSG Topics" ma:default="" ma:fieldId="{66c7b471-7b63-46e6-a075-a59dd47eac69}" ma:taxonomyMulti="true" ma:sspId="e385fb40-52d4-4fae-9c5b-3e8ff8a5878e" ma:termSetId="d039009f-2da8-468b-bf5e-ff4693a9f72f" ma:anchorId="ddcce936-3357-448e-8326-e6fdfddfb752" ma:open="false" ma:isKeyword="false">
      <xsd:complexType>
        <xsd:sequence>
          <xsd:element ref="pc:Terms" minOccurs="0" maxOccurs="1"/>
        </xsd:sequence>
      </xsd:complexType>
    </xsd:element>
    <xsd:element name="kf34bcdc8fc34e479d3f94c6210e8e27" ma:index="58" nillable="true" ma:taxonomy="true" ma:internalName="kf34bcdc8fc34e479d3f94c6210e8e27" ma:taxonomyFieldName="Competitors" ma:displayName="SMSG Competition" ma:default="" ma:fieldId="{4f34bcdc-8fc3-4e47-9d3f-94c6210e8e27}" ma:taxonomyMulti="true" ma:sspId="e385fb40-52d4-4fae-9c5b-3e8ff8a5878e" ma:termSetId="a611a704-4666-406e-a571-a6e9bb4a2dcc" ma:anchorId="718f8fd0-b740-48bc-92ad-5700213c04b2" ma:open="false" ma:isKeyword="false">
      <xsd:complexType>
        <xsd:sequence>
          <xsd:element ref="pc:Terms" minOccurs="0" maxOccurs="1"/>
        </xsd:sequence>
      </xsd:complexType>
    </xsd:element>
    <xsd:element name="ef109fd36bcf4bcd9dd945731030600b" ma:index="60" nillable="true" ma:taxonomy="true" ma:internalName="ef109fd36bcf4bcd9dd945731030600b" ma:taxonomyFieldName="Region" ma:displayName="SMSG Region" ma:default="" ma:fieldId="{ef109fd3-6bcf-4bcd-9dd9-45731030600b}" ma:taxonomyMulti="true" ma:sspId="e385fb40-52d4-4fae-9c5b-3e8ff8a5878e" ma:termSetId="a611a704-4666-406e-a571-a6e9bb4a2dcc" ma:anchorId="c5404caa-7d82-41c6-82c2-0230c1d96864" ma:open="false" ma:isKeyword="false">
      <xsd:complexType>
        <xsd:sequence>
          <xsd:element ref="pc:Terms" minOccurs="0" maxOccurs="1"/>
        </xsd:sequence>
      </xsd:complexType>
    </xsd:element>
    <xsd:element name="eb54ac91059940029a3cc8a4ff5af673" ma:index="62" nillable="true" ma:taxonomy="true" ma:internalName="eb54ac91059940029a3cc8a4ff5af673" ma:taxonomyFieldName="SMSGDomain" ma:displayName="SMSG Domain" ma:default="" ma:fieldId="{eb54ac91-0599-4002-9a3c-c8a4ff5af673}" ma:taxonomyMulti="true" ma:sspId="e385fb40-52d4-4fae-9c5b-3e8ff8a5878e" ma:termSetId="a611a704-4666-406e-a571-a6e9bb4a2dcc" ma:anchorId="dd7a2ee5-7d01-4a82-9346-1eefa47ece8b" ma:open="false" ma:isKeyword="false">
      <xsd:complexType>
        <xsd:sequence>
          <xsd:element ref="pc:Terms" minOccurs="0" maxOccurs="1"/>
        </xsd:sequence>
      </xsd:complexType>
    </xsd:element>
    <xsd:element name="k20e0dfa74bf4e44818db03027b0ccd8" ma:index="64" nillable="true" ma:taxonomy="true" ma:internalName="k20e0dfa74bf4e44818db03027b0ccd8" ma:taxonomyFieldName="Segments" ma:displayName="SMSG Customer Segments" ma:default="" ma:fieldId="{420e0dfa-74bf-4e44-818d-b03027b0ccd8}" ma:taxonomyMulti="true" ma:sspId="e385fb40-52d4-4fae-9c5b-3e8ff8a5878e" ma:termSetId="a611a704-4666-406e-a571-a6e9bb4a2dcc" ma:anchorId="dd7a2ee5-7d01-4a82-9346-1eefa47ece8b" ma:open="false" ma:isKeyword="false">
      <xsd:complexType>
        <xsd:sequence>
          <xsd:element ref="pc:Terms" minOccurs="0" maxOccurs="1"/>
        </xsd:sequence>
      </xsd:complexType>
    </xsd:element>
    <xsd:element name="GenericText2" ma:index="66" nillable="true" ma:displayName="GenericText2" ma:description="Generic field for future features in implementation" ma:indexed="true" ma:internalName="GenericText2">
      <xsd:simpleType>
        <xsd:restriction base="dms:Text">
          <xsd:maxLength value="255"/>
        </xsd:restriction>
      </xsd:simpleType>
    </xsd:element>
    <xsd:element name="GenericHTML1" ma:index="67" nillable="true" ma:displayName="GenericHTML1" ma:description="Generic field for future features in implementation" ma:internalName="GenericHTML1">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PublishDate" ma:index="5" nillable="true" ma:displayName="PublishDate" ma:description="Used in Blog Posts, this date is used to specify the Blog Article Date." ma:format="DateOnly" ma:internalName="PublishDate" ma:readOnly="false">
      <xsd:simpleType>
        <xsd:restriction base="dms:DateTime"/>
      </xsd:simpleType>
    </xsd:element>
    <xsd:element name="ApplyWorkflowRules" ma:index="18" nillable="true" ma:displayName="ApplyWorkflowRules" ma:default="Yes" ma:description="This columns is used to help to apply the workflow rules on Document Sets / Documents. by Default the Value is Yes" ma:format="Dropdown" ma:internalName="ApplyWorkflowRules" ma:readOnly="false">
      <xsd:simpleType>
        <xsd:restriction base="dms:Choice">
          <xsd:enumeration value="Yes"/>
          <xsd:enumeration value="No"/>
        </xsd:restriction>
      </xsd:simpleType>
    </xsd:element>
  </xsd:schema>
  <xsd:schema xmlns:xsd="http://www.w3.org/2001/XMLSchema" xmlns:xs="http://www.w3.org/2001/XMLSchema" xmlns:dms="http://schemas.microsoft.com/office/2006/documentManagement/types" xmlns:pc="http://schemas.microsoft.com/office/infopath/2007/PartnerControls" targetNamespace="b3bc04a5-d503-43b1-b98c-a8cf663329d9" elementFormDefault="qualified">
    <xsd:import namespace="http://schemas.microsoft.com/office/2006/documentManagement/types"/>
    <xsd:import namespace="http://schemas.microsoft.com/office/infopath/2007/PartnerControls"/>
    <xsd:element name="Update_x0020_Parent_x0020_Child_x0020_Relation_x0028_1_x0029_0" ma:index="68" nillable="true" ma:displayName="Update Parent Child Relation" ma:internalName="Update_x0020_Parent_x0020_Child_x0020_Relation_x0028_1_x0029_0">
      <xsd:complexType>
        <xsd:complexContent>
          <xsd:extension base="dms:URL">
            <xsd:sequence>
              <xsd:element name="Url" type="dms:ValidUrl" minOccurs="0" nillable="true"/>
              <xsd:element name="Description" type="xsd:string" nillable="true"/>
            </xsd:sequence>
          </xsd:extension>
        </xsd:complexContent>
      </xsd:complexType>
    </xsd:element>
    <xsd:element name="ODSWF2" ma:index="73" nillable="true" ma:displayName="ODSWF2" ma:internalName="ODSWF2">
      <xsd:complexType>
        <xsd:complexContent>
          <xsd:extension base="dms:URL">
            <xsd:sequence>
              <xsd:element name="Url" type="dms:ValidUrl" minOccurs="0" nillable="true"/>
              <xsd:element name="Description" type="xsd:string" nillable="true"/>
            </xsd:sequence>
          </xsd:extension>
        </xsd:complexContent>
      </xsd:complexType>
    </xsd:element>
    <xsd:element name="Update_x0020_Parent_x0020_Child_x0020_Relation_x0028_1_x0029_1" ma:index="74" nillable="true" ma:displayName="Update Parent Child Relation" ma:internalName="Update_x0020_Parent_x0020_Child_x0020_Relation_x0028_1_x0029_1">
      <xsd:complexType>
        <xsd:complexContent>
          <xsd:extension base="dms:URL">
            <xsd:sequence>
              <xsd:element name="Url" type="dms:ValidUrl" minOccurs="0" nillable="true"/>
              <xsd:element name="Description" type="xsd:string" nillable="true"/>
            </xsd:sequence>
          </xsd:extension>
        </xsd:complexContent>
      </xsd:complexType>
    </xsd:element>
    <xsd:element name="ODSWF_x0028_1_x0029_" ma:index="75" nillable="true" ma:displayName="ODSWF" ma:internalName="ODSWF_x0028_1_x0029_">
      <xsd:complexType>
        <xsd:complexContent>
          <xsd:extension base="dms:URL">
            <xsd:sequence>
              <xsd:element name="Url" type="dms:ValidUrl" minOccurs="0" nillable="true"/>
              <xsd:element name="Description" type="xsd:string" nillable="true"/>
            </xsd:sequence>
          </xsd:extension>
        </xsd:complexContent>
      </xsd:complexType>
    </xsd:element>
    <xsd:element name="ODSWF2_x0028_1_x0029_" ma:index="76" nillable="true" ma:displayName="ODSWF2" ma:internalName="ODSWF2_x0028_1_x0029_">
      <xsd:complexType>
        <xsd:complexContent>
          <xsd:extension base="dms:URL">
            <xsd:sequence>
              <xsd:element name="Url" type="dms:ValidUrl" minOccurs="0" nillable="true"/>
              <xsd:element name="Description" type="xsd:string" nillable="true"/>
            </xsd:sequence>
          </xsd:extension>
        </xsd:complexContent>
      </xsd:complexType>
    </xsd:element>
    <xsd:element name="ODSWF_x0028_1_x0029_0" ma:index="77" nillable="true" ma:displayName="ODSWF" ma:internalName="ODSWF_x0028_1_x0029_0">
      <xsd:complexType>
        <xsd:complexContent>
          <xsd:extension base="dms:URL">
            <xsd:sequence>
              <xsd:element name="Url" type="dms:ValidUrl" minOccurs="0" nillable="true"/>
              <xsd:element name="Description" type="xsd:string" nillable="true"/>
            </xsd:sequence>
          </xsd:extension>
        </xsd:complexContent>
      </xsd:complexType>
    </xsd:element>
    <xsd:element name="ODSWF_x0028_1_x0029_1" ma:index="78" nillable="true" ma:displayName="ODSWF" ma:internalName="ODSWF_x0028_1_x0029_1">
      <xsd:complexType>
        <xsd:complexContent>
          <xsd:extension base="dms:URL">
            <xsd:sequence>
              <xsd:element name="Url" type="dms:ValidUrl" minOccurs="0" nillable="true"/>
              <xsd:element name="Description" type="xsd:string" nillable="true"/>
            </xsd:sequence>
          </xsd:extension>
        </xsd:complexContent>
      </xsd:complexType>
    </xsd:element>
    <xsd:element name="ODSWF1" ma:index="79" nillable="true" ma:displayName="ODSWF1" ma:internalName="ODSWF1">
      <xsd:complexType>
        <xsd:complexContent>
          <xsd:extension base="dms:URL">
            <xsd:sequence>
              <xsd:element name="Url" type="dms:ValidUrl" minOccurs="0" nillable="true"/>
              <xsd:element name="Description" type="xsd:string" nillable="true"/>
            </xsd:sequence>
          </xsd:extension>
        </xsd:complexContent>
      </xsd:complexType>
    </xsd:element>
    <xsd:element name="ODSWF2_x0028_1_x0029_0" ma:index="80" nillable="true" ma:displayName="ODSWF2" ma:internalName="ODSWF2_x0028_1_x0029_0">
      <xsd:complexType>
        <xsd:complexContent>
          <xsd:extension base="dms:URL">
            <xsd:sequence>
              <xsd:element name="Url" type="dms:ValidUrl" minOccurs="0" nillable="true"/>
              <xsd:element name="Description" type="xsd:string" nillable="true"/>
            </xsd:sequence>
          </xsd:extension>
        </xsd:complexContent>
      </xsd:complexType>
    </xsd:element>
    <xsd:element name="MediaServiceMetadata" ma:index="81" nillable="true" ma:displayName="MediaServiceMetadata" ma:description="" ma:hidden="true" ma:internalName="MediaServiceMetadata" ma:readOnly="true">
      <xsd:simpleType>
        <xsd:restriction base="dms:Note"/>
      </xsd:simpleType>
    </xsd:element>
    <xsd:element name="MediaServiceFastMetadata" ma:index="82" nillable="true" ma:displayName="MediaServiceFastMetadata" ma:description="" ma:hidden="true" ma:internalName="MediaServiceFast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2478d1b8-79bf-461f-b8e8-704d21601f1a" elementFormDefault="qualified">
    <xsd:import namespace="http://schemas.microsoft.com/office/2006/documentManagement/types"/>
    <xsd:import namespace="http://schemas.microsoft.com/office/infopath/2007/PartnerControls"/>
    <xsd:element name="LastSharedByUser" ma:index="71" nillable="true" ma:displayName="Last Shared By User" ma:description="" ma:internalName="LastSharedByUser" ma:readOnly="true">
      <xsd:simpleType>
        <xsd:restriction base="dms:Note">
          <xsd:maxLength value="255"/>
        </xsd:restriction>
      </xsd:simpleType>
    </xsd:element>
    <xsd:element name="LastSharedByTime" ma:index="72" nillable="true" ma:displayName="Last Shared By Time" ma:description="" ma:internalName="LastSharedByTime" ma:readOnly="true">
      <xsd:simpleType>
        <xsd:restriction base="dms:DateTim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26" ma:displayName="Content Type"/>
        <xsd:element ref="dc:title" minOccurs="0" maxOccurs="1" ma:index="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5F332D79-343D-45CE-A5BB-A91AB9C70F18}">
  <ds:schemaRefs>
    <ds:schemaRef ds:uri="http://schemas.microsoft.com/sharepoint/events"/>
  </ds:schemaRefs>
</ds:datastoreItem>
</file>

<file path=customXml/itemProps2.xml><?xml version="1.0" encoding="utf-8"?>
<ds:datastoreItem xmlns:ds="http://schemas.openxmlformats.org/officeDocument/2006/customXml" ds:itemID="{DC2113BE-EED2-4AD4-A28B-B44514FECDD6}">
  <ds:schemaRefs>
    <ds:schemaRef ds:uri="http://purl.org/dc/elements/1.1/"/>
    <ds:schemaRef ds:uri="http://schemas.openxmlformats.org/package/2006/metadata/core-properties"/>
    <ds:schemaRef ds:uri="http://purl.org/dc/terms/"/>
    <ds:schemaRef ds:uri="http://purl.org/dc/dcmitype/"/>
    <ds:schemaRef ds:uri="http://www.w3.org/XML/1998/namespace"/>
    <ds:schemaRef ds:uri="http://schemas.microsoft.com/office/2006/documentManagement/types"/>
    <ds:schemaRef ds:uri="http://schemas.microsoft.com/office/infopath/2007/PartnerControls"/>
    <ds:schemaRef ds:uri="230e9df3-be65-4c73-a93b-d1236ebd677e"/>
    <ds:schemaRef ds:uri="2478d1b8-79bf-461f-b8e8-704d21601f1a"/>
    <ds:schemaRef ds:uri="http://schemas.microsoft.com/sharepoint/v3"/>
    <ds:schemaRef ds:uri="b3bc04a5-d503-43b1-b98c-a8cf663329d9"/>
    <ds:schemaRef ds:uri="230E9DF3-BE65-4C73-A93B-D1236EBD677E"/>
    <ds:schemaRef ds:uri="http://schemas.microsoft.com/office/2006/metadata/properties"/>
  </ds:schemaRefs>
</ds:datastoreItem>
</file>

<file path=customXml/itemProps3.xml><?xml version="1.0" encoding="utf-8"?>
<ds:datastoreItem xmlns:ds="http://schemas.openxmlformats.org/officeDocument/2006/customXml" ds:itemID="{DB1FBE49-5F35-4583-9F58-86E2BA8FB2D9}">
  <ds:schemaRefs>
    <ds:schemaRef ds:uri="http://schemas.microsoft.com/sharepoint/v3/contenttype/forms"/>
  </ds:schemaRefs>
</ds:datastoreItem>
</file>

<file path=customXml/itemProps4.xml><?xml version="1.0" encoding="utf-8"?>
<ds:datastoreItem xmlns:ds="http://schemas.openxmlformats.org/officeDocument/2006/customXml" ds:itemID="{4A91CCF8-DBE7-496C-8F99-B7F171222768}">
  <ds:schemaRefs>
    <ds:schemaRef ds:uri="Microsoft.SharePoint.Taxonomy.ContentTypeSync"/>
  </ds:schemaRefs>
</ds:datastoreItem>
</file>

<file path=customXml/itemProps5.xml><?xml version="1.0" encoding="utf-8"?>
<ds:datastoreItem xmlns:ds="http://schemas.openxmlformats.org/officeDocument/2006/customXml" ds:itemID="{F4205205-8DD3-4069-977B-77E6F73E074B}">
  <ds:schemaRefs>
    <ds:schemaRef ds:uri="230E9DF3-BE65-4C73-A93B-D1236EBD677E"/>
    <ds:schemaRef ds:uri="230e9df3-be65-4c73-a93b-d1236ebd677e"/>
    <ds:schemaRef ds:uri="2478d1b8-79bf-461f-b8e8-704d21601f1a"/>
    <ds:schemaRef ds:uri="b3bc04a5-d503-43b1-b98c-a8cf663329d9"/>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microsoft.com/sharepoint/v3"/>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otalTime>0</TotalTime>
  <Words>22018</Words>
  <Application>Microsoft Office PowerPoint</Application>
  <PresentationFormat>Widescreen</PresentationFormat>
  <Paragraphs>3248</Paragraphs>
  <Slides>140</Slides>
  <Notes>139</Notes>
  <HiddenSlides>0</HiddenSlides>
  <MMClips>0</MMClips>
  <ScaleCrop>false</ScaleCrop>
  <HeadingPairs>
    <vt:vector size="4" baseType="variant">
      <vt:variant>
        <vt:lpstr>Theme</vt:lpstr>
      </vt:variant>
      <vt:variant>
        <vt:i4>6</vt:i4>
      </vt:variant>
      <vt:variant>
        <vt:lpstr>Slide Titles</vt:lpstr>
      </vt:variant>
      <vt:variant>
        <vt:i4>140</vt:i4>
      </vt:variant>
    </vt:vector>
  </HeadingPairs>
  <TitlesOfParts>
    <vt:vector size="146" baseType="lpstr">
      <vt:lpstr>STB Product Families 2013</vt:lpstr>
      <vt:lpstr>5-30610_Microsoft_Ignite_Keynote_Template</vt:lpstr>
      <vt:lpstr>Office Theme</vt:lpstr>
      <vt:lpstr>Template</vt:lpstr>
      <vt:lpstr>1_STB Product Families 2015</vt:lpstr>
      <vt:lpstr>2_STB Product Families 2015</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 BI Desktop: Connecting to Data</vt:lpstr>
      <vt:lpstr>PowerPoint Presentation</vt:lpstr>
      <vt:lpstr>PowerPoint Presentation</vt:lpstr>
      <vt:lpstr>PowerPoint Presentation</vt:lpstr>
      <vt:lpstr>Power BI Desktop: Preparing Data</vt:lpstr>
      <vt:lpstr>Shaping Data</vt:lpstr>
      <vt:lpstr>Query Editor</vt:lpstr>
      <vt:lpstr>Query Editor</vt:lpstr>
      <vt:lpstr>Query Editor - Query Ribbon </vt:lpstr>
      <vt:lpstr>Query Editor - Query Ribbon </vt:lpstr>
      <vt:lpstr>PowerPoint Presentation</vt:lpstr>
      <vt:lpstr>Power BI Desktop: Creating a Data Model</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 BI Desktop: Calculation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 BI Desktop: Building a Report</vt:lpstr>
      <vt:lpstr>Report View</vt:lpstr>
      <vt:lpstr>Report View</vt:lpstr>
      <vt:lpstr>Building a Report - Visualisations </vt:lpstr>
      <vt:lpstr>Visualisations - Clustered Bar Chart</vt:lpstr>
      <vt:lpstr>Visualisations - Properties</vt:lpstr>
      <vt:lpstr>Visualisations - Stacked Bar Chart</vt:lpstr>
      <vt:lpstr>Visualisations - Clustered Column Chart</vt:lpstr>
      <vt:lpstr>Visualisations - Stacked Column Chart</vt:lpstr>
      <vt:lpstr>Visualisations - 100% Stacked Bar and Column Chart</vt:lpstr>
      <vt:lpstr>Visualisations - Line Chart</vt:lpstr>
      <vt:lpstr>Visualisations - Area Chart</vt:lpstr>
      <vt:lpstr>Visualisations – Stacked Area Chart</vt:lpstr>
      <vt:lpstr>Visualisations – Stacked and Clustered Bar and Line Area Chart</vt:lpstr>
      <vt:lpstr>Visualisations – Waterfall Chart</vt:lpstr>
      <vt:lpstr>Visualisations – Scatter Chart</vt:lpstr>
      <vt:lpstr>Visualisations – Pie and Donut Chart</vt:lpstr>
      <vt:lpstr>Visualisations – Treemap Chart</vt:lpstr>
      <vt:lpstr>Visualisations – Map Chart</vt:lpstr>
      <vt:lpstr>Visualisations – Filled Map Chart</vt:lpstr>
      <vt:lpstr>Visualisations – ArcGIS Maps (Preview)</vt:lpstr>
      <vt:lpstr>Visualisations – Shape Maps (Preview)</vt:lpstr>
      <vt:lpstr> Visualisations – Funnel Chart</vt:lpstr>
      <vt:lpstr> Visualisations – Card and Multi-Row Card</vt:lpstr>
      <vt:lpstr> Visualisations – Gauge and KPI</vt:lpstr>
      <vt:lpstr> Visualisations – Table and Matrix</vt:lpstr>
      <vt:lpstr> Visualisations – Table and Matrix</vt:lpstr>
      <vt:lpstr> Visualisations – Textboxes, Images and Shapes</vt:lpstr>
      <vt:lpstr> Visualisations – Slicers</vt:lpstr>
      <vt:lpstr> Visualisations – Custom Visualisations</vt:lpstr>
      <vt:lpstr>Report gridlines and snap to grid (Preview)</vt:lpstr>
      <vt:lpstr> Visualisations – Hierarchichical Axis</vt:lpstr>
      <vt:lpstr>Tooltips</vt:lpstr>
      <vt:lpstr>Report Filtering</vt:lpstr>
      <vt:lpstr>Cross-Filtering and Cross-Highlighting</vt:lpstr>
      <vt:lpstr>Grouping and Binning</vt:lpstr>
      <vt:lpstr>Analytics Pane</vt:lpstr>
      <vt:lpstr>Mobile Report Layout</vt:lpstr>
      <vt:lpstr>Drill Down and Up</vt:lpstr>
      <vt:lpstr>Drill to Records</vt:lpstr>
      <vt:lpstr>Sorting</vt:lpstr>
      <vt:lpstr>Other Reporting Features</vt:lpstr>
      <vt:lpstr>Power BI Service: Get Data</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 BI Service: Pinning and Navig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 BI Service: Sharing</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 BI Service: Mobile Reports</vt:lpstr>
      <vt:lpstr>PowerPoint Presentation</vt:lpstr>
      <vt:lpstr>PowerPoint Presentation</vt:lpstr>
      <vt:lpstr>Power BI Service: Keeping Data Current</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
  <cp:lastModifiedBy/>
  <cp:revision>55</cp:revision>
  <dcterms:modified xsi:type="dcterms:W3CDTF">2020-11-25T01:28:4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E4CB7077FEE4FF7AE86D4A500EEC7800300F96E2758736AEF45AFCE0C190C2A9DEC00CC074746C0EF6D439A06F1AAD31A3C2B</vt:lpwstr>
  </property>
  <property fmtid="{D5CDD505-2E9C-101B-9397-08002B2CF9AE}" pid="3" name="p1cd454bacc149bfbcfd764edd279de7">
    <vt:lpwstr/>
  </property>
  <property fmtid="{D5CDD505-2E9C-101B-9397-08002B2CF9AE}" pid="4" name="of67e5d4b76f4a9db8769983fda9cec0">
    <vt:lpwstr/>
  </property>
  <property fmtid="{D5CDD505-2E9C-101B-9397-08002B2CF9AE}" pid="5" name="TaxKeyword">
    <vt:lpwstr/>
  </property>
  <property fmtid="{D5CDD505-2E9C-101B-9397-08002B2CF9AE}" pid="6" name="NewsType">
    <vt:lpwstr/>
  </property>
  <property fmtid="{D5CDD505-2E9C-101B-9397-08002B2CF9AE}" pid="7" name="_dlc_policyId">
    <vt:lpwstr/>
  </property>
  <property fmtid="{D5CDD505-2E9C-101B-9397-08002B2CF9AE}" pid="8" name="Region">
    <vt:lpwstr/>
  </property>
  <property fmtid="{D5CDD505-2E9C-101B-9397-08002B2CF9AE}" pid="9" name="Confidentiality">
    <vt:lpwstr>14;#customer ready|8986c41d-21c5-4f8f-8a12-ea4625b46858</vt:lpwstr>
  </property>
  <property fmtid="{D5CDD505-2E9C-101B-9397-08002B2CF9AE}" pid="10" name="ItemType">
    <vt:lpwstr>108;#sales presentations|355751b2-6406-4ba2-8a81-0ca1b45d0070</vt:lpwstr>
  </property>
  <property fmtid="{D5CDD505-2E9C-101B-9397-08002B2CF9AE}" pid="11" name="bc28b5f076654a3b96073bbbebfeb8c9">
    <vt:lpwstr/>
  </property>
  <property fmtid="{D5CDD505-2E9C-101B-9397-08002B2CF9AE}" pid="12" name="ga0c0bf70a6644469c61b3efa7025301">
    <vt:lpwstr/>
  </property>
  <property fmtid="{D5CDD505-2E9C-101B-9397-08002B2CF9AE}" pid="13" name="Industries">
    <vt:lpwstr/>
  </property>
  <property fmtid="{D5CDD505-2E9C-101B-9397-08002B2CF9AE}" pid="14" name="j4d667fb28274e85b2214f6e751c8d1f">
    <vt:lpwstr/>
  </property>
  <property fmtid="{D5CDD505-2E9C-101B-9397-08002B2CF9AE}" pid="15" name="MSProducts">
    <vt:lpwstr/>
  </property>
  <property fmtid="{D5CDD505-2E9C-101B-9397-08002B2CF9AE}" pid="16" name="Competitors">
    <vt:lpwstr/>
  </property>
  <property fmtid="{D5CDD505-2E9C-101B-9397-08002B2CF9AE}" pid="17" name="SMSGDomain">
    <vt:lpwstr>82;#SQL Server Domain|0c0f1824-39dc-4b26-8c74-eff4364b812b;#22;#Server and Tools Business|6783548d-8609-4f97-be4a-4ca2616905a6</vt:lpwstr>
  </property>
  <property fmtid="{D5CDD505-2E9C-101B-9397-08002B2CF9AE}" pid="18" name="ExperienceContentType">
    <vt:lpwstr/>
  </property>
  <property fmtid="{D5CDD505-2E9C-101B-9397-08002B2CF9AE}" pid="19" name="BusinessArchitecture">
    <vt:lpwstr>231;#business intelligence|e1f9659f-bde9-4479-81f9-2bc6e8ec0057;#166;#Power BI solution|a774047b-2f39-4ee6-a302-4d53f94b9400</vt:lpwstr>
  </property>
  <property fmtid="{D5CDD505-2E9C-101B-9397-08002B2CF9AE}" pid="20" name="j031aa32f4154c8c9a646efae715ebde">
    <vt:lpwstr/>
  </property>
  <property fmtid="{D5CDD505-2E9C-101B-9397-08002B2CF9AE}" pid="21" name="Products">
    <vt:lpwstr>73;#Microsoft SQL Server|261ba873-f3ab-420e-96d6-e3004596a551;#598;#Microsoft SQL Server Business Intelligence|9ffb7045-1f1b-41c0-987f-ffdc7c6f53c0</vt:lpwstr>
  </property>
  <property fmtid="{D5CDD505-2E9C-101B-9397-08002B2CF9AE}" pid="22" name="WorkflowChangePath">
    <vt:lpwstr>4c942473-d120-4286-a51a-b65ad3d92ffb,4;4c942473-d120-4286-a51a-b65ad3d92ffb,15;</vt:lpwstr>
  </property>
  <property fmtid="{D5CDD505-2E9C-101B-9397-08002B2CF9AE}" pid="23" name="ContentExtensions">
    <vt:lpwstr/>
  </property>
  <property fmtid="{D5CDD505-2E9C-101B-9397-08002B2CF9AE}" pid="24" name="l6f004f21209409da86a713c0f24627d">
    <vt:lpwstr/>
  </property>
  <property fmtid="{D5CDD505-2E9C-101B-9397-08002B2CF9AE}" pid="25" name="MSProductsTaxHTField0">
    <vt:lpwstr/>
  </property>
  <property fmtid="{D5CDD505-2E9C-101B-9397-08002B2CF9AE}" pid="26" name="Topics">
    <vt:lpwstr/>
  </property>
  <property fmtid="{D5CDD505-2E9C-101B-9397-08002B2CF9AE}" pid="27" name="Groups">
    <vt:lpwstr>399;#SQL Server Marketing|bb7921b3-c1d8-4da4-b894-8b6075d9546d;#42;#Cloud and Enterprise Marketing Group|4f75e184-e5aa-4234-a07f-b032d60df254</vt:lpwstr>
  </property>
  <property fmtid="{D5CDD505-2E9C-101B-9397-08002B2CF9AE}" pid="28" name="_docset_NoMedatataSyncRequired">
    <vt:lpwstr>False</vt:lpwstr>
  </property>
  <property fmtid="{D5CDD505-2E9C-101B-9397-08002B2CF9AE}" pid="29" name="MSLanguage">
    <vt:lpwstr/>
  </property>
  <property fmtid="{D5CDD505-2E9C-101B-9397-08002B2CF9AE}" pid="30" name="e8080b0481964c759b2c36ae49591b31">
    <vt:lpwstr/>
  </property>
  <property fmtid="{D5CDD505-2E9C-101B-9397-08002B2CF9AE}" pid="31" name="Languages">
    <vt:lpwstr/>
  </property>
  <property fmtid="{D5CDD505-2E9C-101B-9397-08002B2CF9AE}" pid="32" name="messageframeworktype">
    <vt:lpwstr/>
  </property>
  <property fmtid="{D5CDD505-2E9C-101B-9397-08002B2CF9AE}" pid="33" name="cb7870d3641f4a52807a63577a9c1b08">
    <vt:lpwstr/>
  </property>
  <property fmtid="{D5CDD505-2E9C-101B-9397-08002B2CF9AE}" pid="34" name="TechnicalLevel">
    <vt:lpwstr/>
  </property>
  <property fmtid="{D5CDD505-2E9C-101B-9397-08002B2CF9AE}" pid="35" name="Audiences">
    <vt:lpwstr/>
  </property>
  <property fmtid="{D5CDD505-2E9C-101B-9397-08002B2CF9AE}" pid="36" name="LearningOrganization">
    <vt:lpwstr/>
  </property>
  <property fmtid="{D5CDD505-2E9C-101B-9397-08002B2CF9AE}" pid="37" name="ldac8aee9d1f469e8cd8c3f8d6a615f2">
    <vt:lpwstr/>
  </property>
  <property fmtid="{D5CDD505-2E9C-101B-9397-08002B2CF9AE}" pid="38" name="EmployeeRole">
    <vt:lpwstr/>
  </property>
  <property fmtid="{D5CDD505-2E9C-101B-9397-08002B2CF9AE}" pid="39" name="NewsTopic">
    <vt:lpwstr/>
  </property>
  <property fmtid="{D5CDD505-2E9C-101B-9397-08002B2CF9AE}" pid="40" name="SharedWithUsers">
    <vt:lpwstr>63906;#Hui Jeng Lee (Alfa Connections Pte Ltd)</vt:lpwstr>
  </property>
  <property fmtid="{D5CDD505-2E9C-101B-9397-08002B2CF9AE}" pid="41" name="LearningDeliveryMethod">
    <vt:lpwstr/>
  </property>
  <property fmtid="{D5CDD505-2E9C-101B-9397-08002B2CF9AE}" pid="42" name="SalesGeography">
    <vt:lpwstr/>
  </property>
  <property fmtid="{D5CDD505-2E9C-101B-9397-08002B2CF9AE}" pid="43" name="Roles">
    <vt:lpwstr/>
  </property>
  <property fmtid="{D5CDD505-2E9C-101B-9397-08002B2CF9AE}" pid="44" name="ItemRetentionFormula">
    <vt:lpwstr/>
  </property>
  <property fmtid="{D5CDD505-2E9C-101B-9397-08002B2CF9AE}" pid="45" name="NewsSource">
    <vt:lpwstr/>
  </property>
  <property fmtid="{D5CDD505-2E9C-101B-9397-08002B2CF9AE}" pid="46" name="SMSGTags">
    <vt:lpwstr/>
  </property>
  <property fmtid="{D5CDD505-2E9C-101B-9397-08002B2CF9AE}" pid="47" name="_dlc_DocIdItemGuid">
    <vt:lpwstr>af37f9f5-2cea-4855-bf23-afabc7a3b631</vt:lpwstr>
  </property>
  <property fmtid="{D5CDD505-2E9C-101B-9397-08002B2CF9AE}" pid="48" name="MSPhysicalGeography">
    <vt:lpwstr/>
  </property>
  <property fmtid="{D5CDD505-2E9C-101B-9397-08002B2CF9AE}" pid="49" name="EnterpriseDomainTags">
    <vt:lpwstr/>
  </property>
  <property fmtid="{D5CDD505-2E9C-101B-9397-08002B2CF9AE}" pid="50" name="l311460e3fdf46688abc31ddb7bdc05a">
    <vt:lpwstr/>
  </property>
  <property fmtid="{D5CDD505-2E9C-101B-9397-08002B2CF9AE}" pid="51" name="j3562c58ee414e028925bc902cfc01a1">
    <vt:lpwstr/>
  </property>
  <property fmtid="{D5CDD505-2E9C-101B-9397-08002B2CF9AE}" pid="52" name="ActivitiesAndPrograms">
    <vt:lpwstr/>
  </property>
  <property fmtid="{D5CDD505-2E9C-101B-9397-08002B2CF9AE}" pid="53" name="Segments">
    <vt:lpwstr/>
  </property>
  <property fmtid="{D5CDD505-2E9C-101B-9397-08002B2CF9AE}" pid="54" name="Partners">
    <vt:lpwstr/>
  </property>
  <property fmtid="{D5CDD505-2E9C-101B-9397-08002B2CF9AE}" pid="55" name="la4444b61d19467597d63190b69ac227">
    <vt:lpwstr/>
  </property>
  <property fmtid="{D5CDD505-2E9C-101B-9397-08002B2CF9AE}" pid="56" name="MSIP_Label_f42aa342-8706-4288-bd11-ebb85995028c_Enabled">
    <vt:lpwstr>True</vt:lpwstr>
  </property>
  <property fmtid="{D5CDD505-2E9C-101B-9397-08002B2CF9AE}" pid="57" name="MSIP_Label_f42aa342-8706-4288-bd11-ebb85995028c_SiteId">
    <vt:lpwstr>72f988bf-86f1-41af-91ab-2d7cd011db47</vt:lpwstr>
  </property>
  <property fmtid="{D5CDD505-2E9C-101B-9397-08002B2CF9AE}" pid="58" name="MSIP_Label_f42aa342-8706-4288-bd11-ebb85995028c_Owner">
    <vt:lpwstr>jaaamodt@microsoft.com</vt:lpwstr>
  </property>
  <property fmtid="{D5CDD505-2E9C-101B-9397-08002B2CF9AE}" pid="59" name="MSIP_Label_f42aa342-8706-4288-bd11-ebb85995028c_SetDate">
    <vt:lpwstr>2018-02-09T07:26:04.7751301Z</vt:lpwstr>
  </property>
  <property fmtid="{D5CDD505-2E9C-101B-9397-08002B2CF9AE}" pid="60" name="MSIP_Label_f42aa342-8706-4288-bd11-ebb85995028c_Name">
    <vt:lpwstr>General</vt:lpwstr>
  </property>
  <property fmtid="{D5CDD505-2E9C-101B-9397-08002B2CF9AE}" pid="61" name="MSIP_Label_f42aa342-8706-4288-bd11-ebb85995028c_Application">
    <vt:lpwstr>Microsoft Azure Information Protection</vt:lpwstr>
  </property>
  <property fmtid="{D5CDD505-2E9C-101B-9397-08002B2CF9AE}" pid="62" name="MSIP_Label_f42aa342-8706-4288-bd11-ebb85995028c_Extended_MSFT_Method">
    <vt:lpwstr>Automatic</vt:lpwstr>
  </property>
  <property fmtid="{D5CDD505-2E9C-101B-9397-08002B2CF9AE}" pid="63" name="Sensitivity">
    <vt:lpwstr>General</vt:lpwstr>
  </property>
</Properties>
</file>